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dat" ContentType="text/plain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10.xml" ContentType="application/vnd.openxmlformats-officedocument.theme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11.xml" ContentType="application/vnd.openxmlformats-officedocument.theme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1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1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15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16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theme/theme17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18.xml" ContentType="application/vnd.openxmlformats-officedocument.theme+xml"/>
  <Override PartName="/ppt/tags/tag23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19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ags/tag27.xml" ContentType="application/vnd.openxmlformats-officedocument.presentationml.tags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tags/tag28.xml" ContentType="application/vnd.openxmlformats-officedocument.presentationml.tags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0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heme/themeOverride3.xml" ContentType="application/vnd.openxmlformats-officedocument.themeOverride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8b5068f35e0e4004" Type="http://schemas.microsoft.com/office/2006/relationships/txt" Target="udata/data.dat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  <p:sldMasterId id="2147483665" r:id="rId3"/>
    <p:sldMasterId id="2147483668" r:id="rId4"/>
    <p:sldMasterId id="2147483671" r:id="rId5"/>
    <p:sldMasterId id="2147483674" r:id="rId6"/>
    <p:sldMasterId id="2147483677" r:id="rId7"/>
    <p:sldMasterId id="2147483680" r:id="rId8"/>
    <p:sldMasterId id="2147483683" r:id="rId9"/>
    <p:sldMasterId id="2147483686" r:id="rId10"/>
    <p:sldMasterId id="2147483688" r:id="rId11"/>
    <p:sldMasterId id="2147483690" r:id="rId12"/>
    <p:sldMasterId id="2147483693" r:id="rId13"/>
    <p:sldMasterId id="2147483697" r:id="rId14"/>
    <p:sldMasterId id="2147483701" r:id="rId15"/>
    <p:sldMasterId id="2147483703" r:id="rId16"/>
    <p:sldMasterId id="2147483707" r:id="rId17"/>
    <p:sldMasterId id="2147483709" r:id="rId18"/>
    <p:sldMasterId id="2147483716" r:id="rId19"/>
  </p:sldMasterIdLst>
  <p:notesMasterIdLst>
    <p:notesMasterId r:id="rId59"/>
  </p:notesMasterIdLst>
  <p:sldIdLst>
    <p:sldId id="402" r:id="rId20"/>
    <p:sldId id="416" r:id="rId21"/>
    <p:sldId id="514" r:id="rId22"/>
    <p:sldId id="515" r:id="rId23"/>
    <p:sldId id="516" r:id="rId24"/>
    <p:sldId id="517" r:id="rId25"/>
    <p:sldId id="518" r:id="rId26"/>
    <p:sldId id="519" r:id="rId27"/>
    <p:sldId id="407" r:id="rId28"/>
    <p:sldId id="499" r:id="rId29"/>
    <p:sldId id="500" r:id="rId30"/>
    <p:sldId id="411" r:id="rId31"/>
    <p:sldId id="498" r:id="rId32"/>
    <p:sldId id="501" r:id="rId33"/>
    <p:sldId id="502" r:id="rId34"/>
    <p:sldId id="503" r:id="rId35"/>
    <p:sldId id="504" r:id="rId36"/>
    <p:sldId id="505" r:id="rId37"/>
    <p:sldId id="506" r:id="rId38"/>
    <p:sldId id="507" r:id="rId39"/>
    <p:sldId id="508" r:id="rId40"/>
    <p:sldId id="509" r:id="rId41"/>
    <p:sldId id="510" r:id="rId42"/>
    <p:sldId id="511" r:id="rId43"/>
    <p:sldId id="512" r:id="rId44"/>
    <p:sldId id="513" r:id="rId45"/>
    <p:sldId id="443" r:id="rId46"/>
    <p:sldId id="480" r:id="rId47"/>
    <p:sldId id="481" r:id="rId48"/>
    <p:sldId id="483" r:id="rId49"/>
    <p:sldId id="484" r:id="rId50"/>
    <p:sldId id="485" r:id="rId51"/>
    <p:sldId id="486" r:id="rId52"/>
    <p:sldId id="487" r:id="rId53"/>
    <p:sldId id="488" r:id="rId54"/>
    <p:sldId id="489" r:id="rId55"/>
    <p:sldId id="490" r:id="rId56"/>
    <p:sldId id="491" r:id="rId57"/>
    <p:sldId id="420" r:id="rId58"/>
  </p:sldIdLst>
  <p:sldSz cx="12192000" cy="6858000"/>
  <p:notesSz cx="7102475" cy="10233025"/>
  <p:custShowLst>
    <p:custShow name="自定义放映 1" id="0">
      <p:sldLst/>
    </p:custShow>
  </p:custShowLst>
  <p:custDataLst>
    <p:tags r:id="rId60"/>
  </p:custDataLst>
  <p:defaultTextStyle>
    <a:defPPr>
      <a:defRPr lang="zh-CN"/>
    </a:defPPr>
    <a:lvl1pPr marL="0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43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286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430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573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718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858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000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143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17" userDrawn="1">
          <p15:clr>
            <a:srgbClr val="A4A3A4"/>
          </p15:clr>
        </p15:guide>
        <p15:guide id="2" orient="horz" pos="59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D9D9D9"/>
    <a:srgbClr val="FFE5E5"/>
    <a:srgbClr val="FFD5D5"/>
    <a:srgbClr val="FFB9B9"/>
    <a:srgbClr val="FF2929"/>
    <a:srgbClr val="FFDDDD"/>
    <a:srgbClr val="FFBDBD"/>
    <a:srgbClr val="00B0F0"/>
    <a:srgbClr val="DA0B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01" autoAdjust="0"/>
    <p:restoredTop sz="90239" autoAdjust="0"/>
  </p:normalViewPr>
  <p:slideViewPr>
    <p:cSldViewPr snapToGrid="0">
      <p:cViewPr varScale="1">
        <p:scale>
          <a:sx n="103" d="100"/>
          <a:sy n="103" d="100"/>
        </p:scale>
        <p:origin x="1152" y="114"/>
      </p:cViewPr>
      <p:guideLst>
        <p:guide pos="3817"/>
        <p:guide orient="horz" pos="5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7.xml"/><Relationship Id="rId39" Type="http://schemas.openxmlformats.org/officeDocument/2006/relationships/slide" Target="slides/slide20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50" Type="http://schemas.openxmlformats.org/officeDocument/2006/relationships/slide" Target="slides/slide31.xml"/><Relationship Id="rId55" Type="http://schemas.openxmlformats.org/officeDocument/2006/relationships/slide" Target="slides/slide36.xml"/><Relationship Id="rId63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0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53" Type="http://schemas.openxmlformats.org/officeDocument/2006/relationships/slide" Target="slides/slide34.xml"/><Relationship Id="rId58" Type="http://schemas.openxmlformats.org/officeDocument/2006/relationships/slide" Target="slides/slide39.xml"/><Relationship Id="rId5" Type="http://schemas.openxmlformats.org/officeDocument/2006/relationships/slideMaster" Target="slideMasters/slideMaster5.xml"/><Relationship Id="rId61" Type="http://schemas.openxmlformats.org/officeDocument/2006/relationships/presProps" Target="presProps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56" Type="http://schemas.openxmlformats.org/officeDocument/2006/relationships/slide" Target="slides/slide37.xml"/><Relationship Id="rId64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2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slide" Target="slides/slide38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8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1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../embeddings/oleObject27.bin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4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5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__6.xlsx"/><Relationship Id="rId1" Type="http://schemas.openxmlformats.org/officeDocument/2006/relationships/themeOverride" Target="../theme/themeOverride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7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2017年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  <c:pt idx="12">
                  <c:v>2018年1月</c:v>
                </c:pt>
                <c:pt idx="13">
                  <c:v>2月</c:v>
                </c:pt>
                <c:pt idx="14">
                  <c:v>3月</c:v>
                </c:pt>
                <c:pt idx="15">
                  <c:v>4月</c:v>
                </c:pt>
                <c:pt idx="16">
                  <c:v>5月</c:v>
                </c:pt>
                <c:pt idx="17">
                  <c:v>6月</c:v>
                </c:pt>
              </c:strCache>
            </c:str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11</c:v>
                </c:pt>
                <c:pt idx="1">
                  <c:v>7</c:v>
                </c:pt>
                <c:pt idx="2">
                  <c:v>9</c:v>
                </c:pt>
                <c:pt idx="3">
                  <c:v>6</c:v>
                </c:pt>
                <c:pt idx="4">
                  <c:v>6</c:v>
                </c:pt>
                <c:pt idx="5">
                  <c:v>12</c:v>
                </c:pt>
                <c:pt idx="6">
                  <c:v>7</c:v>
                </c:pt>
                <c:pt idx="7">
                  <c:v>20</c:v>
                </c:pt>
                <c:pt idx="8">
                  <c:v>11</c:v>
                </c:pt>
                <c:pt idx="9">
                  <c:v>7</c:v>
                </c:pt>
                <c:pt idx="10">
                  <c:v>7</c:v>
                </c:pt>
                <c:pt idx="11">
                  <c:v>5</c:v>
                </c:pt>
                <c:pt idx="12">
                  <c:v>9</c:v>
                </c:pt>
                <c:pt idx="13">
                  <c:v>7</c:v>
                </c:pt>
                <c:pt idx="14">
                  <c:v>9</c:v>
                </c:pt>
                <c:pt idx="15">
                  <c:v>14</c:v>
                </c:pt>
                <c:pt idx="16">
                  <c:v>15</c:v>
                </c:pt>
                <c:pt idx="17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31-45C7-B9D8-36113ABF00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21406000"/>
        <c:axId val="301991024"/>
      </c:barChart>
      <c:catAx>
        <c:axId val="221406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endParaRPr lang="zh-CN"/>
          </a:p>
        </c:txPr>
        <c:crossAx val="301991024"/>
        <c:crosses val="autoZero"/>
        <c:auto val="1"/>
        <c:lblAlgn val="ctr"/>
        <c:lblOffset val="100"/>
        <c:noMultiLvlLbl val="0"/>
      </c:catAx>
      <c:valAx>
        <c:axId val="3019910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ea"/>
                <a:sym typeface="+mn-lt"/>
              </a:defRPr>
            </a:pPr>
            <a:endParaRPr lang="zh-CN"/>
          </a:p>
        </c:txPr>
        <c:crossAx val="221406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+mn-lt"/>
          <a:ea typeface="+mn-ea"/>
          <a:cs typeface="+mn-ea"/>
          <a:sym typeface="+mn-lt"/>
        </a:defRPr>
      </a:pPr>
      <a:endParaRPr lang="zh-CN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EA2-44D6-91C5-D213427DEF7A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EA2-44D6-91C5-D213427DEF7A}"/>
              </c:ext>
            </c:extLst>
          </c:dPt>
          <c:dPt>
            <c:idx val="3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EA2-44D6-91C5-D213427DEF7A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EA2-44D6-91C5-D213427DEF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中国</c:v>
                </c:pt>
                <c:pt idx="1">
                  <c:v>东南亚+印度</c:v>
                </c:pt>
                <c:pt idx="2">
                  <c:v>美国</c:v>
                </c:pt>
                <c:pt idx="3">
                  <c:v>其他国家/地区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1.1</c:v>
                </c:pt>
                <c:pt idx="1">
                  <c:v>11.1</c:v>
                </c:pt>
                <c:pt idx="2">
                  <c:v>11.1</c:v>
                </c:pt>
                <c:pt idx="3">
                  <c:v>1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EA2-44D6-91C5-D213427DEF7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EA2-44D6-91C5-D213427DEF7A}"/>
              </c:ext>
            </c:extLst>
          </c:dPt>
          <c:dPt>
            <c:idx val="1"/>
            <c:invertIfNegative val="0"/>
            <c:bubble3D val="0"/>
            <c:spPr>
              <a:solidFill>
                <a:srgbClr val="DA0B1C">
                  <a:alpha val="7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EA2-44D6-91C5-D213427DEF7A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EA2-44D6-91C5-D213427DEF7A}"/>
              </c:ext>
            </c:extLst>
          </c:dPt>
          <c:dPt>
            <c:idx val="3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EA2-44D6-91C5-D213427DEF7A}"/>
              </c:ext>
            </c:extLst>
          </c:dPt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EA2-44D6-91C5-D213427DEF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中国</c:v>
                </c:pt>
                <c:pt idx="1">
                  <c:v>东南亚+印度</c:v>
                </c:pt>
                <c:pt idx="2">
                  <c:v>美国</c:v>
                </c:pt>
                <c:pt idx="3">
                  <c:v>其他国家/地区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.7</c:v>
                </c:pt>
                <c:pt idx="1">
                  <c:v>4.7</c:v>
                </c:pt>
                <c:pt idx="2">
                  <c:v>4.7</c:v>
                </c:pt>
                <c:pt idx="3">
                  <c:v>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CEA2-44D6-91C5-D213427DEF7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DA0B1C">
                  <a:alpha val="4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CEA2-44D6-91C5-D213427DEF7A}"/>
              </c:ext>
            </c:extLst>
          </c:dPt>
          <c:dLbls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CEA2-44D6-91C5-D213427DEF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中国</c:v>
                </c:pt>
                <c:pt idx="1">
                  <c:v>东南亚+印度</c:v>
                </c:pt>
                <c:pt idx="2">
                  <c:v>美国</c:v>
                </c:pt>
                <c:pt idx="3">
                  <c:v>其他国家/地区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9.1999999999999993</c:v>
                </c:pt>
                <c:pt idx="1">
                  <c:v>9.1999999999999993</c:v>
                </c:pt>
                <c:pt idx="2">
                  <c:v>9.1999999999999993</c:v>
                </c:pt>
                <c:pt idx="3">
                  <c:v>9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CEA2-44D6-91C5-D213427DEF7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系列 4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DA0B1C">
                  <a:alpha val="2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CEA2-44D6-91C5-D213427DEF7A}"/>
              </c:ext>
            </c:extLst>
          </c:dPt>
          <c:dLbls>
            <c:dLbl>
              <c:idx val="3"/>
              <c:tx>
                <c:rich>
                  <a:bodyPr/>
                  <a:lstStyle/>
                  <a:p>
                    <a:r>
                      <a:rPr lang="en-US" altLang="zh-CN" dirty="0" smtClean="0"/>
                      <a:t>…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CEA2-44D6-91C5-D213427DEF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中国</c:v>
                </c:pt>
                <c:pt idx="1">
                  <c:v>东南亚+印度</c:v>
                </c:pt>
                <c:pt idx="2">
                  <c:v>美国</c:v>
                </c:pt>
                <c:pt idx="3">
                  <c:v>其他国家/地区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CEA2-44D6-91C5-D213427DEF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47671680"/>
        <c:axId val="347675600"/>
      </c:barChart>
      <c:catAx>
        <c:axId val="347671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47675600"/>
        <c:crosses val="autoZero"/>
        <c:auto val="1"/>
        <c:lblAlgn val="ctr"/>
        <c:lblOffset val="100"/>
        <c:noMultiLvlLbl val="0"/>
      </c:catAx>
      <c:valAx>
        <c:axId val="347675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47671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5!$B$1</c:f>
              <c:strCache>
                <c:ptCount val="1"/>
                <c:pt idx="0">
                  <c:v>目前在应用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1318922436715741E-3"/>
                  <c:y val="8.860454840077577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79B-40BB-911C-8CE5E501118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4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5!$A$2:$A$10</c:f>
              <c:strCache>
                <c:ptCount val="9"/>
                <c:pt idx="0">
                  <c:v>云计算和存储</c:v>
                </c:pt>
                <c:pt idx="1">
                  <c:v>物联网</c:v>
                </c:pt>
                <c:pt idx="2">
                  <c:v>自动化和机器人</c:v>
                </c:pt>
                <c:pt idx="3">
                  <c:v>可穿戴和移动设备</c:v>
                </c:pt>
                <c:pt idx="4">
                  <c:v>大数据分析</c:v>
                </c:pt>
                <c:pt idx="5">
                  <c:v>3D打印</c:v>
                </c:pt>
                <c:pt idx="6">
                  <c:v>无人机和无人车</c:v>
                </c:pt>
                <c:pt idx="7">
                  <c:v>AR/VR</c:v>
                </c:pt>
                <c:pt idx="8">
                  <c:v>区块链技术</c:v>
                </c:pt>
              </c:strCache>
            </c:strRef>
          </c:cat>
          <c:val>
            <c:numRef>
              <c:f>Sheet5!$B$2:$B$10</c:f>
              <c:numCache>
                <c:formatCode>0%</c:formatCode>
                <c:ptCount val="9"/>
                <c:pt idx="0">
                  <c:v>0.45</c:v>
                </c:pt>
                <c:pt idx="1">
                  <c:v>0.41</c:v>
                </c:pt>
                <c:pt idx="2">
                  <c:v>0.35</c:v>
                </c:pt>
                <c:pt idx="3">
                  <c:v>0.28999999999999998</c:v>
                </c:pt>
                <c:pt idx="4">
                  <c:v>0.22</c:v>
                </c:pt>
                <c:pt idx="5">
                  <c:v>0.18</c:v>
                </c:pt>
                <c:pt idx="6">
                  <c:v>0.12</c:v>
                </c:pt>
                <c:pt idx="7">
                  <c:v>0.08</c:v>
                </c:pt>
                <c:pt idx="8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9B-40BB-911C-8CE5E50111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1994384"/>
        <c:axId val="303235072"/>
      </c:barChart>
      <c:lineChart>
        <c:grouping val="standard"/>
        <c:varyColors val="0"/>
        <c:ser>
          <c:idx val="1"/>
          <c:order val="1"/>
          <c:tx>
            <c:strRef>
              <c:f>Sheet5!$C$1</c:f>
              <c:strCache>
                <c:ptCount val="1"/>
                <c:pt idx="0">
                  <c:v>5年的增长趋势</c:v>
                </c:pt>
              </c:strCache>
            </c:strRef>
          </c:tx>
          <c:spPr>
            <a:ln w="28575" cap="rnd">
              <a:solidFill>
                <a:sysClr val="window" lastClr="FFFFFF">
                  <a:lumMod val="50000"/>
                  <a:alpha val="40000"/>
                </a:sys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FFFF">
                  <a:alpha val="20000"/>
                </a:srgbClr>
              </a:solidFill>
              <a:ln w="9525">
                <a:solidFill>
                  <a:sysClr val="window" lastClr="FFFFFF">
                    <a:lumMod val="50000"/>
                    <a:alpha val="40000"/>
                  </a:sys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600"/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5!$A$2:$A$10</c:f>
              <c:strCache>
                <c:ptCount val="9"/>
                <c:pt idx="0">
                  <c:v>云计算和存储</c:v>
                </c:pt>
                <c:pt idx="1">
                  <c:v>物联网</c:v>
                </c:pt>
                <c:pt idx="2">
                  <c:v>自动化和机器人</c:v>
                </c:pt>
                <c:pt idx="3">
                  <c:v>可穿戴和移动设备</c:v>
                </c:pt>
                <c:pt idx="4">
                  <c:v>大数据分析</c:v>
                </c:pt>
                <c:pt idx="5">
                  <c:v>3D打印</c:v>
                </c:pt>
                <c:pt idx="6">
                  <c:v>无人机和无人车</c:v>
                </c:pt>
                <c:pt idx="7">
                  <c:v>AR/VR</c:v>
                </c:pt>
                <c:pt idx="8">
                  <c:v>区块链技术</c:v>
                </c:pt>
              </c:strCache>
            </c:strRef>
          </c:cat>
          <c:val>
            <c:numRef>
              <c:f>Sheet5!$C$2:$C$10</c:f>
              <c:numCache>
                <c:formatCode>0%</c:formatCode>
                <c:ptCount val="9"/>
                <c:pt idx="0">
                  <c:v>0.12</c:v>
                </c:pt>
                <c:pt idx="1">
                  <c:v>0.13</c:v>
                </c:pt>
                <c:pt idx="2">
                  <c:v>0.16</c:v>
                </c:pt>
                <c:pt idx="3">
                  <c:v>0.26</c:v>
                </c:pt>
                <c:pt idx="4">
                  <c:v>0.3</c:v>
                </c:pt>
                <c:pt idx="5">
                  <c:v>0.28000000000000003</c:v>
                </c:pt>
                <c:pt idx="6">
                  <c:v>0.4</c:v>
                </c:pt>
                <c:pt idx="7">
                  <c:v>0.2</c:v>
                </c:pt>
                <c:pt idx="8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79B-40BB-911C-8CE5E50111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3236192"/>
        <c:axId val="303235632"/>
      </c:lineChart>
      <c:catAx>
        <c:axId val="301994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303235072"/>
        <c:crosses val="autoZero"/>
        <c:auto val="1"/>
        <c:lblAlgn val="ctr"/>
        <c:lblOffset val="100"/>
        <c:noMultiLvlLbl val="0"/>
      </c:catAx>
      <c:valAx>
        <c:axId val="303235072"/>
        <c:scaling>
          <c:orientation val="minMax"/>
          <c:max val="0.8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301994384"/>
        <c:crosses val="autoZero"/>
        <c:crossBetween val="between"/>
      </c:valAx>
      <c:valAx>
        <c:axId val="303235632"/>
        <c:scaling>
          <c:orientation val="minMax"/>
          <c:max val="0.45"/>
          <c:min val="-1"/>
        </c:scaling>
        <c:delete val="0"/>
        <c:axPos val="r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303236192"/>
        <c:crosses val="max"/>
        <c:crossBetween val="between"/>
      </c:valAx>
      <c:catAx>
        <c:axId val="3032361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032356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ea typeface="+mn-ea"/>
          <a:cs typeface="+mn-ea"/>
          <a:sym typeface="+mn-lt"/>
        </a:defRPr>
      </a:pPr>
      <a:endParaRPr lang="zh-C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3224546966735698E-2"/>
          <c:y val="0.30547528134968099"/>
          <c:w val="0.92290002752213596"/>
          <c:h val="0.38539621867943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Analysis!$H$2</c:f>
              <c:strCache>
                <c:ptCount val="1"/>
                <c:pt idx="0">
                  <c:v>WMS接收订单数量</c:v>
                </c:pt>
              </c:strCache>
            </c:strRef>
          </c:tx>
          <c:spPr>
            <a:solidFill>
              <a:sysClr val="window" lastClr="FFFFFF"/>
            </a:solidFill>
          </c:spPr>
          <c:invertIfNegative val="0"/>
          <c:cat>
            <c:strRef>
              <c:f>Analysis!$G$3:$G$1321</c:f>
              <c:strCache>
                <c:ptCount val="1319"/>
                <c:pt idx="0">
                  <c:v>02:01</c:v>
                </c:pt>
                <c:pt idx="1">
                  <c:v>02:02</c:v>
                </c:pt>
                <c:pt idx="2">
                  <c:v>02:03</c:v>
                </c:pt>
                <c:pt idx="3">
                  <c:v>02:04</c:v>
                </c:pt>
                <c:pt idx="4">
                  <c:v>02:05</c:v>
                </c:pt>
                <c:pt idx="5">
                  <c:v>02:06</c:v>
                </c:pt>
                <c:pt idx="6">
                  <c:v>02:07</c:v>
                </c:pt>
                <c:pt idx="7">
                  <c:v>02:08</c:v>
                </c:pt>
                <c:pt idx="8">
                  <c:v>02:09</c:v>
                </c:pt>
                <c:pt idx="9">
                  <c:v>02:10</c:v>
                </c:pt>
                <c:pt idx="10">
                  <c:v>02:11</c:v>
                </c:pt>
                <c:pt idx="11">
                  <c:v>02:12</c:v>
                </c:pt>
                <c:pt idx="12">
                  <c:v>02:13</c:v>
                </c:pt>
                <c:pt idx="13">
                  <c:v>02:14</c:v>
                </c:pt>
                <c:pt idx="14">
                  <c:v>02:15</c:v>
                </c:pt>
                <c:pt idx="15">
                  <c:v>02:16</c:v>
                </c:pt>
                <c:pt idx="16">
                  <c:v>02:17</c:v>
                </c:pt>
                <c:pt idx="17">
                  <c:v>02:18</c:v>
                </c:pt>
                <c:pt idx="18">
                  <c:v>02:19</c:v>
                </c:pt>
                <c:pt idx="19">
                  <c:v>02:20</c:v>
                </c:pt>
                <c:pt idx="20">
                  <c:v>02:21</c:v>
                </c:pt>
                <c:pt idx="21">
                  <c:v>02:22</c:v>
                </c:pt>
                <c:pt idx="22">
                  <c:v>02:23</c:v>
                </c:pt>
                <c:pt idx="23">
                  <c:v>02:24</c:v>
                </c:pt>
                <c:pt idx="24">
                  <c:v>02:25</c:v>
                </c:pt>
                <c:pt idx="25">
                  <c:v>02:26</c:v>
                </c:pt>
                <c:pt idx="26">
                  <c:v>02:27</c:v>
                </c:pt>
                <c:pt idx="27">
                  <c:v>02:28</c:v>
                </c:pt>
                <c:pt idx="28">
                  <c:v>02:29</c:v>
                </c:pt>
                <c:pt idx="29">
                  <c:v>02:30</c:v>
                </c:pt>
                <c:pt idx="30">
                  <c:v>02:31</c:v>
                </c:pt>
                <c:pt idx="31">
                  <c:v>02:32</c:v>
                </c:pt>
                <c:pt idx="32">
                  <c:v>02:33</c:v>
                </c:pt>
                <c:pt idx="33">
                  <c:v>02:34</c:v>
                </c:pt>
                <c:pt idx="34">
                  <c:v>02:35</c:v>
                </c:pt>
                <c:pt idx="35">
                  <c:v>02:36</c:v>
                </c:pt>
                <c:pt idx="36">
                  <c:v>02:37</c:v>
                </c:pt>
                <c:pt idx="37">
                  <c:v>02:38</c:v>
                </c:pt>
                <c:pt idx="38">
                  <c:v>02:39</c:v>
                </c:pt>
                <c:pt idx="39">
                  <c:v>02:40</c:v>
                </c:pt>
                <c:pt idx="40">
                  <c:v>02:41</c:v>
                </c:pt>
                <c:pt idx="41">
                  <c:v>02:42</c:v>
                </c:pt>
                <c:pt idx="42">
                  <c:v>02:43</c:v>
                </c:pt>
                <c:pt idx="43">
                  <c:v>02:44</c:v>
                </c:pt>
                <c:pt idx="44">
                  <c:v>02:45</c:v>
                </c:pt>
                <c:pt idx="45">
                  <c:v>02:46</c:v>
                </c:pt>
                <c:pt idx="46">
                  <c:v>02:47</c:v>
                </c:pt>
                <c:pt idx="47">
                  <c:v>02:48</c:v>
                </c:pt>
                <c:pt idx="48">
                  <c:v>02:49</c:v>
                </c:pt>
                <c:pt idx="49">
                  <c:v>02:50</c:v>
                </c:pt>
                <c:pt idx="50">
                  <c:v>02:51</c:v>
                </c:pt>
                <c:pt idx="51">
                  <c:v>02:52</c:v>
                </c:pt>
                <c:pt idx="52">
                  <c:v>02:53</c:v>
                </c:pt>
                <c:pt idx="53">
                  <c:v>02:54</c:v>
                </c:pt>
                <c:pt idx="54">
                  <c:v>02:55</c:v>
                </c:pt>
                <c:pt idx="55">
                  <c:v>02:56</c:v>
                </c:pt>
                <c:pt idx="56">
                  <c:v>02:57</c:v>
                </c:pt>
                <c:pt idx="57">
                  <c:v>02:58</c:v>
                </c:pt>
                <c:pt idx="58">
                  <c:v>02:59</c:v>
                </c:pt>
                <c:pt idx="59">
                  <c:v>03:00</c:v>
                </c:pt>
                <c:pt idx="60">
                  <c:v>03:01</c:v>
                </c:pt>
                <c:pt idx="61">
                  <c:v>03:02</c:v>
                </c:pt>
                <c:pt idx="62">
                  <c:v>03:03</c:v>
                </c:pt>
                <c:pt idx="63">
                  <c:v>03:04</c:v>
                </c:pt>
                <c:pt idx="64">
                  <c:v>03:05</c:v>
                </c:pt>
                <c:pt idx="65">
                  <c:v>03:06</c:v>
                </c:pt>
                <c:pt idx="66">
                  <c:v>03:07</c:v>
                </c:pt>
                <c:pt idx="67">
                  <c:v>03:08</c:v>
                </c:pt>
                <c:pt idx="68">
                  <c:v>03:09</c:v>
                </c:pt>
                <c:pt idx="69">
                  <c:v>03:10</c:v>
                </c:pt>
                <c:pt idx="70">
                  <c:v>03:11</c:v>
                </c:pt>
                <c:pt idx="71">
                  <c:v>03:12</c:v>
                </c:pt>
                <c:pt idx="72">
                  <c:v>03:13</c:v>
                </c:pt>
                <c:pt idx="73">
                  <c:v>03:14</c:v>
                </c:pt>
                <c:pt idx="74">
                  <c:v>03:15</c:v>
                </c:pt>
                <c:pt idx="75">
                  <c:v>03:16</c:v>
                </c:pt>
                <c:pt idx="76">
                  <c:v>03:17</c:v>
                </c:pt>
                <c:pt idx="77">
                  <c:v>03:18</c:v>
                </c:pt>
                <c:pt idx="78">
                  <c:v>03:19</c:v>
                </c:pt>
                <c:pt idx="79">
                  <c:v>03:20</c:v>
                </c:pt>
                <c:pt idx="80">
                  <c:v>03:21</c:v>
                </c:pt>
                <c:pt idx="81">
                  <c:v>03:22</c:v>
                </c:pt>
                <c:pt idx="82">
                  <c:v>03:23</c:v>
                </c:pt>
                <c:pt idx="83">
                  <c:v>03:24</c:v>
                </c:pt>
                <c:pt idx="84">
                  <c:v>03:25</c:v>
                </c:pt>
                <c:pt idx="85">
                  <c:v>03:26</c:v>
                </c:pt>
                <c:pt idx="86">
                  <c:v>03:27</c:v>
                </c:pt>
                <c:pt idx="87">
                  <c:v>03:28</c:v>
                </c:pt>
                <c:pt idx="88">
                  <c:v>03:29</c:v>
                </c:pt>
                <c:pt idx="89">
                  <c:v>03:30</c:v>
                </c:pt>
                <c:pt idx="90">
                  <c:v>03:31</c:v>
                </c:pt>
                <c:pt idx="91">
                  <c:v>03:32</c:v>
                </c:pt>
                <c:pt idx="92">
                  <c:v>03:33</c:v>
                </c:pt>
                <c:pt idx="93">
                  <c:v>03:34</c:v>
                </c:pt>
                <c:pt idx="94">
                  <c:v>03:35</c:v>
                </c:pt>
                <c:pt idx="95">
                  <c:v>03:36</c:v>
                </c:pt>
                <c:pt idx="96">
                  <c:v>03:37</c:v>
                </c:pt>
                <c:pt idx="97">
                  <c:v>03:38</c:v>
                </c:pt>
                <c:pt idx="98">
                  <c:v>03:39</c:v>
                </c:pt>
                <c:pt idx="99">
                  <c:v>03:40</c:v>
                </c:pt>
                <c:pt idx="100">
                  <c:v>03:41</c:v>
                </c:pt>
                <c:pt idx="101">
                  <c:v>03:42</c:v>
                </c:pt>
                <c:pt idx="102">
                  <c:v>03:43</c:v>
                </c:pt>
                <c:pt idx="103">
                  <c:v>03:44</c:v>
                </c:pt>
                <c:pt idx="104">
                  <c:v>03:45</c:v>
                </c:pt>
                <c:pt idx="105">
                  <c:v>03:46</c:v>
                </c:pt>
                <c:pt idx="106">
                  <c:v>03:47</c:v>
                </c:pt>
                <c:pt idx="107">
                  <c:v>03:48</c:v>
                </c:pt>
                <c:pt idx="108">
                  <c:v>03:49</c:v>
                </c:pt>
                <c:pt idx="109">
                  <c:v>03:50</c:v>
                </c:pt>
                <c:pt idx="110">
                  <c:v>03:51</c:v>
                </c:pt>
                <c:pt idx="111">
                  <c:v>03:52</c:v>
                </c:pt>
                <c:pt idx="112">
                  <c:v>03:53</c:v>
                </c:pt>
                <c:pt idx="113">
                  <c:v>03:54</c:v>
                </c:pt>
                <c:pt idx="114">
                  <c:v>03:55</c:v>
                </c:pt>
                <c:pt idx="115">
                  <c:v>03:56</c:v>
                </c:pt>
                <c:pt idx="116">
                  <c:v>03:57</c:v>
                </c:pt>
                <c:pt idx="117">
                  <c:v>03:58</c:v>
                </c:pt>
                <c:pt idx="118">
                  <c:v>03:59</c:v>
                </c:pt>
                <c:pt idx="119">
                  <c:v>04:00</c:v>
                </c:pt>
                <c:pt idx="120">
                  <c:v>04:01</c:v>
                </c:pt>
                <c:pt idx="121">
                  <c:v>04:02</c:v>
                </c:pt>
                <c:pt idx="122">
                  <c:v>04:03</c:v>
                </c:pt>
                <c:pt idx="123">
                  <c:v>04:04</c:v>
                </c:pt>
                <c:pt idx="124">
                  <c:v>04:05</c:v>
                </c:pt>
                <c:pt idx="125">
                  <c:v>04:06</c:v>
                </c:pt>
                <c:pt idx="126">
                  <c:v>04:07</c:v>
                </c:pt>
                <c:pt idx="127">
                  <c:v>04:08</c:v>
                </c:pt>
                <c:pt idx="128">
                  <c:v>04:09</c:v>
                </c:pt>
                <c:pt idx="129">
                  <c:v>04:10</c:v>
                </c:pt>
                <c:pt idx="130">
                  <c:v>04:11</c:v>
                </c:pt>
                <c:pt idx="131">
                  <c:v>04:12</c:v>
                </c:pt>
                <c:pt idx="132">
                  <c:v>04:13</c:v>
                </c:pt>
                <c:pt idx="133">
                  <c:v>04:14</c:v>
                </c:pt>
                <c:pt idx="134">
                  <c:v>04:15</c:v>
                </c:pt>
                <c:pt idx="135">
                  <c:v>04:16</c:v>
                </c:pt>
                <c:pt idx="136">
                  <c:v>04:17</c:v>
                </c:pt>
                <c:pt idx="137">
                  <c:v>04:18</c:v>
                </c:pt>
                <c:pt idx="138">
                  <c:v>04:19</c:v>
                </c:pt>
                <c:pt idx="139">
                  <c:v>04:20</c:v>
                </c:pt>
                <c:pt idx="140">
                  <c:v>04:21</c:v>
                </c:pt>
                <c:pt idx="141">
                  <c:v>04:22</c:v>
                </c:pt>
                <c:pt idx="142">
                  <c:v>04:23</c:v>
                </c:pt>
                <c:pt idx="143">
                  <c:v>04:24</c:v>
                </c:pt>
                <c:pt idx="144">
                  <c:v>04:25</c:v>
                </c:pt>
                <c:pt idx="145">
                  <c:v>04:26</c:v>
                </c:pt>
                <c:pt idx="146">
                  <c:v>04:27</c:v>
                </c:pt>
                <c:pt idx="147">
                  <c:v>04:28</c:v>
                </c:pt>
                <c:pt idx="148">
                  <c:v>04:29</c:v>
                </c:pt>
                <c:pt idx="149">
                  <c:v>04:30</c:v>
                </c:pt>
                <c:pt idx="150">
                  <c:v>04:31</c:v>
                </c:pt>
                <c:pt idx="151">
                  <c:v>04:32</c:v>
                </c:pt>
                <c:pt idx="152">
                  <c:v>04:33</c:v>
                </c:pt>
                <c:pt idx="153">
                  <c:v>04:34</c:v>
                </c:pt>
                <c:pt idx="154">
                  <c:v>04:35</c:v>
                </c:pt>
                <c:pt idx="155">
                  <c:v>04:36</c:v>
                </c:pt>
                <c:pt idx="156">
                  <c:v>04:37</c:v>
                </c:pt>
                <c:pt idx="157">
                  <c:v>04:38</c:v>
                </c:pt>
                <c:pt idx="158">
                  <c:v>04:39</c:v>
                </c:pt>
                <c:pt idx="159">
                  <c:v>04:40</c:v>
                </c:pt>
                <c:pt idx="160">
                  <c:v>04:41</c:v>
                </c:pt>
                <c:pt idx="161">
                  <c:v>04:42</c:v>
                </c:pt>
                <c:pt idx="162">
                  <c:v>04:43</c:v>
                </c:pt>
                <c:pt idx="163">
                  <c:v>04:44</c:v>
                </c:pt>
                <c:pt idx="164">
                  <c:v>04:45</c:v>
                </c:pt>
                <c:pt idx="165">
                  <c:v>04:46</c:v>
                </c:pt>
                <c:pt idx="166">
                  <c:v>04:47</c:v>
                </c:pt>
                <c:pt idx="167">
                  <c:v>04:48</c:v>
                </c:pt>
                <c:pt idx="168">
                  <c:v>04:49</c:v>
                </c:pt>
                <c:pt idx="169">
                  <c:v>04:50</c:v>
                </c:pt>
                <c:pt idx="170">
                  <c:v>04:51</c:v>
                </c:pt>
                <c:pt idx="171">
                  <c:v>04:52</c:v>
                </c:pt>
                <c:pt idx="172">
                  <c:v>04:53</c:v>
                </c:pt>
                <c:pt idx="173">
                  <c:v>04:54</c:v>
                </c:pt>
                <c:pt idx="174">
                  <c:v>04:55</c:v>
                </c:pt>
                <c:pt idx="175">
                  <c:v>04:56</c:v>
                </c:pt>
                <c:pt idx="176">
                  <c:v>04:57</c:v>
                </c:pt>
                <c:pt idx="177">
                  <c:v>04:58</c:v>
                </c:pt>
                <c:pt idx="178">
                  <c:v>04:59</c:v>
                </c:pt>
                <c:pt idx="179">
                  <c:v>05:00</c:v>
                </c:pt>
                <c:pt idx="180">
                  <c:v>05:01</c:v>
                </c:pt>
                <c:pt idx="181">
                  <c:v>05:02</c:v>
                </c:pt>
                <c:pt idx="182">
                  <c:v>05:03</c:v>
                </c:pt>
                <c:pt idx="183">
                  <c:v>05:04</c:v>
                </c:pt>
                <c:pt idx="184">
                  <c:v>05:05</c:v>
                </c:pt>
                <c:pt idx="185">
                  <c:v>05:06</c:v>
                </c:pt>
                <c:pt idx="186">
                  <c:v>05:07</c:v>
                </c:pt>
                <c:pt idx="187">
                  <c:v>05:08</c:v>
                </c:pt>
                <c:pt idx="188">
                  <c:v>05:09</c:v>
                </c:pt>
                <c:pt idx="189">
                  <c:v>05:10</c:v>
                </c:pt>
                <c:pt idx="190">
                  <c:v>05:11</c:v>
                </c:pt>
                <c:pt idx="191">
                  <c:v>05:12</c:v>
                </c:pt>
                <c:pt idx="192">
                  <c:v>05:13</c:v>
                </c:pt>
                <c:pt idx="193">
                  <c:v>05:14</c:v>
                </c:pt>
                <c:pt idx="194">
                  <c:v>05:15</c:v>
                </c:pt>
                <c:pt idx="195">
                  <c:v>05:16</c:v>
                </c:pt>
                <c:pt idx="196">
                  <c:v>05:17</c:v>
                </c:pt>
                <c:pt idx="197">
                  <c:v>05:18</c:v>
                </c:pt>
                <c:pt idx="198">
                  <c:v>05:19</c:v>
                </c:pt>
                <c:pt idx="199">
                  <c:v>05:20</c:v>
                </c:pt>
                <c:pt idx="200">
                  <c:v>05:21</c:v>
                </c:pt>
                <c:pt idx="201">
                  <c:v>05:22</c:v>
                </c:pt>
                <c:pt idx="202">
                  <c:v>05:23</c:v>
                </c:pt>
                <c:pt idx="203">
                  <c:v>05:24</c:v>
                </c:pt>
                <c:pt idx="204">
                  <c:v>05:25</c:v>
                </c:pt>
                <c:pt idx="205">
                  <c:v>05:26</c:v>
                </c:pt>
                <c:pt idx="206">
                  <c:v>05:27</c:v>
                </c:pt>
                <c:pt idx="207">
                  <c:v>05:28</c:v>
                </c:pt>
                <c:pt idx="208">
                  <c:v>05:29</c:v>
                </c:pt>
                <c:pt idx="209">
                  <c:v>05:30</c:v>
                </c:pt>
                <c:pt idx="210">
                  <c:v>05:31</c:v>
                </c:pt>
                <c:pt idx="211">
                  <c:v>05:32</c:v>
                </c:pt>
                <c:pt idx="212">
                  <c:v>05:33</c:v>
                </c:pt>
                <c:pt idx="213">
                  <c:v>05:34</c:v>
                </c:pt>
                <c:pt idx="214">
                  <c:v>05:35</c:v>
                </c:pt>
                <c:pt idx="215">
                  <c:v>05:36</c:v>
                </c:pt>
                <c:pt idx="216">
                  <c:v>05:37</c:v>
                </c:pt>
                <c:pt idx="217">
                  <c:v>05:38</c:v>
                </c:pt>
                <c:pt idx="218">
                  <c:v>05:39</c:v>
                </c:pt>
                <c:pt idx="219">
                  <c:v>05:40</c:v>
                </c:pt>
                <c:pt idx="220">
                  <c:v>05:41</c:v>
                </c:pt>
                <c:pt idx="221">
                  <c:v>05:42</c:v>
                </c:pt>
                <c:pt idx="222">
                  <c:v>05:43</c:v>
                </c:pt>
                <c:pt idx="223">
                  <c:v>05:44</c:v>
                </c:pt>
                <c:pt idx="224">
                  <c:v>05:45</c:v>
                </c:pt>
                <c:pt idx="225">
                  <c:v>05:46</c:v>
                </c:pt>
                <c:pt idx="226">
                  <c:v>05:47</c:v>
                </c:pt>
                <c:pt idx="227">
                  <c:v>05:48</c:v>
                </c:pt>
                <c:pt idx="228">
                  <c:v>05:49</c:v>
                </c:pt>
                <c:pt idx="229">
                  <c:v>05:50</c:v>
                </c:pt>
                <c:pt idx="230">
                  <c:v>05:51</c:v>
                </c:pt>
                <c:pt idx="231">
                  <c:v>05:52</c:v>
                </c:pt>
                <c:pt idx="232">
                  <c:v>05:53</c:v>
                </c:pt>
                <c:pt idx="233">
                  <c:v>05:54</c:v>
                </c:pt>
                <c:pt idx="234">
                  <c:v>05:55</c:v>
                </c:pt>
                <c:pt idx="235">
                  <c:v>05:56</c:v>
                </c:pt>
                <c:pt idx="236">
                  <c:v>05:57</c:v>
                </c:pt>
                <c:pt idx="237">
                  <c:v>05:58</c:v>
                </c:pt>
                <c:pt idx="238">
                  <c:v>05:59</c:v>
                </c:pt>
                <c:pt idx="239">
                  <c:v>06:00</c:v>
                </c:pt>
                <c:pt idx="240">
                  <c:v>06:01</c:v>
                </c:pt>
                <c:pt idx="241">
                  <c:v>06:02</c:v>
                </c:pt>
                <c:pt idx="242">
                  <c:v>06:03</c:v>
                </c:pt>
                <c:pt idx="243">
                  <c:v>06:04</c:v>
                </c:pt>
                <c:pt idx="244">
                  <c:v>06:05</c:v>
                </c:pt>
                <c:pt idx="245">
                  <c:v>06:06</c:v>
                </c:pt>
                <c:pt idx="246">
                  <c:v>06:07</c:v>
                </c:pt>
                <c:pt idx="247">
                  <c:v>06:08</c:v>
                </c:pt>
                <c:pt idx="248">
                  <c:v>06:09</c:v>
                </c:pt>
                <c:pt idx="249">
                  <c:v>06:10</c:v>
                </c:pt>
                <c:pt idx="250">
                  <c:v>06:11</c:v>
                </c:pt>
                <c:pt idx="251">
                  <c:v>06:12</c:v>
                </c:pt>
                <c:pt idx="252">
                  <c:v>06:13</c:v>
                </c:pt>
                <c:pt idx="253">
                  <c:v>06:14</c:v>
                </c:pt>
                <c:pt idx="254">
                  <c:v>06:15</c:v>
                </c:pt>
                <c:pt idx="255">
                  <c:v>06:16</c:v>
                </c:pt>
                <c:pt idx="256">
                  <c:v>06:17</c:v>
                </c:pt>
                <c:pt idx="257">
                  <c:v>06:18</c:v>
                </c:pt>
                <c:pt idx="258">
                  <c:v>06:19</c:v>
                </c:pt>
                <c:pt idx="259">
                  <c:v>06:20</c:v>
                </c:pt>
                <c:pt idx="260">
                  <c:v>06:21</c:v>
                </c:pt>
                <c:pt idx="261">
                  <c:v>06:22</c:v>
                </c:pt>
                <c:pt idx="262">
                  <c:v>06:23</c:v>
                </c:pt>
                <c:pt idx="263">
                  <c:v>06:24</c:v>
                </c:pt>
                <c:pt idx="264">
                  <c:v>06:25</c:v>
                </c:pt>
                <c:pt idx="265">
                  <c:v>06:26</c:v>
                </c:pt>
                <c:pt idx="266">
                  <c:v>06:27</c:v>
                </c:pt>
                <c:pt idx="267">
                  <c:v>06:28</c:v>
                </c:pt>
                <c:pt idx="268">
                  <c:v>06:29</c:v>
                </c:pt>
                <c:pt idx="269">
                  <c:v>06:30</c:v>
                </c:pt>
                <c:pt idx="270">
                  <c:v>06:31</c:v>
                </c:pt>
                <c:pt idx="271">
                  <c:v>06:32</c:v>
                </c:pt>
                <c:pt idx="272">
                  <c:v>06:33</c:v>
                </c:pt>
                <c:pt idx="273">
                  <c:v>06:34</c:v>
                </c:pt>
                <c:pt idx="274">
                  <c:v>06:35</c:v>
                </c:pt>
                <c:pt idx="275">
                  <c:v>06:36</c:v>
                </c:pt>
                <c:pt idx="276">
                  <c:v>06:37</c:v>
                </c:pt>
                <c:pt idx="277">
                  <c:v>06:38</c:v>
                </c:pt>
                <c:pt idx="278">
                  <c:v>06:39</c:v>
                </c:pt>
                <c:pt idx="279">
                  <c:v>06:40</c:v>
                </c:pt>
                <c:pt idx="280">
                  <c:v>06:41</c:v>
                </c:pt>
                <c:pt idx="281">
                  <c:v>06:42</c:v>
                </c:pt>
                <c:pt idx="282">
                  <c:v>06:43</c:v>
                </c:pt>
                <c:pt idx="283">
                  <c:v>06:44</c:v>
                </c:pt>
                <c:pt idx="284">
                  <c:v>06:45</c:v>
                </c:pt>
                <c:pt idx="285">
                  <c:v>06:46</c:v>
                </c:pt>
                <c:pt idx="286">
                  <c:v>06:47</c:v>
                </c:pt>
                <c:pt idx="287">
                  <c:v>06:48</c:v>
                </c:pt>
                <c:pt idx="288">
                  <c:v>06:49</c:v>
                </c:pt>
                <c:pt idx="289">
                  <c:v>06:50</c:v>
                </c:pt>
                <c:pt idx="290">
                  <c:v>06:51</c:v>
                </c:pt>
                <c:pt idx="291">
                  <c:v>06:52</c:v>
                </c:pt>
                <c:pt idx="292">
                  <c:v>06:53</c:v>
                </c:pt>
                <c:pt idx="293">
                  <c:v>06:54</c:v>
                </c:pt>
                <c:pt idx="294">
                  <c:v>06:55</c:v>
                </c:pt>
                <c:pt idx="295">
                  <c:v>06:56</c:v>
                </c:pt>
                <c:pt idx="296">
                  <c:v>06:57</c:v>
                </c:pt>
                <c:pt idx="297">
                  <c:v>06:58</c:v>
                </c:pt>
                <c:pt idx="298">
                  <c:v>06:59</c:v>
                </c:pt>
                <c:pt idx="299">
                  <c:v>07:00</c:v>
                </c:pt>
                <c:pt idx="300">
                  <c:v>07:01</c:v>
                </c:pt>
                <c:pt idx="301">
                  <c:v>07:02</c:v>
                </c:pt>
                <c:pt idx="302">
                  <c:v>07:03</c:v>
                </c:pt>
                <c:pt idx="303">
                  <c:v>07:04</c:v>
                </c:pt>
                <c:pt idx="304">
                  <c:v>07:05</c:v>
                </c:pt>
                <c:pt idx="305">
                  <c:v>07:06</c:v>
                </c:pt>
                <c:pt idx="306">
                  <c:v>07:07</c:v>
                </c:pt>
                <c:pt idx="307">
                  <c:v>07:08</c:v>
                </c:pt>
                <c:pt idx="308">
                  <c:v>07:09</c:v>
                </c:pt>
                <c:pt idx="309">
                  <c:v>07:10</c:v>
                </c:pt>
                <c:pt idx="310">
                  <c:v>07:11</c:v>
                </c:pt>
                <c:pt idx="311">
                  <c:v>07:12</c:v>
                </c:pt>
                <c:pt idx="312">
                  <c:v>07:13</c:v>
                </c:pt>
                <c:pt idx="313">
                  <c:v>07:14</c:v>
                </c:pt>
                <c:pt idx="314">
                  <c:v>07:15</c:v>
                </c:pt>
                <c:pt idx="315">
                  <c:v>07:16</c:v>
                </c:pt>
                <c:pt idx="316">
                  <c:v>07:17</c:v>
                </c:pt>
                <c:pt idx="317">
                  <c:v>07:18</c:v>
                </c:pt>
                <c:pt idx="318">
                  <c:v>07:19</c:v>
                </c:pt>
                <c:pt idx="319">
                  <c:v>07:20</c:v>
                </c:pt>
                <c:pt idx="320">
                  <c:v>07:21</c:v>
                </c:pt>
                <c:pt idx="321">
                  <c:v>07:22</c:v>
                </c:pt>
                <c:pt idx="322">
                  <c:v>07:23</c:v>
                </c:pt>
                <c:pt idx="323">
                  <c:v>07:24</c:v>
                </c:pt>
                <c:pt idx="324">
                  <c:v>07:25</c:v>
                </c:pt>
                <c:pt idx="325">
                  <c:v>07:26</c:v>
                </c:pt>
                <c:pt idx="326">
                  <c:v>07:27</c:v>
                </c:pt>
                <c:pt idx="327">
                  <c:v>07:28</c:v>
                </c:pt>
                <c:pt idx="328">
                  <c:v>07:29</c:v>
                </c:pt>
                <c:pt idx="329">
                  <c:v>07:30</c:v>
                </c:pt>
                <c:pt idx="330">
                  <c:v>07:31</c:v>
                </c:pt>
                <c:pt idx="331">
                  <c:v>07:32</c:v>
                </c:pt>
                <c:pt idx="332">
                  <c:v>07:33</c:v>
                </c:pt>
                <c:pt idx="333">
                  <c:v>07:34</c:v>
                </c:pt>
                <c:pt idx="334">
                  <c:v>07:35</c:v>
                </c:pt>
                <c:pt idx="335">
                  <c:v>07:36</c:v>
                </c:pt>
                <c:pt idx="336">
                  <c:v>07:37</c:v>
                </c:pt>
                <c:pt idx="337">
                  <c:v>07:38</c:v>
                </c:pt>
                <c:pt idx="338">
                  <c:v>07:39</c:v>
                </c:pt>
                <c:pt idx="339">
                  <c:v>07:40</c:v>
                </c:pt>
                <c:pt idx="340">
                  <c:v>07:41</c:v>
                </c:pt>
                <c:pt idx="341">
                  <c:v>07:42</c:v>
                </c:pt>
                <c:pt idx="342">
                  <c:v>07:43</c:v>
                </c:pt>
                <c:pt idx="343">
                  <c:v>07:44</c:v>
                </c:pt>
                <c:pt idx="344">
                  <c:v>07:45</c:v>
                </c:pt>
                <c:pt idx="345">
                  <c:v>07:46</c:v>
                </c:pt>
                <c:pt idx="346">
                  <c:v>07:47</c:v>
                </c:pt>
                <c:pt idx="347">
                  <c:v>07:48</c:v>
                </c:pt>
                <c:pt idx="348">
                  <c:v>07:49</c:v>
                </c:pt>
                <c:pt idx="349">
                  <c:v>07:50</c:v>
                </c:pt>
                <c:pt idx="350">
                  <c:v>07:51</c:v>
                </c:pt>
                <c:pt idx="351">
                  <c:v>07:52</c:v>
                </c:pt>
                <c:pt idx="352">
                  <c:v>07:53</c:v>
                </c:pt>
                <c:pt idx="353">
                  <c:v>07:54</c:v>
                </c:pt>
                <c:pt idx="354">
                  <c:v>07:55</c:v>
                </c:pt>
                <c:pt idx="355">
                  <c:v>07:56</c:v>
                </c:pt>
                <c:pt idx="356">
                  <c:v>07:57</c:v>
                </c:pt>
                <c:pt idx="357">
                  <c:v>07:58</c:v>
                </c:pt>
                <c:pt idx="358">
                  <c:v>07:59</c:v>
                </c:pt>
                <c:pt idx="359">
                  <c:v>08:00</c:v>
                </c:pt>
                <c:pt idx="360">
                  <c:v>08:01</c:v>
                </c:pt>
                <c:pt idx="361">
                  <c:v>08:02</c:v>
                </c:pt>
                <c:pt idx="362">
                  <c:v>08:03</c:v>
                </c:pt>
                <c:pt idx="363">
                  <c:v>08:04</c:v>
                </c:pt>
                <c:pt idx="364">
                  <c:v>08:05</c:v>
                </c:pt>
                <c:pt idx="365">
                  <c:v>08:06</c:v>
                </c:pt>
                <c:pt idx="366">
                  <c:v>08:07</c:v>
                </c:pt>
                <c:pt idx="367">
                  <c:v>08:08</c:v>
                </c:pt>
                <c:pt idx="368">
                  <c:v>08:09</c:v>
                </c:pt>
                <c:pt idx="369">
                  <c:v>08:10</c:v>
                </c:pt>
                <c:pt idx="370">
                  <c:v>08:11</c:v>
                </c:pt>
                <c:pt idx="371">
                  <c:v>08:12</c:v>
                </c:pt>
                <c:pt idx="372">
                  <c:v>08:13</c:v>
                </c:pt>
                <c:pt idx="373">
                  <c:v>08:14</c:v>
                </c:pt>
                <c:pt idx="374">
                  <c:v>08:15</c:v>
                </c:pt>
                <c:pt idx="375">
                  <c:v>08:16</c:v>
                </c:pt>
                <c:pt idx="376">
                  <c:v>08:17</c:v>
                </c:pt>
                <c:pt idx="377">
                  <c:v>08:18</c:v>
                </c:pt>
                <c:pt idx="378">
                  <c:v>08:19</c:v>
                </c:pt>
                <c:pt idx="379">
                  <c:v>08:20</c:v>
                </c:pt>
                <c:pt idx="380">
                  <c:v>08:21</c:v>
                </c:pt>
                <c:pt idx="381">
                  <c:v>08:22</c:v>
                </c:pt>
                <c:pt idx="382">
                  <c:v>08:23</c:v>
                </c:pt>
                <c:pt idx="383">
                  <c:v>08:24</c:v>
                </c:pt>
                <c:pt idx="384">
                  <c:v>08:25</c:v>
                </c:pt>
                <c:pt idx="385">
                  <c:v>08:26</c:v>
                </c:pt>
                <c:pt idx="386">
                  <c:v>08:27</c:v>
                </c:pt>
                <c:pt idx="387">
                  <c:v>08:28</c:v>
                </c:pt>
                <c:pt idx="388">
                  <c:v>08:29</c:v>
                </c:pt>
                <c:pt idx="389">
                  <c:v>08:30</c:v>
                </c:pt>
                <c:pt idx="390">
                  <c:v>08:31</c:v>
                </c:pt>
                <c:pt idx="391">
                  <c:v>08:32</c:v>
                </c:pt>
                <c:pt idx="392">
                  <c:v>08:33</c:v>
                </c:pt>
                <c:pt idx="393">
                  <c:v>08:34</c:v>
                </c:pt>
                <c:pt idx="394">
                  <c:v>08:35</c:v>
                </c:pt>
                <c:pt idx="395">
                  <c:v>08:36</c:v>
                </c:pt>
                <c:pt idx="396">
                  <c:v>08:37</c:v>
                </c:pt>
                <c:pt idx="397">
                  <c:v>08:38</c:v>
                </c:pt>
                <c:pt idx="398">
                  <c:v>08:39</c:v>
                </c:pt>
                <c:pt idx="399">
                  <c:v>08:40</c:v>
                </c:pt>
                <c:pt idx="400">
                  <c:v>08:41</c:v>
                </c:pt>
                <c:pt idx="401">
                  <c:v>08:42</c:v>
                </c:pt>
                <c:pt idx="402">
                  <c:v>08:43</c:v>
                </c:pt>
                <c:pt idx="403">
                  <c:v>08:44</c:v>
                </c:pt>
                <c:pt idx="404">
                  <c:v>08:45</c:v>
                </c:pt>
                <c:pt idx="405">
                  <c:v>08:46</c:v>
                </c:pt>
                <c:pt idx="406">
                  <c:v>08:47</c:v>
                </c:pt>
                <c:pt idx="407">
                  <c:v>08:48</c:v>
                </c:pt>
                <c:pt idx="408">
                  <c:v>08:49</c:v>
                </c:pt>
                <c:pt idx="409">
                  <c:v>08:50</c:v>
                </c:pt>
                <c:pt idx="410">
                  <c:v>08:51</c:v>
                </c:pt>
                <c:pt idx="411">
                  <c:v>08:52</c:v>
                </c:pt>
                <c:pt idx="412">
                  <c:v>08:53</c:v>
                </c:pt>
                <c:pt idx="413">
                  <c:v>08:54</c:v>
                </c:pt>
                <c:pt idx="414">
                  <c:v>08:55</c:v>
                </c:pt>
                <c:pt idx="415">
                  <c:v>08:56</c:v>
                </c:pt>
                <c:pt idx="416">
                  <c:v>08:57</c:v>
                </c:pt>
                <c:pt idx="417">
                  <c:v>08:58</c:v>
                </c:pt>
                <c:pt idx="418">
                  <c:v>08:59</c:v>
                </c:pt>
                <c:pt idx="419">
                  <c:v>09:00</c:v>
                </c:pt>
                <c:pt idx="420">
                  <c:v>09:01</c:v>
                </c:pt>
                <c:pt idx="421">
                  <c:v>09:02</c:v>
                </c:pt>
                <c:pt idx="422">
                  <c:v>09:03</c:v>
                </c:pt>
                <c:pt idx="423">
                  <c:v>09:04</c:v>
                </c:pt>
                <c:pt idx="424">
                  <c:v>09:05</c:v>
                </c:pt>
                <c:pt idx="425">
                  <c:v>09:06</c:v>
                </c:pt>
                <c:pt idx="426">
                  <c:v>09:07</c:v>
                </c:pt>
                <c:pt idx="427">
                  <c:v>09:08</c:v>
                </c:pt>
                <c:pt idx="428">
                  <c:v>09:09</c:v>
                </c:pt>
                <c:pt idx="429">
                  <c:v>09:10</c:v>
                </c:pt>
                <c:pt idx="430">
                  <c:v>09:11</c:v>
                </c:pt>
                <c:pt idx="431">
                  <c:v>09:12</c:v>
                </c:pt>
                <c:pt idx="432">
                  <c:v>09:13</c:v>
                </c:pt>
                <c:pt idx="433">
                  <c:v>09:14</c:v>
                </c:pt>
                <c:pt idx="434">
                  <c:v>09:15</c:v>
                </c:pt>
                <c:pt idx="435">
                  <c:v>09:16</c:v>
                </c:pt>
                <c:pt idx="436">
                  <c:v>09:17</c:v>
                </c:pt>
                <c:pt idx="437">
                  <c:v>09:18</c:v>
                </c:pt>
                <c:pt idx="438">
                  <c:v>09:19</c:v>
                </c:pt>
                <c:pt idx="439">
                  <c:v>09:20</c:v>
                </c:pt>
                <c:pt idx="440">
                  <c:v>09:21</c:v>
                </c:pt>
                <c:pt idx="441">
                  <c:v>09:22</c:v>
                </c:pt>
                <c:pt idx="442">
                  <c:v>09:23</c:v>
                </c:pt>
                <c:pt idx="443">
                  <c:v>09:24</c:v>
                </c:pt>
                <c:pt idx="444">
                  <c:v>09:25</c:v>
                </c:pt>
                <c:pt idx="445">
                  <c:v>09:26</c:v>
                </c:pt>
                <c:pt idx="446">
                  <c:v>09:27</c:v>
                </c:pt>
                <c:pt idx="447">
                  <c:v>09:28</c:v>
                </c:pt>
                <c:pt idx="448">
                  <c:v>09:29</c:v>
                </c:pt>
                <c:pt idx="449">
                  <c:v>09:30</c:v>
                </c:pt>
                <c:pt idx="450">
                  <c:v>09:31</c:v>
                </c:pt>
                <c:pt idx="451">
                  <c:v>09:32</c:v>
                </c:pt>
                <c:pt idx="452">
                  <c:v>09:33</c:v>
                </c:pt>
                <c:pt idx="453">
                  <c:v>09:34</c:v>
                </c:pt>
                <c:pt idx="454">
                  <c:v>09:35</c:v>
                </c:pt>
                <c:pt idx="455">
                  <c:v>09:36</c:v>
                </c:pt>
                <c:pt idx="456">
                  <c:v>09:37</c:v>
                </c:pt>
                <c:pt idx="457">
                  <c:v>09:38</c:v>
                </c:pt>
                <c:pt idx="458">
                  <c:v>09:39</c:v>
                </c:pt>
                <c:pt idx="459">
                  <c:v>09:40</c:v>
                </c:pt>
                <c:pt idx="460">
                  <c:v>09:41</c:v>
                </c:pt>
                <c:pt idx="461">
                  <c:v>09:42</c:v>
                </c:pt>
                <c:pt idx="462">
                  <c:v>09:43</c:v>
                </c:pt>
                <c:pt idx="463">
                  <c:v>09:44</c:v>
                </c:pt>
                <c:pt idx="464">
                  <c:v>09:45</c:v>
                </c:pt>
                <c:pt idx="465">
                  <c:v>09:46</c:v>
                </c:pt>
                <c:pt idx="466">
                  <c:v>09:47</c:v>
                </c:pt>
                <c:pt idx="467">
                  <c:v>09:48</c:v>
                </c:pt>
                <c:pt idx="468">
                  <c:v>09:49</c:v>
                </c:pt>
                <c:pt idx="469">
                  <c:v>09:50</c:v>
                </c:pt>
                <c:pt idx="470">
                  <c:v>09:51</c:v>
                </c:pt>
                <c:pt idx="471">
                  <c:v>09:52</c:v>
                </c:pt>
                <c:pt idx="472">
                  <c:v>09:53</c:v>
                </c:pt>
                <c:pt idx="473">
                  <c:v>09:54</c:v>
                </c:pt>
                <c:pt idx="474">
                  <c:v>09:55</c:v>
                </c:pt>
                <c:pt idx="475">
                  <c:v>09:56</c:v>
                </c:pt>
                <c:pt idx="476">
                  <c:v>09:57</c:v>
                </c:pt>
                <c:pt idx="477">
                  <c:v>09:58</c:v>
                </c:pt>
                <c:pt idx="478">
                  <c:v>09:59</c:v>
                </c:pt>
                <c:pt idx="479">
                  <c:v>10:00</c:v>
                </c:pt>
                <c:pt idx="480">
                  <c:v>10:01</c:v>
                </c:pt>
                <c:pt idx="481">
                  <c:v>10:02</c:v>
                </c:pt>
                <c:pt idx="482">
                  <c:v>10:03</c:v>
                </c:pt>
                <c:pt idx="483">
                  <c:v>10:04</c:v>
                </c:pt>
                <c:pt idx="484">
                  <c:v>10:05</c:v>
                </c:pt>
                <c:pt idx="485">
                  <c:v>10:06</c:v>
                </c:pt>
                <c:pt idx="486">
                  <c:v>10:07</c:v>
                </c:pt>
                <c:pt idx="487">
                  <c:v>10:08</c:v>
                </c:pt>
                <c:pt idx="488">
                  <c:v>10:09</c:v>
                </c:pt>
                <c:pt idx="489">
                  <c:v>10:10</c:v>
                </c:pt>
                <c:pt idx="490">
                  <c:v>10:11</c:v>
                </c:pt>
                <c:pt idx="491">
                  <c:v>10:12</c:v>
                </c:pt>
                <c:pt idx="492">
                  <c:v>10:13</c:v>
                </c:pt>
                <c:pt idx="493">
                  <c:v>10:14</c:v>
                </c:pt>
                <c:pt idx="494">
                  <c:v>10:15</c:v>
                </c:pt>
                <c:pt idx="495">
                  <c:v>10:16</c:v>
                </c:pt>
                <c:pt idx="496">
                  <c:v>10:17</c:v>
                </c:pt>
                <c:pt idx="497">
                  <c:v>10:18</c:v>
                </c:pt>
                <c:pt idx="498">
                  <c:v>10:19</c:v>
                </c:pt>
                <c:pt idx="499">
                  <c:v>10:20</c:v>
                </c:pt>
                <c:pt idx="500">
                  <c:v>10:21</c:v>
                </c:pt>
                <c:pt idx="501">
                  <c:v>10:22</c:v>
                </c:pt>
                <c:pt idx="502">
                  <c:v>10:23</c:v>
                </c:pt>
                <c:pt idx="503">
                  <c:v>10:24</c:v>
                </c:pt>
                <c:pt idx="504">
                  <c:v>10:25</c:v>
                </c:pt>
                <c:pt idx="505">
                  <c:v>10:26</c:v>
                </c:pt>
                <c:pt idx="506">
                  <c:v>10:27</c:v>
                </c:pt>
                <c:pt idx="507">
                  <c:v>10:28</c:v>
                </c:pt>
                <c:pt idx="508">
                  <c:v>10:29</c:v>
                </c:pt>
                <c:pt idx="509">
                  <c:v>10:30</c:v>
                </c:pt>
                <c:pt idx="510">
                  <c:v>10:31</c:v>
                </c:pt>
                <c:pt idx="511">
                  <c:v>10:32</c:v>
                </c:pt>
                <c:pt idx="512">
                  <c:v>10:33</c:v>
                </c:pt>
                <c:pt idx="513">
                  <c:v>10:34</c:v>
                </c:pt>
                <c:pt idx="514">
                  <c:v>10:35</c:v>
                </c:pt>
                <c:pt idx="515">
                  <c:v>10:36</c:v>
                </c:pt>
                <c:pt idx="516">
                  <c:v>10:37</c:v>
                </c:pt>
                <c:pt idx="517">
                  <c:v>10:38</c:v>
                </c:pt>
                <c:pt idx="518">
                  <c:v>10:39</c:v>
                </c:pt>
                <c:pt idx="519">
                  <c:v>10:40</c:v>
                </c:pt>
                <c:pt idx="520">
                  <c:v>10:41</c:v>
                </c:pt>
                <c:pt idx="521">
                  <c:v>10:42</c:v>
                </c:pt>
                <c:pt idx="522">
                  <c:v>10:43</c:v>
                </c:pt>
                <c:pt idx="523">
                  <c:v>10:44</c:v>
                </c:pt>
                <c:pt idx="524">
                  <c:v>10:45</c:v>
                </c:pt>
                <c:pt idx="525">
                  <c:v>10:46</c:v>
                </c:pt>
                <c:pt idx="526">
                  <c:v>10:47</c:v>
                </c:pt>
                <c:pt idx="527">
                  <c:v>10:48</c:v>
                </c:pt>
                <c:pt idx="528">
                  <c:v>10:49</c:v>
                </c:pt>
                <c:pt idx="529">
                  <c:v>10:50</c:v>
                </c:pt>
                <c:pt idx="530">
                  <c:v>10:51</c:v>
                </c:pt>
                <c:pt idx="531">
                  <c:v>10:52</c:v>
                </c:pt>
                <c:pt idx="532">
                  <c:v>10:53</c:v>
                </c:pt>
                <c:pt idx="533">
                  <c:v>10:54</c:v>
                </c:pt>
                <c:pt idx="534">
                  <c:v>10:55</c:v>
                </c:pt>
                <c:pt idx="535">
                  <c:v>10:56</c:v>
                </c:pt>
                <c:pt idx="536">
                  <c:v>10:57</c:v>
                </c:pt>
                <c:pt idx="537">
                  <c:v>10:58</c:v>
                </c:pt>
                <c:pt idx="538">
                  <c:v>10:59</c:v>
                </c:pt>
                <c:pt idx="539">
                  <c:v>11:00</c:v>
                </c:pt>
                <c:pt idx="540">
                  <c:v>11:01</c:v>
                </c:pt>
                <c:pt idx="541">
                  <c:v>11:02</c:v>
                </c:pt>
                <c:pt idx="542">
                  <c:v>11:03</c:v>
                </c:pt>
                <c:pt idx="543">
                  <c:v>11:04</c:v>
                </c:pt>
                <c:pt idx="544">
                  <c:v>11:05</c:v>
                </c:pt>
                <c:pt idx="545">
                  <c:v>11:06</c:v>
                </c:pt>
                <c:pt idx="546">
                  <c:v>11:07</c:v>
                </c:pt>
                <c:pt idx="547">
                  <c:v>11:08</c:v>
                </c:pt>
                <c:pt idx="548">
                  <c:v>11:09</c:v>
                </c:pt>
                <c:pt idx="549">
                  <c:v>11:10</c:v>
                </c:pt>
                <c:pt idx="550">
                  <c:v>11:11</c:v>
                </c:pt>
                <c:pt idx="551">
                  <c:v>11:12</c:v>
                </c:pt>
                <c:pt idx="552">
                  <c:v>11:13</c:v>
                </c:pt>
                <c:pt idx="553">
                  <c:v>11:14</c:v>
                </c:pt>
                <c:pt idx="554">
                  <c:v>11:15</c:v>
                </c:pt>
                <c:pt idx="555">
                  <c:v>11:16</c:v>
                </c:pt>
                <c:pt idx="556">
                  <c:v>11:17</c:v>
                </c:pt>
                <c:pt idx="557">
                  <c:v>11:18</c:v>
                </c:pt>
                <c:pt idx="558">
                  <c:v>11:19</c:v>
                </c:pt>
                <c:pt idx="559">
                  <c:v>11:20</c:v>
                </c:pt>
                <c:pt idx="560">
                  <c:v>11:21</c:v>
                </c:pt>
                <c:pt idx="561">
                  <c:v>11:22</c:v>
                </c:pt>
                <c:pt idx="562">
                  <c:v>11:23</c:v>
                </c:pt>
                <c:pt idx="563">
                  <c:v>11:24</c:v>
                </c:pt>
                <c:pt idx="564">
                  <c:v>11:25</c:v>
                </c:pt>
                <c:pt idx="565">
                  <c:v>11:26</c:v>
                </c:pt>
                <c:pt idx="566">
                  <c:v>11:27</c:v>
                </c:pt>
                <c:pt idx="567">
                  <c:v>11:28</c:v>
                </c:pt>
                <c:pt idx="568">
                  <c:v>11:29</c:v>
                </c:pt>
                <c:pt idx="569">
                  <c:v>11:30</c:v>
                </c:pt>
                <c:pt idx="570">
                  <c:v>11:31</c:v>
                </c:pt>
                <c:pt idx="571">
                  <c:v>11:32</c:v>
                </c:pt>
                <c:pt idx="572">
                  <c:v>11:33</c:v>
                </c:pt>
                <c:pt idx="573">
                  <c:v>11:34</c:v>
                </c:pt>
                <c:pt idx="574">
                  <c:v>11:35</c:v>
                </c:pt>
                <c:pt idx="575">
                  <c:v>11:36</c:v>
                </c:pt>
                <c:pt idx="576">
                  <c:v>11:37</c:v>
                </c:pt>
                <c:pt idx="577">
                  <c:v>11:38</c:v>
                </c:pt>
                <c:pt idx="578">
                  <c:v>11:39</c:v>
                </c:pt>
                <c:pt idx="579">
                  <c:v>11:40</c:v>
                </c:pt>
                <c:pt idx="580">
                  <c:v>11:41</c:v>
                </c:pt>
                <c:pt idx="581">
                  <c:v>11:42</c:v>
                </c:pt>
                <c:pt idx="582">
                  <c:v>11:43</c:v>
                </c:pt>
                <c:pt idx="583">
                  <c:v>11:44</c:v>
                </c:pt>
                <c:pt idx="584">
                  <c:v>11:45</c:v>
                </c:pt>
                <c:pt idx="585">
                  <c:v>11:46</c:v>
                </c:pt>
                <c:pt idx="586">
                  <c:v>11:47</c:v>
                </c:pt>
                <c:pt idx="587">
                  <c:v>11:48</c:v>
                </c:pt>
                <c:pt idx="588">
                  <c:v>11:49</c:v>
                </c:pt>
                <c:pt idx="589">
                  <c:v>11:50</c:v>
                </c:pt>
                <c:pt idx="590">
                  <c:v>11:51</c:v>
                </c:pt>
                <c:pt idx="591">
                  <c:v>11:52</c:v>
                </c:pt>
                <c:pt idx="592">
                  <c:v>11:53</c:v>
                </c:pt>
                <c:pt idx="593">
                  <c:v>11:54</c:v>
                </c:pt>
                <c:pt idx="594">
                  <c:v>11:55</c:v>
                </c:pt>
                <c:pt idx="595">
                  <c:v>11:56</c:v>
                </c:pt>
                <c:pt idx="596">
                  <c:v>11:57</c:v>
                </c:pt>
                <c:pt idx="597">
                  <c:v>11:58</c:v>
                </c:pt>
                <c:pt idx="598">
                  <c:v>11:59</c:v>
                </c:pt>
                <c:pt idx="599">
                  <c:v>12:00</c:v>
                </c:pt>
                <c:pt idx="600">
                  <c:v>12:01</c:v>
                </c:pt>
                <c:pt idx="601">
                  <c:v>12:02</c:v>
                </c:pt>
                <c:pt idx="602">
                  <c:v>12:03</c:v>
                </c:pt>
                <c:pt idx="603">
                  <c:v>12:04</c:v>
                </c:pt>
                <c:pt idx="604">
                  <c:v>12:05</c:v>
                </c:pt>
                <c:pt idx="605">
                  <c:v>12:06</c:v>
                </c:pt>
                <c:pt idx="606">
                  <c:v>12:07</c:v>
                </c:pt>
                <c:pt idx="607">
                  <c:v>12:08</c:v>
                </c:pt>
                <c:pt idx="608">
                  <c:v>12:09</c:v>
                </c:pt>
                <c:pt idx="609">
                  <c:v>12:10</c:v>
                </c:pt>
                <c:pt idx="610">
                  <c:v>12:11</c:v>
                </c:pt>
                <c:pt idx="611">
                  <c:v>12:12</c:v>
                </c:pt>
                <c:pt idx="612">
                  <c:v>12:13</c:v>
                </c:pt>
                <c:pt idx="613">
                  <c:v>12:14</c:v>
                </c:pt>
                <c:pt idx="614">
                  <c:v>12:15</c:v>
                </c:pt>
                <c:pt idx="615">
                  <c:v>12:16</c:v>
                </c:pt>
                <c:pt idx="616">
                  <c:v>12:17</c:v>
                </c:pt>
                <c:pt idx="617">
                  <c:v>12:18</c:v>
                </c:pt>
                <c:pt idx="618">
                  <c:v>12:19</c:v>
                </c:pt>
                <c:pt idx="619">
                  <c:v>12:20</c:v>
                </c:pt>
                <c:pt idx="620">
                  <c:v>12:21</c:v>
                </c:pt>
                <c:pt idx="621">
                  <c:v>12:22</c:v>
                </c:pt>
                <c:pt idx="622">
                  <c:v>12:23</c:v>
                </c:pt>
                <c:pt idx="623">
                  <c:v>12:24</c:v>
                </c:pt>
                <c:pt idx="624">
                  <c:v>12:25</c:v>
                </c:pt>
                <c:pt idx="625">
                  <c:v>12:26</c:v>
                </c:pt>
                <c:pt idx="626">
                  <c:v>12:27</c:v>
                </c:pt>
                <c:pt idx="627">
                  <c:v>12:28</c:v>
                </c:pt>
                <c:pt idx="628">
                  <c:v>12:29</c:v>
                </c:pt>
                <c:pt idx="629">
                  <c:v>12:30</c:v>
                </c:pt>
                <c:pt idx="630">
                  <c:v>12:31</c:v>
                </c:pt>
                <c:pt idx="631">
                  <c:v>12:32</c:v>
                </c:pt>
                <c:pt idx="632">
                  <c:v>12:33</c:v>
                </c:pt>
                <c:pt idx="633">
                  <c:v>12:34</c:v>
                </c:pt>
                <c:pt idx="634">
                  <c:v>12:35</c:v>
                </c:pt>
                <c:pt idx="635">
                  <c:v>12:36</c:v>
                </c:pt>
                <c:pt idx="636">
                  <c:v>12:37</c:v>
                </c:pt>
                <c:pt idx="637">
                  <c:v>12:38</c:v>
                </c:pt>
                <c:pt idx="638">
                  <c:v>12:39</c:v>
                </c:pt>
                <c:pt idx="639">
                  <c:v>12:40</c:v>
                </c:pt>
                <c:pt idx="640">
                  <c:v>12:41</c:v>
                </c:pt>
                <c:pt idx="641">
                  <c:v>12:42</c:v>
                </c:pt>
                <c:pt idx="642">
                  <c:v>12:43</c:v>
                </c:pt>
                <c:pt idx="643">
                  <c:v>12:44</c:v>
                </c:pt>
                <c:pt idx="644">
                  <c:v>12:45</c:v>
                </c:pt>
                <c:pt idx="645">
                  <c:v>12:46</c:v>
                </c:pt>
                <c:pt idx="646">
                  <c:v>12:47</c:v>
                </c:pt>
                <c:pt idx="647">
                  <c:v>12:48</c:v>
                </c:pt>
                <c:pt idx="648">
                  <c:v>12:49</c:v>
                </c:pt>
                <c:pt idx="649">
                  <c:v>12:50</c:v>
                </c:pt>
                <c:pt idx="650">
                  <c:v>12:51</c:v>
                </c:pt>
                <c:pt idx="651">
                  <c:v>12:52</c:v>
                </c:pt>
                <c:pt idx="652">
                  <c:v>12:53</c:v>
                </c:pt>
                <c:pt idx="653">
                  <c:v>12:54</c:v>
                </c:pt>
                <c:pt idx="654">
                  <c:v>12:55</c:v>
                </c:pt>
                <c:pt idx="655">
                  <c:v>12:56</c:v>
                </c:pt>
                <c:pt idx="656">
                  <c:v>12:57</c:v>
                </c:pt>
                <c:pt idx="657">
                  <c:v>12:58</c:v>
                </c:pt>
                <c:pt idx="658">
                  <c:v>12:59</c:v>
                </c:pt>
                <c:pt idx="659">
                  <c:v>13:00</c:v>
                </c:pt>
                <c:pt idx="660">
                  <c:v>13:01</c:v>
                </c:pt>
                <c:pt idx="661">
                  <c:v>13:02</c:v>
                </c:pt>
                <c:pt idx="662">
                  <c:v>13:03</c:v>
                </c:pt>
                <c:pt idx="663">
                  <c:v>13:04</c:v>
                </c:pt>
                <c:pt idx="664">
                  <c:v>13:05</c:v>
                </c:pt>
                <c:pt idx="665">
                  <c:v>13:06</c:v>
                </c:pt>
                <c:pt idx="666">
                  <c:v>13:07</c:v>
                </c:pt>
                <c:pt idx="667">
                  <c:v>13:08</c:v>
                </c:pt>
                <c:pt idx="668">
                  <c:v>13:09</c:v>
                </c:pt>
                <c:pt idx="669">
                  <c:v>13:10</c:v>
                </c:pt>
                <c:pt idx="670">
                  <c:v>13:11</c:v>
                </c:pt>
                <c:pt idx="671">
                  <c:v>13:12</c:v>
                </c:pt>
                <c:pt idx="672">
                  <c:v>13:13</c:v>
                </c:pt>
                <c:pt idx="673">
                  <c:v>13:14</c:v>
                </c:pt>
                <c:pt idx="674">
                  <c:v>13:15</c:v>
                </c:pt>
                <c:pt idx="675">
                  <c:v>13:16</c:v>
                </c:pt>
                <c:pt idx="676">
                  <c:v>13:17</c:v>
                </c:pt>
                <c:pt idx="677">
                  <c:v>13:18</c:v>
                </c:pt>
                <c:pt idx="678">
                  <c:v>13:19</c:v>
                </c:pt>
                <c:pt idx="679">
                  <c:v>13:20</c:v>
                </c:pt>
                <c:pt idx="680">
                  <c:v>13:21</c:v>
                </c:pt>
                <c:pt idx="681">
                  <c:v>13:22</c:v>
                </c:pt>
                <c:pt idx="682">
                  <c:v>13:23</c:v>
                </c:pt>
                <c:pt idx="683">
                  <c:v>13:24</c:v>
                </c:pt>
                <c:pt idx="684">
                  <c:v>13:25</c:v>
                </c:pt>
                <c:pt idx="685">
                  <c:v>13:26</c:v>
                </c:pt>
                <c:pt idx="686">
                  <c:v>13:27</c:v>
                </c:pt>
                <c:pt idx="687">
                  <c:v>13:28</c:v>
                </c:pt>
                <c:pt idx="688">
                  <c:v>13:29</c:v>
                </c:pt>
                <c:pt idx="689">
                  <c:v>13:30</c:v>
                </c:pt>
                <c:pt idx="690">
                  <c:v>13:31</c:v>
                </c:pt>
                <c:pt idx="691">
                  <c:v>13:32</c:v>
                </c:pt>
                <c:pt idx="692">
                  <c:v>13:33</c:v>
                </c:pt>
                <c:pt idx="693">
                  <c:v>13:34</c:v>
                </c:pt>
                <c:pt idx="694">
                  <c:v>13:35</c:v>
                </c:pt>
                <c:pt idx="695">
                  <c:v>13:36</c:v>
                </c:pt>
                <c:pt idx="696">
                  <c:v>13:37</c:v>
                </c:pt>
                <c:pt idx="697">
                  <c:v>13:38</c:v>
                </c:pt>
                <c:pt idx="698">
                  <c:v>13:39</c:v>
                </c:pt>
                <c:pt idx="699">
                  <c:v>13:40</c:v>
                </c:pt>
                <c:pt idx="700">
                  <c:v>13:41</c:v>
                </c:pt>
                <c:pt idx="701">
                  <c:v>13:42</c:v>
                </c:pt>
                <c:pt idx="702">
                  <c:v>13:43</c:v>
                </c:pt>
                <c:pt idx="703">
                  <c:v>13:44</c:v>
                </c:pt>
                <c:pt idx="704">
                  <c:v>13:45</c:v>
                </c:pt>
                <c:pt idx="705">
                  <c:v>13:46</c:v>
                </c:pt>
                <c:pt idx="706">
                  <c:v>13:47</c:v>
                </c:pt>
                <c:pt idx="707">
                  <c:v>13:48</c:v>
                </c:pt>
                <c:pt idx="708">
                  <c:v>13:49</c:v>
                </c:pt>
                <c:pt idx="709">
                  <c:v>13:50</c:v>
                </c:pt>
                <c:pt idx="710">
                  <c:v>13:51</c:v>
                </c:pt>
                <c:pt idx="711">
                  <c:v>13:52</c:v>
                </c:pt>
                <c:pt idx="712">
                  <c:v>13:53</c:v>
                </c:pt>
                <c:pt idx="713">
                  <c:v>13:54</c:v>
                </c:pt>
                <c:pt idx="714">
                  <c:v>13:55</c:v>
                </c:pt>
                <c:pt idx="715">
                  <c:v>13:56</c:v>
                </c:pt>
                <c:pt idx="716">
                  <c:v>13:57</c:v>
                </c:pt>
                <c:pt idx="717">
                  <c:v>13:58</c:v>
                </c:pt>
                <c:pt idx="718">
                  <c:v>13:59</c:v>
                </c:pt>
                <c:pt idx="719">
                  <c:v>14:00</c:v>
                </c:pt>
                <c:pt idx="720">
                  <c:v>14:01</c:v>
                </c:pt>
                <c:pt idx="721">
                  <c:v>14:02</c:v>
                </c:pt>
                <c:pt idx="722">
                  <c:v>14:03</c:v>
                </c:pt>
                <c:pt idx="723">
                  <c:v>14:04</c:v>
                </c:pt>
                <c:pt idx="724">
                  <c:v>14:05</c:v>
                </c:pt>
                <c:pt idx="725">
                  <c:v>14:06</c:v>
                </c:pt>
                <c:pt idx="726">
                  <c:v>14:07</c:v>
                </c:pt>
                <c:pt idx="727">
                  <c:v>14:08</c:v>
                </c:pt>
                <c:pt idx="728">
                  <c:v>14:09</c:v>
                </c:pt>
                <c:pt idx="729">
                  <c:v>14:10</c:v>
                </c:pt>
                <c:pt idx="730">
                  <c:v>14:11</c:v>
                </c:pt>
                <c:pt idx="731">
                  <c:v>14:12</c:v>
                </c:pt>
                <c:pt idx="732">
                  <c:v>14:13</c:v>
                </c:pt>
                <c:pt idx="733">
                  <c:v>14:14</c:v>
                </c:pt>
                <c:pt idx="734">
                  <c:v>14:15</c:v>
                </c:pt>
                <c:pt idx="735">
                  <c:v>14:16</c:v>
                </c:pt>
                <c:pt idx="736">
                  <c:v>14:17</c:v>
                </c:pt>
                <c:pt idx="737">
                  <c:v>14:18</c:v>
                </c:pt>
                <c:pt idx="738">
                  <c:v>14:19</c:v>
                </c:pt>
                <c:pt idx="739">
                  <c:v>14:20</c:v>
                </c:pt>
                <c:pt idx="740">
                  <c:v>14:21</c:v>
                </c:pt>
                <c:pt idx="741">
                  <c:v>14:22</c:v>
                </c:pt>
                <c:pt idx="742">
                  <c:v>14:23</c:v>
                </c:pt>
                <c:pt idx="743">
                  <c:v>14:24</c:v>
                </c:pt>
                <c:pt idx="744">
                  <c:v>14:25</c:v>
                </c:pt>
                <c:pt idx="745">
                  <c:v>14:26</c:v>
                </c:pt>
                <c:pt idx="746">
                  <c:v>14:27</c:v>
                </c:pt>
                <c:pt idx="747">
                  <c:v>14:28</c:v>
                </c:pt>
                <c:pt idx="748">
                  <c:v>14:29</c:v>
                </c:pt>
                <c:pt idx="749">
                  <c:v>14:30</c:v>
                </c:pt>
                <c:pt idx="750">
                  <c:v>14:31</c:v>
                </c:pt>
                <c:pt idx="751">
                  <c:v>14:32</c:v>
                </c:pt>
                <c:pt idx="752">
                  <c:v>14:33</c:v>
                </c:pt>
                <c:pt idx="753">
                  <c:v>14:34</c:v>
                </c:pt>
                <c:pt idx="754">
                  <c:v>14:35</c:v>
                </c:pt>
                <c:pt idx="755">
                  <c:v>14:36</c:v>
                </c:pt>
                <c:pt idx="756">
                  <c:v>14:37</c:v>
                </c:pt>
                <c:pt idx="757">
                  <c:v>14:38</c:v>
                </c:pt>
                <c:pt idx="758">
                  <c:v>14:39</c:v>
                </c:pt>
                <c:pt idx="759">
                  <c:v>14:40</c:v>
                </c:pt>
                <c:pt idx="760">
                  <c:v>14:41</c:v>
                </c:pt>
                <c:pt idx="761">
                  <c:v>14:42</c:v>
                </c:pt>
                <c:pt idx="762">
                  <c:v>14:43</c:v>
                </c:pt>
                <c:pt idx="763">
                  <c:v>14:44</c:v>
                </c:pt>
                <c:pt idx="764">
                  <c:v>14:45</c:v>
                </c:pt>
                <c:pt idx="765">
                  <c:v>14:46</c:v>
                </c:pt>
                <c:pt idx="766">
                  <c:v>14:47</c:v>
                </c:pt>
                <c:pt idx="767">
                  <c:v>14:48</c:v>
                </c:pt>
                <c:pt idx="768">
                  <c:v>14:49</c:v>
                </c:pt>
                <c:pt idx="769">
                  <c:v>14:50</c:v>
                </c:pt>
                <c:pt idx="770">
                  <c:v>14:51</c:v>
                </c:pt>
                <c:pt idx="771">
                  <c:v>14:52</c:v>
                </c:pt>
                <c:pt idx="772">
                  <c:v>14:53</c:v>
                </c:pt>
                <c:pt idx="773">
                  <c:v>14:54</c:v>
                </c:pt>
                <c:pt idx="774">
                  <c:v>14:55</c:v>
                </c:pt>
                <c:pt idx="775">
                  <c:v>14:56</c:v>
                </c:pt>
                <c:pt idx="776">
                  <c:v>14:57</c:v>
                </c:pt>
                <c:pt idx="777">
                  <c:v>14:58</c:v>
                </c:pt>
                <c:pt idx="778">
                  <c:v>14:59</c:v>
                </c:pt>
                <c:pt idx="779">
                  <c:v>15:00</c:v>
                </c:pt>
                <c:pt idx="780">
                  <c:v>15:01</c:v>
                </c:pt>
                <c:pt idx="781">
                  <c:v>15:02</c:v>
                </c:pt>
                <c:pt idx="782">
                  <c:v>15:03</c:v>
                </c:pt>
                <c:pt idx="783">
                  <c:v>15:04</c:v>
                </c:pt>
                <c:pt idx="784">
                  <c:v>15:05</c:v>
                </c:pt>
                <c:pt idx="785">
                  <c:v>15:06</c:v>
                </c:pt>
                <c:pt idx="786">
                  <c:v>15:07</c:v>
                </c:pt>
                <c:pt idx="787">
                  <c:v>15:08</c:v>
                </c:pt>
                <c:pt idx="788">
                  <c:v>15:09</c:v>
                </c:pt>
                <c:pt idx="789">
                  <c:v>15:10</c:v>
                </c:pt>
                <c:pt idx="790">
                  <c:v>15:11</c:v>
                </c:pt>
                <c:pt idx="791">
                  <c:v>15:12</c:v>
                </c:pt>
                <c:pt idx="792">
                  <c:v>15:13</c:v>
                </c:pt>
                <c:pt idx="793">
                  <c:v>15:14</c:v>
                </c:pt>
                <c:pt idx="794">
                  <c:v>15:15</c:v>
                </c:pt>
                <c:pt idx="795">
                  <c:v>15:16</c:v>
                </c:pt>
                <c:pt idx="796">
                  <c:v>15:17</c:v>
                </c:pt>
                <c:pt idx="797">
                  <c:v>15:18</c:v>
                </c:pt>
                <c:pt idx="798">
                  <c:v>15:19</c:v>
                </c:pt>
                <c:pt idx="799">
                  <c:v>15:20</c:v>
                </c:pt>
                <c:pt idx="800">
                  <c:v>15:21</c:v>
                </c:pt>
                <c:pt idx="801">
                  <c:v>15:22</c:v>
                </c:pt>
                <c:pt idx="802">
                  <c:v>15:23</c:v>
                </c:pt>
                <c:pt idx="803">
                  <c:v>15:24</c:v>
                </c:pt>
                <c:pt idx="804">
                  <c:v>15:25</c:v>
                </c:pt>
                <c:pt idx="805">
                  <c:v>15:26</c:v>
                </c:pt>
                <c:pt idx="806">
                  <c:v>15:27</c:v>
                </c:pt>
                <c:pt idx="807">
                  <c:v>15:28</c:v>
                </c:pt>
                <c:pt idx="808">
                  <c:v>15:29</c:v>
                </c:pt>
                <c:pt idx="809">
                  <c:v>15:30</c:v>
                </c:pt>
                <c:pt idx="810">
                  <c:v>15:31</c:v>
                </c:pt>
                <c:pt idx="811">
                  <c:v>15:32</c:v>
                </c:pt>
                <c:pt idx="812">
                  <c:v>15:33</c:v>
                </c:pt>
                <c:pt idx="813">
                  <c:v>15:34</c:v>
                </c:pt>
                <c:pt idx="814">
                  <c:v>15:35</c:v>
                </c:pt>
                <c:pt idx="815">
                  <c:v>15:36</c:v>
                </c:pt>
                <c:pt idx="816">
                  <c:v>15:37</c:v>
                </c:pt>
                <c:pt idx="817">
                  <c:v>15:38</c:v>
                </c:pt>
                <c:pt idx="818">
                  <c:v>15:39</c:v>
                </c:pt>
                <c:pt idx="819">
                  <c:v>15:40</c:v>
                </c:pt>
                <c:pt idx="820">
                  <c:v>15:41</c:v>
                </c:pt>
                <c:pt idx="821">
                  <c:v>15:42</c:v>
                </c:pt>
                <c:pt idx="822">
                  <c:v>15:43</c:v>
                </c:pt>
                <c:pt idx="823">
                  <c:v>15:44</c:v>
                </c:pt>
                <c:pt idx="824">
                  <c:v>15:45</c:v>
                </c:pt>
                <c:pt idx="825">
                  <c:v>15:46</c:v>
                </c:pt>
                <c:pt idx="826">
                  <c:v>15:47</c:v>
                </c:pt>
                <c:pt idx="827">
                  <c:v>15:48</c:v>
                </c:pt>
                <c:pt idx="828">
                  <c:v>15:49</c:v>
                </c:pt>
                <c:pt idx="829">
                  <c:v>15:50</c:v>
                </c:pt>
                <c:pt idx="830">
                  <c:v>15:51</c:v>
                </c:pt>
                <c:pt idx="831">
                  <c:v>15:52</c:v>
                </c:pt>
                <c:pt idx="832">
                  <c:v>15:53</c:v>
                </c:pt>
                <c:pt idx="833">
                  <c:v>15:54</c:v>
                </c:pt>
                <c:pt idx="834">
                  <c:v>15:55</c:v>
                </c:pt>
                <c:pt idx="835">
                  <c:v>15:56</c:v>
                </c:pt>
                <c:pt idx="836">
                  <c:v>15:57</c:v>
                </c:pt>
                <c:pt idx="837">
                  <c:v>15:58</c:v>
                </c:pt>
                <c:pt idx="838">
                  <c:v>15:59</c:v>
                </c:pt>
                <c:pt idx="839">
                  <c:v>16:00</c:v>
                </c:pt>
                <c:pt idx="840">
                  <c:v>16:01</c:v>
                </c:pt>
                <c:pt idx="841">
                  <c:v>16:02</c:v>
                </c:pt>
                <c:pt idx="842">
                  <c:v>16:03</c:v>
                </c:pt>
                <c:pt idx="843">
                  <c:v>16:04</c:v>
                </c:pt>
                <c:pt idx="844">
                  <c:v>16:05</c:v>
                </c:pt>
                <c:pt idx="845">
                  <c:v>16:06</c:v>
                </c:pt>
                <c:pt idx="846">
                  <c:v>16:07</c:v>
                </c:pt>
                <c:pt idx="847">
                  <c:v>16:08</c:v>
                </c:pt>
                <c:pt idx="848">
                  <c:v>16:09</c:v>
                </c:pt>
                <c:pt idx="849">
                  <c:v>16:10</c:v>
                </c:pt>
                <c:pt idx="850">
                  <c:v>16:11</c:v>
                </c:pt>
                <c:pt idx="851">
                  <c:v>16:12</c:v>
                </c:pt>
                <c:pt idx="852">
                  <c:v>16:13</c:v>
                </c:pt>
                <c:pt idx="853">
                  <c:v>16:14</c:v>
                </c:pt>
                <c:pt idx="854">
                  <c:v>16:15</c:v>
                </c:pt>
                <c:pt idx="855">
                  <c:v>16:16</c:v>
                </c:pt>
                <c:pt idx="856">
                  <c:v>16:17</c:v>
                </c:pt>
                <c:pt idx="857">
                  <c:v>16:18</c:v>
                </c:pt>
                <c:pt idx="858">
                  <c:v>16:19</c:v>
                </c:pt>
                <c:pt idx="859">
                  <c:v>16:20</c:v>
                </c:pt>
                <c:pt idx="860">
                  <c:v>16:21</c:v>
                </c:pt>
                <c:pt idx="861">
                  <c:v>16:22</c:v>
                </c:pt>
                <c:pt idx="862">
                  <c:v>16:23</c:v>
                </c:pt>
                <c:pt idx="863">
                  <c:v>16:24</c:v>
                </c:pt>
                <c:pt idx="864">
                  <c:v>16:25</c:v>
                </c:pt>
                <c:pt idx="865">
                  <c:v>16:26</c:v>
                </c:pt>
                <c:pt idx="866">
                  <c:v>16:27</c:v>
                </c:pt>
                <c:pt idx="867">
                  <c:v>16:28</c:v>
                </c:pt>
                <c:pt idx="868">
                  <c:v>16:29</c:v>
                </c:pt>
                <c:pt idx="869">
                  <c:v>16:30</c:v>
                </c:pt>
                <c:pt idx="870">
                  <c:v>16:31</c:v>
                </c:pt>
                <c:pt idx="871">
                  <c:v>16:32</c:v>
                </c:pt>
                <c:pt idx="872">
                  <c:v>16:33</c:v>
                </c:pt>
                <c:pt idx="873">
                  <c:v>16:34</c:v>
                </c:pt>
                <c:pt idx="874">
                  <c:v>16:35</c:v>
                </c:pt>
                <c:pt idx="875">
                  <c:v>16:36</c:v>
                </c:pt>
                <c:pt idx="876">
                  <c:v>16:37</c:v>
                </c:pt>
                <c:pt idx="877">
                  <c:v>16:38</c:v>
                </c:pt>
                <c:pt idx="878">
                  <c:v>16:39</c:v>
                </c:pt>
                <c:pt idx="879">
                  <c:v>16:40</c:v>
                </c:pt>
                <c:pt idx="880">
                  <c:v>16:41</c:v>
                </c:pt>
                <c:pt idx="881">
                  <c:v>16:42</c:v>
                </c:pt>
                <c:pt idx="882">
                  <c:v>16:43</c:v>
                </c:pt>
                <c:pt idx="883">
                  <c:v>16:44</c:v>
                </c:pt>
                <c:pt idx="884">
                  <c:v>16:45</c:v>
                </c:pt>
                <c:pt idx="885">
                  <c:v>16:46</c:v>
                </c:pt>
                <c:pt idx="886">
                  <c:v>16:47</c:v>
                </c:pt>
                <c:pt idx="887">
                  <c:v>16:48</c:v>
                </c:pt>
                <c:pt idx="888">
                  <c:v>16:49</c:v>
                </c:pt>
                <c:pt idx="889">
                  <c:v>16:50</c:v>
                </c:pt>
                <c:pt idx="890">
                  <c:v>16:51</c:v>
                </c:pt>
                <c:pt idx="891">
                  <c:v>16:52</c:v>
                </c:pt>
                <c:pt idx="892">
                  <c:v>16:53</c:v>
                </c:pt>
                <c:pt idx="893">
                  <c:v>16:54</c:v>
                </c:pt>
                <c:pt idx="894">
                  <c:v>16:55</c:v>
                </c:pt>
                <c:pt idx="895">
                  <c:v>16:56</c:v>
                </c:pt>
                <c:pt idx="896">
                  <c:v>16:57</c:v>
                </c:pt>
                <c:pt idx="897">
                  <c:v>16:58</c:v>
                </c:pt>
                <c:pt idx="898">
                  <c:v>16:59</c:v>
                </c:pt>
                <c:pt idx="899">
                  <c:v>17:00</c:v>
                </c:pt>
                <c:pt idx="900">
                  <c:v>17:01</c:v>
                </c:pt>
                <c:pt idx="901">
                  <c:v>17:02</c:v>
                </c:pt>
                <c:pt idx="902">
                  <c:v>17:03</c:v>
                </c:pt>
                <c:pt idx="903">
                  <c:v>17:04</c:v>
                </c:pt>
                <c:pt idx="904">
                  <c:v>17:05</c:v>
                </c:pt>
                <c:pt idx="905">
                  <c:v>17:06</c:v>
                </c:pt>
                <c:pt idx="906">
                  <c:v>17:07</c:v>
                </c:pt>
                <c:pt idx="907">
                  <c:v>17:08</c:v>
                </c:pt>
                <c:pt idx="908">
                  <c:v>17:09</c:v>
                </c:pt>
                <c:pt idx="909">
                  <c:v>17:10</c:v>
                </c:pt>
                <c:pt idx="910">
                  <c:v>17:11</c:v>
                </c:pt>
                <c:pt idx="911">
                  <c:v>17:12</c:v>
                </c:pt>
                <c:pt idx="912">
                  <c:v>17:13</c:v>
                </c:pt>
                <c:pt idx="913">
                  <c:v>17:14</c:v>
                </c:pt>
                <c:pt idx="914">
                  <c:v>17:15</c:v>
                </c:pt>
                <c:pt idx="915">
                  <c:v>17:16</c:v>
                </c:pt>
                <c:pt idx="916">
                  <c:v>17:17</c:v>
                </c:pt>
                <c:pt idx="917">
                  <c:v>17:18</c:v>
                </c:pt>
                <c:pt idx="918">
                  <c:v>17:19</c:v>
                </c:pt>
                <c:pt idx="919">
                  <c:v>17:20</c:v>
                </c:pt>
                <c:pt idx="920">
                  <c:v>17:21</c:v>
                </c:pt>
                <c:pt idx="921">
                  <c:v>17:22</c:v>
                </c:pt>
                <c:pt idx="922">
                  <c:v>17:23</c:v>
                </c:pt>
                <c:pt idx="923">
                  <c:v>17:24</c:v>
                </c:pt>
                <c:pt idx="924">
                  <c:v>17:25</c:v>
                </c:pt>
                <c:pt idx="925">
                  <c:v>17:26</c:v>
                </c:pt>
                <c:pt idx="926">
                  <c:v>17:27</c:v>
                </c:pt>
                <c:pt idx="927">
                  <c:v>17:28</c:v>
                </c:pt>
                <c:pt idx="928">
                  <c:v>17:29</c:v>
                </c:pt>
                <c:pt idx="929">
                  <c:v>17:30</c:v>
                </c:pt>
                <c:pt idx="930">
                  <c:v>17:31</c:v>
                </c:pt>
                <c:pt idx="931">
                  <c:v>17:32</c:v>
                </c:pt>
                <c:pt idx="932">
                  <c:v>17:33</c:v>
                </c:pt>
                <c:pt idx="933">
                  <c:v>17:34</c:v>
                </c:pt>
                <c:pt idx="934">
                  <c:v>17:35</c:v>
                </c:pt>
                <c:pt idx="935">
                  <c:v>17:36</c:v>
                </c:pt>
                <c:pt idx="936">
                  <c:v>17:37</c:v>
                </c:pt>
                <c:pt idx="937">
                  <c:v>17:38</c:v>
                </c:pt>
                <c:pt idx="938">
                  <c:v>17:39</c:v>
                </c:pt>
                <c:pt idx="939">
                  <c:v>17:40</c:v>
                </c:pt>
                <c:pt idx="940">
                  <c:v>17:41</c:v>
                </c:pt>
                <c:pt idx="941">
                  <c:v>17:42</c:v>
                </c:pt>
                <c:pt idx="942">
                  <c:v>17:43</c:v>
                </c:pt>
                <c:pt idx="943">
                  <c:v>17:44</c:v>
                </c:pt>
                <c:pt idx="944">
                  <c:v>17:45</c:v>
                </c:pt>
                <c:pt idx="945">
                  <c:v>17:46</c:v>
                </c:pt>
                <c:pt idx="946">
                  <c:v>17:47</c:v>
                </c:pt>
                <c:pt idx="947">
                  <c:v>17:48</c:v>
                </c:pt>
                <c:pt idx="948">
                  <c:v>17:49</c:v>
                </c:pt>
                <c:pt idx="949">
                  <c:v>17:50</c:v>
                </c:pt>
                <c:pt idx="950">
                  <c:v>17:51</c:v>
                </c:pt>
                <c:pt idx="951">
                  <c:v>17:52</c:v>
                </c:pt>
                <c:pt idx="952">
                  <c:v>17:53</c:v>
                </c:pt>
                <c:pt idx="953">
                  <c:v>17:54</c:v>
                </c:pt>
                <c:pt idx="954">
                  <c:v>17:55</c:v>
                </c:pt>
                <c:pt idx="955">
                  <c:v>17:56</c:v>
                </c:pt>
                <c:pt idx="956">
                  <c:v>17:57</c:v>
                </c:pt>
                <c:pt idx="957">
                  <c:v>17:58</c:v>
                </c:pt>
                <c:pt idx="958">
                  <c:v>17:59</c:v>
                </c:pt>
                <c:pt idx="959">
                  <c:v>18:00</c:v>
                </c:pt>
                <c:pt idx="960">
                  <c:v>18:01</c:v>
                </c:pt>
                <c:pt idx="961">
                  <c:v>18:02</c:v>
                </c:pt>
                <c:pt idx="962">
                  <c:v>18:03</c:v>
                </c:pt>
                <c:pt idx="963">
                  <c:v>18:04</c:v>
                </c:pt>
                <c:pt idx="964">
                  <c:v>18:05</c:v>
                </c:pt>
                <c:pt idx="965">
                  <c:v>18:06</c:v>
                </c:pt>
                <c:pt idx="966">
                  <c:v>18:07</c:v>
                </c:pt>
                <c:pt idx="967">
                  <c:v>18:08</c:v>
                </c:pt>
                <c:pt idx="968">
                  <c:v>18:09</c:v>
                </c:pt>
                <c:pt idx="969">
                  <c:v>18:10</c:v>
                </c:pt>
                <c:pt idx="970">
                  <c:v>18:11</c:v>
                </c:pt>
                <c:pt idx="971">
                  <c:v>18:12</c:v>
                </c:pt>
                <c:pt idx="972">
                  <c:v>18:13</c:v>
                </c:pt>
                <c:pt idx="973">
                  <c:v>18:14</c:v>
                </c:pt>
                <c:pt idx="974">
                  <c:v>18:15</c:v>
                </c:pt>
                <c:pt idx="975">
                  <c:v>18:16</c:v>
                </c:pt>
                <c:pt idx="976">
                  <c:v>18:17</c:v>
                </c:pt>
                <c:pt idx="977">
                  <c:v>18:18</c:v>
                </c:pt>
                <c:pt idx="978">
                  <c:v>18:19</c:v>
                </c:pt>
                <c:pt idx="979">
                  <c:v>18:20</c:v>
                </c:pt>
                <c:pt idx="980">
                  <c:v>18:21</c:v>
                </c:pt>
                <c:pt idx="981">
                  <c:v>18:22</c:v>
                </c:pt>
                <c:pt idx="982">
                  <c:v>18:23</c:v>
                </c:pt>
                <c:pt idx="983">
                  <c:v>18:24</c:v>
                </c:pt>
                <c:pt idx="984">
                  <c:v>18:25</c:v>
                </c:pt>
                <c:pt idx="985">
                  <c:v>18:26</c:v>
                </c:pt>
                <c:pt idx="986">
                  <c:v>18:27</c:v>
                </c:pt>
                <c:pt idx="987">
                  <c:v>18:28</c:v>
                </c:pt>
                <c:pt idx="988">
                  <c:v>18:29</c:v>
                </c:pt>
                <c:pt idx="989">
                  <c:v>18:30</c:v>
                </c:pt>
                <c:pt idx="990">
                  <c:v>18:31</c:v>
                </c:pt>
                <c:pt idx="991">
                  <c:v>18:32</c:v>
                </c:pt>
                <c:pt idx="992">
                  <c:v>18:33</c:v>
                </c:pt>
                <c:pt idx="993">
                  <c:v>18:34</c:v>
                </c:pt>
                <c:pt idx="994">
                  <c:v>18:35</c:v>
                </c:pt>
                <c:pt idx="995">
                  <c:v>18:36</c:v>
                </c:pt>
                <c:pt idx="996">
                  <c:v>18:37</c:v>
                </c:pt>
                <c:pt idx="997">
                  <c:v>18:38</c:v>
                </c:pt>
                <c:pt idx="998">
                  <c:v>18:39</c:v>
                </c:pt>
                <c:pt idx="999">
                  <c:v>18:40</c:v>
                </c:pt>
                <c:pt idx="1000">
                  <c:v>18:41</c:v>
                </c:pt>
                <c:pt idx="1001">
                  <c:v>18:42</c:v>
                </c:pt>
                <c:pt idx="1002">
                  <c:v>18:43</c:v>
                </c:pt>
                <c:pt idx="1003">
                  <c:v>18:44</c:v>
                </c:pt>
                <c:pt idx="1004">
                  <c:v>18:45</c:v>
                </c:pt>
                <c:pt idx="1005">
                  <c:v>18:46</c:v>
                </c:pt>
                <c:pt idx="1006">
                  <c:v>18:47</c:v>
                </c:pt>
                <c:pt idx="1007">
                  <c:v>18:48</c:v>
                </c:pt>
                <c:pt idx="1008">
                  <c:v>18:49</c:v>
                </c:pt>
                <c:pt idx="1009">
                  <c:v>18:50</c:v>
                </c:pt>
                <c:pt idx="1010">
                  <c:v>18:51</c:v>
                </c:pt>
                <c:pt idx="1011">
                  <c:v>18:52</c:v>
                </c:pt>
                <c:pt idx="1012">
                  <c:v>18:53</c:v>
                </c:pt>
                <c:pt idx="1013">
                  <c:v>18:54</c:v>
                </c:pt>
                <c:pt idx="1014">
                  <c:v>18:55</c:v>
                </c:pt>
                <c:pt idx="1015">
                  <c:v>18:56</c:v>
                </c:pt>
                <c:pt idx="1016">
                  <c:v>18:57</c:v>
                </c:pt>
                <c:pt idx="1017">
                  <c:v>18:58</c:v>
                </c:pt>
                <c:pt idx="1018">
                  <c:v>18:59</c:v>
                </c:pt>
                <c:pt idx="1019">
                  <c:v>19:00</c:v>
                </c:pt>
                <c:pt idx="1020">
                  <c:v>19:01</c:v>
                </c:pt>
                <c:pt idx="1021">
                  <c:v>19:02</c:v>
                </c:pt>
                <c:pt idx="1022">
                  <c:v>19:03</c:v>
                </c:pt>
                <c:pt idx="1023">
                  <c:v>19:04</c:v>
                </c:pt>
                <c:pt idx="1024">
                  <c:v>19:05</c:v>
                </c:pt>
                <c:pt idx="1025">
                  <c:v>19:06</c:v>
                </c:pt>
                <c:pt idx="1026">
                  <c:v>19:07</c:v>
                </c:pt>
                <c:pt idx="1027">
                  <c:v>19:08</c:v>
                </c:pt>
                <c:pt idx="1028">
                  <c:v>19:09</c:v>
                </c:pt>
                <c:pt idx="1029">
                  <c:v>19:10</c:v>
                </c:pt>
                <c:pt idx="1030">
                  <c:v>19:11</c:v>
                </c:pt>
                <c:pt idx="1031">
                  <c:v>19:12</c:v>
                </c:pt>
                <c:pt idx="1032">
                  <c:v>19:13</c:v>
                </c:pt>
                <c:pt idx="1033">
                  <c:v>19:14</c:v>
                </c:pt>
                <c:pt idx="1034">
                  <c:v>19:15</c:v>
                </c:pt>
                <c:pt idx="1035">
                  <c:v>19:16</c:v>
                </c:pt>
                <c:pt idx="1036">
                  <c:v>19:17</c:v>
                </c:pt>
                <c:pt idx="1037">
                  <c:v>19:18</c:v>
                </c:pt>
                <c:pt idx="1038">
                  <c:v>19:19</c:v>
                </c:pt>
                <c:pt idx="1039">
                  <c:v>19:20</c:v>
                </c:pt>
                <c:pt idx="1040">
                  <c:v>19:21</c:v>
                </c:pt>
                <c:pt idx="1041">
                  <c:v>19:22</c:v>
                </c:pt>
                <c:pt idx="1042">
                  <c:v>19:23</c:v>
                </c:pt>
                <c:pt idx="1043">
                  <c:v>19:24</c:v>
                </c:pt>
                <c:pt idx="1044">
                  <c:v>19:25</c:v>
                </c:pt>
                <c:pt idx="1045">
                  <c:v>19:26</c:v>
                </c:pt>
                <c:pt idx="1046">
                  <c:v>19:27</c:v>
                </c:pt>
                <c:pt idx="1047">
                  <c:v>19:28</c:v>
                </c:pt>
                <c:pt idx="1048">
                  <c:v>19:29</c:v>
                </c:pt>
                <c:pt idx="1049">
                  <c:v>19:30</c:v>
                </c:pt>
                <c:pt idx="1050">
                  <c:v>19:31</c:v>
                </c:pt>
                <c:pt idx="1051">
                  <c:v>19:32</c:v>
                </c:pt>
                <c:pt idx="1052">
                  <c:v>19:33</c:v>
                </c:pt>
                <c:pt idx="1053">
                  <c:v>19:34</c:v>
                </c:pt>
                <c:pt idx="1054">
                  <c:v>19:35</c:v>
                </c:pt>
                <c:pt idx="1055">
                  <c:v>19:36</c:v>
                </c:pt>
                <c:pt idx="1056">
                  <c:v>19:37</c:v>
                </c:pt>
                <c:pt idx="1057">
                  <c:v>19:38</c:v>
                </c:pt>
                <c:pt idx="1058">
                  <c:v>19:39</c:v>
                </c:pt>
                <c:pt idx="1059">
                  <c:v>19:40</c:v>
                </c:pt>
                <c:pt idx="1060">
                  <c:v>19:41</c:v>
                </c:pt>
                <c:pt idx="1061">
                  <c:v>19:42</c:v>
                </c:pt>
                <c:pt idx="1062">
                  <c:v>19:43</c:v>
                </c:pt>
                <c:pt idx="1063">
                  <c:v>19:44</c:v>
                </c:pt>
                <c:pt idx="1064">
                  <c:v>19:45</c:v>
                </c:pt>
                <c:pt idx="1065">
                  <c:v>19:46</c:v>
                </c:pt>
                <c:pt idx="1066">
                  <c:v>19:47</c:v>
                </c:pt>
                <c:pt idx="1067">
                  <c:v>19:48</c:v>
                </c:pt>
                <c:pt idx="1068">
                  <c:v>19:49</c:v>
                </c:pt>
                <c:pt idx="1069">
                  <c:v>19:50</c:v>
                </c:pt>
                <c:pt idx="1070">
                  <c:v>19:51</c:v>
                </c:pt>
                <c:pt idx="1071">
                  <c:v>19:52</c:v>
                </c:pt>
                <c:pt idx="1072">
                  <c:v>19:53</c:v>
                </c:pt>
                <c:pt idx="1073">
                  <c:v>19:54</c:v>
                </c:pt>
                <c:pt idx="1074">
                  <c:v>19:55</c:v>
                </c:pt>
                <c:pt idx="1075">
                  <c:v>19:56</c:v>
                </c:pt>
                <c:pt idx="1076">
                  <c:v>19:57</c:v>
                </c:pt>
                <c:pt idx="1077">
                  <c:v>19:58</c:v>
                </c:pt>
                <c:pt idx="1078">
                  <c:v>19:59</c:v>
                </c:pt>
                <c:pt idx="1079">
                  <c:v>20:00</c:v>
                </c:pt>
                <c:pt idx="1080">
                  <c:v>20:01</c:v>
                </c:pt>
                <c:pt idx="1081">
                  <c:v>20:02</c:v>
                </c:pt>
                <c:pt idx="1082">
                  <c:v>20:03</c:v>
                </c:pt>
                <c:pt idx="1083">
                  <c:v>20:04</c:v>
                </c:pt>
                <c:pt idx="1084">
                  <c:v>20:05</c:v>
                </c:pt>
                <c:pt idx="1085">
                  <c:v>20:06</c:v>
                </c:pt>
                <c:pt idx="1086">
                  <c:v>20:07</c:v>
                </c:pt>
                <c:pt idx="1087">
                  <c:v>20:08</c:v>
                </c:pt>
                <c:pt idx="1088">
                  <c:v>20:09</c:v>
                </c:pt>
                <c:pt idx="1089">
                  <c:v>20:10</c:v>
                </c:pt>
                <c:pt idx="1090">
                  <c:v>20:11</c:v>
                </c:pt>
                <c:pt idx="1091">
                  <c:v>20:12</c:v>
                </c:pt>
                <c:pt idx="1092">
                  <c:v>20:13</c:v>
                </c:pt>
                <c:pt idx="1093">
                  <c:v>20:14</c:v>
                </c:pt>
                <c:pt idx="1094">
                  <c:v>20:15</c:v>
                </c:pt>
                <c:pt idx="1095">
                  <c:v>20:16</c:v>
                </c:pt>
                <c:pt idx="1096">
                  <c:v>20:17</c:v>
                </c:pt>
                <c:pt idx="1097">
                  <c:v>20:18</c:v>
                </c:pt>
                <c:pt idx="1098">
                  <c:v>20:19</c:v>
                </c:pt>
                <c:pt idx="1099">
                  <c:v>20:20</c:v>
                </c:pt>
                <c:pt idx="1100">
                  <c:v>20:21</c:v>
                </c:pt>
                <c:pt idx="1101">
                  <c:v>20:22</c:v>
                </c:pt>
                <c:pt idx="1102">
                  <c:v>20:23</c:v>
                </c:pt>
                <c:pt idx="1103">
                  <c:v>20:24</c:v>
                </c:pt>
                <c:pt idx="1104">
                  <c:v>20:25</c:v>
                </c:pt>
                <c:pt idx="1105">
                  <c:v>20:26</c:v>
                </c:pt>
                <c:pt idx="1106">
                  <c:v>20:27</c:v>
                </c:pt>
                <c:pt idx="1107">
                  <c:v>20:28</c:v>
                </c:pt>
                <c:pt idx="1108">
                  <c:v>20:29</c:v>
                </c:pt>
                <c:pt idx="1109">
                  <c:v>20:30</c:v>
                </c:pt>
                <c:pt idx="1110">
                  <c:v>20:31</c:v>
                </c:pt>
                <c:pt idx="1111">
                  <c:v>20:32</c:v>
                </c:pt>
                <c:pt idx="1112">
                  <c:v>20:33</c:v>
                </c:pt>
                <c:pt idx="1113">
                  <c:v>20:34</c:v>
                </c:pt>
                <c:pt idx="1114">
                  <c:v>20:35</c:v>
                </c:pt>
                <c:pt idx="1115">
                  <c:v>20:36</c:v>
                </c:pt>
                <c:pt idx="1116">
                  <c:v>20:37</c:v>
                </c:pt>
                <c:pt idx="1117">
                  <c:v>20:38</c:v>
                </c:pt>
                <c:pt idx="1118">
                  <c:v>20:39</c:v>
                </c:pt>
                <c:pt idx="1119">
                  <c:v>20:40</c:v>
                </c:pt>
                <c:pt idx="1120">
                  <c:v>20:41</c:v>
                </c:pt>
                <c:pt idx="1121">
                  <c:v>20:42</c:v>
                </c:pt>
                <c:pt idx="1122">
                  <c:v>20:43</c:v>
                </c:pt>
                <c:pt idx="1123">
                  <c:v>20:44</c:v>
                </c:pt>
                <c:pt idx="1124">
                  <c:v>20:45</c:v>
                </c:pt>
                <c:pt idx="1125">
                  <c:v>20:46</c:v>
                </c:pt>
                <c:pt idx="1126">
                  <c:v>20:47</c:v>
                </c:pt>
                <c:pt idx="1127">
                  <c:v>20:48</c:v>
                </c:pt>
                <c:pt idx="1128">
                  <c:v>20:49</c:v>
                </c:pt>
                <c:pt idx="1129">
                  <c:v>20:50</c:v>
                </c:pt>
                <c:pt idx="1130">
                  <c:v>20:51</c:v>
                </c:pt>
                <c:pt idx="1131">
                  <c:v>20:52</c:v>
                </c:pt>
                <c:pt idx="1132">
                  <c:v>20:53</c:v>
                </c:pt>
                <c:pt idx="1133">
                  <c:v>20:54</c:v>
                </c:pt>
                <c:pt idx="1134">
                  <c:v>20:55</c:v>
                </c:pt>
                <c:pt idx="1135">
                  <c:v>20:56</c:v>
                </c:pt>
                <c:pt idx="1136">
                  <c:v>20:57</c:v>
                </c:pt>
                <c:pt idx="1137">
                  <c:v>20:58</c:v>
                </c:pt>
                <c:pt idx="1138">
                  <c:v>20:59</c:v>
                </c:pt>
                <c:pt idx="1139">
                  <c:v>21:00</c:v>
                </c:pt>
                <c:pt idx="1140">
                  <c:v>21:01</c:v>
                </c:pt>
                <c:pt idx="1141">
                  <c:v>21:02</c:v>
                </c:pt>
                <c:pt idx="1142">
                  <c:v>21:03</c:v>
                </c:pt>
                <c:pt idx="1143">
                  <c:v>21:04</c:v>
                </c:pt>
                <c:pt idx="1144">
                  <c:v>21:05</c:v>
                </c:pt>
                <c:pt idx="1145">
                  <c:v>21:06</c:v>
                </c:pt>
                <c:pt idx="1146">
                  <c:v>21:07</c:v>
                </c:pt>
                <c:pt idx="1147">
                  <c:v>21:08</c:v>
                </c:pt>
                <c:pt idx="1148">
                  <c:v>21:09</c:v>
                </c:pt>
                <c:pt idx="1149">
                  <c:v>21:10</c:v>
                </c:pt>
                <c:pt idx="1150">
                  <c:v>21:11</c:v>
                </c:pt>
                <c:pt idx="1151">
                  <c:v>21:12</c:v>
                </c:pt>
                <c:pt idx="1152">
                  <c:v>21:13</c:v>
                </c:pt>
                <c:pt idx="1153">
                  <c:v>21:14</c:v>
                </c:pt>
                <c:pt idx="1154">
                  <c:v>21:15</c:v>
                </c:pt>
                <c:pt idx="1155">
                  <c:v>21:16</c:v>
                </c:pt>
                <c:pt idx="1156">
                  <c:v>21:17</c:v>
                </c:pt>
                <c:pt idx="1157">
                  <c:v>21:18</c:v>
                </c:pt>
                <c:pt idx="1158">
                  <c:v>21:19</c:v>
                </c:pt>
                <c:pt idx="1159">
                  <c:v>21:20</c:v>
                </c:pt>
                <c:pt idx="1160">
                  <c:v>21:21</c:v>
                </c:pt>
                <c:pt idx="1161">
                  <c:v>21:22</c:v>
                </c:pt>
                <c:pt idx="1162">
                  <c:v>21:23</c:v>
                </c:pt>
                <c:pt idx="1163">
                  <c:v>21:24</c:v>
                </c:pt>
                <c:pt idx="1164">
                  <c:v>21:25</c:v>
                </c:pt>
                <c:pt idx="1165">
                  <c:v>21:26</c:v>
                </c:pt>
                <c:pt idx="1166">
                  <c:v>21:27</c:v>
                </c:pt>
                <c:pt idx="1167">
                  <c:v>21:28</c:v>
                </c:pt>
                <c:pt idx="1168">
                  <c:v>21:29</c:v>
                </c:pt>
                <c:pt idx="1169">
                  <c:v>21:30</c:v>
                </c:pt>
                <c:pt idx="1170">
                  <c:v>21:31</c:v>
                </c:pt>
                <c:pt idx="1171">
                  <c:v>21:32</c:v>
                </c:pt>
                <c:pt idx="1172">
                  <c:v>21:33</c:v>
                </c:pt>
                <c:pt idx="1173">
                  <c:v>21:34</c:v>
                </c:pt>
                <c:pt idx="1174">
                  <c:v>21:35</c:v>
                </c:pt>
                <c:pt idx="1175">
                  <c:v>21:36</c:v>
                </c:pt>
                <c:pt idx="1176">
                  <c:v>21:37</c:v>
                </c:pt>
                <c:pt idx="1177">
                  <c:v>21:38</c:v>
                </c:pt>
                <c:pt idx="1178">
                  <c:v>21:39</c:v>
                </c:pt>
                <c:pt idx="1179">
                  <c:v>21:40</c:v>
                </c:pt>
                <c:pt idx="1180">
                  <c:v>21:41</c:v>
                </c:pt>
                <c:pt idx="1181">
                  <c:v>21:42</c:v>
                </c:pt>
                <c:pt idx="1182">
                  <c:v>21:43</c:v>
                </c:pt>
                <c:pt idx="1183">
                  <c:v>21:44</c:v>
                </c:pt>
                <c:pt idx="1184">
                  <c:v>21:45</c:v>
                </c:pt>
                <c:pt idx="1185">
                  <c:v>21:46</c:v>
                </c:pt>
                <c:pt idx="1186">
                  <c:v>21:47</c:v>
                </c:pt>
                <c:pt idx="1187">
                  <c:v>21:48</c:v>
                </c:pt>
                <c:pt idx="1188">
                  <c:v>21:49</c:v>
                </c:pt>
                <c:pt idx="1189">
                  <c:v>21:50</c:v>
                </c:pt>
                <c:pt idx="1190">
                  <c:v>21:51</c:v>
                </c:pt>
                <c:pt idx="1191">
                  <c:v>21:52</c:v>
                </c:pt>
                <c:pt idx="1192">
                  <c:v>21:53</c:v>
                </c:pt>
                <c:pt idx="1193">
                  <c:v>21:54</c:v>
                </c:pt>
                <c:pt idx="1194">
                  <c:v>21:55</c:v>
                </c:pt>
                <c:pt idx="1195">
                  <c:v>21:56</c:v>
                </c:pt>
                <c:pt idx="1196">
                  <c:v>21:57</c:v>
                </c:pt>
                <c:pt idx="1197">
                  <c:v>21:58</c:v>
                </c:pt>
                <c:pt idx="1198">
                  <c:v>21:59</c:v>
                </c:pt>
                <c:pt idx="1199">
                  <c:v>22:00</c:v>
                </c:pt>
                <c:pt idx="1200">
                  <c:v>22:01</c:v>
                </c:pt>
                <c:pt idx="1201">
                  <c:v>22:02</c:v>
                </c:pt>
                <c:pt idx="1202">
                  <c:v>22:03</c:v>
                </c:pt>
                <c:pt idx="1203">
                  <c:v>22:04</c:v>
                </c:pt>
                <c:pt idx="1204">
                  <c:v>22:05</c:v>
                </c:pt>
                <c:pt idx="1205">
                  <c:v>22:06</c:v>
                </c:pt>
                <c:pt idx="1206">
                  <c:v>22:07</c:v>
                </c:pt>
                <c:pt idx="1207">
                  <c:v>22:08</c:v>
                </c:pt>
                <c:pt idx="1208">
                  <c:v>22:09</c:v>
                </c:pt>
                <c:pt idx="1209">
                  <c:v>22:10</c:v>
                </c:pt>
                <c:pt idx="1210">
                  <c:v>22:11</c:v>
                </c:pt>
                <c:pt idx="1211">
                  <c:v>22:12</c:v>
                </c:pt>
                <c:pt idx="1212">
                  <c:v>22:13</c:v>
                </c:pt>
                <c:pt idx="1213">
                  <c:v>22:14</c:v>
                </c:pt>
                <c:pt idx="1214">
                  <c:v>22:15</c:v>
                </c:pt>
                <c:pt idx="1215">
                  <c:v>22:16</c:v>
                </c:pt>
                <c:pt idx="1216">
                  <c:v>22:17</c:v>
                </c:pt>
                <c:pt idx="1217">
                  <c:v>22:18</c:v>
                </c:pt>
                <c:pt idx="1218">
                  <c:v>22:19</c:v>
                </c:pt>
                <c:pt idx="1219">
                  <c:v>22:20</c:v>
                </c:pt>
                <c:pt idx="1220">
                  <c:v>22:21</c:v>
                </c:pt>
                <c:pt idx="1221">
                  <c:v>22:22</c:v>
                </c:pt>
                <c:pt idx="1222">
                  <c:v>22:23</c:v>
                </c:pt>
                <c:pt idx="1223">
                  <c:v>22:24</c:v>
                </c:pt>
                <c:pt idx="1224">
                  <c:v>22:25</c:v>
                </c:pt>
                <c:pt idx="1225">
                  <c:v>22:26</c:v>
                </c:pt>
                <c:pt idx="1226">
                  <c:v>22:27</c:v>
                </c:pt>
                <c:pt idx="1227">
                  <c:v>22:28</c:v>
                </c:pt>
                <c:pt idx="1228">
                  <c:v>22:29</c:v>
                </c:pt>
                <c:pt idx="1229">
                  <c:v>22:30</c:v>
                </c:pt>
                <c:pt idx="1230">
                  <c:v>22:31</c:v>
                </c:pt>
                <c:pt idx="1231">
                  <c:v>22:32</c:v>
                </c:pt>
                <c:pt idx="1232">
                  <c:v>22:33</c:v>
                </c:pt>
                <c:pt idx="1233">
                  <c:v>22:34</c:v>
                </c:pt>
                <c:pt idx="1234">
                  <c:v>22:35</c:v>
                </c:pt>
                <c:pt idx="1235">
                  <c:v>22:36</c:v>
                </c:pt>
                <c:pt idx="1236">
                  <c:v>22:37</c:v>
                </c:pt>
                <c:pt idx="1237">
                  <c:v>22:38</c:v>
                </c:pt>
                <c:pt idx="1238">
                  <c:v>22:39</c:v>
                </c:pt>
                <c:pt idx="1239">
                  <c:v>22:40</c:v>
                </c:pt>
                <c:pt idx="1240">
                  <c:v>22:41</c:v>
                </c:pt>
                <c:pt idx="1241">
                  <c:v>22:42</c:v>
                </c:pt>
                <c:pt idx="1242">
                  <c:v>22:43</c:v>
                </c:pt>
                <c:pt idx="1243">
                  <c:v>22:44</c:v>
                </c:pt>
                <c:pt idx="1244">
                  <c:v>22:45</c:v>
                </c:pt>
                <c:pt idx="1245">
                  <c:v>22:46</c:v>
                </c:pt>
                <c:pt idx="1246">
                  <c:v>22:47</c:v>
                </c:pt>
                <c:pt idx="1247">
                  <c:v>22:48</c:v>
                </c:pt>
                <c:pt idx="1248">
                  <c:v>22:49</c:v>
                </c:pt>
                <c:pt idx="1249">
                  <c:v>22:50</c:v>
                </c:pt>
                <c:pt idx="1250">
                  <c:v>22:51</c:v>
                </c:pt>
                <c:pt idx="1251">
                  <c:v>22:52</c:v>
                </c:pt>
                <c:pt idx="1252">
                  <c:v>22:53</c:v>
                </c:pt>
                <c:pt idx="1253">
                  <c:v>22:54</c:v>
                </c:pt>
                <c:pt idx="1254">
                  <c:v>22:55</c:v>
                </c:pt>
                <c:pt idx="1255">
                  <c:v>22:56</c:v>
                </c:pt>
                <c:pt idx="1256">
                  <c:v>22:57</c:v>
                </c:pt>
                <c:pt idx="1257">
                  <c:v>22:58</c:v>
                </c:pt>
                <c:pt idx="1258">
                  <c:v>22:59</c:v>
                </c:pt>
                <c:pt idx="1259">
                  <c:v>23:00</c:v>
                </c:pt>
                <c:pt idx="1260">
                  <c:v>23:01</c:v>
                </c:pt>
                <c:pt idx="1261">
                  <c:v>23:02</c:v>
                </c:pt>
                <c:pt idx="1262">
                  <c:v>23:03</c:v>
                </c:pt>
                <c:pt idx="1263">
                  <c:v>23:04</c:v>
                </c:pt>
                <c:pt idx="1264">
                  <c:v>23:05</c:v>
                </c:pt>
                <c:pt idx="1265">
                  <c:v>23:06</c:v>
                </c:pt>
                <c:pt idx="1266">
                  <c:v>23:07</c:v>
                </c:pt>
                <c:pt idx="1267">
                  <c:v>23:08</c:v>
                </c:pt>
                <c:pt idx="1268">
                  <c:v>23:09</c:v>
                </c:pt>
                <c:pt idx="1269">
                  <c:v>23:10</c:v>
                </c:pt>
                <c:pt idx="1270">
                  <c:v>23:11</c:v>
                </c:pt>
                <c:pt idx="1271">
                  <c:v>23:12</c:v>
                </c:pt>
                <c:pt idx="1272">
                  <c:v>23:13</c:v>
                </c:pt>
                <c:pt idx="1273">
                  <c:v>23:14</c:v>
                </c:pt>
                <c:pt idx="1274">
                  <c:v>23:15</c:v>
                </c:pt>
                <c:pt idx="1275">
                  <c:v>23:16</c:v>
                </c:pt>
                <c:pt idx="1276">
                  <c:v>23:17</c:v>
                </c:pt>
                <c:pt idx="1277">
                  <c:v>23:18</c:v>
                </c:pt>
                <c:pt idx="1278">
                  <c:v>23:19</c:v>
                </c:pt>
                <c:pt idx="1279">
                  <c:v>23:20</c:v>
                </c:pt>
                <c:pt idx="1280">
                  <c:v>23:21</c:v>
                </c:pt>
                <c:pt idx="1281">
                  <c:v>23:22</c:v>
                </c:pt>
                <c:pt idx="1282">
                  <c:v>23:23</c:v>
                </c:pt>
                <c:pt idx="1283">
                  <c:v>23:24</c:v>
                </c:pt>
                <c:pt idx="1284">
                  <c:v>23:25</c:v>
                </c:pt>
                <c:pt idx="1285">
                  <c:v>23:26</c:v>
                </c:pt>
                <c:pt idx="1286">
                  <c:v>23:27</c:v>
                </c:pt>
                <c:pt idx="1287">
                  <c:v>23:28</c:v>
                </c:pt>
                <c:pt idx="1288">
                  <c:v>23:29</c:v>
                </c:pt>
                <c:pt idx="1289">
                  <c:v>23:30</c:v>
                </c:pt>
                <c:pt idx="1290">
                  <c:v>23:31</c:v>
                </c:pt>
                <c:pt idx="1291">
                  <c:v>23:32</c:v>
                </c:pt>
                <c:pt idx="1292">
                  <c:v>23:33</c:v>
                </c:pt>
                <c:pt idx="1293">
                  <c:v>23:34</c:v>
                </c:pt>
                <c:pt idx="1294">
                  <c:v>23:35</c:v>
                </c:pt>
                <c:pt idx="1295">
                  <c:v>23:36</c:v>
                </c:pt>
                <c:pt idx="1296">
                  <c:v>23:37</c:v>
                </c:pt>
                <c:pt idx="1297">
                  <c:v>23:38</c:v>
                </c:pt>
                <c:pt idx="1298">
                  <c:v>23:39</c:v>
                </c:pt>
                <c:pt idx="1299">
                  <c:v>23:40</c:v>
                </c:pt>
                <c:pt idx="1300">
                  <c:v>23:41</c:v>
                </c:pt>
                <c:pt idx="1301">
                  <c:v>23:42</c:v>
                </c:pt>
                <c:pt idx="1302">
                  <c:v>23:43</c:v>
                </c:pt>
                <c:pt idx="1303">
                  <c:v>23:44</c:v>
                </c:pt>
                <c:pt idx="1304">
                  <c:v>23:45</c:v>
                </c:pt>
                <c:pt idx="1305">
                  <c:v>23:46</c:v>
                </c:pt>
                <c:pt idx="1306">
                  <c:v>23:47</c:v>
                </c:pt>
                <c:pt idx="1307">
                  <c:v>23:48</c:v>
                </c:pt>
                <c:pt idx="1308">
                  <c:v>23:49</c:v>
                </c:pt>
                <c:pt idx="1309">
                  <c:v>23:50</c:v>
                </c:pt>
                <c:pt idx="1310">
                  <c:v>23:51</c:v>
                </c:pt>
                <c:pt idx="1311">
                  <c:v>23:52</c:v>
                </c:pt>
                <c:pt idx="1312">
                  <c:v>23:53</c:v>
                </c:pt>
                <c:pt idx="1313">
                  <c:v>23:54</c:v>
                </c:pt>
                <c:pt idx="1314">
                  <c:v>23:55</c:v>
                </c:pt>
                <c:pt idx="1315">
                  <c:v>23:56</c:v>
                </c:pt>
                <c:pt idx="1316">
                  <c:v>23:57</c:v>
                </c:pt>
                <c:pt idx="1317">
                  <c:v>23:58</c:v>
                </c:pt>
                <c:pt idx="1318">
                  <c:v>23:59</c:v>
                </c:pt>
              </c:strCache>
            </c:strRef>
          </c:cat>
          <c:val>
            <c:numRef>
              <c:f>Analysis!$H$3:$H$1321</c:f>
              <c:numCache>
                <c:formatCode>General</c:formatCode>
                <c:ptCount val="13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7</c:v>
                </c:pt>
                <c:pt idx="6">
                  <c:v>23</c:v>
                </c:pt>
                <c:pt idx="7">
                  <c:v>5</c:v>
                </c:pt>
                <c:pt idx="8">
                  <c:v>49</c:v>
                </c:pt>
                <c:pt idx="9">
                  <c:v>46</c:v>
                </c:pt>
                <c:pt idx="10">
                  <c:v>59</c:v>
                </c:pt>
                <c:pt idx="11">
                  <c:v>25</c:v>
                </c:pt>
                <c:pt idx="12">
                  <c:v>28</c:v>
                </c:pt>
                <c:pt idx="13">
                  <c:v>24</c:v>
                </c:pt>
                <c:pt idx="14">
                  <c:v>5</c:v>
                </c:pt>
                <c:pt idx="15">
                  <c:v>6</c:v>
                </c:pt>
                <c:pt idx="16">
                  <c:v>3</c:v>
                </c:pt>
                <c:pt idx="17">
                  <c:v>11</c:v>
                </c:pt>
                <c:pt idx="18">
                  <c:v>25</c:v>
                </c:pt>
                <c:pt idx="19">
                  <c:v>24</c:v>
                </c:pt>
                <c:pt idx="20">
                  <c:v>37</c:v>
                </c:pt>
                <c:pt idx="21">
                  <c:v>8</c:v>
                </c:pt>
                <c:pt idx="22">
                  <c:v>1</c:v>
                </c:pt>
                <c:pt idx="23">
                  <c:v>19</c:v>
                </c:pt>
                <c:pt idx="24">
                  <c:v>40</c:v>
                </c:pt>
                <c:pt idx="25">
                  <c:v>44</c:v>
                </c:pt>
                <c:pt idx="26">
                  <c:v>61</c:v>
                </c:pt>
                <c:pt idx="27">
                  <c:v>37</c:v>
                </c:pt>
                <c:pt idx="28">
                  <c:v>76</c:v>
                </c:pt>
                <c:pt idx="29">
                  <c:v>45</c:v>
                </c:pt>
                <c:pt idx="30">
                  <c:v>41</c:v>
                </c:pt>
                <c:pt idx="31">
                  <c:v>40</c:v>
                </c:pt>
                <c:pt idx="32">
                  <c:v>21</c:v>
                </c:pt>
                <c:pt idx="33">
                  <c:v>4</c:v>
                </c:pt>
                <c:pt idx="34">
                  <c:v>1</c:v>
                </c:pt>
                <c:pt idx="35">
                  <c:v>16</c:v>
                </c:pt>
                <c:pt idx="36">
                  <c:v>22</c:v>
                </c:pt>
                <c:pt idx="37">
                  <c:v>16</c:v>
                </c:pt>
                <c:pt idx="38">
                  <c:v>44</c:v>
                </c:pt>
                <c:pt idx="39">
                  <c:v>88</c:v>
                </c:pt>
                <c:pt idx="40">
                  <c:v>33</c:v>
                </c:pt>
                <c:pt idx="41">
                  <c:v>18</c:v>
                </c:pt>
                <c:pt idx="42">
                  <c:v>10</c:v>
                </c:pt>
                <c:pt idx="43">
                  <c:v>2</c:v>
                </c:pt>
                <c:pt idx="44">
                  <c:v>0</c:v>
                </c:pt>
                <c:pt idx="45">
                  <c:v>4</c:v>
                </c:pt>
                <c:pt idx="46">
                  <c:v>4</c:v>
                </c:pt>
                <c:pt idx="47">
                  <c:v>9</c:v>
                </c:pt>
                <c:pt idx="48">
                  <c:v>46</c:v>
                </c:pt>
                <c:pt idx="49">
                  <c:v>56</c:v>
                </c:pt>
                <c:pt idx="50">
                  <c:v>76</c:v>
                </c:pt>
                <c:pt idx="51">
                  <c:v>63</c:v>
                </c:pt>
                <c:pt idx="52">
                  <c:v>15</c:v>
                </c:pt>
                <c:pt idx="53">
                  <c:v>11</c:v>
                </c:pt>
                <c:pt idx="54">
                  <c:v>2</c:v>
                </c:pt>
                <c:pt idx="55">
                  <c:v>26</c:v>
                </c:pt>
                <c:pt idx="56">
                  <c:v>16</c:v>
                </c:pt>
                <c:pt idx="57">
                  <c:v>3</c:v>
                </c:pt>
                <c:pt idx="58">
                  <c:v>9</c:v>
                </c:pt>
                <c:pt idx="59">
                  <c:v>35</c:v>
                </c:pt>
                <c:pt idx="60">
                  <c:v>55</c:v>
                </c:pt>
                <c:pt idx="61">
                  <c:v>37</c:v>
                </c:pt>
                <c:pt idx="62">
                  <c:v>43</c:v>
                </c:pt>
                <c:pt idx="63">
                  <c:v>29</c:v>
                </c:pt>
                <c:pt idx="64">
                  <c:v>17</c:v>
                </c:pt>
                <c:pt idx="65">
                  <c:v>8</c:v>
                </c:pt>
                <c:pt idx="66">
                  <c:v>6</c:v>
                </c:pt>
                <c:pt idx="67">
                  <c:v>7</c:v>
                </c:pt>
                <c:pt idx="68">
                  <c:v>35</c:v>
                </c:pt>
                <c:pt idx="69">
                  <c:v>7</c:v>
                </c:pt>
                <c:pt idx="70">
                  <c:v>3</c:v>
                </c:pt>
                <c:pt idx="71">
                  <c:v>0</c:v>
                </c:pt>
                <c:pt idx="72">
                  <c:v>2</c:v>
                </c:pt>
                <c:pt idx="73">
                  <c:v>1</c:v>
                </c:pt>
                <c:pt idx="74">
                  <c:v>1</c:v>
                </c:pt>
                <c:pt idx="75">
                  <c:v>2</c:v>
                </c:pt>
                <c:pt idx="76">
                  <c:v>0</c:v>
                </c:pt>
                <c:pt idx="77">
                  <c:v>1</c:v>
                </c:pt>
                <c:pt idx="78">
                  <c:v>3</c:v>
                </c:pt>
                <c:pt idx="79">
                  <c:v>3</c:v>
                </c:pt>
                <c:pt idx="80">
                  <c:v>0</c:v>
                </c:pt>
                <c:pt idx="81">
                  <c:v>1</c:v>
                </c:pt>
                <c:pt idx="82">
                  <c:v>1</c:v>
                </c:pt>
                <c:pt idx="83">
                  <c:v>0</c:v>
                </c:pt>
                <c:pt idx="84">
                  <c:v>2</c:v>
                </c:pt>
                <c:pt idx="85">
                  <c:v>0</c:v>
                </c:pt>
                <c:pt idx="86">
                  <c:v>0</c:v>
                </c:pt>
                <c:pt idx="87">
                  <c:v>2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1</c:v>
                </c:pt>
                <c:pt idx="94">
                  <c:v>0</c:v>
                </c:pt>
                <c:pt idx="95">
                  <c:v>1</c:v>
                </c:pt>
                <c:pt idx="96">
                  <c:v>1</c:v>
                </c:pt>
                <c:pt idx="97">
                  <c:v>0</c:v>
                </c:pt>
                <c:pt idx="98">
                  <c:v>0</c:v>
                </c:pt>
                <c:pt idx="99">
                  <c:v>1</c:v>
                </c:pt>
                <c:pt idx="100">
                  <c:v>2</c:v>
                </c:pt>
                <c:pt idx="101">
                  <c:v>0</c:v>
                </c:pt>
                <c:pt idx="102">
                  <c:v>1</c:v>
                </c:pt>
                <c:pt idx="103">
                  <c:v>1</c:v>
                </c:pt>
                <c:pt idx="104">
                  <c:v>0</c:v>
                </c:pt>
                <c:pt idx="105">
                  <c:v>1</c:v>
                </c:pt>
                <c:pt idx="106">
                  <c:v>2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1</c:v>
                </c:pt>
                <c:pt idx="111">
                  <c:v>2</c:v>
                </c:pt>
                <c:pt idx="112">
                  <c:v>2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1</c:v>
                </c:pt>
                <c:pt idx="119">
                  <c:v>2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57</c:v>
                </c:pt>
                <c:pt idx="186">
                  <c:v>67</c:v>
                </c:pt>
                <c:pt idx="187">
                  <c:v>9</c:v>
                </c:pt>
                <c:pt idx="188">
                  <c:v>17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23</c:v>
                </c:pt>
                <c:pt idx="196">
                  <c:v>0</c:v>
                </c:pt>
                <c:pt idx="197">
                  <c:v>10</c:v>
                </c:pt>
                <c:pt idx="198">
                  <c:v>4</c:v>
                </c:pt>
                <c:pt idx="199">
                  <c:v>2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3</c:v>
                </c:pt>
                <c:pt idx="206">
                  <c:v>1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9</c:v>
                </c:pt>
                <c:pt idx="216">
                  <c:v>0</c:v>
                </c:pt>
                <c:pt idx="217">
                  <c:v>6</c:v>
                </c:pt>
                <c:pt idx="218">
                  <c:v>8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14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15</c:v>
                </c:pt>
                <c:pt idx="236">
                  <c:v>5</c:v>
                </c:pt>
                <c:pt idx="237">
                  <c:v>0</c:v>
                </c:pt>
                <c:pt idx="238">
                  <c:v>0</c:v>
                </c:pt>
                <c:pt idx="239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5">
                  <c:v>22</c:v>
                </c:pt>
                <c:pt idx="246">
                  <c:v>3</c:v>
                </c:pt>
                <c:pt idx="247">
                  <c:v>1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28</c:v>
                </c:pt>
                <c:pt idx="256">
                  <c:v>6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15</c:v>
                </c:pt>
                <c:pt idx="266">
                  <c:v>2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39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15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2</c:v>
                </c:pt>
                <c:pt idx="292">
                  <c:v>1</c:v>
                </c:pt>
                <c:pt idx="293">
                  <c:v>9</c:v>
                </c:pt>
                <c:pt idx="294">
                  <c:v>2</c:v>
                </c:pt>
                <c:pt idx="295">
                  <c:v>27</c:v>
                </c:pt>
                <c:pt idx="296">
                  <c:v>2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3</c:v>
                </c:pt>
                <c:pt idx="306">
                  <c:v>7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0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8</c:v>
                </c:pt>
                <c:pt idx="317">
                  <c:v>2</c:v>
                </c:pt>
                <c:pt idx="318">
                  <c:v>1</c:v>
                </c:pt>
                <c:pt idx="319">
                  <c:v>0</c:v>
                </c:pt>
                <c:pt idx="320">
                  <c:v>0</c:v>
                </c:pt>
                <c:pt idx="321">
                  <c:v>0</c:v>
                </c:pt>
                <c:pt idx="322">
                  <c:v>0</c:v>
                </c:pt>
                <c:pt idx="323">
                  <c:v>0</c:v>
                </c:pt>
                <c:pt idx="324">
                  <c:v>0</c:v>
                </c:pt>
                <c:pt idx="325">
                  <c:v>3</c:v>
                </c:pt>
                <c:pt idx="326">
                  <c:v>12</c:v>
                </c:pt>
                <c:pt idx="327">
                  <c:v>2</c:v>
                </c:pt>
                <c:pt idx="328">
                  <c:v>0</c:v>
                </c:pt>
                <c:pt idx="329">
                  <c:v>0</c:v>
                </c:pt>
                <c:pt idx="330">
                  <c:v>0</c:v>
                </c:pt>
                <c:pt idx="331">
                  <c:v>0</c:v>
                </c:pt>
                <c:pt idx="332">
                  <c:v>0</c:v>
                </c:pt>
                <c:pt idx="333">
                  <c:v>0</c:v>
                </c:pt>
                <c:pt idx="334">
                  <c:v>0</c:v>
                </c:pt>
                <c:pt idx="335">
                  <c:v>4</c:v>
                </c:pt>
                <c:pt idx="336">
                  <c:v>14</c:v>
                </c:pt>
                <c:pt idx="337">
                  <c:v>0</c:v>
                </c:pt>
                <c:pt idx="338">
                  <c:v>0</c:v>
                </c:pt>
                <c:pt idx="339">
                  <c:v>0</c:v>
                </c:pt>
                <c:pt idx="340">
                  <c:v>0</c:v>
                </c:pt>
                <c:pt idx="341">
                  <c:v>0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15</c:v>
                </c:pt>
                <c:pt idx="346">
                  <c:v>6</c:v>
                </c:pt>
                <c:pt idx="347">
                  <c:v>0</c:v>
                </c:pt>
                <c:pt idx="348">
                  <c:v>0</c:v>
                </c:pt>
                <c:pt idx="349">
                  <c:v>0</c:v>
                </c:pt>
                <c:pt idx="350">
                  <c:v>0</c:v>
                </c:pt>
                <c:pt idx="351">
                  <c:v>0</c:v>
                </c:pt>
                <c:pt idx="352">
                  <c:v>0</c:v>
                </c:pt>
                <c:pt idx="353">
                  <c:v>0</c:v>
                </c:pt>
                <c:pt idx="354">
                  <c:v>0</c:v>
                </c:pt>
                <c:pt idx="355">
                  <c:v>11</c:v>
                </c:pt>
                <c:pt idx="356">
                  <c:v>19</c:v>
                </c:pt>
                <c:pt idx="357">
                  <c:v>3</c:v>
                </c:pt>
                <c:pt idx="358">
                  <c:v>4</c:v>
                </c:pt>
                <c:pt idx="359">
                  <c:v>0</c:v>
                </c:pt>
                <c:pt idx="360">
                  <c:v>0</c:v>
                </c:pt>
                <c:pt idx="361">
                  <c:v>0</c:v>
                </c:pt>
                <c:pt idx="362">
                  <c:v>0</c:v>
                </c:pt>
                <c:pt idx="363">
                  <c:v>1</c:v>
                </c:pt>
                <c:pt idx="364">
                  <c:v>2</c:v>
                </c:pt>
                <c:pt idx="365">
                  <c:v>23</c:v>
                </c:pt>
                <c:pt idx="366">
                  <c:v>26</c:v>
                </c:pt>
                <c:pt idx="367">
                  <c:v>4</c:v>
                </c:pt>
                <c:pt idx="368">
                  <c:v>3</c:v>
                </c:pt>
                <c:pt idx="369">
                  <c:v>4</c:v>
                </c:pt>
                <c:pt idx="370">
                  <c:v>2</c:v>
                </c:pt>
                <c:pt idx="371">
                  <c:v>2</c:v>
                </c:pt>
                <c:pt idx="372">
                  <c:v>0</c:v>
                </c:pt>
                <c:pt idx="373">
                  <c:v>0</c:v>
                </c:pt>
                <c:pt idx="374">
                  <c:v>2</c:v>
                </c:pt>
                <c:pt idx="375">
                  <c:v>12</c:v>
                </c:pt>
                <c:pt idx="376">
                  <c:v>12</c:v>
                </c:pt>
                <c:pt idx="377">
                  <c:v>3</c:v>
                </c:pt>
                <c:pt idx="378">
                  <c:v>4</c:v>
                </c:pt>
                <c:pt idx="379">
                  <c:v>0</c:v>
                </c:pt>
                <c:pt idx="380">
                  <c:v>0</c:v>
                </c:pt>
                <c:pt idx="381">
                  <c:v>1</c:v>
                </c:pt>
                <c:pt idx="382">
                  <c:v>1</c:v>
                </c:pt>
                <c:pt idx="383">
                  <c:v>1</c:v>
                </c:pt>
                <c:pt idx="384">
                  <c:v>0</c:v>
                </c:pt>
                <c:pt idx="385">
                  <c:v>2</c:v>
                </c:pt>
                <c:pt idx="386">
                  <c:v>1</c:v>
                </c:pt>
                <c:pt idx="387">
                  <c:v>32</c:v>
                </c:pt>
                <c:pt idx="388">
                  <c:v>3</c:v>
                </c:pt>
                <c:pt idx="389">
                  <c:v>1</c:v>
                </c:pt>
                <c:pt idx="390">
                  <c:v>1</c:v>
                </c:pt>
                <c:pt idx="391">
                  <c:v>6</c:v>
                </c:pt>
                <c:pt idx="392">
                  <c:v>1</c:v>
                </c:pt>
                <c:pt idx="393">
                  <c:v>3</c:v>
                </c:pt>
                <c:pt idx="394">
                  <c:v>2</c:v>
                </c:pt>
                <c:pt idx="395">
                  <c:v>4</c:v>
                </c:pt>
                <c:pt idx="396">
                  <c:v>3</c:v>
                </c:pt>
                <c:pt idx="397">
                  <c:v>31</c:v>
                </c:pt>
                <c:pt idx="398">
                  <c:v>15</c:v>
                </c:pt>
                <c:pt idx="399">
                  <c:v>4</c:v>
                </c:pt>
                <c:pt idx="400">
                  <c:v>0</c:v>
                </c:pt>
                <c:pt idx="401">
                  <c:v>0</c:v>
                </c:pt>
                <c:pt idx="402">
                  <c:v>1</c:v>
                </c:pt>
                <c:pt idx="403">
                  <c:v>0</c:v>
                </c:pt>
                <c:pt idx="404">
                  <c:v>1</c:v>
                </c:pt>
                <c:pt idx="405">
                  <c:v>0</c:v>
                </c:pt>
                <c:pt idx="406">
                  <c:v>0</c:v>
                </c:pt>
                <c:pt idx="407">
                  <c:v>33</c:v>
                </c:pt>
                <c:pt idx="408">
                  <c:v>17</c:v>
                </c:pt>
                <c:pt idx="409">
                  <c:v>10</c:v>
                </c:pt>
                <c:pt idx="410">
                  <c:v>0</c:v>
                </c:pt>
                <c:pt idx="411">
                  <c:v>1</c:v>
                </c:pt>
                <c:pt idx="412">
                  <c:v>0</c:v>
                </c:pt>
                <c:pt idx="413">
                  <c:v>0</c:v>
                </c:pt>
                <c:pt idx="414">
                  <c:v>0</c:v>
                </c:pt>
                <c:pt idx="415">
                  <c:v>1</c:v>
                </c:pt>
                <c:pt idx="416">
                  <c:v>0</c:v>
                </c:pt>
                <c:pt idx="417">
                  <c:v>12</c:v>
                </c:pt>
                <c:pt idx="418">
                  <c:v>18</c:v>
                </c:pt>
                <c:pt idx="419">
                  <c:v>20</c:v>
                </c:pt>
                <c:pt idx="420">
                  <c:v>4</c:v>
                </c:pt>
                <c:pt idx="421">
                  <c:v>0</c:v>
                </c:pt>
                <c:pt idx="422">
                  <c:v>0</c:v>
                </c:pt>
                <c:pt idx="423">
                  <c:v>1</c:v>
                </c:pt>
                <c:pt idx="424">
                  <c:v>0</c:v>
                </c:pt>
                <c:pt idx="425">
                  <c:v>0</c:v>
                </c:pt>
                <c:pt idx="426">
                  <c:v>1</c:v>
                </c:pt>
                <c:pt idx="427">
                  <c:v>38</c:v>
                </c:pt>
                <c:pt idx="428">
                  <c:v>24</c:v>
                </c:pt>
                <c:pt idx="429">
                  <c:v>11</c:v>
                </c:pt>
                <c:pt idx="430">
                  <c:v>0</c:v>
                </c:pt>
                <c:pt idx="431">
                  <c:v>0</c:v>
                </c:pt>
                <c:pt idx="432">
                  <c:v>0</c:v>
                </c:pt>
                <c:pt idx="433">
                  <c:v>0</c:v>
                </c:pt>
                <c:pt idx="434">
                  <c:v>2</c:v>
                </c:pt>
                <c:pt idx="435">
                  <c:v>0</c:v>
                </c:pt>
                <c:pt idx="436">
                  <c:v>0</c:v>
                </c:pt>
                <c:pt idx="437">
                  <c:v>39</c:v>
                </c:pt>
                <c:pt idx="438">
                  <c:v>44</c:v>
                </c:pt>
                <c:pt idx="439">
                  <c:v>14</c:v>
                </c:pt>
                <c:pt idx="440">
                  <c:v>1</c:v>
                </c:pt>
                <c:pt idx="441">
                  <c:v>0</c:v>
                </c:pt>
                <c:pt idx="442">
                  <c:v>0</c:v>
                </c:pt>
                <c:pt idx="443">
                  <c:v>3</c:v>
                </c:pt>
                <c:pt idx="444">
                  <c:v>6</c:v>
                </c:pt>
                <c:pt idx="445">
                  <c:v>1</c:v>
                </c:pt>
                <c:pt idx="446">
                  <c:v>1</c:v>
                </c:pt>
                <c:pt idx="447">
                  <c:v>26</c:v>
                </c:pt>
                <c:pt idx="448">
                  <c:v>46</c:v>
                </c:pt>
                <c:pt idx="449">
                  <c:v>8</c:v>
                </c:pt>
                <c:pt idx="450">
                  <c:v>1</c:v>
                </c:pt>
                <c:pt idx="451">
                  <c:v>0</c:v>
                </c:pt>
                <c:pt idx="452">
                  <c:v>1</c:v>
                </c:pt>
                <c:pt idx="453">
                  <c:v>2</c:v>
                </c:pt>
                <c:pt idx="454">
                  <c:v>0</c:v>
                </c:pt>
                <c:pt idx="455">
                  <c:v>1</c:v>
                </c:pt>
                <c:pt idx="456">
                  <c:v>4</c:v>
                </c:pt>
                <c:pt idx="457">
                  <c:v>33</c:v>
                </c:pt>
                <c:pt idx="458">
                  <c:v>28</c:v>
                </c:pt>
                <c:pt idx="459">
                  <c:v>17</c:v>
                </c:pt>
                <c:pt idx="460">
                  <c:v>3</c:v>
                </c:pt>
                <c:pt idx="461">
                  <c:v>1</c:v>
                </c:pt>
                <c:pt idx="462">
                  <c:v>0</c:v>
                </c:pt>
                <c:pt idx="463">
                  <c:v>2</c:v>
                </c:pt>
                <c:pt idx="464">
                  <c:v>0</c:v>
                </c:pt>
                <c:pt idx="465">
                  <c:v>2</c:v>
                </c:pt>
                <c:pt idx="466">
                  <c:v>1</c:v>
                </c:pt>
                <c:pt idx="467">
                  <c:v>33</c:v>
                </c:pt>
                <c:pt idx="468">
                  <c:v>56</c:v>
                </c:pt>
                <c:pt idx="469">
                  <c:v>20</c:v>
                </c:pt>
                <c:pt idx="470">
                  <c:v>3</c:v>
                </c:pt>
                <c:pt idx="471">
                  <c:v>2</c:v>
                </c:pt>
                <c:pt idx="472">
                  <c:v>1</c:v>
                </c:pt>
                <c:pt idx="473">
                  <c:v>1</c:v>
                </c:pt>
                <c:pt idx="474">
                  <c:v>1</c:v>
                </c:pt>
                <c:pt idx="475">
                  <c:v>0</c:v>
                </c:pt>
                <c:pt idx="476">
                  <c:v>0</c:v>
                </c:pt>
                <c:pt idx="477">
                  <c:v>40</c:v>
                </c:pt>
                <c:pt idx="478">
                  <c:v>89</c:v>
                </c:pt>
                <c:pt idx="479">
                  <c:v>23</c:v>
                </c:pt>
                <c:pt idx="480">
                  <c:v>21</c:v>
                </c:pt>
                <c:pt idx="481">
                  <c:v>0</c:v>
                </c:pt>
                <c:pt idx="482">
                  <c:v>2</c:v>
                </c:pt>
                <c:pt idx="483">
                  <c:v>2</c:v>
                </c:pt>
                <c:pt idx="484">
                  <c:v>0</c:v>
                </c:pt>
                <c:pt idx="485">
                  <c:v>0</c:v>
                </c:pt>
                <c:pt idx="486">
                  <c:v>0</c:v>
                </c:pt>
                <c:pt idx="487">
                  <c:v>28</c:v>
                </c:pt>
                <c:pt idx="488">
                  <c:v>10</c:v>
                </c:pt>
                <c:pt idx="489">
                  <c:v>22</c:v>
                </c:pt>
                <c:pt idx="490">
                  <c:v>21</c:v>
                </c:pt>
                <c:pt idx="491">
                  <c:v>15</c:v>
                </c:pt>
                <c:pt idx="492">
                  <c:v>19</c:v>
                </c:pt>
                <c:pt idx="493">
                  <c:v>2</c:v>
                </c:pt>
                <c:pt idx="494">
                  <c:v>1</c:v>
                </c:pt>
                <c:pt idx="495">
                  <c:v>2</c:v>
                </c:pt>
                <c:pt idx="496">
                  <c:v>1</c:v>
                </c:pt>
                <c:pt idx="497">
                  <c:v>56</c:v>
                </c:pt>
                <c:pt idx="498">
                  <c:v>53</c:v>
                </c:pt>
                <c:pt idx="499">
                  <c:v>34</c:v>
                </c:pt>
                <c:pt idx="500">
                  <c:v>9</c:v>
                </c:pt>
                <c:pt idx="501">
                  <c:v>2</c:v>
                </c:pt>
                <c:pt idx="502">
                  <c:v>2</c:v>
                </c:pt>
                <c:pt idx="503">
                  <c:v>2</c:v>
                </c:pt>
                <c:pt idx="504">
                  <c:v>3</c:v>
                </c:pt>
                <c:pt idx="505">
                  <c:v>6</c:v>
                </c:pt>
                <c:pt idx="506">
                  <c:v>3</c:v>
                </c:pt>
                <c:pt idx="507">
                  <c:v>11</c:v>
                </c:pt>
                <c:pt idx="508">
                  <c:v>26</c:v>
                </c:pt>
                <c:pt idx="509">
                  <c:v>63</c:v>
                </c:pt>
                <c:pt idx="510">
                  <c:v>17</c:v>
                </c:pt>
                <c:pt idx="511">
                  <c:v>0</c:v>
                </c:pt>
                <c:pt idx="512">
                  <c:v>0</c:v>
                </c:pt>
                <c:pt idx="513">
                  <c:v>0</c:v>
                </c:pt>
                <c:pt idx="514">
                  <c:v>1</c:v>
                </c:pt>
                <c:pt idx="515">
                  <c:v>2</c:v>
                </c:pt>
                <c:pt idx="516">
                  <c:v>0</c:v>
                </c:pt>
                <c:pt idx="517">
                  <c:v>26</c:v>
                </c:pt>
                <c:pt idx="518">
                  <c:v>30</c:v>
                </c:pt>
                <c:pt idx="519">
                  <c:v>49</c:v>
                </c:pt>
                <c:pt idx="520">
                  <c:v>5</c:v>
                </c:pt>
                <c:pt idx="521">
                  <c:v>2</c:v>
                </c:pt>
                <c:pt idx="522">
                  <c:v>3</c:v>
                </c:pt>
                <c:pt idx="523">
                  <c:v>2</c:v>
                </c:pt>
                <c:pt idx="524">
                  <c:v>0</c:v>
                </c:pt>
                <c:pt idx="525">
                  <c:v>0</c:v>
                </c:pt>
                <c:pt idx="526">
                  <c:v>1</c:v>
                </c:pt>
                <c:pt idx="527">
                  <c:v>30</c:v>
                </c:pt>
                <c:pt idx="528">
                  <c:v>28</c:v>
                </c:pt>
                <c:pt idx="529">
                  <c:v>34</c:v>
                </c:pt>
                <c:pt idx="530">
                  <c:v>32</c:v>
                </c:pt>
                <c:pt idx="531">
                  <c:v>0</c:v>
                </c:pt>
                <c:pt idx="532">
                  <c:v>0</c:v>
                </c:pt>
                <c:pt idx="533">
                  <c:v>1</c:v>
                </c:pt>
                <c:pt idx="534">
                  <c:v>2</c:v>
                </c:pt>
                <c:pt idx="535">
                  <c:v>3</c:v>
                </c:pt>
                <c:pt idx="536">
                  <c:v>2</c:v>
                </c:pt>
                <c:pt idx="537">
                  <c:v>24</c:v>
                </c:pt>
                <c:pt idx="538">
                  <c:v>23</c:v>
                </c:pt>
                <c:pt idx="539">
                  <c:v>45</c:v>
                </c:pt>
                <c:pt idx="540">
                  <c:v>30</c:v>
                </c:pt>
                <c:pt idx="541">
                  <c:v>1</c:v>
                </c:pt>
                <c:pt idx="542">
                  <c:v>2</c:v>
                </c:pt>
                <c:pt idx="543">
                  <c:v>2</c:v>
                </c:pt>
                <c:pt idx="544">
                  <c:v>1</c:v>
                </c:pt>
                <c:pt idx="545">
                  <c:v>0</c:v>
                </c:pt>
                <c:pt idx="546">
                  <c:v>1</c:v>
                </c:pt>
                <c:pt idx="547">
                  <c:v>0</c:v>
                </c:pt>
                <c:pt idx="548">
                  <c:v>3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</c:v>
                </c:pt>
                <c:pt idx="560">
                  <c:v>0</c:v>
                </c:pt>
                <c:pt idx="561">
                  <c:v>0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0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0</c:v>
                </c:pt>
                <c:pt idx="574">
                  <c:v>0</c:v>
                </c:pt>
                <c:pt idx="575">
                  <c:v>0</c:v>
                </c:pt>
                <c:pt idx="576">
                  <c:v>15</c:v>
                </c:pt>
                <c:pt idx="577">
                  <c:v>163</c:v>
                </c:pt>
                <c:pt idx="578">
                  <c:v>74</c:v>
                </c:pt>
                <c:pt idx="579">
                  <c:v>29</c:v>
                </c:pt>
                <c:pt idx="580">
                  <c:v>24</c:v>
                </c:pt>
                <c:pt idx="581">
                  <c:v>55</c:v>
                </c:pt>
                <c:pt idx="582">
                  <c:v>48</c:v>
                </c:pt>
                <c:pt idx="583">
                  <c:v>0</c:v>
                </c:pt>
                <c:pt idx="584">
                  <c:v>1</c:v>
                </c:pt>
                <c:pt idx="585">
                  <c:v>0</c:v>
                </c:pt>
                <c:pt idx="586">
                  <c:v>0</c:v>
                </c:pt>
                <c:pt idx="587">
                  <c:v>25</c:v>
                </c:pt>
                <c:pt idx="588">
                  <c:v>10</c:v>
                </c:pt>
                <c:pt idx="589">
                  <c:v>7</c:v>
                </c:pt>
                <c:pt idx="590">
                  <c:v>21</c:v>
                </c:pt>
                <c:pt idx="591">
                  <c:v>13</c:v>
                </c:pt>
                <c:pt idx="592">
                  <c:v>15</c:v>
                </c:pt>
                <c:pt idx="593">
                  <c:v>4</c:v>
                </c:pt>
                <c:pt idx="594">
                  <c:v>2</c:v>
                </c:pt>
                <c:pt idx="595">
                  <c:v>7</c:v>
                </c:pt>
                <c:pt idx="596">
                  <c:v>24</c:v>
                </c:pt>
                <c:pt idx="597">
                  <c:v>6</c:v>
                </c:pt>
                <c:pt idx="598">
                  <c:v>4</c:v>
                </c:pt>
                <c:pt idx="599">
                  <c:v>3</c:v>
                </c:pt>
                <c:pt idx="600">
                  <c:v>7</c:v>
                </c:pt>
                <c:pt idx="601">
                  <c:v>4</c:v>
                </c:pt>
                <c:pt idx="602">
                  <c:v>4</c:v>
                </c:pt>
                <c:pt idx="603">
                  <c:v>12</c:v>
                </c:pt>
                <c:pt idx="604">
                  <c:v>79</c:v>
                </c:pt>
                <c:pt idx="605">
                  <c:v>87</c:v>
                </c:pt>
                <c:pt idx="606">
                  <c:v>4</c:v>
                </c:pt>
                <c:pt idx="607">
                  <c:v>37</c:v>
                </c:pt>
                <c:pt idx="608">
                  <c:v>52</c:v>
                </c:pt>
                <c:pt idx="609">
                  <c:v>40</c:v>
                </c:pt>
                <c:pt idx="610">
                  <c:v>41</c:v>
                </c:pt>
                <c:pt idx="611">
                  <c:v>31</c:v>
                </c:pt>
                <c:pt idx="612">
                  <c:v>30</c:v>
                </c:pt>
                <c:pt idx="613">
                  <c:v>8</c:v>
                </c:pt>
                <c:pt idx="614">
                  <c:v>3</c:v>
                </c:pt>
                <c:pt idx="615">
                  <c:v>0</c:v>
                </c:pt>
                <c:pt idx="616">
                  <c:v>10</c:v>
                </c:pt>
                <c:pt idx="617">
                  <c:v>48</c:v>
                </c:pt>
                <c:pt idx="618">
                  <c:v>47</c:v>
                </c:pt>
                <c:pt idx="619">
                  <c:v>37</c:v>
                </c:pt>
                <c:pt idx="620">
                  <c:v>28</c:v>
                </c:pt>
                <c:pt idx="621">
                  <c:v>35</c:v>
                </c:pt>
                <c:pt idx="622">
                  <c:v>21</c:v>
                </c:pt>
                <c:pt idx="623">
                  <c:v>3</c:v>
                </c:pt>
                <c:pt idx="624">
                  <c:v>0</c:v>
                </c:pt>
                <c:pt idx="625">
                  <c:v>3</c:v>
                </c:pt>
                <c:pt idx="626">
                  <c:v>1</c:v>
                </c:pt>
                <c:pt idx="627">
                  <c:v>36</c:v>
                </c:pt>
                <c:pt idx="628">
                  <c:v>41</c:v>
                </c:pt>
                <c:pt idx="629">
                  <c:v>8</c:v>
                </c:pt>
                <c:pt idx="630">
                  <c:v>2</c:v>
                </c:pt>
                <c:pt idx="631">
                  <c:v>0</c:v>
                </c:pt>
                <c:pt idx="632">
                  <c:v>1</c:v>
                </c:pt>
                <c:pt idx="633">
                  <c:v>3</c:v>
                </c:pt>
                <c:pt idx="634">
                  <c:v>3</c:v>
                </c:pt>
                <c:pt idx="635">
                  <c:v>1</c:v>
                </c:pt>
                <c:pt idx="636">
                  <c:v>4</c:v>
                </c:pt>
                <c:pt idx="637">
                  <c:v>28</c:v>
                </c:pt>
                <c:pt idx="638">
                  <c:v>53</c:v>
                </c:pt>
                <c:pt idx="639">
                  <c:v>14</c:v>
                </c:pt>
                <c:pt idx="640">
                  <c:v>0</c:v>
                </c:pt>
                <c:pt idx="641">
                  <c:v>1</c:v>
                </c:pt>
                <c:pt idx="642">
                  <c:v>0</c:v>
                </c:pt>
                <c:pt idx="643">
                  <c:v>1</c:v>
                </c:pt>
                <c:pt idx="644">
                  <c:v>1</c:v>
                </c:pt>
                <c:pt idx="645">
                  <c:v>3</c:v>
                </c:pt>
                <c:pt idx="646">
                  <c:v>1</c:v>
                </c:pt>
                <c:pt idx="647">
                  <c:v>25</c:v>
                </c:pt>
                <c:pt idx="648">
                  <c:v>44</c:v>
                </c:pt>
                <c:pt idx="649">
                  <c:v>22</c:v>
                </c:pt>
                <c:pt idx="650">
                  <c:v>3</c:v>
                </c:pt>
                <c:pt idx="651">
                  <c:v>0</c:v>
                </c:pt>
                <c:pt idx="652">
                  <c:v>2</c:v>
                </c:pt>
                <c:pt idx="653">
                  <c:v>1</c:v>
                </c:pt>
                <c:pt idx="654">
                  <c:v>0</c:v>
                </c:pt>
                <c:pt idx="655">
                  <c:v>0</c:v>
                </c:pt>
                <c:pt idx="656">
                  <c:v>0</c:v>
                </c:pt>
                <c:pt idx="657">
                  <c:v>24</c:v>
                </c:pt>
                <c:pt idx="658">
                  <c:v>28</c:v>
                </c:pt>
                <c:pt idx="659">
                  <c:v>46</c:v>
                </c:pt>
                <c:pt idx="660">
                  <c:v>3</c:v>
                </c:pt>
                <c:pt idx="661">
                  <c:v>1</c:v>
                </c:pt>
                <c:pt idx="662">
                  <c:v>3</c:v>
                </c:pt>
                <c:pt idx="663">
                  <c:v>0</c:v>
                </c:pt>
                <c:pt idx="664">
                  <c:v>1</c:v>
                </c:pt>
                <c:pt idx="665">
                  <c:v>0</c:v>
                </c:pt>
                <c:pt idx="666">
                  <c:v>2</c:v>
                </c:pt>
                <c:pt idx="667">
                  <c:v>23</c:v>
                </c:pt>
                <c:pt idx="668">
                  <c:v>29</c:v>
                </c:pt>
                <c:pt idx="669">
                  <c:v>40</c:v>
                </c:pt>
                <c:pt idx="670">
                  <c:v>10</c:v>
                </c:pt>
                <c:pt idx="671">
                  <c:v>1</c:v>
                </c:pt>
                <c:pt idx="672">
                  <c:v>3</c:v>
                </c:pt>
                <c:pt idx="673">
                  <c:v>1</c:v>
                </c:pt>
                <c:pt idx="674">
                  <c:v>1</c:v>
                </c:pt>
                <c:pt idx="675">
                  <c:v>2</c:v>
                </c:pt>
                <c:pt idx="676">
                  <c:v>0</c:v>
                </c:pt>
                <c:pt idx="677">
                  <c:v>2</c:v>
                </c:pt>
                <c:pt idx="678">
                  <c:v>22</c:v>
                </c:pt>
                <c:pt idx="679">
                  <c:v>22</c:v>
                </c:pt>
                <c:pt idx="680">
                  <c:v>61</c:v>
                </c:pt>
                <c:pt idx="681">
                  <c:v>13</c:v>
                </c:pt>
                <c:pt idx="682">
                  <c:v>0</c:v>
                </c:pt>
                <c:pt idx="683">
                  <c:v>0</c:v>
                </c:pt>
                <c:pt idx="684">
                  <c:v>0</c:v>
                </c:pt>
                <c:pt idx="685">
                  <c:v>1</c:v>
                </c:pt>
                <c:pt idx="686">
                  <c:v>1</c:v>
                </c:pt>
                <c:pt idx="687">
                  <c:v>53</c:v>
                </c:pt>
                <c:pt idx="688">
                  <c:v>49</c:v>
                </c:pt>
                <c:pt idx="689">
                  <c:v>28</c:v>
                </c:pt>
                <c:pt idx="690">
                  <c:v>8</c:v>
                </c:pt>
                <c:pt idx="691">
                  <c:v>1</c:v>
                </c:pt>
                <c:pt idx="692">
                  <c:v>1</c:v>
                </c:pt>
                <c:pt idx="693">
                  <c:v>1</c:v>
                </c:pt>
                <c:pt idx="694">
                  <c:v>0</c:v>
                </c:pt>
                <c:pt idx="695">
                  <c:v>1</c:v>
                </c:pt>
                <c:pt idx="696">
                  <c:v>3</c:v>
                </c:pt>
                <c:pt idx="697">
                  <c:v>3</c:v>
                </c:pt>
                <c:pt idx="698">
                  <c:v>18</c:v>
                </c:pt>
                <c:pt idx="699">
                  <c:v>50</c:v>
                </c:pt>
                <c:pt idx="700">
                  <c:v>22</c:v>
                </c:pt>
                <c:pt idx="701">
                  <c:v>8</c:v>
                </c:pt>
                <c:pt idx="702">
                  <c:v>1</c:v>
                </c:pt>
                <c:pt idx="703">
                  <c:v>1</c:v>
                </c:pt>
                <c:pt idx="704">
                  <c:v>5</c:v>
                </c:pt>
                <c:pt idx="705">
                  <c:v>2</c:v>
                </c:pt>
                <c:pt idx="706">
                  <c:v>0</c:v>
                </c:pt>
                <c:pt idx="707">
                  <c:v>32</c:v>
                </c:pt>
                <c:pt idx="708">
                  <c:v>49</c:v>
                </c:pt>
                <c:pt idx="709">
                  <c:v>20</c:v>
                </c:pt>
                <c:pt idx="710">
                  <c:v>3</c:v>
                </c:pt>
                <c:pt idx="711">
                  <c:v>3</c:v>
                </c:pt>
                <c:pt idx="712">
                  <c:v>2</c:v>
                </c:pt>
                <c:pt idx="713">
                  <c:v>0</c:v>
                </c:pt>
                <c:pt idx="714">
                  <c:v>0</c:v>
                </c:pt>
                <c:pt idx="715">
                  <c:v>3</c:v>
                </c:pt>
                <c:pt idx="716">
                  <c:v>2</c:v>
                </c:pt>
                <c:pt idx="717">
                  <c:v>17</c:v>
                </c:pt>
                <c:pt idx="718">
                  <c:v>27</c:v>
                </c:pt>
                <c:pt idx="719">
                  <c:v>43</c:v>
                </c:pt>
                <c:pt idx="720">
                  <c:v>7</c:v>
                </c:pt>
                <c:pt idx="721">
                  <c:v>0</c:v>
                </c:pt>
                <c:pt idx="722">
                  <c:v>0</c:v>
                </c:pt>
                <c:pt idx="723">
                  <c:v>1</c:v>
                </c:pt>
                <c:pt idx="724">
                  <c:v>1</c:v>
                </c:pt>
                <c:pt idx="725">
                  <c:v>3</c:v>
                </c:pt>
                <c:pt idx="726">
                  <c:v>3</c:v>
                </c:pt>
                <c:pt idx="727">
                  <c:v>22</c:v>
                </c:pt>
                <c:pt idx="728">
                  <c:v>43</c:v>
                </c:pt>
                <c:pt idx="729">
                  <c:v>20</c:v>
                </c:pt>
                <c:pt idx="730">
                  <c:v>12</c:v>
                </c:pt>
                <c:pt idx="731">
                  <c:v>3</c:v>
                </c:pt>
                <c:pt idx="732">
                  <c:v>0</c:v>
                </c:pt>
                <c:pt idx="733">
                  <c:v>0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6</c:v>
                </c:pt>
                <c:pt idx="738">
                  <c:v>41</c:v>
                </c:pt>
                <c:pt idx="739">
                  <c:v>46</c:v>
                </c:pt>
                <c:pt idx="740">
                  <c:v>10</c:v>
                </c:pt>
                <c:pt idx="741">
                  <c:v>16</c:v>
                </c:pt>
                <c:pt idx="742">
                  <c:v>5</c:v>
                </c:pt>
                <c:pt idx="743">
                  <c:v>0</c:v>
                </c:pt>
                <c:pt idx="744">
                  <c:v>2</c:v>
                </c:pt>
                <c:pt idx="745">
                  <c:v>0</c:v>
                </c:pt>
                <c:pt idx="746">
                  <c:v>3</c:v>
                </c:pt>
                <c:pt idx="747">
                  <c:v>32</c:v>
                </c:pt>
                <c:pt idx="748">
                  <c:v>58</c:v>
                </c:pt>
                <c:pt idx="749">
                  <c:v>48</c:v>
                </c:pt>
                <c:pt idx="750">
                  <c:v>2</c:v>
                </c:pt>
                <c:pt idx="751">
                  <c:v>2</c:v>
                </c:pt>
                <c:pt idx="752">
                  <c:v>3</c:v>
                </c:pt>
                <c:pt idx="753">
                  <c:v>2</c:v>
                </c:pt>
                <c:pt idx="754">
                  <c:v>0</c:v>
                </c:pt>
                <c:pt idx="755">
                  <c:v>2</c:v>
                </c:pt>
                <c:pt idx="756">
                  <c:v>0</c:v>
                </c:pt>
                <c:pt idx="757">
                  <c:v>5</c:v>
                </c:pt>
                <c:pt idx="758">
                  <c:v>3</c:v>
                </c:pt>
                <c:pt idx="759">
                  <c:v>3</c:v>
                </c:pt>
                <c:pt idx="760">
                  <c:v>46</c:v>
                </c:pt>
                <c:pt idx="761">
                  <c:v>34</c:v>
                </c:pt>
                <c:pt idx="762">
                  <c:v>0</c:v>
                </c:pt>
                <c:pt idx="763">
                  <c:v>1</c:v>
                </c:pt>
                <c:pt idx="764">
                  <c:v>0</c:v>
                </c:pt>
                <c:pt idx="765">
                  <c:v>5</c:v>
                </c:pt>
                <c:pt idx="766">
                  <c:v>1</c:v>
                </c:pt>
                <c:pt idx="767">
                  <c:v>0</c:v>
                </c:pt>
                <c:pt idx="768">
                  <c:v>45</c:v>
                </c:pt>
                <c:pt idx="769">
                  <c:v>55</c:v>
                </c:pt>
                <c:pt idx="770">
                  <c:v>11</c:v>
                </c:pt>
                <c:pt idx="771">
                  <c:v>9</c:v>
                </c:pt>
                <c:pt idx="772">
                  <c:v>1</c:v>
                </c:pt>
                <c:pt idx="773">
                  <c:v>0</c:v>
                </c:pt>
                <c:pt idx="774">
                  <c:v>0</c:v>
                </c:pt>
                <c:pt idx="775">
                  <c:v>0</c:v>
                </c:pt>
                <c:pt idx="776">
                  <c:v>3</c:v>
                </c:pt>
                <c:pt idx="777">
                  <c:v>1</c:v>
                </c:pt>
                <c:pt idx="778">
                  <c:v>31</c:v>
                </c:pt>
                <c:pt idx="779">
                  <c:v>31</c:v>
                </c:pt>
                <c:pt idx="780">
                  <c:v>21</c:v>
                </c:pt>
                <c:pt idx="781">
                  <c:v>1</c:v>
                </c:pt>
                <c:pt idx="782">
                  <c:v>2</c:v>
                </c:pt>
                <c:pt idx="783">
                  <c:v>0</c:v>
                </c:pt>
                <c:pt idx="784">
                  <c:v>0</c:v>
                </c:pt>
                <c:pt idx="785">
                  <c:v>1</c:v>
                </c:pt>
                <c:pt idx="786">
                  <c:v>2</c:v>
                </c:pt>
                <c:pt idx="787">
                  <c:v>4</c:v>
                </c:pt>
                <c:pt idx="788">
                  <c:v>5</c:v>
                </c:pt>
                <c:pt idx="789">
                  <c:v>32</c:v>
                </c:pt>
                <c:pt idx="790">
                  <c:v>20</c:v>
                </c:pt>
                <c:pt idx="791">
                  <c:v>25</c:v>
                </c:pt>
                <c:pt idx="792">
                  <c:v>3</c:v>
                </c:pt>
                <c:pt idx="793">
                  <c:v>0</c:v>
                </c:pt>
                <c:pt idx="794">
                  <c:v>0</c:v>
                </c:pt>
                <c:pt idx="795">
                  <c:v>0</c:v>
                </c:pt>
                <c:pt idx="796">
                  <c:v>1</c:v>
                </c:pt>
                <c:pt idx="797">
                  <c:v>22</c:v>
                </c:pt>
                <c:pt idx="798">
                  <c:v>35</c:v>
                </c:pt>
                <c:pt idx="799">
                  <c:v>35</c:v>
                </c:pt>
                <c:pt idx="800">
                  <c:v>6</c:v>
                </c:pt>
                <c:pt idx="801">
                  <c:v>1</c:v>
                </c:pt>
                <c:pt idx="802">
                  <c:v>0</c:v>
                </c:pt>
                <c:pt idx="803">
                  <c:v>4</c:v>
                </c:pt>
                <c:pt idx="804">
                  <c:v>0</c:v>
                </c:pt>
                <c:pt idx="805">
                  <c:v>4</c:v>
                </c:pt>
                <c:pt idx="806">
                  <c:v>0</c:v>
                </c:pt>
                <c:pt idx="807">
                  <c:v>35</c:v>
                </c:pt>
                <c:pt idx="808">
                  <c:v>34</c:v>
                </c:pt>
                <c:pt idx="809">
                  <c:v>32</c:v>
                </c:pt>
                <c:pt idx="810">
                  <c:v>9</c:v>
                </c:pt>
                <c:pt idx="811">
                  <c:v>0</c:v>
                </c:pt>
                <c:pt idx="812">
                  <c:v>3</c:v>
                </c:pt>
                <c:pt idx="813">
                  <c:v>1</c:v>
                </c:pt>
                <c:pt idx="814">
                  <c:v>0</c:v>
                </c:pt>
                <c:pt idx="815">
                  <c:v>0</c:v>
                </c:pt>
                <c:pt idx="816">
                  <c:v>1</c:v>
                </c:pt>
                <c:pt idx="817">
                  <c:v>9</c:v>
                </c:pt>
                <c:pt idx="818">
                  <c:v>42</c:v>
                </c:pt>
                <c:pt idx="819">
                  <c:v>29</c:v>
                </c:pt>
                <c:pt idx="820">
                  <c:v>27</c:v>
                </c:pt>
                <c:pt idx="821">
                  <c:v>5</c:v>
                </c:pt>
                <c:pt idx="822">
                  <c:v>0</c:v>
                </c:pt>
                <c:pt idx="823">
                  <c:v>0</c:v>
                </c:pt>
                <c:pt idx="824">
                  <c:v>1</c:v>
                </c:pt>
                <c:pt idx="825">
                  <c:v>1</c:v>
                </c:pt>
                <c:pt idx="826">
                  <c:v>1</c:v>
                </c:pt>
                <c:pt idx="827">
                  <c:v>18</c:v>
                </c:pt>
                <c:pt idx="828">
                  <c:v>55</c:v>
                </c:pt>
                <c:pt idx="829">
                  <c:v>52</c:v>
                </c:pt>
                <c:pt idx="830">
                  <c:v>4</c:v>
                </c:pt>
                <c:pt idx="831">
                  <c:v>0</c:v>
                </c:pt>
                <c:pt idx="832">
                  <c:v>0</c:v>
                </c:pt>
                <c:pt idx="833">
                  <c:v>0</c:v>
                </c:pt>
                <c:pt idx="834">
                  <c:v>0</c:v>
                </c:pt>
                <c:pt idx="835">
                  <c:v>1</c:v>
                </c:pt>
                <c:pt idx="836">
                  <c:v>0</c:v>
                </c:pt>
                <c:pt idx="837">
                  <c:v>0</c:v>
                </c:pt>
                <c:pt idx="838">
                  <c:v>0</c:v>
                </c:pt>
                <c:pt idx="839">
                  <c:v>2</c:v>
                </c:pt>
                <c:pt idx="840">
                  <c:v>0</c:v>
                </c:pt>
                <c:pt idx="841">
                  <c:v>0</c:v>
                </c:pt>
                <c:pt idx="842">
                  <c:v>0</c:v>
                </c:pt>
                <c:pt idx="843">
                  <c:v>2</c:v>
                </c:pt>
                <c:pt idx="844">
                  <c:v>4</c:v>
                </c:pt>
                <c:pt idx="845">
                  <c:v>0</c:v>
                </c:pt>
                <c:pt idx="846">
                  <c:v>0</c:v>
                </c:pt>
                <c:pt idx="847">
                  <c:v>6</c:v>
                </c:pt>
                <c:pt idx="848">
                  <c:v>127</c:v>
                </c:pt>
                <c:pt idx="849">
                  <c:v>71</c:v>
                </c:pt>
                <c:pt idx="850">
                  <c:v>67</c:v>
                </c:pt>
                <c:pt idx="851">
                  <c:v>50</c:v>
                </c:pt>
                <c:pt idx="852">
                  <c:v>3</c:v>
                </c:pt>
                <c:pt idx="853">
                  <c:v>1</c:v>
                </c:pt>
                <c:pt idx="854">
                  <c:v>2</c:v>
                </c:pt>
                <c:pt idx="855">
                  <c:v>2</c:v>
                </c:pt>
                <c:pt idx="856">
                  <c:v>5</c:v>
                </c:pt>
                <c:pt idx="857">
                  <c:v>34</c:v>
                </c:pt>
                <c:pt idx="858">
                  <c:v>51</c:v>
                </c:pt>
                <c:pt idx="859">
                  <c:v>26</c:v>
                </c:pt>
                <c:pt idx="860">
                  <c:v>4</c:v>
                </c:pt>
                <c:pt idx="861">
                  <c:v>0</c:v>
                </c:pt>
                <c:pt idx="862">
                  <c:v>0</c:v>
                </c:pt>
                <c:pt idx="863">
                  <c:v>1</c:v>
                </c:pt>
                <c:pt idx="864">
                  <c:v>1</c:v>
                </c:pt>
                <c:pt idx="865">
                  <c:v>0</c:v>
                </c:pt>
                <c:pt idx="866">
                  <c:v>0</c:v>
                </c:pt>
                <c:pt idx="867">
                  <c:v>36</c:v>
                </c:pt>
                <c:pt idx="868">
                  <c:v>50</c:v>
                </c:pt>
                <c:pt idx="869">
                  <c:v>4</c:v>
                </c:pt>
                <c:pt idx="870">
                  <c:v>28</c:v>
                </c:pt>
                <c:pt idx="871">
                  <c:v>0</c:v>
                </c:pt>
                <c:pt idx="872">
                  <c:v>0</c:v>
                </c:pt>
                <c:pt idx="873">
                  <c:v>4</c:v>
                </c:pt>
                <c:pt idx="874">
                  <c:v>1</c:v>
                </c:pt>
                <c:pt idx="875">
                  <c:v>2</c:v>
                </c:pt>
                <c:pt idx="876">
                  <c:v>0</c:v>
                </c:pt>
                <c:pt idx="877">
                  <c:v>15</c:v>
                </c:pt>
                <c:pt idx="878">
                  <c:v>51</c:v>
                </c:pt>
                <c:pt idx="879">
                  <c:v>35</c:v>
                </c:pt>
                <c:pt idx="880">
                  <c:v>9</c:v>
                </c:pt>
                <c:pt idx="881">
                  <c:v>0</c:v>
                </c:pt>
                <c:pt idx="882">
                  <c:v>1</c:v>
                </c:pt>
                <c:pt idx="883">
                  <c:v>1</c:v>
                </c:pt>
                <c:pt idx="884">
                  <c:v>2</c:v>
                </c:pt>
                <c:pt idx="885">
                  <c:v>2</c:v>
                </c:pt>
                <c:pt idx="886">
                  <c:v>8</c:v>
                </c:pt>
                <c:pt idx="887">
                  <c:v>0</c:v>
                </c:pt>
                <c:pt idx="888">
                  <c:v>7</c:v>
                </c:pt>
                <c:pt idx="889">
                  <c:v>46</c:v>
                </c:pt>
                <c:pt idx="890">
                  <c:v>36</c:v>
                </c:pt>
                <c:pt idx="891">
                  <c:v>17</c:v>
                </c:pt>
                <c:pt idx="892">
                  <c:v>3</c:v>
                </c:pt>
                <c:pt idx="893">
                  <c:v>3</c:v>
                </c:pt>
                <c:pt idx="894">
                  <c:v>6</c:v>
                </c:pt>
                <c:pt idx="895">
                  <c:v>0</c:v>
                </c:pt>
                <c:pt idx="896">
                  <c:v>4</c:v>
                </c:pt>
                <c:pt idx="897">
                  <c:v>21</c:v>
                </c:pt>
                <c:pt idx="898">
                  <c:v>59</c:v>
                </c:pt>
                <c:pt idx="899">
                  <c:v>11</c:v>
                </c:pt>
                <c:pt idx="900">
                  <c:v>1</c:v>
                </c:pt>
                <c:pt idx="901">
                  <c:v>0</c:v>
                </c:pt>
                <c:pt idx="902">
                  <c:v>0</c:v>
                </c:pt>
                <c:pt idx="903">
                  <c:v>6</c:v>
                </c:pt>
                <c:pt idx="904">
                  <c:v>1</c:v>
                </c:pt>
                <c:pt idx="905">
                  <c:v>5</c:v>
                </c:pt>
                <c:pt idx="906">
                  <c:v>0</c:v>
                </c:pt>
                <c:pt idx="907">
                  <c:v>20</c:v>
                </c:pt>
                <c:pt idx="908">
                  <c:v>52</c:v>
                </c:pt>
                <c:pt idx="909">
                  <c:v>47</c:v>
                </c:pt>
                <c:pt idx="910">
                  <c:v>35</c:v>
                </c:pt>
                <c:pt idx="911">
                  <c:v>9</c:v>
                </c:pt>
                <c:pt idx="912">
                  <c:v>3</c:v>
                </c:pt>
                <c:pt idx="913">
                  <c:v>1</c:v>
                </c:pt>
                <c:pt idx="914">
                  <c:v>3</c:v>
                </c:pt>
                <c:pt idx="915">
                  <c:v>1</c:v>
                </c:pt>
                <c:pt idx="916">
                  <c:v>2</c:v>
                </c:pt>
                <c:pt idx="917">
                  <c:v>2</c:v>
                </c:pt>
                <c:pt idx="918">
                  <c:v>1</c:v>
                </c:pt>
                <c:pt idx="919">
                  <c:v>0</c:v>
                </c:pt>
                <c:pt idx="920">
                  <c:v>44</c:v>
                </c:pt>
                <c:pt idx="921">
                  <c:v>58</c:v>
                </c:pt>
                <c:pt idx="922">
                  <c:v>1</c:v>
                </c:pt>
                <c:pt idx="923">
                  <c:v>2</c:v>
                </c:pt>
                <c:pt idx="924">
                  <c:v>1</c:v>
                </c:pt>
                <c:pt idx="925">
                  <c:v>0</c:v>
                </c:pt>
                <c:pt idx="926">
                  <c:v>0</c:v>
                </c:pt>
                <c:pt idx="927">
                  <c:v>21</c:v>
                </c:pt>
                <c:pt idx="928">
                  <c:v>47</c:v>
                </c:pt>
                <c:pt idx="929">
                  <c:v>21</c:v>
                </c:pt>
                <c:pt idx="930">
                  <c:v>7</c:v>
                </c:pt>
                <c:pt idx="931">
                  <c:v>1</c:v>
                </c:pt>
                <c:pt idx="932">
                  <c:v>1</c:v>
                </c:pt>
                <c:pt idx="933">
                  <c:v>2</c:v>
                </c:pt>
                <c:pt idx="934">
                  <c:v>4</c:v>
                </c:pt>
                <c:pt idx="935">
                  <c:v>4</c:v>
                </c:pt>
                <c:pt idx="936">
                  <c:v>1</c:v>
                </c:pt>
                <c:pt idx="937">
                  <c:v>0</c:v>
                </c:pt>
                <c:pt idx="938">
                  <c:v>0</c:v>
                </c:pt>
                <c:pt idx="939">
                  <c:v>0</c:v>
                </c:pt>
                <c:pt idx="940">
                  <c:v>0</c:v>
                </c:pt>
                <c:pt idx="941">
                  <c:v>0</c:v>
                </c:pt>
                <c:pt idx="942">
                  <c:v>0</c:v>
                </c:pt>
                <c:pt idx="943">
                  <c:v>0</c:v>
                </c:pt>
                <c:pt idx="944">
                  <c:v>36</c:v>
                </c:pt>
                <c:pt idx="945">
                  <c:v>36</c:v>
                </c:pt>
                <c:pt idx="946">
                  <c:v>17</c:v>
                </c:pt>
                <c:pt idx="947">
                  <c:v>8</c:v>
                </c:pt>
                <c:pt idx="948">
                  <c:v>3</c:v>
                </c:pt>
                <c:pt idx="949">
                  <c:v>2</c:v>
                </c:pt>
                <c:pt idx="950">
                  <c:v>3</c:v>
                </c:pt>
                <c:pt idx="951">
                  <c:v>3</c:v>
                </c:pt>
                <c:pt idx="952">
                  <c:v>1</c:v>
                </c:pt>
                <c:pt idx="953">
                  <c:v>0</c:v>
                </c:pt>
                <c:pt idx="954">
                  <c:v>3</c:v>
                </c:pt>
                <c:pt idx="955">
                  <c:v>3</c:v>
                </c:pt>
                <c:pt idx="956">
                  <c:v>0</c:v>
                </c:pt>
                <c:pt idx="957">
                  <c:v>0</c:v>
                </c:pt>
                <c:pt idx="958">
                  <c:v>0</c:v>
                </c:pt>
                <c:pt idx="959">
                  <c:v>0</c:v>
                </c:pt>
                <c:pt idx="960">
                  <c:v>0</c:v>
                </c:pt>
                <c:pt idx="961">
                  <c:v>0</c:v>
                </c:pt>
                <c:pt idx="962">
                  <c:v>0</c:v>
                </c:pt>
                <c:pt idx="963">
                  <c:v>0</c:v>
                </c:pt>
                <c:pt idx="964">
                  <c:v>0</c:v>
                </c:pt>
                <c:pt idx="965">
                  <c:v>0</c:v>
                </c:pt>
                <c:pt idx="966">
                  <c:v>0</c:v>
                </c:pt>
                <c:pt idx="967">
                  <c:v>0</c:v>
                </c:pt>
                <c:pt idx="968">
                  <c:v>0</c:v>
                </c:pt>
                <c:pt idx="969">
                  <c:v>0</c:v>
                </c:pt>
                <c:pt idx="970">
                  <c:v>0</c:v>
                </c:pt>
                <c:pt idx="971">
                  <c:v>0</c:v>
                </c:pt>
                <c:pt idx="972">
                  <c:v>0</c:v>
                </c:pt>
                <c:pt idx="973">
                  <c:v>0</c:v>
                </c:pt>
                <c:pt idx="974">
                  <c:v>0</c:v>
                </c:pt>
                <c:pt idx="975">
                  <c:v>0</c:v>
                </c:pt>
                <c:pt idx="976">
                  <c:v>0</c:v>
                </c:pt>
                <c:pt idx="977">
                  <c:v>0</c:v>
                </c:pt>
                <c:pt idx="978">
                  <c:v>0</c:v>
                </c:pt>
                <c:pt idx="979">
                  <c:v>0</c:v>
                </c:pt>
                <c:pt idx="980">
                  <c:v>0</c:v>
                </c:pt>
                <c:pt idx="981">
                  <c:v>0</c:v>
                </c:pt>
                <c:pt idx="982">
                  <c:v>0</c:v>
                </c:pt>
                <c:pt idx="983">
                  <c:v>0</c:v>
                </c:pt>
                <c:pt idx="984">
                  <c:v>0</c:v>
                </c:pt>
                <c:pt idx="985">
                  <c:v>0</c:v>
                </c:pt>
                <c:pt idx="986">
                  <c:v>0</c:v>
                </c:pt>
                <c:pt idx="987">
                  <c:v>0</c:v>
                </c:pt>
                <c:pt idx="988">
                  <c:v>0</c:v>
                </c:pt>
                <c:pt idx="989">
                  <c:v>0</c:v>
                </c:pt>
                <c:pt idx="990">
                  <c:v>0</c:v>
                </c:pt>
                <c:pt idx="991">
                  <c:v>0</c:v>
                </c:pt>
                <c:pt idx="992">
                  <c:v>8</c:v>
                </c:pt>
                <c:pt idx="993">
                  <c:v>38</c:v>
                </c:pt>
                <c:pt idx="994">
                  <c:v>42</c:v>
                </c:pt>
                <c:pt idx="995">
                  <c:v>22</c:v>
                </c:pt>
                <c:pt idx="996">
                  <c:v>43</c:v>
                </c:pt>
                <c:pt idx="997">
                  <c:v>24</c:v>
                </c:pt>
                <c:pt idx="998">
                  <c:v>8</c:v>
                </c:pt>
                <c:pt idx="999">
                  <c:v>17</c:v>
                </c:pt>
                <c:pt idx="1000">
                  <c:v>15</c:v>
                </c:pt>
                <c:pt idx="1001">
                  <c:v>3</c:v>
                </c:pt>
                <c:pt idx="1002">
                  <c:v>1</c:v>
                </c:pt>
                <c:pt idx="1003">
                  <c:v>0</c:v>
                </c:pt>
                <c:pt idx="1004">
                  <c:v>0</c:v>
                </c:pt>
                <c:pt idx="1005">
                  <c:v>2</c:v>
                </c:pt>
                <c:pt idx="1006">
                  <c:v>1</c:v>
                </c:pt>
                <c:pt idx="1007">
                  <c:v>3</c:v>
                </c:pt>
                <c:pt idx="1008">
                  <c:v>48</c:v>
                </c:pt>
                <c:pt idx="1009">
                  <c:v>12</c:v>
                </c:pt>
                <c:pt idx="1010">
                  <c:v>32</c:v>
                </c:pt>
                <c:pt idx="1011">
                  <c:v>24</c:v>
                </c:pt>
                <c:pt idx="1012">
                  <c:v>27</c:v>
                </c:pt>
                <c:pt idx="1013">
                  <c:v>17</c:v>
                </c:pt>
                <c:pt idx="1014">
                  <c:v>1</c:v>
                </c:pt>
                <c:pt idx="1015">
                  <c:v>1</c:v>
                </c:pt>
                <c:pt idx="1016">
                  <c:v>6</c:v>
                </c:pt>
                <c:pt idx="1017">
                  <c:v>40</c:v>
                </c:pt>
                <c:pt idx="1018">
                  <c:v>30</c:v>
                </c:pt>
                <c:pt idx="1019">
                  <c:v>46</c:v>
                </c:pt>
                <c:pt idx="1020">
                  <c:v>40</c:v>
                </c:pt>
                <c:pt idx="1021">
                  <c:v>29</c:v>
                </c:pt>
                <c:pt idx="1022">
                  <c:v>28</c:v>
                </c:pt>
                <c:pt idx="1023">
                  <c:v>8</c:v>
                </c:pt>
                <c:pt idx="1024">
                  <c:v>1</c:v>
                </c:pt>
                <c:pt idx="1025">
                  <c:v>1</c:v>
                </c:pt>
                <c:pt idx="1026">
                  <c:v>1</c:v>
                </c:pt>
                <c:pt idx="1027">
                  <c:v>2</c:v>
                </c:pt>
                <c:pt idx="1028">
                  <c:v>0</c:v>
                </c:pt>
                <c:pt idx="1029">
                  <c:v>32</c:v>
                </c:pt>
                <c:pt idx="1030">
                  <c:v>29</c:v>
                </c:pt>
                <c:pt idx="1031">
                  <c:v>36</c:v>
                </c:pt>
                <c:pt idx="1032">
                  <c:v>28</c:v>
                </c:pt>
                <c:pt idx="1033">
                  <c:v>6</c:v>
                </c:pt>
                <c:pt idx="1034">
                  <c:v>4</c:v>
                </c:pt>
                <c:pt idx="1035">
                  <c:v>5</c:v>
                </c:pt>
                <c:pt idx="1036">
                  <c:v>0</c:v>
                </c:pt>
                <c:pt idx="1037">
                  <c:v>40</c:v>
                </c:pt>
                <c:pt idx="1038">
                  <c:v>32</c:v>
                </c:pt>
                <c:pt idx="1039">
                  <c:v>9</c:v>
                </c:pt>
                <c:pt idx="1040">
                  <c:v>1</c:v>
                </c:pt>
                <c:pt idx="1041">
                  <c:v>0</c:v>
                </c:pt>
                <c:pt idx="1042">
                  <c:v>0</c:v>
                </c:pt>
                <c:pt idx="1043">
                  <c:v>1</c:v>
                </c:pt>
                <c:pt idx="1044">
                  <c:v>1</c:v>
                </c:pt>
                <c:pt idx="1045">
                  <c:v>0</c:v>
                </c:pt>
                <c:pt idx="1046">
                  <c:v>0</c:v>
                </c:pt>
                <c:pt idx="1047">
                  <c:v>1</c:v>
                </c:pt>
                <c:pt idx="1048">
                  <c:v>20</c:v>
                </c:pt>
                <c:pt idx="1049">
                  <c:v>44</c:v>
                </c:pt>
                <c:pt idx="1050">
                  <c:v>4</c:v>
                </c:pt>
                <c:pt idx="1051">
                  <c:v>0</c:v>
                </c:pt>
                <c:pt idx="1052">
                  <c:v>1</c:v>
                </c:pt>
                <c:pt idx="1053">
                  <c:v>4</c:v>
                </c:pt>
                <c:pt idx="1054">
                  <c:v>0</c:v>
                </c:pt>
                <c:pt idx="1055">
                  <c:v>2</c:v>
                </c:pt>
                <c:pt idx="1056">
                  <c:v>0</c:v>
                </c:pt>
                <c:pt idx="1057">
                  <c:v>11</c:v>
                </c:pt>
                <c:pt idx="1058">
                  <c:v>55</c:v>
                </c:pt>
                <c:pt idx="1059">
                  <c:v>11</c:v>
                </c:pt>
                <c:pt idx="1060">
                  <c:v>1</c:v>
                </c:pt>
                <c:pt idx="1061">
                  <c:v>1</c:v>
                </c:pt>
                <c:pt idx="1062">
                  <c:v>4</c:v>
                </c:pt>
                <c:pt idx="1063">
                  <c:v>5</c:v>
                </c:pt>
                <c:pt idx="1064">
                  <c:v>0</c:v>
                </c:pt>
                <c:pt idx="1065">
                  <c:v>0</c:v>
                </c:pt>
                <c:pt idx="1066">
                  <c:v>1</c:v>
                </c:pt>
                <c:pt idx="1067">
                  <c:v>0</c:v>
                </c:pt>
                <c:pt idx="1068">
                  <c:v>16</c:v>
                </c:pt>
                <c:pt idx="1069">
                  <c:v>34</c:v>
                </c:pt>
                <c:pt idx="1070">
                  <c:v>5</c:v>
                </c:pt>
                <c:pt idx="1071">
                  <c:v>5</c:v>
                </c:pt>
                <c:pt idx="1072">
                  <c:v>0</c:v>
                </c:pt>
                <c:pt idx="1073">
                  <c:v>0</c:v>
                </c:pt>
                <c:pt idx="1074">
                  <c:v>1</c:v>
                </c:pt>
                <c:pt idx="1075">
                  <c:v>2</c:v>
                </c:pt>
                <c:pt idx="1076">
                  <c:v>0</c:v>
                </c:pt>
                <c:pt idx="1077">
                  <c:v>33</c:v>
                </c:pt>
                <c:pt idx="1078">
                  <c:v>52</c:v>
                </c:pt>
                <c:pt idx="1079">
                  <c:v>7</c:v>
                </c:pt>
                <c:pt idx="1080">
                  <c:v>0</c:v>
                </c:pt>
                <c:pt idx="1081">
                  <c:v>0</c:v>
                </c:pt>
                <c:pt idx="1082">
                  <c:v>0</c:v>
                </c:pt>
                <c:pt idx="1083">
                  <c:v>3</c:v>
                </c:pt>
                <c:pt idx="1084">
                  <c:v>0</c:v>
                </c:pt>
                <c:pt idx="1085">
                  <c:v>0</c:v>
                </c:pt>
                <c:pt idx="1086">
                  <c:v>1</c:v>
                </c:pt>
                <c:pt idx="1087">
                  <c:v>1</c:v>
                </c:pt>
                <c:pt idx="1088">
                  <c:v>18</c:v>
                </c:pt>
                <c:pt idx="1089">
                  <c:v>56</c:v>
                </c:pt>
                <c:pt idx="1090">
                  <c:v>14</c:v>
                </c:pt>
                <c:pt idx="1091">
                  <c:v>2</c:v>
                </c:pt>
                <c:pt idx="1092">
                  <c:v>0</c:v>
                </c:pt>
                <c:pt idx="1093">
                  <c:v>2</c:v>
                </c:pt>
                <c:pt idx="1094">
                  <c:v>1</c:v>
                </c:pt>
                <c:pt idx="1095">
                  <c:v>1</c:v>
                </c:pt>
                <c:pt idx="1096">
                  <c:v>0</c:v>
                </c:pt>
                <c:pt idx="1097">
                  <c:v>33</c:v>
                </c:pt>
                <c:pt idx="1098">
                  <c:v>22</c:v>
                </c:pt>
                <c:pt idx="1099">
                  <c:v>26</c:v>
                </c:pt>
                <c:pt idx="1100">
                  <c:v>4</c:v>
                </c:pt>
                <c:pt idx="1101">
                  <c:v>0</c:v>
                </c:pt>
                <c:pt idx="1102">
                  <c:v>4</c:v>
                </c:pt>
                <c:pt idx="1103">
                  <c:v>2</c:v>
                </c:pt>
                <c:pt idx="1104">
                  <c:v>3</c:v>
                </c:pt>
                <c:pt idx="1105">
                  <c:v>2</c:v>
                </c:pt>
                <c:pt idx="1106">
                  <c:v>1</c:v>
                </c:pt>
                <c:pt idx="1107">
                  <c:v>21</c:v>
                </c:pt>
                <c:pt idx="1108">
                  <c:v>49</c:v>
                </c:pt>
                <c:pt idx="1109">
                  <c:v>12</c:v>
                </c:pt>
                <c:pt idx="1110">
                  <c:v>7</c:v>
                </c:pt>
                <c:pt idx="1111">
                  <c:v>0</c:v>
                </c:pt>
                <c:pt idx="1112">
                  <c:v>1</c:v>
                </c:pt>
                <c:pt idx="1113">
                  <c:v>1</c:v>
                </c:pt>
                <c:pt idx="1114">
                  <c:v>3</c:v>
                </c:pt>
                <c:pt idx="1115">
                  <c:v>0</c:v>
                </c:pt>
                <c:pt idx="1116">
                  <c:v>1</c:v>
                </c:pt>
                <c:pt idx="1117">
                  <c:v>14</c:v>
                </c:pt>
                <c:pt idx="1118">
                  <c:v>40</c:v>
                </c:pt>
                <c:pt idx="1119">
                  <c:v>30</c:v>
                </c:pt>
                <c:pt idx="1120">
                  <c:v>7</c:v>
                </c:pt>
                <c:pt idx="1121">
                  <c:v>0</c:v>
                </c:pt>
                <c:pt idx="1122">
                  <c:v>3</c:v>
                </c:pt>
                <c:pt idx="1123">
                  <c:v>0</c:v>
                </c:pt>
                <c:pt idx="1124">
                  <c:v>0</c:v>
                </c:pt>
                <c:pt idx="1125">
                  <c:v>1</c:v>
                </c:pt>
                <c:pt idx="1126">
                  <c:v>0</c:v>
                </c:pt>
                <c:pt idx="1127">
                  <c:v>0</c:v>
                </c:pt>
                <c:pt idx="1128">
                  <c:v>10</c:v>
                </c:pt>
                <c:pt idx="1129">
                  <c:v>51</c:v>
                </c:pt>
                <c:pt idx="1130">
                  <c:v>21</c:v>
                </c:pt>
                <c:pt idx="1131">
                  <c:v>6</c:v>
                </c:pt>
                <c:pt idx="1132">
                  <c:v>0</c:v>
                </c:pt>
                <c:pt idx="1133">
                  <c:v>0</c:v>
                </c:pt>
                <c:pt idx="1134">
                  <c:v>5</c:v>
                </c:pt>
                <c:pt idx="1135">
                  <c:v>2</c:v>
                </c:pt>
                <c:pt idx="1136">
                  <c:v>2</c:v>
                </c:pt>
                <c:pt idx="1137">
                  <c:v>24</c:v>
                </c:pt>
                <c:pt idx="1138">
                  <c:v>46</c:v>
                </c:pt>
                <c:pt idx="1139">
                  <c:v>22</c:v>
                </c:pt>
                <c:pt idx="1140">
                  <c:v>10</c:v>
                </c:pt>
                <c:pt idx="1141">
                  <c:v>1</c:v>
                </c:pt>
                <c:pt idx="1142">
                  <c:v>2</c:v>
                </c:pt>
                <c:pt idx="1143">
                  <c:v>1</c:v>
                </c:pt>
                <c:pt idx="1144">
                  <c:v>0</c:v>
                </c:pt>
                <c:pt idx="1145">
                  <c:v>1</c:v>
                </c:pt>
                <c:pt idx="1146">
                  <c:v>2</c:v>
                </c:pt>
                <c:pt idx="1147">
                  <c:v>1</c:v>
                </c:pt>
                <c:pt idx="1148">
                  <c:v>11</c:v>
                </c:pt>
                <c:pt idx="1149">
                  <c:v>44</c:v>
                </c:pt>
                <c:pt idx="1150">
                  <c:v>28</c:v>
                </c:pt>
                <c:pt idx="1151">
                  <c:v>10</c:v>
                </c:pt>
                <c:pt idx="1152">
                  <c:v>3</c:v>
                </c:pt>
                <c:pt idx="1153">
                  <c:v>3</c:v>
                </c:pt>
                <c:pt idx="1154">
                  <c:v>3</c:v>
                </c:pt>
                <c:pt idx="1155">
                  <c:v>0</c:v>
                </c:pt>
                <c:pt idx="1156">
                  <c:v>0</c:v>
                </c:pt>
                <c:pt idx="1157">
                  <c:v>0</c:v>
                </c:pt>
                <c:pt idx="1158">
                  <c:v>4</c:v>
                </c:pt>
                <c:pt idx="1159">
                  <c:v>14</c:v>
                </c:pt>
                <c:pt idx="1160">
                  <c:v>37</c:v>
                </c:pt>
                <c:pt idx="1161">
                  <c:v>36</c:v>
                </c:pt>
                <c:pt idx="1162">
                  <c:v>8</c:v>
                </c:pt>
                <c:pt idx="1163">
                  <c:v>0</c:v>
                </c:pt>
                <c:pt idx="1164">
                  <c:v>0</c:v>
                </c:pt>
                <c:pt idx="1165">
                  <c:v>2</c:v>
                </c:pt>
                <c:pt idx="1166">
                  <c:v>2</c:v>
                </c:pt>
                <c:pt idx="1167">
                  <c:v>3</c:v>
                </c:pt>
                <c:pt idx="1168">
                  <c:v>13</c:v>
                </c:pt>
                <c:pt idx="1169">
                  <c:v>60</c:v>
                </c:pt>
                <c:pt idx="1170">
                  <c:v>24</c:v>
                </c:pt>
                <c:pt idx="1171">
                  <c:v>17</c:v>
                </c:pt>
                <c:pt idx="1172">
                  <c:v>1</c:v>
                </c:pt>
                <c:pt idx="1173">
                  <c:v>0</c:v>
                </c:pt>
                <c:pt idx="1174">
                  <c:v>0</c:v>
                </c:pt>
                <c:pt idx="1175">
                  <c:v>0</c:v>
                </c:pt>
                <c:pt idx="1176">
                  <c:v>1</c:v>
                </c:pt>
                <c:pt idx="1177">
                  <c:v>0</c:v>
                </c:pt>
                <c:pt idx="1178">
                  <c:v>7</c:v>
                </c:pt>
                <c:pt idx="1179">
                  <c:v>63</c:v>
                </c:pt>
                <c:pt idx="1180">
                  <c:v>38</c:v>
                </c:pt>
                <c:pt idx="1181">
                  <c:v>22</c:v>
                </c:pt>
                <c:pt idx="1182">
                  <c:v>2</c:v>
                </c:pt>
                <c:pt idx="1183">
                  <c:v>3</c:v>
                </c:pt>
                <c:pt idx="1184">
                  <c:v>2</c:v>
                </c:pt>
                <c:pt idx="1185">
                  <c:v>0</c:v>
                </c:pt>
                <c:pt idx="1186">
                  <c:v>2</c:v>
                </c:pt>
                <c:pt idx="1187">
                  <c:v>1</c:v>
                </c:pt>
                <c:pt idx="1188">
                  <c:v>16</c:v>
                </c:pt>
                <c:pt idx="1189">
                  <c:v>43</c:v>
                </c:pt>
                <c:pt idx="1190">
                  <c:v>34</c:v>
                </c:pt>
                <c:pt idx="1191">
                  <c:v>14</c:v>
                </c:pt>
                <c:pt idx="1192">
                  <c:v>2</c:v>
                </c:pt>
                <c:pt idx="1193">
                  <c:v>1</c:v>
                </c:pt>
                <c:pt idx="1194">
                  <c:v>0</c:v>
                </c:pt>
                <c:pt idx="1195">
                  <c:v>1</c:v>
                </c:pt>
                <c:pt idx="1196">
                  <c:v>1</c:v>
                </c:pt>
                <c:pt idx="1197">
                  <c:v>0</c:v>
                </c:pt>
                <c:pt idx="1198">
                  <c:v>17</c:v>
                </c:pt>
                <c:pt idx="1199">
                  <c:v>48</c:v>
                </c:pt>
                <c:pt idx="1200">
                  <c:v>34</c:v>
                </c:pt>
                <c:pt idx="1201">
                  <c:v>11</c:v>
                </c:pt>
                <c:pt idx="1202">
                  <c:v>0</c:v>
                </c:pt>
                <c:pt idx="1203">
                  <c:v>1</c:v>
                </c:pt>
                <c:pt idx="1204">
                  <c:v>0</c:v>
                </c:pt>
                <c:pt idx="1205">
                  <c:v>2</c:v>
                </c:pt>
                <c:pt idx="1206">
                  <c:v>9</c:v>
                </c:pt>
                <c:pt idx="1207">
                  <c:v>58</c:v>
                </c:pt>
                <c:pt idx="1208">
                  <c:v>120</c:v>
                </c:pt>
                <c:pt idx="1209">
                  <c:v>34</c:v>
                </c:pt>
                <c:pt idx="1210">
                  <c:v>7</c:v>
                </c:pt>
                <c:pt idx="1211">
                  <c:v>0</c:v>
                </c:pt>
                <c:pt idx="1212">
                  <c:v>2</c:v>
                </c:pt>
                <c:pt idx="1213">
                  <c:v>0</c:v>
                </c:pt>
                <c:pt idx="1214">
                  <c:v>1</c:v>
                </c:pt>
                <c:pt idx="1215">
                  <c:v>3</c:v>
                </c:pt>
                <c:pt idx="1216">
                  <c:v>3</c:v>
                </c:pt>
                <c:pt idx="1217">
                  <c:v>27</c:v>
                </c:pt>
                <c:pt idx="1218">
                  <c:v>62</c:v>
                </c:pt>
                <c:pt idx="1219">
                  <c:v>24</c:v>
                </c:pt>
                <c:pt idx="1220">
                  <c:v>16</c:v>
                </c:pt>
                <c:pt idx="1221">
                  <c:v>1</c:v>
                </c:pt>
                <c:pt idx="1222">
                  <c:v>3</c:v>
                </c:pt>
                <c:pt idx="1223">
                  <c:v>3</c:v>
                </c:pt>
                <c:pt idx="1224">
                  <c:v>4</c:v>
                </c:pt>
                <c:pt idx="1225">
                  <c:v>0</c:v>
                </c:pt>
                <c:pt idx="1226">
                  <c:v>2</c:v>
                </c:pt>
                <c:pt idx="1227">
                  <c:v>1</c:v>
                </c:pt>
                <c:pt idx="1228">
                  <c:v>15</c:v>
                </c:pt>
                <c:pt idx="1229">
                  <c:v>46</c:v>
                </c:pt>
                <c:pt idx="1230">
                  <c:v>37</c:v>
                </c:pt>
                <c:pt idx="1231">
                  <c:v>16</c:v>
                </c:pt>
                <c:pt idx="1232">
                  <c:v>5</c:v>
                </c:pt>
                <c:pt idx="1233">
                  <c:v>3</c:v>
                </c:pt>
                <c:pt idx="1234">
                  <c:v>1</c:v>
                </c:pt>
                <c:pt idx="1235">
                  <c:v>0</c:v>
                </c:pt>
                <c:pt idx="1236">
                  <c:v>2</c:v>
                </c:pt>
                <c:pt idx="1237">
                  <c:v>7</c:v>
                </c:pt>
                <c:pt idx="1238">
                  <c:v>18</c:v>
                </c:pt>
                <c:pt idx="1239">
                  <c:v>15</c:v>
                </c:pt>
                <c:pt idx="1240">
                  <c:v>31</c:v>
                </c:pt>
                <c:pt idx="1241">
                  <c:v>16</c:v>
                </c:pt>
                <c:pt idx="1242">
                  <c:v>1</c:v>
                </c:pt>
                <c:pt idx="1243">
                  <c:v>2</c:v>
                </c:pt>
                <c:pt idx="1244">
                  <c:v>2</c:v>
                </c:pt>
                <c:pt idx="1245">
                  <c:v>3</c:v>
                </c:pt>
                <c:pt idx="1246">
                  <c:v>4</c:v>
                </c:pt>
                <c:pt idx="1247">
                  <c:v>1</c:v>
                </c:pt>
                <c:pt idx="1248">
                  <c:v>4</c:v>
                </c:pt>
                <c:pt idx="1249">
                  <c:v>40</c:v>
                </c:pt>
                <c:pt idx="1250">
                  <c:v>39</c:v>
                </c:pt>
                <c:pt idx="1251">
                  <c:v>23</c:v>
                </c:pt>
                <c:pt idx="1252">
                  <c:v>0</c:v>
                </c:pt>
                <c:pt idx="1253">
                  <c:v>1</c:v>
                </c:pt>
                <c:pt idx="1254">
                  <c:v>1</c:v>
                </c:pt>
                <c:pt idx="1255">
                  <c:v>1</c:v>
                </c:pt>
                <c:pt idx="1256">
                  <c:v>3</c:v>
                </c:pt>
                <c:pt idx="1257">
                  <c:v>16</c:v>
                </c:pt>
                <c:pt idx="1258">
                  <c:v>64</c:v>
                </c:pt>
                <c:pt idx="1259">
                  <c:v>24</c:v>
                </c:pt>
                <c:pt idx="1260">
                  <c:v>19</c:v>
                </c:pt>
                <c:pt idx="1261">
                  <c:v>1</c:v>
                </c:pt>
                <c:pt idx="1262">
                  <c:v>6</c:v>
                </c:pt>
                <c:pt idx="1263">
                  <c:v>1</c:v>
                </c:pt>
                <c:pt idx="1264">
                  <c:v>2</c:v>
                </c:pt>
                <c:pt idx="1265">
                  <c:v>4</c:v>
                </c:pt>
                <c:pt idx="1266">
                  <c:v>1</c:v>
                </c:pt>
                <c:pt idx="1267">
                  <c:v>0</c:v>
                </c:pt>
                <c:pt idx="1268">
                  <c:v>1</c:v>
                </c:pt>
                <c:pt idx="1269">
                  <c:v>0</c:v>
                </c:pt>
                <c:pt idx="1270">
                  <c:v>0</c:v>
                </c:pt>
                <c:pt idx="1271">
                  <c:v>0</c:v>
                </c:pt>
                <c:pt idx="1272">
                  <c:v>2</c:v>
                </c:pt>
                <c:pt idx="1273">
                  <c:v>1</c:v>
                </c:pt>
                <c:pt idx="1274">
                  <c:v>1</c:v>
                </c:pt>
                <c:pt idx="1275">
                  <c:v>0</c:v>
                </c:pt>
                <c:pt idx="1276">
                  <c:v>2</c:v>
                </c:pt>
                <c:pt idx="1277">
                  <c:v>0</c:v>
                </c:pt>
                <c:pt idx="1278">
                  <c:v>0</c:v>
                </c:pt>
                <c:pt idx="1279">
                  <c:v>0</c:v>
                </c:pt>
                <c:pt idx="1280">
                  <c:v>0</c:v>
                </c:pt>
                <c:pt idx="1281">
                  <c:v>1</c:v>
                </c:pt>
                <c:pt idx="1282">
                  <c:v>1</c:v>
                </c:pt>
                <c:pt idx="1283">
                  <c:v>0</c:v>
                </c:pt>
                <c:pt idx="1284">
                  <c:v>1</c:v>
                </c:pt>
                <c:pt idx="1285">
                  <c:v>0</c:v>
                </c:pt>
                <c:pt idx="1286">
                  <c:v>0</c:v>
                </c:pt>
                <c:pt idx="1287">
                  <c:v>2</c:v>
                </c:pt>
                <c:pt idx="1288">
                  <c:v>0</c:v>
                </c:pt>
                <c:pt idx="1289">
                  <c:v>0</c:v>
                </c:pt>
                <c:pt idx="1290">
                  <c:v>0</c:v>
                </c:pt>
                <c:pt idx="1291">
                  <c:v>0</c:v>
                </c:pt>
                <c:pt idx="1292">
                  <c:v>0</c:v>
                </c:pt>
                <c:pt idx="1293">
                  <c:v>0</c:v>
                </c:pt>
                <c:pt idx="1294">
                  <c:v>0</c:v>
                </c:pt>
                <c:pt idx="1295">
                  <c:v>0</c:v>
                </c:pt>
                <c:pt idx="1296">
                  <c:v>0</c:v>
                </c:pt>
                <c:pt idx="1297">
                  <c:v>0</c:v>
                </c:pt>
                <c:pt idx="1298">
                  <c:v>0</c:v>
                </c:pt>
                <c:pt idx="1299">
                  <c:v>0</c:v>
                </c:pt>
                <c:pt idx="1300">
                  <c:v>0</c:v>
                </c:pt>
                <c:pt idx="1301">
                  <c:v>0</c:v>
                </c:pt>
                <c:pt idx="1302">
                  <c:v>0</c:v>
                </c:pt>
                <c:pt idx="1303">
                  <c:v>0</c:v>
                </c:pt>
                <c:pt idx="1304">
                  <c:v>0</c:v>
                </c:pt>
                <c:pt idx="1305">
                  <c:v>0</c:v>
                </c:pt>
                <c:pt idx="1306">
                  <c:v>0</c:v>
                </c:pt>
                <c:pt idx="1307">
                  <c:v>0</c:v>
                </c:pt>
                <c:pt idx="1308">
                  <c:v>0</c:v>
                </c:pt>
                <c:pt idx="1309">
                  <c:v>0</c:v>
                </c:pt>
                <c:pt idx="1310">
                  <c:v>0</c:v>
                </c:pt>
                <c:pt idx="1311">
                  <c:v>0</c:v>
                </c:pt>
                <c:pt idx="1312">
                  <c:v>0</c:v>
                </c:pt>
                <c:pt idx="1313">
                  <c:v>0</c:v>
                </c:pt>
                <c:pt idx="1314">
                  <c:v>0</c:v>
                </c:pt>
                <c:pt idx="1315">
                  <c:v>0</c:v>
                </c:pt>
                <c:pt idx="1316">
                  <c:v>0</c:v>
                </c:pt>
                <c:pt idx="1317">
                  <c:v>0</c:v>
                </c:pt>
                <c:pt idx="13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1A-44DA-8DBE-1DEA5056B0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303240112"/>
        <c:axId val="303240672"/>
      </c:barChart>
      <c:lineChart>
        <c:grouping val="standard"/>
        <c:varyColors val="0"/>
        <c:ser>
          <c:idx val="1"/>
          <c:order val="1"/>
          <c:tx>
            <c:strRef>
              <c:f>Analysis!$I$2</c:f>
              <c:strCache>
                <c:ptCount val="1"/>
                <c:pt idx="0">
                  <c:v>分配拣货任务的订单数量</c:v>
                </c:pt>
              </c:strCache>
            </c:strRef>
          </c:tx>
          <c:spPr>
            <a:ln>
              <a:noFill/>
            </a:ln>
          </c:spPr>
          <c:marker>
            <c:symbol val="square"/>
            <c:size val="2"/>
            <c:spPr>
              <a:solidFill>
                <a:srgbClr val="00B050"/>
              </a:solidFill>
            </c:spPr>
          </c:marker>
          <c:cat>
            <c:strRef>
              <c:f>Analysis!$G$3:$G$1321</c:f>
              <c:strCache>
                <c:ptCount val="1319"/>
                <c:pt idx="0">
                  <c:v>02:01</c:v>
                </c:pt>
                <c:pt idx="1">
                  <c:v>02:02</c:v>
                </c:pt>
                <c:pt idx="2">
                  <c:v>02:03</c:v>
                </c:pt>
                <c:pt idx="3">
                  <c:v>02:04</c:v>
                </c:pt>
                <c:pt idx="4">
                  <c:v>02:05</c:v>
                </c:pt>
                <c:pt idx="5">
                  <c:v>02:06</c:v>
                </c:pt>
                <c:pt idx="6">
                  <c:v>02:07</c:v>
                </c:pt>
                <c:pt idx="7">
                  <c:v>02:08</c:v>
                </c:pt>
                <c:pt idx="8">
                  <c:v>02:09</c:v>
                </c:pt>
                <c:pt idx="9">
                  <c:v>02:10</c:v>
                </c:pt>
                <c:pt idx="10">
                  <c:v>02:11</c:v>
                </c:pt>
                <c:pt idx="11">
                  <c:v>02:12</c:v>
                </c:pt>
                <c:pt idx="12">
                  <c:v>02:13</c:v>
                </c:pt>
                <c:pt idx="13">
                  <c:v>02:14</c:v>
                </c:pt>
                <c:pt idx="14">
                  <c:v>02:15</c:v>
                </c:pt>
                <c:pt idx="15">
                  <c:v>02:16</c:v>
                </c:pt>
                <c:pt idx="16">
                  <c:v>02:17</c:v>
                </c:pt>
                <c:pt idx="17">
                  <c:v>02:18</c:v>
                </c:pt>
                <c:pt idx="18">
                  <c:v>02:19</c:v>
                </c:pt>
                <c:pt idx="19">
                  <c:v>02:20</c:v>
                </c:pt>
                <c:pt idx="20">
                  <c:v>02:21</c:v>
                </c:pt>
                <c:pt idx="21">
                  <c:v>02:22</c:v>
                </c:pt>
                <c:pt idx="22">
                  <c:v>02:23</c:v>
                </c:pt>
                <c:pt idx="23">
                  <c:v>02:24</c:v>
                </c:pt>
                <c:pt idx="24">
                  <c:v>02:25</c:v>
                </c:pt>
                <c:pt idx="25">
                  <c:v>02:26</c:v>
                </c:pt>
                <c:pt idx="26">
                  <c:v>02:27</c:v>
                </c:pt>
                <c:pt idx="27">
                  <c:v>02:28</c:v>
                </c:pt>
                <c:pt idx="28">
                  <c:v>02:29</c:v>
                </c:pt>
                <c:pt idx="29">
                  <c:v>02:30</c:v>
                </c:pt>
                <c:pt idx="30">
                  <c:v>02:31</c:v>
                </c:pt>
                <c:pt idx="31">
                  <c:v>02:32</c:v>
                </c:pt>
                <c:pt idx="32">
                  <c:v>02:33</c:v>
                </c:pt>
                <c:pt idx="33">
                  <c:v>02:34</c:v>
                </c:pt>
                <c:pt idx="34">
                  <c:v>02:35</c:v>
                </c:pt>
                <c:pt idx="35">
                  <c:v>02:36</c:v>
                </c:pt>
                <c:pt idx="36">
                  <c:v>02:37</c:v>
                </c:pt>
                <c:pt idx="37">
                  <c:v>02:38</c:v>
                </c:pt>
                <c:pt idx="38">
                  <c:v>02:39</c:v>
                </c:pt>
                <c:pt idx="39">
                  <c:v>02:40</c:v>
                </c:pt>
                <c:pt idx="40">
                  <c:v>02:41</c:v>
                </c:pt>
                <c:pt idx="41">
                  <c:v>02:42</c:v>
                </c:pt>
                <c:pt idx="42">
                  <c:v>02:43</c:v>
                </c:pt>
                <c:pt idx="43">
                  <c:v>02:44</c:v>
                </c:pt>
                <c:pt idx="44">
                  <c:v>02:45</c:v>
                </c:pt>
                <c:pt idx="45">
                  <c:v>02:46</c:v>
                </c:pt>
                <c:pt idx="46">
                  <c:v>02:47</c:v>
                </c:pt>
                <c:pt idx="47">
                  <c:v>02:48</c:v>
                </c:pt>
                <c:pt idx="48">
                  <c:v>02:49</c:v>
                </c:pt>
                <c:pt idx="49">
                  <c:v>02:50</c:v>
                </c:pt>
                <c:pt idx="50">
                  <c:v>02:51</c:v>
                </c:pt>
                <c:pt idx="51">
                  <c:v>02:52</c:v>
                </c:pt>
                <c:pt idx="52">
                  <c:v>02:53</c:v>
                </c:pt>
                <c:pt idx="53">
                  <c:v>02:54</c:v>
                </c:pt>
                <c:pt idx="54">
                  <c:v>02:55</c:v>
                </c:pt>
                <c:pt idx="55">
                  <c:v>02:56</c:v>
                </c:pt>
                <c:pt idx="56">
                  <c:v>02:57</c:v>
                </c:pt>
                <c:pt idx="57">
                  <c:v>02:58</c:v>
                </c:pt>
                <c:pt idx="58">
                  <c:v>02:59</c:v>
                </c:pt>
                <c:pt idx="59">
                  <c:v>03:00</c:v>
                </c:pt>
                <c:pt idx="60">
                  <c:v>03:01</c:v>
                </c:pt>
                <c:pt idx="61">
                  <c:v>03:02</c:v>
                </c:pt>
                <c:pt idx="62">
                  <c:v>03:03</c:v>
                </c:pt>
                <c:pt idx="63">
                  <c:v>03:04</c:v>
                </c:pt>
                <c:pt idx="64">
                  <c:v>03:05</c:v>
                </c:pt>
                <c:pt idx="65">
                  <c:v>03:06</c:v>
                </c:pt>
                <c:pt idx="66">
                  <c:v>03:07</c:v>
                </c:pt>
                <c:pt idx="67">
                  <c:v>03:08</c:v>
                </c:pt>
                <c:pt idx="68">
                  <c:v>03:09</c:v>
                </c:pt>
                <c:pt idx="69">
                  <c:v>03:10</c:v>
                </c:pt>
                <c:pt idx="70">
                  <c:v>03:11</c:v>
                </c:pt>
                <c:pt idx="71">
                  <c:v>03:12</c:v>
                </c:pt>
                <c:pt idx="72">
                  <c:v>03:13</c:v>
                </c:pt>
                <c:pt idx="73">
                  <c:v>03:14</c:v>
                </c:pt>
                <c:pt idx="74">
                  <c:v>03:15</c:v>
                </c:pt>
                <c:pt idx="75">
                  <c:v>03:16</c:v>
                </c:pt>
                <c:pt idx="76">
                  <c:v>03:17</c:v>
                </c:pt>
                <c:pt idx="77">
                  <c:v>03:18</c:v>
                </c:pt>
                <c:pt idx="78">
                  <c:v>03:19</c:v>
                </c:pt>
                <c:pt idx="79">
                  <c:v>03:20</c:v>
                </c:pt>
                <c:pt idx="80">
                  <c:v>03:21</c:v>
                </c:pt>
                <c:pt idx="81">
                  <c:v>03:22</c:v>
                </c:pt>
                <c:pt idx="82">
                  <c:v>03:23</c:v>
                </c:pt>
                <c:pt idx="83">
                  <c:v>03:24</c:v>
                </c:pt>
                <c:pt idx="84">
                  <c:v>03:25</c:v>
                </c:pt>
                <c:pt idx="85">
                  <c:v>03:26</c:v>
                </c:pt>
                <c:pt idx="86">
                  <c:v>03:27</c:v>
                </c:pt>
                <c:pt idx="87">
                  <c:v>03:28</c:v>
                </c:pt>
                <c:pt idx="88">
                  <c:v>03:29</c:v>
                </c:pt>
                <c:pt idx="89">
                  <c:v>03:30</c:v>
                </c:pt>
                <c:pt idx="90">
                  <c:v>03:31</c:v>
                </c:pt>
                <c:pt idx="91">
                  <c:v>03:32</c:v>
                </c:pt>
                <c:pt idx="92">
                  <c:v>03:33</c:v>
                </c:pt>
                <c:pt idx="93">
                  <c:v>03:34</c:v>
                </c:pt>
                <c:pt idx="94">
                  <c:v>03:35</c:v>
                </c:pt>
                <c:pt idx="95">
                  <c:v>03:36</c:v>
                </c:pt>
                <c:pt idx="96">
                  <c:v>03:37</c:v>
                </c:pt>
                <c:pt idx="97">
                  <c:v>03:38</c:v>
                </c:pt>
                <c:pt idx="98">
                  <c:v>03:39</c:v>
                </c:pt>
                <c:pt idx="99">
                  <c:v>03:40</c:v>
                </c:pt>
                <c:pt idx="100">
                  <c:v>03:41</c:v>
                </c:pt>
                <c:pt idx="101">
                  <c:v>03:42</c:v>
                </c:pt>
                <c:pt idx="102">
                  <c:v>03:43</c:v>
                </c:pt>
                <c:pt idx="103">
                  <c:v>03:44</c:v>
                </c:pt>
                <c:pt idx="104">
                  <c:v>03:45</c:v>
                </c:pt>
                <c:pt idx="105">
                  <c:v>03:46</c:v>
                </c:pt>
                <c:pt idx="106">
                  <c:v>03:47</c:v>
                </c:pt>
                <c:pt idx="107">
                  <c:v>03:48</c:v>
                </c:pt>
                <c:pt idx="108">
                  <c:v>03:49</c:v>
                </c:pt>
                <c:pt idx="109">
                  <c:v>03:50</c:v>
                </c:pt>
                <c:pt idx="110">
                  <c:v>03:51</c:v>
                </c:pt>
                <c:pt idx="111">
                  <c:v>03:52</c:v>
                </c:pt>
                <c:pt idx="112">
                  <c:v>03:53</c:v>
                </c:pt>
                <c:pt idx="113">
                  <c:v>03:54</c:v>
                </c:pt>
                <c:pt idx="114">
                  <c:v>03:55</c:v>
                </c:pt>
                <c:pt idx="115">
                  <c:v>03:56</c:v>
                </c:pt>
                <c:pt idx="116">
                  <c:v>03:57</c:v>
                </c:pt>
                <c:pt idx="117">
                  <c:v>03:58</c:v>
                </c:pt>
                <c:pt idx="118">
                  <c:v>03:59</c:v>
                </c:pt>
                <c:pt idx="119">
                  <c:v>04:00</c:v>
                </c:pt>
                <c:pt idx="120">
                  <c:v>04:01</c:v>
                </c:pt>
                <c:pt idx="121">
                  <c:v>04:02</c:v>
                </c:pt>
                <c:pt idx="122">
                  <c:v>04:03</c:v>
                </c:pt>
                <c:pt idx="123">
                  <c:v>04:04</c:v>
                </c:pt>
                <c:pt idx="124">
                  <c:v>04:05</c:v>
                </c:pt>
                <c:pt idx="125">
                  <c:v>04:06</c:v>
                </c:pt>
                <c:pt idx="126">
                  <c:v>04:07</c:v>
                </c:pt>
                <c:pt idx="127">
                  <c:v>04:08</c:v>
                </c:pt>
                <c:pt idx="128">
                  <c:v>04:09</c:v>
                </c:pt>
                <c:pt idx="129">
                  <c:v>04:10</c:v>
                </c:pt>
                <c:pt idx="130">
                  <c:v>04:11</c:v>
                </c:pt>
                <c:pt idx="131">
                  <c:v>04:12</c:v>
                </c:pt>
                <c:pt idx="132">
                  <c:v>04:13</c:v>
                </c:pt>
                <c:pt idx="133">
                  <c:v>04:14</c:v>
                </c:pt>
                <c:pt idx="134">
                  <c:v>04:15</c:v>
                </c:pt>
                <c:pt idx="135">
                  <c:v>04:16</c:v>
                </c:pt>
                <c:pt idx="136">
                  <c:v>04:17</c:v>
                </c:pt>
                <c:pt idx="137">
                  <c:v>04:18</c:v>
                </c:pt>
                <c:pt idx="138">
                  <c:v>04:19</c:v>
                </c:pt>
                <c:pt idx="139">
                  <c:v>04:20</c:v>
                </c:pt>
                <c:pt idx="140">
                  <c:v>04:21</c:v>
                </c:pt>
                <c:pt idx="141">
                  <c:v>04:22</c:v>
                </c:pt>
                <c:pt idx="142">
                  <c:v>04:23</c:v>
                </c:pt>
                <c:pt idx="143">
                  <c:v>04:24</c:v>
                </c:pt>
                <c:pt idx="144">
                  <c:v>04:25</c:v>
                </c:pt>
                <c:pt idx="145">
                  <c:v>04:26</c:v>
                </c:pt>
                <c:pt idx="146">
                  <c:v>04:27</c:v>
                </c:pt>
                <c:pt idx="147">
                  <c:v>04:28</c:v>
                </c:pt>
                <c:pt idx="148">
                  <c:v>04:29</c:v>
                </c:pt>
                <c:pt idx="149">
                  <c:v>04:30</c:v>
                </c:pt>
                <c:pt idx="150">
                  <c:v>04:31</c:v>
                </c:pt>
                <c:pt idx="151">
                  <c:v>04:32</c:v>
                </c:pt>
                <c:pt idx="152">
                  <c:v>04:33</c:v>
                </c:pt>
                <c:pt idx="153">
                  <c:v>04:34</c:v>
                </c:pt>
                <c:pt idx="154">
                  <c:v>04:35</c:v>
                </c:pt>
                <c:pt idx="155">
                  <c:v>04:36</c:v>
                </c:pt>
                <c:pt idx="156">
                  <c:v>04:37</c:v>
                </c:pt>
                <c:pt idx="157">
                  <c:v>04:38</c:v>
                </c:pt>
                <c:pt idx="158">
                  <c:v>04:39</c:v>
                </c:pt>
                <c:pt idx="159">
                  <c:v>04:40</c:v>
                </c:pt>
                <c:pt idx="160">
                  <c:v>04:41</c:v>
                </c:pt>
                <c:pt idx="161">
                  <c:v>04:42</c:v>
                </c:pt>
                <c:pt idx="162">
                  <c:v>04:43</c:v>
                </c:pt>
                <c:pt idx="163">
                  <c:v>04:44</c:v>
                </c:pt>
                <c:pt idx="164">
                  <c:v>04:45</c:v>
                </c:pt>
                <c:pt idx="165">
                  <c:v>04:46</c:v>
                </c:pt>
                <c:pt idx="166">
                  <c:v>04:47</c:v>
                </c:pt>
                <c:pt idx="167">
                  <c:v>04:48</c:v>
                </c:pt>
                <c:pt idx="168">
                  <c:v>04:49</c:v>
                </c:pt>
                <c:pt idx="169">
                  <c:v>04:50</c:v>
                </c:pt>
                <c:pt idx="170">
                  <c:v>04:51</c:v>
                </c:pt>
                <c:pt idx="171">
                  <c:v>04:52</c:v>
                </c:pt>
                <c:pt idx="172">
                  <c:v>04:53</c:v>
                </c:pt>
                <c:pt idx="173">
                  <c:v>04:54</c:v>
                </c:pt>
                <c:pt idx="174">
                  <c:v>04:55</c:v>
                </c:pt>
                <c:pt idx="175">
                  <c:v>04:56</c:v>
                </c:pt>
                <c:pt idx="176">
                  <c:v>04:57</c:v>
                </c:pt>
                <c:pt idx="177">
                  <c:v>04:58</c:v>
                </c:pt>
                <c:pt idx="178">
                  <c:v>04:59</c:v>
                </c:pt>
                <c:pt idx="179">
                  <c:v>05:00</c:v>
                </c:pt>
                <c:pt idx="180">
                  <c:v>05:01</c:v>
                </c:pt>
                <c:pt idx="181">
                  <c:v>05:02</c:v>
                </c:pt>
                <c:pt idx="182">
                  <c:v>05:03</c:v>
                </c:pt>
                <c:pt idx="183">
                  <c:v>05:04</c:v>
                </c:pt>
                <c:pt idx="184">
                  <c:v>05:05</c:v>
                </c:pt>
                <c:pt idx="185">
                  <c:v>05:06</c:v>
                </c:pt>
                <c:pt idx="186">
                  <c:v>05:07</c:v>
                </c:pt>
                <c:pt idx="187">
                  <c:v>05:08</c:v>
                </c:pt>
                <c:pt idx="188">
                  <c:v>05:09</c:v>
                </c:pt>
                <c:pt idx="189">
                  <c:v>05:10</c:v>
                </c:pt>
                <c:pt idx="190">
                  <c:v>05:11</c:v>
                </c:pt>
                <c:pt idx="191">
                  <c:v>05:12</c:v>
                </c:pt>
                <c:pt idx="192">
                  <c:v>05:13</c:v>
                </c:pt>
                <c:pt idx="193">
                  <c:v>05:14</c:v>
                </c:pt>
                <c:pt idx="194">
                  <c:v>05:15</c:v>
                </c:pt>
                <c:pt idx="195">
                  <c:v>05:16</c:v>
                </c:pt>
                <c:pt idx="196">
                  <c:v>05:17</c:v>
                </c:pt>
                <c:pt idx="197">
                  <c:v>05:18</c:v>
                </c:pt>
                <c:pt idx="198">
                  <c:v>05:19</c:v>
                </c:pt>
                <c:pt idx="199">
                  <c:v>05:20</c:v>
                </c:pt>
                <c:pt idx="200">
                  <c:v>05:21</c:v>
                </c:pt>
                <c:pt idx="201">
                  <c:v>05:22</c:v>
                </c:pt>
                <c:pt idx="202">
                  <c:v>05:23</c:v>
                </c:pt>
                <c:pt idx="203">
                  <c:v>05:24</c:v>
                </c:pt>
                <c:pt idx="204">
                  <c:v>05:25</c:v>
                </c:pt>
                <c:pt idx="205">
                  <c:v>05:26</c:v>
                </c:pt>
                <c:pt idx="206">
                  <c:v>05:27</c:v>
                </c:pt>
                <c:pt idx="207">
                  <c:v>05:28</c:v>
                </c:pt>
                <c:pt idx="208">
                  <c:v>05:29</c:v>
                </c:pt>
                <c:pt idx="209">
                  <c:v>05:30</c:v>
                </c:pt>
                <c:pt idx="210">
                  <c:v>05:31</c:v>
                </c:pt>
                <c:pt idx="211">
                  <c:v>05:32</c:v>
                </c:pt>
                <c:pt idx="212">
                  <c:v>05:33</c:v>
                </c:pt>
                <c:pt idx="213">
                  <c:v>05:34</c:v>
                </c:pt>
                <c:pt idx="214">
                  <c:v>05:35</c:v>
                </c:pt>
                <c:pt idx="215">
                  <c:v>05:36</c:v>
                </c:pt>
                <c:pt idx="216">
                  <c:v>05:37</c:v>
                </c:pt>
                <c:pt idx="217">
                  <c:v>05:38</c:v>
                </c:pt>
                <c:pt idx="218">
                  <c:v>05:39</c:v>
                </c:pt>
                <c:pt idx="219">
                  <c:v>05:40</c:v>
                </c:pt>
                <c:pt idx="220">
                  <c:v>05:41</c:v>
                </c:pt>
                <c:pt idx="221">
                  <c:v>05:42</c:v>
                </c:pt>
                <c:pt idx="222">
                  <c:v>05:43</c:v>
                </c:pt>
                <c:pt idx="223">
                  <c:v>05:44</c:v>
                </c:pt>
                <c:pt idx="224">
                  <c:v>05:45</c:v>
                </c:pt>
                <c:pt idx="225">
                  <c:v>05:46</c:v>
                </c:pt>
                <c:pt idx="226">
                  <c:v>05:47</c:v>
                </c:pt>
                <c:pt idx="227">
                  <c:v>05:48</c:v>
                </c:pt>
                <c:pt idx="228">
                  <c:v>05:49</c:v>
                </c:pt>
                <c:pt idx="229">
                  <c:v>05:50</c:v>
                </c:pt>
                <c:pt idx="230">
                  <c:v>05:51</c:v>
                </c:pt>
                <c:pt idx="231">
                  <c:v>05:52</c:v>
                </c:pt>
                <c:pt idx="232">
                  <c:v>05:53</c:v>
                </c:pt>
                <c:pt idx="233">
                  <c:v>05:54</c:v>
                </c:pt>
                <c:pt idx="234">
                  <c:v>05:55</c:v>
                </c:pt>
                <c:pt idx="235">
                  <c:v>05:56</c:v>
                </c:pt>
                <c:pt idx="236">
                  <c:v>05:57</c:v>
                </c:pt>
                <c:pt idx="237">
                  <c:v>05:58</c:v>
                </c:pt>
                <c:pt idx="238">
                  <c:v>05:59</c:v>
                </c:pt>
                <c:pt idx="239">
                  <c:v>06:00</c:v>
                </c:pt>
                <c:pt idx="240">
                  <c:v>06:01</c:v>
                </c:pt>
                <c:pt idx="241">
                  <c:v>06:02</c:v>
                </c:pt>
                <c:pt idx="242">
                  <c:v>06:03</c:v>
                </c:pt>
                <c:pt idx="243">
                  <c:v>06:04</c:v>
                </c:pt>
                <c:pt idx="244">
                  <c:v>06:05</c:v>
                </c:pt>
                <c:pt idx="245">
                  <c:v>06:06</c:v>
                </c:pt>
                <c:pt idx="246">
                  <c:v>06:07</c:v>
                </c:pt>
                <c:pt idx="247">
                  <c:v>06:08</c:v>
                </c:pt>
                <c:pt idx="248">
                  <c:v>06:09</c:v>
                </c:pt>
                <c:pt idx="249">
                  <c:v>06:10</c:v>
                </c:pt>
                <c:pt idx="250">
                  <c:v>06:11</c:v>
                </c:pt>
                <c:pt idx="251">
                  <c:v>06:12</c:v>
                </c:pt>
                <c:pt idx="252">
                  <c:v>06:13</c:v>
                </c:pt>
                <c:pt idx="253">
                  <c:v>06:14</c:v>
                </c:pt>
                <c:pt idx="254">
                  <c:v>06:15</c:v>
                </c:pt>
                <c:pt idx="255">
                  <c:v>06:16</c:v>
                </c:pt>
                <c:pt idx="256">
                  <c:v>06:17</c:v>
                </c:pt>
                <c:pt idx="257">
                  <c:v>06:18</c:v>
                </c:pt>
                <c:pt idx="258">
                  <c:v>06:19</c:v>
                </c:pt>
                <c:pt idx="259">
                  <c:v>06:20</c:v>
                </c:pt>
                <c:pt idx="260">
                  <c:v>06:21</c:v>
                </c:pt>
                <c:pt idx="261">
                  <c:v>06:22</c:v>
                </c:pt>
                <c:pt idx="262">
                  <c:v>06:23</c:v>
                </c:pt>
                <c:pt idx="263">
                  <c:v>06:24</c:v>
                </c:pt>
                <c:pt idx="264">
                  <c:v>06:25</c:v>
                </c:pt>
                <c:pt idx="265">
                  <c:v>06:26</c:v>
                </c:pt>
                <c:pt idx="266">
                  <c:v>06:27</c:v>
                </c:pt>
                <c:pt idx="267">
                  <c:v>06:28</c:v>
                </c:pt>
                <c:pt idx="268">
                  <c:v>06:29</c:v>
                </c:pt>
                <c:pt idx="269">
                  <c:v>06:30</c:v>
                </c:pt>
                <c:pt idx="270">
                  <c:v>06:31</c:v>
                </c:pt>
                <c:pt idx="271">
                  <c:v>06:32</c:v>
                </c:pt>
                <c:pt idx="272">
                  <c:v>06:33</c:v>
                </c:pt>
                <c:pt idx="273">
                  <c:v>06:34</c:v>
                </c:pt>
                <c:pt idx="274">
                  <c:v>06:35</c:v>
                </c:pt>
                <c:pt idx="275">
                  <c:v>06:36</c:v>
                </c:pt>
                <c:pt idx="276">
                  <c:v>06:37</c:v>
                </c:pt>
                <c:pt idx="277">
                  <c:v>06:38</c:v>
                </c:pt>
                <c:pt idx="278">
                  <c:v>06:39</c:v>
                </c:pt>
                <c:pt idx="279">
                  <c:v>06:40</c:v>
                </c:pt>
                <c:pt idx="280">
                  <c:v>06:41</c:v>
                </c:pt>
                <c:pt idx="281">
                  <c:v>06:42</c:v>
                </c:pt>
                <c:pt idx="282">
                  <c:v>06:43</c:v>
                </c:pt>
                <c:pt idx="283">
                  <c:v>06:44</c:v>
                </c:pt>
                <c:pt idx="284">
                  <c:v>06:45</c:v>
                </c:pt>
                <c:pt idx="285">
                  <c:v>06:46</c:v>
                </c:pt>
                <c:pt idx="286">
                  <c:v>06:47</c:v>
                </c:pt>
                <c:pt idx="287">
                  <c:v>06:48</c:v>
                </c:pt>
                <c:pt idx="288">
                  <c:v>06:49</c:v>
                </c:pt>
                <c:pt idx="289">
                  <c:v>06:50</c:v>
                </c:pt>
                <c:pt idx="290">
                  <c:v>06:51</c:v>
                </c:pt>
                <c:pt idx="291">
                  <c:v>06:52</c:v>
                </c:pt>
                <c:pt idx="292">
                  <c:v>06:53</c:v>
                </c:pt>
                <c:pt idx="293">
                  <c:v>06:54</c:v>
                </c:pt>
                <c:pt idx="294">
                  <c:v>06:55</c:v>
                </c:pt>
                <c:pt idx="295">
                  <c:v>06:56</c:v>
                </c:pt>
                <c:pt idx="296">
                  <c:v>06:57</c:v>
                </c:pt>
                <c:pt idx="297">
                  <c:v>06:58</c:v>
                </c:pt>
                <c:pt idx="298">
                  <c:v>06:59</c:v>
                </c:pt>
                <c:pt idx="299">
                  <c:v>07:00</c:v>
                </c:pt>
                <c:pt idx="300">
                  <c:v>07:01</c:v>
                </c:pt>
                <c:pt idx="301">
                  <c:v>07:02</c:v>
                </c:pt>
                <c:pt idx="302">
                  <c:v>07:03</c:v>
                </c:pt>
                <c:pt idx="303">
                  <c:v>07:04</c:v>
                </c:pt>
                <c:pt idx="304">
                  <c:v>07:05</c:v>
                </c:pt>
                <c:pt idx="305">
                  <c:v>07:06</c:v>
                </c:pt>
                <c:pt idx="306">
                  <c:v>07:07</c:v>
                </c:pt>
                <c:pt idx="307">
                  <c:v>07:08</c:v>
                </c:pt>
                <c:pt idx="308">
                  <c:v>07:09</c:v>
                </c:pt>
                <c:pt idx="309">
                  <c:v>07:10</c:v>
                </c:pt>
                <c:pt idx="310">
                  <c:v>07:11</c:v>
                </c:pt>
                <c:pt idx="311">
                  <c:v>07:12</c:v>
                </c:pt>
                <c:pt idx="312">
                  <c:v>07:13</c:v>
                </c:pt>
                <c:pt idx="313">
                  <c:v>07:14</c:v>
                </c:pt>
                <c:pt idx="314">
                  <c:v>07:15</c:v>
                </c:pt>
                <c:pt idx="315">
                  <c:v>07:16</c:v>
                </c:pt>
                <c:pt idx="316">
                  <c:v>07:17</c:v>
                </c:pt>
                <c:pt idx="317">
                  <c:v>07:18</c:v>
                </c:pt>
                <c:pt idx="318">
                  <c:v>07:19</c:v>
                </c:pt>
                <c:pt idx="319">
                  <c:v>07:20</c:v>
                </c:pt>
                <c:pt idx="320">
                  <c:v>07:21</c:v>
                </c:pt>
                <c:pt idx="321">
                  <c:v>07:22</c:v>
                </c:pt>
                <c:pt idx="322">
                  <c:v>07:23</c:v>
                </c:pt>
                <c:pt idx="323">
                  <c:v>07:24</c:v>
                </c:pt>
                <c:pt idx="324">
                  <c:v>07:25</c:v>
                </c:pt>
                <c:pt idx="325">
                  <c:v>07:26</c:v>
                </c:pt>
                <c:pt idx="326">
                  <c:v>07:27</c:v>
                </c:pt>
                <c:pt idx="327">
                  <c:v>07:28</c:v>
                </c:pt>
                <c:pt idx="328">
                  <c:v>07:29</c:v>
                </c:pt>
                <c:pt idx="329">
                  <c:v>07:30</c:v>
                </c:pt>
                <c:pt idx="330">
                  <c:v>07:31</c:v>
                </c:pt>
                <c:pt idx="331">
                  <c:v>07:32</c:v>
                </c:pt>
                <c:pt idx="332">
                  <c:v>07:33</c:v>
                </c:pt>
                <c:pt idx="333">
                  <c:v>07:34</c:v>
                </c:pt>
                <c:pt idx="334">
                  <c:v>07:35</c:v>
                </c:pt>
                <c:pt idx="335">
                  <c:v>07:36</c:v>
                </c:pt>
                <c:pt idx="336">
                  <c:v>07:37</c:v>
                </c:pt>
                <c:pt idx="337">
                  <c:v>07:38</c:v>
                </c:pt>
                <c:pt idx="338">
                  <c:v>07:39</c:v>
                </c:pt>
                <c:pt idx="339">
                  <c:v>07:40</c:v>
                </c:pt>
                <c:pt idx="340">
                  <c:v>07:41</c:v>
                </c:pt>
                <c:pt idx="341">
                  <c:v>07:42</c:v>
                </c:pt>
                <c:pt idx="342">
                  <c:v>07:43</c:v>
                </c:pt>
                <c:pt idx="343">
                  <c:v>07:44</c:v>
                </c:pt>
                <c:pt idx="344">
                  <c:v>07:45</c:v>
                </c:pt>
                <c:pt idx="345">
                  <c:v>07:46</c:v>
                </c:pt>
                <c:pt idx="346">
                  <c:v>07:47</c:v>
                </c:pt>
                <c:pt idx="347">
                  <c:v>07:48</c:v>
                </c:pt>
                <c:pt idx="348">
                  <c:v>07:49</c:v>
                </c:pt>
                <c:pt idx="349">
                  <c:v>07:50</c:v>
                </c:pt>
                <c:pt idx="350">
                  <c:v>07:51</c:v>
                </c:pt>
                <c:pt idx="351">
                  <c:v>07:52</c:v>
                </c:pt>
                <c:pt idx="352">
                  <c:v>07:53</c:v>
                </c:pt>
                <c:pt idx="353">
                  <c:v>07:54</c:v>
                </c:pt>
                <c:pt idx="354">
                  <c:v>07:55</c:v>
                </c:pt>
                <c:pt idx="355">
                  <c:v>07:56</c:v>
                </c:pt>
                <c:pt idx="356">
                  <c:v>07:57</c:v>
                </c:pt>
                <c:pt idx="357">
                  <c:v>07:58</c:v>
                </c:pt>
                <c:pt idx="358">
                  <c:v>07:59</c:v>
                </c:pt>
                <c:pt idx="359">
                  <c:v>08:00</c:v>
                </c:pt>
                <c:pt idx="360">
                  <c:v>08:01</c:v>
                </c:pt>
                <c:pt idx="361">
                  <c:v>08:02</c:v>
                </c:pt>
                <c:pt idx="362">
                  <c:v>08:03</c:v>
                </c:pt>
                <c:pt idx="363">
                  <c:v>08:04</c:v>
                </c:pt>
                <c:pt idx="364">
                  <c:v>08:05</c:v>
                </c:pt>
                <c:pt idx="365">
                  <c:v>08:06</c:v>
                </c:pt>
                <c:pt idx="366">
                  <c:v>08:07</c:v>
                </c:pt>
                <c:pt idx="367">
                  <c:v>08:08</c:v>
                </c:pt>
                <c:pt idx="368">
                  <c:v>08:09</c:v>
                </c:pt>
                <c:pt idx="369">
                  <c:v>08:10</c:v>
                </c:pt>
                <c:pt idx="370">
                  <c:v>08:11</c:v>
                </c:pt>
                <c:pt idx="371">
                  <c:v>08:12</c:v>
                </c:pt>
                <c:pt idx="372">
                  <c:v>08:13</c:v>
                </c:pt>
                <c:pt idx="373">
                  <c:v>08:14</c:v>
                </c:pt>
                <c:pt idx="374">
                  <c:v>08:15</c:v>
                </c:pt>
                <c:pt idx="375">
                  <c:v>08:16</c:v>
                </c:pt>
                <c:pt idx="376">
                  <c:v>08:17</c:v>
                </c:pt>
                <c:pt idx="377">
                  <c:v>08:18</c:v>
                </c:pt>
                <c:pt idx="378">
                  <c:v>08:19</c:v>
                </c:pt>
                <c:pt idx="379">
                  <c:v>08:20</c:v>
                </c:pt>
                <c:pt idx="380">
                  <c:v>08:21</c:v>
                </c:pt>
                <c:pt idx="381">
                  <c:v>08:22</c:v>
                </c:pt>
                <c:pt idx="382">
                  <c:v>08:23</c:v>
                </c:pt>
                <c:pt idx="383">
                  <c:v>08:24</c:v>
                </c:pt>
                <c:pt idx="384">
                  <c:v>08:25</c:v>
                </c:pt>
                <c:pt idx="385">
                  <c:v>08:26</c:v>
                </c:pt>
                <c:pt idx="386">
                  <c:v>08:27</c:v>
                </c:pt>
                <c:pt idx="387">
                  <c:v>08:28</c:v>
                </c:pt>
                <c:pt idx="388">
                  <c:v>08:29</c:v>
                </c:pt>
                <c:pt idx="389">
                  <c:v>08:30</c:v>
                </c:pt>
                <c:pt idx="390">
                  <c:v>08:31</c:v>
                </c:pt>
                <c:pt idx="391">
                  <c:v>08:32</c:v>
                </c:pt>
                <c:pt idx="392">
                  <c:v>08:33</c:v>
                </c:pt>
                <c:pt idx="393">
                  <c:v>08:34</c:v>
                </c:pt>
                <c:pt idx="394">
                  <c:v>08:35</c:v>
                </c:pt>
                <c:pt idx="395">
                  <c:v>08:36</c:v>
                </c:pt>
                <c:pt idx="396">
                  <c:v>08:37</c:v>
                </c:pt>
                <c:pt idx="397">
                  <c:v>08:38</c:v>
                </c:pt>
                <c:pt idx="398">
                  <c:v>08:39</c:v>
                </c:pt>
                <c:pt idx="399">
                  <c:v>08:40</c:v>
                </c:pt>
                <c:pt idx="400">
                  <c:v>08:41</c:v>
                </c:pt>
                <c:pt idx="401">
                  <c:v>08:42</c:v>
                </c:pt>
                <c:pt idx="402">
                  <c:v>08:43</c:v>
                </c:pt>
                <c:pt idx="403">
                  <c:v>08:44</c:v>
                </c:pt>
                <c:pt idx="404">
                  <c:v>08:45</c:v>
                </c:pt>
                <c:pt idx="405">
                  <c:v>08:46</c:v>
                </c:pt>
                <c:pt idx="406">
                  <c:v>08:47</c:v>
                </c:pt>
                <c:pt idx="407">
                  <c:v>08:48</c:v>
                </c:pt>
                <c:pt idx="408">
                  <c:v>08:49</c:v>
                </c:pt>
                <c:pt idx="409">
                  <c:v>08:50</c:v>
                </c:pt>
                <c:pt idx="410">
                  <c:v>08:51</c:v>
                </c:pt>
                <c:pt idx="411">
                  <c:v>08:52</c:v>
                </c:pt>
                <c:pt idx="412">
                  <c:v>08:53</c:v>
                </c:pt>
                <c:pt idx="413">
                  <c:v>08:54</c:v>
                </c:pt>
                <c:pt idx="414">
                  <c:v>08:55</c:v>
                </c:pt>
                <c:pt idx="415">
                  <c:v>08:56</c:v>
                </c:pt>
                <c:pt idx="416">
                  <c:v>08:57</c:v>
                </c:pt>
                <c:pt idx="417">
                  <c:v>08:58</c:v>
                </c:pt>
                <c:pt idx="418">
                  <c:v>08:59</c:v>
                </c:pt>
                <c:pt idx="419">
                  <c:v>09:00</c:v>
                </c:pt>
                <c:pt idx="420">
                  <c:v>09:01</c:v>
                </c:pt>
                <c:pt idx="421">
                  <c:v>09:02</c:v>
                </c:pt>
                <c:pt idx="422">
                  <c:v>09:03</c:v>
                </c:pt>
                <c:pt idx="423">
                  <c:v>09:04</c:v>
                </c:pt>
                <c:pt idx="424">
                  <c:v>09:05</c:v>
                </c:pt>
                <c:pt idx="425">
                  <c:v>09:06</c:v>
                </c:pt>
                <c:pt idx="426">
                  <c:v>09:07</c:v>
                </c:pt>
                <c:pt idx="427">
                  <c:v>09:08</c:v>
                </c:pt>
                <c:pt idx="428">
                  <c:v>09:09</c:v>
                </c:pt>
                <c:pt idx="429">
                  <c:v>09:10</c:v>
                </c:pt>
                <c:pt idx="430">
                  <c:v>09:11</c:v>
                </c:pt>
                <c:pt idx="431">
                  <c:v>09:12</c:v>
                </c:pt>
                <c:pt idx="432">
                  <c:v>09:13</c:v>
                </c:pt>
                <c:pt idx="433">
                  <c:v>09:14</c:v>
                </c:pt>
                <c:pt idx="434">
                  <c:v>09:15</c:v>
                </c:pt>
                <c:pt idx="435">
                  <c:v>09:16</c:v>
                </c:pt>
                <c:pt idx="436">
                  <c:v>09:17</c:v>
                </c:pt>
                <c:pt idx="437">
                  <c:v>09:18</c:v>
                </c:pt>
                <c:pt idx="438">
                  <c:v>09:19</c:v>
                </c:pt>
                <c:pt idx="439">
                  <c:v>09:20</c:v>
                </c:pt>
                <c:pt idx="440">
                  <c:v>09:21</c:v>
                </c:pt>
                <c:pt idx="441">
                  <c:v>09:22</c:v>
                </c:pt>
                <c:pt idx="442">
                  <c:v>09:23</c:v>
                </c:pt>
                <c:pt idx="443">
                  <c:v>09:24</c:v>
                </c:pt>
                <c:pt idx="444">
                  <c:v>09:25</c:v>
                </c:pt>
                <c:pt idx="445">
                  <c:v>09:26</c:v>
                </c:pt>
                <c:pt idx="446">
                  <c:v>09:27</c:v>
                </c:pt>
                <c:pt idx="447">
                  <c:v>09:28</c:v>
                </c:pt>
                <c:pt idx="448">
                  <c:v>09:29</c:v>
                </c:pt>
                <c:pt idx="449">
                  <c:v>09:30</c:v>
                </c:pt>
                <c:pt idx="450">
                  <c:v>09:31</c:v>
                </c:pt>
                <c:pt idx="451">
                  <c:v>09:32</c:v>
                </c:pt>
                <c:pt idx="452">
                  <c:v>09:33</c:v>
                </c:pt>
                <c:pt idx="453">
                  <c:v>09:34</c:v>
                </c:pt>
                <c:pt idx="454">
                  <c:v>09:35</c:v>
                </c:pt>
                <c:pt idx="455">
                  <c:v>09:36</c:v>
                </c:pt>
                <c:pt idx="456">
                  <c:v>09:37</c:v>
                </c:pt>
                <c:pt idx="457">
                  <c:v>09:38</c:v>
                </c:pt>
                <c:pt idx="458">
                  <c:v>09:39</c:v>
                </c:pt>
                <c:pt idx="459">
                  <c:v>09:40</c:v>
                </c:pt>
                <c:pt idx="460">
                  <c:v>09:41</c:v>
                </c:pt>
                <c:pt idx="461">
                  <c:v>09:42</c:v>
                </c:pt>
                <c:pt idx="462">
                  <c:v>09:43</c:v>
                </c:pt>
                <c:pt idx="463">
                  <c:v>09:44</c:v>
                </c:pt>
                <c:pt idx="464">
                  <c:v>09:45</c:v>
                </c:pt>
                <c:pt idx="465">
                  <c:v>09:46</c:v>
                </c:pt>
                <c:pt idx="466">
                  <c:v>09:47</c:v>
                </c:pt>
                <c:pt idx="467">
                  <c:v>09:48</c:v>
                </c:pt>
                <c:pt idx="468">
                  <c:v>09:49</c:v>
                </c:pt>
                <c:pt idx="469">
                  <c:v>09:50</c:v>
                </c:pt>
                <c:pt idx="470">
                  <c:v>09:51</c:v>
                </c:pt>
                <c:pt idx="471">
                  <c:v>09:52</c:v>
                </c:pt>
                <c:pt idx="472">
                  <c:v>09:53</c:v>
                </c:pt>
                <c:pt idx="473">
                  <c:v>09:54</c:v>
                </c:pt>
                <c:pt idx="474">
                  <c:v>09:55</c:v>
                </c:pt>
                <c:pt idx="475">
                  <c:v>09:56</c:v>
                </c:pt>
                <c:pt idx="476">
                  <c:v>09:57</c:v>
                </c:pt>
                <c:pt idx="477">
                  <c:v>09:58</c:v>
                </c:pt>
                <c:pt idx="478">
                  <c:v>09:59</c:v>
                </c:pt>
                <c:pt idx="479">
                  <c:v>10:00</c:v>
                </c:pt>
                <c:pt idx="480">
                  <c:v>10:01</c:v>
                </c:pt>
                <c:pt idx="481">
                  <c:v>10:02</c:v>
                </c:pt>
                <c:pt idx="482">
                  <c:v>10:03</c:v>
                </c:pt>
                <c:pt idx="483">
                  <c:v>10:04</c:v>
                </c:pt>
                <c:pt idx="484">
                  <c:v>10:05</c:v>
                </c:pt>
                <c:pt idx="485">
                  <c:v>10:06</c:v>
                </c:pt>
                <c:pt idx="486">
                  <c:v>10:07</c:v>
                </c:pt>
                <c:pt idx="487">
                  <c:v>10:08</c:v>
                </c:pt>
                <c:pt idx="488">
                  <c:v>10:09</c:v>
                </c:pt>
                <c:pt idx="489">
                  <c:v>10:10</c:v>
                </c:pt>
                <c:pt idx="490">
                  <c:v>10:11</c:v>
                </c:pt>
                <c:pt idx="491">
                  <c:v>10:12</c:v>
                </c:pt>
                <c:pt idx="492">
                  <c:v>10:13</c:v>
                </c:pt>
                <c:pt idx="493">
                  <c:v>10:14</c:v>
                </c:pt>
                <c:pt idx="494">
                  <c:v>10:15</c:v>
                </c:pt>
                <c:pt idx="495">
                  <c:v>10:16</c:v>
                </c:pt>
                <c:pt idx="496">
                  <c:v>10:17</c:v>
                </c:pt>
                <c:pt idx="497">
                  <c:v>10:18</c:v>
                </c:pt>
                <c:pt idx="498">
                  <c:v>10:19</c:v>
                </c:pt>
                <c:pt idx="499">
                  <c:v>10:20</c:v>
                </c:pt>
                <c:pt idx="500">
                  <c:v>10:21</c:v>
                </c:pt>
                <c:pt idx="501">
                  <c:v>10:22</c:v>
                </c:pt>
                <c:pt idx="502">
                  <c:v>10:23</c:v>
                </c:pt>
                <c:pt idx="503">
                  <c:v>10:24</c:v>
                </c:pt>
                <c:pt idx="504">
                  <c:v>10:25</c:v>
                </c:pt>
                <c:pt idx="505">
                  <c:v>10:26</c:v>
                </c:pt>
                <c:pt idx="506">
                  <c:v>10:27</c:v>
                </c:pt>
                <c:pt idx="507">
                  <c:v>10:28</c:v>
                </c:pt>
                <c:pt idx="508">
                  <c:v>10:29</c:v>
                </c:pt>
                <c:pt idx="509">
                  <c:v>10:30</c:v>
                </c:pt>
                <c:pt idx="510">
                  <c:v>10:31</c:v>
                </c:pt>
                <c:pt idx="511">
                  <c:v>10:32</c:v>
                </c:pt>
                <c:pt idx="512">
                  <c:v>10:33</c:v>
                </c:pt>
                <c:pt idx="513">
                  <c:v>10:34</c:v>
                </c:pt>
                <c:pt idx="514">
                  <c:v>10:35</c:v>
                </c:pt>
                <c:pt idx="515">
                  <c:v>10:36</c:v>
                </c:pt>
                <c:pt idx="516">
                  <c:v>10:37</c:v>
                </c:pt>
                <c:pt idx="517">
                  <c:v>10:38</c:v>
                </c:pt>
                <c:pt idx="518">
                  <c:v>10:39</c:v>
                </c:pt>
                <c:pt idx="519">
                  <c:v>10:40</c:v>
                </c:pt>
                <c:pt idx="520">
                  <c:v>10:41</c:v>
                </c:pt>
                <c:pt idx="521">
                  <c:v>10:42</c:v>
                </c:pt>
                <c:pt idx="522">
                  <c:v>10:43</c:v>
                </c:pt>
                <c:pt idx="523">
                  <c:v>10:44</c:v>
                </c:pt>
                <c:pt idx="524">
                  <c:v>10:45</c:v>
                </c:pt>
                <c:pt idx="525">
                  <c:v>10:46</c:v>
                </c:pt>
                <c:pt idx="526">
                  <c:v>10:47</c:v>
                </c:pt>
                <c:pt idx="527">
                  <c:v>10:48</c:v>
                </c:pt>
                <c:pt idx="528">
                  <c:v>10:49</c:v>
                </c:pt>
                <c:pt idx="529">
                  <c:v>10:50</c:v>
                </c:pt>
                <c:pt idx="530">
                  <c:v>10:51</c:v>
                </c:pt>
                <c:pt idx="531">
                  <c:v>10:52</c:v>
                </c:pt>
                <c:pt idx="532">
                  <c:v>10:53</c:v>
                </c:pt>
                <c:pt idx="533">
                  <c:v>10:54</c:v>
                </c:pt>
                <c:pt idx="534">
                  <c:v>10:55</c:v>
                </c:pt>
                <c:pt idx="535">
                  <c:v>10:56</c:v>
                </c:pt>
                <c:pt idx="536">
                  <c:v>10:57</c:v>
                </c:pt>
                <c:pt idx="537">
                  <c:v>10:58</c:v>
                </c:pt>
                <c:pt idx="538">
                  <c:v>10:59</c:v>
                </c:pt>
                <c:pt idx="539">
                  <c:v>11:00</c:v>
                </c:pt>
                <c:pt idx="540">
                  <c:v>11:01</c:v>
                </c:pt>
                <c:pt idx="541">
                  <c:v>11:02</c:v>
                </c:pt>
                <c:pt idx="542">
                  <c:v>11:03</c:v>
                </c:pt>
                <c:pt idx="543">
                  <c:v>11:04</c:v>
                </c:pt>
                <c:pt idx="544">
                  <c:v>11:05</c:v>
                </c:pt>
                <c:pt idx="545">
                  <c:v>11:06</c:v>
                </c:pt>
                <c:pt idx="546">
                  <c:v>11:07</c:v>
                </c:pt>
                <c:pt idx="547">
                  <c:v>11:08</c:v>
                </c:pt>
                <c:pt idx="548">
                  <c:v>11:09</c:v>
                </c:pt>
                <c:pt idx="549">
                  <c:v>11:10</c:v>
                </c:pt>
                <c:pt idx="550">
                  <c:v>11:11</c:v>
                </c:pt>
                <c:pt idx="551">
                  <c:v>11:12</c:v>
                </c:pt>
                <c:pt idx="552">
                  <c:v>11:13</c:v>
                </c:pt>
                <c:pt idx="553">
                  <c:v>11:14</c:v>
                </c:pt>
                <c:pt idx="554">
                  <c:v>11:15</c:v>
                </c:pt>
                <c:pt idx="555">
                  <c:v>11:16</c:v>
                </c:pt>
                <c:pt idx="556">
                  <c:v>11:17</c:v>
                </c:pt>
                <c:pt idx="557">
                  <c:v>11:18</c:v>
                </c:pt>
                <c:pt idx="558">
                  <c:v>11:19</c:v>
                </c:pt>
                <c:pt idx="559">
                  <c:v>11:20</c:v>
                </c:pt>
                <c:pt idx="560">
                  <c:v>11:21</c:v>
                </c:pt>
                <c:pt idx="561">
                  <c:v>11:22</c:v>
                </c:pt>
                <c:pt idx="562">
                  <c:v>11:23</c:v>
                </c:pt>
                <c:pt idx="563">
                  <c:v>11:24</c:v>
                </c:pt>
                <c:pt idx="564">
                  <c:v>11:25</c:v>
                </c:pt>
                <c:pt idx="565">
                  <c:v>11:26</c:v>
                </c:pt>
                <c:pt idx="566">
                  <c:v>11:27</c:v>
                </c:pt>
                <c:pt idx="567">
                  <c:v>11:28</c:v>
                </c:pt>
                <c:pt idx="568">
                  <c:v>11:29</c:v>
                </c:pt>
                <c:pt idx="569">
                  <c:v>11:30</c:v>
                </c:pt>
                <c:pt idx="570">
                  <c:v>11:31</c:v>
                </c:pt>
                <c:pt idx="571">
                  <c:v>11:32</c:v>
                </c:pt>
                <c:pt idx="572">
                  <c:v>11:33</c:v>
                </c:pt>
                <c:pt idx="573">
                  <c:v>11:34</c:v>
                </c:pt>
                <c:pt idx="574">
                  <c:v>11:35</c:v>
                </c:pt>
                <c:pt idx="575">
                  <c:v>11:36</c:v>
                </c:pt>
                <c:pt idx="576">
                  <c:v>11:37</c:v>
                </c:pt>
                <c:pt idx="577">
                  <c:v>11:38</c:v>
                </c:pt>
                <c:pt idx="578">
                  <c:v>11:39</c:v>
                </c:pt>
                <c:pt idx="579">
                  <c:v>11:40</c:v>
                </c:pt>
                <c:pt idx="580">
                  <c:v>11:41</c:v>
                </c:pt>
                <c:pt idx="581">
                  <c:v>11:42</c:v>
                </c:pt>
                <c:pt idx="582">
                  <c:v>11:43</c:v>
                </c:pt>
                <c:pt idx="583">
                  <c:v>11:44</c:v>
                </c:pt>
                <c:pt idx="584">
                  <c:v>11:45</c:v>
                </c:pt>
                <c:pt idx="585">
                  <c:v>11:46</c:v>
                </c:pt>
                <c:pt idx="586">
                  <c:v>11:47</c:v>
                </c:pt>
                <c:pt idx="587">
                  <c:v>11:48</c:v>
                </c:pt>
                <c:pt idx="588">
                  <c:v>11:49</c:v>
                </c:pt>
                <c:pt idx="589">
                  <c:v>11:50</c:v>
                </c:pt>
                <c:pt idx="590">
                  <c:v>11:51</c:v>
                </c:pt>
                <c:pt idx="591">
                  <c:v>11:52</c:v>
                </c:pt>
                <c:pt idx="592">
                  <c:v>11:53</c:v>
                </c:pt>
                <c:pt idx="593">
                  <c:v>11:54</c:v>
                </c:pt>
                <c:pt idx="594">
                  <c:v>11:55</c:v>
                </c:pt>
                <c:pt idx="595">
                  <c:v>11:56</c:v>
                </c:pt>
                <c:pt idx="596">
                  <c:v>11:57</c:v>
                </c:pt>
                <c:pt idx="597">
                  <c:v>11:58</c:v>
                </c:pt>
                <c:pt idx="598">
                  <c:v>11:59</c:v>
                </c:pt>
                <c:pt idx="599">
                  <c:v>12:00</c:v>
                </c:pt>
                <c:pt idx="600">
                  <c:v>12:01</c:v>
                </c:pt>
                <c:pt idx="601">
                  <c:v>12:02</c:v>
                </c:pt>
                <c:pt idx="602">
                  <c:v>12:03</c:v>
                </c:pt>
                <c:pt idx="603">
                  <c:v>12:04</c:v>
                </c:pt>
                <c:pt idx="604">
                  <c:v>12:05</c:v>
                </c:pt>
                <c:pt idx="605">
                  <c:v>12:06</c:v>
                </c:pt>
                <c:pt idx="606">
                  <c:v>12:07</c:v>
                </c:pt>
                <c:pt idx="607">
                  <c:v>12:08</c:v>
                </c:pt>
                <c:pt idx="608">
                  <c:v>12:09</c:v>
                </c:pt>
                <c:pt idx="609">
                  <c:v>12:10</c:v>
                </c:pt>
                <c:pt idx="610">
                  <c:v>12:11</c:v>
                </c:pt>
                <c:pt idx="611">
                  <c:v>12:12</c:v>
                </c:pt>
                <c:pt idx="612">
                  <c:v>12:13</c:v>
                </c:pt>
                <c:pt idx="613">
                  <c:v>12:14</c:v>
                </c:pt>
                <c:pt idx="614">
                  <c:v>12:15</c:v>
                </c:pt>
                <c:pt idx="615">
                  <c:v>12:16</c:v>
                </c:pt>
                <c:pt idx="616">
                  <c:v>12:17</c:v>
                </c:pt>
                <c:pt idx="617">
                  <c:v>12:18</c:v>
                </c:pt>
                <c:pt idx="618">
                  <c:v>12:19</c:v>
                </c:pt>
                <c:pt idx="619">
                  <c:v>12:20</c:v>
                </c:pt>
                <c:pt idx="620">
                  <c:v>12:21</c:v>
                </c:pt>
                <c:pt idx="621">
                  <c:v>12:22</c:v>
                </c:pt>
                <c:pt idx="622">
                  <c:v>12:23</c:v>
                </c:pt>
                <c:pt idx="623">
                  <c:v>12:24</c:v>
                </c:pt>
                <c:pt idx="624">
                  <c:v>12:25</c:v>
                </c:pt>
                <c:pt idx="625">
                  <c:v>12:26</c:v>
                </c:pt>
                <c:pt idx="626">
                  <c:v>12:27</c:v>
                </c:pt>
                <c:pt idx="627">
                  <c:v>12:28</c:v>
                </c:pt>
                <c:pt idx="628">
                  <c:v>12:29</c:v>
                </c:pt>
                <c:pt idx="629">
                  <c:v>12:30</c:v>
                </c:pt>
                <c:pt idx="630">
                  <c:v>12:31</c:v>
                </c:pt>
                <c:pt idx="631">
                  <c:v>12:32</c:v>
                </c:pt>
                <c:pt idx="632">
                  <c:v>12:33</c:v>
                </c:pt>
                <c:pt idx="633">
                  <c:v>12:34</c:v>
                </c:pt>
                <c:pt idx="634">
                  <c:v>12:35</c:v>
                </c:pt>
                <c:pt idx="635">
                  <c:v>12:36</c:v>
                </c:pt>
                <c:pt idx="636">
                  <c:v>12:37</c:v>
                </c:pt>
                <c:pt idx="637">
                  <c:v>12:38</c:v>
                </c:pt>
                <c:pt idx="638">
                  <c:v>12:39</c:v>
                </c:pt>
                <c:pt idx="639">
                  <c:v>12:40</c:v>
                </c:pt>
                <c:pt idx="640">
                  <c:v>12:41</c:v>
                </c:pt>
                <c:pt idx="641">
                  <c:v>12:42</c:v>
                </c:pt>
                <c:pt idx="642">
                  <c:v>12:43</c:v>
                </c:pt>
                <c:pt idx="643">
                  <c:v>12:44</c:v>
                </c:pt>
                <c:pt idx="644">
                  <c:v>12:45</c:v>
                </c:pt>
                <c:pt idx="645">
                  <c:v>12:46</c:v>
                </c:pt>
                <c:pt idx="646">
                  <c:v>12:47</c:v>
                </c:pt>
                <c:pt idx="647">
                  <c:v>12:48</c:v>
                </c:pt>
                <c:pt idx="648">
                  <c:v>12:49</c:v>
                </c:pt>
                <c:pt idx="649">
                  <c:v>12:50</c:v>
                </c:pt>
                <c:pt idx="650">
                  <c:v>12:51</c:v>
                </c:pt>
                <c:pt idx="651">
                  <c:v>12:52</c:v>
                </c:pt>
                <c:pt idx="652">
                  <c:v>12:53</c:v>
                </c:pt>
                <c:pt idx="653">
                  <c:v>12:54</c:v>
                </c:pt>
                <c:pt idx="654">
                  <c:v>12:55</c:v>
                </c:pt>
                <c:pt idx="655">
                  <c:v>12:56</c:v>
                </c:pt>
                <c:pt idx="656">
                  <c:v>12:57</c:v>
                </c:pt>
                <c:pt idx="657">
                  <c:v>12:58</c:v>
                </c:pt>
                <c:pt idx="658">
                  <c:v>12:59</c:v>
                </c:pt>
                <c:pt idx="659">
                  <c:v>13:00</c:v>
                </c:pt>
                <c:pt idx="660">
                  <c:v>13:01</c:v>
                </c:pt>
                <c:pt idx="661">
                  <c:v>13:02</c:v>
                </c:pt>
                <c:pt idx="662">
                  <c:v>13:03</c:v>
                </c:pt>
                <c:pt idx="663">
                  <c:v>13:04</c:v>
                </c:pt>
                <c:pt idx="664">
                  <c:v>13:05</c:v>
                </c:pt>
                <c:pt idx="665">
                  <c:v>13:06</c:v>
                </c:pt>
                <c:pt idx="666">
                  <c:v>13:07</c:v>
                </c:pt>
                <c:pt idx="667">
                  <c:v>13:08</c:v>
                </c:pt>
                <c:pt idx="668">
                  <c:v>13:09</c:v>
                </c:pt>
                <c:pt idx="669">
                  <c:v>13:10</c:v>
                </c:pt>
                <c:pt idx="670">
                  <c:v>13:11</c:v>
                </c:pt>
                <c:pt idx="671">
                  <c:v>13:12</c:v>
                </c:pt>
                <c:pt idx="672">
                  <c:v>13:13</c:v>
                </c:pt>
                <c:pt idx="673">
                  <c:v>13:14</c:v>
                </c:pt>
                <c:pt idx="674">
                  <c:v>13:15</c:v>
                </c:pt>
                <c:pt idx="675">
                  <c:v>13:16</c:v>
                </c:pt>
                <c:pt idx="676">
                  <c:v>13:17</c:v>
                </c:pt>
                <c:pt idx="677">
                  <c:v>13:18</c:v>
                </c:pt>
                <c:pt idx="678">
                  <c:v>13:19</c:v>
                </c:pt>
                <c:pt idx="679">
                  <c:v>13:20</c:v>
                </c:pt>
                <c:pt idx="680">
                  <c:v>13:21</c:v>
                </c:pt>
                <c:pt idx="681">
                  <c:v>13:22</c:v>
                </c:pt>
                <c:pt idx="682">
                  <c:v>13:23</c:v>
                </c:pt>
                <c:pt idx="683">
                  <c:v>13:24</c:v>
                </c:pt>
                <c:pt idx="684">
                  <c:v>13:25</c:v>
                </c:pt>
                <c:pt idx="685">
                  <c:v>13:26</c:v>
                </c:pt>
                <c:pt idx="686">
                  <c:v>13:27</c:v>
                </c:pt>
                <c:pt idx="687">
                  <c:v>13:28</c:v>
                </c:pt>
                <c:pt idx="688">
                  <c:v>13:29</c:v>
                </c:pt>
                <c:pt idx="689">
                  <c:v>13:30</c:v>
                </c:pt>
                <c:pt idx="690">
                  <c:v>13:31</c:v>
                </c:pt>
                <c:pt idx="691">
                  <c:v>13:32</c:v>
                </c:pt>
                <c:pt idx="692">
                  <c:v>13:33</c:v>
                </c:pt>
                <c:pt idx="693">
                  <c:v>13:34</c:v>
                </c:pt>
                <c:pt idx="694">
                  <c:v>13:35</c:v>
                </c:pt>
                <c:pt idx="695">
                  <c:v>13:36</c:v>
                </c:pt>
                <c:pt idx="696">
                  <c:v>13:37</c:v>
                </c:pt>
                <c:pt idx="697">
                  <c:v>13:38</c:v>
                </c:pt>
                <c:pt idx="698">
                  <c:v>13:39</c:v>
                </c:pt>
                <c:pt idx="699">
                  <c:v>13:40</c:v>
                </c:pt>
                <c:pt idx="700">
                  <c:v>13:41</c:v>
                </c:pt>
                <c:pt idx="701">
                  <c:v>13:42</c:v>
                </c:pt>
                <c:pt idx="702">
                  <c:v>13:43</c:v>
                </c:pt>
                <c:pt idx="703">
                  <c:v>13:44</c:v>
                </c:pt>
                <c:pt idx="704">
                  <c:v>13:45</c:v>
                </c:pt>
                <c:pt idx="705">
                  <c:v>13:46</c:v>
                </c:pt>
                <c:pt idx="706">
                  <c:v>13:47</c:v>
                </c:pt>
                <c:pt idx="707">
                  <c:v>13:48</c:v>
                </c:pt>
                <c:pt idx="708">
                  <c:v>13:49</c:v>
                </c:pt>
                <c:pt idx="709">
                  <c:v>13:50</c:v>
                </c:pt>
                <c:pt idx="710">
                  <c:v>13:51</c:v>
                </c:pt>
                <c:pt idx="711">
                  <c:v>13:52</c:v>
                </c:pt>
                <c:pt idx="712">
                  <c:v>13:53</c:v>
                </c:pt>
                <c:pt idx="713">
                  <c:v>13:54</c:v>
                </c:pt>
                <c:pt idx="714">
                  <c:v>13:55</c:v>
                </c:pt>
                <c:pt idx="715">
                  <c:v>13:56</c:v>
                </c:pt>
                <c:pt idx="716">
                  <c:v>13:57</c:v>
                </c:pt>
                <c:pt idx="717">
                  <c:v>13:58</c:v>
                </c:pt>
                <c:pt idx="718">
                  <c:v>13:59</c:v>
                </c:pt>
                <c:pt idx="719">
                  <c:v>14:00</c:v>
                </c:pt>
                <c:pt idx="720">
                  <c:v>14:01</c:v>
                </c:pt>
                <c:pt idx="721">
                  <c:v>14:02</c:v>
                </c:pt>
                <c:pt idx="722">
                  <c:v>14:03</c:v>
                </c:pt>
                <c:pt idx="723">
                  <c:v>14:04</c:v>
                </c:pt>
                <c:pt idx="724">
                  <c:v>14:05</c:v>
                </c:pt>
                <c:pt idx="725">
                  <c:v>14:06</c:v>
                </c:pt>
                <c:pt idx="726">
                  <c:v>14:07</c:v>
                </c:pt>
                <c:pt idx="727">
                  <c:v>14:08</c:v>
                </c:pt>
                <c:pt idx="728">
                  <c:v>14:09</c:v>
                </c:pt>
                <c:pt idx="729">
                  <c:v>14:10</c:v>
                </c:pt>
                <c:pt idx="730">
                  <c:v>14:11</c:v>
                </c:pt>
                <c:pt idx="731">
                  <c:v>14:12</c:v>
                </c:pt>
                <c:pt idx="732">
                  <c:v>14:13</c:v>
                </c:pt>
                <c:pt idx="733">
                  <c:v>14:14</c:v>
                </c:pt>
                <c:pt idx="734">
                  <c:v>14:15</c:v>
                </c:pt>
                <c:pt idx="735">
                  <c:v>14:16</c:v>
                </c:pt>
                <c:pt idx="736">
                  <c:v>14:17</c:v>
                </c:pt>
                <c:pt idx="737">
                  <c:v>14:18</c:v>
                </c:pt>
                <c:pt idx="738">
                  <c:v>14:19</c:v>
                </c:pt>
                <c:pt idx="739">
                  <c:v>14:20</c:v>
                </c:pt>
                <c:pt idx="740">
                  <c:v>14:21</c:v>
                </c:pt>
                <c:pt idx="741">
                  <c:v>14:22</c:v>
                </c:pt>
                <c:pt idx="742">
                  <c:v>14:23</c:v>
                </c:pt>
                <c:pt idx="743">
                  <c:v>14:24</c:v>
                </c:pt>
                <c:pt idx="744">
                  <c:v>14:25</c:v>
                </c:pt>
                <c:pt idx="745">
                  <c:v>14:26</c:v>
                </c:pt>
                <c:pt idx="746">
                  <c:v>14:27</c:v>
                </c:pt>
                <c:pt idx="747">
                  <c:v>14:28</c:v>
                </c:pt>
                <c:pt idx="748">
                  <c:v>14:29</c:v>
                </c:pt>
                <c:pt idx="749">
                  <c:v>14:30</c:v>
                </c:pt>
                <c:pt idx="750">
                  <c:v>14:31</c:v>
                </c:pt>
                <c:pt idx="751">
                  <c:v>14:32</c:v>
                </c:pt>
                <c:pt idx="752">
                  <c:v>14:33</c:v>
                </c:pt>
                <c:pt idx="753">
                  <c:v>14:34</c:v>
                </c:pt>
                <c:pt idx="754">
                  <c:v>14:35</c:v>
                </c:pt>
                <c:pt idx="755">
                  <c:v>14:36</c:v>
                </c:pt>
                <c:pt idx="756">
                  <c:v>14:37</c:v>
                </c:pt>
                <c:pt idx="757">
                  <c:v>14:38</c:v>
                </c:pt>
                <c:pt idx="758">
                  <c:v>14:39</c:v>
                </c:pt>
                <c:pt idx="759">
                  <c:v>14:40</c:v>
                </c:pt>
                <c:pt idx="760">
                  <c:v>14:41</c:v>
                </c:pt>
                <c:pt idx="761">
                  <c:v>14:42</c:v>
                </c:pt>
                <c:pt idx="762">
                  <c:v>14:43</c:v>
                </c:pt>
                <c:pt idx="763">
                  <c:v>14:44</c:v>
                </c:pt>
                <c:pt idx="764">
                  <c:v>14:45</c:v>
                </c:pt>
                <c:pt idx="765">
                  <c:v>14:46</c:v>
                </c:pt>
                <c:pt idx="766">
                  <c:v>14:47</c:v>
                </c:pt>
                <c:pt idx="767">
                  <c:v>14:48</c:v>
                </c:pt>
                <c:pt idx="768">
                  <c:v>14:49</c:v>
                </c:pt>
                <c:pt idx="769">
                  <c:v>14:50</c:v>
                </c:pt>
                <c:pt idx="770">
                  <c:v>14:51</c:v>
                </c:pt>
                <c:pt idx="771">
                  <c:v>14:52</c:v>
                </c:pt>
                <c:pt idx="772">
                  <c:v>14:53</c:v>
                </c:pt>
                <c:pt idx="773">
                  <c:v>14:54</c:v>
                </c:pt>
                <c:pt idx="774">
                  <c:v>14:55</c:v>
                </c:pt>
                <c:pt idx="775">
                  <c:v>14:56</c:v>
                </c:pt>
                <c:pt idx="776">
                  <c:v>14:57</c:v>
                </c:pt>
                <c:pt idx="777">
                  <c:v>14:58</c:v>
                </c:pt>
                <c:pt idx="778">
                  <c:v>14:59</c:v>
                </c:pt>
                <c:pt idx="779">
                  <c:v>15:00</c:v>
                </c:pt>
                <c:pt idx="780">
                  <c:v>15:01</c:v>
                </c:pt>
                <c:pt idx="781">
                  <c:v>15:02</c:v>
                </c:pt>
                <c:pt idx="782">
                  <c:v>15:03</c:v>
                </c:pt>
                <c:pt idx="783">
                  <c:v>15:04</c:v>
                </c:pt>
                <c:pt idx="784">
                  <c:v>15:05</c:v>
                </c:pt>
                <c:pt idx="785">
                  <c:v>15:06</c:v>
                </c:pt>
                <c:pt idx="786">
                  <c:v>15:07</c:v>
                </c:pt>
                <c:pt idx="787">
                  <c:v>15:08</c:v>
                </c:pt>
                <c:pt idx="788">
                  <c:v>15:09</c:v>
                </c:pt>
                <c:pt idx="789">
                  <c:v>15:10</c:v>
                </c:pt>
                <c:pt idx="790">
                  <c:v>15:11</c:v>
                </c:pt>
                <c:pt idx="791">
                  <c:v>15:12</c:v>
                </c:pt>
                <c:pt idx="792">
                  <c:v>15:13</c:v>
                </c:pt>
                <c:pt idx="793">
                  <c:v>15:14</c:v>
                </c:pt>
                <c:pt idx="794">
                  <c:v>15:15</c:v>
                </c:pt>
                <c:pt idx="795">
                  <c:v>15:16</c:v>
                </c:pt>
                <c:pt idx="796">
                  <c:v>15:17</c:v>
                </c:pt>
                <c:pt idx="797">
                  <c:v>15:18</c:v>
                </c:pt>
                <c:pt idx="798">
                  <c:v>15:19</c:v>
                </c:pt>
                <c:pt idx="799">
                  <c:v>15:20</c:v>
                </c:pt>
                <c:pt idx="800">
                  <c:v>15:21</c:v>
                </c:pt>
                <c:pt idx="801">
                  <c:v>15:22</c:v>
                </c:pt>
                <c:pt idx="802">
                  <c:v>15:23</c:v>
                </c:pt>
                <c:pt idx="803">
                  <c:v>15:24</c:v>
                </c:pt>
                <c:pt idx="804">
                  <c:v>15:25</c:v>
                </c:pt>
                <c:pt idx="805">
                  <c:v>15:26</c:v>
                </c:pt>
                <c:pt idx="806">
                  <c:v>15:27</c:v>
                </c:pt>
                <c:pt idx="807">
                  <c:v>15:28</c:v>
                </c:pt>
                <c:pt idx="808">
                  <c:v>15:29</c:v>
                </c:pt>
                <c:pt idx="809">
                  <c:v>15:30</c:v>
                </c:pt>
                <c:pt idx="810">
                  <c:v>15:31</c:v>
                </c:pt>
                <c:pt idx="811">
                  <c:v>15:32</c:v>
                </c:pt>
                <c:pt idx="812">
                  <c:v>15:33</c:v>
                </c:pt>
                <c:pt idx="813">
                  <c:v>15:34</c:v>
                </c:pt>
                <c:pt idx="814">
                  <c:v>15:35</c:v>
                </c:pt>
                <c:pt idx="815">
                  <c:v>15:36</c:v>
                </c:pt>
                <c:pt idx="816">
                  <c:v>15:37</c:v>
                </c:pt>
                <c:pt idx="817">
                  <c:v>15:38</c:v>
                </c:pt>
                <c:pt idx="818">
                  <c:v>15:39</c:v>
                </c:pt>
                <c:pt idx="819">
                  <c:v>15:40</c:v>
                </c:pt>
                <c:pt idx="820">
                  <c:v>15:41</c:v>
                </c:pt>
                <c:pt idx="821">
                  <c:v>15:42</c:v>
                </c:pt>
                <c:pt idx="822">
                  <c:v>15:43</c:v>
                </c:pt>
                <c:pt idx="823">
                  <c:v>15:44</c:v>
                </c:pt>
                <c:pt idx="824">
                  <c:v>15:45</c:v>
                </c:pt>
                <c:pt idx="825">
                  <c:v>15:46</c:v>
                </c:pt>
                <c:pt idx="826">
                  <c:v>15:47</c:v>
                </c:pt>
                <c:pt idx="827">
                  <c:v>15:48</c:v>
                </c:pt>
                <c:pt idx="828">
                  <c:v>15:49</c:v>
                </c:pt>
                <c:pt idx="829">
                  <c:v>15:50</c:v>
                </c:pt>
                <c:pt idx="830">
                  <c:v>15:51</c:v>
                </c:pt>
                <c:pt idx="831">
                  <c:v>15:52</c:v>
                </c:pt>
                <c:pt idx="832">
                  <c:v>15:53</c:v>
                </c:pt>
                <c:pt idx="833">
                  <c:v>15:54</c:v>
                </c:pt>
                <c:pt idx="834">
                  <c:v>15:55</c:v>
                </c:pt>
                <c:pt idx="835">
                  <c:v>15:56</c:v>
                </c:pt>
                <c:pt idx="836">
                  <c:v>15:57</c:v>
                </c:pt>
                <c:pt idx="837">
                  <c:v>15:58</c:v>
                </c:pt>
                <c:pt idx="838">
                  <c:v>15:59</c:v>
                </c:pt>
                <c:pt idx="839">
                  <c:v>16:00</c:v>
                </c:pt>
                <c:pt idx="840">
                  <c:v>16:01</c:v>
                </c:pt>
                <c:pt idx="841">
                  <c:v>16:02</c:v>
                </c:pt>
                <c:pt idx="842">
                  <c:v>16:03</c:v>
                </c:pt>
                <c:pt idx="843">
                  <c:v>16:04</c:v>
                </c:pt>
                <c:pt idx="844">
                  <c:v>16:05</c:v>
                </c:pt>
                <c:pt idx="845">
                  <c:v>16:06</c:v>
                </c:pt>
                <c:pt idx="846">
                  <c:v>16:07</c:v>
                </c:pt>
                <c:pt idx="847">
                  <c:v>16:08</c:v>
                </c:pt>
                <c:pt idx="848">
                  <c:v>16:09</c:v>
                </c:pt>
                <c:pt idx="849">
                  <c:v>16:10</c:v>
                </c:pt>
                <c:pt idx="850">
                  <c:v>16:11</c:v>
                </c:pt>
                <c:pt idx="851">
                  <c:v>16:12</c:v>
                </c:pt>
                <c:pt idx="852">
                  <c:v>16:13</c:v>
                </c:pt>
                <c:pt idx="853">
                  <c:v>16:14</c:v>
                </c:pt>
                <c:pt idx="854">
                  <c:v>16:15</c:v>
                </c:pt>
                <c:pt idx="855">
                  <c:v>16:16</c:v>
                </c:pt>
                <c:pt idx="856">
                  <c:v>16:17</c:v>
                </c:pt>
                <c:pt idx="857">
                  <c:v>16:18</c:v>
                </c:pt>
                <c:pt idx="858">
                  <c:v>16:19</c:v>
                </c:pt>
                <c:pt idx="859">
                  <c:v>16:20</c:v>
                </c:pt>
                <c:pt idx="860">
                  <c:v>16:21</c:v>
                </c:pt>
                <c:pt idx="861">
                  <c:v>16:22</c:v>
                </c:pt>
                <c:pt idx="862">
                  <c:v>16:23</c:v>
                </c:pt>
                <c:pt idx="863">
                  <c:v>16:24</c:v>
                </c:pt>
                <c:pt idx="864">
                  <c:v>16:25</c:v>
                </c:pt>
                <c:pt idx="865">
                  <c:v>16:26</c:v>
                </c:pt>
                <c:pt idx="866">
                  <c:v>16:27</c:v>
                </c:pt>
                <c:pt idx="867">
                  <c:v>16:28</c:v>
                </c:pt>
                <c:pt idx="868">
                  <c:v>16:29</c:v>
                </c:pt>
                <c:pt idx="869">
                  <c:v>16:30</c:v>
                </c:pt>
                <c:pt idx="870">
                  <c:v>16:31</c:v>
                </c:pt>
                <c:pt idx="871">
                  <c:v>16:32</c:v>
                </c:pt>
                <c:pt idx="872">
                  <c:v>16:33</c:v>
                </c:pt>
                <c:pt idx="873">
                  <c:v>16:34</c:v>
                </c:pt>
                <c:pt idx="874">
                  <c:v>16:35</c:v>
                </c:pt>
                <c:pt idx="875">
                  <c:v>16:36</c:v>
                </c:pt>
                <c:pt idx="876">
                  <c:v>16:37</c:v>
                </c:pt>
                <c:pt idx="877">
                  <c:v>16:38</c:v>
                </c:pt>
                <c:pt idx="878">
                  <c:v>16:39</c:v>
                </c:pt>
                <c:pt idx="879">
                  <c:v>16:40</c:v>
                </c:pt>
                <c:pt idx="880">
                  <c:v>16:41</c:v>
                </c:pt>
                <c:pt idx="881">
                  <c:v>16:42</c:v>
                </c:pt>
                <c:pt idx="882">
                  <c:v>16:43</c:v>
                </c:pt>
                <c:pt idx="883">
                  <c:v>16:44</c:v>
                </c:pt>
                <c:pt idx="884">
                  <c:v>16:45</c:v>
                </c:pt>
                <c:pt idx="885">
                  <c:v>16:46</c:v>
                </c:pt>
                <c:pt idx="886">
                  <c:v>16:47</c:v>
                </c:pt>
                <c:pt idx="887">
                  <c:v>16:48</c:v>
                </c:pt>
                <c:pt idx="888">
                  <c:v>16:49</c:v>
                </c:pt>
                <c:pt idx="889">
                  <c:v>16:50</c:v>
                </c:pt>
                <c:pt idx="890">
                  <c:v>16:51</c:v>
                </c:pt>
                <c:pt idx="891">
                  <c:v>16:52</c:v>
                </c:pt>
                <c:pt idx="892">
                  <c:v>16:53</c:v>
                </c:pt>
                <c:pt idx="893">
                  <c:v>16:54</c:v>
                </c:pt>
                <c:pt idx="894">
                  <c:v>16:55</c:v>
                </c:pt>
                <c:pt idx="895">
                  <c:v>16:56</c:v>
                </c:pt>
                <c:pt idx="896">
                  <c:v>16:57</c:v>
                </c:pt>
                <c:pt idx="897">
                  <c:v>16:58</c:v>
                </c:pt>
                <c:pt idx="898">
                  <c:v>16:59</c:v>
                </c:pt>
                <c:pt idx="899">
                  <c:v>17:00</c:v>
                </c:pt>
                <c:pt idx="900">
                  <c:v>17:01</c:v>
                </c:pt>
                <c:pt idx="901">
                  <c:v>17:02</c:v>
                </c:pt>
                <c:pt idx="902">
                  <c:v>17:03</c:v>
                </c:pt>
                <c:pt idx="903">
                  <c:v>17:04</c:v>
                </c:pt>
                <c:pt idx="904">
                  <c:v>17:05</c:v>
                </c:pt>
                <c:pt idx="905">
                  <c:v>17:06</c:v>
                </c:pt>
                <c:pt idx="906">
                  <c:v>17:07</c:v>
                </c:pt>
                <c:pt idx="907">
                  <c:v>17:08</c:v>
                </c:pt>
                <c:pt idx="908">
                  <c:v>17:09</c:v>
                </c:pt>
                <c:pt idx="909">
                  <c:v>17:10</c:v>
                </c:pt>
                <c:pt idx="910">
                  <c:v>17:11</c:v>
                </c:pt>
                <c:pt idx="911">
                  <c:v>17:12</c:v>
                </c:pt>
                <c:pt idx="912">
                  <c:v>17:13</c:v>
                </c:pt>
                <c:pt idx="913">
                  <c:v>17:14</c:v>
                </c:pt>
                <c:pt idx="914">
                  <c:v>17:15</c:v>
                </c:pt>
                <c:pt idx="915">
                  <c:v>17:16</c:v>
                </c:pt>
                <c:pt idx="916">
                  <c:v>17:17</c:v>
                </c:pt>
                <c:pt idx="917">
                  <c:v>17:18</c:v>
                </c:pt>
                <c:pt idx="918">
                  <c:v>17:19</c:v>
                </c:pt>
                <c:pt idx="919">
                  <c:v>17:20</c:v>
                </c:pt>
                <c:pt idx="920">
                  <c:v>17:21</c:v>
                </c:pt>
                <c:pt idx="921">
                  <c:v>17:22</c:v>
                </c:pt>
                <c:pt idx="922">
                  <c:v>17:23</c:v>
                </c:pt>
                <c:pt idx="923">
                  <c:v>17:24</c:v>
                </c:pt>
                <c:pt idx="924">
                  <c:v>17:25</c:v>
                </c:pt>
                <c:pt idx="925">
                  <c:v>17:26</c:v>
                </c:pt>
                <c:pt idx="926">
                  <c:v>17:27</c:v>
                </c:pt>
                <c:pt idx="927">
                  <c:v>17:28</c:v>
                </c:pt>
                <c:pt idx="928">
                  <c:v>17:29</c:v>
                </c:pt>
                <c:pt idx="929">
                  <c:v>17:30</c:v>
                </c:pt>
                <c:pt idx="930">
                  <c:v>17:31</c:v>
                </c:pt>
                <c:pt idx="931">
                  <c:v>17:32</c:v>
                </c:pt>
                <c:pt idx="932">
                  <c:v>17:33</c:v>
                </c:pt>
                <c:pt idx="933">
                  <c:v>17:34</c:v>
                </c:pt>
                <c:pt idx="934">
                  <c:v>17:35</c:v>
                </c:pt>
                <c:pt idx="935">
                  <c:v>17:36</c:v>
                </c:pt>
                <c:pt idx="936">
                  <c:v>17:37</c:v>
                </c:pt>
                <c:pt idx="937">
                  <c:v>17:38</c:v>
                </c:pt>
                <c:pt idx="938">
                  <c:v>17:39</c:v>
                </c:pt>
                <c:pt idx="939">
                  <c:v>17:40</c:v>
                </c:pt>
                <c:pt idx="940">
                  <c:v>17:41</c:v>
                </c:pt>
                <c:pt idx="941">
                  <c:v>17:42</c:v>
                </c:pt>
                <c:pt idx="942">
                  <c:v>17:43</c:v>
                </c:pt>
                <c:pt idx="943">
                  <c:v>17:44</c:v>
                </c:pt>
                <c:pt idx="944">
                  <c:v>17:45</c:v>
                </c:pt>
                <c:pt idx="945">
                  <c:v>17:46</c:v>
                </c:pt>
                <c:pt idx="946">
                  <c:v>17:47</c:v>
                </c:pt>
                <c:pt idx="947">
                  <c:v>17:48</c:v>
                </c:pt>
                <c:pt idx="948">
                  <c:v>17:49</c:v>
                </c:pt>
                <c:pt idx="949">
                  <c:v>17:50</c:v>
                </c:pt>
                <c:pt idx="950">
                  <c:v>17:51</c:v>
                </c:pt>
                <c:pt idx="951">
                  <c:v>17:52</c:v>
                </c:pt>
                <c:pt idx="952">
                  <c:v>17:53</c:v>
                </c:pt>
                <c:pt idx="953">
                  <c:v>17:54</c:v>
                </c:pt>
                <c:pt idx="954">
                  <c:v>17:55</c:v>
                </c:pt>
                <c:pt idx="955">
                  <c:v>17:56</c:v>
                </c:pt>
                <c:pt idx="956">
                  <c:v>17:57</c:v>
                </c:pt>
                <c:pt idx="957">
                  <c:v>17:58</c:v>
                </c:pt>
                <c:pt idx="958">
                  <c:v>17:59</c:v>
                </c:pt>
                <c:pt idx="959">
                  <c:v>18:00</c:v>
                </c:pt>
                <c:pt idx="960">
                  <c:v>18:01</c:v>
                </c:pt>
                <c:pt idx="961">
                  <c:v>18:02</c:v>
                </c:pt>
                <c:pt idx="962">
                  <c:v>18:03</c:v>
                </c:pt>
                <c:pt idx="963">
                  <c:v>18:04</c:v>
                </c:pt>
                <c:pt idx="964">
                  <c:v>18:05</c:v>
                </c:pt>
                <c:pt idx="965">
                  <c:v>18:06</c:v>
                </c:pt>
                <c:pt idx="966">
                  <c:v>18:07</c:v>
                </c:pt>
                <c:pt idx="967">
                  <c:v>18:08</c:v>
                </c:pt>
                <c:pt idx="968">
                  <c:v>18:09</c:v>
                </c:pt>
                <c:pt idx="969">
                  <c:v>18:10</c:v>
                </c:pt>
                <c:pt idx="970">
                  <c:v>18:11</c:v>
                </c:pt>
                <c:pt idx="971">
                  <c:v>18:12</c:v>
                </c:pt>
                <c:pt idx="972">
                  <c:v>18:13</c:v>
                </c:pt>
                <c:pt idx="973">
                  <c:v>18:14</c:v>
                </c:pt>
                <c:pt idx="974">
                  <c:v>18:15</c:v>
                </c:pt>
                <c:pt idx="975">
                  <c:v>18:16</c:v>
                </c:pt>
                <c:pt idx="976">
                  <c:v>18:17</c:v>
                </c:pt>
                <c:pt idx="977">
                  <c:v>18:18</c:v>
                </c:pt>
                <c:pt idx="978">
                  <c:v>18:19</c:v>
                </c:pt>
                <c:pt idx="979">
                  <c:v>18:20</c:v>
                </c:pt>
                <c:pt idx="980">
                  <c:v>18:21</c:v>
                </c:pt>
                <c:pt idx="981">
                  <c:v>18:22</c:v>
                </c:pt>
                <c:pt idx="982">
                  <c:v>18:23</c:v>
                </c:pt>
                <c:pt idx="983">
                  <c:v>18:24</c:v>
                </c:pt>
                <c:pt idx="984">
                  <c:v>18:25</c:v>
                </c:pt>
                <c:pt idx="985">
                  <c:v>18:26</c:v>
                </c:pt>
                <c:pt idx="986">
                  <c:v>18:27</c:v>
                </c:pt>
                <c:pt idx="987">
                  <c:v>18:28</c:v>
                </c:pt>
                <c:pt idx="988">
                  <c:v>18:29</c:v>
                </c:pt>
                <c:pt idx="989">
                  <c:v>18:30</c:v>
                </c:pt>
                <c:pt idx="990">
                  <c:v>18:31</c:v>
                </c:pt>
                <c:pt idx="991">
                  <c:v>18:32</c:v>
                </c:pt>
                <c:pt idx="992">
                  <c:v>18:33</c:v>
                </c:pt>
                <c:pt idx="993">
                  <c:v>18:34</c:v>
                </c:pt>
                <c:pt idx="994">
                  <c:v>18:35</c:v>
                </c:pt>
                <c:pt idx="995">
                  <c:v>18:36</c:v>
                </c:pt>
                <c:pt idx="996">
                  <c:v>18:37</c:v>
                </c:pt>
                <c:pt idx="997">
                  <c:v>18:38</c:v>
                </c:pt>
                <c:pt idx="998">
                  <c:v>18:39</c:v>
                </c:pt>
                <c:pt idx="999">
                  <c:v>18:40</c:v>
                </c:pt>
                <c:pt idx="1000">
                  <c:v>18:41</c:v>
                </c:pt>
                <c:pt idx="1001">
                  <c:v>18:42</c:v>
                </c:pt>
                <c:pt idx="1002">
                  <c:v>18:43</c:v>
                </c:pt>
                <c:pt idx="1003">
                  <c:v>18:44</c:v>
                </c:pt>
                <c:pt idx="1004">
                  <c:v>18:45</c:v>
                </c:pt>
                <c:pt idx="1005">
                  <c:v>18:46</c:v>
                </c:pt>
                <c:pt idx="1006">
                  <c:v>18:47</c:v>
                </c:pt>
                <c:pt idx="1007">
                  <c:v>18:48</c:v>
                </c:pt>
                <c:pt idx="1008">
                  <c:v>18:49</c:v>
                </c:pt>
                <c:pt idx="1009">
                  <c:v>18:50</c:v>
                </c:pt>
                <c:pt idx="1010">
                  <c:v>18:51</c:v>
                </c:pt>
                <c:pt idx="1011">
                  <c:v>18:52</c:v>
                </c:pt>
                <c:pt idx="1012">
                  <c:v>18:53</c:v>
                </c:pt>
                <c:pt idx="1013">
                  <c:v>18:54</c:v>
                </c:pt>
                <c:pt idx="1014">
                  <c:v>18:55</c:v>
                </c:pt>
                <c:pt idx="1015">
                  <c:v>18:56</c:v>
                </c:pt>
                <c:pt idx="1016">
                  <c:v>18:57</c:v>
                </c:pt>
                <c:pt idx="1017">
                  <c:v>18:58</c:v>
                </c:pt>
                <c:pt idx="1018">
                  <c:v>18:59</c:v>
                </c:pt>
                <c:pt idx="1019">
                  <c:v>19:00</c:v>
                </c:pt>
                <c:pt idx="1020">
                  <c:v>19:01</c:v>
                </c:pt>
                <c:pt idx="1021">
                  <c:v>19:02</c:v>
                </c:pt>
                <c:pt idx="1022">
                  <c:v>19:03</c:v>
                </c:pt>
                <c:pt idx="1023">
                  <c:v>19:04</c:v>
                </c:pt>
                <c:pt idx="1024">
                  <c:v>19:05</c:v>
                </c:pt>
                <c:pt idx="1025">
                  <c:v>19:06</c:v>
                </c:pt>
                <c:pt idx="1026">
                  <c:v>19:07</c:v>
                </c:pt>
                <c:pt idx="1027">
                  <c:v>19:08</c:v>
                </c:pt>
                <c:pt idx="1028">
                  <c:v>19:09</c:v>
                </c:pt>
                <c:pt idx="1029">
                  <c:v>19:10</c:v>
                </c:pt>
                <c:pt idx="1030">
                  <c:v>19:11</c:v>
                </c:pt>
                <c:pt idx="1031">
                  <c:v>19:12</c:v>
                </c:pt>
                <c:pt idx="1032">
                  <c:v>19:13</c:v>
                </c:pt>
                <c:pt idx="1033">
                  <c:v>19:14</c:v>
                </c:pt>
                <c:pt idx="1034">
                  <c:v>19:15</c:v>
                </c:pt>
                <c:pt idx="1035">
                  <c:v>19:16</c:v>
                </c:pt>
                <c:pt idx="1036">
                  <c:v>19:17</c:v>
                </c:pt>
                <c:pt idx="1037">
                  <c:v>19:18</c:v>
                </c:pt>
                <c:pt idx="1038">
                  <c:v>19:19</c:v>
                </c:pt>
                <c:pt idx="1039">
                  <c:v>19:20</c:v>
                </c:pt>
                <c:pt idx="1040">
                  <c:v>19:21</c:v>
                </c:pt>
                <c:pt idx="1041">
                  <c:v>19:22</c:v>
                </c:pt>
                <c:pt idx="1042">
                  <c:v>19:23</c:v>
                </c:pt>
                <c:pt idx="1043">
                  <c:v>19:24</c:v>
                </c:pt>
                <c:pt idx="1044">
                  <c:v>19:25</c:v>
                </c:pt>
                <c:pt idx="1045">
                  <c:v>19:26</c:v>
                </c:pt>
                <c:pt idx="1046">
                  <c:v>19:27</c:v>
                </c:pt>
                <c:pt idx="1047">
                  <c:v>19:28</c:v>
                </c:pt>
                <c:pt idx="1048">
                  <c:v>19:29</c:v>
                </c:pt>
                <c:pt idx="1049">
                  <c:v>19:30</c:v>
                </c:pt>
                <c:pt idx="1050">
                  <c:v>19:31</c:v>
                </c:pt>
                <c:pt idx="1051">
                  <c:v>19:32</c:v>
                </c:pt>
                <c:pt idx="1052">
                  <c:v>19:33</c:v>
                </c:pt>
                <c:pt idx="1053">
                  <c:v>19:34</c:v>
                </c:pt>
                <c:pt idx="1054">
                  <c:v>19:35</c:v>
                </c:pt>
                <c:pt idx="1055">
                  <c:v>19:36</c:v>
                </c:pt>
                <c:pt idx="1056">
                  <c:v>19:37</c:v>
                </c:pt>
                <c:pt idx="1057">
                  <c:v>19:38</c:v>
                </c:pt>
                <c:pt idx="1058">
                  <c:v>19:39</c:v>
                </c:pt>
                <c:pt idx="1059">
                  <c:v>19:40</c:v>
                </c:pt>
                <c:pt idx="1060">
                  <c:v>19:41</c:v>
                </c:pt>
                <c:pt idx="1061">
                  <c:v>19:42</c:v>
                </c:pt>
                <c:pt idx="1062">
                  <c:v>19:43</c:v>
                </c:pt>
                <c:pt idx="1063">
                  <c:v>19:44</c:v>
                </c:pt>
                <c:pt idx="1064">
                  <c:v>19:45</c:v>
                </c:pt>
                <c:pt idx="1065">
                  <c:v>19:46</c:v>
                </c:pt>
                <c:pt idx="1066">
                  <c:v>19:47</c:v>
                </c:pt>
                <c:pt idx="1067">
                  <c:v>19:48</c:v>
                </c:pt>
                <c:pt idx="1068">
                  <c:v>19:49</c:v>
                </c:pt>
                <c:pt idx="1069">
                  <c:v>19:50</c:v>
                </c:pt>
                <c:pt idx="1070">
                  <c:v>19:51</c:v>
                </c:pt>
                <c:pt idx="1071">
                  <c:v>19:52</c:v>
                </c:pt>
                <c:pt idx="1072">
                  <c:v>19:53</c:v>
                </c:pt>
                <c:pt idx="1073">
                  <c:v>19:54</c:v>
                </c:pt>
                <c:pt idx="1074">
                  <c:v>19:55</c:v>
                </c:pt>
                <c:pt idx="1075">
                  <c:v>19:56</c:v>
                </c:pt>
                <c:pt idx="1076">
                  <c:v>19:57</c:v>
                </c:pt>
                <c:pt idx="1077">
                  <c:v>19:58</c:v>
                </c:pt>
                <c:pt idx="1078">
                  <c:v>19:59</c:v>
                </c:pt>
                <c:pt idx="1079">
                  <c:v>20:00</c:v>
                </c:pt>
                <c:pt idx="1080">
                  <c:v>20:01</c:v>
                </c:pt>
                <c:pt idx="1081">
                  <c:v>20:02</c:v>
                </c:pt>
                <c:pt idx="1082">
                  <c:v>20:03</c:v>
                </c:pt>
                <c:pt idx="1083">
                  <c:v>20:04</c:v>
                </c:pt>
                <c:pt idx="1084">
                  <c:v>20:05</c:v>
                </c:pt>
                <c:pt idx="1085">
                  <c:v>20:06</c:v>
                </c:pt>
                <c:pt idx="1086">
                  <c:v>20:07</c:v>
                </c:pt>
                <c:pt idx="1087">
                  <c:v>20:08</c:v>
                </c:pt>
                <c:pt idx="1088">
                  <c:v>20:09</c:v>
                </c:pt>
                <c:pt idx="1089">
                  <c:v>20:10</c:v>
                </c:pt>
                <c:pt idx="1090">
                  <c:v>20:11</c:v>
                </c:pt>
                <c:pt idx="1091">
                  <c:v>20:12</c:v>
                </c:pt>
                <c:pt idx="1092">
                  <c:v>20:13</c:v>
                </c:pt>
                <c:pt idx="1093">
                  <c:v>20:14</c:v>
                </c:pt>
                <c:pt idx="1094">
                  <c:v>20:15</c:v>
                </c:pt>
                <c:pt idx="1095">
                  <c:v>20:16</c:v>
                </c:pt>
                <c:pt idx="1096">
                  <c:v>20:17</c:v>
                </c:pt>
                <c:pt idx="1097">
                  <c:v>20:18</c:v>
                </c:pt>
                <c:pt idx="1098">
                  <c:v>20:19</c:v>
                </c:pt>
                <c:pt idx="1099">
                  <c:v>20:20</c:v>
                </c:pt>
                <c:pt idx="1100">
                  <c:v>20:21</c:v>
                </c:pt>
                <c:pt idx="1101">
                  <c:v>20:22</c:v>
                </c:pt>
                <c:pt idx="1102">
                  <c:v>20:23</c:v>
                </c:pt>
                <c:pt idx="1103">
                  <c:v>20:24</c:v>
                </c:pt>
                <c:pt idx="1104">
                  <c:v>20:25</c:v>
                </c:pt>
                <c:pt idx="1105">
                  <c:v>20:26</c:v>
                </c:pt>
                <c:pt idx="1106">
                  <c:v>20:27</c:v>
                </c:pt>
                <c:pt idx="1107">
                  <c:v>20:28</c:v>
                </c:pt>
                <c:pt idx="1108">
                  <c:v>20:29</c:v>
                </c:pt>
                <c:pt idx="1109">
                  <c:v>20:30</c:v>
                </c:pt>
                <c:pt idx="1110">
                  <c:v>20:31</c:v>
                </c:pt>
                <c:pt idx="1111">
                  <c:v>20:32</c:v>
                </c:pt>
                <c:pt idx="1112">
                  <c:v>20:33</c:v>
                </c:pt>
                <c:pt idx="1113">
                  <c:v>20:34</c:v>
                </c:pt>
                <c:pt idx="1114">
                  <c:v>20:35</c:v>
                </c:pt>
                <c:pt idx="1115">
                  <c:v>20:36</c:v>
                </c:pt>
                <c:pt idx="1116">
                  <c:v>20:37</c:v>
                </c:pt>
                <c:pt idx="1117">
                  <c:v>20:38</c:v>
                </c:pt>
                <c:pt idx="1118">
                  <c:v>20:39</c:v>
                </c:pt>
                <c:pt idx="1119">
                  <c:v>20:40</c:v>
                </c:pt>
                <c:pt idx="1120">
                  <c:v>20:41</c:v>
                </c:pt>
                <c:pt idx="1121">
                  <c:v>20:42</c:v>
                </c:pt>
                <c:pt idx="1122">
                  <c:v>20:43</c:v>
                </c:pt>
                <c:pt idx="1123">
                  <c:v>20:44</c:v>
                </c:pt>
                <c:pt idx="1124">
                  <c:v>20:45</c:v>
                </c:pt>
                <c:pt idx="1125">
                  <c:v>20:46</c:v>
                </c:pt>
                <c:pt idx="1126">
                  <c:v>20:47</c:v>
                </c:pt>
                <c:pt idx="1127">
                  <c:v>20:48</c:v>
                </c:pt>
                <c:pt idx="1128">
                  <c:v>20:49</c:v>
                </c:pt>
                <c:pt idx="1129">
                  <c:v>20:50</c:v>
                </c:pt>
                <c:pt idx="1130">
                  <c:v>20:51</c:v>
                </c:pt>
                <c:pt idx="1131">
                  <c:v>20:52</c:v>
                </c:pt>
                <c:pt idx="1132">
                  <c:v>20:53</c:v>
                </c:pt>
                <c:pt idx="1133">
                  <c:v>20:54</c:v>
                </c:pt>
                <c:pt idx="1134">
                  <c:v>20:55</c:v>
                </c:pt>
                <c:pt idx="1135">
                  <c:v>20:56</c:v>
                </c:pt>
                <c:pt idx="1136">
                  <c:v>20:57</c:v>
                </c:pt>
                <c:pt idx="1137">
                  <c:v>20:58</c:v>
                </c:pt>
                <c:pt idx="1138">
                  <c:v>20:59</c:v>
                </c:pt>
                <c:pt idx="1139">
                  <c:v>21:00</c:v>
                </c:pt>
                <c:pt idx="1140">
                  <c:v>21:01</c:v>
                </c:pt>
                <c:pt idx="1141">
                  <c:v>21:02</c:v>
                </c:pt>
                <c:pt idx="1142">
                  <c:v>21:03</c:v>
                </c:pt>
                <c:pt idx="1143">
                  <c:v>21:04</c:v>
                </c:pt>
                <c:pt idx="1144">
                  <c:v>21:05</c:v>
                </c:pt>
                <c:pt idx="1145">
                  <c:v>21:06</c:v>
                </c:pt>
                <c:pt idx="1146">
                  <c:v>21:07</c:v>
                </c:pt>
                <c:pt idx="1147">
                  <c:v>21:08</c:v>
                </c:pt>
                <c:pt idx="1148">
                  <c:v>21:09</c:v>
                </c:pt>
                <c:pt idx="1149">
                  <c:v>21:10</c:v>
                </c:pt>
                <c:pt idx="1150">
                  <c:v>21:11</c:v>
                </c:pt>
                <c:pt idx="1151">
                  <c:v>21:12</c:v>
                </c:pt>
                <c:pt idx="1152">
                  <c:v>21:13</c:v>
                </c:pt>
                <c:pt idx="1153">
                  <c:v>21:14</c:v>
                </c:pt>
                <c:pt idx="1154">
                  <c:v>21:15</c:v>
                </c:pt>
                <c:pt idx="1155">
                  <c:v>21:16</c:v>
                </c:pt>
                <c:pt idx="1156">
                  <c:v>21:17</c:v>
                </c:pt>
                <c:pt idx="1157">
                  <c:v>21:18</c:v>
                </c:pt>
                <c:pt idx="1158">
                  <c:v>21:19</c:v>
                </c:pt>
                <c:pt idx="1159">
                  <c:v>21:20</c:v>
                </c:pt>
                <c:pt idx="1160">
                  <c:v>21:21</c:v>
                </c:pt>
                <c:pt idx="1161">
                  <c:v>21:22</c:v>
                </c:pt>
                <c:pt idx="1162">
                  <c:v>21:23</c:v>
                </c:pt>
                <c:pt idx="1163">
                  <c:v>21:24</c:v>
                </c:pt>
                <c:pt idx="1164">
                  <c:v>21:25</c:v>
                </c:pt>
                <c:pt idx="1165">
                  <c:v>21:26</c:v>
                </c:pt>
                <c:pt idx="1166">
                  <c:v>21:27</c:v>
                </c:pt>
                <c:pt idx="1167">
                  <c:v>21:28</c:v>
                </c:pt>
                <c:pt idx="1168">
                  <c:v>21:29</c:v>
                </c:pt>
                <c:pt idx="1169">
                  <c:v>21:30</c:v>
                </c:pt>
                <c:pt idx="1170">
                  <c:v>21:31</c:v>
                </c:pt>
                <c:pt idx="1171">
                  <c:v>21:32</c:v>
                </c:pt>
                <c:pt idx="1172">
                  <c:v>21:33</c:v>
                </c:pt>
                <c:pt idx="1173">
                  <c:v>21:34</c:v>
                </c:pt>
                <c:pt idx="1174">
                  <c:v>21:35</c:v>
                </c:pt>
                <c:pt idx="1175">
                  <c:v>21:36</c:v>
                </c:pt>
                <c:pt idx="1176">
                  <c:v>21:37</c:v>
                </c:pt>
                <c:pt idx="1177">
                  <c:v>21:38</c:v>
                </c:pt>
                <c:pt idx="1178">
                  <c:v>21:39</c:v>
                </c:pt>
                <c:pt idx="1179">
                  <c:v>21:40</c:v>
                </c:pt>
                <c:pt idx="1180">
                  <c:v>21:41</c:v>
                </c:pt>
                <c:pt idx="1181">
                  <c:v>21:42</c:v>
                </c:pt>
                <c:pt idx="1182">
                  <c:v>21:43</c:v>
                </c:pt>
                <c:pt idx="1183">
                  <c:v>21:44</c:v>
                </c:pt>
                <c:pt idx="1184">
                  <c:v>21:45</c:v>
                </c:pt>
                <c:pt idx="1185">
                  <c:v>21:46</c:v>
                </c:pt>
                <c:pt idx="1186">
                  <c:v>21:47</c:v>
                </c:pt>
                <c:pt idx="1187">
                  <c:v>21:48</c:v>
                </c:pt>
                <c:pt idx="1188">
                  <c:v>21:49</c:v>
                </c:pt>
                <c:pt idx="1189">
                  <c:v>21:50</c:v>
                </c:pt>
                <c:pt idx="1190">
                  <c:v>21:51</c:v>
                </c:pt>
                <c:pt idx="1191">
                  <c:v>21:52</c:v>
                </c:pt>
                <c:pt idx="1192">
                  <c:v>21:53</c:v>
                </c:pt>
                <c:pt idx="1193">
                  <c:v>21:54</c:v>
                </c:pt>
                <c:pt idx="1194">
                  <c:v>21:55</c:v>
                </c:pt>
                <c:pt idx="1195">
                  <c:v>21:56</c:v>
                </c:pt>
                <c:pt idx="1196">
                  <c:v>21:57</c:v>
                </c:pt>
                <c:pt idx="1197">
                  <c:v>21:58</c:v>
                </c:pt>
                <c:pt idx="1198">
                  <c:v>21:59</c:v>
                </c:pt>
                <c:pt idx="1199">
                  <c:v>22:00</c:v>
                </c:pt>
                <c:pt idx="1200">
                  <c:v>22:01</c:v>
                </c:pt>
                <c:pt idx="1201">
                  <c:v>22:02</c:v>
                </c:pt>
                <c:pt idx="1202">
                  <c:v>22:03</c:v>
                </c:pt>
                <c:pt idx="1203">
                  <c:v>22:04</c:v>
                </c:pt>
                <c:pt idx="1204">
                  <c:v>22:05</c:v>
                </c:pt>
                <c:pt idx="1205">
                  <c:v>22:06</c:v>
                </c:pt>
                <c:pt idx="1206">
                  <c:v>22:07</c:v>
                </c:pt>
                <c:pt idx="1207">
                  <c:v>22:08</c:v>
                </c:pt>
                <c:pt idx="1208">
                  <c:v>22:09</c:v>
                </c:pt>
                <c:pt idx="1209">
                  <c:v>22:10</c:v>
                </c:pt>
                <c:pt idx="1210">
                  <c:v>22:11</c:v>
                </c:pt>
                <c:pt idx="1211">
                  <c:v>22:12</c:v>
                </c:pt>
                <c:pt idx="1212">
                  <c:v>22:13</c:v>
                </c:pt>
                <c:pt idx="1213">
                  <c:v>22:14</c:v>
                </c:pt>
                <c:pt idx="1214">
                  <c:v>22:15</c:v>
                </c:pt>
                <c:pt idx="1215">
                  <c:v>22:16</c:v>
                </c:pt>
                <c:pt idx="1216">
                  <c:v>22:17</c:v>
                </c:pt>
                <c:pt idx="1217">
                  <c:v>22:18</c:v>
                </c:pt>
                <c:pt idx="1218">
                  <c:v>22:19</c:v>
                </c:pt>
                <c:pt idx="1219">
                  <c:v>22:20</c:v>
                </c:pt>
                <c:pt idx="1220">
                  <c:v>22:21</c:v>
                </c:pt>
                <c:pt idx="1221">
                  <c:v>22:22</c:v>
                </c:pt>
                <c:pt idx="1222">
                  <c:v>22:23</c:v>
                </c:pt>
                <c:pt idx="1223">
                  <c:v>22:24</c:v>
                </c:pt>
                <c:pt idx="1224">
                  <c:v>22:25</c:v>
                </c:pt>
                <c:pt idx="1225">
                  <c:v>22:26</c:v>
                </c:pt>
                <c:pt idx="1226">
                  <c:v>22:27</c:v>
                </c:pt>
                <c:pt idx="1227">
                  <c:v>22:28</c:v>
                </c:pt>
                <c:pt idx="1228">
                  <c:v>22:29</c:v>
                </c:pt>
                <c:pt idx="1229">
                  <c:v>22:30</c:v>
                </c:pt>
                <c:pt idx="1230">
                  <c:v>22:31</c:v>
                </c:pt>
                <c:pt idx="1231">
                  <c:v>22:32</c:v>
                </c:pt>
                <c:pt idx="1232">
                  <c:v>22:33</c:v>
                </c:pt>
                <c:pt idx="1233">
                  <c:v>22:34</c:v>
                </c:pt>
                <c:pt idx="1234">
                  <c:v>22:35</c:v>
                </c:pt>
                <c:pt idx="1235">
                  <c:v>22:36</c:v>
                </c:pt>
                <c:pt idx="1236">
                  <c:v>22:37</c:v>
                </c:pt>
                <c:pt idx="1237">
                  <c:v>22:38</c:v>
                </c:pt>
                <c:pt idx="1238">
                  <c:v>22:39</c:v>
                </c:pt>
                <c:pt idx="1239">
                  <c:v>22:40</c:v>
                </c:pt>
                <c:pt idx="1240">
                  <c:v>22:41</c:v>
                </c:pt>
                <c:pt idx="1241">
                  <c:v>22:42</c:v>
                </c:pt>
                <c:pt idx="1242">
                  <c:v>22:43</c:v>
                </c:pt>
                <c:pt idx="1243">
                  <c:v>22:44</c:v>
                </c:pt>
                <c:pt idx="1244">
                  <c:v>22:45</c:v>
                </c:pt>
                <c:pt idx="1245">
                  <c:v>22:46</c:v>
                </c:pt>
                <c:pt idx="1246">
                  <c:v>22:47</c:v>
                </c:pt>
                <c:pt idx="1247">
                  <c:v>22:48</c:v>
                </c:pt>
                <c:pt idx="1248">
                  <c:v>22:49</c:v>
                </c:pt>
                <c:pt idx="1249">
                  <c:v>22:50</c:v>
                </c:pt>
                <c:pt idx="1250">
                  <c:v>22:51</c:v>
                </c:pt>
                <c:pt idx="1251">
                  <c:v>22:52</c:v>
                </c:pt>
                <c:pt idx="1252">
                  <c:v>22:53</c:v>
                </c:pt>
                <c:pt idx="1253">
                  <c:v>22:54</c:v>
                </c:pt>
                <c:pt idx="1254">
                  <c:v>22:55</c:v>
                </c:pt>
                <c:pt idx="1255">
                  <c:v>22:56</c:v>
                </c:pt>
                <c:pt idx="1256">
                  <c:v>22:57</c:v>
                </c:pt>
                <c:pt idx="1257">
                  <c:v>22:58</c:v>
                </c:pt>
                <c:pt idx="1258">
                  <c:v>22:59</c:v>
                </c:pt>
                <c:pt idx="1259">
                  <c:v>23:00</c:v>
                </c:pt>
                <c:pt idx="1260">
                  <c:v>23:01</c:v>
                </c:pt>
                <c:pt idx="1261">
                  <c:v>23:02</c:v>
                </c:pt>
                <c:pt idx="1262">
                  <c:v>23:03</c:v>
                </c:pt>
                <c:pt idx="1263">
                  <c:v>23:04</c:v>
                </c:pt>
                <c:pt idx="1264">
                  <c:v>23:05</c:v>
                </c:pt>
                <c:pt idx="1265">
                  <c:v>23:06</c:v>
                </c:pt>
                <c:pt idx="1266">
                  <c:v>23:07</c:v>
                </c:pt>
                <c:pt idx="1267">
                  <c:v>23:08</c:v>
                </c:pt>
                <c:pt idx="1268">
                  <c:v>23:09</c:v>
                </c:pt>
                <c:pt idx="1269">
                  <c:v>23:10</c:v>
                </c:pt>
                <c:pt idx="1270">
                  <c:v>23:11</c:v>
                </c:pt>
                <c:pt idx="1271">
                  <c:v>23:12</c:v>
                </c:pt>
                <c:pt idx="1272">
                  <c:v>23:13</c:v>
                </c:pt>
                <c:pt idx="1273">
                  <c:v>23:14</c:v>
                </c:pt>
                <c:pt idx="1274">
                  <c:v>23:15</c:v>
                </c:pt>
                <c:pt idx="1275">
                  <c:v>23:16</c:v>
                </c:pt>
                <c:pt idx="1276">
                  <c:v>23:17</c:v>
                </c:pt>
                <c:pt idx="1277">
                  <c:v>23:18</c:v>
                </c:pt>
                <c:pt idx="1278">
                  <c:v>23:19</c:v>
                </c:pt>
                <c:pt idx="1279">
                  <c:v>23:20</c:v>
                </c:pt>
                <c:pt idx="1280">
                  <c:v>23:21</c:v>
                </c:pt>
                <c:pt idx="1281">
                  <c:v>23:22</c:v>
                </c:pt>
                <c:pt idx="1282">
                  <c:v>23:23</c:v>
                </c:pt>
                <c:pt idx="1283">
                  <c:v>23:24</c:v>
                </c:pt>
                <c:pt idx="1284">
                  <c:v>23:25</c:v>
                </c:pt>
                <c:pt idx="1285">
                  <c:v>23:26</c:v>
                </c:pt>
                <c:pt idx="1286">
                  <c:v>23:27</c:v>
                </c:pt>
                <c:pt idx="1287">
                  <c:v>23:28</c:v>
                </c:pt>
                <c:pt idx="1288">
                  <c:v>23:29</c:v>
                </c:pt>
                <c:pt idx="1289">
                  <c:v>23:30</c:v>
                </c:pt>
                <c:pt idx="1290">
                  <c:v>23:31</c:v>
                </c:pt>
                <c:pt idx="1291">
                  <c:v>23:32</c:v>
                </c:pt>
                <c:pt idx="1292">
                  <c:v>23:33</c:v>
                </c:pt>
                <c:pt idx="1293">
                  <c:v>23:34</c:v>
                </c:pt>
                <c:pt idx="1294">
                  <c:v>23:35</c:v>
                </c:pt>
                <c:pt idx="1295">
                  <c:v>23:36</c:v>
                </c:pt>
                <c:pt idx="1296">
                  <c:v>23:37</c:v>
                </c:pt>
                <c:pt idx="1297">
                  <c:v>23:38</c:v>
                </c:pt>
                <c:pt idx="1298">
                  <c:v>23:39</c:v>
                </c:pt>
                <c:pt idx="1299">
                  <c:v>23:40</c:v>
                </c:pt>
                <c:pt idx="1300">
                  <c:v>23:41</c:v>
                </c:pt>
                <c:pt idx="1301">
                  <c:v>23:42</c:v>
                </c:pt>
                <c:pt idx="1302">
                  <c:v>23:43</c:v>
                </c:pt>
                <c:pt idx="1303">
                  <c:v>23:44</c:v>
                </c:pt>
                <c:pt idx="1304">
                  <c:v>23:45</c:v>
                </c:pt>
                <c:pt idx="1305">
                  <c:v>23:46</c:v>
                </c:pt>
                <c:pt idx="1306">
                  <c:v>23:47</c:v>
                </c:pt>
                <c:pt idx="1307">
                  <c:v>23:48</c:v>
                </c:pt>
                <c:pt idx="1308">
                  <c:v>23:49</c:v>
                </c:pt>
                <c:pt idx="1309">
                  <c:v>23:50</c:v>
                </c:pt>
                <c:pt idx="1310">
                  <c:v>23:51</c:v>
                </c:pt>
                <c:pt idx="1311">
                  <c:v>23:52</c:v>
                </c:pt>
                <c:pt idx="1312">
                  <c:v>23:53</c:v>
                </c:pt>
                <c:pt idx="1313">
                  <c:v>23:54</c:v>
                </c:pt>
                <c:pt idx="1314">
                  <c:v>23:55</c:v>
                </c:pt>
                <c:pt idx="1315">
                  <c:v>23:56</c:v>
                </c:pt>
                <c:pt idx="1316">
                  <c:v>23:57</c:v>
                </c:pt>
                <c:pt idx="1317">
                  <c:v>23:58</c:v>
                </c:pt>
                <c:pt idx="1318">
                  <c:v>23:59</c:v>
                </c:pt>
              </c:strCache>
            </c:strRef>
          </c:cat>
          <c:val>
            <c:numRef>
              <c:f>Analysis!$I$3:$I$1321</c:f>
              <c:numCache>
                <c:formatCode>General</c:formatCode>
                <c:ptCount val="1319"/>
                <c:pt idx="339">
                  <c:v>59</c:v>
                </c:pt>
                <c:pt idx="340">
                  <c:v>27</c:v>
                </c:pt>
                <c:pt idx="341">
                  <c:v>26</c:v>
                </c:pt>
                <c:pt idx="345">
                  <c:v>82</c:v>
                </c:pt>
                <c:pt idx="346">
                  <c:v>24</c:v>
                </c:pt>
                <c:pt idx="350">
                  <c:v>56</c:v>
                </c:pt>
                <c:pt idx="351">
                  <c:v>60</c:v>
                </c:pt>
                <c:pt idx="355">
                  <c:v>117</c:v>
                </c:pt>
                <c:pt idx="356">
                  <c:v>145</c:v>
                </c:pt>
                <c:pt idx="388">
                  <c:v>36</c:v>
                </c:pt>
                <c:pt idx="389">
                  <c:v>40</c:v>
                </c:pt>
                <c:pt idx="391">
                  <c:v>39</c:v>
                </c:pt>
                <c:pt idx="393">
                  <c:v>19</c:v>
                </c:pt>
                <c:pt idx="410">
                  <c:v>59</c:v>
                </c:pt>
                <c:pt idx="414">
                  <c:v>39</c:v>
                </c:pt>
                <c:pt idx="415">
                  <c:v>20</c:v>
                </c:pt>
                <c:pt idx="427">
                  <c:v>58</c:v>
                </c:pt>
                <c:pt idx="429">
                  <c:v>19</c:v>
                </c:pt>
                <c:pt idx="430">
                  <c:v>20</c:v>
                </c:pt>
                <c:pt idx="433">
                  <c:v>48</c:v>
                </c:pt>
                <c:pt idx="434">
                  <c:v>37</c:v>
                </c:pt>
                <c:pt idx="439">
                  <c:v>58</c:v>
                </c:pt>
                <c:pt idx="440">
                  <c:v>39</c:v>
                </c:pt>
                <c:pt idx="441">
                  <c:v>39</c:v>
                </c:pt>
                <c:pt idx="446">
                  <c:v>40</c:v>
                </c:pt>
                <c:pt idx="447">
                  <c:v>19</c:v>
                </c:pt>
                <c:pt idx="459">
                  <c:v>78</c:v>
                </c:pt>
                <c:pt idx="462">
                  <c:v>20</c:v>
                </c:pt>
                <c:pt idx="463">
                  <c:v>40</c:v>
                </c:pt>
                <c:pt idx="466">
                  <c:v>35</c:v>
                </c:pt>
                <c:pt idx="469">
                  <c:v>58</c:v>
                </c:pt>
                <c:pt idx="478">
                  <c:v>57</c:v>
                </c:pt>
                <c:pt idx="479">
                  <c:v>18</c:v>
                </c:pt>
                <c:pt idx="484">
                  <c:v>18</c:v>
                </c:pt>
                <c:pt idx="486">
                  <c:v>38</c:v>
                </c:pt>
                <c:pt idx="487">
                  <c:v>19</c:v>
                </c:pt>
                <c:pt idx="489">
                  <c:v>38</c:v>
                </c:pt>
                <c:pt idx="490">
                  <c:v>39</c:v>
                </c:pt>
                <c:pt idx="494">
                  <c:v>38</c:v>
                </c:pt>
                <c:pt idx="496">
                  <c:v>36</c:v>
                </c:pt>
                <c:pt idx="499">
                  <c:v>19</c:v>
                </c:pt>
                <c:pt idx="523">
                  <c:v>119</c:v>
                </c:pt>
                <c:pt idx="525">
                  <c:v>59</c:v>
                </c:pt>
                <c:pt idx="526">
                  <c:v>90</c:v>
                </c:pt>
                <c:pt idx="533">
                  <c:v>29</c:v>
                </c:pt>
                <c:pt idx="534">
                  <c:v>29</c:v>
                </c:pt>
                <c:pt idx="535">
                  <c:v>30</c:v>
                </c:pt>
                <c:pt idx="536">
                  <c:v>58</c:v>
                </c:pt>
                <c:pt idx="537">
                  <c:v>28</c:v>
                </c:pt>
                <c:pt idx="538">
                  <c:v>29</c:v>
                </c:pt>
                <c:pt idx="547">
                  <c:v>29</c:v>
                </c:pt>
                <c:pt idx="548">
                  <c:v>36</c:v>
                </c:pt>
                <c:pt idx="551">
                  <c:v>20</c:v>
                </c:pt>
                <c:pt idx="553">
                  <c:v>20</c:v>
                </c:pt>
                <c:pt idx="555">
                  <c:v>20</c:v>
                </c:pt>
                <c:pt idx="564">
                  <c:v>54</c:v>
                </c:pt>
                <c:pt idx="565">
                  <c:v>39</c:v>
                </c:pt>
                <c:pt idx="567">
                  <c:v>31</c:v>
                </c:pt>
                <c:pt idx="568">
                  <c:v>39</c:v>
                </c:pt>
                <c:pt idx="569">
                  <c:v>38</c:v>
                </c:pt>
                <c:pt idx="571">
                  <c:v>38</c:v>
                </c:pt>
                <c:pt idx="574">
                  <c:v>19</c:v>
                </c:pt>
                <c:pt idx="588">
                  <c:v>38</c:v>
                </c:pt>
                <c:pt idx="591">
                  <c:v>36</c:v>
                </c:pt>
                <c:pt idx="592">
                  <c:v>18</c:v>
                </c:pt>
                <c:pt idx="596">
                  <c:v>39</c:v>
                </c:pt>
                <c:pt idx="598">
                  <c:v>18</c:v>
                </c:pt>
                <c:pt idx="599">
                  <c:v>18</c:v>
                </c:pt>
                <c:pt idx="601">
                  <c:v>38</c:v>
                </c:pt>
                <c:pt idx="605">
                  <c:v>87</c:v>
                </c:pt>
                <c:pt idx="606">
                  <c:v>56</c:v>
                </c:pt>
                <c:pt idx="607">
                  <c:v>29</c:v>
                </c:pt>
                <c:pt idx="609">
                  <c:v>26</c:v>
                </c:pt>
                <c:pt idx="661">
                  <c:v>27</c:v>
                </c:pt>
                <c:pt idx="662">
                  <c:v>112</c:v>
                </c:pt>
                <c:pt idx="663">
                  <c:v>60</c:v>
                </c:pt>
                <c:pt idx="672">
                  <c:v>20</c:v>
                </c:pt>
                <c:pt idx="673">
                  <c:v>76</c:v>
                </c:pt>
                <c:pt idx="676">
                  <c:v>36</c:v>
                </c:pt>
                <c:pt idx="679">
                  <c:v>148</c:v>
                </c:pt>
                <c:pt idx="680">
                  <c:v>89</c:v>
                </c:pt>
                <c:pt idx="684">
                  <c:v>30</c:v>
                </c:pt>
                <c:pt idx="685">
                  <c:v>63</c:v>
                </c:pt>
                <c:pt idx="690">
                  <c:v>78</c:v>
                </c:pt>
                <c:pt idx="701">
                  <c:v>76</c:v>
                </c:pt>
                <c:pt idx="703">
                  <c:v>40</c:v>
                </c:pt>
                <c:pt idx="704">
                  <c:v>56</c:v>
                </c:pt>
                <c:pt idx="708">
                  <c:v>57</c:v>
                </c:pt>
                <c:pt idx="710">
                  <c:v>39</c:v>
                </c:pt>
                <c:pt idx="711">
                  <c:v>19</c:v>
                </c:pt>
                <c:pt idx="714">
                  <c:v>60</c:v>
                </c:pt>
                <c:pt idx="715">
                  <c:v>90</c:v>
                </c:pt>
                <c:pt idx="719">
                  <c:v>120</c:v>
                </c:pt>
                <c:pt idx="720">
                  <c:v>59</c:v>
                </c:pt>
                <c:pt idx="721">
                  <c:v>60</c:v>
                </c:pt>
                <c:pt idx="722">
                  <c:v>29</c:v>
                </c:pt>
                <c:pt idx="734">
                  <c:v>57</c:v>
                </c:pt>
                <c:pt idx="735">
                  <c:v>30</c:v>
                </c:pt>
                <c:pt idx="736">
                  <c:v>28</c:v>
                </c:pt>
                <c:pt idx="737">
                  <c:v>30</c:v>
                </c:pt>
                <c:pt idx="754">
                  <c:v>58</c:v>
                </c:pt>
                <c:pt idx="759">
                  <c:v>54</c:v>
                </c:pt>
                <c:pt idx="763">
                  <c:v>59</c:v>
                </c:pt>
                <c:pt idx="765">
                  <c:v>37</c:v>
                </c:pt>
                <c:pt idx="766">
                  <c:v>39</c:v>
                </c:pt>
                <c:pt idx="768">
                  <c:v>20</c:v>
                </c:pt>
                <c:pt idx="769">
                  <c:v>20</c:v>
                </c:pt>
                <c:pt idx="770">
                  <c:v>75</c:v>
                </c:pt>
                <c:pt idx="772">
                  <c:v>19</c:v>
                </c:pt>
                <c:pt idx="773">
                  <c:v>18</c:v>
                </c:pt>
                <c:pt idx="775">
                  <c:v>38</c:v>
                </c:pt>
                <c:pt idx="788">
                  <c:v>30</c:v>
                </c:pt>
                <c:pt idx="789">
                  <c:v>91</c:v>
                </c:pt>
                <c:pt idx="790">
                  <c:v>146</c:v>
                </c:pt>
                <c:pt idx="804">
                  <c:v>50</c:v>
                </c:pt>
                <c:pt idx="805">
                  <c:v>90</c:v>
                </c:pt>
                <c:pt idx="806">
                  <c:v>27</c:v>
                </c:pt>
                <c:pt idx="814">
                  <c:v>88</c:v>
                </c:pt>
                <c:pt idx="817">
                  <c:v>86</c:v>
                </c:pt>
                <c:pt idx="821">
                  <c:v>59</c:v>
                </c:pt>
                <c:pt idx="822">
                  <c:v>20</c:v>
                </c:pt>
                <c:pt idx="823">
                  <c:v>58</c:v>
                </c:pt>
                <c:pt idx="825">
                  <c:v>33</c:v>
                </c:pt>
                <c:pt idx="826">
                  <c:v>40</c:v>
                </c:pt>
                <c:pt idx="828">
                  <c:v>20</c:v>
                </c:pt>
                <c:pt idx="829">
                  <c:v>39</c:v>
                </c:pt>
                <c:pt idx="830">
                  <c:v>17</c:v>
                </c:pt>
                <c:pt idx="831">
                  <c:v>19</c:v>
                </c:pt>
                <c:pt idx="832">
                  <c:v>38</c:v>
                </c:pt>
                <c:pt idx="834">
                  <c:v>39</c:v>
                </c:pt>
                <c:pt idx="835">
                  <c:v>39</c:v>
                </c:pt>
                <c:pt idx="836">
                  <c:v>18</c:v>
                </c:pt>
                <c:pt idx="837">
                  <c:v>20</c:v>
                </c:pt>
                <c:pt idx="840">
                  <c:v>30</c:v>
                </c:pt>
                <c:pt idx="841">
                  <c:v>87</c:v>
                </c:pt>
                <c:pt idx="859">
                  <c:v>30</c:v>
                </c:pt>
                <c:pt idx="862">
                  <c:v>19</c:v>
                </c:pt>
                <c:pt idx="867">
                  <c:v>37</c:v>
                </c:pt>
                <c:pt idx="869">
                  <c:v>29</c:v>
                </c:pt>
                <c:pt idx="873">
                  <c:v>38</c:v>
                </c:pt>
                <c:pt idx="876">
                  <c:v>58</c:v>
                </c:pt>
                <c:pt idx="879">
                  <c:v>38</c:v>
                </c:pt>
                <c:pt idx="880">
                  <c:v>37</c:v>
                </c:pt>
                <c:pt idx="881">
                  <c:v>37</c:v>
                </c:pt>
                <c:pt idx="882">
                  <c:v>38</c:v>
                </c:pt>
                <c:pt idx="884">
                  <c:v>35</c:v>
                </c:pt>
                <c:pt idx="885">
                  <c:v>40</c:v>
                </c:pt>
                <c:pt idx="886">
                  <c:v>20</c:v>
                </c:pt>
                <c:pt idx="887">
                  <c:v>40</c:v>
                </c:pt>
                <c:pt idx="894">
                  <c:v>57</c:v>
                </c:pt>
                <c:pt idx="896">
                  <c:v>17</c:v>
                </c:pt>
                <c:pt idx="899">
                  <c:v>76</c:v>
                </c:pt>
                <c:pt idx="900">
                  <c:v>29</c:v>
                </c:pt>
                <c:pt idx="904">
                  <c:v>58</c:v>
                </c:pt>
                <c:pt idx="906">
                  <c:v>99</c:v>
                </c:pt>
                <c:pt idx="912">
                  <c:v>80</c:v>
                </c:pt>
                <c:pt idx="914">
                  <c:v>58</c:v>
                </c:pt>
                <c:pt idx="918">
                  <c:v>94</c:v>
                </c:pt>
                <c:pt idx="921">
                  <c:v>58</c:v>
                </c:pt>
                <c:pt idx="922">
                  <c:v>89</c:v>
                </c:pt>
                <c:pt idx="923">
                  <c:v>86</c:v>
                </c:pt>
                <c:pt idx="924">
                  <c:v>111</c:v>
                </c:pt>
                <c:pt idx="925">
                  <c:v>113</c:v>
                </c:pt>
                <c:pt idx="938">
                  <c:v>55</c:v>
                </c:pt>
                <c:pt idx="943">
                  <c:v>46</c:v>
                </c:pt>
                <c:pt idx="944">
                  <c:v>45</c:v>
                </c:pt>
                <c:pt idx="946">
                  <c:v>22</c:v>
                </c:pt>
                <c:pt idx="950">
                  <c:v>177</c:v>
                </c:pt>
                <c:pt idx="957">
                  <c:v>143</c:v>
                </c:pt>
                <c:pt idx="958">
                  <c:v>30</c:v>
                </c:pt>
                <c:pt idx="964">
                  <c:v>119</c:v>
                </c:pt>
                <c:pt idx="968">
                  <c:v>27</c:v>
                </c:pt>
                <c:pt idx="969">
                  <c:v>112</c:v>
                </c:pt>
                <c:pt idx="992">
                  <c:v>28</c:v>
                </c:pt>
                <c:pt idx="993">
                  <c:v>24</c:v>
                </c:pt>
                <c:pt idx="1000">
                  <c:v>147</c:v>
                </c:pt>
                <c:pt idx="1001">
                  <c:v>29</c:v>
                </c:pt>
                <c:pt idx="1006">
                  <c:v>24</c:v>
                </c:pt>
                <c:pt idx="1007">
                  <c:v>24</c:v>
                </c:pt>
                <c:pt idx="1030">
                  <c:v>72</c:v>
                </c:pt>
                <c:pt idx="1035">
                  <c:v>49</c:v>
                </c:pt>
                <c:pt idx="1038">
                  <c:v>48</c:v>
                </c:pt>
                <c:pt idx="1047">
                  <c:v>48</c:v>
                </c:pt>
                <c:pt idx="1048">
                  <c:v>49</c:v>
                </c:pt>
                <c:pt idx="1085">
                  <c:v>22</c:v>
                </c:pt>
                <c:pt idx="1095">
                  <c:v>25</c:v>
                </c:pt>
                <c:pt idx="1096">
                  <c:v>24</c:v>
                </c:pt>
                <c:pt idx="1101">
                  <c:v>47</c:v>
                </c:pt>
                <c:pt idx="1107">
                  <c:v>18</c:v>
                </c:pt>
                <c:pt idx="1108">
                  <c:v>97</c:v>
                </c:pt>
                <c:pt idx="1109">
                  <c:v>59</c:v>
                </c:pt>
                <c:pt idx="1110">
                  <c:v>78</c:v>
                </c:pt>
                <c:pt idx="1120">
                  <c:v>50</c:v>
                </c:pt>
                <c:pt idx="1121">
                  <c:v>73</c:v>
                </c:pt>
                <c:pt idx="1126">
                  <c:v>54</c:v>
                </c:pt>
                <c:pt idx="1127">
                  <c:v>51</c:v>
                </c:pt>
                <c:pt idx="1128">
                  <c:v>61</c:v>
                </c:pt>
                <c:pt idx="1156">
                  <c:v>114</c:v>
                </c:pt>
                <c:pt idx="1163">
                  <c:v>46</c:v>
                </c:pt>
                <c:pt idx="1178">
                  <c:v>24</c:v>
                </c:pt>
                <c:pt idx="1179">
                  <c:v>97</c:v>
                </c:pt>
                <c:pt idx="1191">
                  <c:v>119</c:v>
                </c:pt>
                <c:pt idx="1217">
                  <c:v>73</c:v>
                </c:pt>
                <c:pt idx="1218">
                  <c:v>116</c:v>
                </c:pt>
                <c:pt idx="1219">
                  <c:v>149</c:v>
                </c:pt>
                <c:pt idx="1220">
                  <c:v>118</c:v>
                </c:pt>
                <c:pt idx="1238">
                  <c:v>60</c:v>
                </c:pt>
                <c:pt idx="1239">
                  <c:v>29</c:v>
                </c:pt>
                <c:pt idx="1240">
                  <c:v>140</c:v>
                </c:pt>
                <c:pt idx="1273">
                  <c:v>64</c:v>
                </c:pt>
                <c:pt idx="1274">
                  <c:v>55</c:v>
                </c:pt>
                <c:pt idx="1275">
                  <c:v>13</c:v>
                </c:pt>
                <c:pt idx="1280">
                  <c:v>89</c:v>
                </c:pt>
                <c:pt idx="1281">
                  <c:v>75</c:v>
                </c:pt>
                <c:pt idx="1286">
                  <c:v>71</c:v>
                </c:pt>
                <c:pt idx="1287">
                  <c:v>45</c:v>
                </c:pt>
                <c:pt idx="1288">
                  <c:v>71</c:v>
                </c:pt>
                <c:pt idx="1293">
                  <c:v>72</c:v>
                </c:pt>
                <c:pt idx="1294">
                  <c:v>74</c:v>
                </c:pt>
                <c:pt idx="1295">
                  <c:v>46</c:v>
                </c:pt>
                <c:pt idx="1299">
                  <c:v>72</c:v>
                </c:pt>
                <c:pt idx="1300">
                  <c:v>68</c:v>
                </c:pt>
                <c:pt idx="1307">
                  <c:v>83</c:v>
                </c:pt>
                <c:pt idx="1308">
                  <c:v>142</c:v>
                </c:pt>
                <c:pt idx="1309">
                  <c:v>24</c:v>
                </c:pt>
                <c:pt idx="1317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71A-44DA-8DBE-1DEA5056B0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3240112"/>
        <c:axId val="303240672"/>
      </c:lineChart>
      <c:catAx>
        <c:axId val="30324011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tx1"/>
                </a:solidFill>
              </a:defRPr>
            </a:pPr>
            <a:endParaRPr lang="zh-CN"/>
          </a:p>
        </c:txPr>
        <c:crossAx val="303240672"/>
        <c:crosses val="autoZero"/>
        <c:auto val="1"/>
        <c:lblAlgn val="ctr"/>
        <c:lblOffset val="100"/>
        <c:noMultiLvlLbl val="0"/>
      </c:catAx>
      <c:valAx>
        <c:axId val="303240672"/>
        <c:scaling>
          <c:orientation val="minMax"/>
        </c:scaling>
        <c:delete val="0"/>
        <c:axPos val="l"/>
        <c:majorGridlines>
          <c:spPr>
            <a:ln>
              <a:prstDash val="dash"/>
            </a:ln>
          </c:spPr>
        </c:majorGridlines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>
                <a:solidFill>
                  <a:schemeClr val="tx1"/>
                </a:solidFill>
              </a:defRPr>
            </a:pPr>
            <a:endParaRPr lang="zh-CN"/>
          </a:p>
        </c:txPr>
        <c:crossAx val="3032401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>
          <a:solidFill>
            <a:schemeClr val="bg1"/>
          </a:solidFill>
          <a:latin typeface="+mn-lt"/>
          <a:ea typeface="+mn-ea"/>
          <a:cs typeface="+mn-ea"/>
          <a:sym typeface="+mn-lt"/>
        </a:defRPr>
      </a:pPr>
      <a:endParaRPr lang="zh-CN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186652456090202"/>
          <c:y val="0.114416569681493"/>
          <c:w val="0.30342922996748201"/>
          <c:h val="0.602284072509146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占比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774-4C28-BB4E-5DEFD1159E36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74-4C28-BB4E-5DEFD1159E36}"/>
              </c:ext>
            </c:extLst>
          </c:dPt>
          <c:cat>
            <c:strRef>
              <c:f>Sheet1!$A$2:$A$3</c:f>
              <c:strCache>
                <c:ptCount val="2"/>
                <c:pt idx="0">
                  <c:v>6小时内完成交易的订单</c:v>
                </c:pt>
                <c:pt idx="1">
                  <c:v>其他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2</c:v>
                </c:pt>
                <c:pt idx="1">
                  <c:v>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774-4C28-BB4E-5DEFD1159E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186652456090202"/>
          <c:y val="0.114416569681493"/>
          <c:w val="0.30342922996748201"/>
          <c:h val="0.602284072509146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占比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4DA-4DDB-B583-8F01AA57F896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4DA-4DDB-B583-8F01AA57F896}"/>
              </c:ext>
            </c:extLst>
          </c:dPt>
          <c:cat>
            <c:strRef>
              <c:f>Sheet1!$A$2:$A$3</c:f>
              <c:strCache>
                <c:ptCount val="2"/>
                <c:pt idx="0">
                  <c:v>6小时内完成交易的订单</c:v>
                </c:pt>
                <c:pt idx="1">
                  <c:v>其他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5</c:v>
                </c:pt>
                <c:pt idx="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4DA-4DDB-B583-8F01AA57F8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有效申诉率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16D-4BF6-9440-DF8083471A3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16D-4BF6-9440-DF8083471A3B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16D-4BF6-9440-DF8083471A3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77777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行业平均</c:v>
                </c:pt>
                <c:pt idx="1">
                  <c:v>京东物流</c:v>
                </c:pt>
              </c:strCache>
            </c:strRef>
          </c:cat>
          <c:val>
            <c:numRef>
              <c:f>Sheet1!$B$2:$B$3</c:f>
              <c:numCache>
                <c:formatCode>0.00</c:formatCode>
                <c:ptCount val="2"/>
                <c:pt idx="0">
                  <c:v>3.81</c:v>
                </c:pt>
                <c:pt idx="1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16D-4BF6-9440-DF8083471A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1991584"/>
        <c:axId val="303237312"/>
      </c:barChart>
      <c:catAx>
        <c:axId val="301991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77777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03237312"/>
        <c:crosses val="autoZero"/>
        <c:auto val="1"/>
        <c:lblAlgn val="ctr"/>
        <c:lblOffset val="100"/>
        <c:noMultiLvlLbl val="0"/>
      </c:catAx>
      <c:valAx>
        <c:axId val="303237312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301991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777777"/>
          </a:solidFill>
        </a:defRPr>
      </a:pPr>
      <a:endParaRPr lang="zh-CN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111048367141E-3"/>
          <c:y val="5.3097409256843399E-2"/>
          <c:w val="0.98963497814183399"/>
          <c:h val="0.768359128371031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Series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4979E"/>
              </a:solidFill>
            </c:spPr>
            <c:extLst>
              <c:ext xmlns:c16="http://schemas.microsoft.com/office/drawing/2014/chart" uri="{C3380CC4-5D6E-409C-BE32-E72D297353CC}">
                <c16:uniqueId val="{00000001-27DC-472E-89D9-18AC712D19E3}"/>
              </c:ext>
            </c:extLst>
          </c:dPt>
          <c:dPt>
            <c:idx val="1"/>
            <c:invertIfNegative val="0"/>
            <c:bubble3D val="0"/>
            <c:spPr>
              <a:solidFill>
                <a:srgbClr val="F4979E"/>
              </a:solidFill>
            </c:spPr>
            <c:extLst>
              <c:ext xmlns:c16="http://schemas.microsoft.com/office/drawing/2014/chart" uri="{C3380CC4-5D6E-409C-BE32-E72D297353CC}">
                <c16:uniqueId val="{00000003-27DC-472E-89D9-18AC712D19E3}"/>
              </c:ext>
            </c:extLst>
          </c:dPt>
          <c:dPt>
            <c:idx val="2"/>
            <c:invertIfNegative val="0"/>
            <c:bubble3D val="0"/>
            <c:spPr>
              <a:solidFill>
                <a:srgbClr val="F4979E"/>
              </a:solidFill>
            </c:spPr>
            <c:extLst>
              <c:ext xmlns:c16="http://schemas.microsoft.com/office/drawing/2014/chart" uri="{C3380CC4-5D6E-409C-BE32-E72D297353CC}">
                <c16:uniqueId val="{00000005-27DC-472E-89D9-18AC712D19E3}"/>
              </c:ext>
            </c:extLst>
          </c:dPt>
          <c:dPt>
            <c:idx val="3"/>
            <c:invertIfNegative val="0"/>
            <c:bubble3D val="0"/>
            <c:spPr>
              <a:solidFill>
                <a:srgbClr val="F4979E"/>
              </a:solidFill>
            </c:spPr>
            <c:extLst>
              <c:ext xmlns:c16="http://schemas.microsoft.com/office/drawing/2014/chart" uri="{C3380CC4-5D6E-409C-BE32-E72D297353CC}">
                <c16:uniqueId val="{00000007-27DC-472E-89D9-18AC712D19E3}"/>
              </c:ext>
            </c:extLst>
          </c:dPt>
          <c:dPt>
            <c:idx val="4"/>
            <c:invertIfNegative val="0"/>
            <c:bubble3D val="0"/>
            <c:spPr>
              <a:solidFill>
                <a:srgbClr val="F4979E"/>
              </a:solidFill>
            </c:spPr>
            <c:extLst>
              <c:ext xmlns:c16="http://schemas.microsoft.com/office/drawing/2014/chart" uri="{C3380CC4-5D6E-409C-BE32-E72D297353CC}">
                <c16:uniqueId val="{00000009-27DC-472E-89D9-18AC712D19E3}"/>
              </c:ext>
            </c:extLst>
          </c:dPt>
          <c:dPt>
            <c:idx val="5"/>
            <c:invertIfNegative val="0"/>
            <c:bubble3D val="0"/>
            <c:spPr>
              <a:solidFill>
                <a:srgbClr val="F4979E"/>
              </a:solidFill>
            </c:spPr>
            <c:extLst>
              <c:ext xmlns:c16="http://schemas.microsoft.com/office/drawing/2014/chart" uri="{C3380CC4-5D6E-409C-BE32-E72D297353CC}">
                <c16:uniqueId val="{0000000B-27DC-472E-89D9-18AC712D19E3}"/>
              </c:ext>
            </c:extLst>
          </c:dPt>
          <c:dPt>
            <c:idx val="6"/>
            <c:invertIfNegative val="0"/>
            <c:bubble3D val="0"/>
            <c:spPr>
              <a:solidFill>
                <a:srgbClr val="C81623"/>
              </a:solidFill>
            </c:spPr>
            <c:extLst>
              <c:ext xmlns:c16="http://schemas.microsoft.com/office/drawing/2014/chart" uri="{C3380CC4-5D6E-409C-BE32-E72D297353CC}">
                <c16:uniqueId val="{0000000D-27DC-472E-89D9-18AC712D19E3}"/>
              </c:ext>
            </c:extLst>
          </c:dPt>
          <c:dLbls>
            <c:dLbl>
              <c:idx val="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000" b="1">
                      <a:solidFill>
                        <a:srgbClr val="C81623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27DC-472E-89D9-18AC712D19E3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000" b="0">
                    <a:solidFill>
                      <a:srgbClr val="C81623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TTM2Q18</c:v>
                </c:pt>
              </c:strCache>
            </c:strRef>
          </c:cat>
          <c:val>
            <c:numRef>
              <c:f>Sheet1!$B$2:$B$8</c:f>
              <c:numCache>
                <c:formatCode>_(* #,##0.0_);_(* \(#,##0.0\);_(* "-"??_);_(@_)</c:formatCode>
                <c:ptCount val="7"/>
                <c:pt idx="0">
                  <c:v>34</c:v>
                </c:pt>
                <c:pt idx="1">
                  <c:v>34</c:v>
                </c:pt>
                <c:pt idx="2">
                  <c:v>35</c:v>
                </c:pt>
                <c:pt idx="3">
                  <c:v>37</c:v>
                </c:pt>
                <c:pt idx="4">
                  <c:v>38</c:v>
                </c:pt>
                <c:pt idx="5">
                  <c:v>38.1</c:v>
                </c:pt>
                <c:pt idx="6">
                  <c:v>37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7DC-472E-89D9-18AC712D19E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1"/>
        <c:axId val="340134256"/>
        <c:axId val="340134816"/>
      </c:barChart>
      <c:catAx>
        <c:axId val="340134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noFill/>
          </a:ln>
        </c:spPr>
        <c:txPr>
          <a:bodyPr rot="0" vert="horz"/>
          <a:lstStyle/>
          <a:p>
            <a:pPr>
              <a:defRPr lang="en-US" sz="7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zh-CN"/>
          </a:p>
        </c:txPr>
        <c:crossAx val="34013481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40134816"/>
        <c:scaling>
          <c:orientation val="minMax"/>
          <c:max val="42"/>
          <c:min val="25"/>
        </c:scaling>
        <c:delete val="1"/>
        <c:axPos val="l"/>
        <c:numFmt formatCode="#,##0" sourceLinked="0"/>
        <c:majorTickMark val="out"/>
        <c:minorTickMark val="none"/>
        <c:tickLblPos val="nextTo"/>
        <c:crossAx val="3401342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zh-CN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43040074821711E-2"/>
          <c:y val="8.5440985015067306E-2"/>
          <c:w val="0.98569601742180102"/>
          <c:h val="0.729646314996544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Series</c:v>
                </c:pt>
              </c:strCache>
            </c:strRef>
          </c:tx>
          <c:spPr>
            <a:solidFill>
              <a:srgbClr val="A6A6A6"/>
            </a:solidFill>
            <a:ln>
              <a:solidFill>
                <a:srgbClr val="A6A6A6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A0B1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8EE-4461-843D-F9088EE47107}"/>
              </c:ext>
            </c:extLst>
          </c:dPt>
          <c:dLbls>
            <c:dLbl>
              <c:idx val="0"/>
              <c:numFmt formatCode="#,##0_);[Red]\(#,##0\)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00" b="1">
                      <a:solidFill>
                        <a:srgbClr val="C00000"/>
                      </a:solidFill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8EE-4461-843D-F9088EE47107}"/>
                </c:ext>
              </c:extLst>
            </c:dLbl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JD</c:v>
                </c:pt>
                <c:pt idx="1">
                  <c:v>Gome</c:v>
                </c:pt>
                <c:pt idx="2">
                  <c:v>Sunart</c:v>
                </c:pt>
                <c:pt idx="3">
                  <c:v>Walmart</c:v>
                </c:pt>
                <c:pt idx="4">
                  <c:v>Sunning</c:v>
                </c:pt>
                <c:pt idx="5">
                  <c:v>Amazon</c:v>
                </c:pt>
              </c:strCache>
            </c:strRef>
          </c:cat>
          <c:val>
            <c:numRef>
              <c:f>Sheet1!$B$2:$B$7</c:f>
              <c:numCache>
                <c:formatCode>#,##0.00;[Red]\(#,##0.00\);\-</c:formatCode>
                <c:ptCount val="6"/>
                <c:pt idx="0" formatCode="_(* #,##0.0_);_(* \(#,##0.0\);_(* &quot;-&quot;??_);_(@_)">
                  <c:v>37.9</c:v>
                </c:pt>
                <c:pt idx="1">
                  <c:v>70</c:v>
                </c:pt>
                <c:pt idx="2">
                  <c:v>59</c:v>
                </c:pt>
                <c:pt idx="3">
                  <c:v>43.150135512967474</c:v>
                </c:pt>
                <c:pt idx="4">
                  <c:v>41</c:v>
                </c:pt>
                <c:pt idx="5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EE-4461-843D-F9088EE47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1"/>
        <c:axId val="340137056"/>
        <c:axId val="340137616"/>
      </c:barChart>
      <c:catAx>
        <c:axId val="340137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>
            <a:noFill/>
          </a:ln>
        </c:spPr>
        <c:txPr>
          <a:bodyPr rot="0" vert="horz"/>
          <a:lstStyle/>
          <a:p>
            <a:pPr>
              <a:defRPr lang="en-US" sz="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pPr>
            <a:endParaRPr lang="zh-CN"/>
          </a:p>
        </c:txPr>
        <c:crossAx val="34013761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40137616"/>
        <c:scaling>
          <c:orientation val="minMax"/>
          <c:min val="25"/>
        </c:scaling>
        <c:delete val="1"/>
        <c:axPos val="l"/>
        <c:numFmt formatCode="#,##0" sourceLinked="0"/>
        <c:majorTickMark val="out"/>
        <c:minorTickMark val="none"/>
        <c:tickLblPos val="nextTo"/>
        <c:crossAx val="34013705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zh-CN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仓配一体渗透率50%+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增长率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9C-431F-8895-CED13C4817F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仓配一体商家平均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增长率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9C-431F-8895-CED13C4817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-100"/>
        <c:axId val="347668320"/>
        <c:axId val="347668880"/>
      </c:barChart>
      <c:catAx>
        <c:axId val="347668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347668880"/>
        <c:crosses val="autoZero"/>
        <c:auto val="1"/>
        <c:lblAlgn val="ctr"/>
        <c:lblOffset val="100"/>
        <c:noMultiLvlLbl val="0"/>
      </c:catAx>
      <c:valAx>
        <c:axId val="34766888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47668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4548</cdr:x>
      <cdr:y>0.07646</cdr:y>
    </cdr:from>
    <cdr:to>
      <cdr:x>0.86405</cdr:x>
      <cdr:y>0.26023</cdr:y>
    </cdr:to>
    <cdr:sp macro="" textlink="">
      <cdr:nvSpPr>
        <cdr:cNvPr id="2" name="文本框 1"/>
        <cdr:cNvSpPr txBox="1"/>
      </cdr:nvSpPr>
      <cdr:spPr>
        <a:xfrm xmlns:a="http://schemas.openxmlformats.org/drawingml/2006/main">
          <a:off x="342756" y="89637"/>
          <a:ext cx="863704" cy="21544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r>
            <a:rPr lang="zh-CN" altLang="en-US" sz="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rPr>
            <a:t>某仓订单数量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3428"/>
          </a:xfrm>
          <a:prstGeom prst="rect">
            <a:avLst/>
          </a:prstGeom>
        </p:spPr>
        <p:txBody>
          <a:bodyPr vert="horz" lIns="99057" tIns="49528" rIns="99057" bIns="4952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3428"/>
          </a:xfrm>
          <a:prstGeom prst="rect">
            <a:avLst/>
          </a:prstGeom>
        </p:spPr>
        <p:txBody>
          <a:bodyPr vert="horz" lIns="99057" tIns="49528" rIns="99057" bIns="49528" rtlCol="0"/>
          <a:lstStyle>
            <a:lvl1pPr algn="r">
              <a:defRPr sz="1300"/>
            </a:lvl1pPr>
          </a:lstStyle>
          <a:p>
            <a:fld id="{AD4A6C6E-6786-46EA-A47F-D6B590218C8D}" type="datetimeFigureOut">
              <a:rPr lang="zh-CN" altLang="en-US" smtClean="0"/>
              <a:t>2018/9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7275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57" tIns="49528" rIns="99057" bIns="4952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248" y="4924643"/>
            <a:ext cx="5681980" cy="4029254"/>
          </a:xfrm>
          <a:prstGeom prst="rect">
            <a:avLst/>
          </a:prstGeom>
        </p:spPr>
        <p:txBody>
          <a:bodyPr vert="horz" lIns="99057" tIns="49528" rIns="99057" bIns="49528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19598"/>
            <a:ext cx="3077739" cy="513427"/>
          </a:xfrm>
          <a:prstGeom prst="rect">
            <a:avLst/>
          </a:prstGeom>
        </p:spPr>
        <p:txBody>
          <a:bodyPr vert="horz" lIns="99057" tIns="49528" rIns="99057" bIns="4952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092" y="9719598"/>
            <a:ext cx="3077739" cy="513427"/>
          </a:xfrm>
          <a:prstGeom prst="rect">
            <a:avLst/>
          </a:prstGeom>
        </p:spPr>
        <p:txBody>
          <a:bodyPr vert="horz" lIns="99057" tIns="49528" rIns="99057" bIns="49528" rtlCol="0" anchor="b"/>
          <a:lstStyle>
            <a:lvl1pPr algn="r">
              <a:defRPr sz="1300"/>
            </a:lvl1pPr>
          </a:lstStyle>
          <a:p>
            <a:fld id="{372880B2-1450-4DAC-85F8-2602CFB71AB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99465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3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86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30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73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18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58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00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43" algn="l" defTabSz="91428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2275" y="1241425"/>
            <a:ext cx="5954713" cy="33512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kumimoji="0" lang="zh-CN" altLang="en-US" dirty="0"/>
          </a:p>
        </p:txBody>
      </p:sp>
      <p:sp>
        <p:nvSpPr>
          <p:cNvPr id="2150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F9EDD8A-FAF4-4214-90FF-4B504C4D45BC}" type="slidenum">
              <a:rPr lang="zh-CN" altLang="en-US" smtClea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pPr/>
              <a:t>1</a:t>
            </a:fld>
            <a:endParaRPr lang="zh-CN" altLang="en-US">
              <a:solidFill>
                <a:prstClr val="black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81333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325701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400241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baseline="0" dirty="0"/>
              <a:t>增值服务：</a:t>
            </a:r>
            <a:endParaRPr lang="en-US" altLang="zh-CN" baseline="0" dirty="0"/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保价服务</a:t>
            </a: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短信通知</a:t>
            </a: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自提服务</a:t>
            </a: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留站暂存</a:t>
            </a: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改派地址</a:t>
            </a: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签单返还</a:t>
            </a: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协商再投</a:t>
            </a:r>
            <a:endParaRPr lang="en-US" altLang="zh-CN" sz="1200" dirty="0">
              <a:solidFill>
                <a:srgbClr val="0000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代收货款</a:t>
            </a: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逆向返货</a:t>
            </a: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送货入仓</a:t>
            </a:r>
            <a:endParaRPr lang="en-US" altLang="zh-CN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baseline="0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2880B2-1450-4DAC-85F8-2602CFB71ABC}" type="slidenum">
              <a:rPr lang="zh-CN" altLang="en-US" smtClean="0">
                <a:solidFill>
                  <a:prstClr val="black"/>
                </a:solidFill>
              </a:rPr>
              <a:pPr/>
              <a:t>3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7543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063546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300" b="1" dirty="0" smtClean="0">
                <a:latin typeface="Arial" pitchFamily="34" charset="0"/>
                <a:ea typeface="宋体" pitchFamily="2" charset="-122"/>
              </a:rPr>
              <a:t>某知名文具电商：</a:t>
            </a:r>
            <a:endParaRPr lang="en-US" altLang="zh-CN" sz="1300" b="1" dirty="0" smtClean="0">
              <a:latin typeface="Arial" pitchFamily="34" charset="0"/>
              <a:ea typeface="宋体" pitchFamily="2" charset="-122"/>
            </a:endParaRPr>
          </a:p>
          <a:p>
            <a:r>
              <a:rPr lang="zh-CN" altLang="en-US" sz="1300" b="0" dirty="0" smtClean="0">
                <a:latin typeface="Arial" pitchFamily="34" charset="0"/>
                <a:ea typeface="宋体" pitchFamily="2" charset="-122"/>
              </a:rPr>
              <a:t>概况</a:t>
            </a:r>
            <a:endParaRPr lang="en-US" altLang="zh-CN" sz="1300" b="0" dirty="0" smtClean="0">
              <a:latin typeface="Arial" pitchFamily="34" charset="0"/>
              <a:ea typeface="宋体" pitchFamily="2" charset="-122"/>
            </a:endParaRPr>
          </a:p>
          <a:p>
            <a:r>
              <a:rPr lang="zh-CN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店铺：</a:t>
            </a:r>
            <a:r>
              <a:rPr lang="zh-CN" alt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猫</a:t>
            </a:r>
            <a:r>
              <a:rPr lang="en-US" altLang="zh-CN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京东多店铺</a:t>
            </a:r>
            <a:endParaRPr lang="en-US" altLang="zh-CN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仓库：</a:t>
            </a:r>
            <a:r>
              <a:rPr lang="en-US" altLang="zh-CN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00</a:t>
            </a:r>
            <a:r>
              <a:rPr lang="zh-CN" alt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㎡</a:t>
            </a:r>
            <a:endParaRPr lang="en-US" altLang="zh-CN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员：</a:t>
            </a:r>
            <a:r>
              <a:rPr lang="en-US" altLang="zh-CN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</a:p>
          <a:p>
            <a:r>
              <a:rPr lang="zh-CN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均单量：</a:t>
            </a:r>
            <a:r>
              <a:rPr lang="en-US" altLang="zh-CN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00</a:t>
            </a:r>
          </a:p>
          <a:p>
            <a:endParaRPr lang="en-US" altLang="zh-CN" sz="1300" b="1" dirty="0" smtClean="0">
              <a:latin typeface="Arial" pitchFamily="34" charset="0"/>
              <a:ea typeface="宋体" pitchFamily="2" charset="-122"/>
            </a:endParaRPr>
          </a:p>
          <a:p>
            <a:r>
              <a:rPr lang="zh-CN" altLang="en-US" sz="1300" b="0" dirty="0" smtClean="0">
                <a:latin typeface="Arial" pitchFamily="34" charset="0"/>
                <a:ea typeface="宋体" pitchFamily="2" charset="-122"/>
              </a:rPr>
              <a:t>输出内容</a:t>
            </a:r>
            <a:endParaRPr lang="en-US" altLang="zh-CN" sz="1300" b="0" dirty="0" smtClean="0">
              <a:latin typeface="Arial" pitchFamily="34" charset="0"/>
              <a:ea typeface="宋体" pitchFamily="2" charset="-122"/>
            </a:endParaRPr>
          </a:p>
          <a:p>
            <a:pPr marL="342900" indent="-342900">
              <a:lnSpc>
                <a:spcPts val="2200"/>
              </a:lnSpc>
              <a:buFont typeface="+mj-lt"/>
              <a:buAutoNum type="arabicPeriod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程改善：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无序操作→建立作业标准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ts val="2200"/>
              </a:lnSpc>
              <a:buFont typeface="+mj-lt"/>
              <a:buAutoNum type="arabicPeriod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储区规划：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记忆拣货→最优路线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ts val="2200"/>
              </a:lnSpc>
              <a:buFont typeface="+mj-lt"/>
              <a:buAutoNum type="arabicPeriod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库存管理：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绑定存储、帐货不符→系统管理、仓容最大化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ts val="2200"/>
              </a:lnSpc>
              <a:buFont typeface="+mj-lt"/>
              <a:buAutoNum type="arabicPeriod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订单管理：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手工匹配→多维度的系统分配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ts val="2200"/>
              </a:lnSpc>
              <a:buFont typeface="+mj-lt"/>
              <a:buAutoNum type="arabicPeriod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拣货、盘点：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纸单作业→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F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由行走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ts val="2200"/>
              </a:lnSpc>
              <a:buFont typeface="+mj-lt"/>
              <a:buAutoNum type="arabicPeriod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作业跟踪：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手工操作→有操作有记录、可追溯可跟踪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ts val="2200"/>
              </a:lnSpc>
              <a:buFont typeface="+mj-lt"/>
              <a:buAutoNum type="arabicPeriod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管理：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无考核、无跟踪→核心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KPI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报表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ts val="2200"/>
              </a:lnSpc>
              <a:buFont typeface="+mj-lt"/>
              <a:buAutoNum type="arabicPeriod"/>
            </a:pPr>
            <a:r>
              <a:rPr lang="zh-CN" altLang="en-US" sz="1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仓管理：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多仓部署、权限控制、数据汇总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lnSpc>
                <a:spcPts val="2200"/>
              </a:lnSpc>
              <a:buFont typeface="+mj-lt"/>
              <a:buNone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京东印尼：</a:t>
            </a: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u="sng" dirty="0" smtClean="0">
                <a:solidFill>
                  <a:schemeClr val="tx1"/>
                </a:solidFill>
                <a:latin typeface="+mn-ea"/>
              </a:rPr>
              <a:t>1.</a:t>
            </a:r>
            <a:r>
              <a:rPr lang="zh-CN" altLang="en-US" sz="1200" u="sng" dirty="0" smtClean="0">
                <a:solidFill>
                  <a:schemeClr val="tx1"/>
                </a:solidFill>
                <a:latin typeface="+mn-ea"/>
              </a:rPr>
              <a:t>日均单量：</a:t>
            </a:r>
            <a:r>
              <a:rPr lang="en-US" altLang="zh-CN" sz="1200" dirty="0" smtClean="0">
                <a:latin typeface="+mn-ea"/>
              </a:rPr>
              <a:t>18</a:t>
            </a:r>
            <a:r>
              <a:rPr lang="zh-CN" altLang="en-US" sz="1200" dirty="0" smtClean="0">
                <a:latin typeface="+mn-ea"/>
              </a:rPr>
              <a:t>上半年</a:t>
            </a:r>
            <a:r>
              <a:rPr lang="en-US" altLang="zh-CN" sz="1200" dirty="0" smtClean="0">
                <a:latin typeface="+mn-ea"/>
              </a:rPr>
              <a:t>11917</a:t>
            </a:r>
            <a:r>
              <a:rPr lang="zh-CN" altLang="en-US" sz="1200" dirty="0" smtClean="0">
                <a:latin typeface="+mn-ea"/>
              </a:rPr>
              <a:t>单，</a:t>
            </a:r>
            <a:r>
              <a:rPr lang="en-US" altLang="zh-CN" sz="1200" dirty="0" smtClean="0">
                <a:latin typeface="+mn-ea"/>
              </a:rPr>
              <a:t>17</a:t>
            </a:r>
            <a:r>
              <a:rPr lang="zh-CN" altLang="en-US" sz="1200" dirty="0" smtClean="0">
                <a:latin typeface="+mn-ea"/>
              </a:rPr>
              <a:t>同期为</a:t>
            </a:r>
            <a:r>
              <a:rPr lang="en-US" altLang="zh-CN" sz="1200" dirty="0" smtClean="0">
                <a:latin typeface="+mn-ea"/>
              </a:rPr>
              <a:t>2824</a:t>
            </a:r>
            <a:r>
              <a:rPr lang="zh-CN" altLang="en-US" sz="1200" dirty="0" smtClean="0">
                <a:latin typeface="+mn-ea"/>
              </a:rPr>
              <a:t>单；</a:t>
            </a:r>
            <a:endParaRPr lang="en-US" altLang="zh-CN" sz="1200" dirty="0" smtClean="0">
              <a:latin typeface="+mn-ea"/>
            </a:endParaRPr>
          </a:p>
          <a:p>
            <a:r>
              <a:rPr lang="en-US" altLang="zh-CN" sz="1200" u="sng" dirty="0" smtClean="0">
                <a:latin typeface="+mn-ea"/>
              </a:rPr>
              <a:t>2.</a:t>
            </a:r>
            <a:r>
              <a:rPr lang="zh-CN" altLang="en-US" sz="1200" u="sng" dirty="0" smtClean="0">
                <a:latin typeface="+mn-ea"/>
              </a:rPr>
              <a:t>仓储人效（单</a:t>
            </a:r>
            <a:r>
              <a:rPr lang="en-US" altLang="zh-CN" sz="1200" u="sng" dirty="0" smtClean="0">
                <a:latin typeface="+mn-ea"/>
              </a:rPr>
              <a:t>/</a:t>
            </a:r>
            <a:r>
              <a:rPr lang="zh-CN" altLang="en-US" sz="1200" u="sng" dirty="0" smtClean="0">
                <a:latin typeface="+mn-ea"/>
              </a:rPr>
              <a:t>人</a:t>
            </a:r>
            <a:r>
              <a:rPr lang="en-US" altLang="zh-CN" sz="1200" u="sng" dirty="0" smtClean="0">
                <a:latin typeface="+mn-ea"/>
              </a:rPr>
              <a:t>/</a:t>
            </a:r>
            <a:r>
              <a:rPr lang="zh-CN" altLang="en-US" sz="1200" u="sng" dirty="0" smtClean="0">
                <a:latin typeface="+mn-ea"/>
              </a:rPr>
              <a:t>天）：</a:t>
            </a:r>
            <a:r>
              <a:rPr lang="en-US" altLang="zh-CN" sz="1200" dirty="0" smtClean="0">
                <a:latin typeface="+mn-ea"/>
              </a:rPr>
              <a:t>18</a:t>
            </a:r>
            <a:r>
              <a:rPr lang="zh-CN" altLang="en-US" sz="1200" dirty="0" smtClean="0">
                <a:latin typeface="+mn-ea"/>
              </a:rPr>
              <a:t>上半年</a:t>
            </a:r>
            <a:r>
              <a:rPr lang="en-US" altLang="zh-CN" sz="1200" dirty="0" smtClean="0">
                <a:latin typeface="+mn-ea"/>
              </a:rPr>
              <a:t>39,17</a:t>
            </a:r>
            <a:r>
              <a:rPr lang="zh-CN" altLang="en-US" sz="1200" dirty="0" smtClean="0">
                <a:latin typeface="+mn-ea"/>
              </a:rPr>
              <a:t>同期</a:t>
            </a:r>
            <a:r>
              <a:rPr lang="en-US" altLang="zh-CN" sz="1200" dirty="0" smtClean="0">
                <a:latin typeface="+mn-ea"/>
              </a:rPr>
              <a:t>25</a:t>
            </a:r>
            <a:r>
              <a:rPr lang="zh-CN" altLang="en-US" sz="1200" dirty="0" smtClean="0">
                <a:latin typeface="+mn-ea"/>
              </a:rPr>
              <a:t>；</a:t>
            </a:r>
            <a:endParaRPr lang="en-US" altLang="zh-CN" sz="1200" dirty="0" smtClean="0">
              <a:latin typeface="+mn-ea"/>
            </a:endParaRPr>
          </a:p>
          <a:p>
            <a:r>
              <a:rPr lang="en-US" altLang="zh-CN" sz="1200" u="sng" dirty="0" smtClean="0">
                <a:latin typeface="+mn-ea"/>
              </a:rPr>
              <a:t>3.</a:t>
            </a:r>
            <a:r>
              <a:rPr lang="zh-CN" altLang="en-US" sz="1200" u="sng" dirty="0" smtClean="0">
                <a:latin typeface="+mn-ea"/>
              </a:rPr>
              <a:t>仓储单均成本：</a:t>
            </a:r>
            <a:r>
              <a:rPr lang="en-US" altLang="zh-CN" sz="1200" dirty="0" smtClean="0">
                <a:latin typeface="+mn-ea"/>
              </a:rPr>
              <a:t>18</a:t>
            </a:r>
            <a:r>
              <a:rPr lang="zh-CN" altLang="en-US" sz="1200" dirty="0" smtClean="0">
                <a:latin typeface="+mn-ea"/>
              </a:rPr>
              <a:t>上半年</a:t>
            </a:r>
            <a:r>
              <a:rPr lang="en-US" altLang="zh-CN" sz="1200" dirty="0" smtClean="0">
                <a:latin typeface="+mn-ea"/>
              </a:rPr>
              <a:t>RP13593</a:t>
            </a:r>
            <a:r>
              <a:rPr lang="zh-CN" altLang="en-US" sz="1200" dirty="0" smtClean="0">
                <a:latin typeface="+mn-ea"/>
              </a:rPr>
              <a:t>（</a:t>
            </a:r>
            <a:r>
              <a:rPr lang="en-US" altLang="zh-CN" sz="1200" dirty="0" smtClean="0">
                <a:latin typeface="+mn-ea"/>
              </a:rPr>
              <a:t>RMB</a:t>
            </a:r>
            <a:r>
              <a:rPr lang="zh-CN" altLang="en-US" sz="1200" dirty="0" smtClean="0">
                <a:latin typeface="+mn-ea"/>
              </a:rPr>
              <a:t>约</a:t>
            </a:r>
            <a:r>
              <a:rPr lang="en-US" altLang="zh-CN" sz="1200" dirty="0" smtClean="0">
                <a:latin typeface="+mn-ea"/>
              </a:rPr>
              <a:t>6.37</a:t>
            </a:r>
            <a:r>
              <a:rPr lang="zh-CN" altLang="en-US" sz="1200" dirty="0" smtClean="0">
                <a:latin typeface="+mn-ea"/>
              </a:rPr>
              <a:t>元），</a:t>
            </a:r>
            <a:r>
              <a:rPr lang="en-US" altLang="zh-CN" sz="1200" dirty="0" smtClean="0">
                <a:latin typeface="+mn-ea"/>
              </a:rPr>
              <a:t>17</a:t>
            </a:r>
            <a:r>
              <a:rPr lang="zh-CN" altLang="en-US" sz="1200" dirty="0" smtClean="0">
                <a:latin typeface="+mn-ea"/>
              </a:rPr>
              <a:t>同期</a:t>
            </a:r>
            <a:r>
              <a:rPr lang="en-US" altLang="zh-CN" sz="1200" dirty="0" smtClean="0">
                <a:latin typeface="+mn-ea"/>
              </a:rPr>
              <a:t>RP23291</a:t>
            </a:r>
            <a:r>
              <a:rPr lang="zh-CN" altLang="en-US" sz="1200" dirty="0" smtClean="0">
                <a:latin typeface="+mn-ea"/>
              </a:rPr>
              <a:t>（</a:t>
            </a:r>
            <a:r>
              <a:rPr lang="en-US" altLang="zh-CN" sz="1200" dirty="0" smtClean="0">
                <a:latin typeface="+mn-ea"/>
              </a:rPr>
              <a:t>RMB</a:t>
            </a:r>
            <a:r>
              <a:rPr lang="zh-CN" altLang="en-US" sz="1200" dirty="0" smtClean="0">
                <a:latin typeface="+mn-ea"/>
              </a:rPr>
              <a:t>约</a:t>
            </a:r>
            <a:r>
              <a:rPr lang="en-US" altLang="zh-CN" sz="1200" dirty="0" smtClean="0">
                <a:latin typeface="+mn-ea"/>
              </a:rPr>
              <a:t>10.91</a:t>
            </a:r>
            <a:r>
              <a:rPr lang="zh-CN" altLang="en-US" sz="1200" dirty="0" smtClean="0">
                <a:latin typeface="+mn-ea"/>
              </a:rPr>
              <a:t>元）</a:t>
            </a:r>
            <a:endParaRPr lang="en-US" altLang="zh-CN" sz="1200" dirty="0" smtClean="0">
              <a:latin typeface="+mn-ea"/>
            </a:endParaRPr>
          </a:p>
          <a:p>
            <a:r>
              <a:rPr lang="en-US" altLang="zh-CN" sz="1200" u="sng" dirty="0" smtClean="0">
                <a:latin typeface="+mn-ea"/>
              </a:rPr>
              <a:t>4.</a:t>
            </a:r>
            <a:r>
              <a:rPr lang="zh-CN" altLang="en-US" sz="1200" u="sng" dirty="0" smtClean="0">
                <a:latin typeface="+mn-ea"/>
              </a:rPr>
              <a:t>客诉率：</a:t>
            </a:r>
            <a:r>
              <a:rPr lang="en-US" altLang="zh-CN" sz="1200" dirty="0" smtClean="0">
                <a:latin typeface="+mn-ea"/>
              </a:rPr>
              <a:t>18</a:t>
            </a:r>
            <a:r>
              <a:rPr lang="zh-CN" altLang="en-US" sz="1200" dirty="0" smtClean="0">
                <a:latin typeface="+mn-ea"/>
              </a:rPr>
              <a:t>上半年</a:t>
            </a:r>
            <a:r>
              <a:rPr lang="en-US" altLang="zh-CN" sz="1200" dirty="0" smtClean="0">
                <a:latin typeface="+mn-ea"/>
              </a:rPr>
              <a:t>0.016%</a:t>
            </a:r>
            <a:r>
              <a:rPr lang="zh-CN" altLang="en-US" sz="1200" dirty="0" smtClean="0">
                <a:latin typeface="+mn-ea"/>
              </a:rPr>
              <a:t>，</a:t>
            </a:r>
            <a:r>
              <a:rPr lang="en-US" altLang="zh-CN" sz="1200" dirty="0" smtClean="0">
                <a:latin typeface="+mn-ea"/>
              </a:rPr>
              <a:t>17</a:t>
            </a:r>
            <a:r>
              <a:rPr lang="zh-CN" altLang="en-US" sz="1200" dirty="0" smtClean="0">
                <a:latin typeface="+mn-ea"/>
              </a:rPr>
              <a:t>同期</a:t>
            </a:r>
            <a:r>
              <a:rPr lang="en-US" altLang="zh-CN" sz="1200" dirty="0" smtClean="0">
                <a:latin typeface="+mn-ea"/>
              </a:rPr>
              <a:t>0.051%</a:t>
            </a:r>
          </a:p>
          <a:p>
            <a:pPr marL="0" indent="0">
              <a:lnSpc>
                <a:spcPts val="2200"/>
              </a:lnSpc>
              <a:buFont typeface="+mj-lt"/>
              <a:buNone/>
            </a:pPr>
            <a:endParaRPr lang="en-US" altLang="zh-CN" sz="12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904184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3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aseline="0" dirty="0" smtClean="0"/>
              <a:t>无人零售：</a:t>
            </a:r>
            <a:r>
              <a:rPr lang="zh-CN" altLang="en-US" sz="1200" dirty="0" smtClean="0">
                <a:solidFill>
                  <a:srgbClr val="777777"/>
                </a:solidFill>
                <a:sym typeface="+mn-lt"/>
              </a:rPr>
              <a:t>使用人脸识别、物联网和大数据技术</a:t>
            </a:r>
            <a:r>
              <a:rPr lang="zh-CN" altLang="en-US" sz="1200" b="1" dirty="0" smtClean="0">
                <a:solidFill>
                  <a:srgbClr val="C00000"/>
                </a:solidFill>
                <a:sym typeface="+mn-lt"/>
              </a:rPr>
              <a:t>变革零售</a:t>
            </a:r>
          </a:p>
        </p:txBody>
      </p:sp>
    </p:spTree>
    <p:extLst>
      <p:ext uri="{BB962C8B-B14F-4D97-AF65-F5344CB8AC3E}">
        <p14:creationId xmlns:p14="http://schemas.microsoft.com/office/powerpoint/2010/main" val="23036703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900" baseline="0" dirty="0" smtClean="0"/>
              <a:t>人口 ：</a:t>
            </a:r>
            <a:r>
              <a:rPr lang="en-US" altLang="zh-CN" sz="900" baseline="0" dirty="0" smtClean="0"/>
              <a:t>https://www.phb123.com/city/renkou/21215.html</a:t>
            </a:r>
          </a:p>
          <a:p>
            <a:endParaRPr lang="en-US" altLang="zh-CN" sz="900" baseline="0" dirty="0" smtClean="0"/>
          </a:p>
          <a:p>
            <a:r>
              <a:rPr lang="zh-CN" altLang="en-US" sz="900" baseline="0" dirty="0" smtClean="0"/>
              <a:t>电商物流头部企业收入</a:t>
            </a:r>
            <a:endParaRPr lang="en-US" altLang="zh-CN" sz="900" baseline="0" dirty="0" smtClean="0"/>
          </a:p>
          <a:p>
            <a:r>
              <a:rPr lang="en-US" altLang="zh-CN" sz="900" baseline="0" dirty="0" smtClean="0"/>
              <a:t>1</a:t>
            </a:r>
            <a:r>
              <a:rPr lang="zh-CN" altLang="en-US" sz="900" baseline="0" dirty="0" smtClean="0"/>
              <a:t>）中国：</a:t>
            </a:r>
            <a:r>
              <a:rPr lang="en-US" altLang="zh-CN" sz="900" baseline="0" dirty="0" smtClean="0"/>
              <a:t>2028</a:t>
            </a:r>
            <a:r>
              <a:rPr lang="zh-CN" altLang="en-US" sz="900" baseline="0" dirty="0" smtClean="0"/>
              <a:t>亿</a:t>
            </a:r>
            <a:endParaRPr lang="en-US" altLang="zh-CN" sz="900" baseline="0" dirty="0" smtClean="0"/>
          </a:p>
          <a:p>
            <a:r>
              <a:rPr lang="en-US" altLang="zh-CN" sz="900" baseline="0" dirty="0" smtClean="0"/>
              <a:t>2</a:t>
            </a:r>
            <a:r>
              <a:rPr lang="zh-CN" altLang="en-US" sz="900" baseline="0" dirty="0" smtClean="0"/>
              <a:t>）美国：</a:t>
            </a:r>
            <a:r>
              <a:rPr lang="en-US" altLang="zh-CN" sz="900" baseline="0" dirty="0" smtClean="0"/>
              <a:t>1.3</a:t>
            </a:r>
            <a:r>
              <a:rPr lang="zh-CN" altLang="en-US" sz="900" baseline="0" dirty="0" smtClean="0"/>
              <a:t>万亿</a:t>
            </a:r>
            <a:endParaRPr lang="en-US" altLang="zh-CN" sz="900" baseline="0" dirty="0" smtClean="0"/>
          </a:p>
          <a:p>
            <a:endParaRPr lang="en-US" altLang="zh-CN" sz="900" baseline="0" dirty="0" smtClean="0"/>
          </a:p>
          <a:p>
            <a:r>
              <a:rPr lang="zh-CN" altLang="en-US" sz="900" baseline="0" dirty="0" smtClean="0"/>
              <a:t>电商渗透率</a:t>
            </a:r>
            <a:endParaRPr lang="en-US" altLang="zh-CN" sz="900" baseline="0" dirty="0" smtClean="0"/>
          </a:p>
          <a:p>
            <a:r>
              <a:rPr lang="en-US" altLang="zh-CN" sz="900" baseline="0" dirty="0" smtClean="0"/>
              <a:t>1</a:t>
            </a:r>
            <a:r>
              <a:rPr lang="zh-CN" altLang="en-US" sz="900" baseline="0" dirty="0" smtClean="0"/>
              <a:t>）中国：</a:t>
            </a:r>
            <a:r>
              <a:rPr lang="en-US" altLang="zh-CN" sz="900" baseline="0" dirty="0" smtClean="0"/>
              <a:t>IR</a:t>
            </a:r>
            <a:r>
              <a:rPr lang="zh-CN" altLang="en-US" sz="900" baseline="0" dirty="0" smtClean="0"/>
              <a:t>报告</a:t>
            </a:r>
            <a:endParaRPr lang="en-US" altLang="zh-CN" sz="900" baseline="0" dirty="0" smtClean="0"/>
          </a:p>
          <a:p>
            <a:r>
              <a:rPr lang="en-US" altLang="zh-CN" sz="900" baseline="0" dirty="0" smtClean="0"/>
              <a:t>2</a:t>
            </a:r>
            <a:r>
              <a:rPr lang="zh-CN" altLang="en-US" sz="900" baseline="0" dirty="0" smtClean="0"/>
              <a:t>）东南亚 ：</a:t>
            </a:r>
            <a:r>
              <a:rPr lang="en-US" altLang="zh-CN" sz="900" dirty="0" smtClean="0"/>
              <a:t>http://jingzheng.chinabaogao.com/it/092r9c5r017.html</a:t>
            </a:r>
            <a:endParaRPr lang="en-US" altLang="zh-CN" sz="900" baseline="0" dirty="0" smtClean="0"/>
          </a:p>
          <a:p>
            <a:r>
              <a:rPr lang="en-US" altLang="zh-CN" sz="900" baseline="0" dirty="0" smtClean="0"/>
              <a:t>3</a:t>
            </a:r>
            <a:r>
              <a:rPr lang="zh-CN" altLang="en-US" sz="900" baseline="0" dirty="0" smtClean="0"/>
              <a:t>）印度：</a:t>
            </a:r>
            <a:r>
              <a:rPr lang="en-US" altLang="zh-CN" sz="900" baseline="0" dirty="0" smtClean="0"/>
              <a:t>https://www.statista.com/statistics/255083/online-sales-as-share-of-total-retail-sales-in-selected-countries/</a:t>
            </a:r>
          </a:p>
          <a:p>
            <a:r>
              <a:rPr lang="en-US" altLang="zh-CN" sz="900" baseline="0" dirty="0" smtClean="0"/>
              <a:t>4</a:t>
            </a:r>
            <a:r>
              <a:rPr lang="zh-CN" altLang="en-US" sz="900" baseline="0" dirty="0" smtClean="0"/>
              <a:t>）美国：</a:t>
            </a:r>
            <a:r>
              <a:rPr lang="en-US" altLang="zh-CN" sz="900" baseline="0" dirty="0" smtClean="0"/>
              <a:t>https://www.statista.com/statistics/255083/online-sales-as-share-of-total-retail-sales-in-selected-countries/</a:t>
            </a:r>
          </a:p>
          <a:p>
            <a:endParaRPr lang="en-US" altLang="zh-CN" sz="900" baseline="0" dirty="0" smtClean="0"/>
          </a:p>
          <a:p>
            <a:r>
              <a:rPr lang="zh-CN" altLang="en-US" sz="900" baseline="0" dirty="0" smtClean="0"/>
              <a:t>日均电商快递量</a:t>
            </a:r>
            <a:endParaRPr lang="en-US" altLang="zh-CN" sz="900" baseline="0" dirty="0" smtClean="0"/>
          </a:p>
          <a:p>
            <a:r>
              <a:rPr lang="en-US" altLang="zh-CN" sz="900" baseline="0" dirty="0" smtClean="0"/>
              <a:t>1</a:t>
            </a:r>
            <a:r>
              <a:rPr lang="zh-CN" altLang="en-US" sz="900" baseline="0" dirty="0" smtClean="0"/>
              <a:t>）中国：</a:t>
            </a:r>
            <a:r>
              <a:rPr lang="en-US" altLang="zh-CN" sz="900" baseline="0" dirty="0" smtClean="0"/>
              <a:t>http://www.chyxx.com/industry/201712/595031.htm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baseline="0" dirty="0" smtClean="0"/>
              <a:t>2</a:t>
            </a:r>
            <a:r>
              <a:rPr lang="zh-CN" altLang="en-US" sz="900" baseline="0" dirty="0" smtClean="0"/>
              <a:t>）东南亚：</a:t>
            </a:r>
            <a:r>
              <a:rPr lang="en-US" altLang="zh-CN" sz="900" dirty="0" err="1" smtClean="0"/>
              <a:t>Euromonitor</a:t>
            </a:r>
            <a:r>
              <a:rPr lang="en-US" altLang="zh-CN" sz="900" dirty="0" smtClean="0"/>
              <a:t>, CLSA (2017) </a:t>
            </a:r>
            <a:endParaRPr lang="en-US" altLang="zh-CN" sz="900" baseline="0" dirty="0" smtClean="0"/>
          </a:p>
          <a:p>
            <a:r>
              <a:rPr lang="en-US" altLang="zh-CN" sz="900" baseline="0" dirty="0" smtClean="0"/>
              <a:t>3</a:t>
            </a:r>
            <a:r>
              <a:rPr lang="zh-CN" altLang="en-US" sz="900" baseline="0" dirty="0" smtClean="0"/>
              <a:t>）印度：</a:t>
            </a:r>
            <a:r>
              <a:rPr lang="en-US" altLang="zh-CN" sz="900" baseline="0" dirty="0" smtClean="0"/>
              <a:t>KPMG</a:t>
            </a:r>
            <a:r>
              <a:rPr lang="zh-CN" altLang="en-US" sz="900" baseline="0" dirty="0" smtClean="0"/>
              <a:t>报告</a:t>
            </a:r>
            <a:endParaRPr lang="en-US" altLang="zh-CN" sz="900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baseline="0" dirty="0" smtClean="0"/>
              <a:t>4</a:t>
            </a:r>
            <a:r>
              <a:rPr lang="zh-CN" altLang="en-US" sz="900" baseline="0" dirty="0" smtClean="0"/>
              <a:t>）美国：</a:t>
            </a:r>
            <a:r>
              <a:rPr lang="zh-CN" altLang="en-US" sz="900" dirty="0" smtClean="0">
                <a:solidFill>
                  <a:schemeClr val="tx1"/>
                </a:solidFill>
                <a:latin typeface="+mn-ea"/>
              </a:rPr>
              <a:t>按电商件占总快递件量</a:t>
            </a:r>
            <a:r>
              <a:rPr lang="en-US" altLang="zh-CN" sz="900" dirty="0" smtClean="0">
                <a:solidFill>
                  <a:schemeClr val="tx1"/>
                </a:solidFill>
                <a:latin typeface="+mn-ea"/>
              </a:rPr>
              <a:t>48%</a:t>
            </a:r>
            <a:r>
              <a:rPr lang="zh-CN" altLang="en-US" sz="900" dirty="0" smtClean="0">
                <a:solidFill>
                  <a:schemeClr val="tx1"/>
                </a:solidFill>
                <a:latin typeface="+mn-ea"/>
              </a:rPr>
              <a:t>计算，</a:t>
            </a:r>
            <a:r>
              <a:rPr lang="en-US" altLang="zh-CN" sz="900" dirty="0" smtClean="0">
                <a:solidFill>
                  <a:schemeClr val="tx1"/>
                </a:solidFill>
                <a:latin typeface="+mn-ea"/>
              </a:rPr>
              <a:t>17</a:t>
            </a:r>
            <a:r>
              <a:rPr lang="zh-CN" altLang="en-US" sz="900" dirty="0" smtClean="0">
                <a:solidFill>
                  <a:schemeClr val="tx1"/>
                </a:solidFill>
                <a:latin typeface="+mn-ea"/>
              </a:rPr>
              <a:t>年总快递件量</a:t>
            </a:r>
            <a:r>
              <a:rPr lang="zh-CN" altLang="en-US" sz="900" dirty="0" smtClean="0">
                <a:latin typeface="+mn-ea"/>
              </a:rPr>
              <a:t>按</a:t>
            </a:r>
            <a:r>
              <a:rPr lang="en-US" altLang="zh-CN" sz="900" dirty="0" smtClean="0">
                <a:latin typeface="+mn-ea"/>
              </a:rPr>
              <a:t>16</a:t>
            </a:r>
            <a:r>
              <a:rPr lang="zh-CN" altLang="en-US" sz="900" dirty="0" smtClean="0">
                <a:latin typeface="+mn-ea"/>
              </a:rPr>
              <a:t>年</a:t>
            </a:r>
            <a:r>
              <a:rPr lang="en-US" altLang="zh-CN" sz="900" dirty="0" smtClean="0">
                <a:latin typeface="+mn-ea"/>
              </a:rPr>
              <a:t>130</a:t>
            </a:r>
            <a:r>
              <a:rPr lang="zh-CN" altLang="en-US" sz="900" dirty="0" smtClean="0">
                <a:latin typeface="+mn-ea"/>
              </a:rPr>
              <a:t>亿件及</a:t>
            </a:r>
            <a:r>
              <a:rPr lang="en-US" altLang="zh-CN" sz="900" dirty="0" smtClean="0">
                <a:latin typeface="+mn-ea"/>
              </a:rPr>
              <a:t>8%</a:t>
            </a:r>
            <a:r>
              <a:rPr lang="zh-CN" altLang="en-US" sz="900" dirty="0" smtClean="0">
                <a:latin typeface="+mn-ea"/>
              </a:rPr>
              <a:t>增速推算。</a:t>
            </a:r>
            <a:endParaRPr lang="en-US" altLang="zh-CN" sz="900" dirty="0" smtClean="0">
              <a:latin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900" dirty="0" smtClean="0">
              <a:solidFill>
                <a:schemeClr val="tx1"/>
              </a:solidFill>
              <a:latin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900" dirty="0" smtClean="0">
                <a:solidFill>
                  <a:schemeClr val="tx1"/>
                </a:solidFill>
                <a:latin typeface="+mn-ea"/>
              </a:rPr>
              <a:t>平均履约时效</a:t>
            </a:r>
            <a:endParaRPr lang="en-US" altLang="zh-CN" sz="900" dirty="0" smtClean="0">
              <a:solidFill>
                <a:schemeClr val="tx1"/>
              </a:solidFill>
              <a:latin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dirty="0" smtClean="0">
                <a:solidFill>
                  <a:schemeClr val="tx1"/>
                </a:solidFill>
                <a:latin typeface="+mn-ea"/>
              </a:rPr>
              <a:t>1</a:t>
            </a:r>
            <a:r>
              <a:rPr lang="zh-CN" altLang="en-US" sz="900" dirty="0" smtClean="0">
                <a:solidFill>
                  <a:schemeClr val="tx1"/>
                </a:solidFill>
                <a:latin typeface="+mn-ea"/>
              </a:rPr>
              <a:t>）中国：</a:t>
            </a:r>
            <a:r>
              <a:rPr lang="en-US" altLang="zh-CN" sz="900" dirty="0" smtClean="0">
                <a:solidFill>
                  <a:schemeClr val="tx1"/>
                </a:solidFill>
                <a:latin typeface="+mn-ea"/>
              </a:rPr>
              <a:t>http://www.spb.gov.cn/xw/dtxx_15079/201801/t20180129_1479137.htm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dirty="0" smtClean="0">
                <a:solidFill>
                  <a:schemeClr val="tx1"/>
                </a:solidFill>
                <a:latin typeface="+mn-ea"/>
              </a:rPr>
              <a:t>2</a:t>
            </a:r>
            <a:r>
              <a:rPr lang="zh-CN" altLang="en-US" sz="900" dirty="0" smtClean="0">
                <a:solidFill>
                  <a:schemeClr val="tx1"/>
                </a:solidFill>
                <a:latin typeface="+mn-ea"/>
              </a:rPr>
              <a:t>）东南亚：</a:t>
            </a:r>
            <a:endParaRPr lang="en-US" altLang="zh-CN" sz="900" dirty="0" smtClean="0">
              <a:solidFill>
                <a:schemeClr val="tx1"/>
              </a:solidFill>
              <a:latin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dirty="0" smtClean="0">
                <a:solidFill>
                  <a:schemeClr val="tx1"/>
                </a:solidFill>
                <a:latin typeface="+mn-ea"/>
              </a:rPr>
              <a:t>3</a:t>
            </a:r>
            <a:r>
              <a:rPr lang="zh-CN" altLang="en-US" sz="900" dirty="0" smtClean="0">
                <a:solidFill>
                  <a:schemeClr val="tx1"/>
                </a:solidFill>
                <a:latin typeface="+mn-ea"/>
              </a:rPr>
              <a:t>）印度：</a:t>
            </a:r>
            <a:r>
              <a:rPr lang="en-US" altLang="zh-CN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hushan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til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说，现在印度电商市场包裹平均送达时间是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1-4.2</a:t>
            </a:r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天，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money.163.com/17/0525/10/CL9A8FHK002580S6.html</a:t>
            </a:r>
            <a:endParaRPr lang="en-US" altLang="zh-CN" sz="900" dirty="0" smtClean="0">
              <a:solidFill>
                <a:schemeClr val="tx1"/>
              </a:solidFill>
              <a:latin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dirty="0" smtClean="0">
                <a:solidFill>
                  <a:schemeClr val="tx1"/>
                </a:solidFill>
                <a:latin typeface="+mn-ea"/>
              </a:rPr>
              <a:t>4</a:t>
            </a:r>
            <a:r>
              <a:rPr lang="zh-CN" altLang="en-US" sz="900" dirty="0" smtClean="0">
                <a:solidFill>
                  <a:schemeClr val="tx1"/>
                </a:solidFill>
                <a:latin typeface="+mn-ea"/>
              </a:rPr>
              <a:t>）美国：</a:t>
            </a:r>
            <a:r>
              <a:rPr lang="en-US" altLang="zh-CN" sz="900" dirty="0" smtClean="0">
                <a:solidFill>
                  <a:schemeClr val="tx1"/>
                </a:solidFill>
                <a:latin typeface="+mn-ea"/>
              </a:rPr>
              <a:t>AT Kearney</a:t>
            </a:r>
            <a:r>
              <a:rPr lang="zh-CN" altLang="en-US" sz="900" dirty="0" smtClean="0">
                <a:solidFill>
                  <a:schemeClr val="tx1"/>
                </a:solidFill>
                <a:latin typeface="+mn-ea"/>
              </a:rPr>
              <a:t>报告</a:t>
            </a:r>
            <a:endParaRPr lang="en-US" altLang="zh-CN" sz="900" dirty="0" smtClean="0">
              <a:solidFill>
                <a:schemeClr val="tx1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114972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dirty="0" smtClean="0">
                <a:solidFill>
                  <a:srgbClr val="DA0B1C"/>
                </a:solidFill>
              </a:rPr>
              <a:t>跨境卡车</a:t>
            </a:r>
            <a:r>
              <a:rPr lang="zh-CN" altLang="en-US" sz="1200" dirty="0" smtClean="0"/>
              <a:t>通达香港、东南亚、哈沙克斯坦、俄罗斯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8793456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1300" dirty="0">
              <a:solidFill>
                <a:srgbClr val="606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CCE761-0DEC-4B19-85D2-E99B8D7BECCB}" type="slidenum">
              <a:rPr lang="zh-CN" altLang="en-US" smtClean="0">
                <a:solidFill>
                  <a:prstClr val="white"/>
                </a:solidFill>
                <a:latin typeface="等线" panose="020F0502020204030204"/>
              </a:rPr>
              <a:pPr>
                <a:defRPr/>
              </a:pPr>
              <a:t>38</a:t>
            </a:fld>
            <a:endParaRPr lang="en-US" altLang="zh-CN">
              <a:solidFill>
                <a:prstClr val="white"/>
              </a:solidFill>
              <a:latin typeface="等线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3514014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2DBEDC-BCA9-4DD5-9316-E3C25170580C}" type="slidenum">
              <a:rPr lang="zh-CN" altLang="en-US" smtClea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pPr/>
              <a:t>39</a:t>
            </a:fld>
            <a:endParaRPr lang="zh-CN" altLang="en-US">
              <a:solidFill>
                <a:prstClr val="black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463166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GMV</a:t>
            </a:r>
            <a:r>
              <a:rPr lang="zh-CN" altLang="en-US" dirty="0" smtClean="0"/>
              <a:t>：印尼去年</a:t>
            </a:r>
            <a:r>
              <a:rPr lang="en-US" altLang="zh-CN" dirty="0" smtClean="0"/>
              <a:t>12</a:t>
            </a:r>
            <a:r>
              <a:rPr lang="zh-CN" altLang="en-US" dirty="0" smtClean="0"/>
              <a:t>亿，今年目标</a:t>
            </a:r>
            <a:r>
              <a:rPr lang="en-US" altLang="zh-CN" dirty="0" smtClean="0"/>
              <a:t>40</a:t>
            </a:r>
            <a:r>
              <a:rPr lang="zh-CN" altLang="en-US" dirty="0" smtClean="0"/>
              <a:t>亿，明年计划</a:t>
            </a:r>
            <a:r>
              <a:rPr lang="en-US" altLang="zh-CN" dirty="0" smtClean="0"/>
              <a:t>10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0</a:t>
            </a:r>
            <a:r>
              <a:rPr lang="zh-CN" altLang="en-US" dirty="0" smtClean="0"/>
              <a:t>日</a:t>
            </a:r>
            <a:r>
              <a:rPr lang="en-US" altLang="zh-CN" dirty="0" smtClean="0"/>
              <a:t>—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6</a:t>
            </a:r>
            <a:r>
              <a:rPr lang="zh-CN" altLang="en-US" dirty="0" smtClean="0"/>
              <a:t>日 </a:t>
            </a:r>
            <a:r>
              <a:rPr lang="en-US" altLang="zh-CN" dirty="0" smtClean="0"/>
              <a:t>C</a:t>
            </a:r>
            <a:r>
              <a:rPr lang="zh-CN" altLang="en-US" dirty="0" smtClean="0"/>
              <a:t>轮，国际物流集团</a:t>
            </a:r>
            <a:r>
              <a:rPr lang="en-US" altLang="zh-CN" dirty="0" smtClean="0"/>
              <a:t>DPD</a:t>
            </a:r>
            <a:r>
              <a:rPr lang="zh-CN" altLang="en-US" dirty="0" smtClean="0"/>
              <a:t>领投，募得资金将会用于运营及技术研发。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7746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GMV</a:t>
            </a:r>
            <a:r>
              <a:rPr lang="zh-CN" altLang="en-US" dirty="0" smtClean="0"/>
              <a:t>：印尼去年</a:t>
            </a:r>
            <a:r>
              <a:rPr lang="en-US" altLang="zh-CN" dirty="0" smtClean="0"/>
              <a:t>12</a:t>
            </a:r>
            <a:r>
              <a:rPr lang="zh-CN" altLang="en-US" dirty="0" smtClean="0"/>
              <a:t>亿，今年目标</a:t>
            </a:r>
            <a:r>
              <a:rPr lang="en-US" altLang="zh-CN" dirty="0" smtClean="0"/>
              <a:t>40</a:t>
            </a:r>
            <a:r>
              <a:rPr lang="zh-CN" altLang="en-US" dirty="0" smtClean="0"/>
              <a:t>亿，明年计划</a:t>
            </a:r>
            <a:r>
              <a:rPr lang="en-US" altLang="zh-CN" dirty="0" smtClean="0"/>
              <a:t>10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0</a:t>
            </a:r>
            <a:r>
              <a:rPr lang="zh-CN" altLang="en-US" dirty="0" smtClean="0"/>
              <a:t>日</a:t>
            </a:r>
            <a:r>
              <a:rPr lang="en-US" altLang="zh-CN" dirty="0" smtClean="0"/>
              <a:t>—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6</a:t>
            </a:r>
            <a:r>
              <a:rPr lang="zh-CN" altLang="en-US" dirty="0" smtClean="0"/>
              <a:t>日 </a:t>
            </a:r>
            <a:r>
              <a:rPr lang="en-US" altLang="zh-CN" dirty="0" smtClean="0"/>
              <a:t>C</a:t>
            </a:r>
            <a:r>
              <a:rPr lang="zh-CN" altLang="en-US" dirty="0" smtClean="0"/>
              <a:t>轮，国际物流集团</a:t>
            </a:r>
            <a:r>
              <a:rPr lang="en-US" altLang="zh-CN" dirty="0" smtClean="0"/>
              <a:t>DPD</a:t>
            </a:r>
            <a:r>
              <a:rPr lang="zh-CN" altLang="en-US" dirty="0" smtClean="0"/>
              <a:t>领投，募得资金将会用于运营及技术研发。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1684757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GMV</a:t>
            </a:r>
            <a:r>
              <a:rPr lang="zh-CN" altLang="en-US" dirty="0" smtClean="0"/>
              <a:t>：印尼去年</a:t>
            </a:r>
            <a:r>
              <a:rPr lang="en-US" altLang="zh-CN" dirty="0" smtClean="0"/>
              <a:t>12</a:t>
            </a:r>
            <a:r>
              <a:rPr lang="zh-CN" altLang="en-US" dirty="0" smtClean="0"/>
              <a:t>亿，今年目标</a:t>
            </a:r>
            <a:r>
              <a:rPr lang="en-US" altLang="zh-CN" dirty="0" smtClean="0"/>
              <a:t>40</a:t>
            </a:r>
            <a:r>
              <a:rPr lang="zh-CN" altLang="en-US" dirty="0" smtClean="0"/>
              <a:t>亿，明年计划</a:t>
            </a:r>
            <a:r>
              <a:rPr lang="en-US" altLang="zh-CN" dirty="0" smtClean="0"/>
              <a:t>10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0</a:t>
            </a:r>
            <a:r>
              <a:rPr lang="zh-CN" altLang="en-US" dirty="0" smtClean="0"/>
              <a:t>日</a:t>
            </a:r>
            <a:r>
              <a:rPr lang="en-US" altLang="zh-CN" dirty="0" smtClean="0"/>
              <a:t>—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6</a:t>
            </a:r>
            <a:r>
              <a:rPr lang="zh-CN" altLang="en-US" dirty="0" smtClean="0"/>
              <a:t>日 </a:t>
            </a:r>
            <a:r>
              <a:rPr lang="en-US" altLang="zh-CN" dirty="0" smtClean="0"/>
              <a:t>C</a:t>
            </a:r>
            <a:r>
              <a:rPr lang="zh-CN" altLang="en-US" dirty="0" smtClean="0"/>
              <a:t>轮，国际物流集团</a:t>
            </a:r>
            <a:r>
              <a:rPr lang="en-US" altLang="zh-CN" dirty="0" smtClean="0"/>
              <a:t>DPD</a:t>
            </a:r>
            <a:r>
              <a:rPr lang="zh-CN" altLang="en-US" dirty="0" smtClean="0"/>
              <a:t>领投，募得资金将会用于运营及技术研发。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5512177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GMV</a:t>
            </a:r>
            <a:r>
              <a:rPr lang="zh-CN" altLang="en-US" dirty="0" smtClean="0"/>
              <a:t>：印尼去年</a:t>
            </a:r>
            <a:r>
              <a:rPr lang="en-US" altLang="zh-CN" dirty="0" smtClean="0"/>
              <a:t>12</a:t>
            </a:r>
            <a:r>
              <a:rPr lang="zh-CN" altLang="en-US" dirty="0" smtClean="0"/>
              <a:t>亿，今年目标</a:t>
            </a:r>
            <a:r>
              <a:rPr lang="en-US" altLang="zh-CN" dirty="0" smtClean="0"/>
              <a:t>40</a:t>
            </a:r>
            <a:r>
              <a:rPr lang="zh-CN" altLang="en-US" dirty="0" smtClean="0"/>
              <a:t>亿，明年计划</a:t>
            </a:r>
            <a:r>
              <a:rPr lang="en-US" altLang="zh-CN" dirty="0" smtClean="0"/>
              <a:t>10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0</a:t>
            </a:r>
            <a:r>
              <a:rPr lang="zh-CN" altLang="en-US" dirty="0" smtClean="0"/>
              <a:t>日</a:t>
            </a:r>
            <a:r>
              <a:rPr lang="en-US" altLang="zh-CN" dirty="0" smtClean="0"/>
              <a:t>—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6</a:t>
            </a:r>
            <a:r>
              <a:rPr lang="zh-CN" altLang="en-US" dirty="0" smtClean="0"/>
              <a:t>日 </a:t>
            </a:r>
            <a:r>
              <a:rPr lang="en-US" altLang="zh-CN" dirty="0" smtClean="0"/>
              <a:t>C</a:t>
            </a:r>
            <a:r>
              <a:rPr lang="zh-CN" altLang="en-US" dirty="0" smtClean="0"/>
              <a:t>轮，国际物流集团</a:t>
            </a:r>
            <a:r>
              <a:rPr lang="en-US" altLang="zh-CN" dirty="0" smtClean="0"/>
              <a:t>DPD</a:t>
            </a:r>
            <a:r>
              <a:rPr lang="zh-CN" altLang="en-US" dirty="0" smtClean="0"/>
              <a:t>领投，募得资金将会用于运营及技术研发。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14846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GMV</a:t>
            </a:r>
            <a:r>
              <a:rPr lang="zh-CN" altLang="en-US" dirty="0" smtClean="0"/>
              <a:t>：印尼去年</a:t>
            </a:r>
            <a:r>
              <a:rPr lang="en-US" altLang="zh-CN" dirty="0" smtClean="0"/>
              <a:t>12</a:t>
            </a:r>
            <a:r>
              <a:rPr lang="zh-CN" altLang="en-US" dirty="0" smtClean="0"/>
              <a:t>亿，今年目标</a:t>
            </a:r>
            <a:r>
              <a:rPr lang="en-US" altLang="zh-CN" dirty="0" smtClean="0"/>
              <a:t>40</a:t>
            </a:r>
            <a:r>
              <a:rPr lang="zh-CN" altLang="en-US" dirty="0" smtClean="0"/>
              <a:t>亿，明年计划</a:t>
            </a:r>
            <a:r>
              <a:rPr lang="en-US" altLang="zh-CN" dirty="0" smtClean="0"/>
              <a:t>10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0</a:t>
            </a:r>
            <a:r>
              <a:rPr lang="zh-CN" altLang="en-US" dirty="0" smtClean="0"/>
              <a:t>日</a:t>
            </a:r>
            <a:r>
              <a:rPr lang="en-US" altLang="zh-CN" dirty="0" smtClean="0"/>
              <a:t>—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6</a:t>
            </a:r>
            <a:r>
              <a:rPr lang="zh-CN" altLang="en-US" dirty="0" smtClean="0"/>
              <a:t>日 </a:t>
            </a:r>
            <a:r>
              <a:rPr lang="en-US" altLang="zh-CN" dirty="0" smtClean="0"/>
              <a:t>C</a:t>
            </a:r>
            <a:r>
              <a:rPr lang="zh-CN" altLang="en-US" dirty="0" smtClean="0"/>
              <a:t>轮，国际物流集团</a:t>
            </a:r>
            <a:r>
              <a:rPr lang="en-US" altLang="zh-CN" dirty="0" smtClean="0"/>
              <a:t>DPD</a:t>
            </a:r>
            <a:r>
              <a:rPr lang="zh-CN" altLang="en-US" dirty="0" smtClean="0"/>
              <a:t>领投，募得资金将会用于运营及技术研发。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0698940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GMV</a:t>
            </a:r>
            <a:r>
              <a:rPr lang="zh-CN" altLang="en-US" dirty="0" smtClean="0"/>
              <a:t>：印尼去年</a:t>
            </a:r>
            <a:r>
              <a:rPr lang="en-US" altLang="zh-CN" dirty="0" smtClean="0"/>
              <a:t>12</a:t>
            </a:r>
            <a:r>
              <a:rPr lang="zh-CN" altLang="en-US" dirty="0" smtClean="0"/>
              <a:t>亿，今年目标</a:t>
            </a:r>
            <a:r>
              <a:rPr lang="en-US" altLang="zh-CN" dirty="0" smtClean="0"/>
              <a:t>40</a:t>
            </a:r>
            <a:r>
              <a:rPr lang="zh-CN" altLang="en-US" dirty="0" smtClean="0"/>
              <a:t>亿，明年计划</a:t>
            </a:r>
            <a:r>
              <a:rPr lang="en-US" altLang="zh-CN" dirty="0" smtClean="0"/>
              <a:t>100</a:t>
            </a:r>
            <a:r>
              <a:rPr lang="zh-CN" altLang="en-US" dirty="0" smtClean="0"/>
              <a:t>亿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2018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0</a:t>
            </a:r>
            <a:r>
              <a:rPr lang="zh-CN" altLang="en-US" dirty="0" smtClean="0"/>
              <a:t>日</a:t>
            </a:r>
            <a:r>
              <a:rPr lang="en-US" altLang="zh-CN" dirty="0" smtClean="0"/>
              <a:t>—1</a:t>
            </a:r>
            <a:r>
              <a:rPr lang="zh-CN" altLang="en-US" dirty="0" smtClean="0"/>
              <a:t>月</a:t>
            </a:r>
            <a:r>
              <a:rPr lang="en-US" altLang="zh-CN" dirty="0" smtClean="0"/>
              <a:t>26</a:t>
            </a:r>
            <a:r>
              <a:rPr lang="zh-CN" altLang="en-US" dirty="0" smtClean="0"/>
              <a:t>日 </a:t>
            </a:r>
            <a:r>
              <a:rPr lang="en-US" altLang="zh-CN" dirty="0" smtClean="0"/>
              <a:t>C</a:t>
            </a:r>
            <a:r>
              <a:rPr lang="zh-CN" altLang="en-US" dirty="0" smtClean="0"/>
              <a:t>轮，国际物流集团</a:t>
            </a:r>
            <a:r>
              <a:rPr lang="en-US" altLang="zh-CN" dirty="0" smtClean="0"/>
              <a:t>DPD</a:t>
            </a:r>
            <a:r>
              <a:rPr lang="zh-CN" altLang="en-US" dirty="0" smtClean="0"/>
              <a:t>领投，募得资金将会用于运营及技术研发。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9087689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培育新动能要从深化供给侧结构性改革入手。要继续推动实体经济优化结构，加快发展先进制造业、现代服务业，推动互联网、大数据、人工智能和实体经济深度融合。加快实施“互联网</a:t>
            </a:r>
            <a:r>
              <a:rPr lang="en-US" altLang="zh-CN" dirty="0" smtClean="0"/>
              <a:t>+”</a:t>
            </a:r>
            <a:r>
              <a:rPr lang="zh-CN" altLang="en-US" dirty="0" smtClean="0"/>
              <a:t>行动，营造创新创业发展良好环境，促进新增长点不断培育、新动能不断壮大。推动传统产业优化升级，促进我国产业迈向全球价值链中高端。坚持去产能、去库存、去杠杆、降成本、补短板，优化存量资源配置，扩大优质增量供给，实现供需动态平衡。培育新动能要着力加强创新能力建设。要加强国家创新体系建设，建立以企业为主体、市场为导向、产学研深度融合的技术创新体系。进一步强化基础研究和应用基础研究，拓展实施国家重大科技项目，努力实现重大技术突破和颠覆性创新。积极倡导创新文化，强化知识产权创造、保护、运用，培养造就一大批具有国际水平的科技人才和高水平创新团队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2DBEDC-BCA9-4DD5-9316-E3C25170580C}" type="slidenum">
              <a:rPr lang="zh-CN" altLang="en-US" smtClean="0">
                <a:solidFill>
                  <a:prstClr val="black"/>
                </a:solidFill>
                <a:latin typeface="Calibri" panose="020F0502020204030204"/>
                <a:ea typeface="宋体" panose="02010600030101010101" pitchFamily="2" charset="-122"/>
              </a:rPr>
              <a:pPr/>
              <a:t>9</a:t>
            </a:fld>
            <a:endParaRPr lang="zh-CN" altLang="en-US">
              <a:solidFill>
                <a:prstClr val="black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940468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 smtClean="0">
                <a:solidFill>
                  <a:srgbClr val="DA0B1C"/>
                </a:solidFill>
                <a:latin typeface="+mn-ea"/>
              </a:rPr>
              <a:t>通过信赖和快速的物流服务，连接全球商品和消费者</a:t>
            </a:r>
            <a:endParaRPr lang="zh-CN" altLang="en-US" sz="1400" b="1" dirty="0" smtClean="0">
              <a:solidFill>
                <a:srgbClr val="DA0B1C"/>
              </a:solidFill>
              <a:latin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2880B2-1450-4DAC-85F8-2602CFB71ABC}" type="slidenum">
              <a:rPr lang="zh-CN" altLang="en-US" smtClean="0">
                <a:solidFill>
                  <a:prstClr val="black"/>
                </a:solidFill>
              </a:rPr>
              <a:pPr/>
              <a:t>2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1027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6204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205430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458298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692284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387309" y="308102"/>
            <a:ext cx="1647363" cy="1218235"/>
          </a:xfrm>
          <a:prstGeom prst="rect">
            <a:avLst/>
          </a:prstGeom>
          <a:solidFill>
            <a:srgbClr val="CB1C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4" rIns="91422" bIns="45714" rtlCol="0" anchor="ctr"/>
          <a:lstStyle/>
          <a:p>
            <a:pPr algn="ctr" defTabSz="914150"/>
            <a:endParaRPr kumimoji="1" lang="zh-CN" altLang="en-US" sz="1900">
              <a:solidFill>
                <a:prstClr val="white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707" y="308103"/>
            <a:ext cx="158432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14247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bg>
      <p:bgPr>
        <a:pattFill prst="ltUpDiag">
          <a:fgClr>
            <a:schemeClr val="accent1">
              <a:lumMod val="85000"/>
            </a:schemeClr>
          </a:fgClr>
          <a:bgClr>
            <a:schemeClr val="accent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" y="0"/>
            <a:ext cx="12189587" cy="6858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4913" y="240115"/>
            <a:ext cx="1734299" cy="390505"/>
          </a:xfrm>
          <a:prstGeom prst="rect">
            <a:avLst/>
          </a:prstGeom>
        </p:spPr>
      </p:pic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B8B5C481-F9C0-4110-B9D9-B7B89C4763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464738"/>
            <a:ext cx="2844800" cy="366183"/>
          </a:xfrm>
          <a:prstGeom prst="rect">
            <a:avLst/>
          </a:prstGeom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solidFill>
                  <a:srgbClr val="898989"/>
                </a:solidFill>
                <a:latin typeface="+mn-ea"/>
                <a:ea typeface="+mn-ea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859A1F2F-D341-4569-AE20-A31005B2A960}" type="slidenum">
              <a:rPr lang="zh-CN" altLang="en-US" smtClean="0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277408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bg>
      <p:bgPr>
        <a:pattFill prst="ltUpDiag">
          <a:fgClr>
            <a:schemeClr val="accent1">
              <a:lumMod val="85000"/>
            </a:schemeClr>
          </a:fgClr>
          <a:bgClr>
            <a:schemeClr val="accent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" y="0"/>
            <a:ext cx="12189587" cy="6858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7312" y="214724"/>
            <a:ext cx="1734299" cy="390505"/>
          </a:xfrm>
          <a:prstGeom prst="rect">
            <a:avLst/>
          </a:prstGeom>
        </p:spPr>
      </p:pic>
      <p:sp>
        <p:nvSpPr>
          <p:cNvPr id="7" name="标题 6">
            <a:extLst>
              <a:ext uri="{FF2B5EF4-FFF2-40B4-BE49-F238E27FC236}">
                <a16:creationId xmlns:a16="http://schemas.microsoft.com/office/drawing/2014/main" id="{3C8CF462-05A7-4D10-9B91-B309D36B1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431" y="98379"/>
            <a:ext cx="10972800" cy="623191"/>
          </a:xfrm>
          <a:prstGeom prst="rect">
            <a:avLst/>
          </a:prstGeom>
        </p:spPr>
        <p:txBody>
          <a:bodyPr lIns="91430" tIns="45718" rIns="91430" bIns="45718"/>
          <a:lstStyle>
            <a:lvl1pPr algn="l">
              <a:defRPr sz="27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3721727-04FE-4A6E-89E3-EA5B9AB6FD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473358"/>
            <a:ext cx="2844800" cy="366183"/>
          </a:xfrm>
          <a:prstGeom prst="rect">
            <a:avLst/>
          </a:prstGeom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solidFill>
                  <a:srgbClr val="898989"/>
                </a:solidFill>
                <a:latin typeface="+mn-ea"/>
                <a:ea typeface="+mn-ea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859A1F2F-D341-4569-AE20-A31005B2A960}" type="slidenum">
              <a:rPr lang="zh-CN" altLang="en-US" smtClean="0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93720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387309" y="308102"/>
            <a:ext cx="1647363" cy="1218235"/>
          </a:xfrm>
          <a:prstGeom prst="rect">
            <a:avLst/>
          </a:prstGeom>
          <a:solidFill>
            <a:srgbClr val="CB1C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4" rIns="91422" bIns="45714" rtlCol="0" anchor="ctr"/>
          <a:lstStyle/>
          <a:p>
            <a:pPr algn="ctr" defTabSz="914150"/>
            <a:endParaRPr kumimoji="1" lang="zh-CN" altLang="en-US" sz="1900">
              <a:solidFill>
                <a:prstClr val="white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707" y="308103"/>
            <a:ext cx="158432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14042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bg>
      <p:bgPr>
        <a:pattFill prst="ltUpDiag">
          <a:fgClr>
            <a:schemeClr val="accent1">
              <a:lumMod val="85000"/>
            </a:schemeClr>
          </a:fgClr>
          <a:bgClr>
            <a:schemeClr val="accent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" y="0"/>
            <a:ext cx="12189587" cy="6858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4913" y="240115"/>
            <a:ext cx="1734299" cy="390505"/>
          </a:xfrm>
          <a:prstGeom prst="rect">
            <a:avLst/>
          </a:prstGeom>
        </p:spPr>
      </p:pic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B8B5C481-F9C0-4110-B9D9-B7B89C4763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464738"/>
            <a:ext cx="2844800" cy="366183"/>
          </a:xfrm>
          <a:prstGeom prst="rect">
            <a:avLst/>
          </a:prstGeom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solidFill>
                  <a:srgbClr val="898989"/>
                </a:solidFill>
                <a:latin typeface="+mn-ea"/>
                <a:ea typeface="+mn-ea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859A1F2F-D341-4569-AE20-A31005B2A960}" type="slidenum">
              <a:rPr lang="zh-CN" altLang="en-US" smtClean="0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618080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bg>
      <p:bgPr>
        <a:pattFill prst="ltUpDiag">
          <a:fgClr>
            <a:schemeClr val="accent1">
              <a:lumMod val="85000"/>
            </a:schemeClr>
          </a:fgClr>
          <a:bgClr>
            <a:schemeClr val="accent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" y="0"/>
            <a:ext cx="12189587" cy="6858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7312" y="214724"/>
            <a:ext cx="1734299" cy="390505"/>
          </a:xfrm>
          <a:prstGeom prst="rect">
            <a:avLst/>
          </a:prstGeom>
        </p:spPr>
      </p:pic>
      <p:sp>
        <p:nvSpPr>
          <p:cNvPr id="7" name="标题 6">
            <a:extLst>
              <a:ext uri="{FF2B5EF4-FFF2-40B4-BE49-F238E27FC236}">
                <a16:creationId xmlns:a16="http://schemas.microsoft.com/office/drawing/2014/main" id="{3C8CF462-05A7-4D10-9B91-B309D36B1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431" y="98379"/>
            <a:ext cx="10972800" cy="623191"/>
          </a:xfrm>
          <a:prstGeom prst="rect">
            <a:avLst/>
          </a:prstGeom>
        </p:spPr>
        <p:txBody>
          <a:bodyPr lIns="91430" tIns="45718" rIns="91430" bIns="45718"/>
          <a:lstStyle>
            <a:lvl1pPr algn="l">
              <a:defRPr sz="27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3721727-04FE-4A6E-89E3-EA5B9AB6FD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473358"/>
            <a:ext cx="2844800" cy="366183"/>
          </a:xfrm>
          <a:prstGeom prst="rect">
            <a:avLst/>
          </a:prstGeom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solidFill>
                  <a:srgbClr val="898989"/>
                </a:solidFill>
                <a:latin typeface="+mn-ea"/>
                <a:ea typeface="+mn-ea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859A1F2F-D341-4569-AE20-A31005B2A960}" type="slidenum">
              <a:rPr lang="zh-CN" altLang="en-US" smtClean="0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5376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5842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431372" y="0"/>
            <a:ext cx="11379629" cy="8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718" rIns="91430" bIns="45718" anchor="ctr"/>
          <a:lstStyle>
            <a:lvl1pPr>
              <a:defRPr lang="zh-CN" altLang="en-US" sz="2400" b="1" kern="1200" dirty="0">
                <a:solidFill>
                  <a:srgbClr val="C816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103446" y="6477629"/>
            <a:ext cx="4800532" cy="288000"/>
          </a:xfrm>
          <a:prstGeom prst="rect">
            <a:avLst/>
          </a:prstGeom>
        </p:spPr>
        <p:txBody>
          <a:bodyPr lIns="89990" tIns="45718" rIns="91430" bIns="45718" anchor="ctr"/>
          <a:lstStyle>
            <a:lvl1pPr marL="0" indent="0" algn="ctr">
              <a:lnSpc>
                <a:spcPct val="100000"/>
              </a:lnSpc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添加注释</a:t>
            </a: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1" hasCustomPrompt="1"/>
          </p:nvPr>
        </p:nvSpPr>
        <p:spPr>
          <a:xfrm>
            <a:off x="6261108" y="6477629"/>
            <a:ext cx="4923465" cy="288000"/>
          </a:xfrm>
          <a:prstGeom prst="rect">
            <a:avLst/>
          </a:prstGeom>
        </p:spPr>
        <p:txBody>
          <a:bodyPr lIns="89990" tIns="45718" rIns="91430" bIns="45718" anchor="ctr"/>
          <a:lstStyle>
            <a:lvl1pPr marL="0" indent="0" algn="ctr">
              <a:lnSpc>
                <a:spcPct val="100000"/>
              </a:lnSpc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添加数据来源</a:t>
            </a:r>
          </a:p>
        </p:txBody>
      </p:sp>
    </p:spTree>
    <p:extLst>
      <p:ext uri="{BB962C8B-B14F-4D97-AF65-F5344CB8AC3E}">
        <p14:creationId xmlns:p14="http://schemas.microsoft.com/office/powerpoint/2010/main" val="397828354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387309" y="308102"/>
            <a:ext cx="1647363" cy="1218235"/>
          </a:xfrm>
          <a:prstGeom prst="rect">
            <a:avLst/>
          </a:prstGeom>
          <a:solidFill>
            <a:srgbClr val="CB1C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4" rIns="91422" bIns="45714" rtlCol="0" anchor="ctr"/>
          <a:lstStyle/>
          <a:p>
            <a:pPr algn="ctr" defTabSz="914150"/>
            <a:endParaRPr kumimoji="1" lang="zh-CN" altLang="en-US" sz="1900">
              <a:solidFill>
                <a:prstClr val="white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4707" y="308103"/>
            <a:ext cx="1584325" cy="40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2250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bg>
      <p:bgPr>
        <a:pattFill prst="ltUpDiag">
          <a:fgClr>
            <a:schemeClr val="accent1">
              <a:lumMod val="85000"/>
            </a:schemeClr>
          </a:fgClr>
          <a:bgClr>
            <a:schemeClr val="accent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" y="0"/>
            <a:ext cx="12189587" cy="6858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4913" y="240115"/>
            <a:ext cx="1734299" cy="390505"/>
          </a:xfrm>
          <a:prstGeom prst="rect">
            <a:avLst/>
          </a:prstGeom>
        </p:spPr>
      </p:pic>
      <p:sp>
        <p:nvSpPr>
          <p:cNvPr id="5" name="灯片编号占位符 5">
            <a:extLst>
              <a:ext uri="{FF2B5EF4-FFF2-40B4-BE49-F238E27FC236}">
                <a16:creationId xmlns:a16="http://schemas.microsoft.com/office/drawing/2014/main" id="{B8B5C481-F9C0-4110-B9D9-B7B89C4763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464738"/>
            <a:ext cx="2844800" cy="366183"/>
          </a:xfrm>
          <a:prstGeom prst="rect">
            <a:avLst/>
          </a:prstGeom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solidFill>
                  <a:srgbClr val="898989"/>
                </a:solidFill>
                <a:latin typeface="+mn-ea"/>
                <a:ea typeface="+mn-ea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859A1F2F-D341-4569-AE20-A31005B2A960}" type="slidenum">
              <a:rPr lang="zh-CN" altLang="en-US" smtClean="0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270496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bg>
      <p:bgPr>
        <a:pattFill prst="ltUpDiag">
          <a:fgClr>
            <a:schemeClr val="accent1">
              <a:lumMod val="85000"/>
            </a:schemeClr>
          </a:fgClr>
          <a:bgClr>
            <a:schemeClr val="accent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图片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" y="0"/>
            <a:ext cx="12189587" cy="68580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7312" y="214724"/>
            <a:ext cx="1734299" cy="390505"/>
          </a:xfrm>
          <a:prstGeom prst="rect">
            <a:avLst/>
          </a:prstGeom>
        </p:spPr>
      </p:pic>
      <p:sp>
        <p:nvSpPr>
          <p:cNvPr id="7" name="标题 6">
            <a:extLst>
              <a:ext uri="{FF2B5EF4-FFF2-40B4-BE49-F238E27FC236}">
                <a16:creationId xmlns:a16="http://schemas.microsoft.com/office/drawing/2014/main" id="{3C8CF462-05A7-4D10-9B91-B309D36B1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431" y="98379"/>
            <a:ext cx="10972800" cy="623191"/>
          </a:xfrm>
          <a:prstGeom prst="rect">
            <a:avLst/>
          </a:prstGeom>
        </p:spPr>
        <p:txBody>
          <a:bodyPr lIns="91430" tIns="45718" rIns="91430" bIns="45718"/>
          <a:lstStyle>
            <a:lvl1pPr algn="l">
              <a:defRPr sz="27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3721727-04FE-4A6E-89E3-EA5B9AB6FD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473358"/>
            <a:ext cx="2844800" cy="366183"/>
          </a:xfrm>
          <a:prstGeom prst="rect">
            <a:avLst/>
          </a:prstGeom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solidFill>
                  <a:srgbClr val="898989"/>
                </a:solidFill>
                <a:latin typeface="+mn-ea"/>
                <a:ea typeface="+mn-ea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859A1F2F-D341-4569-AE20-A31005B2A960}" type="slidenum">
              <a:rPr lang="zh-CN" altLang="en-US" smtClean="0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54016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301717" y="451316"/>
            <a:ext cx="10514496" cy="972997"/>
          </a:xfrm>
          <a:prstGeom prst="rect">
            <a:avLst/>
          </a:prstGeom>
        </p:spPr>
        <p:txBody>
          <a:bodyPr lIns="0" tIns="132959" rIns="265921" bIns="132959" anchor="ctr"/>
          <a:lstStyle>
            <a:lvl1pPr>
              <a:defRPr sz="29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2742" y="571601"/>
            <a:ext cx="1398953" cy="732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7915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44" userDrawn="1">
          <p15:clr>
            <a:srgbClr val="FBAE40"/>
          </p15:clr>
        </p15:guide>
        <p15:guide id="2" pos="73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页_3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97241" y="719643"/>
            <a:ext cx="10995691" cy="651957"/>
          </a:xfrm>
          <a:prstGeom prst="rect">
            <a:avLst/>
          </a:prstGeom>
        </p:spPr>
        <p:txBody>
          <a:bodyPr lIns="121912" tIns="60956" rIns="121912" bIns="60956" anchor="t"/>
          <a:lstStyle>
            <a:lvl1pPr marL="0" indent="0" algn="l">
              <a:lnSpc>
                <a:spcPct val="120000"/>
              </a:lnSpc>
              <a:buNone/>
              <a:defRPr sz="2800" b="0" spc="0">
                <a:solidFill>
                  <a:srgbClr val="CA352D"/>
                </a:solidFill>
                <a:latin typeface="+mj-ea"/>
                <a:ea typeface="+mj-ea"/>
                <a:cs typeface="Segoe UI" charset="0"/>
              </a:defRPr>
            </a:lvl1pPr>
            <a:lvl2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endParaRPr kumimoji="1" lang="zh-CN" altLang="en-US" dirty="0"/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97241" y="346611"/>
            <a:ext cx="10995691" cy="369332"/>
          </a:xfrm>
          <a:prstGeom prst="rect">
            <a:avLst/>
          </a:prstGeom>
          <a:noFill/>
        </p:spPr>
        <p:txBody>
          <a:bodyPr wrap="square" lIns="121912" tIns="60956" rIns="121912" bIns="60956"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sz="1600" spc="3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Segoe UI" charset="0"/>
              </a:defRPr>
            </a:lvl1pPr>
            <a:lvl2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kumimoji="1" lang="en-US" altLang="zh-CN" dirty="0"/>
              <a:t>Click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dd</a:t>
            </a:r>
            <a:r>
              <a:rPr kumimoji="1" lang="zh-CN" altLang="en-US" dirty="0"/>
              <a:t> </a:t>
            </a:r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endParaRPr kumimoji="1"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1CD7A94-1BFC-4411-8688-475D2691E0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88090" y="205295"/>
            <a:ext cx="2006673" cy="65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3582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内容页_3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97241" y="719643"/>
            <a:ext cx="10995691" cy="651957"/>
          </a:xfrm>
          <a:prstGeom prst="rect">
            <a:avLst/>
          </a:prstGeom>
        </p:spPr>
        <p:txBody>
          <a:bodyPr lIns="121912" tIns="60956" rIns="121912" bIns="60956" anchor="t"/>
          <a:lstStyle>
            <a:lvl1pPr marL="0" indent="0" algn="l">
              <a:lnSpc>
                <a:spcPct val="120000"/>
              </a:lnSpc>
              <a:buNone/>
              <a:defRPr sz="2800" b="0" spc="0">
                <a:solidFill>
                  <a:srgbClr val="CA352D"/>
                </a:solidFill>
                <a:latin typeface="+mj-ea"/>
                <a:ea typeface="+mj-ea"/>
                <a:cs typeface="Segoe UI" charset="0"/>
              </a:defRPr>
            </a:lvl1pPr>
            <a:lvl2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endParaRPr kumimoji="1" lang="zh-CN" altLang="en-US" dirty="0"/>
          </a:p>
        </p:txBody>
      </p:sp>
      <p:sp>
        <p:nvSpPr>
          <p:cNvPr id="11" name="文本占位符 4"/>
          <p:cNvSpPr>
            <a:spLocks noGrp="1"/>
          </p:cNvSpPr>
          <p:nvPr>
            <p:ph type="body" sz="quarter" idx="12" hasCustomPrompt="1"/>
          </p:nvPr>
        </p:nvSpPr>
        <p:spPr>
          <a:xfrm>
            <a:off x="397241" y="346611"/>
            <a:ext cx="10995691" cy="369332"/>
          </a:xfrm>
          <a:prstGeom prst="rect">
            <a:avLst/>
          </a:prstGeom>
          <a:noFill/>
        </p:spPr>
        <p:txBody>
          <a:bodyPr wrap="square" lIns="121912" tIns="60956" rIns="121912" bIns="60956" anchor="ctr">
            <a:spAutoFit/>
          </a:bodyPr>
          <a:lstStyle>
            <a:lvl1pPr marL="0" indent="0" algn="l">
              <a:lnSpc>
                <a:spcPct val="100000"/>
              </a:lnSpc>
              <a:buNone/>
              <a:defRPr sz="1600" spc="30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Segoe UI" charset="0"/>
              </a:defRPr>
            </a:lvl1pPr>
            <a:lvl2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kumimoji="1" lang="en-US" altLang="zh-CN" dirty="0"/>
              <a:t>Click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r>
              <a:rPr kumimoji="1" lang="zh-CN" altLang="en-US" dirty="0"/>
              <a:t> </a:t>
            </a:r>
            <a:r>
              <a:rPr kumimoji="1" lang="en-US" altLang="zh-CN" dirty="0"/>
              <a:t>To</a:t>
            </a:r>
            <a:r>
              <a:rPr kumimoji="1" lang="zh-CN" altLang="en-US" dirty="0"/>
              <a:t> </a:t>
            </a:r>
            <a:r>
              <a:rPr kumimoji="1" lang="en-US" altLang="zh-CN" dirty="0"/>
              <a:t>Add</a:t>
            </a:r>
            <a:r>
              <a:rPr kumimoji="1" lang="zh-CN" altLang="en-US" dirty="0"/>
              <a:t> </a:t>
            </a:r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397241" y="1383958"/>
            <a:ext cx="10995691" cy="5103343"/>
          </a:xfrm>
          <a:prstGeom prst="rect">
            <a:avLst/>
          </a:prstGeom>
        </p:spPr>
        <p:txBody>
          <a:bodyPr lIns="121912" tIns="60956" rIns="121912" bIns="60956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kumimoji="1" lang="zh-CN" altLang="en-US" dirty="0"/>
              <a:t>单击此处编辑母版文本样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9E83F3E1-AF96-4044-BE73-C15540A4DC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88090" y="205295"/>
            <a:ext cx="2006673" cy="65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320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内容页_3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97241" y="435436"/>
            <a:ext cx="10995691" cy="651957"/>
          </a:xfrm>
          <a:prstGeom prst="rect">
            <a:avLst/>
          </a:prstGeom>
        </p:spPr>
        <p:txBody>
          <a:bodyPr lIns="121912" tIns="60956" rIns="121912" bIns="60956" anchor="t"/>
          <a:lstStyle>
            <a:lvl1pPr marL="0" indent="0" algn="l">
              <a:lnSpc>
                <a:spcPct val="120000"/>
              </a:lnSpc>
              <a:buNone/>
              <a:defRPr sz="2800" b="0" spc="0">
                <a:solidFill>
                  <a:srgbClr val="CA352D"/>
                </a:solidFill>
                <a:latin typeface="+mj-ea"/>
                <a:ea typeface="+mj-ea"/>
                <a:cs typeface="Segoe UI" charset="0"/>
              </a:defRPr>
            </a:lvl1pPr>
            <a:lvl2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endParaRPr kumimoji="1"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8B82CF50-B300-4752-A0B7-4D3A337CA0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88090" y="205295"/>
            <a:ext cx="2006673" cy="65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8716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内容页_3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占位符 4"/>
          <p:cNvSpPr>
            <a:spLocks noGrp="1"/>
          </p:cNvSpPr>
          <p:nvPr>
            <p:ph type="body" sz="quarter" idx="10" hasCustomPrompt="1"/>
          </p:nvPr>
        </p:nvSpPr>
        <p:spPr>
          <a:xfrm>
            <a:off x="397241" y="435436"/>
            <a:ext cx="10995691" cy="651957"/>
          </a:xfrm>
          <a:prstGeom prst="rect">
            <a:avLst/>
          </a:prstGeom>
        </p:spPr>
        <p:txBody>
          <a:bodyPr lIns="121912" tIns="60956" rIns="121912" bIns="60956" anchor="t"/>
          <a:lstStyle>
            <a:lvl1pPr marL="0" indent="0" algn="l">
              <a:lnSpc>
                <a:spcPct val="120000"/>
              </a:lnSpc>
              <a:buNone/>
              <a:defRPr sz="2800" b="0" spc="0">
                <a:solidFill>
                  <a:srgbClr val="CA352D"/>
                </a:solidFill>
                <a:latin typeface="+mj-ea"/>
                <a:ea typeface="+mj-ea"/>
                <a:cs typeface="Segoe UI" charset="0"/>
              </a:defRPr>
            </a:lvl1pPr>
            <a:lvl2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ctr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kumimoji="1" lang="en-US" altLang="zh-CN" dirty="0"/>
              <a:t>Your</a:t>
            </a:r>
            <a:r>
              <a:rPr kumimoji="1" lang="zh-CN" altLang="en-US" dirty="0"/>
              <a:t> </a:t>
            </a:r>
            <a:r>
              <a:rPr kumimoji="1" lang="en-US" altLang="zh-CN" dirty="0"/>
              <a:t>Title</a:t>
            </a:r>
            <a:r>
              <a:rPr kumimoji="1" lang="zh-CN" altLang="en-US" dirty="0"/>
              <a:t> </a:t>
            </a:r>
            <a:r>
              <a:rPr kumimoji="1" lang="en-US" altLang="zh-CN" dirty="0"/>
              <a:t>here</a:t>
            </a:r>
            <a:endParaRPr kumimoji="1" lang="zh-CN" altLang="en-US" dirty="0"/>
          </a:p>
        </p:txBody>
      </p:sp>
      <p:sp>
        <p:nvSpPr>
          <p:cNvPr id="6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397241" y="1087396"/>
            <a:ext cx="10995691" cy="5399905"/>
          </a:xfrm>
          <a:prstGeom prst="rect">
            <a:avLst/>
          </a:prstGeom>
        </p:spPr>
        <p:txBody>
          <a:bodyPr lIns="121912" tIns="60956" rIns="121912" bIns="60956"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kumimoji="1" lang="zh-CN" altLang="en-US" dirty="0"/>
              <a:t>单击此处编辑母版</a:t>
            </a:r>
            <a:r>
              <a:rPr kumimoji="1" lang="zh-CN" altLang="en-US"/>
              <a:t>文本样式</a:t>
            </a:r>
            <a:endParaRPr kumimoji="1" lang="zh-CN" altLang="en-US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A2E3FE08-4C8D-4714-A739-FF3B10DAE2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88090" y="205295"/>
            <a:ext cx="2006673" cy="65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1770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容页_3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71775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431161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719404" y="35201"/>
            <a:ext cx="9025003" cy="8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718" rIns="91430" bIns="45718" anchor="ctr"/>
          <a:lstStyle>
            <a:lvl1pPr>
              <a:defRPr lang="zh-CN" altLang="en-US" sz="2400" b="0" kern="1200" dirty="0">
                <a:solidFill>
                  <a:schemeClr val="accent1"/>
                </a:solidFill>
                <a:latin typeface="+mn-ea"/>
                <a:ea typeface="+mn-ea"/>
                <a:cs typeface="+mn-cs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570404" y="6464929"/>
            <a:ext cx="3661503" cy="336000"/>
          </a:xfrm>
          <a:prstGeom prst="rect">
            <a:avLst/>
          </a:prstGeom>
        </p:spPr>
        <p:txBody>
          <a:bodyPr lIns="0" tIns="45718" rIns="91430" bIns="45718"/>
          <a:lstStyle>
            <a:lvl1pPr marL="0" indent="0">
              <a:lnSpc>
                <a:spcPct val="100000"/>
              </a:lnSpc>
              <a:buNone/>
              <a:defRPr sz="1300" b="0">
                <a:solidFill>
                  <a:srgbClr val="A6A6A6"/>
                </a:solidFill>
              </a:defRPr>
            </a:lvl1pPr>
          </a:lstStyle>
          <a:p>
            <a:pPr lvl="0"/>
            <a:r>
              <a:rPr lang="zh-CN" altLang="en-US" dirty="0"/>
              <a:t>单击此处添加注释</a:t>
            </a: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6464929"/>
            <a:ext cx="4512501" cy="336000"/>
          </a:xfrm>
          <a:prstGeom prst="rect">
            <a:avLst/>
          </a:prstGeom>
        </p:spPr>
        <p:txBody>
          <a:bodyPr lIns="0" tIns="45718" rIns="91430" bIns="45718"/>
          <a:lstStyle>
            <a:lvl1pPr marL="0" indent="0" algn="r">
              <a:lnSpc>
                <a:spcPct val="100000"/>
              </a:lnSpc>
              <a:buNone/>
              <a:defRPr sz="1300" b="0">
                <a:solidFill>
                  <a:srgbClr val="A6A6A6"/>
                </a:solidFill>
              </a:defRPr>
            </a:lvl1pPr>
          </a:lstStyle>
          <a:p>
            <a:pPr lvl="0"/>
            <a:r>
              <a:rPr lang="zh-CN" altLang="en-US" dirty="0"/>
              <a:t>单击此处添加数据来源</a:t>
            </a:r>
          </a:p>
        </p:txBody>
      </p:sp>
      <p:cxnSp>
        <p:nvCxnSpPr>
          <p:cNvPr id="10" name="直接连接符 9"/>
          <p:cNvCxnSpPr/>
          <p:nvPr userDrawn="1"/>
        </p:nvCxnSpPr>
        <p:spPr>
          <a:xfrm>
            <a:off x="455821" y="740701"/>
            <a:ext cx="1895763" cy="0"/>
          </a:xfrm>
          <a:prstGeom prst="line">
            <a:avLst/>
          </a:prstGeom>
          <a:ln w="15875">
            <a:gradFill>
              <a:gsLst>
                <a:gs pos="0">
                  <a:schemeClr val="accent1"/>
                </a:gs>
                <a:gs pos="42000">
                  <a:schemeClr val="accent1">
                    <a:lumMod val="60000"/>
                    <a:lumOff val="40000"/>
                  </a:schemeClr>
                </a:gs>
                <a:gs pos="72000">
                  <a:schemeClr val="accent1">
                    <a:lumMod val="40000"/>
                    <a:lumOff val="6000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 userDrawn="1"/>
        </p:nvCxnSpPr>
        <p:spPr>
          <a:xfrm rot="16200000">
            <a:off x="365984" y="582847"/>
            <a:ext cx="480000" cy="0"/>
          </a:xfrm>
          <a:prstGeom prst="line">
            <a:avLst/>
          </a:prstGeom>
          <a:ln w="15875">
            <a:gradFill>
              <a:gsLst>
                <a:gs pos="0">
                  <a:schemeClr val="accent1"/>
                </a:gs>
                <a:gs pos="42000">
                  <a:schemeClr val="accent1">
                    <a:lumMod val="60000"/>
                    <a:lumOff val="40000"/>
                  </a:schemeClr>
                </a:gs>
                <a:gs pos="72000">
                  <a:schemeClr val="accent1">
                    <a:lumMod val="40000"/>
                    <a:lumOff val="60000"/>
                  </a:schemeClr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/>
          <p:cNvSpPr/>
          <p:nvPr userDrawn="1"/>
        </p:nvSpPr>
        <p:spPr>
          <a:xfrm>
            <a:off x="-1392832" y="6809"/>
            <a:ext cx="1103445" cy="672075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/>
            <a:endParaRPr lang="zh-CN" altLang="en-US" sz="1600" b="1" dirty="0">
              <a:solidFill>
                <a:schemeClr val="tx1">
                  <a:lumMod val="95000"/>
                  <a:lumOff val="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-1392832" y="853233"/>
            <a:ext cx="1103445" cy="672075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/>
            <a:endParaRPr lang="zh-CN" altLang="en-US" sz="1600" b="1" dirty="0">
              <a:solidFill>
                <a:schemeClr val="tx1">
                  <a:lumMod val="95000"/>
                  <a:lumOff val="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1392832" y="1699657"/>
            <a:ext cx="1103445" cy="672075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/>
            <a:endParaRPr lang="zh-CN" altLang="en-US" sz="1600" b="1" dirty="0">
              <a:solidFill>
                <a:schemeClr val="tx1">
                  <a:lumMod val="95000"/>
                  <a:lumOff val="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649395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内容页_3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98673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431371" y="0"/>
            <a:ext cx="11379629" cy="8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/>
          <a:lstStyle>
            <a:lvl1pPr>
              <a:defRPr lang="zh-CN" altLang="en-US" sz="2400" b="1" kern="1200" dirty="0">
                <a:solidFill>
                  <a:srgbClr val="C816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103446" y="6477629"/>
            <a:ext cx="4800532" cy="288000"/>
          </a:xfrm>
          <a:prstGeom prst="rect">
            <a:avLst/>
          </a:prstGeom>
        </p:spPr>
        <p:txBody>
          <a:bodyPr lIns="90000" anchor="ctr"/>
          <a:lstStyle>
            <a:lvl1pPr marL="0" indent="0" algn="ctr">
              <a:lnSpc>
                <a:spcPct val="100000"/>
              </a:lnSpc>
              <a:buNone/>
              <a:defRPr sz="1067" b="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添加注释</a:t>
            </a: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1" hasCustomPrompt="1"/>
          </p:nvPr>
        </p:nvSpPr>
        <p:spPr>
          <a:xfrm>
            <a:off x="6261101" y="6477629"/>
            <a:ext cx="4923465" cy="288000"/>
          </a:xfrm>
          <a:prstGeom prst="rect">
            <a:avLst/>
          </a:prstGeom>
        </p:spPr>
        <p:txBody>
          <a:bodyPr lIns="90000" anchor="ctr"/>
          <a:lstStyle>
            <a:lvl1pPr marL="0" indent="0" algn="ctr">
              <a:lnSpc>
                <a:spcPct val="100000"/>
              </a:lnSpc>
              <a:buNone/>
              <a:defRPr sz="1067" b="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 smtClean="0"/>
              <a:t>单击此处添加数据来源</a:t>
            </a:r>
          </a:p>
        </p:txBody>
      </p:sp>
    </p:spTree>
    <p:extLst>
      <p:ext uri="{BB962C8B-B14F-4D97-AF65-F5344CB8AC3E}">
        <p14:creationId xmlns:p14="http://schemas.microsoft.com/office/powerpoint/2010/main" val="245226501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765012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431372" y="0"/>
            <a:ext cx="9025003" cy="8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60957" rIns="121914" bIns="60957" anchor="ctr"/>
          <a:lstStyle>
            <a:lvl1pPr>
              <a:defRPr lang="zh-CN" altLang="en-US" sz="2700" b="1" kern="1200" dirty="0">
                <a:solidFill>
                  <a:srgbClr val="C816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lvl1pPr>
          </a:lstStyle>
          <a:p>
            <a:pPr lvl="0"/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1570403" y="6464929"/>
            <a:ext cx="3661503" cy="336000"/>
          </a:xfrm>
          <a:prstGeom prst="rect">
            <a:avLst/>
          </a:prstGeom>
        </p:spPr>
        <p:txBody>
          <a:bodyPr lIns="0" tIns="60957" rIns="121914" bIns="60957"/>
          <a:lstStyle>
            <a:lvl1pPr marL="0" indent="0">
              <a:lnSpc>
                <a:spcPct val="100000"/>
              </a:lnSpc>
              <a:buNone/>
              <a:defRPr sz="1300" b="0">
                <a:solidFill>
                  <a:srgbClr val="A6A6A6"/>
                </a:solidFill>
              </a:defRPr>
            </a:lvl1pPr>
          </a:lstStyle>
          <a:p>
            <a:pPr lvl="0"/>
            <a:r>
              <a:rPr lang="zh-CN" altLang="en-US" dirty="0"/>
              <a:t>单击此处添加注释</a:t>
            </a: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6464929"/>
            <a:ext cx="4512501" cy="336000"/>
          </a:xfrm>
          <a:prstGeom prst="rect">
            <a:avLst/>
          </a:prstGeom>
        </p:spPr>
        <p:txBody>
          <a:bodyPr lIns="0" tIns="60957" rIns="121914" bIns="60957"/>
          <a:lstStyle>
            <a:lvl1pPr marL="0" indent="0" algn="r">
              <a:lnSpc>
                <a:spcPct val="100000"/>
              </a:lnSpc>
              <a:buNone/>
              <a:defRPr sz="1300" b="0">
                <a:solidFill>
                  <a:srgbClr val="A6A6A6"/>
                </a:solidFill>
              </a:defRPr>
            </a:lvl1pPr>
          </a:lstStyle>
          <a:p>
            <a:pPr lvl="0"/>
            <a:r>
              <a:rPr lang="zh-CN" altLang="en-US" dirty="0"/>
              <a:t>单击此处添加数据来源</a:t>
            </a:r>
          </a:p>
        </p:txBody>
      </p:sp>
    </p:spTree>
    <p:extLst>
      <p:ext uri="{BB962C8B-B14F-4D97-AF65-F5344CB8AC3E}">
        <p14:creationId xmlns:p14="http://schemas.microsoft.com/office/powerpoint/2010/main" val="23066604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80241" y="308507"/>
            <a:ext cx="8955317" cy="467893"/>
          </a:xfrm>
          <a:prstGeom prst="rect">
            <a:avLst/>
          </a:prstGeom>
        </p:spPr>
        <p:txBody>
          <a:bodyPr lIns="95996" tIns="60957" rIns="121914" bIns="0" anchor="b"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327903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020650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431370" y="0"/>
            <a:ext cx="9025003" cy="8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60957" rIns="121914" bIns="60957" anchor="ctr"/>
          <a:lstStyle>
            <a:lvl1pPr>
              <a:defRPr lang="zh-CN" altLang="en-US" sz="2700" b="1" kern="1200" dirty="0">
                <a:solidFill>
                  <a:srgbClr val="C816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16176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460014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857292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274996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133005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051558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41710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对象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9" y="2119"/>
            <a:ext cx="2116" cy="21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37871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1.vml"/><Relationship Id="rId7" Type="http://schemas.openxmlformats.org/officeDocument/2006/relationships/image" Target="../media/image3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2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2.vml"/><Relationship Id="rId7" Type="http://schemas.openxmlformats.org/officeDocument/2006/relationships/image" Target="../media/image3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tags" Target="../tags/tag13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3.vml"/><Relationship Id="rId7" Type="http://schemas.openxmlformats.org/officeDocument/2006/relationships/image" Target="../media/image3.pn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tags" Target="../tags/tag1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6.xml"/><Relationship Id="rId7" Type="http://schemas.openxmlformats.org/officeDocument/2006/relationships/oleObject" Target="../embeddings/oleObject14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15.xml"/><Relationship Id="rId5" Type="http://schemas.openxmlformats.org/officeDocument/2006/relationships/vmlDrawing" Target="../drawings/vmlDrawing14.v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9.xml"/><Relationship Id="rId7" Type="http://schemas.openxmlformats.org/officeDocument/2006/relationships/oleObject" Target="../embeddings/oleObject16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17.xml"/><Relationship Id="rId5" Type="http://schemas.openxmlformats.org/officeDocument/2006/relationships/vmlDrawing" Target="../drawings/vmlDrawing16.v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8.vml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tags" Target="../tags/tag19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3.xml"/><Relationship Id="rId7" Type="http://schemas.openxmlformats.org/officeDocument/2006/relationships/oleObject" Target="../embeddings/oleObject20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21.xml"/><Relationship Id="rId5" Type="http://schemas.openxmlformats.org/officeDocument/2006/relationships/vmlDrawing" Target="../drawings/vmlDrawing20.vml"/><Relationship Id="rId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2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4.xml"/><Relationship Id="rId7" Type="http://schemas.openxmlformats.org/officeDocument/2006/relationships/tags" Target="../tags/tag2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vmlDrawing" Target="../drawings/vmlDrawing23.vml"/><Relationship Id="rId11" Type="http://schemas.openxmlformats.org/officeDocument/2006/relationships/image" Target="../media/image12.jpeg"/><Relationship Id="rId5" Type="http://schemas.openxmlformats.org/officeDocument/2006/relationships/theme" Target="../theme/theme1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5.xml"/><Relationship Id="rId9" Type="http://schemas.openxmlformats.org/officeDocument/2006/relationships/oleObject" Target="../embeddings/oleObject23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7" Type="http://schemas.openxmlformats.org/officeDocument/2006/relationships/image" Target="../media/image3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6.vml"/><Relationship Id="rId7" Type="http://schemas.openxmlformats.org/officeDocument/2006/relationships/image" Target="../media/image3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tags" Target="../tags/tag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.vml"/><Relationship Id="rId7" Type="http://schemas.openxmlformats.org/officeDocument/2006/relationships/image" Target="../media/image3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tags" Target="../tags/tag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8.vml"/><Relationship Id="rId7" Type="http://schemas.openxmlformats.org/officeDocument/2006/relationships/image" Target="../media/image3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tags" Target="../tags/tag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3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tags" Target="../tags/tag10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7" Type="http://schemas.openxmlformats.org/officeDocument/2006/relationships/image" Target="../media/image3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4338" name="对象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marL="0" marR="0" lvl="0" indent="0" algn="r" defTabSz="121899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ED3724-404F-4B0A-ACF1-AE077395996E}" type="slidenum">
              <a:rPr kumimoji="0" lang="en-US" altLang="zh-CN" sz="1300" b="0" i="0" u="none" strike="noStrike" kern="0" cap="none" spc="0" normalizeH="0" baseline="0" noProof="0" smtClean="0">
                <a:ln>
                  <a:noFill/>
                </a:ln>
                <a:solidFill>
                  <a:srgbClr val="B5B5B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pPr marL="0" marR="0" lvl="0" indent="0" algn="r" defTabSz="121899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srgbClr val="B5B5B6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4376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algn="r" defTabSz="1218990" fontAlgn="auto">
              <a:spcBef>
                <a:spcPct val="50000"/>
              </a:spcBef>
              <a:spcAft>
                <a:spcPts val="0"/>
              </a:spcAft>
              <a:defRPr/>
            </a:pPr>
            <a:fld id="{08ED3724-404F-4B0A-ACF1-AE077395996E}" type="slidenum">
              <a:rPr lang="en-US" altLang="zh-CN" sz="1300" kern="0" smtClean="0">
                <a:solidFill>
                  <a:srgbClr val="B5B5B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defTabSz="1218990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CN" sz="1300" kern="0" dirty="0">
              <a:solidFill>
                <a:srgbClr val="B5B5B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1218" name="Picture 770" descr="C:\Users\lirui10\Desktop\logo\LOGO-0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03" y="87999"/>
            <a:ext cx="1920000" cy="66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1429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algn="r" defTabSz="1218990" fontAlgn="auto">
              <a:spcBef>
                <a:spcPct val="50000"/>
              </a:spcBef>
              <a:spcAft>
                <a:spcPts val="0"/>
              </a:spcAft>
              <a:defRPr/>
            </a:pPr>
            <a:fld id="{08ED3724-404F-4B0A-ACF1-AE077395996E}" type="slidenum">
              <a:rPr lang="en-US" altLang="zh-CN" sz="1300" kern="0" smtClean="0">
                <a:solidFill>
                  <a:srgbClr val="B5B5B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defTabSz="1218990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CN" sz="1300" kern="0" dirty="0">
              <a:solidFill>
                <a:srgbClr val="B5B5B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1218" name="Picture 770" descr="C:\Users\lirui10\Desktop\logo\LOGO-0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03" y="87999"/>
            <a:ext cx="1920000" cy="66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442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algn="r" defTabSz="1218990" fontAlgn="auto">
              <a:spcBef>
                <a:spcPct val="50000"/>
              </a:spcBef>
              <a:spcAft>
                <a:spcPts val="0"/>
              </a:spcAft>
              <a:defRPr/>
            </a:pPr>
            <a:fld id="{08ED3724-404F-4B0A-ACF1-AE077395996E}" type="slidenum">
              <a:rPr lang="en-US" altLang="zh-CN" sz="1300" kern="0" smtClean="0">
                <a:solidFill>
                  <a:srgbClr val="B5B5B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defTabSz="1218990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CN" sz="1300" kern="0" dirty="0">
              <a:solidFill>
                <a:srgbClr val="B5B5B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1218" name="Picture 770" descr="C:\Users\lirui10\Desktop\logo\LOGO-0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03" y="87999"/>
            <a:ext cx="1920000" cy="66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6246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灯片编号占位符 5">
            <a:extLst>
              <a:ext uri="{FF2B5EF4-FFF2-40B4-BE49-F238E27FC236}">
                <a16:creationId xmlns:a16="http://schemas.microsoft.com/office/drawing/2014/main" id="{882F702A-CB82-47A2-AD33-A02BBEFA01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451191"/>
            <a:ext cx="2844800" cy="366183"/>
          </a:xfrm>
          <a:prstGeom prst="rect">
            <a:avLst/>
          </a:prstGeom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solidFill>
                  <a:srgbClr val="898989"/>
                </a:solidFill>
                <a:latin typeface="+mn-ea"/>
                <a:ea typeface="+mn-ea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859A1F2F-D341-4569-AE20-A31005B2A960}" type="slidenum">
              <a:rPr lang="zh-CN" altLang="en-US" smtClean="0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6538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5900" kern="1200">
          <a:solidFill>
            <a:schemeClr val="tx1"/>
          </a:solidFill>
          <a:latin typeface="+mj-lt"/>
          <a:ea typeface="+mj-ea"/>
          <a:cs typeface="宋体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5pPr>
      <a:lvl6pPr marL="609431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6pPr>
      <a:lvl7pPr marL="1218870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7pPr>
      <a:lvl8pPr marL="1828302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8pPr>
      <a:lvl9pPr marL="2437738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9pPr>
    </p:titleStyle>
    <p:bodyStyle>
      <a:lvl1pPr marL="457075" indent="-4570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4300" kern="1200">
          <a:solidFill>
            <a:schemeClr val="tx1"/>
          </a:solidFill>
          <a:latin typeface="+mn-lt"/>
          <a:ea typeface="+mn-ea"/>
          <a:cs typeface="宋体" charset="0"/>
        </a:defRPr>
      </a:lvl1pPr>
      <a:lvl2pPr marL="990334" indent="-380897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585" indent="-30471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015" indent="-30471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450" indent="-30471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1879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317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8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180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31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70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02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38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6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9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463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17">
          <p15:clr>
            <a:srgbClr val="F26B43"/>
          </p15:clr>
        </p15:guide>
        <p15:guide id="2" pos="2880">
          <p15:clr>
            <a:srgbClr val="F26B43"/>
          </p15:clr>
        </p15:guide>
        <p15:guide id="3" pos="316">
          <p15:clr>
            <a:srgbClr val="F26B43"/>
          </p15:clr>
        </p15:guide>
        <p15:guide id="4" pos="5443">
          <p15:clr>
            <a:srgbClr val="F26B43"/>
          </p15:clr>
        </p15:guide>
        <p15:guide id="5" orient="horz" pos="486">
          <p15:clr>
            <a:srgbClr val="F26B43"/>
          </p15:clr>
        </p15:guide>
        <p15:guide id="6" orient="horz" pos="567">
          <p15:clr>
            <a:srgbClr val="F26B43"/>
          </p15:clr>
        </p15:guide>
        <p15:guide id="7" orient="horz" pos="2948">
          <p15:clr>
            <a:srgbClr val="F26B43"/>
          </p15:clr>
        </p15:guide>
        <p15:guide id="8" orient="horz" pos="2867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灯片编号占位符 5">
            <a:extLst>
              <a:ext uri="{FF2B5EF4-FFF2-40B4-BE49-F238E27FC236}">
                <a16:creationId xmlns:a16="http://schemas.microsoft.com/office/drawing/2014/main" id="{882F702A-CB82-47A2-AD33-A02BBEFA01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451191"/>
            <a:ext cx="2844800" cy="366183"/>
          </a:xfrm>
          <a:prstGeom prst="rect">
            <a:avLst/>
          </a:prstGeom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solidFill>
                  <a:srgbClr val="898989"/>
                </a:solidFill>
                <a:latin typeface="+mn-ea"/>
                <a:ea typeface="+mn-ea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859A1F2F-D341-4569-AE20-A31005B2A960}" type="slidenum">
              <a:rPr lang="zh-CN" altLang="en-US" smtClean="0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8453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5900" kern="1200">
          <a:solidFill>
            <a:schemeClr val="tx1"/>
          </a:solidFill>
          <a:latin typeface="+mj-lt"/>
          <a:ea typeface="+mj-ea"/>
          <a:cs typeface="宋体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5pPr>
      <a:lvl6pPr marL="609431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6pPr>
      <a:lvl7pPr marL="1218870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7pPr>
      <a:lvl8pPr marL="1828302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8pPr>
      <a:lvl9pPr marL="2437738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9pPr>
    </p:titleStyle>
    <p:bodyStyle>
      <a:lvl1pPr marL="457075" indent="-4570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4300" kern="1200">
          <a:solidFill>
            <a:schemeClr val="tx1"/>
          </a:solidFill>
          <a:latin typeface="+mn-lt"/>
          <a:ea typeface="+mn-ea"/>
          <a:cs typeface="宋体" charset="0"/>
        </a:defRPr>
      </a:lvl1pPr>
      <a:lvl2pPr marL="990334" indent="-380897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585" indent="-30471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015" indent="-30471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450" indent="-30471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1879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317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8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180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31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70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02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38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6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9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463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17">
          <p15:clr>
            <a:srgbClr val="F26B43"/>
          </p15:clr>
        </p15:guide>
        <p15:guide id="2" pos="2880">
          <p15:clr>
            <a:srgbClr val="F26B43"/>
          </p15:clr>
        </p15:guide>
        <p15:guide id="3" pos="316">
          <p15:clr>
            <a:srgbClr val="F26B43"/>
          </p15:clr>
        </p15:guide>
        <p15:guide id="4" pos="5443">
          <p15:clr>
            <a:srgbClr val="F26B43"/>
          </p15:clr>
        </p15:guide>
        <p15:guide id="5" orient="horz" pos="486">
          <p15:clr>
            <a:srgbClr val="F26B43"/>
          </p15:clr>
        </p15:guide>
        <p15:guide id="6" orient="horz" pos="567">
          <p15:clr>
            <a:srgbClr val="F26B43"/>
          </p15:clr>
        </p15:guide>
        <p15:guide id="7" orient="horz" pos="2948">
          <p15:clr>
            <a:srgbClr val="F26B43"/>
          </p15:clr>
        </p15:guide>
        <p15:guide id="8" orient="horz" pos="2867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5193748" y="6502499"/>
            <a:ext cx="1804504" cy="26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45718" rIns="0" bIns="45718" anchor="ctr">
            <a:spAutoFit/>
          </a:bodyPr>
          <a:lstStyle>
            <a:defPPr>
              <a:defRPr lang="en-US"/>
            </a:defPPr>
            <a:lvl1pPr eaLnBrk="1" hangingPunct="1">
              <a:spcBef>
                <a:spcPct val="50000"/>
              </a:spcBef>
              <a:defRPr sz="1200">
                <a:solidFill>
                  <a:srgbClr val="B5B5B6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defTabSz="914264">
              <a:defRPr/>
            </a:pPr>
            <a:fld id="{08ED3724-404F-4B0A-ACF1-AE077395996E}" type="slidenum">
              <a:rPr lang="en-US" altLang="zh-CN" sz="1100" kern="0" smtClean="0">
                <a:solidFill>
                  <a:srgbClr val="000000"/>
                </a:solidFill>
              </a:rPr>
              <a:pPr algn="ctr" defTabSz="914264">
                <a:defRPr/>
              </a:pPr>
              <a:t>‹#›</a:t>
            </a:fld>
            <a:endParaRPr lang="en-US" altLang="zh-CN" sz="1100" kern="0" dirty="0" smtClean="0">
              <a:solidFill>
                <a:srgbClr val="000000"/>
              </a:solidFill>
            </a:endParaRPr>
          </a:p>
        </p:txBody>
      </p:sp>
      <p:cxnSp>
        <p:nvCxnSpPr>
          <p:cNvPr id="11" name="直接连接符 10"/>
          <p:cNvCxnSpPr/>
          <p:nvPr userDrawn="1"/>
        </p:nvCxnSpPr>
        <p:spPr bwMode="auto">
          <a:xfrm>
            <a:off x="431371" y="816000"/>
            <a:ext cx="11380800" cy="0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rgbClr val="C00000"/>
                </a:gs>
                <a:gs pos="100000">
                  <a:srgbClr val="C00000">
                    <a:alpha val="0"/>
                  </a:srgbClr>
                </a:gs>
              </a:gsLst>
              <a:lin ang="0" scaled="1"/>
              <a:tileRect/>
            </a:gradFill>
            <a:prstDash val="solid"/>
            <a:round/>
            <a:headEnd type="oval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日期占位符 3"/>
          <p:cNvSpPr txBox="1">
            <a:spLocks/>
          </p:cNvSpPr>
          <p:nvPr userDrawn="1"/>
        </p:nvSpPr>
        <p:spPr>
          <a:xfrm>
            <a:off x="393271" y="6464929"/>
            <a:ext cx="1331052" cy="288000"/>
          </a:xfrm>
          <a:prstGeom prst="rect">
            <a:avLst/>
          </a:prstGeom>
        </p:spPr>
        <p:txBody>
          <a:bodyPr lIns="0" tIns="45718" rIns="91430" bIns="45718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sz="1100" dirty="0" smtClean="0">
                <a:solidFill>
                  <a:srgbClr val="000000"/>
                </a:solidFill>
              </a:rPr>
              <a:t>机要文档</a:t>
            </a:r>
            <a:endParaRPr lang="zh-CN" altLang="en-US" sz="1100" dirty="0">
              <a:solidFill>
                <a:srgbClr val="000000"/>
              </a:solidFill>
            </a:endParaRPr>
          </a:p>
        </p:txBody>
      </p:sp>
      <p:sp>
        <p:nvSpPr>
          <p:cNvPr id="14" name="TextBox 9"/>
          <p:cNvSpPr txBox="1"/>
          <p:nvPr userDrawn="1"/>
        </p:nvSpPr>
        <p:spPr>
          <a:xfrm>
            <a:off x="10026325" y="6464929"/>
            <a:ext cx="1785104" cy="288000"/>
          </a:xfrm>
          <a:prstGeom prst="rect">
            <a:avLst/>
          </a:prstGeom>
          <a:noFill/>
        </p:spPr>
        <p:txBody>
          <a:bodyPr wrap="none" lIns="119986" tIns="45718" rIns="0" bIns="45718" rtlCol="0" anchor="ctr">
            <a:noAutofit/>
          </a:bodyPr>
          <a:lstStyle/>
          <a:p>
            <a:pPr algn="r" defTabSz="914264"/>
            <a:r>
              <a:rPr lang="zh-CN" altLang="en-US" sz="1100" dirty="0" smtClean="0">
                <a:solidFill>
                  <a:srgbClr val="000000"/>
                </a:solidFill>
              </a:rPr>
              <a:t>请勿外传</a:t>
            </a:r>
          </a:p>
        </p:txBody>
      </p:sp>
    </p:spTree>
    <p:extLst>
      <p:ext uri="{BB962C8B-B14F-4D97-AF65-F5344CB8AC3E}">
        <p14:creationId xmlns:p14="http://schemas.microsoft.com/office/powerpoint/2010/main" val="2594525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timing>
    <p:tnLst>
      <p:par>
        <p:cTn id="1" dur="indefinite" restart="never" nodeType="tmRoot"/>
      </p:par>
    </p:tnLst>
  </p:timing>
  <p:hf hd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15">
          <p15:clr>
            <a:srgbClr val="F26B43"/>
          </p15:clr>
        </p15:guide>
        <p15:guide id="2" pos="180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灯片编号占位符 5">
            <a:extLst>
              <a:ext uri="{FF2B5EF4-FFF2-40B4-BE49-F238E27FC236}">
                <a16:creationId xmlns:a16="http://schemas.microsoft.com/office/drawing/2014/main" id="{882F702A-CB82-47A2-AD33-A02BBEFA01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451191"/>
            <a:ext cx="2844800" cy="366183"/>
          </a:xfrm>
          <a:prstGeom prst="rect">
            <a:avLst/>
          </a:prstGeom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solidFill>
                  <a:srgbClr val="898989"/>
                </a:solidFill>
                <a:latin typeface="+mn-ea"/>
                <a:ea typeface="+mn-ea"/>
              </a:defRPr>
            </a:lvl1pPr>
          </a:lstStyle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859A1F2F-D341-4569-AE20-A31005B2A960}" type="slidenum">
              <a:rPr lang="zh-CN" altLang="en-US" smtClean="0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6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5900" kern="1200">
          <a:solidFill>
            <a:schemeClr val="tx1"/>
          </a:solidFill>
          <a:latin typeface="+mj-lt"/>
          <a:ea typeface="+mj-ea"/>
          <a:cs typeface="宋体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5900">
          <a:solidFill>
            <a:schemeClr val="tx1"/>
          </a:solidFill>
          <a:latin typeface="Calibri" pitchFamily="34" charset="0"/>
          <a:ea typeface="宋体" charset="-122"/>
          <a:cs typeface="宋体" charset="0"/>
        </a:defRPr>
      </a:lvl5pPr>
      <a:lvl6pPr marL="609431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6pPr>
      <a:lvl7pPr marL="1218870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7pPr>
      <a:lvl8pPr marL="1828302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8pPr>
      <a:lvl9pPr marL="2437738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  <a:ea typeface="宋体" charset="-122"/>
        </a:defRPr>
      </a:lvl9pPr>
    </p:titleStyle>
    <p:bodyStyle>
      <a:lvl1pPr marL="457075" indent="-4570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4300" kern="1200">
          <a:solidFill>
            <a:schemeClr val="tx1"/>
          </a:solidFill>
          <a:latin typeface="+mn-lt"/>
          <a:ea typeface="+mn-ea"/>
          <a:cs typeface="宋体" charset="0"/>
        </a:defRPr>
      </a:lvl1pPr>
      <a:lvl2pPr marL="990334" indent="-380897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585" indent="-30471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015" indent="-30471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450" indent="-30471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1879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317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8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180" indent="-304712" algn="l" defTabSz="121887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31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70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02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38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6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9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463" algn="l" defTabSz="12188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17">
          <p15:clr>
            <a:srgbClr val="F26B43"/>
          </p15:clr>
        </p15:guide>
        <p15:guide id="2" pos="2880">
          <p15:clr>
            <a:srgbClr val="F26B43"/>
          </p15:clr>
        </p15:guide>
        <p15:guide id="3" pos="316">
          <p15:clr>
            <a:srgbClr val="F26B43"/>
          </p15:clr>
        </p15:guide>
        <p15:guide id="4" pos="5443">
          <p15:clr>
            <a:srgbClr val="F26B43"/>
          </p15:clr>
        </p15:guide>
        <p15:guide id="5" orient="horz" pos="486">
          <p15:clr>
            <a:srgbClr val="F26B43"/>
          </p15:clr>
        </p15:guide>
        <p15:guide id="6" orient="horz" pos="567">
          <p15:clr>
            <a:srgbClr val="F26B43"/>
          </p15:clr>
        </p15:guide>
        <p15:guide id="7" orient="horz" pos="2948">
          <p15:clr>
            <a:srgbClr val="F26B43"/>
          </p15:clr>
        </p15:guide>
        <p15:guide id="8" orient="horz" pos="2867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0" y="0"/>
            <a:ext cx="12191997" cy="6858000"/>
          </a:xfrm>
          <a:prstGeom prst="rect">
            <a:avLst/>
          </a:prstGeom>
          <a:gradFill flip="none" rotWithShape="1">
            <a:gsLst>
              <a:gs pos="0">
                <a:srgbClr val="DF0304"/>
              </a:gs>
              <a:gs pos="22000">
                <a:srgbClr val="93040D"/>
              </a:gs>
              <a:gs pos="46000">
                <a:srgbClr val="93040D"/>
              </a:gs>
              <a:gs pos="96000">
                <a:srgbClr val="1A010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921" tIns="132959" rIns="265921" bIns="132959" rtlCol="0" anchor="ctr"/>
          <a:lstStyle/>
          <a:p>
            <a:pPr algn="ctr" defTabSz="2659218"/>
            <a:endParaRPr lang="zh-CN" altLang="en-US" sz="52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81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</p:sldLayoutIdLst>
  <p:txStyles>
    <p:titleStyle>
      <a:lvl1pPr algn="l" defTabSz="2659218" rtl="0" eaLnBrk="1" latinLnBrk="0" hangingPunct="1">
        <a:lnSpc>
          <a:spcPct val="90000"/>
        </a:lnSpc>
        <a:spcBef>
          <a:spcPct val="0"/>
        </a:spcBef>
        <a:buNone/>
        <a:defRPr sz="1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64805" indent="-664805" algn="l" defTabSz="2659218" rtl="0" eaLnBrk="1" latinLnBrk="0" hangingPunct="1">
        <a:lnSpc>
          <a:spcPct val="90000"/>
        </a:lnSpc>
        <a:spcBef>
          <a:spcPts val="2908"/>
        </a:spcBef>
        <a:buFont typeface="Arial" panose="020B0604020202020204" pitchFamily="34" charset="0"/>
        <a:buChar char="•"/>
        <a:defRPr sz="8100" kern="1200">
          <a:solidFill>
            <a:schemeClr val="tx1"/>
          </a:solidFill>
          <a:latin typeface="+mn-lt"/>
          <a:ea typeface="+mn-ea"/>
          <a:cs typeface="+mn-cs"/>
        </a:defRPr>
      </a:lvl1pPr>
      <a:lvl2pPr marL="1994413" indent="-664805" algn="l" defTabSz="2659218" rtl="0" eaLnBrk="1" latinLnBrk="0" hangingPunct="1">
        <a:lnSpc>
          <a:spcPct val="90000"/>
        </a:lnSpc>
        <a:spcBef>
          <a:spcPts val="1455"/>
        </a:spcBef>
        <a:buFont typeface="Arial" panose="020B0604020202020204" pitchFamily="34" charset="0"/>
        <a:buChar char="•"/>
        <a:defRPr sz="7100" kern="1200">
          <a:solidFill>
            <a:schemeClr val="tx1"/>
          </a:solidFill>
          <a:latin typeface="+mn-lt"/>
          <a:ea typeface="+mn-ea"/>
          <a:cs typeface="+mn-cs"/>
        </a:defRPr>
      </a:lvl2pPr>
      <a:lvl3pPr marL="3324021" indent="-664805" algn="l" defTabSz="2659218" rtl="0" eaLnBrk="1" latinLnBrk="0" hangingPunct="1">
        <a:lnSpc>
          <a:spcPct val="90000"/>
        </a:lnSpc>
        <a:spcBef>
          <a:spcPts val="1455"/>
        </a:spcBef>
        <a:buFont typeface="Arial" panose="020B0604020202020204" pitchFamily="34" charset="0"/>
        <a:buChar char="•"/>
        <a:defRPr sz="5900" kern="1200">
          <a:solidFill>
            <a:schemeClr val="tx1"/>
          </a:solidFill>
          <a:latin typeface="+mn-lt"/>
          <a:ea typeface="+mn-ea"/>
          <a:cs typeface="+mn-cs"/>
        </a:defRPr>
      </a:lvl3pPr>
      <a:lvl4pPr marL="4653630" indent="-664805" algn="l" defTabSz="2659218" rtl="0" eaLnBrk="1" latinLnBrk="0" hangingPunct="1">
        <a:lnSpc>
          <a:spcPct val="90000"/>
        </a:lnSpc>
        <a:spcBef>
          <a:spcPts val="1455"/>
        </a:spcBef>
        <a:buFont typeface="Arial" panose="020B0604020202020204" pitchFamily="34" charset="0"/>
        <a:buChar char="•"/>
        <a:defRPr sz="5200" kern="1200">
          <a:solidFill>
            <a:schemeClr val="tx1"/>
          </a:solidFill>
          <a:latin typeface="+mn-lt"/>
          <a:ea typeface="+mn-ea"/>
          <a:cs typeface="+mn-cs"/>
        </a:defRPr>
      </a:lvl4pPr>
      <a:lvl5pPr marL="5983237" indent="-664805" algn="l" defTabSz="2659218" rtl="0" eaLnBrk="1" latinLnBrk="0" hangingPunct="1">
        <a:lnSpc>
          <a:spcPct val="90000"/>
        </a:lnSpc>
        <a:spcBef>
          <a:spcPts val="1455"/>
        </a:spcBef>
        <a:buFont typeface="Arial" panose="020B0604020202020204" pitchFamily="34" charset="0"/>
        <a:buChar char="•"/>
        <a:defRPr sz="5200" kern="1200">
          <a:solidFill>
            <a:schemeClr val="tx1"/>
          </a:solidFill>
          <a:latin typeface="+mn-lt"/>
          <a:ea typeface="+mn-ea"/>
          <a:cs typeface="+mn-cs"/>
        </a:defRPr>
      </a:lvl5pPr>
      <a:lvl6pPr marL="7312845" indent="-664805" algn="l" defTabSz="2659218" rtl="0" eaLnBrk="1" latinLnBrk="0" hangingPunct="1">
        <a:lnSpc>
          <a:spcPct val="90000"/>
        </a:lnSpc>
        <a:spcBef>
          <a:spcPts val="1455"/>
        </a:spcBef>
        <a:buFont typeface="Arial" panose="020B0604020202020204" pitchFamily="34" charset="0"/>
        <a:buChar char="•"/>
        <a:defRPr sz="5200" kern="1200">
          <a:solidFill>
            <a:schemeClr val="tx1"/>
          </a:solidFill>
          <a:latin typeface="+mn-lt"/>
          <a:ea typeface="+mn-ea"/>
          <a:cs typeface="+mn-cs"/>
        </a:defRPr>
      </a:lvl6pPr>
      <a:lvl7pPr marL="8642455" indent="-664805" algn="l" defTabSz="2659218" rtl="0" eaLnBrk="1" latinLnBrk="0" hangingPunct="1">
        <a:lnSpc>
          <a:spcPct val="90000"/>
        </a:lnSpc>
        <a:spcBef>
          <a:spcPts val="1455"/>
        </a:spcBef>
        <a:buFont typeface="Arial" panose="020B0604020202020204" pitchFamily="34" charset="0"/>
        <a:buChar char="•"/>
        <a:defRPr sz="5200" kern="1200">
          <a:solidFill>
            <a:schemeClr val="tx1"/>
          </a:solidFill>
          <a:latin typeface="+mn-lt"/>
          <a:ea typeface="+mn-ea"/>
          <a:cs typeface="+mn-cs"/>
        </a:defRPr>
      </a:lvl7pPr>
      <a:lvl8pPr marL="9972063" indent="-664805" algn="l" defTabSz="2659218" rtl="0" eaLnBrk="1" latinLnBrk="0" hangingPunct="1">
        <a:lnSpc>
          <a:spcPct val="90000"/>
        </a:lnSpc>
        <a:spcBef>
          <a:spcPts val="1455"/>
        </a:spcBef>
        <a:buFont typeface="Arial" panose="020B0604020202020204" pitchFamily="34" charset="0"/>
        <a:buChar char="•"/>
        <a:defRPr sz="5200" kern="1200">
          <a:solidFill>
            <a:schemeClr val="tx1"/>
          </a:solidFill>
          <a:latin typeface="+mn-lt"/>
          <a:ea typeface="+mn-ea"/>
          <a:cs typeface="+mn-cs"/>
        </a:defRPr>
      </a:lvl8pPr>
      <a:lvl9pPr marL="11301669" indent="-664805" algn="l" defTabSz="2659218" rtl="0" eaLnBrk="1" latinLnBrk="0" hangingPunct="1">
        <a:lnSpc>
          <a:spcPct val="90000"/>
        </a:lnSpc>
        <a:spcBef>
          <a:spcPts val="1455"/>
        </a:spcBef>
        <a:buFont typeface="Arial" panose="020B0604020202020204" pitchFamily="34" charset="0"/>
        <a:buChar char="•"/>
        <a:defRPr sz="5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2659218" rtl="0" eaLnBrk="1" latinLnBrk="0" hangingPunct="1">
        <a:defRPr sz="5200" kern="1200">
          <a:solidFill>
            <a:schemeClr val="tx1"/>
          </a:solidFill>
          <a:latin typeface="+mn-lt"/>
          <a:ea typeface="+mn-ea"/>
          <a:cs typeface="+mn-cs"/>
        </a:defRPr>
      </a:lvl1pPr>
      <a:lvl2pPr marL="1329608" algn="l" defTabSz="2659218" rtl="0" eaLnBrk="1" latinLnBrk="0" hangingPunct="1">
        <a:defRPr sz="5200" kern="1200">
          <a:solidFill>
            <a:schemeClr val="tx1"/>
          </a:solidFill>
          <a:latin typeface="+mn-lt"/>
          <a:ea typeface="+mn-ea"/>
          <a:cs typeface="+mn-cs"/>
        </a:defRPr>
      </a:lvl2pPr>
      <a:lvl3pPr marL="2659218" algn="l" defTabSz="2659218" rtl="0" eaLnBrk="1" latinLnBrk="0" hangingPunct="1">
        <a:defRPr sz="5200" kern="1200">
          <a:solidFill>
            <a:schemeClr val="tx1"/>
          </a:solidFill>
          <a:latin typeface="+mn-lt"/>
          <a:ea typeface="+mn-ea"/>
          <a:cs typeface="+mn-cs"/>
        </a:defRPr>
      </a:lvl3pPr>
      <a:lvl4pPr marL="3988824" algn="l" defTabSz="2659218" rtl="0" eaLnBrk="1" latinLnBrk="0" hangingPunct="1">
        <a:defRPr sz="5200" kern="1200">
          <a:solidFill>
            <a:schemeClr val="tx1"/>
          </a:solidFill>
          <a:latin typeface="+mn-lt"/>
          <a:ea typeface="+mn-ea"/>
          <a:cs typeface="+mn-cs"/>
        </a:defRPr>
      </a:lvl4pPr>
      <a:lvl5pPr marL="5318434" algn="l" defTabSz="2659218" rtl="0" eaLnBrk="1" latinLnBrk="0" hangingPunct="1">
        <a:defRPr sz="5200" kern="1200">
          <a:solidFill>
            <a:schemeClr val="tx1"/>
          </a:solidFill>
          <a:latin typeface="+mn-lt"/>
          <a:ea typeface="+mn-ea"/>
          <a:cs typeface="+mn-cs"/>
        </a:defRPr>
      </a:lvl5pPr>
      <a:lvl6pPr marL="6648042" algn="l" defTabSz="2659218" rtl="0" eaLnBrk="1" latinLnBrk="0" hangingPunct="1">
        <a:defRPr sz="5200" kern="1200">
          <a:solidFill>
            <a:schemeClr val="tx1"/>
          </a:solidFill>
          <a:latin typeface="+mn-lt"/>
          <a:ea typeface="+mn-ea"/>
          <a:cs typeface="+mn-cs"/>
        </a:defRPr>
      </a:lvl6pPr>
      <a:lvl7pPr marL="7977651" algn="l" defTabSz="2659218" rtl="0" eaLnBrk="1" latinLnBrk="0" hangingPunct="1">
        <a:defRPr sz="5200" kern="1200">
          <a:solidFill>
            <a:schemeClr val="tx1"/>
          </a:solidFill>
          <a:latin typeface="+mn-lt"/>
          <a:ea typeface="+mn-ea"/>
          <a:cs typeface="+mn-cs"/>
        </a:defRPr>
      </a:lvl7pPr>
      <a:lvl8pPr marL="9307258" algn="l" defTabSz="2659218" rtl="0" eaLnBrk="1" latinLnBrk="0" hangingPunct="1">
        <a:defRPr sz="5200" kern="1200">
          <a:solidFill>
            <a:schemeClr val="tx1"/>
          </a:solidFill>
          <a:latin typeface="+mn-lt"/>
          <a:ea typeface="+mn-ea"/>
          <a:cs typeface="+mn-cs"/>
        </a:defRPr>
      </a:lvl8pPr>
      <a:lvl9pPr marL="10636867" algn="l" defTabSz="2659218" rtl="0" eaLnBrk="1" latinLnBrk="0" hangingPunct="1">
        <a:defRPr sz="5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4509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21" r:id="rId7"/>
  </p:sldLayoutIdLst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43571866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0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Box 6"/>
          <p:cNvSpPr txBox="1">
            <a:spLocks noChangeArrowheads="1"/>
          </p:cNvSpPr>
          <p:nvPr userDrawn="1"/>
        </p:nvSpPr>
        <p:spPr bwMode="auto">
          <a:xfrm>
            <a:off x="440268" y="6494434"/>
            <a:ext cx="892546" cy="276993"/>
          </a:xfrm>
          <a:prstGeom prst="rect">
            <a:avLst/>
          </a:prstGeom>
          <a:noFill/>
          <a:extLst/>
        </p:spPr>
        <p:txBody>
          <a:bodyPr wrap="none" lIns="0" tIns="60957" rIns="121914" bIns="60957" rtlCol="0" anchor="ctr">
            <a:spAutoFit/>
          </a:bodyPr>
          <a:lstStyle>
            <a:defPPr>
              <a:defRPr lang="zh-CN"/>
            </a:defPPr>
            <a:lvl1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prstClr val="white">
                    <a:lumMod val="65000"/>
                  </a:prstClr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 defTabSz="914354"/>
            <a:r>
              <a:rPr lang="en-US" altLang="zh-CN" dirty="0"/>
              <a:t>www.jdwl.com</a:t>
            </a:r>
          </a:p>
        </p:txBody>
      </p:sp>
      <p:sp>
        <p:nvSpPr>
          <p:cNvPr id="17" name="Text Box 6"/>
          <p:cNvSpPr txBox="1">
            <a:spLocks noChangeArrowheads="1"/>
          </p:cNvSpPr>
          <p:nvPr userDrawn="1"/>
        </p:nvSpPr>
        <p:spPr bwMode="auto">
          <a:xfrm>
            <a:off x="9955779" y="6464929"/>
            <a:ext cx="1804504" cy="3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7" rIns="0" bIns="60957" anchor="ctr">
            <a:spAutoFit/>
          </a:bodyPr>
          <a:lstStyle>
            <a:defPPr>
              <a:defRPr lang="en-US"/>
            </a:defPPr>
            <a:lvl1pPr eaLnBrk="1" hangingPunct="1">
              <a:spcBef>
                <a:spcPct val="50000"/>
              </a:spcBef>
              <a:defRPr sz="1200">
                <a:solidFill>
                  <a:srgbClr val="B5B5B6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defTabSz="914354">
              <a:defRPr/>
            </a:pPr>
            <a:fld id="{08ED3724-404F-4B0A-ACF1-AE077395996E}" type="slidenum">
              <a:rPr lang="en-US" altLang="zh-CN" sz="1300" kern="0" smtClean="0"/>
              <a:pPr algn="r" defTabSz="914354">
                <a:defRPr/>
              </a:pPr>
              <a:t>‹#›</a:t>
            </a:fld>
            <a:endParaRPr lang="en-US" altLang="zh-CN" sz="1300" kern="0" dirty="0"/>
          </a:p>
        </p:txBody>
      </p:sp>
      <p:sp>
        <p:nvSpPr>
          <p:cNvPr id="8" name="TextBox 9"/>
          <p:cNvSpPr txBox="1"/>
          <p:nvPr userDrawn="1"/>
        </p:nvSpPr>
        <p:spPr>
          <a:xfrm>
            <a:off x="5203448" y="6464929"/>
            <a:ext cx="1785104" cy="336000"/>
          </a:xfrm>
          <a:prstGeom prst="rect">
            <a:avLst/>
          </a:prstGeom>
          <a:noFill/>
        </p:spPr>
        <p:txBody>
          <a:bodyPr wrap="none" lIns="121914" tIns="60957" rIns="121914" bIns="60957" rtlCol="0" anchor="ctr">
            <a:spAutoFit/>
          </a:bodyPr>
          <a:lstStyle/>
          <a:p>
            <a:pPr defTabSz="914354"/>
            <a:r>
              <a:rPr lang="zh-CN" altLang="en-US" sz="1300" dirty="0">
                <a:solidFill>
                  <a:prstClr val="white">
                    <a:lumMod val="65000"/>
                  </a:prstClr>
                </a:solidFill>
              </a:rPr>
              <a:t>机要文档  请勿外传</a:t>
            </a: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7881" y="106018"/>
            <a:ext cx="2304000" cy="59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189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</p:sldLayoutIdLst>
  <p:hf hdr="0"/>
  <p:txStyles>
    <p:titleStyle>
      <a:lvl1pPr algn="l" defTabSz="1068837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837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837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837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837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555" algn="l" defTabSz="1068837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9110" algn="l" defTabSz="1068837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664" algn="l" defTabSz="1068837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8218" algn="l" defTabSz="1068837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400021" indent="-400021" algn="l" defTabSz="1068837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86" indent="-334409" algn="l" defTabSz="1068837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633" indent="-268797" algn="l" defTabSz="1068837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877" indent="-266680" algn="l" defTabSz="1068837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353" indent="-268797" algn="l" defTabSz="1068837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907" indent="-268797" algn="l" defTabSz="1068837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461" indent="-268797" algn="l" defTabSz="1068837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3017" indent="-268797" algn="l" defTabSz="1068837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570" indent="-268797" algn="l" defTabSz="1068837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15" userDrawn="1">
          <p15:clr>
            <a:srgbClr val="F26B43"/>
          </p15:clr>
        </p15:guide>
        <p15:guide id="2" pos="555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53026484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7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14338" name="对象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algn="r" defTabSz="1218990" fontAlgn="auto">
              <a:spcBef>
                <a:spcPct val="50000"/>
              </a:spcBef>
              <a:spcAft>
                <a:spcPts val="0"/>
              </a:spcAft>
              <a:defRPr/>
            </a:pPr>
            <a:fld id="{08ED3724-404F-4B0A-ACF1-AE077395996E}" type="slidenum">
              <a:rPr lang="en-US" altLang="zh-CN" sz="1300" kern="0" smtClean="0">
                <a:solidFill>
                  <a:srgbClr val="B5B5B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defTabSz="1218990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CN" sz="1300" kern="0" dirty="0">
              <a:solidFill>
                <a:srgbClr val="B5B5B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1218" name="Picture 770" descr="C:\Users\lirui10\Desktop\logo\LOGO-02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03" y="87999"/>
            <a:ext cx="1920000" cy="66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6227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algn="r" defTabSz="1218990" fontAlgn="auto">
              <a:spcBef>
                <a:spcPct val="50000"/>
              </a:spcBef>
              <a:spcAft>
                <a:spcPts val="0"/>
              </a:spcAft>
              <a:defRPr/>
            </a:pPr>
            <a:fld id="{08ED3724-404F-4B0A-ACF1-AE077395996E}" type="slidenum">
              <a:rPr lang="en-US" altLang="zh-CN" sz="1300" kern="0" smtClean="0">
                <a:solidFill>
                  <a:srgbClr val="B5B5B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defTabSz="1218990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CN" sz="1300" kern="0" dirty="0">
              <a:solidFill>
                <a:srgbClr val="B5B5B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1218" name="Picture 770" descr="C:\Users\lirui10\Desktop\logo\LOGO-0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03" y="87999"/>
            <a:ext cx="1920000" cy="66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0045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algn="r" defTabSz="1218990" fontAlgn="auto">
              <a:spcBef>
                <a:spcPct val="50000"/>
              </a:spcBef>
              <a:spcAft>
                <a:spcPts val="0"/>
              </a:spcAft>
              <a:defRPr/>
            </a:pPr>
            <a:fld id="{08ED3724-404F-4B0A-ACF1-AE077395996E}" type="slidenum">
              <a:rPr lang="en-US" altLang="zh-CN" sz="1300" kern="0" smtClean="0">
                <a:solidFill>
                  <a:srgbClr val="B5B5B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defTabSz="1218990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CN" sz="1300" kern="0" dirty="0">
              <a:solidFill>
                <a:srgbClr val="B5B5B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1218" name="Picture 770" descr="C:\Users\lirui10\Desktop\logo\LOGO-0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03" y="87999"/>
            <a:ext cx="1920000" cy="66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4444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algn="r" defTabSz="1218990" fontAlgn="auto">
              <a:spcBef>
                <a:spcPct val="50000"/>
              </a:spcBef>
              <a:spcAft>
                <a:spcPts val="0"/>
              </a:spcAft>
              <a:defRPr/>
            </a:pPr>
            <a:fld id="{08ED3724-404F-4B0A-ACF1-AE077395996E}" type="slidenum">
              <a:rPr lang="en-US" altLang="zh-CN" sz="1300" kern="0" smtClean="0">
                <a:solidFill>
                  <a:srgbClr val="B5B5B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defTabSz="1218990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CN" sz="1300" kern="0" dirty="0">
              <a:solidFill>
                <a:srgbClr val="B5B5B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1218" name="Picture 770" descr="C:\Users\lirui10\Desktop\logo\LOGO-0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03" y="87999"/>
            <a:ext cx="1920000" cy="66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7050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algn="r" defTabSz="1218990" fontAlgn="auto">
              <a:spcBef>
                <a:spcPct val="50000"/>
              </a:spcBef>
              <a:spcAft>
                <a:spcPts val="0"/>
              </a:spcAft>
              <a:defRPr/>
            </a:pPr>
            <a:fld id="{08ED3724-404F-4B0A-ACF1-AE077395996E}" type="slidenum">
              <a:rPr lang="en-US" altLang="zh-CN" sz="1300" kern="0" smtClean="0">
                <a:solidFill>
                  <a:srgbClr val="B5B5B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defTabSz="1218990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CN" sz="1300" kern="0" dirty="0">
              <a:solidFill>
                <a:srgbClr val="B5B5B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1218" name="Picture 770" descr="C:\Users\lirui10\Desktop\logo\LOGO-0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03" y="87999"/>
            <a:ext cx="1920000" cy="66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5366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algn="r" defTabSz="1218990" fontAlgn="auto">
              <a:spcBef>
                <a:spcPct val="50000"/>
              </a:spcBef>
              <a:spcAft>
                <a:spcPts val="0"/>
              </a:spcAft>
              <a:defRPr/>
            </a:pPr>
            <a:fld id="{08ED3724-404F-4B0A-ACF1-AE077395996E}" type="slidenum">
              <a:rPr lang="en-US" altLang="zh-CN" sz="1300" kern="0" smtClean="0">
                <a:solidFill>
                  <a:srgbClr val="B5B5B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defTabSz="1218990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CN" sz="1300" kern="0" dirty="0">
              <a:solidFill>
                <a:srgbClr val="B5B5B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1218" name="Picture 770" descr="C:\Users\lirui10\Desktop\logo\LOGO-0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03" y="87999"/>
            <a:ext cx="1920000" cy="66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57323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algn="r" defTabSz="1218990" fontAlgn="auto">
              <a:spcBef>
                <a:spcPct val="50000"/>
              </a:spcBef>
              <a:spcAft>
                <a:spcPts val="0"/>
              </a:spcAft>
              <a:defRPr/>
            </a:pPr>
            <a:fld id="{08ED3724-404F-4B0A-ACF1-AE077395996E}" type="slidenum">
              <a:rPr lang="en-US" altLang="zh-CN" sz="1300" kern="0" smtClean="0">
                <a:solidFill>
                  <a:srgbClr val="B5B5B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defTabSz="1218990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CN" sz="1300" kern="0" dirty="0">
              <a:solidFill>
                <a:srgbClr val="B5B5B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1218" name="Picture 770" descr="C:\Users\lirui10\Desktop\logo\LOGO-0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03" y="87999"/>
            <a:ext cx="1920000" cy="66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502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对象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10171451" y="6405332"/>
            <a:ext cx="1804504" cy="32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0952" rIns="121904" bIns="60952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bg1"/>
                </a:solidFill>
                <a:latin typeface="FrutigerNext LT Regular"/>
                <a:ea typeface="宋体" pitchFamily="2" charset="-122"/>
                <a:cs typeface="+mn-cs"/>
              </a:defRPr>
            </a:lvl9pPr>
          </a:lstStyle>
          <a:p>
            <a:pPr algn="r" defTabSz="1218990" fontAlgn="auto">
              <a:spcBef>
                <a:spcPct val="50000"/>
              </a:spcBef>
              <a:spcAft>
                <a:spcPts val="0"/>
              </a:spcAft>
              <a:defRPr/>
            </a:pPr>
            <a:fld id="{08ED3724-404F-4B0A-ACF1-AE077395996E}" type="slidenum">
              <a:rPr lang="en-US" altLang="zh-CN" sz="1300" kern="0" smtClean="0">
                <a:solidFill>
                  <a:srgbClr val="B5B5B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defTabSz="1218990" fontAlgn="auto">
                <a:spcBef>
                  <a:spcPct val="50000"/>
                </a:spcBef>
                <a:spcAft>
                  <a:spcPts val="0"/>
                </a:spcAft>
                <a:defRPr/>
              </a:pPr>
              <a:t>‹#›</a:t>
            </a:fld>
            <a:endParaRPr lang="en-US" altLang="zh-CN" sz="1300" kern="0" dirty="0">
              <a:solidFill>
                <a:srgbClr val="B5B5B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61218" name="Picture 770" descr="C:\Users\lirui10\Desktop\logo\LOGO-02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03" y="87999"/>
            <a:ext cx="1920000" cy="66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1038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hdr="0" ftr="0"/>
  <p:txStyles>
    <p:titleStyle>
      <a:lvl1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+mj-lt"/>
          <a:ea typeface="+mj-ea"/>
          <a:cs typeface="+mj-cs"/>
        </a:defRPr>
      </a:lvl1pPr>
      <a:lvl2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2pPr>
      <a:lvl3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3pPr>
      <a:lvl4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4pPr>
      <a:lvl5pPr algn="l" defTabSz="1068731" rtl="0" eaLnBrk="0" fontAlgn="base" hangingPunct="0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5pPr>
      <a:lvl6pPr marL="609491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6pPr>
      <a:lvl7pPr marL="1218990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7pPr>
      <a:lvl8pPr marL="1828482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8pPr>
      <a:lvl9pPr marL="2437978" algn="l" defTabSz="1068731" rtl="0" fontAlgn="base">
        <a:spcBef>
          <a:spcPct val="0"/>
        </a:spcBef>
        <a:spcAft>
          <a:spcPct val="0"/>
        </a:spcAft>
        <a:defRPr sz="3200">
          <a:solidFill>
            <a:srgbClr val="CC0000"/>
          </a:solidFill>
          <a:latin typeface="FrutigerNext LT Medium" pitchFamily="34" charset="0"/>
          <a:ea typeface="黑体" pitchFamily="49" charset="-122"/>
        </a:defRPr>
      </a:lvl9pPr>
    </p:titleStyle>
    <p:bodyStyle>
      <a:lvl1pPr marL="399981" indent="-39998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3500" b="1">
          <a:solidFill>
            <a:srgbClr val="777777"/>
          </a:solidFill>
          <a:latin typeface="+mn-lt"/>
          <a:ea typeface="+mn-ea"/>
          <a:cs typeface="+mn-cs"/>
        </a:defRPr>
      </a:lvl1pPr>
      <a:lvl2pPr marL="869801" indent="-334377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 sz="3200">
          <a:solidFill>
            <a:srgbClr val="777777"/>
          </a:solidFill>
          <a:latin typeface="+mn-lt"/>
          <a:ea typeface="+mn-ea"/>
        </a:defRPr>
      </a:lvl2pPr>
      <a:lvl3pPr marL="1337500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2900">
          <a:solidFill>
            <a:srgbClr val="777777"/>
          </a:solidFill>
          <a:latin typeface="+mn-lt"/>
          <a:ea typeface="+mn-ea"/>
        </a:defRPr>
      </a:lvl3pPr>
      <a:lvl4pPr marL="1868691" indent="-266653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–"/>
        <a:defRPr sz="2700">
          <a:solidFill>
            <a:srgbClr val="777777"/>
          </a:solidFill>
          <a:latin typeface="+mn-lt"/>
          <a:ea typeface="+mn-ea"/>
        </a:defRPr>
      </a:lvl4pPr>
      <a:lvl5pPr marL="2404113" indent="-268771" algn="l" defTabSz="106873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5pPr>
      <a:lvl6pPr marL="3013603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6pPr>
      <a:lvl7pPr marL="3623099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7pPr>
      <a:lvl8pPr marL="4232596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8pPr>
      <a:lvl9pPr marL="4842090" indent="-268771" algn="l" defTabSz="1068731" rtl="0" fontAlgn="base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>
          <a:solidFill>
            <a:srgbClr val="777777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1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90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2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8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59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8">
          <p15:clr>
            <a:srgbClr val="F26B43"/>
          </p15:clr>
        </p15:guide>
        <p15:guide id="2" pos="56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2.jpeg"/><Relationship Id="rId39" Type="http://schemas.openxmlformats.org/officeDocument/2006/relationships/image" Target="../media/image55.png"/><Relationship Id="rId21" Type="http://schemas.openxmlformats.org/officeDocument/2006/relationships/image" Target="../media/image37.png"/><Relationship Id="rId34" Type="http://schemas.openxmlformats.org/officeDocument/2006/relationships/image" Target="../media/image50.png"/><Relationship Id="rId42" Type="http://schemas.openxmlformats.org/officeDocument/2006/relationships/image" Target="../media/image58.png"/><Relationship Id="rId47" Type="http://schemas.openxmlformats.org/officeDocument/2006/relationships/image" Target="../media/image63.png"/><Relationship Id="rId50" Type="http://schemas.openxmlformats.org/officeDocument/2006/relationships/image" Target="../media/image66.png"/><Relationship Id="rId55" Type="http://schemas.openxmlformats.org/officeDocument/2006/relationships/image" Target="../media/image71.png"/><Relationship Id="rId7" Type="http://schemas.openxmlformats.org/officeDocument/2006/relationships/image" Target="../media/image23.png"/><Relationship Id="rId2" Type="http://schemas.openxmlformats.org/officeDocument/2006/relationships/tags" Target="../tags/tag27.xml"/><Relationship Id="rId16" Type="http://schemas.openxmlformats.org/officeDocument/2006/relationships/image" Target="../media/image32.png"/><Relationship Id="rId29" Type="http://schemas.openxmlformats.org/officeDocument/2006/relationships/image" Target="../media/image45.png"/><Relationship Id="rId11" Type="http://schemas.openxmlformats.org/officeDocument/2006/relationships/image" Target="../media/image27.png"/><Relationship Id="rId24" Type="http://schemas.openxmlformats.org/officeDocument/2006/relationships/image" Target="../media/image40.png"/><Relationship Id="rId32" Type="http://schemas.openxmlformats.org/officeDocument/2006/relationships/image" Target="../media/image48.png"/><Relationship Id="rId37" Type="http://schemas.openxmlformats.org/officeDocument/2006/relationships/image" Target="../media/image53.png"/><Relationship Id="rId40" Type="http://schemas.openxmlformats.org/officeDocument/2006/relationships/image" Target="../media/image56.png"/><Relationship Id="rId45" Type="http://schemas.openxmlformats.org/officeDocument/2006/relationships/image" Target="../media/image61.png"/><Relationship Id="rId53" Type="http://schemas.openxmlformats.org/officeDocument/2006/relationships/image" Target="../media/image69.png"/><Relationship Id="rId58" Type="http://schemas.openxmlformats.org/officeDocument/2006/relationships/image" Target="../media/image74.jpeg"/><Relationship Id="rId5" Type="http://schemas.openxmlformats.org/officeDocument/2006/relationships/image" Target="../media/image2.emf"/><Relationship Id="rId19" Type="http://schemas.openxmlformats.org/officeDocument/2006/relationships/image" Target="../media/image35.pn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25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Relationship Id="rId27" Type="http://schemas.openxmlformats.org/officeDocument/2006/relationships/image" Target="../media/image43.png"/><Relationship Id="rId30" Type="http://schemas.openxmlformats.org/officeDocument/2006/relationships/image" Target="../media/image46.png"/><Relationship Id="rId35" Type="http://schemas.openxmlformats.org/officeDocument/2006/relationships/image" Target="../media/image51.png"/><Relationship Id="rId43" Type="http://schemas.openxmlformats.org/officeDocument/2006/relationships/image" Target="../media/image59.png"/><Relationship Id="rId48" Type="http://schemas.openxmlformats.org/officeDocument/2006/relationships/image" Target="../media/image64.jpeg"/><Relationship Id="rId56" Type="http://schemas.openxmlformats.org/officeDocument/2006/relationships/image" Target="../media/image72.png"/><Relationship Id="rId8" Type="http://schemas.openxmlformats.org/officeDocument/2006/relationships/image" Target="../media/image24.jpeg"/><Relationship Id="rId51" Type="http://schemas.openxmlformats.org/officeDocument/2006/relationships/image" Target="../media/image67.png"/><Relationship Id="rId3" Type="http://schemas.openxmlformats.org/officeDocument/2006/relationships/slideLayout" Target="../slideLayouts/slideLayout3.xml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33" Type="http://schemas.openxmlformats.org/officeDocument/2006/relationships/image" Target="../media/image49.png"/><Relationship Id="rId38" Type="http://schemas.openxmlformats.org/officeDocument/2006/relationships/image" Target="../media/image54.png"/><Relationship Id="rId46" Type="http://schemas.openxmlformats.org/officeDocument/2006/relationships/image" Target="../media/image62.png"/><Relationship Id="rId20" Type="http://schemas.openxmlformats.org/officeDocument/2006/relationships/image" Target="../media/image36.png"/><Relationship Id="rId41" Type="http://schemas.openxmlformats.org/officeDocument/2006/relationships/image" Target="../media/image57.png"/><Relationship Id="rId54" Type="http://schemas.openxmlformats.org/officeDocument/2006/relationships/image" Target="../media/image70.png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2.png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4.png"/><Relationship Id="rId36" Type="http://schemas.openxmlformats.org/officeDocument/2006/relationships/image" Target="../media/image52.jpeg"/><Relationship Id="rId49" Type="http://schemas.openxmlformats.org/officeDocument/2006/relationships/image" Target="../media/image65.jpeg"/><Relationship Id="rId57" Type="http://schemas.openxmlformats.org/officeDocument/2006/relationships/image" Target="../media/image73.jpeg"/><Relationship Id="rId10" Type="http://schemas.openxmlformats.org/officeDocument/2006/relationships/image" Target="../media/image26.png"/><Relationship Id="rId31" Type="http://schemas.openxmlformats.org/officeDocument/2006/relationships/image" Target="../media/image47.png"/><Relationship Id="rId44" Type="http://schemas.openxmlformats.org/officeDocument/2006/relationships/image" Target="../media/image60.png"/><Relationship Id="rId52" Type="http://schemas.openxmlformats.org/officeDocument/2006/relationships/image" Target="../media/image6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7" Type="http://schemas.openxmlformats.org/officeDocument/2006/relationships/image" Target="../media/image79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8.jpeg"/><Relationship Id="rId5" Type="http://schemas.openxmlformats.org/officeDocument/2006/relationships/image" Target="../media/image77.png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7" Type="http://schemas.openxmlformats.org/officeDocument/2006/relationships/image" Target="../media/image93.gif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2.gif"/><Relationship Id="rId5" Type="http://schemas.openxmlformats.org/officeDocument/2006/relationships/image" Target="../media/image91.gif"/><Relationship Id="rId4" Type="http://schemas.openxmlformats.org/officeDocument/2006/relationships/image" Target="../media/image90.g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8.png"/><Relationship Id="rId5" Type="http://schemas.openxmlformats.org/officeDocument/2006/relationships/image" Target="../media/image97.jpeg"/><Relationship Id="rId4" Type="http://schemas.openxmlformats.org/officeDocument/2006/relationships/image" Target="../media/image9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gif"/><Relationship Id="rId2" Type="http://schemas.openxmlformats.org/officeDocument/2006/relationships/image" Target="../media/image99.g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2.jpeg"/><Relationship Id="rId4" Type="http://schemas.openxmlformats.org/officeDocument/2006/relationships/image" Target="../media/image101.gi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105.png"/><Relationship Id="rId5" Type="http://schemas.openxmlformats.org/officeDocument/2006/relationships/image" Target="../media/image104.emf"/><Relationship Id="rId4" Type="http://schemas.openxmlformats.org/officeDocument/2006/relationships/image" Target="../media/image10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jpeg"/><Relationship Id="rId3" Type="http://schemas.openxmlformats.org/officeDocument/2006/relationships/image" Target="../media/image107.jpeg"/><Relationship Id="rId7" Type="http://schemas.openxmlformats.org/officeDocument/2006/relationships/image" Target="../media/image111.jpeg"/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0.jpeg"/><Relationship Id="rId5" Type="http://schemas.openxmlformats.org/officeDocument/2006/relationships/image" Target="../media/image109.jpeg"/><Relationship Id="rId4" Type="http://schemas.openxmlformats.org/officeDocument/2006/relationships/image" Target="../media/image108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4.jpeg"/><Relationship Id="rId3" Type="http://schemas.openxmlformats.org/officeDocument/2006/relationships/image" Target="../media/image114.emf"/><Relationship Id="rId7" Type="http://schemas.openxmlformats.org/officeDocument/2006/relationships/image" Target="../media/image118.png"/><Relationship Id="rId12" Type="http://schemas.openxmlformats.org/officeDocument/2006/relationships/image" Target="../media/image123.png"/><Relationship Id="rId2" Type="http://schemas.openxmlformats.org/officeDocument/2006/relationships/image" Target="../media/image113.emf"/><Relationship Id="rId16" Type="http://schemas.openxmlformats.org/officeDocument/2006/relationships/image" Target="../media/image1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7.jpeg"/><Relationship Id="rId11" Type="http://schemas.openxmlformats.org/officeDocument/2006/relationships/image" Target="../media/image122.png"/><Relationship Id="rId5" Type="http://schemas.openxmlformats.org/officeDocument/2006/relationships/image" Target="../media/image116.emf"/><Relationship Id="rId15" Type="http://schemas.openxmlformats.org/officeDocument/2006/relationships/image" Target="../media/image126.png"/><Relationship Id="rId10" Type="http://schemas.openxmlformats.org/officeDocument/2006/relationships/image" Target="../media/image121.png"/><Relationship Id="rId4" Type="http://schemas.openxmlformats.org/officeDocument/2006/relationships/image" Target="../media/image115.emf"/><Relationship Id="rId9" Type="http://schemas.openxmlformats.org/officeDocument/2006/relationships/image" Target="../media/image120.png"/><Relationship Id="rId14" Type="http://schemas.openxmlformats.org/officeDocument/2006/relationships/image" Target="../media/image12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4.emf"/><Relationship Id="rId13" Type="http://schemas.openxmlformats.org/officeDocument/2006/relationships/image" Target="../media/image139.png"/><Relationship Id="rId18" Type="http://schemas.openxmlformats.org/officeDocument/2006/relationships/image" Target="../media/image144.png"/><Relationship Id="rId3" Type="http://schemas.openxmlformats.org/officeDocument/2006/relationships/image" Target="../media/image129.png"/><Relationship Id="rId21" Type="http://schemas.openxmlformats.org/officeDocument/2006/relationships/image" Target="../media/image147.png"/><Relationship Id="rId7" Type="http://schemas.openxmlformats.org/officeDocument/2006/relationships/image" Target="../media/image133.png"/><Relationship Id="rId12" Type="http://schemas.openxmlformats.org/officeDocument/2006/relationships/image" Target="../media/image138.png"/><Relationship Id="rId17" Type="http://schemas.openxmlformats.org/officeDocument/2006/relationships/image" Target="../media/image143.jpeg"/><Relationship Id="rId25" Type="http://schemas.openxmlformats.org/officeDocument/2006/relationships/image" Target="../media/image151.png"/><Relationship Id="rId2" Type="http://schemas.openxmlformats.org/officeDocument/2006/relationships/image" Target="../media/image128.png"/><Relationship Id="rId16" Type="http://schemas.openxmlformats.org/officeDocument/2006/relationships/image" Target="../media/image142.png"/><Relationship Id="rId20" Type="http://schemas.openxmlformats.org/officeDocument/2006/relationships/image" Target="../media/image14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2.png"/><Relationship Id="rId11" Type="http://schemas.openxmlformats.org/officeDocument/2006/relationships/image" Target="../media/image137.png"/><Relationship Id="rId24" Type="http://schemas.openxmlformats.org/officeDocument/2006/relationships/image" Target="../media/image150.png"/><Relationship Id="rId5" Type="http://schemas.openxmlformats.org/officeDocument/2006/relationships/image" Target="../media/image131.png"/><Relationship Id="rId15" Type="http://schemas.openxmlformats.org/officeDocument/2006/relationships/image" Target="../media/image141.png"/><Relationship Id="rId23" Type="http://schemas.openxmlformats.org/officeDocument/2006/relationships/image" Target="../media/image149.png"/><Relationship Id="rId10" Type="http://schemas.openxmlformats.org/officeDocument/2006/relationships/image" Target="../media/image136.png"/><Relationship Id="rId19" Type="http://schemas.openxmlformats.org/officeDocument/2006/relationships/image" Target="../media/image145.jpeg"/><Relationship Id="rId4" Type="http://schemas.openxmlformats.org/officeDocument/2006/relationships/image" Target="../media/image130.png"/><Relationship Id="rId9" Type="http://schemas.openxmlformats.org/officeDocument/2006/relationships/image" Target="../media/image135.png"/><Relationship Id="rId14" Type="http://schemas.openxmlformats.org/officeDocument/2006/relationships/image" Target="../media/image140.jpeg"/><Relationship Id="rId22" Type="http://schemas.openxmlformats.org/officeDocument/2006/relationships/image" Target="../media/image14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png"/><Relationship Id="rId3" Type="http://schemas.openxmlformats.org/officeDocument/2006/relationships/image" Target="../media/image153.png"/><Relationship Id="rId7" Type="http://schemas.openxmlformats.org/officeDocument/2006/relationships/image" Target="../media/image157.png"/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6.png"/><Relationship Id="rId11" Type="http://schemas.openxmlformats.org/officeDocument/2006/relationships/image" Target="../media/image161.png"/><Relationship Id="rId5" Type="http://schemas.openxmlformats.org/officeDocument/2006/relationships/image" Target="../media/image155.png"/><Relationship Id="rId10" Type="http://schemas.openxmlformats.org/officeDocument/2006/relationships/image" Target="../media/image160.png"/><Relationship Id="rId4" Type="http://schemas.openxmlformats.org/officeDocument/2006/relationships/image" Target="../media/image154.png"/><Relationship Id="rId9" Type="http://schemas.openxmlformats.org/officeDocument/2006/relationships/image" Target="../media/image15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jpeg"/><Relationship Id="rId2" Type="http://schemas.openxmlformats.org/officeDocument/2006/relationships/image" Target="../media/image16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6.jpeg"/><Relationship Id="rId5" Type="http://schemas.openxmlformats.org/officeDocument/2006/relationships/image" Target="../media/image165.jpeg"/><Relationship Id="rId4" Type="http://schemas.openxmlformats.org/officeDocument/2006/relationships/image" Target="../media/image164.jpeg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8.png"/><Relationship Id="rId18" Type="http://schemas.openxmlformats.org/officeDocument/2006/relationships/image" Target="../media/image183.png"/><Relationship Id="rId26" Type="http://schemas.openxmlformats.org/officeDocument/2006/relationships/image" Target="../media/image191.png"/><Relationship Id="rId39" Type="http://schemas.openxmlformats.org/officeDocument/2006/relationships/image" Target="../media/image204.png"/><Relationship Id="rId21" Type="http://schemas.openxmlformats.org/officeDocument/2006/relationships/image" Target="../media/image186.png"/><Relationship Id="rId34" Type="http://schemas.openxmlformats.org/officeDocument/2006/relationships/image" Target="../media/image199.png"/><Relationship Id="rId42" Type="http://schemas.openxmlformats.org/officeDocument/2006/relationships/image" Target="../media/image207.png"/><Relationship Id="rId7" Type="http://schemas.openxmlformats.org/officeDocument/2006/relationships/image" Target="../media/image172.png"/><Relationship Id="rId2" Type="http://schemas.openxmlformats.org/officeDocument/2006/relationships/image" Target="../media/image167.png"/><Relationship Id="rId16" Type="http://schemas.openxmlformats.org/officeDocument/2006/relationships/image" Target="../media/image181.png"/><Relationship Id="rId20" Type="http://schemas.openxmlformats.org/officeDocument/2006/relationships/image" Target="../media/image185.png"/><Relationship Id="rId29" Type="http://schemas.openxmlformats.org/officeDocument/2006/relationships/image" Target="../media/image194.png"/><Relationship Id="rId41" Type="http://schemas.openxmlformats.org/officeDocument/2006/relationships/image" Target="../media/image20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1.png"/><Relationship Id="rId11" Type="http://schemas.openxmlformats.org/officeDocument/2006/relationships/image" Target="../media/image176.png"/><Relationship Id="rId24" Type="http://schemas.openxmlformats.org/officeDocument/2006/relationships/image" Target="../media/image189.png"/><Relationship Id="rId32" Type="http://schemas.openxmlformats.org/officeDocument/2006/relationships/image" Target="../media/image197.png"/><Relationship Id="rId37" Type="http://schemas.openxmlformats.org/officeDocument/2006/relationships/image" Target="../media/image202.png"/><Relationship Id="rId40" Type="http://schemas.openxmlformats.org/officeDocument/2006/relationships/image" Target="../media/image205.png"/><Relationship Id="rId5" Type="http://schemas.openxmlformats.org/officeDocument/2006/relationships/image" Target="../media/image170.png"/><Relationship Id="rId15" Type="http://schemas.openxmlformats.org/officeDocument/2006/relationships/image" Target="../media/image180.png"/><Relationship Id="rId23" Type="http://schemas.openxmlformats.org/officeDocument/2006/relationships/image" Target="../media/image188.png"/><Relationship Id="rId28" Type="http://schemas.openxmlformats.org/officeDocument/2006/relationships/image" Target="../media/image193.png"/><Relationship Id="rId36" Type="http://schemas.openxmlformats.org/officeDocument/2006/relationships/image" Target="../media/image201.png"/><Relationship Id="rId10" Type="http://schemas.openxmlformats.org/officeDocument/2006/relationships/image" Target="../media/image175.png"/><Relationship Id="rId19" Type="http://schemas.openxmlformats.org/officeDocument/2006/relationships/image" Target="../media/image184.png"/><Relationship Id="rId31" Type="http://schemas.openxmlformats.org/officeDocument/2006/relationships/image" Target="../media/image196.png"/><Relationship Id="rId44" Type="http://schemas.openxmlformats.org/officeDocument/2006/relationships/image" Target="../media/image209.png"/><Relationship Id="rId4" Type="http://schemas.openxmlformats.org/officeDocument/2006/relationships/image" Target="../media/image169.png"/><Relationship Id="rId9" Type="http://schemas.openxmlformats.org/officeDocument/2006/relationships/image" Target="../media/image174.png"/><Relationship Id="rId14" Type="http://schemas.openxmlformats.org/officeDocument/2006/relationships/image" Target="../media/image179.png"/><Relationship Id="rId22" Type="http://schemas.openxmlformats.org/officeDocument/2006/relationships/image" Target="../media/image187.png"/><Relationship Id="rId27" Type="http://schemas.openxmlformats.org/officeDocument/2006/relationships/image" Target="../media/image192.png"/><Relationship Id="rId30" Type="http://schemas.openxmlformats.org/officeDocument/2006/relationships/image" Target="../media/image195.png"/><Relationship Id="rId35" Type="http://schemas.openxmlformats.org/officeDocument/2006/relationships/image" Target="../media/image200.png"/><Relationship Id="rId43" Type="http://schemas.openxmlformats.org/officeDocument/2006/relationships/image" Target="../media/image208.png"/><Relationship Id="rId8" Type="http://schemas.openxmlformats.org/officeDocument/2006/relationships/image" Target="../media/image173.png"/><Relationship Id="rId3" Type="http://schemas.openxmlformats.org/officeDocument/2006/relationships/image" Target="../media/image168.png"/><Relationship Id="rId12" Type="http://schemas.openxmlformats.org/officeDocument/2006/relationships/image" Target="../media/image177.png"/><Relationship Id="rId17" Type="http://schemas.openxmlformats.org/officeDocument/2006/relationships/image" Target="../media/image182.png"/><Relationship Id="rId25" Type="http://schemas.openxmlformats.org/officeDocument/2006/relationships/image" Target="../media/image190.png"/><Relationship Id="rId33" Type="http://schemas.openxmlformats.org/officeDocument/2006/relationships/image" Target="../media/image198.png"/><Relationship Id="rId38" Type="http://schemas.openxmlformats.org/officeDocument/2006/relationships/image" Target="../media/image203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4.jpeg"/><Relationship Id="rId3" Type="http://schemas.openxmlformats.org/officeDocument/2006/relationships/image" Target="../media/image210.png"/><Relationship Id="rId7" Type="http://schemas.openxmlformats.org/officeDocument/2006/relationships/image" Target="../media/image213.jpeg"/><Relationship Id="rId12" Type="http://schemas.openxmlformats.org/officeDocument/2006/relationships/image" Target="../media/image21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2.jpeg"/><Relationship Id="rId11" Type="http://schemas.openxmlformats.org/officeDocument/2006/relationships/image" Target="../media/image217.jpeg"/><Relationship Id="rId5" Type="http://schemas.openxmlformats.org/officeDocument/2006/relationships/image" Target="../media/image211.jpeg"/><Relationship Id="rId10" Type="http://schemas.openxmlformats.org/officeDocument/2006/relationships/image" Target="../media/image216.png"/><Relationship Id="rId4" Type="http://schemas.microsoft.com/office/2007/relationships/hdphoto" Target="../media/hdphoto1.wdp"/><Relationship Id="rId9" Type="http://schemas.openxmlformats.org/officeDocument/2006/relationships/image" Target="../media/image215.jpeg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9" Type="http://schemas.openxmlformats.org/officeDocument/2006/relationships/tags" Target="../tags/tag67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42" Type="http://schemas.openxmlformats.org/officeDocument/2006/relationships/tags" Target="../tags/tag70.xml"/><Relationship Id="rId47" Type="http://schemas.openxmlformats.org/officeDocument/2006/relationships/tags" Target="../tags/tag75.xml"/><Relationship Id="rId50" Type="http://schemas.openxmlformats.org/officeDocument/2006/relationships/tags" Target="../tags/tag78.xml"/><Relationship Id="rId55" Type="http://schemas.openxmlformats.org/officeDocument/2006/relationships/tags" Target="../tags/tag83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9" Type="http://schemas.openxmlformats.org/officeDocument/2006/relationships/tags" Target="../tags/tag57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40" Type="http://schemas.openxmlformats.org/officeDocument/2006/relationships/tags" Target="../tags/tag68.xml"/><Relationship Id="rId45" Type="http://schemas.openxmlformats.org/officeDocument/2006/relationships/tags" Target="../tags/tag73.xml"/><Relationship Id="rId53" Type="http://schemas.openxmlformats.org/officeDocument/2006/relationships/tags" Target="../tags/tag81.xml"/><Relationship Id="rId58" Type="http://schemas.openxmlformats.org/officeDocument/2006/relationships/image" Target="../media/image219.png"/><Relationship Id="rId5" Type="http://schemas.openxmlformats.org/officeDocument/2006/relationships/tags" Target="../tags/tag33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43" Type="http://schemas.openxmlformats.org/officeDocument/2006/relationships/tags" Target="../tags/tag71.xml"/><Relationship Id="rId48" Type="http://schemas.openxmlformats.org/officeDocument/2006/relationships/tags" Target="../tags/tag76.xml"/><Relationship Id="rId56" Type="http://schemas.openxmlformats.org/officeDocument/2006/relationships/tags" Target="../tags/tag84.xml"/><Relationship Id="rId8" Type="http://schemas.openxmlformats.org/officeDocument/2006/relationships/tags" Target="../tags/tag36.xml"/><Relationship Id="rId51" Type="http://schemas.openxmlformats.org/officeDocument/2006/relationships/tags" Target="../tags/tag79.xml"/><Relationship Id="rId3" Type="http://schemas.openxmlformats.org/officeDocument/2006/relationships/tags" Target="../tags/tag31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38" Type="http://schemas.openxmlformats.org/officeDocument/2006/relationships/tags" Target="../tags/tag66.xml"/><Relationship Id="rId46" Type="http://schemas.openxmlformats.org/officeDocument/2006/relationships/tags" Target="../tags/tag74.xml"/><Relationship Id="rId20" Type="http://schemas.openxmlformats.org/officeDocument/2006/relationships/tags" Target="../tags/tag48.xml"/><Relationship Id="rId41" Type="http://schemas.openxmlformats.org/officeDocument/2006/relationships/tags" Target="../tags/tag69.xml"/><Relationship Id="rId54" Type="http://schemas.openxmlformats.org/officeDocument/2006/relationships/tags" Target="../tags/tag82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49" Type="http://schemas.openxmlformats.org/officeDocument/2006/relationships/tags" Target="../tags/tag77.xml"/><Relationship Id="rId57" Type="http://schemas.openxmlformats.org/officeDocument/2006/relationships/slideLayout" Target="../slideLayouts/slideLayout3.xml"/><Relationship Id="rId10" Type="http://schemas.openxmlformats.org/officeDocument/2006/relationships/tags" Target="../tags/tag38.xml"/><Relationship Id="rId31" Type="http://schemas.openxmlformats.org/officeDocument/2006/relationships/tags" Target="../tags/tag59.xml"/><Relationship Id="rId44" Type="http://schemas.openxmlformats.org/officeDocument/2006/relationships/tags" Target="../tags/tag72.xml"/><Relationship Id="rId52" Type="http://schemas.openxmlformats.org/officeDocument/2006/relationships/tags" Target="../tags/tag8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5.png"/><Relationship Id="rId13" Type="http://schemas.openxmlformats.org/officeDocument/2006/relationships/image" Target="../media/image230.png"/><Relationship Id="rId18" Type="http://schemas.openxmlformats.org/officeDocument/2006/relationships/image" Target="../media/image235.png"/><Relationship Id="rId3" Type="http://schemas.openxmlformats.org/officeDocument/2006/relationships/image" Target="../media/image220.jpg"/><Relationship Id="rId21" Type="http://schemas.openxmlformats.org/officeDocument/2006/relationships/image" Target="../media/image238.png"/><Relationship Id="rId7" Type="http://schemas.openxmlformats.org/officeDocument/2006/relationships/image" Target="../media/image224.png"/><Relationship Id="rId12" Type="http://schemas.openxmlformats.org/officeDocument/2006/relationships/image" Target="../media/image229.png"/><Relationship Id="rId17" Type="http://schemas.openxmlformats.org/officeDocument/2006/relationships/image" Target="../media/image234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233.png"/><Relationship Id="rId20" Type="http://schemas.openxmlformats.org/officeDocument/2006/relationships/image" Target="../media/image23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3.png"/><Relationship Id="rId11" Type="http://schemas.openxmlformats.org/officeDocument/2006/relationships/image" Target="../media/image228.png"/><Relationship Id="rId5" Type="http://schemas.openxmlformats.org/officeDocument/2006/relationships/image" Target="../media/image222.png"/><Relationship Id="rId15" Type="http://schemas.openxmlformats.org/officeDocument/2006/relationships/image" Target="../media/image232.png"/><Relationship Id="rId10" Type="http://schemas.openxmlformats.org/officeDocument/2006/relationships/image" Target="../media/image227.png"/><Relationship Id="rId19" Type="http://schemas.openxmlformats.org/officeDocument/2006/relationships/image" Target="../media/image236.png"/><Relationship Id="rId4" Type="http://schemas.openxmlformats.org/officeDocument/2006/relationships/image" Target="../media/image221.png"/><Relationship Id="rId9" Type="http://schemas.openxmlformats.org/officeDocument/2006/relationships/image" Target="../media/image226.png"/><Relationship Id="rId14" Type="http://schemas.openxmlformats.org/officeDocument/2006/relationships/image" Target="../media/image231.png"/><Relationship Id="rId22" Type="http://schemas.openxmlformats.org/officeDocument/2006/relationships/image" Target="../media/image239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13" Type="http://schemas.openxmlformats.org/officeDocument/2006/relationships/image" Target="../media/image242.png"/><Relationship Id="rId18" Type="http://schemas.openxmlformats.org/officeDocument/2006/relationships/image" Target="../media/image247.png"/><Relationship Id="rId3" Type="http://schemas.openxmlformats.org/officeDocument/2006/relationships/tags" Target="../tags/tag86.xml"/><Relationship Id="rId7" Type="http://schemas.openxmlformats.org/officeDocument/2006/relationships/image" Target="../media/image2.emf"/><Relationship Id="rId12" Type="http://schemas.openxmlformats.org/officeDocument/2006/relationships/image" Target="../media/image241.png"/><Relationship Id="rId17" Type="http://schemas.openxmlformats.org/officeDocument/2006/relationships/image" Target="../media/image246.png"/><Relationship Id="rId2" Type="http://schemas.openxmlformats.org/officeDocument/2006/relationships/tags" Target="../tags/tag85.xml"/><Relationship Id="rId16" Type="http://schemas.openxmlformats.org/officeDocument/2006/relationships/image" Target="../media/image245.png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8.bin"/><Relationship Id="rId11" Type="http://schemas.openxmlformats.org/officeDocument/2006/relationships/chart" Target="../charts/chart6.xml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244.png"/><Relationship Id="rId10" Type="http://schemas.openxmlformats.org/officeDocument/2006/relationships/image" Target="../media/image240.png"/><Relationship Id="rId4" Type="http://schemas.openxmlformats.org/officeDocument/2006/relationships/slideLayout" Target="../slideLayouts/slideLayout3.xml"/><Relationship Id="rId9" Type="http://schemas.openxmlformats.org/officeDocument/2006/relationships/chart" Target="../charts/chart5.xml"/><Relationship Id="rId14" Type="http://schemas.openxmlformats.org/officeDocument/2006/relationships/image" Target="../media/image243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1.png"/><Relationship Id="rId13" Type="http://schemas.openxmlformats.org/officeDocument/2006/relationships/image" Target="../media/image253.gif"/><Relationship Id="rId3" Type="http://schemas.openxmlformats.org/officeDocument/2006/relationships/image" Target="../media/image248.jpeg"/><Relationship Id="rId7" Type="http://schemas.openxmlformats.org/officeDocument/2006/relationships/image" Target="../media/image250.png"/><Relationship Id="rId12" Type="http://schemas.microsoft.com/office/2007/relationships/hdphoto" Target="../media/hdphoto3.wdp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9.png"/><Relationship Id="rId11" Type="http://schemas.openxmlformats.org/officeDocument/2006/relationships/image" Target="../media/image252.png"/><Relationship Id="rId5" Type="http://schemas.openxmlformats.org/officeDocument/2006/relationships/chart" Target="../charts/chart8.xml"/><Relationship Id="rId10" Type="http://schemas.openxmlformats.org/officeDocument/2006/relationships/hyperlink" Target="http://www.gome.com.hk/html/index.php" TargetMode="External"/><Relationship Id="rId4" Type="http://schemas.openxmlformats.org/officeDocument/2006/relationships/chart" Target="../charts/chart7.xml"/><Relationship Id="rId9" Type="http://schemas.microsoft.com/office/2007/relationships/hdphoto" Target="../media/hdphoto2.wdp"/><Relationship Id="rId14" Type="http://schemas.openxmlformats.org/officeDocument/2006/relationships/image" Target="../media/image254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0.png"/><Relationship Id="rId13" Type="http://schemas.openxmlformats.org/officeDocument/2006/relationships/image" Target="../media/image265.png"/><Relationship Id="rId3" Type="http://schemas.openxmlformats.org/officeDocument/2006/relationships/image" Target="../media/image255.png"/><Relationship Id="rId7" Type="http://schemas.openxmlformats.org/officeDocument/2006/relationships/image" Target="../media/image259.png"/><Relationship Id="rId12" Type="http://schemas.openxmlformats.org/officeDocument/2006/relationships/image" Target="../media/image26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8.png"/><Relationship Id="rId11" Type="http://schemas.openxmlformats.org/officeDocument/2006/relationships/image" Target="../media/image263.png"/><Relationship Id="rId5" Type="http://schemas.openxmlformats.org/officeDocument/2006/relationships/image" Target="../media/image257.png"/><Relationship Id="rId10" Type="http://schemas.openxmlformats.org/officeDocument/2006/relationships/image" Target="../media/image262.png"/><Relationship Id="rId4" Type="http://schemas.openxmlformats.org/officeDocument/2006/relationships/image" Target="../media/image256.jpeg"/><Relationship Id="rId9" Type="http://schemas.openxmlformats.org/officeDocument/2006/relationships/image" Target="../media/image261.png"/><Relationship Id="rId14" Type="http://schemas.openxmlformats.org/officeDocument/2006/relationships/chart" Target="../charts/chart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8.wmf"/><Relationship Id="rId4" Type="http://schemas.openxmlformats.org/officeDocument/2006/relationships/image" Target="../media/image267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4.jpeg"/><Relationship Id="rId3" Type="http://schemas.openxmlformats.org/officeDocument/2006/relationships/image" Target="../media/image269.png"/><Relationship Id="rId7" Type="http://schemas.openxmlformats.org/officeDocument/2006/relationships/image" Target="../media/image273.jpeg"/><Relationship Id="rId12" Type="http://schemas.openxmlformats.org/officeDocument/2006/relationships/image" Target="../media/image27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2.jpeg"/><Relationship Id="rId11" Type="http://schemas.openxmlformats.org/officeDocument/2006/relationships/image" Target="../media/image277.jpeg"/><Relationship Id="rId5" Type="http://schemas.openxmlformats.org/officeDocument/2006/relationships/image" Target="../media/image271.png"/><Relationship Id="rId10" Type="http://schemas.openxmlformats.org/officeDocument/2006/relationships/image" Target="../media/image276.png"/><Relationship Id="rId4" Type="http://schemas.openxmlformats.org/officeDocument/2006/relationships/image" Target="../media/image270.png"/><Relationship Id="rId9" Type="http://schemas.openxmlformats.org/officeDocument/2006/relationships/image" Target="../media/image275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9.png"/><Relationship Id="rId13" Type="http://schemas.openxmlformats.org/officeDocument/2006/relationships/image" Target="../media/image284.png"/><Relationship Id="rId3" Type="http://schemas.openxmlformats.org/officeDocument/2006/relationships/tags" Target="../tags/tag88.xml"/><Relationship Id="rId7" Type="http://schemas.openxmlformats.org/officeDocument/2006/relationships/image" Target="../media/image2.emf"/><Relationship Id="rId12" Type="http://schemas.openxmlformats.org/officeDocument/2006/relationships/image" Target="../media/image283.png"/><Relationship Id="rId2" Type="http://schemas.openxmlformats.org/officeDocument/2006/relationships/tags" Target="../tags/tag87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9.bin"/><Relationship Id="rId11" Type="http://schemas.openxmlformats.org/officeDocument/2006/relationships/image" Target="../media/image282.jpeg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281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80.png"/><Relationship Id="rId14" Type="http://schemas.openxmlformats.org/officeDocument/2006/relationships/chart" Target="../charts/chart10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5.png"/><Relationship Id="rId3" Type="http://schemas.openxmlformats.org/officeDocument/2006/relationships/tags" Target="../tags/tag91.xml"/><Relationship Id="rId7" Type="http://schemas.openxmlformats.org/officeDocument/2006/relationships/image" Target="../media/image222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92.xml"/><Relationship Id="rId9" Type="http://schemas.openxmlformats.org/officeDocument/2006/relationships/image" Target="../media/image286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2.jpeg"/><Relationship Id="rId3" Type="http://schemas.openxmlformats.org/officeDocument/2006/relationships/image" Target="../media/image287.png"/><Relationship Id="rId7" Type="http://schemas.openxmlformats.org/officeDocument/2006/relationships/image" Target="../media/image29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0.jpeg"/><Relationship Id="rId5" Type="http://schemas.openxmlformats.org/officeDocument/2006/relationships/image" Target="../media/image289.jpeg"/><Relationship Id="rId4" Type="http://schemas.openxmlformats.org/officeDocument/2006/relationships/image" Target="../media/image288.jpeg"/><Relationship Id="rId9" Type="http://schemas.openxmlformats.org/officeDocument/2006/relationships/image" Target="../media/image293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4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0813" y="202021"/>
            <a:ext cx="1734299" cy="390505"/>
          </a:xfrm>
          <a:prstGeom prst="rect">
            <a:avLst/>
          </a:prstGeom>
        </p:spPr>
      </p:pic>
      <p:grpSp>
        <p:nvGrpSpPr>
          <p:cNvPr id="3" name="组合 2"/>
          <p:cNvGrpSpPr/>
          <p:nvPr/>
        </p:nvGrpSpPr>
        <p:grpSpPr>
          <a:xfrm>
            <a:off x="11" y="2248996"/>
            <a:ext cx="12191991" cy="1851725"/>
            <a:chOff x="152390" y="2605404"/>
            <a:chExt cx="12192000" cy="1851725"/>
          </a:xfrm>
        </p:grpSpPr>
        <p:sp>
          <p:nvSpPr>
            <p:cNvPr id="9" name="文本框 8"/>
            <p:cNvSpPr txBox="1"/>
            <p:nvPr/>
          </p:nvSpPr>
          <p:spPr>
            <a:xfrm>
              <a:off x="152390" y="2605404"/>
              <a:ext cx="12192000" cy="861769"/>
            </a:xfrm>
            <a:prstGeom prst="rect">
              <a:avLst/>
            </a:prstGeom>
            <a:noFill/>
          </p:spPr>
          <p:txBody>
            <a:bodyPr wrap="square" lIns="91434" tIns="45718" rIns="91434" bIns="45718" rtlCol="0">
              <a:spAutoFit/>
            </a:bodyPr>
            <a:lstStyle/>
            <a:p>
              <a:pPr algn="ctr" defTabSz="914150"/>
              <a:r>
                <a:rPr kumimoji="1" lang="zh-CN" altLang="en-US" sz="4800" b="1" spc="600" dirty="0">
                  <a:solidFill>
                    <a:prstClr val="white"/>
                  </a:solidFill>
                  <a:latin typeface="+mj-ea"/>
                  <a:ea typeface="+mj-ea"/>
                  <a:cs typeface="+mn-ea"/>
                  <a:sym typeface="+mn-lt"/>
                </a:rPr>
                <a:t>物流产业趋势及技术解析及应用</a:t>
              </a:r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871582" y="3810802"/>
              <a:ext cx="10753616" cy="646327"/>
            </a:xfrm>
            <a:prstGeom prst="rect">
              <a:avLst/>
            </a:prstGeom>
            <a:noFill/>
          </p:spPr>
          <p:txBody>
            <a:bodyPr wrap="square" lIns="91434" tIns="45718" rIns="91434" bIns="45718" rtlCol="0">
              <a:spAutoFit/>
            </a:bodyPr>
            <a:lstStyle/>
            <a:p>
              <a:pPr algn="ctr" defTabSz="914150">
                <a:lnSpc>
                  <a:spcPct val="150000"/>
                </a:lnSpc>
              </a:pPr>
              <a:r>
                <a:rPr kumimoji="1" lang="zh-CN" altLang="en-US" sz="2400" b="1" spc="600" dirty="0">
                  <a:solidFill>
                    <a:prstClr val="white"/>
                  </a:solidFill>
                  <a:latin typeface="+mn-ea"/>
                  <a:cs typeface="+mn-ea"/>
                  <a:sym typeface="+mn-lt"/>
                </a:rPr>
                <a:t>京东物流</a:t>
              </a:r>
              <a:r>
                <a:rPr kumimoji="1" lang="en-US" altLang="zh-CN" sz="2400" b="1" spc="600" dirty="0">
                  <a:solidFill>
                    <a:prstClr val="white"/>
                  </a:solidFill>
                  <a:latin typeface="+mn-ea"/>
                  <a:cs typeface="+mn-ea"/>
                  <a:sym typeface="+mn-lt"/>
                </a:rPr>
                <a:t> </a:t>
              </a:r>
              <a:r>
                <a:rPr kumimoji="1" lang="zh-CN" altLang="en-US" sz="2400" b="1" spc="600" dirty="0">
                  <a:solidFill>
                    <a:prstClr val="white"/>
                  </a:solidFill>
                  <a:latin typeface="+mn-ea"/>
                  <a:cs typeface="+mn-ea"/>
                  <a:sym typeface="+mn-lt"/>
                </a:rPr>
                <a:t>傅兵</a:t>
              </a:r>
              <a:endParaRPr kumimoji="1" lang="en-US" altLang="zh-CN" sz="2400" b="1" spc="600" dirty="0">
                <a:solidFill>
                  <a:prstClr val="white"/>
                </a:solidFill>
                <a:latin typeface="+mn-ea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2542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700" b="1" kern="1200" dirty="0">
                <a:solidFill>
                  <a:srgbClr val="C81623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物流企业集中上市和投资热度</a:t>
            </a:r>
          </a:p>
        </p:txBody>
      </p:sp>
      <p:sp>
        <p:nvSpPr>
          <p:cNvPr id="17" name="文本占位符 1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8" name="文本占位符 1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F7E6A193-D485-4C78-BBCC-041C05839982}"/>
              </a:ext>
            </a:extLst>
          </p:cNvPr>
          <p:cNvSpPr/>
          <p:nvPr/>
        </p:nvSpPr>
        <p:spPr>
          <a:xfrm>
            <a:off x="527571" y="1150680"/>
            <a:ext cx="5431153" cy="480053"/>
          </a:xfrm>
          <a:prstGeom prst="rect">
            <a:avLst/>
          </a:prstGeom>
          <a:solidFill>
            <a:srgbClr val="FFB8B8"/>
          </a:solidFill>
        </p:spPr>
        <p:txBody>
          <a:bodyPr rot="0" spcFirstLastPara="0" vertOverflow="overflow" horzOverflow="overflow" vert="horz" wrap="square" lIns="0" tIns="60956" rIns="0" bIns="609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/>
            <a:r>
              <a:rPr lang="zh-CN" altLang="en-US" sz="1800" b="1" dirty="0">
                <a:solidFill>
                  <a:srgbClr val="000000">
                    <a:lumMod val="95000"/>
                    <a:lumOff val="5000"/>
                  </a:srgbClr>
                </a:solidFill>
              </a:rPr>
              <a:t>国内物流企业集中上市</a:t>
            </a: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4F27B5AE-E285-4444-8B42-0CC6AA4E9F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4603573"/>
              </p:ext>
            </p:extLst>
          </p:nvPr>
        </p:nvGraphicFramePr>
        <p:xfrm>
          <a:off x="527571" y="2276872"/>
          <a:ext cx="5431154" cy="3940960"/>
        </p:xfrm>
        <a:graphic>
          <a:graphicData uri="http://schemas.openxmlformats.org/drawingml/2006/table">
            <a:tbl>
              <a:tblPr firstRow="1" bandRow="1">
                <a:tableStyleId>{46F890A9-2807-4EBB-B81D-B2AA78EC7F39}</a:tableStyleId>
              </a:tblPr>
              <a:tblGrid>
                <a:gridCol w="1865596">
                  <a:extLst>
                    <a:ext uri="{9D8B030D-6E8A-4147-A177-3AD203B41FA5}">
                      <a16:colId xmlns:a16="http://schemas.microsoft.com/office/drawing/2014/main" val="226746632"/>
                    </a:ext>
                  </a:extLst>
                </a:gridCol>
                <a:gridCol w="18242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1355">
                  <a:extLst>
                    <a:ext uri="{9D8B030D-6E8A-4147-A177-3AD203B41FA5}">
                      <a16:colId xmlns:a16="http://schemas.microsoft.com/office/drawing/2014/main" val="4147114679"/>
                    </a:ext>
                  </a:extLst>
                </a:gridCol>
              </a:tblGrid>
              <a:tr h="358669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公司</a:t>
                      </a:r>
                    </a:p>
                  </a:txBody>
                  <a:tcPr marL="12700" marR="12700" marT="1270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上市时间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上市方式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987846"/>
                  </a:ext>
                </a:extLst>
              </a:tr>
              <a:tr h="565444">
                <a:tc>
                  <a:txBody>
                    <a:bodyPr/>
                    <a:lstStyle/>
                    <a:p>
                      <a:pPr lvl="1" algn="ctr" fontAlgn="ctr"/>
                      <a:endParaRPr lang="zh-CN" altLang="en-US" sz="15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2700" marR="12700" marT="1270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015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年</a:t>
                      </a:r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378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A</a:t>
                      </a: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股</a:t>
                      </a: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</a:t>
                      </a: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借壳</a:t>
                      </a:r>
                      <a:endParaRPr lang="en-US" altLang="zh-CN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714276"/>
                  </a:ext>
                </a:extLst>
              </a:tr>
              <a:tr h="540147">
                <a:tc>
                  <a:txBody>
                    <a:bodyPr/>
                    <a:lstStyle/>
                    <a:p>
                      <a:pPr lvl="1" algn="ctr" fontAlgn="ctr"/>
                      <a:endParaRPr lang="zh-CN" altLang="en-US" sz="15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2700" marR="12700" marT="1270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016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年</a:t>
                      </a:r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378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A</a:t>
                      </a: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股</a:t>
                      </a: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</a:t>
                      </a: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借壳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289">
                <a:tc>
                  <a:txBody>
                    <a:bodyPr/>
                    <a:lstStyle/>
                    <a:p>
                      <a:pPr lvl="1" algn="ctr" fontAlgn="ctr"/>
                      <a:endParaRPr lang="zh-CN" altLang="en-US" sz="15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2700" marR="12700" marT="1270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016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年</a:t>
                      </a:r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378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美国</a:t>
                      </a: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</a:t>
                      </a: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纽交所</a:t>
                      </a:r>
                      <a:endParaRPr lang="en-US" altLang="zh-CN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0231318"/>
                  </a:ext>
                </a:extLst>
              </a:tr>
              <a:tr h="493499">
                <a:tc>
                  <a:txBody>
                    <a:bodyPr/>
                    <a:lstStyle/>
                    <a:p>
                      <a:pPr lvl="1" algn="ctr" fontAlgn="ctr"/>
                      <a:endParaRPr lang="zh-CN" altLang="en-US" sz="15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2700" marR="12700" marT="1270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017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年</a:t>
                      </a:r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A</a:t>
                      </a: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股</a:t>
                      </a: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</a:t>
                      </a: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借壳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3965038"/>
                  </a:ext>
                </a:extLst>
              </a:tr>
              <a:tr h="493499">
                <a:tc>
                  <a:txBody>
                    <a:bodyPr/>
                    <a:lstStyle/>
                    <a:p>
                      <a:pPr lvl="1" algn="ctr" fontAlgn="ctr"/>
                      <a:endParaRPr lang="zh-CN" altLang="en-US" sz="15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2700" marR="12700" marT="1270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017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年</a:t>
                      </a:r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A</a:t>
                      </a: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股</a:t>
                      </a: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</a:t>
                      </a: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借壳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290064"/>
                  </a:ext>
                </a:extLst>
              </a:tr>
              <a:tr h="460204">
                <a:tc>
                  <a:txBody>
                    <a:bodyPr/>
                    <a:lstStyle/>
                    <a:p>
                      <a:pPr lvl="1" algn="ctr" fontAlgn="ctr"/>
                      <a:endParaRPr lang="zh-CN" altLang="en-US" sz="15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2700" marR="12700" marT="1270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017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年</a:t>
                      </a:r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美国</a:t>
                      </a: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</a:t>
                      </a: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纽交所</a:t>
                      </a:r>
                      <a:endParaRPr lang="en-US" altLang="zh-CN" sz="1500" b="0" u="none" strike="noStrike" kern="120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902188"/>
                  </a:ext>
                </a:extLst>
              </a:tr>
              <a:tr h="511209">
                <a:tc>
                  <a:txBody>
                    <a:bodyPr/>
                    <a:lstStyle/>
                    <a:p>
                      <a:pPr lvl="1" algn="ctr" fontAlgn="ctr"/>
                      <a:endParaRPr lang="zh-CN" altLang="en-US" sz="15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12700" marR="12700" marT="1270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018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年</a:t>
                      </a:r>
                      <a:r>
                        <a:rPr lang="en-US" altLang="zh-CN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r>
                        <a:rPr lang="zh-CN" altLang="en-US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378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A</a:t>
                      </a:r>
                      <a:r>
                        <a:rPr lang="zh-CN" altLang="en-US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股</a:t>
                      </a:r>
                      <a:r>
                        <a:rPr lang="en-US" altLang="zh-CN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-IPO</a:t>
                      </a:r>
                    </a:p>
                  </a:txBody>
                  <a:tcPr marL="12700" marR="12700" marT="1270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487261"/>
                  </a:ext>
                </a:extLst>
              </a:tr>
            </a:tbl>
          </a:graphicData>
        </a:graphic>
      </p:graphicFrame>
      <p:grpSp>
        <p:nvGrpSpPr>
          <p:cNvPr id="16" name="组合 15"/>
          <p:cNvGrpSpPr/>
          <p:nvPr/>
        </p:nvGrpSpPr>
        <p:grpSpPr>
          <a:xfrm>
            <a:off x="6507321" y="1150679"/>
            <a:ext cx="5431152" cy="5226297"/>
            <a:chOff x="426628" y="922856"/>
            <a:chExt cx="4073364" cy="3919723"/>
          </a:xfrm>
        </p:grpSpPr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B2EBD706-D674-4A8C-84BE-B67C8FD38CE6}"/>
                </a:ext>
              </a:extLst>
            </p:cNvPr>
            <p:cNvSpPr/>
            <p:nvPr/>
          </p:nvSpPr>
          <p:spPr>
            <a:xfrm>
              <a:off x="539552" y="922856"/>
              <a:ext cx="3687954" cy="371316"/>
            </a:xfrm>
            <a:prstGeom prst="rect">
              <a:avLst/>
            </a:prstGeom>
            <a:solidFill>
              <a:srgbClr val="FFB8B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32"/>
              <a:r>
                <a:rPr lang="zh-CN" altLang="en-US" sz="1800" b="1" dirty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物流行业投资持续活跃</a:t>
              </a:r>
            </a:p>
          </p:txBody>
        </p:sp>
        <p:graphicFrame>
          <p:nvGraphicFramePr>
            <p:cNvPr id="5" name="图表 4">
              <a:extLst>
                <a:ext uri="{FF2B5EF4-FFF2-40B4-BE49-F238E27FC236}">
                  <a16:creationId xmlns:a16="http://schemas.microsoft.com/office/drawing/2014/main" id="{4DA5C986-0DC5-4692-862E-2E4B5126806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10745895"/>
                </p:ext>
              </p:extLst>
            </p:nvPr>
          </p:nvGraphicFramePr>
          <p:xfrm>
            <a:off x="426628" y="1879792"/>
            <a:ext cx="4073364" cy="296278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7" name="文本框 8">
              <a:extLst>
                <a:ext uri="{FF2B5EF4-FFF2-40B4-BE49-F238E27FC236}">
                  <a16:creationId xmlns:a16="http://schemas.microsoft.com/office/drawing/2014/main" id="{B93AFF3F-4DE2-482F-8552-C1E52FBA493C}"/>
                </a:ext>
              </a:extLst>
            </p:cNvPr>
            <p:cNvSpPr txBox="1"/>
            <p:nvPr/>
          </p:nvSpPr>
          <p:spPr>
            <a:xfrm>
              <a:off x="426628" y="1276526"/>
              <a:ext cx="3904405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0972" indent="-380972" defTabSz="914332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500" dirty="0">
                  <a:solidFill>
                    <a:srgbClr val="000000"/>
                  </a:solidFill>
                </a:rPr>
                <a:t>2017</a:t>
              </a:r>
              <a:r>
                <a:rPr lang="zh-CN" altLang="en-US" sz="1500" dirty="0">
                  <a:solidFill>
                    <a:srgbClr val="000000"/>
                  </a:solidFill>
                </a:rPr>
                <a:t>年以来，物流行业每月的投资事件均在</a:t>
              </a:r>
              <a:r>
                <a:rPr lang="en-US" altLang="zh-CN" sz="1500" dirty="0">
                  <a:solidFill>
                    <a:srgbClr val="000000"/>
                  </a:solidFill>
                </a:rPr>
                <a:t>5</a:t>
              </a:r>
              <a:r>
                <a:rPr lang="zh-CN" altLang="en-US" sz="1500" dirty="0">
                  <a:solidFill>
                    <a:srgbClr val="000000"/>
                  </a:solidFill>
                </a:rPr>
                <a:t>起以上，高的时候可达</a:t>
              </a:r>
              <a:r>
                <a:rPr lang="en-US" altLang="zh-CN" sz="1500" dirty="0">
                  <a:solidFill>
                    <a:srgbClr val="000000"/>
                  </a:solidFill>
                </a:rPr>
                <a:t>10</a:t>
              </a:r>
              <a:r>
                <a:rPr lang="zh-CN" altLang="en-US" sz="1500" dirty="0">
                  <a:solidFill>
                    <a:srgbClr val="000000"/>
                  </a:solidFill>
                </a:rPr>
                <a:t>起以上</a:t>
              </a:r>
            </a:p>
          </p:txBody>
        </p:sp>
      </p:grpSp>
      <p:sp>
        <p:nvSpPr>
          <p:cNvPr id="8" name="文本框 9">
            <a:extLst>
              <a:ext uri="{FF2B5EF4-FFF2-40B4-BE49-F238E27FC236}">
                <a16:creationId xmlns:a16="http://schemas.microsoft.com/office/drawing/2014/main" id="{732E4D66-D3DD-48D5-8F5B-C97F6DE1B846}"/>
              </a:ext>
            </a:extLst>
          </p:cNvPr>
          <p:cNvSpPr txBox="1"/>
          <p:nvPr/>
        </p:nvSpPr>
        <p:spPr>
          <a:xfrm>
            <a:off x="451658" y="1666069"/>
            <a:ext cx="5205873" cy="469355"/>
          </a:xfrm>
          <a:prstGeom prst="rect">
            <a:avLst/>
          </a:prstGeom>
          <a:noFill/>
        </p:spPr>
        <p:txBody>
          <a:bodyPr wrap="square" lIns="121912" tIns="60956" rIns="121912" bIns="60956" rtlCol="0">
            <a:spAutoFit/>
          </a:bodyPr>
          <a:lstStyle/>
          <a:p>
            <a:pPr marL="380972" indent="-380972" defTabSz="914332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500" dirty="0">
                <a:solidFill>
                  <a:srgbClr val="000000"/>
                </a:solidFill>
              </a:rPr>
              <a:t>2015</a:t>
            </a:r>
            <a:r>
              <a:rPr lang="zh-CN" altLang="en-US" sz="1500" dirty="0">
                <a:solidFill>
                  <a:srgbClr val="000000"/>
                </a:solidFill>
              </a:rPr>
              <a:t>年以来，国内主要快递公司密集上市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2259DB0E-916F-4349-B2A4-E74D5E46B4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7632" y="2665108"/>
            <a:ext cx="498757" cy="480053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B81F0CCB-DED7-4F64-BE8A-3E35A39E51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1219" y="3275557"/>
            <a:ext cx="731580" cy="386275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F92C8A12-460C-4185-A59B-A0B1E77B55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4724" y="3833558"/>
            <a:ext cx="748077" cy="299231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985C84DF-6CAF-436C-8A02-93AC6B6AFD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0421" y="4332216"/>
            <a:ext cx="896683" cy="332733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7AD1CDF6-FFB9-43BC-B6AE-A1F975B7F52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0734" y="4755179"/>
            <a:ext cx="473063" cy="460612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4C7F802E-B7C4-43C8-A888-137F40AEFBE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2719" y="5319623"/>
            <a:ext cx="748583" cy="32235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75440C6E-66DF-4DA7-8A6C-49C4DB3D27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1222" y="5781827"/>
            <a:ext cx="687441" cy="340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297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76151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互联网</a:t>
            </a:r>
            <a:r>
              <a:rPr lang="en-US" altLang="zh-CN" dirty="0"/>
              <a:t>+</a:t>
            </a:r>
            <a:r>
              <a:rPr lang="zh-CN" altLang="en-US" dirty="0"/>
              <a:t>物流涌现大量创新型企业</a:t>
            </a:r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7" name="Picture 4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537" y="3829020"/>
            <a:ext cx="427543" cy="570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4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79" y="5271924"/>
            <a:ext cx="774748" cy="502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Picture 4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2660" y="4014855"/>
            <a:ext cx="624913" cy="303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Picture 4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79" y="4813828"/>
            <a:ext cx="779800" cy="447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Picture 4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714" y="4429783"/>
            <a:ext cx="656244" cy="433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" name="圆角矩形 91"/>
          <p:cNvSpPr/>
          <p:nvPr/>
        </p:nvSpPr>
        <p:spPr>
          <a:xfrm>
            <a:off x="3086651" y="3805291"/>
            <a:ext cx="1743159" cy="1968644"/>
          </a:xfrm>
          <a:prstGeom prst="roundRect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9562" tIns="56892" rIns="99562" bIns="56892" spcCol="1693" rtlCol="0" anchor="ctr"/>
          <a:lstStyle/>
          <a:p>
            <a:pPr algn="ctr" defTabSz="622252">
              <a:lnSpc>
                <a:spcPct val="90000"/>
              </a:lnSpc>
              <a:spcAft>
                <a:spcPct val="35000"/>
              </a:spcAft>
            </a:pPr>
            <a:endParaRPr lang="zh-CN" altLang="en-US" sz="1500" b="1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3575715" y="3564151"/>
            <a:ext cx="79208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121912" tIns="60956" rIns="121912" bIns="60956" rtlCol="0">
            <a:spAutoFit/>
          </a:bodyPr>
          <a:lstStyle/>
          <a:p>
            <a:pPr algn="ctr" defTabSz="914332"/>
            <a:r>
              <a:rPr lang="zh-CN" altLang="en-US" sz="1600" b="1" dirty="0">
                <a:solidFill>
                  <a:srgbClr val="C00000"/>
                </a:solidFill>
              </a:rPr>
              <a:t>同城</a:t>
            </a:r>
          </a:p>
        </p:txBody>
      </p:sp>
      <p:pic>
        <p:nvPicPr>
          <p:cNvPr id="94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1405" y="5005855"/>
            <a:ext cx="356447" cy="47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Picture 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1505" y="4027903"/>
            <a:ext cx="730683" cy="476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6" name="Picture 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715" y="5100418"/>
            <a:ext cx="753144" cy="42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" name="Picture 6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5758" y="4058300"/>
            <a:ext cx="685431" cy="416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026" y="4597917"/>
            <a:ext cx="664887" cy="311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8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9173" y="4524978"/>
            <a:ext cx="427227" cy="466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0" name="Picture 9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1864" y="3904471"/>
            <a:ext cx="895832" cy="562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" name="Picture 10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675" y="5039847"/>
            <a:ext cx="374388" cy="499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" name="圆角矩形 101"/>
          <p:cNvSpPr/>
          <p:nvPr/>
        </p:nvSpPr>
        <p:spPr>
          <a:xfrm>
            <a:off x="4896730" y="3785093"/>
            <a:ext cx="1650009" cy="1988840"/>
          </a:xfrm>
          <a:prstGeom prst="roundRect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9562" tIns="56892" rIns="99562" bIns="56892" spcCol="1693" rtlCol="0" anchor="ctr"/>
          <a:lstStyle/>
          <a:p>
            <a:pPr algn="ctr" defTabSz="622252">
              <a:lnSpc>
                <a:spcPct val="90000"/>
              </a:lnSpc>
              <a:spcAft>
                <a:spcPct val="35000"/>
              </a:spcAft>
            </a:pPr>
            <a:endParaRPr lang="zh-CN" altLang="en-US" sz="1500" b="1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5348047" y="3564151"/>
            <a:ext cx="79208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121912" tIns="60956" rIns="121912" bIns="60956" rtlCol="0">
            <a:spAutoFit/>
          </a:bodyPr>
          <a:lstStyle/>
          <a:p>
            <a:pPr algn="ctr" defTabSz="914332"/>
            <a:r>
              <a:rPr lang="zh-CN" altLang="en-US" sz="1600" b="1" dirty="0">
                <a:solidFill>
                  <a:srgbClr val="C00000"/>
                </a:solidFill>
              </a:rPr>
              <a:t>宅配</a:t>
            </a:r>
          </a:p>
        </p:txBody>
      </p:sp>
      <p:pic>
        <p:nvPicPr>
          <p:cNvPr id="104" name="Picture 11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4819" y="4535205"/>
            <a:ext cx="417932" cy="557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" name="Picture 13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3966" y="5124263"/>
            <a:ext cx="569977" cy="443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" name="Picture 14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1525" y="4729782"/>
            <a:ext cx="736515" cy="491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" name="Picture 2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600" y="5087523"/>
            <a:ext cx="825432" cy="516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8" name="Picture 4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2671" y="4447040"/>
            <a:ext cx="695324" cy="311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9" name="Picture 2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6537" y="4023879"/>
            <a:ext cx="666751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" name="圆角矩形 109"/>
          <p:cNvSpPr/>
          <p:nvPr/>
        </p:nvSpPr>
        <p:spPr>
          <a:xfrm>
            <a:off x="499923" y="3785093"/>
            <a:ext cx="2483596" cy="1988840"/>
          </a:xfrm>
          <a:prstGeom prst="roundRect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9562" tIns="56892" rIns="99562" bIns="56892" spcCol="1693" rtlCol="0" anchor="ctr"/>
          <a:lstStyle/>
          <a:p>
            <a:pPr algn="ctr" defTabSz="622252">
              <a:lnSpc>
                <a:spcPct val="90000"/>
              </a:lnSpc>
              <a:spcAft>
                <a:spcPct val="35000"/>
              </a:spcAft>
            </a:pPr>
            <a:endParaRPr lang="zh-CN" altLang="en-US" sz="1500" b="1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1086799" y="3564151"/>
            <a:ext cx="1239512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121912" tIns="60956" rIns="121912" bIns="60956" rtlCol="0">
            <a:spAutoFit/>
          </a:bodyPr>
          <a:lstStyle/>
          <a:p>
            <a:pPr algn="ctr" defTabSz="914332"/>
            <a:r>
              <a:rPr lang="zh-CN" altLang="en-US" sz="1600" b="1" dirty="0">
                <a:solidFill>
                  <a:srgbClr val="C00000"/>
                </a:solidFill>
              </a:rPr>
              <a:t>国际货代</a:t>
            </a:r>
          </a:p>
        </p:txBody>
      </p:sp>
      <p:cxnSp>
        <p:nvCxnSpPr>
          <p:cNvPr id="112" name="直接连接符 111"/>
          <p:cNvCxnSpPr/>
          <p:nvPr/>
        </p:nvCxnSpPr>
        <p:spPr>
          <a:xfrm>
            <a:off x="1506107" y="4058299"/>
            <a:ext cx="0" cy="161032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Picture 3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8397" y="3954875"/>
            <a:ext cx="649255" cy="362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" name="Picture 4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6923" y="4354765"/>
            <a:ext cx="680720" cy="363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Picture 5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513" y="4429783"/>
            <a:ext cx="699051" cy="307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" name="Picture 6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028" y="4850505"/>
            <a:ext cx="782373" cy="421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7" name="Picture 7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641" y="5310584"/>
            <a:ext cx="1022712" cy="367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8" name="圆角矩形 117"/>
          <p:cNvSpPr/>
          <p:nvPr/>
        </p:nvSpPr>
        <p:spPr>
          <a:xfrm>
            <a:off x="6639774" y="3730484"/>
            <a:ext cx="2062695" cy="2071805"/>
          </a:xfrm>
          <a:prstGeom prst="roundRect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9562" tIns="56892" rIns="99562" bIns="56892" spcCol="1693" rtlCol="0" anchor="ctr"/>
          <a:lstStyle/>
          <a:p>
            <a:pPr algn="ctr" defTabSz="622252">
              <a:lnSpc>
                <a:spcPct val="90000"/>
              </a:lnSpc>
              <a:spcAft>
                <a:spcPct val="35000"/>
              </a:spcAft>
            </a:pPr>
            <a:endParaRPr lang="zh-CN" altLang="en-US" sz="1500" b="1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7314915" y="3564151"/>
            <a:ext cx="79208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121912" tIns="60956" rIns="121912" bIns="60956" rtlCol="0">
            <a:spAutoFit/>
          </a:bodyPr>
          <a:lstStyle/>
          <a:p>
            <a:pPr algn="ctr" defTabSz="914332"/>
            <a:r>
              <a:rPr lang="zh-CN" altLang="en-US" sz="1600" b="1" dirty="0">
                <a:solidFill>
                  <a:srgbClr val="C00000"/>
                </a:solidFill>
              </a:rPr>
              <a:t>其他</a:t>
            </a:r>
          </a:p>
        </p:txBody>
      </p:sp>
      <p:pic>
        <p:nvPicPr>
          <p:cNvPr id="120" name="Picture 2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7563" y="4920641"/>
            <a:ext cx="717736" cy="300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1" name="Picture 3"/>
          <p:cNvPicPr>
            <a:picLocks noChangeAspect="1" noChangeArrowheads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68" b="23871"/>
          <a:stretch/>
        </p:blipFill>
        <p:spPr bwMode="auto">
          <a:xfrm>
            <a:off x="6773668" y="3940918"/>
            <a:ext cx="546893" cy="521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" name="Picture 4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6325" y="3971591"/>
            <a:ext cx="504931" cy="574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" name="Picture 5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285" y="4635584"/>
            <a:ext cx="828675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" name="Picture 7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0033" y="5259632"/>
            <a:ext cx="746971" cy="335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" name="Picture 4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0541" y="4740123"/>
            <a:ext cx="638307" cy="350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6" name="圆角矩形 125"/>
          <p:cNvSpPr/>
          <p:nvPr/>
        </p:nvSpPr>
        <p:spPr>
          <a:xfrm>
            <a:off x="551388" y="1304725"/>
            <a:ext cx="3038679" cy="2009983"/>
          </a:xfrm>
          <a:prstGeom prst="roundRect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9562" tIns="56892" rIns="99562" bIns="56892" spcCol="1693" rtlCol="0" anchor="ctr"/>
          <a:lstStyle/>
          <a:p>
            <a:pPr algn="ctr" defTabSz="622252">
              <a:lnSpc>
                <a:spcPct val="90000"/>
              </a:lnSpc>
              <a:spcAft>
                <a:spcPct val="35000"/>
              </a:spcAft>
            </a:pPr>
            <a:endParaRPr lang="zh-CN" altLang="en-US" sz="1500" b="1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1457476" y="1124746"/>
            <a:ext cx="896477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121912" tIns="60956" rIns="121912" bIns="60956" rtlCol="0">
            <a:spAutoFit/>
          </a:bodyPr>
          <a:lstStyle/>
          <a:p>
            <a:pPr algn="ctr" defTabSz="914332"/>
            <a:r>
              <a:rPr lang="zh-CN" altLang="en-US" sz="1600" b="1" dirty="0">
                <a:solidFill>
                  <a:srgbClr val="C00000"/>
                </a:solidFill>
              </a:rPr>
              <a:t>整车</a:t>
            </a:r>
          </a:p>
        </p:txBody>
      </p:sp>
      <p:pic>
        <p:nvPicPr>
          <p:cNvPr id="128" name="Picture 24" descr="https://img03.sogoucdn.com/net/a/04/link?&amp;url=http%3A%2F%2Ftp1.sinaimg.cn%2F2062475072%2F180%2F5721193414%2F1&amp;appid=100520117&amp;referer=http://weibo.com/foryou56"/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792" y="1841997"/>
            <a:ext cx="768057" cy="977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图片 128"/>
          <p:cNvPicPr>
            <a:picLocks noChangeAspect="1"/>
          </p:cNvPicPr>
          <p:nvPr/>
        </p:nvPicPr>
        <p:blipFill rotWithShape="1">
          <a:blip r:embed="rId37"/>
          <a:srcRect t="19385"/>
          <a:stretch/>
        </p:blipFill>
        <p:spPr>
          <a:xfrm>
            <a:off x="2039827" y="1479441"/>
            <a:ext cx="1007392" cy="644395"/>
          </a:xfrm>
          <a:prstGeom prst="rect">
            <a:avLst/>
          </a:prstGeom>
        </p:spPr>
      </p:pic>
      <p:pic>
        <p:nvPicPr>
          <p:cNvPr id="130" name="Picture 7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008" y="1523797"/>
            <a:ext cx="612689" cy="522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1" name="Picture 15" descr="http://www.lagou.com/image1/M00/37/6F/CgYXBlWjI_aAfJWSAADqCb6aCh4364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3915" y="1494076"/>
            <a:ext cx="796184" cy="61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19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383" y="2181524"/>
            <a:ext cx="731767" cy="32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" name="Picture 26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205" y="2637853"/>
            <a:ext cx="376763" cy="430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4" name="Picture 33"/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1256" y="1589057"/>
            <a:ext cx="667381" cy="40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" name="Picture 41"/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43" y="2651376"/>
            <a:ext cx="744948" cy="39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6" name="圆角矩形 135"/>
          <p:cNvSpPr/>
          <p:nvPr/>
        </p:nvSpPr>
        <p:spPr>
          <a:xfrm>
            <a:off x="3655575" y="1304725"/>
            <a:ext cx="1614127" cy="2009983"/>
          </a:xfrm>
          <a:prstGeom prst="roundRect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9562" tIns="56892" rIns="99562" bIns="56892" spcCol="1693" rtlCol="0" anchor="ctr"/>
          <a:lstStyle/>
          <a:p>
            <a:pPr algn="ctr" defTabSz="622252">
              <a:lnSpc>
                <a:spcPct val="90000"/>
              </a:lnSpc>
              <a:spcAft>
                <a:spcPct val="35000"/>
              </a:spcAft>
            </a:pPr>
            <a:endParaRPr lang="zh-CN" altLang="en-US" sz="1500" b="1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4082080" y="1124746"/>
            <a:ext cx="896477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121912" tIns="60956" rIns="121912" bIns="60956" rtlCol="0">
            <a:spAutoFit/>
          </a:bodyPr>
          <a:lstStyle/>
          <a:p>
            <a:pPr algn="ctr" defTabSz="914332"/>
            <a:r>
              <a:rPr lang="zh-CN" altLang="en-US" sz="1600" b="1" dirty="0">
                <a:solidFill>
                  <a:srgbClr val="C00000"/>
                </a:solidFill>
              </a:rPr>
              <a:t>零担</a:t>
            </a:r>
          </a:p>
        </p:txBody>
      </p:sp>
      <p:pic>
        <p:nvPicPr>
          <p:cNvPr id="138" name="Picture 1" descr="C:\Users\THINK\AppData\Roaming\Tencent\Users\454160969\QQ\WinTemp\RichOle\[OB5X`}ZM5DV3%IL{]7(K{V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592" y="1662194"/>
            <a:ext cx="612056" cy="43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0" name="圆角矩形 139"/>
          <p:cNvSpPr/>
          <p:nvPr/>
        </p:nvSpPr>
        <p:spPr>
          <a:xfrm>
            <a:off x="5383764" y="1304725"/>
            <a:ext cx="1824141" cy="2009983"/>
          </a:xfrm>
          <a:prstGeom prst="roundRect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9562" tIns="56892" rIns="99562" bIns="56892" spcCol="1693" rtlCol="0" anchor="ctr"/>
          <a:lstStyle/>
          <a:p>
            <a:pPr algn="ctr" defTabSz="622252">
              <a:lnSpc>
                <a:spcPct val="90000"/>
              </a:lnSpc>
              <a:spcAft>
                <a:spcPct val="35000"/>
              </a:spcAft>
            </a:pPr>
            <a:endParaRPr lang="zh-CN" altLang="en-US" sz="1500" b="1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5847596" y="1124746"/>
            <a:ext cx="896477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121912" tIns="60956" rIns="121912" bIns="60956" rtlCol="0">
            <a:spAutoFit/>
          </a:bodyPr>
          <a:lstStyle/>
          <a:p>
            <a:pPr algn="ctr" defTabSz="914332"/>
            <a:r>
              <a:rPr lang="zh-CN" altLang="en-US" sz="1600" b="1" dirty="0">
                <a:solidFill>
                  <a:srgbClr val="C00000"/>
                </a:solidFill>
              </a:rPr>
              <a:t>园区</a:t>
            </a:r>
          </a:p>
        </p:txBody>
      </p:sp>
      <p:pic>
        <p:nvPicPr>
          <p:cNvPr id="142" name="Picture 2"/>
          <p:cNvPicPr>
            <a:picLocks noChangeAspect="1" noChangeArrowheads="1"/>
          </p:cNvPicPr>
          <p:nvPr/>
        </p:nvPicPr>
        <p:blipFill rotWithShape="1"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4" t="2977" r="3573"/>
          <a:stretch/>
        </p:blipFill>
        <p:spPr bwMode="auto">
          <a:xfrm>
            <a:off x="4568383" y="1639041"/>
            <a:ext cx="637424" cy="491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" name="图片 142" descr="untitled1.bmp"/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6927" y="2075505"/>
            <a:ext cx="723479" cy="418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Picture 5" descr="C:\Users\THINK\AppData\Roaming\Tencent\Users\454160969\QQ\WinTemp\RichOle\)8IOGUSUKA`TKV)PJQUR7ES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880" y="1634748"/>
            <a:ext cx="583089" cy="475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7" descr="http://p2.so.qhimg.com/bdr/_240_/t01b93fafc653c8577c.jp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01" y="1509937"/>
            <a:ext cx="716635" cy="60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7" name="Picture 4" descr="http://p3.so.qhimg.com/bdr/_240_/t01812d0fc0bf676e78.jp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987" y="2178718"/>
            <a:ext cx="585708" cy="585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" name="Picture 3" descr="C:\Users\Administrator\AppData\Roaming\Tencent\Users\2843351127\QQ\WinTemp\RichOle\Y$416CF0TMWV%)9H$L8{)15.png"/>
          <p:cNvPicPr>
            <a:picLocks noChangeAspect="1" noChangeArrowheads="1"/>
          </p:cNvPicPr>
          <p:nvPr/>
        </p:nvPicPr>
        <p:blipFill rotWithShape="1"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610"/>
          <a:stretch/>
        </p:blipFill>
        <p:spPr bwMode="auto">
          <a:xfrm>
            <a:off x="6434727" y="2674537"/>
            <a:ext cx="618688" cy="621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9" name="Picture 4" descr="C:\Users\THINK\AppData\Roaming\Tencent\Users\454160969\QQ\WinTemp\RichOle\~2NA2@~}AD~R$(J(6(([2`W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9867" y="2258389"/>
            <a:ext cx="784664" cy="472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1" name="圆角矩形 150"/>
          <p:cNvSpPr/>
          <p:nvPr/>
        </p:nvSpPr>
        <p:spPr>
          <a:xfrm>
            <a:off x="7327983" y="1287527"/>
            <a:ext cx="1360308" cy="2009983"/>
          </a:xfrm>
          <a:prstGeom prst="roundRect">
            <a:avLst/>
          </a:prstGeom>
          <a:noFill/>
          <a:ln w="12700" cmpd="sng">
            <a:solidFill>
              <a:schemeClr val="bg1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9562" tIns="56892" rIns="99562" bIns="56892" spcCol="1693" rtlCol="0" anchor="ctr"/>
          <a:lstStyle/>
          <a:p>
            <a:pPr algn="ctr" defTabSz="622252">
              <a:lnSpc>
                <a:spcPct val="90000"/>
              </a:lnSpc>
              <a:spcAft>
                <a:spcPct val="35000"/>
              </a:spcAft>
            </a:pPr>
            <a:endParaRPr lang="zh-CN" altLang="en-US" sz="1500" b="1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7596464" y="1124746"/>
            <a:ext cx="896477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121912" tIns="60956" rIns="121912" bIns="60956" rtlCol="0">
            <a:spAutoFit/>
          </a:bodyPr>
          <a:lstStyle/>
          <a:p>
            <a:pPr algn="ctr" defTabSz="914332"/>
            <a:r>
              <a:rPr lang="zh-CN" altLang="en-US" sz="1600" b="1" dirty="0">
                <a:solidFill>
                  <a:srgbClr val="C00000"/>
                </a:solidFill>
              </a:rPr>
              <a:t>工具</a:t>
            </a:r>
          </a:p>
        </p:txBody>
      </p:sp>
      <p:pic>
        <p:nvPicPr>
          <p:cNvPr id="153" name="图片 152"/>
          <p:cNvPicPr>
            <a:picLocks noChangeAspect="1"/>
          </p:cNvPicPr>
          <p:nvPr/>
        </p:nvPicPr>
        <p:blipFill rotWithShape="1">
          <a:blip r:embed="rId52"/>
          <a:srcRect l="7668" t="5291" r="4349" b="3291"/>
          <a:stretch/>
        </p:blipFill>
        <p:spPr>
          <a:xfrm>
            <a:off x="7451219" y="2172292"/>
            <a:ext cx="951743" cy="470493"/>
          </a:xfrm>
          <a:prstGeom prst="rect">
            <a:avLst/>
          </a:prstGeom>
        </p:spPr>
      </p:pic>
      <p:pic>
        <p:nvPicPr>
          <p:cNvPr id="154" name="图片 153"/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7451219" y="2794715"/>
            <a:ext cx="951741" cy="328852"/>
          </a:xfrm>
          <a:prstGeom prst="rect">
            <a:avLst/>
          </a:prstGeom>
        </p:spPr>
      </p:pic>
      <p:pic>
        <p:nvPicPr>
          <p:cNvPr id="155" name="Picture 3"/>
          <p:cNvPicPr>
            <a:picLocks noChangeAspect="1"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219" y="1521272"/>
            <a:ext cx="951741" cy="478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图片 157"/>
          <p:cNvPicPr>
            <a:picLocks noChangeAspect="1"/>
          </p:cNvPicPr>
          <p:nvPr/>
        </p:nvPicPr>
        <p:blipFill>
          <a:blip r:embed="rId55"/>
          <a:stretch>
            <a:fillRect/>
          </a:stretch>
        </p:blipFill>
        <p:spPr>
          <a:xfrm>
            <a:off x="1879321" y="2651377"/>
            <a:ext cx="382803" cy="423923"/>
          </a:xfrm>
          <a:prstGeom prst="rect">
            <a:avLst/>
          </a:prstGeom>
        </p:spPr>
      </p:pic>
      <p:pic>
        <p:nvPicPr>
          <p:cNvPr id="159" name="Picture 31"/>
          <p:cNvPicPr>
            <a:picLocks noChangeAspect="1" noChangeArrowheads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3520" y="2153812"/>
            <a:ext cx="547165" cy="523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1" name="Picture 17" descr="http://a2.att.hudong.com/30/35/01300542746457140962352819442_s.jp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8762" y="2665537"/>
            <a:ext cx="612879" cy="34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组合 1"/>
          <p:cNvGrpSpPr/>
          <p:nvPr/>
        </p:nvGrpSpPr>
        <p:grpSpPr>
          <a:xfrm>
            <a:off x="9143999" y="1690487"/>
            <a:ext cx="2580016" cy="3987441"/>
            <a:chOff x="6746830" y="1303313"/>
            <a:chExt cx="1935012" cy="2990581"/>
          </a:xfrm>
        </p:grpSpPr>
        <p:sp>
          <p:nvSpPr>
            <p:cNvPr id="8" name="矩形 7"/>
            <p:cNvSpPr/>
            <p:nvPr/>
          </p:nvSpPr>
          <p:spPr>
            <a:xfrm>
              <a:off x="6746830" y="1575229"/>
              <a:ext cx="1935011" cy="2718665"/>
            </a:xfrm>
            <a:prstGeom prst="rect">
              <a:avLst/>
            </a:prstGeom>
            <a:noFill/>
            <a:ln>
              <a:solidFill>
                <a:schemeClr val="accent3">
                  <a:lumMod val="95000"/>
                </a:schemeClr>
              </a:solidFill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32"/>
              <a:endParaRPr lang="zh-CN" altLang="en-US" sz="1600" b="1" dirty="0">
                <a:solidFill>
                  <a:srgbClr val="000000">
                    <a:lumMod val="95000"/>
                    <a:lumOff val="5000"/>
                  </a:srgbClr>
                </a:solidFill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6790411" y="1636837"/>
              <a:ext cx="1891431" cy="24083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0972" indent="-380972" defTabSz="914332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zh-CN" altLang="en-US" sz="1600" b="1" dirty="0">
                  <a:solidFill>
                    <a:srgbClr val="000000"/>
                  </a:solidFill>
                </a:rPr>
                <a:t>组织效率提升</a:t>
              </a:r>
              <a:r>
                <a:rPr lang="zh-CN" altLang="en-US" sz="1600" dirty="0">
                  <a:solidFill>
                    <a:srgbClr val="000000"/>
                  </a:solidFill>
                </a:rPr>
                <a:t>：安能、达达</a:t>
              </a:r>
              <a:endParaRPr lang="en-US" altLang="zh-CN" sz="1600" dirty="0">
                <a:solidFill>
                  <a:srgbClr val="000000"/>
                </a:solidFill>
              </a:endParaRPr>
            </a:p>
            <a:p>
              <a:pPr marL="380972" indent="-380972" defTabSz="914332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zh-CN" altLang="en-US" sz="1600" b="1" dirty="0">
                  <a:solidFill>
                    <a:srgbClr val="000000"/>
                  </a:solidFill>
                </a:rPr>
                <a:t>互联网提升效率</a:t>
              </a:r>
              <a:r>
                <a:rPr lang="zh-CN" altLang="en-US" sz="1600" dirty="0">
                  <a:solidFill>
                    <a:srgbClr val="000000"/>
                  </a:solidFill>
                </a:rPr>
                <a:t>：货车帮、福佑、云鸟</a:t>
              </a:r>
              <a:endParaRPr lang="en-US" altLang="zh-CN" sz="1600" dirty="0">
                <a:solidFill>
                  <a:srgbClr val="000000"/>
                </a:solidFill>
              </a:endParaRPr>
            </a:p>
            <a:p>
              <a:pPr marL="380972" indent="-380972" defTabSz="914332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zh-CN" altLang="en-US" sz="1600" b="1" dirty="0">
                  <a:solidFill>
                    <a:srgbClr val="000000"/>
                  </a:solidFill>
                </a:rPr>
                <a:t>技术驱动</a:t>
              </a:r>
              <a:r>
                <a:rPr lang="zh-CN" altLang="en-US" sz="1600" dirty="0">
                  <a:solidFill>
                    <a:srgbClr val="000000"/>
                  </a:solidFill>
                </a:rPr>
                <a:t>：</a:t>
              </a:r>
              <a:r>
                <a:rPr lang="en-US" altLang="zh-CN" sz="1600" dirty="0">
                  <a:solidFill>
                    <a:srgbClr val="000000"/>
                  </a:solidFill>
                </a:rPr>
                <a:t>G7</a:t>
              </a:r>
              <a:r>
                <a:rPr lang="zh-CN" altLang="en-US" sz="1600" dirty="0">
                  <a:solidFill>
                    <a:srgbClr val="000000"/>
                  </a:solidFill>
                </a:rPr>
                <a:t>、</a:t>
              </a:r>
              <a:r>
                <a:rPr lang="en-US" altLang="zh-CN" sz="1600" dirty="0" err="1">
                  <a:solidFill>
                    <a:srgbClr val="000000"/>
                  </a:solidFill>
                </a:rPr>
                <a:t>oTMS</a:t>
              </a:r>
              <a:r>
                <a:rPr lang="zh-CN" altLang="en-US" sz="1600" dirty="0">
                  <a:solidFill>
                    <a:srgbClr val="000000"/>
                  </a:solidFill>
                </a:rPr>
                <a:t>、极智佳、知藏</a:t>
              </a:r>
              <a:endParaRPr lang="en-US" altLang="zh-CN" sz="1600" dirty="0">
                <a:solidFill>
                  <a:srgbClr val="000000"/>
                </a:solidFill>
              </a:endParaRPr>
            </a:p>
            <a:p>
              <a:pPr marL="380972" indent="-380972" defTabSz="914332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zh-CN" altLang="en-US" sz="1600" b="1" dirty="0">
                  <a:solidFill>
                    <a:srgbClr val="000000"/>
                  </a:solidFill>
                </a:rPr>
                <a:t>商业新需求</a:t>
              </a:r>
              <a:r>
                <a:rPr lang="zh-CN" altLang="en-US" sz="1600" dirty="0">
                  <a:solidFill>
                    <a:srgbClr val="000000"/>
                  </a:solidFill>
                </a:rPr>
                <a:t>：送外卖、迷你仓</a:t>
              </a:r>
              <a:endParaRPr lang="en-US" altLang="zh-CN" sz="1600" dirty="0">
                <a:solidFill>
                  <a:srgbClr val="000000"/>
                </a:solidFill>
              </a:endParaRPr>
            </a:p>
            <a:p>
              <a:pPr marL="380972" indent="-380972" defTabSz="914332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zh-CN" altLang="en-US" sz="1600" b="1" dirty="0">
                  <a:solidFill>
                    <a:srgbClr val="000000"/>
                  </a:solidFill>
                </a:rPr>
                <a:t>突破行业边界：</a:t>
              </a:r>
              <a:r>
                <a:rPr lang="zh-CN" altLang="en-US" sz="1600" dirty="0">
                  <a:solidFill>
                    <a:srgbClr val="000000"/>
                  </a:solidFill>
                </a:rPr>
                <a:t>怡亚通    </a:t>
              </a:r>
              <a:endParaRPr lang="en-US" altLang="zh-CN" sz="1600" dirty="0">
                <a:solidFill>
                  <a:srgbClr val="000000"/>
                </a:solidFill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6746830" y="1303313"/>
              <a:ext cx="1935011" cy="271915"/>
            </a:xfrm>
            <a:prstGeom prst="rect">
              <a:avLst/>
            </a:prstGeom>
            <a:solidFill>
              <a:srgbClr val="FFB8B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32"/>
              <a:r>
                <a:rPr lang="zh-CN" altLang="en-US" b="1" dirty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商业模式变革的助力</a:t>
              </a:r>
            </a:p>
          </p:txBody>
        </p:sp>
      </p:grpSp>
      <p:pic>
        <p:nvPicPr>
          <p:cNvPr id="64516" name="Picture 4" descr="https://ss2.baidu.com/6ONYsjip0QIZ8tyhnq/it/u=1045456076,508204348&amp;fm=58&amp;s=E784F506A290EF900D58A0D40100D033&amp;bpow=121&amp;bpoh=75"/>
          <p:cNvPicPr>
            <a:picLocks noChangeAspect="1" noChangeArrowheads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5980" y="2356608"/>
            <a:ext cx="879365" cy="545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2042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0E0322F-2B5E-46E8-BE09-5C369B4A9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2015</a:t>
            </a:r>
            <a:r>
              <a:rPr lang="zh-CN" altLang="en-US" dirty="0"/>
              <a:t>年以来亚洲物流行业巨额融资</a:t>
            </a:r>
            <a:r>
              <a:rPr lang="zh-CN" altLang="en-US" dirty="0" smtClean="0"/>
              <a:t>中五次</a:t>
            </a:r>
            <a:r>
              <a:rPr lang="zh-CN" altLang="en-US" dirty="0"/>
              <a:t>出现在中国</a:t>
            </a:r>
          </a:p>
        </p:txBody>
      </p:sp>
      <p:sp>
        <p:nvSpPr>
          <p:cNvPr id="10" name="文本占位符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84F6EBE-09C5-4E54-BFF5-E3E89E1F1D0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347200" y="6473825"/>
            <a:ext cx="2844800" cy="365125"/>
          </a:xfrm>
          <a:prstGeom prst="rect">
            <a:avLst/>
          </a:prstGeom>
        </p:spPr>
        <p:txBody>
          <a:bodyPr lIns="91430" tIns="45718" rIns="91430" bIns="45718"/>
          <a:lstStyle/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859A1F2F-D341-4569-AE20-A31005B2A960}" type="slidenum">
              <a:rPr lang="zh-CN" altLang="en-US" smtClean="0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zh-CN" altLang="en-US"/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E74240FF-7801-4346-92BD-E9205BB8FD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AFEFD"/>
              </a:clrFrom>
              <a:clrTo>
                <a:srgbClr val="FAFE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223455" y="5445383"/>
            <a:ext cx="932400" cy="336000"/>
          </a:xfrm>
          <a:prstGeom prst="rect">
            <a:avLst/>
          </a:prstGeom>
          <a:noFill/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3ADDD61F-B5B8-4398-8424-BCBD7B6E27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515557" y="5445383"/>
            <a:ext cx="983976" cy="336000"/>
          </a:xfrm>
          <a:prstGeom prst="rect">
            <a:avLst/>
          </a:prstGeom>
          <a:noFill/>
        </p:spPr>
      </p:pic>
      <p:grpSp>
        <p:nvGrpSpPr>
          <p:cNvPr id="14" name="组合 13"/>
          <p:cNvGrpSpPr/>
          <p:nvPr/>
        </p:nvGrpSpPr>
        <p:grpSpPr>
          <a:xfrm>
            <a:off x="4029715" y="2171591"/>
            <a:ext cx="1929620" cy="1929620"/>
            <a:chOff x="4029715" y="2300181"/>
            <a:chExt cx="1929620" cy="1929620"/>
          </a:xfrm>
        </p:grpSpPr>
        <p:sp>
          <p:nvSpPr>
            <p:cNvPr id="5" name="Freeform 3">
              <a:extLst>
                <a:ext uri="{FF2B5EF4-FFF2-40B4-BE49-F238E27FC236}">
                  <a16:creationId xmlns:a16="http://schemas.microsoft.com/office/drawing/2014/main" id="{8F80E0D5-9AE4-4D9C-A1F7-B13868D1D9EF}"/>
                </a:ext>
              </a:extLst>
            </p:cNvPr>
            <p:cNvSpPr/>
            <p:nvPr/>
          </p:nvSpPr>
          <p:spPr>
            <a:xfrm>
              <a:off x="4029715" y="2300181"/>
              <a:ext cx="1929620" cy="1929620"/>
            </a:xfrm>
            <a:custGeom>
              <a:avLst/>
              <a:gdLst>
                <a:gd name="connsiteX0" fmla="*/ 0 w 3249930"/>
                <a:gd name="connsiteY0" fmla="*/ 1624964 h 3249929"/>
                <a:gd name="connsiteX1" fmla="*/ 1624965 w 3249930"/>
                <a:gd name="connsiteY1" fmla="*/ 0 h 3249929"/>
                <a:gd name="connsiteX2" fmla="*/ 3249929 w 3249930"/>
                <a:gd name="connsiteY2" fmla="*/ 1624964 h 3249929"/>
                <a:gd name="connsiteX3" fmla="*/ 1624965 w 3249930"/>
                <a:gd name="connsiteY3" fmla="*/ 3249929 h 3249929"/>
                <a:gd name="connsiteX4" fmla="*/ 0 w 3249930"/>
                <a:gd name="connsiteY4" fmla="*/ 1624964 h 3249929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3249930" h="3249929">
                  <a:moveTo>
                    <a:pt x="0" y="1624964"/>
                  </a:moveTo>
                  <a:cubicBezTo>
                    <a:pt x="0" y="727582"/>
                    <a:pt x="727583" y="0"/>
                    <a:pt x="1624965" y="0"/>
                  </a:cubicBezTo>
                  <a:cubicBezTo>
                    <a:pt x="2522346" y="0"/>
                    <a:pt x="3249929" y="727582"/>
                    <a:pt x="3249929" y="1624964"/>
                  </a:cubicBezTo>
                  <a:cubicBezTo>
                    <a:pt x="3249929" y="2522346"/>
                    <a:pt x="2522346" y="3249929"/>
                    <a:pt x="1624965" y="3249929"/>
                  </a:cubicBezTo>
                  <a:cubicBezTo>
                    <a:pt x="727583" y="3249929"/>
                    <a:pt x="0" y="2522346"/>
                    <a:pt x="0" y="1624964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rgbClr val="000000">
                  <a:alpha val="0"/>
                </a:srgb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50"/>
              <a:endParaRPr lang="zh-CN" altLang="en-US" sz="1600">
                <a:solidFill>
                  <a:prstClr val="white"/>
                </a:solidFill>
              </a:endParaRPr>
            </a:p>
          </p:txBody>
        </p:sp>
        <p:sp>
          <p:nvSpPr>
            <p:cNvPr id="20" name="TextBox 1">
              <a:extLst>
                <a:ext uri="{FF2B5EF4-FFF2-40B4-BE49-F238E27FC236}">
                  <a16:creationId xmlns:a16="http://schemas.microsoft.com/office/drawing/2014/main" id="{2028DF94-8FE9-4207-9322-2B71A2F925ED}"/>
                </a:ext>
              </a:extLst>
            </p:cNvPr>
            <p:cNvSpPr txBox="1"/>
            <p:nvPr/>
          </p:nvSpPr>
          <p:spPr>
            <a:xfrm>
              <a:off x="4609003" y="3043136"/>
              <a:ext cx="773716" cy="454825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pPr defTabSz="914150">
                <a:lnSpc>
                  <a:spcPts val="3067"/>
                </a:lnSpc>
              </a:pPr>
              <a:r>
                <a:rPr lang="en-US" altLang="zh-CN" sz="2100" b="1" dirty="0">
                  <a:solidFill>
                    <a:prstClr val="black"/>
                  </a:solidFill>
                  <a:latin typeface="微软雅黑" pitchFamily="18" charset="0"/>
                  <a:cs typeface="微软雅黑" pitchFamily="18" charset="0"/>
                </a:rPr>
                <a:t>$1.9B</a:t>
              </a: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204175" y="2650917"/>
            <a:ext cx="970964" cy="970963"/>
            <a:chOff x="8189426" y="2779508"/>
            <a:chExt cx="970964" cy="970963"/>
          </a:xfrm>
        </p:grpSpPr>
        <p:sp>
          <p:nvSpPr>
            <p:cNvPr id="9" name="Freeform 3">
              <a:extLst>
                <a:ext uri="{FF2B5EF4-FFF2-40B4-BE49-F238E27FC236}">
                  <a16:creationId xmlns:a16="http://schemas.microsoft.com/office/drawing/2014/main" id="{5556C507-C5E4-4E39-B2D7-65F58D0150CE}"/>
                </a:ext>
              </a:extLst>
            </p:cNvPr>
            <p:cNvSpPr/>
            <p:nvPr/>
          </p:nvSpPr>
          <p:spPr>
            <a:xfrm>
              <a:off x="8189426" y="2779508"/>
              <a:ext cx="970964" cy="970963"/>
            </a:xfrm>
            <a:custGeom>
              <a:avLst/>
              <a:gdLst>
                <a:gd name="connsiteX0" fmla="*/ 0 w 1486662"/>
                <a:gd name="connsiteY0" fmla="*/ 743330 h 1486661"/>
                <a:gd name="connsiteX1" fmla="*/ 743331 w 1486662"/>
                <a:gd name="connsiteY1" fmla="*/ 0 h 1486661"/>
                <a:gd name="connsiteX2" fmla="*/ 1486661 w 1486662"/>
                <a:gd name="connsiteY2" fmla="*/ 743330 h 1486661"/>
                <a:gd name="connsiteX3" fmla="*/ 743331 w 1486662"/>
                <a:gd name="connsiteY3" fmla="*/ 1486662 h 1486661"/>
                <a:gd name="connsiteX4" fmla="*/ 0 w 1486662"/>
                <a:gd name="connsiteY4" fmla="*/ 743330 h 1486661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1486662" h="1486661">
                  <a:moveTo>
                    <a:pt x="0" y="743330"/>
                  </a:moveTo>
                  <a:cubicBezTo>
                    <a:pt x="0" y="332739"/>
                    <a:pt x="332740" y="0"/>
                    <a:pt x="743331" y="0"/>
                  </a:cubicBezTo>
                  <a:cubicBezTo>
                    <a:pt x="1153921" y="0"/>
                    <a:pt x="1486661" y="332739"/>
                    <a:pt x="1486661" y="743330"/>
                  </a:cubicBezTo>
                  <a:cubicBezTo>
                    <a:pt x="1486661" y="1153922"/>
                    <a:pt x="1153921" y="1486662"/>
                    <a:pt x="743331" y="1486662"/>
                  </a:cubicBezTo>
                  <a:cubicBezTo>
                    <a:pt x="332740" y="1486662"/>
                    <a:pt x="0" y="1153922"/>
                    <a:pt x="0" y="743330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rgbClr val="000000">
                  <a:alpha val="0"/>
                </a:srgb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50"/>
              <a:endParaRPr lang="zh-CN" altLang="en-US" sz="1600">
                <a:solidFill>
                  <a:prstClr val="white"/>
                </a:solidFill>
              </a:endParaRPr>
            </a:p>
          </p:txBody>
        </p:sp>
        <p:sp>
          <p:nvSpPr>
            <p:cNvPr id="21" name="TextBox 1">
              <a:extLst>
                <a:ext uri="{FF2B5EF4-FFF2-40B4-BE49-F238E27FC236}">
                  <a16:creationId xmlns:a16="http://schemas.microsoft.com/office/drawing/2014/main" id="{918676B0-A7CF-4894-B8BA-58F7BAAD3E0D}"/>
                </a:ext>
              </a:extLst>
            </p:cNvPr>
            <p:cNvSpPr txBox="1"/>
            <p:nvPr/>
          </p:nvSpPr>
          <p:spPr>
            <a:xfrm>
              <a:off x="8316905" y="3043133"/>
              <a:ext cx="716008" cy="454825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pPr algn="ctr" defTabSz="914150">
                <a:lnSpc>
                  <a:spcPts val="3067"/>
                </a:lnSpc>
              </a:pPr>
              <a:r>
                <a:rPr lang="en-US" altLang="zh-CN" sz="1600" b="1" dirty="0">
                  <a:solidFill>
                    <a:prstClr val="black"/>
                  </a:solidFill>
                  <a:latin typeface="微软雅黑" pitchFamily="18" charset="0"/>
                  <a:cs typeface="微软雅黑" pitchFamily="18" charset="0"/>
                </a:rPr>
                <a:t>$760M</a:t>
              </a: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9624609" y="2753461"/>
            <a:ext cx="765872" cy="765872"/>
            <a:chOff x="9613279" y="2882053"/>
            <a:chExt cx="765872" cy="765872"/>
          </a:xfrm>
        </p:grpSpPr>
        <p:sp>
          <p:nvSpPr>
            <p:cNvPr id="11" name="Freeform 3">
              <a:extLst>
                <a:ext uri="{FF2B5EF4-FFF2-40B4-BE49-F238E27FC236}">
                  <a16:creationId xmlns:a16="http://schemas.microsoft.com/office/drawing/2014/main" id="{82BCCFB6-CB1B-4478-A3C8-97D1AF876E99}"/>
                </a:ext>
              </a:extLst>
            </p:cNvPr>
            <p:cNvSpPr/>
            <p:nvPr/>
          </p:nvSpPr>
          <p:spPr>
            <a:xfrm>
              <a:off x="9613279" y="2882053"/>
              <a:ext cx="765872" cy="765872"/>
            </a:xfrm>
            <a:custGeom>
              <a:avLst/>
              <a:gdLst>
                <a:gd name="connsiteX0" fmla="*/ 0 w 1066038"/>
                <a:gd name="connsiteY0" fmla="*/ 533018 h 1066037"/>
                <a:gd name="connsiteX1" fmla="*/ 533018 w 1066038"/>
                <a:gd name="connsiteY1" fmla="*/ 0 h 1066037"/>
                <a:gd name="connsiteX2" fmla="*/ 1066038 w 1066038"/>
                <a:gd name="connsiteY2" fmla="*/ 533018 h 1066037"/>
                <a:gd name="connsiteX3" fmla="*/ 533018 w 1066038"/>
                <a:gd name="connsiteY3" fmla="*/ 1066037 h 1066037"/>
                <a:gd name="connsiteX4" fmla="*/ 0 w 1066038"/>
                <a:gd name="connsiteY4" fmla="*/ 533018 h 1066037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1066038" h="1066037">
                  <a:moveTo>
                    <a:pt x="0" y="533018"/>
                  </a:moveTo>
                  <a:cubicBezTo>
                    <a:pt x="0" y="238632"/>
                    <a:pt x="238632" y="0"/>
                    <a:pt x="533018" y="0"/>
                  </a:cubicBezTo>
                  <a:cubicBezTo>
                    <a:pt x="827404" y="0"/>
                    <a:pt x="1066038" y="238632"/>
                    <a:pt x="1066038" y="533018"/>
                  </a:cubicBezTo>
                  <a:cubicBezTo>
                    <a:pt x="1066038" y="827405"/>
                    <a:pt x="827404" y="1066037"/>
                    <a:pt x="533018" y="1066037"/>
                  </a:cubicBezTo>
                  <a:cubicBezTo>
                    <a:pt x="238632" y="1066037"/>
                    <a:pt x="0" y="827405"/>
                    <a:pt x="0" y="533018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rgbClr val="000000">
                  <a:alpha val="0"/>
                </a:srgb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50"/>
              <a:endParaRPr lang="zh-CN" altLang="en-US" sz="1600">
                <a:solidFill>
                  <a:prstClr val="white"/>
                </a:solidFill>
              </a:endParaRPr>
            </a:p>
          </p:txBody>
        </p:sp>
        <p:sp>
          <p:nvSpPr>
            <p:cNvPr id="22" name="TextBox 1">
              <a:extLst>
                <a:ext uri="{FF2B5EF4-FFF2-40B4-BE49-F238E27FC236}">
                  <a16:creationId xmlns:a16="http://schemas.microsoft.com/office/drawing/2014/main" id="{21A5135E-D372-48F7-81B8-65E80E82E9A5}"/>
                </a:ext>
              </a:extLst>
            </p:cNvPr>
            <p:cNvSpPr txBox="1"/>
            <p:nvPr/>
          </p:nvSpPr>
          <p:spPr>
            <a:xfrm>
              <a:off x="9647422" y="3043134"/>
              <a:ext cx="716008" cy="454825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pPr defTabSz="914150">
                <a:lnSpc>
                  <a:spcPts val="3067"/>
                </a:lnSpc>
              </a:pPr>
              <a:r>
                <a:rPr lang="en-US" altLang="zh-CN" sz="1600" b="1" dirty="0">
                  <a:solidFill>
                    <a:prstClr val="black"/>
                  </a:solidFill>
                  <a:latin typeface="微软雅黑" pitchFamily="18" charset="0"/>
                  <a:cs typeface="微软雅黑" pitchFamily="18" charset="0"/>
                </a:rPr>
                <a:t>$550M</a:t>
              </a:r>
            </a:p>
          </p:txBody>
        </p:sp>
      </p:grpSp>
      <p:grpSp>
        <p:nvGrpSpPr>
          <p:cNvPr id="41" name="组合 40"/>
          <p:cNvGrpSpPr/>
          <p:nvPr/>
        </p:nvGrpSpPr>
        <p:grpSpPr>
          <a:xfrm>
            <a:off x="10813260" y="2834424"/>
            <a:ext cx="674258" cy="648000"/>
            <a:chOff x="10809596" y="2963016"/>
            <a:chExt cx="674257" cy="648000"/>
          </a:xfrm>
        </p:grpSpPr>
        <p:sp>
          <p:nvSpPr>
            <p:cNvPr id="34" name="Freeform 3">
              <a:extLst>
                <a:ext uri="{FF2B5EF4-FFF2-40B4-BE49-F238E27FC236}">
                  <a16:creationId xmlns:a16="http://schemas.microsoft.com/office/drawing/2014/main" id="{82BCCFB6-CB1B-4478-A3C8-97D1AF876E99}"/>
                </a:ext>
              </a:extLst>
            </p:cNvPr>
            <p:cNvSpPr/>
            <p:nvPr/>
          </p:nvSpPr>
          <p:spPr>
            <a:xfrm>
              <a:off x="10835853" y="2963016"/>
              <a:ext cx="648000" cy="648000"/>
            </a:xfrm>
            <a:custGeom>
              <a:avLst/>
              <a:gdLst>
                <a:gd name="connsiteX0" fmla="*/ 0 w 1066038"/>
                <a:gd name="connsiteY0" fmla="*/ 533018 h 1066037"/>
                <a:gd name="connsiteX1" fmla="*/ 533018 w 1066038"/>
                <a:gd name="connsiteY1" fmla="*/ 0 h 1066037"/>
                <a:gd name="connsiteX2" fmla="*/ 1066038 w 1066038"/>
                <a:gd name="connsiteY2" fmla="*/ 533018 h 1066037"/>
                <a:gd name="connsiteX3" fmla="*/ 533018 w 1066038"/>
                <a:gd name="connsiteY3" fmla="*/ 1066037 h 1066037"/>
                <a:gd name="connsiteX4" fmla="*/ 0 w 1066038"/>
                <a:gd name="connsiteY4" fmla="*/ 533018 h 1066037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1066038" h="1066037">
                  <a:moveTo>
                    <a:pt x="0" y="533018"/>
                  </a:moveTo>
                  <a:cubicBezTo>
                    <a:pt x="0" y="238632"/>
                    <a:pt x="238632" y="0"/>
                    <a:pt x="533018" y="0"/>
                  </a:cubicBezTo>
                  <a:cubicBezTo>
                    <a:pt x="827404" y="0"/>
                    <a:pt x="1066038" y="238632"/>
                    <a:pt x="1066038" y="533018"/>
                  </a:cubicBezTo>
                  <a:cubicBezTo>
                    <a:pt x="1066038" y="827405"/>
                    <a:pt x="827404" y="1066037"/>
                    <a:pt x="533018" y="1066037"/>
                  </a:cubicBezTo>
                  <a:cubicBezTo>
                    <a:pt x="238632" y="1066037"/>
                    <a:pt x="0" y="827405"/>
                    <a:pt x="0" y="533018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rgbClr val="000000">
                  <a:alpha val="0"/>
                </a:srgb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50"/>
              <a:endParaRPr lang="zh-CN" altLang="en-US" sz="1600">
                <a:solidFill>
                  <a:prstClr val="white"/>
                </a:solidFill>
              </a:endParaRPr>
            </a:p>
          </p:txBody>
        </p:sp>
        <p:sp>
          <p:nvSpPr>
            <p:cNvPr id="23" name="TextBox 1">
              <a:extLst>
                <a:ext uri="{FF2B5EF4-FFF2-40B4-BE49-F238E27FC236}">
                  <a16:creationId xmlns:a16="http://schemas.microsoft.com/office/drawing/2014/main" id="{B2F0AF38-A3A9-4C3B-815E-A7AC2BA009D5}"/>
                </a:ext>
              </a:extLst>
            </p:cNvPr>
            <p:cNvSpPr txBox="1"/>
            <p:nvPr/>
          </p:nvSpPr>
          <p:spPr>
            <a:xfrm>
              <a:off x="10809596" y="3053619"/>
              <a:ext cx="671658" cy="443711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pPr algn="ctr" defTabSz="914150">
                <a:lnSpc>
                  <a:spcPts val="3067"/>
                </a:lnSpc>
              </a:pPr>
              <a:r>
                <a:rPr lang="en-US" altLang="zh-CN" sz="1500" b="1" dirty="0">
                  <a:solidFill>
                    <a:prstClr val="black"/>
                  </a:solidFill>
                  <a:latin typeface="微软雅黑" pitchFamily="18" charset="0"/>
                  <a:cs typeface="微软雅黑" pitchFamily="18" charset="0"/>
                </a:rPr>
                <a:t>$300M</a:t>
              </a:r>
            </a:p>
          </p:txBody>
        </p:sp>
      </p:grpSp>
      <p:sp>
        <p:nvSpPr>
          <p:cNvPr id="25" name="TextBox 1">
            <a:extLst>
              <a:ext uri="{FF2B5EF4-FFF2-40B4-BE49-F238E27FC236}">
                <a16:creationId xmlns:a16="http://schemas.microsoft.com/office/drawing/2014/main" id="{7ECE984E-4BE4-4322-96D3-D1C916F3A56E}"/>
              </a:ext>
            </a:extLst>
          </p:cNvPr>
          <p:cNvSpPr txBox="1"/>
          <p:nvPr/>
        </p:nvSpPr>
        <p:spPr>
          <a:xfrm>
            <a:off x="4763700" y="4872642"/>
            <a:ext cx="487313" cy="443711"/>
          </a:xfrm>
          <a:prstGeom prst="rect">
            <a:avLst/>
          </a:prstGeom>
          <a:noFill/>
        </p:spPr>
        <p:txBody>
          <a:bodyPr wrap="none" lIns="0" tIns="0" rIns="0" bIns="45718" rtlCol="0">
            <a:spAutoFit/>
          </a:bodyPr>
          <a:lstStyle/>
          <a:p>
            <a:pPr defTabSz="914150">
              <a:lnSpc>
                <a:spcPts val="3067"/>
              </a:lnSpc>
            </a:pPr>
            <a:r>
              <a:rPr lang="zh-CN" altLang="en-US" b="1" dirty="0">
                <a:solidFill>
                  <a:srgbClr val="C00000"/>
                </a:solidFill>
                <a:latin typeface="微软雅黑" pitchFamily="18" charset="0"/>
                <a:cs typeface="微软雅黑" pitchFamily="18" charset="0"/>
              </a:rPr>
              <a:t>中国</a:t>
            </a:r>
            <a:endParaRPr lang="en-US" altLang="zh-CN" b="1" dirty="0">
              <a:solidFill>
                <a:srgbClr val="C00000"/>
              </a:solidFill>
              <a:latin typeface="微软雅黑" pitchFamily="18" charset="0"/>
              <a:cs typeface="微软雅黑" pitchFamily="18" charset="0"/>
            </a:endParaRP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71D54442-7B1C-4462-B59B-234CA4B24A06}"/>
              </a:ext>
            </a:extLst>
          </p:cNvPr>
          <p:cNvSpPr txBox="1"/>
          <p:nvPr/>
        </p:nvSpPr>
        <p:spPr>
          <a:xfrm>
            <a:off x="8458830" y="4872642"/>
            <a:ext cx="487313" cy="443711"/>
          </a:xfrm>
          <a:prstGeom prst="rect">
            <a:avLst/>
          </a:prstGeom>
          <a:noFill/>
        </p:spPr>
        <p:txBody>
          <a:bodyPr wrap="none" lIns="0" tIns="0" rIns="0" bIns="45718" rtlCol="0">
            <a:spAutoFit/>
          </a:bodyPr>
          <a:lstStyle/>
          <a:p>
            <a:pPr defTabSz="914150">
              <a:lnSpc>
                <a:spcPts val="3067"/>
              </a:lnSpc>
            </a:pPr>
            <a:r>
              <a:rPr lang="zh-CN" altLang="en-US" b="1" dirty="0">
                <a:solidFill>
                  <a:srgbClr val="C00000"/>
                </a:solidFill>
                <a:latin typeface="微软雅黑" pitchFamily="18" charset="0"/>
                <a:cs typeface="微软雅黑" pitchFamily="18" charset="0"/>
              </a:rPr>
              <a:t>中国</a:t>
            </a:r>
            <a:endParaRPr lang="en-US" altLang="zh-CN" b="1" dirty="0">
              <a:solidFill>
                <a:srgbClr val="C00000"/>
              </a:solidFill>
              <a:latin typeface="微软雅黑" pitchFamily="18" charset="0"/>
              <a:cs typeface="微软雅黑" pitchFamily="18" charset="0"/>
            </a:endParaRPr>
          </a:p>
        </p:txBody>
      </p:sp>
      <p:sp>
        <p:nvSpPr>
          <p:cNvPr id="27" name="TextBox 1">
            <a:extLst>
              <a:ext uri="{FF2B5EF4-FFF2-40B4-BE49-F238E27FC236}">
                <a16:creationId xmlns:a16="http://schemas.microsoft.com/office/drawing/2014/main" id="{C24D374A-CD3E-4E0D-91A1-4C1BADECD69D}"/>
              </a:ext>
            </a:extLst>
          </p:cNvPr>
          <p:cNvSpPr txBox="1"/>
          <p:nvPr/>
        </p:nvSpPr>
        <p:spPr>
          <a:xfrm>
            <a:off x="9776720" y="4872642"/>
            <a:ext cx="487313" cy="443711"/>
          </a:xfrm>
          <a:prstGeom prst="rect">
            <a:avLst/>
          </a:prstGeom>
          <a:noFill/>
        </p:spPr>
        <p:txBody>
          <a:bodyPr wrap="none" lIns="0" tIns="0" rIns="0" bIns="45718" rtlCol="0">
            <a:spAutoFit/>
          </a:bodyPr>
          <a:lstStyle/>
          <a:p>
            <a:pPr defTabSz="914150">
              <a:lnSpc>
                <a:spcPts val="3067"/>
              </a:lnSpc>
            </a:pPr>
            <a:r>
              <a:rPr lang="zh-CN" altLang="en-US" b="1" dirty="0" smtClean="0">
                <a:solidFill>
                  <a:prstClr val="black"/>
                </a:solidFill>
                <a:latin typeface="微软雅黑" pitchFamily="18" charset="0"/>
                <a:cs typeface="微软雅黑" pitchFamily="18" charset="0"/>
              </a:rPr>
              <a:t>印尼</a:t>
            </a:r>
            <a:endParaRPr lang="en-US" altLang="zh-CN" b="1" dirty="0">
              <a:solidFill>
                <a:prstClr val="black"/>
              </a:solidFill>
              <a:latin typeface="微软雅黑" pitchFamily="18" charset="0"/>
              <a:cs typeface="微软雅黑" pitchFamily="18" charset="0"/>
            </a:endParaRPr>
          </a:p>
        </p:txBody>
      </p:sp>
      <p:sp>
        <p:nvSpPr>
          <p:cNvPr id="28" name="TextBox 1">
            <a:extLst>
              <a:ext uri="{FF2B5EF4-FFF2-40B4-BE49-F238E27FC236}">
                <a16:creationId xmlns:a16="http://schemas.microsoft.com/office/drawing/2014/main" id="{9D4D6A18-7FBF-4CA2-9BA6-F59DAAFC40DE}"/>
              </a:ext>
            </a:extLst>
          </p:cNvPr>
          <p:cNvSpPr txBox="1"/>
          <p:nvPr/>
        </p:nvSpPr>
        <p:spPr>
          <a:xfrm>
            <a:off x="10930786" y="4872642"/>
            <a:ext cx="487313" cy="443711"/>
          </a:xfrm>
          <a:prstGeom prst="rect">
            <a:avLst/>
          </a:prstGeom>
          <a:noFill/>
        </p:spPr>
        <p:txBody>
          <a:bodyPr wrap="none" lIns="0" tIns="0" rIns="0" bIns="45718" rtlCol="0">
            <a:spAutoFit/>
          </a:bodyPr>
          <a:lstStyle/>
          <a:p>
            <a:pPr defTabSz="914150">
              <a:lnSpc>
                <a:spcPts val="3067"/>
              </a:lnSpc>
            </a:pPr>
            <a:r>
              <a:rPr lang="zh-CN" altLang="en-US" b="1" dirty="0">
                <a:solidFill>
                  <a:srgbClr val="C00000"/>
                </a:solidFill>
                <a:latin typeface="微软雅黑" pitchFamily="18" charset="0"/>
                <a:cs typeface="微软雅黑" pitchFamily="18" charset="0"/>
              </a:rPr>
              <a:t>中国</a:t>
            </a:r>
            <a:endParaRPr lang="en-US" altLang="zh-CN" b="1" dirty="0">
              <a:solidFill>
                <a:srgbClr val="C00000"/>
              </a:solidFill>
              <a:latin typeface="微软雅黑" pitchFamily="18" charset="0"/>
              <a:cs typeface="微软雅黑" pitchFamily="18" charset="0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481802" y="1588889"/>
            <a:ext cx="3095031" cy="3095031"/>
            <a:chOff x="481795" y="1717474"/>
            <a:chExt cx="3095031" cy="3095031"/>
          </a:xfrm>
        </p:grpSpPr>
        <p:sp>
          <p:nvSpPr>
            <p:cNvPr id="30" name="Freeform 3">
              <a:extLst>
                <a:ext uri="{FF2B5EF4-FFF2-40B4-BE49-F238E27FC236}">
                  <a16:creationId xmlns:a16="http://schemas.microsoft.com/office/drawing/2014/main" id="{AC466423-6D51-45D5-B323-86171DB90611}"/>
                </a:ext>
              </a:extLst>
            </p:cNvPr>
            <p:cNvSpPr/>
            <p:nvPr/>
          </p:nvSpPr>
          <p:spPr>
            <a:xfrm>
              <a:off x="481795" y="1717474"/>
              <a:ext cx="3095031" cy="3095031"/>
            </a:xfrm>
            <a:custGeom>
              <a:avLst/>
              <a:gdLst>
                <a:gd name="connsiteX0" fmla="*/ 0 w 3249930"/>
                <a:gd name="connsiteY0" fmla="*/ 1624964 h 3249929"/>
                <a:gd name="connsiteX1" fmla="*/ 1624965 w 3249930"/>
                <a:gd name="connsiteY1" fmla="*/ 0 h 3249929"/>
                <a:gd name="connsiteX2" fmla="*/ 3249929 w 3249930"/>
                <a:gd name="connsiteY2" fmla="*/ 1624964 h 3249929"/>
                <a:gd name="connsiteX3" fmla="*/ 1624965 w 3249930"/>
                <a:gd name="connsiteY3" fmla="*/ 3249929 h 3249929"/>
                <a:gd name="connsiteX4" fmla="*/ 0 w 3249930"/>
                <a:gd name="connsiteY4" fmla="*/ 1624964 h 3249929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3249930" h="3249929">
                  <a:moveTo>
                    <a:pt x="0" y="1624964"/>
                  </a:moveTo>
                  <a:cubicBezTo>
                    <a:pt x="0" y="727582"/>
                    <a:pt x="727583" y="0"/>
                    <a:pt x="1624965" y="0"/>
                  </a:cubicBezTo>
                  <a:cubicBezTo>
                    <a:pt x="2522346" y="0"/>
                    <a:pt x="3249929" y="727582"/>
                    <a:pt x="3249929" y="1624964"/>
                  </a:cubicBezTo>
                  <a:cubicBezTo>
                    <a:pt x="3249929" y="2522346"/>
                    <a:pt x="2522346" y="3249929"/>
                    <a:pt x="1624965" y="3249929"/>
                  </a:cubicBezTo>
                  <a:cubicBezTo>
                    <a:pt x="727583" y="3249929"/>
                    <a:pt x="0" y="2522346"/>
                    <a:pt x="0" y="1624964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rgbClr val="000000">
                  <a:alpha val="0"/>
                </a:srgb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50"/>
              <a:endParaRPr lang="zh-CN" altLang="en-US" sz="1600">
                <a:solidFill>
                  <a:prstClr val="white"/>
                </a:solidFill>
              </a:endParaRPr>
            </a:p>
          </p:txBody>
        </p:sp>
        <p:sp>
          <p:nvSpPr>
            <p:cNvPr id="31" name="TextBox 1">
              <a:extLst>
                <a:ext uri="{FF2B5EF4-FFF2-40B4-BE49-F238E27FC236}">
                  <a16:creationId xmlns:a16="http://schemas.microsoft.com/office/drawing/2014/main" id="{C513200C-D348-4076-9001-089FF9C0E98F}"/>
                </a:ext>
              </a:extLst>
            </p:cNvPr>
            <p:cNvSpPr txBox="1"/>
            <p:nvPr/>
          </p:nvSpPr>
          <p:spPr>
            <a:xfrm>
              <a:off x="1643788" y="3043134"/>
              <a:ext cx="773716" cy="454825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pPr defTabSz="914150">
                <a:lnSpc>
                  <a:spcPts val="3067"/>
                </a:lnSpc>
              </a:pPr>
              <a:r>
                <a:rPr lang="en-US" altLang="zh-CN" sz="2100" b="1" dirty="0">
                  <a:solidFill>
                    <a:prstClr val="black"/>
                  </a:solidFill>
                  <a:latin typeface="微软雅黑" pitchFamily="18" charset="0"/>
                  <a:cs typeface="微软雅黑" pitchFamily="18" charset="0"/>
                </a:rPr>
                <a:t>$2.5B</a:t>
              </a:r>
            </a:p>
          </p:txBody>
        </p:sp>
      </p:grpSp>
      <p:sp>
        <p:nvSpPr>
          <p:cNvPr id="32" name="TextBox 1">
            <a:extLst>
              <a:ext uri="{FF2B5EF4-FFF2-40B4-BE49-F238E27FC236}">
                <a16:creationId xmlns:a16="http://schemas.microsoft.com/office/drawing/2014/main" id="{2916626F-2F0F-4934-A877-FC264DF96A98}"/>
              </a:ext>
            </a:extLst>
          </p:cNvPr>
          <p:cNvSpPr txBox="1"/>
          <p:nvPr/>
        </p:nvSpPr>
        <p:spPr>
          <a:xfrm>
            <a:off x="1798485" y="4872642"/>
            <a:ext cx="487313" cy="443711"/>
          </a:xfrm>
          <a:prstGeom prst="rect">
            <a:avLst/>
          </a:prstGeom>
          <a:noFill/>
        </p:spPr>
        <p:txBody>
          <a:bodyPr wrap="none" lIns="0" tIns="0" rIns="0" bIns="45718" rtlCol="0">
            <a:spAutoFit/>
          </a:bodyPr>
          <a:lstStyle/>
          <a:p>
            <a:pPr defTabSz="914150">
              <a:lnSpc>
                <a:spcPts val="3067"/>
              </a:lnSpc>
            </a:pPr>
            <a:r>
              <a:rPr lang="zh-CN" altLang="en-US" b="1" dirty="0">
                <a:solidFill>
                  <a:srgbClr val="C00000"/>
                </a:solidFill>
                <a:latin typeface="微软雅黑" pitchFamily="18" charset="0"/>
                <a:cs typeface="微软雅黑" pitchFamily="18" charset="0"/>
              </a:rPr>
              <a:t>中国</a:t>
            </a:r>
            <a:endParaRPr lang="en-US" altLang="zh-CN" b="1" dirty="0">
              <a:solidFill>
                <a:srgbClr val="C00000"/>
              </a:solidFill>
              <a:latin typeface="微软雅黑" pitchFamily="18" charset="0"/>
              <a:cs typeface="微软雅黑" pitchFamily="18" charset="0"/>
            </a:endParaRPr>
          </a:p>
        </p:txBody>
      </p:sp>
      <p:pic>
        <p:nvPicPr>
          <p:cNvPr id="33" name="图片 32">
            <a:extLst>
              <a:ext uri="{FF2B5EF4-FFF2-40B4-BE49-F238E27FC236}">
                <a16:creationId xmlns:a16="http://schemas.microsoft.com/office/drawing/2014/main" id="{87073F23-35C5-4F89-93EF-FC67A7EF2A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195" y="5445383"/>
            <a:ext cx="1492232" cy="336000"/>
          </a:xfrm>
          <a:prstGeom prst="rect">
            <a:avLst/>
          </a:prstGeom>
        </p:spPr>
      </p:pic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9320" y="5316351"/>
            <a:ext cx="637013" cy="477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8" name="组合 37"/>
          <p:cNvGrpSpPr/>
          <p:nvPr/>
        </p:nvGrpSpPr>
        <p:grpSpPr>
          <a:xfrm>
            <a:off x="6412230" y="2474249"/>
            <a:ext cx="1324313" cy="1324313"/>
            <a:chOff x="6412224" y="2602834"/>
            <a:chExt cx="1324313" cy="1324313"/>
          </a:xfrm>
        </p:grpSpPr>
        <p:sp>
          <p:nvSpPr>
            <p:cNvPr id="7" name="Freeform 3">
              <a:extLst>
                <a:ext uri="{FF2B5EF4-FFF2-40B4-BE49-F238E27FC236}">
                  <a16:creationId xmlns:a16="http://schemas.microsoft.com/office/drawing/2014/main" id="{4AC0DCCA-8382-41DF-A5FC-DE0FF9737211}"/>
                </a:ext>
              </a:extLst>
            </p:cNvPr>
            <p:cNvSpPr/>
            <p:nvPr/>
          </p:nvSpPr>
          <p:spPr>
            <a:xfrm>
              <a:off x="6412224" y="2602834"/>
              <a:ext cx="1324313" cy="1324313"/>
            </a:xfrm>
            <a:custGeom>
              <a:avLst/>
              <a:gdLst>
                <a:gd name="connsiteX0" fmla="*/ 0 w 2027682"/>
                <a:gd name="connsiteY0" fmla="*/ 1013840 h 2027682"/>
                <a:gd name="connsiteX1" fmla="*/ 1013841 w 2027682"/>
                <a:gd name="connsiteY1" fmla="*/ 0 h 2027682"/>
                <a:gd name="connsiteX2" fmla="*/ 2027682 w 2027682"/>
                <a:gd name="connsiteY2" fmla="*/ 1013840 h 2027682"/>
                <a:gd name="connsiteX3" fmla="*/ 1013841 w 2027682"/>
                <a:gd name="connsiteY3" fmla="*/ 2027682 h 2027682"/>
                <a:gd name="connsiteX4" fmla="*/ 0 w 2027682"/>
                <a:gd name="connsiteY4" fmla="*/ 1013840 h 2027682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  <a:cxn ang="2">
                  <a:pos x="connsiteX2" y="connsiteY2"/>
                </a:cxn>
                <a:cxn ang="3">
                  <a:pos x="connsiteX3" y="connsiteY3"/>
                </a:cxn>
                <a:cxn ang="4">
                  <a:pos x="connsiteX4" y="connsiteY4"/>
                </a:cxn>
              </a:cxnLst>
              <a:rect l="l" t="t" r="r" b="b"/>
              <a:pathLst>
                <a:path w="2027682" h="2027682">
                  <a:moveTo>
                    <a:pt x="0" y="1013840"/>
                  </a:moveTo>
                  <a:cubicBezTo>
                    <a:pt x="0" y="453898"/>
                    <a:pt x="453898" y="0"/>
                    <a:pt x="1013841" y="0"/>
                  </a:cubicBezTo>
                  <a:cubicBezTo>
                    <a:pt x="1573784" y="0"/>
                    <a:pt x="2027682" y="453898"/>
                    <a:pt x="2027682" y="1013840"/>
                  </a:cubicBezTo>
                  <a:cubicBezTo>
                    <a:pt x="2027682" y="1573784"/>
                    <a:pt x="1573784" y="2027682"/>
                    <a:pt x="1013841" y="2027682"/>
                  </a:cubicBezTo>
                  <a:cubicBezTo>
                    <a:pt x="453898" y="2027682"/>
                    <a:pt x="0" y="1573784"/>
                    <a:pt x="0" y="1013840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>
              <a:solidFill>
                <a:srgbClr val="000000">
                  <a:alpha val="0"/>
                </a:srgb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50"/>
              <a:endParaRPr lang="zh-CN" altLang="en-US" sz="1600">
                <a:solidFill>
                  <a:prstClr val="white"/>
                </a:solidFill>
              </a:endParaRPr>
            </a:p>
          </p:txBody>
        </p:sp>
        <p:sp>
          <p:nvSpPr>
            <p:cNvPr id="35" name="TextBox 1">
              <a:extLst>
                <a:ext uri="{FF2B5EF4-FFF2-40B4-BE49-F238E27FC236}">
                  <a16:creationId xmlns:a16="http://schemas.microsoft.com/office/drawing/2014/main" id="{2028DF94-8FE9-4207-9322-2B71A2F925ED}"/>
                </a:ext>
              </a:extLst>
            </p:cNvPr>
            <p:cNvSpPr txBox="1"/>
            <p:nvPr/>
          </p:nvSpPr>
          <p:spPr>
            <a:xfrm>
              <a:off x="6687524" y="3060287"/>
              <a:ext cx="773716" cy="454825"/>
            </a:xfrm>
            <a:prstGeom prst="rect">
              <a:avLst/>
            </a:prstGeom>
            <a:noFill/>
          </p:spPr>
          <p:txBody>
            <a:bodyPr wrap="none" lIns="0" tIns="0" rIns="0" rtlCol="0">
              <a:spAutoFit/>
            </a:bodyPr>
            <a:lstStyle/>
            <a:p>
              <a:pPr algn="ctr" defTabSz="914150">
                <a:lnSpc>
                  <a:spcPts val="3067"/>
                </a:lnSpc>
              </a:pPr>
              <a:r>
                <a:rPr lang="en-US" altLang="zh-CN" sz="2100" b="1" dirty="0">
                  <a:solidFill>
                    <a:prstClr val="black"/>
                  </a:solidFill>
                  <a:latin typeface="微软雅黑" pitchFamily="18" charset="0"/>
                  <a:cs typeface="微软雅黑" pitchFamily="18" charset="0"/>
                </a:rPr>
                <a:t>$1.5B</a:t>
              </a:r>
            </a:p>
          </p:txBody>
        </p:sp>
      </p:grpSp>
      <p:pic>
        <p:nvPicPr>
          <p:cNvPr id="36" name="Picture 3">
            <a:extLst>
              <a:ext uri="{FF2B5EF4-FFF2-40B4-BE49-F238E27FC236}">
                <a16:creationId xmlns:a16="http://schemas.microsoft.com/office/drawing/2014/main" id="{A8C9F0AC-4A18-4601-A822-CD55630779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29681" y="5445383"/>
            <a:ext cx="489403" cy="336000"/>
          </a:xfrm>
          <a:prstGeom prst="rect">
            <a:avLst/>
          </a:prstGeom>
          <a:noFill/>
        </p:spPr>
      </p:pic>
      <p:sp>
        <p:nvSpPr>
          <p:cNvPr id="37" name="TextBox 1">
            <a:extLst>
              <a:ext uri="{FF2B5EF4-FFF2-40B4-BE49-F238E27FC236}">
                <a16:creationId xmlns:a16="http://schemas.microsoft.com/office/drawing/2014/main" id="{7ECE984E-4BE4-4322-96D3-D1C916F3A56E}"/>
              </a:ext>
            </a:extLst>
          </p:cNvPr>
          <p:cNvSpPr txBox="1"/>
          <p:nvPr/>
        </p:nvSpPr>
        <p:spPr>
          <a:xfrm>
            <a:off x="6843554" y="4872642"/>
            <a:ext cx="487313" cy="443711"/>
          </a:xfrm>
          <a:prstGeom prst="rect">
            <a:avLst/>
          </a:prstGeom>
          <a:noFill/>
        </p:spPr>
        <p:txBody>
          <a:bodyPr wrap="none" lIns="0" tIns="0" rIns="0" bIns="45718" rtlCol="0">
            <a:spAutoFit/>
          </a:bodyPr>
          <a:lstStyle/>
          <a:p>
            <a:pPr defTabSz="914150">
              <a:lnSpc>
                <a:spcPts val="3067"/>
              </a:lnSpc>
            </a:pPr>
            <a:r>
              <a:rPr lang="zh-CN" altLang="en-US" b="1" dirty="0">
                <a:solidFill>
                  <a:srgbClr val="C00000"/>
                </a:solidFill>
                <a:latin typeface="微软雅黑" pitchFamily="18" charset="0"/>
                <a:cs typeface="微软雅黑" pitchFamily="18" charset="0"/>
              </a:rPr>
              <a:t>中国</a:t>
            </a:r>
            <a:endParaRPr lang="en-US" altLang="zh-CN" b="1" dirty="0">
              <a:solidFill>
                <a:srgbClr val="C00000"/>
              </a:solidFill>
              <a:latin typeface="微软雅黑" pitchFamily="18" charset="0"/>
              <a:cs typeface="微软雅黑" pitchFamily="18" charset="0"/>
            </a:endParaRPr>
          </a:p>
        </p:txBody>
      </p:sp>
      <p:pic>
        <p:nvPicPr>
          <p:cNvPr id="39940" name="Picture 4" descr="https://fe.imdada.cn/crane/1.11.48/images/logo.c2d97a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1612" y="5429890"/>
            <a:ext cx="720000" cy="366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056283" y="5964625"/>
            <a:ext cx="1891863" cy="323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en-US" altLang="zh-CN" sz="1500" dirty="0">
                <a:ea typeface="微软雅黑" panose="020B0503020204020204" pitchFamily="34" charset="-122"/>
              </a:rPr>
              <a:t>2018.02</a:t>
            </a:r>
            <a:endParaRPr lang="zh-CN" altLang="en-US" sz="1500" dirty="0">
              <a:ea typeface="微软雅黑" panose="020B0503020204020204" pitchFamily="34" charset="-122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059089" y="5964625"/>
            <a:ext cx="1891863" cy="323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en-US" altLang="zh-CN" sz="1500" dirty="0">
                <a:ea typeface="微软雅黑" panose="020B0503020204020204" pitchFamily="34" charset="-122"/>
              </a:rPr>
              <a:t>2018.04</a:t>
            </a:r>
            <a:endParaRPr lang="zh-CN" altLang="en-US" sz="1500" dirty="0">
              <a:ea typeface="微软雅黑" panose="020B0503020204020204" pitchFamily="34" charset="-122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872242" y="5964625"/>
            <a:ext cx="1891863" cy="323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en-US" altLang="zh-CN" sz="1500" dirty="0">
                <a:ea typeface="微软雅黑" panose="020B0503020204020204" pitchFamily="34" charset="-122"/>
              </a:rPr>
              <a:t>2016.09</a:t>
            </a:r>
            <a:endParaRPr lang="zh-CN" altLang="en-US" sz="1500" dirty="0">
              <a:ea typeface="微软雅黑" panose="020B0503020204020204" pitchFamily="34" charset="-122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131907" y="5964625"/>
            <a:ext cx="1891863" cy="323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en-US" altLang="zh-CN" sz="1500" dirty="0">
                <a:ea typeface="微软雅黑" panose="020B0503020204020204" pitchFamily="34" charset="-122"/>
              </a:rPr>
              <a:t>2016.08</a:t>
            </a:r>
            <a:endParaRPr lang="zh-CN" altLang="en-US" sz="1500" dirty="0">
              <a:ea typeface="微软雅黑" panose="020B0503020204020204" pitchFamily="34" charset="-122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0300139" y="5964625"/>
            <a:ext cx="1891863" cy="323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en-US" altLang="zh-CN" sz="1500" dirty="0">
                <a:ea typeface="微软雅黑" panose="020B0503020204020204" pitchFamily="34" charset="-122"/>
              </a:rPr>
              <a:t>2015.12</a:t>
            </a:r>
            <a:endParaRPr lang="zh-CN" altLang="en-US" sz="1500" dirty="0">
              <a:ea typeface="微软雅黑" panose="020B0503020204020204" pitchFamily="34" charset="-122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148544" y="5964625"/>
            <a:ext cx="1891863" cy="323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en-US" altLang="zh-CN" sz="1500" dirty="0">
                <a:ea typeface="微软雅黑" panose="020B0503020204020204" pitchFamily="34" charset="-122"/>
              </a:rPr>
              <a:t>2016.03</a:t>
            </a:r>
            <a:endParaRPr lang="zh-CN" altLang="en-US" sz="1500" dirty="0"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7372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无界零售时代，物流的终极状态是“无界物流”</a:t>
            </a: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6083486" y="1037348"/>
            <a:ext cx="5475384" cy="5143451"/>
            <a:chOff x="4562613" y="627534"/>
            <a:chExt cx="4106537" cy="3857588"/>
          </a:xfrm>
        </p:grpSpPr>
        <p:grpSp>
          <p:nvGrpSpPr>
            <p:cNvPr id="34" name="组合 33"/>
            <p:cNvGrpSpPr/>
            <p:nvPr/>
          </p:nvGrpSpPr>
          <p:grpSpPr>
            <a:xfrm>
              <a:off x="4562613" y="627534"/>
              <a:ext cx="4106537" cy="3857588"/>
              <a:chOff x="5292921" y="1139974"/>
              <a:chExt cx="3593011" cy="3375195"/>
            </a:xfrm>
          </p:grpSpPr>
          <p:sp>
            <p:nvSpPr>
              <p:cNvPr id="35" name="椭圆 34"/>
              <p:cNvSpPr/>
              <p:nvPr/>
            </p:nvSpPr>
            <p:spPr>
              <a:xfrm>
                <a:off x="6406924" y="2419025"/>
                <a:ext cx="1421732" cy="1421732"/>
              </a:xfrm>
              <a:prstGeom prst="ellipse">
                <a:avLst/>
              </a:prstGeom>
              <a:noFill/>
              <a:ln w="9525">
                <a:solidFill>
                  <a:srgbClr val="C00000"/>
                </a:solidFill>
                <a:prstDash val="dash"/>
              </a:ln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32"/>
                <a:endParaRPr lang="zh-CN" altLang="en-US" sz="1600" b="1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6" name="椭圆 35"/>
              <p:cNvSpPr/>
              <p:nvPr/>
            </p:nvSpPr>
            <p:spPr>
              <a:xfrm>
                <a:off x="6077011" y="2089112"/>
                <a:ext cx="2081559" cy="2081559"/>
              </a:xfrm>
              <a:prstGeom prst="ellipse">
                <a:avLst/>
              </a:prstGeom>
              <a:noFill/>
              <a:ln w="9525">
                <a:solidFill>
                  <a:srgbClr val="C00000"/>
                </a:solidFill>
                <a:prstDash val="dash"/>
              </a:ln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32"/>
                <a:endParaRPr lang="zh-CN" altLang="en-US" sz="1600" b="1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7" name="椭圆 36"/>
              <p:cNvSpPr/>
              <p:nvPr/>
            </p:nvSpPr>
            <p:spPr>
              <a:xfrm>
                <a:off x="5732512" y="1744613"/>
                <a:ext cx="2770556" cy="2770556"/>
              </a:xfrm>
              <a:prstGeom prst="ellipse">
                <a:avLst/>
              </a:prstGeom>
              <a:noFill/>
              <a:ln w="9525">
                <a:solidFill>
                  <a:srgbClr val="C00000"/>
                </a:solidFill>
                <a:prstDash val="dash"/>
              </a:ln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32"/>
                <a:endParaRPr lang="zh-CN" altLang="en-US" sz="1600" b="1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38" name="文本框 37"/>
              <p:cNvSpPr txBox="1"/>
              <p:nvPr/>
            </p:nvSpPr>
            <p:spPr>
              <a:xfrm>
                <a:off x="6914198" y="1139974"/>
                <a:ext cx="443064" cy="25245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332"/>
                <a:r>
                  <a:rPr lang="zh-CN" altLang="en-US" b="1" dirty="0">
                    <a:solidFill>
                      <a:srgbClr val="C00000"/>
                    </a:solidFill>
                  </a:rPr>
                  <a:t>短链</a:t>
                </a:r>
              </a:p>
            </p:txBody>
          </p:sp>
          <p:cxnSp>
            <p:nvCxnSpPr>
              <p:cNvPr id="39" name="直接箭头连接符 38"/>
              <p:cNvCxnSpPr/>
              <p:nvPr/>
            </p:nvCxnSpPr>
            <p:spPr bwMode="auto">
              <a:xfrm rot="3600000" flipH="1" flipV="1">
                <a:off x="6175788" y="2883727"/>
                <a:ext cx="1876" cy="1316561"/>
              </a:xfrm>
              <a:prstGeom prst="straightConnector1">
                <a:avLst/>
              </a:prstGeom>
              <a:noFill/>
              <a:ln w="19050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0" name="直接箭头连接符 39"/>
              <p:cNvCxnSpPr/>
              <p:nvPr/>
            </p:nvCxnSpPr>
            <p:spPr bwMode="auto">
              <a:xfrm rot="18000000" flipH="1" flipV="1">
                <a:off x="8046389" y="2883727"/>
                <a:ext cx="1876" cy="1316561"/>
              </a:xfrm>
              <a:prstGeom prst="straightConnector1">
                <a:avLst/>
              </a:prstGeom>
              <a:noFill/>
              <a:ln w="19050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42" name="文本框 41"/>
              <p:cNvSpPr txBox="1"/>
              <p:nvPr/>
            </p:nvSpPr>
            <p:spPr>
              <a:xfrm>
                <a:off x="5292921" y="3838910"/>
                <a:ext cx="443064" cy="25245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332"/>
                <a:r>
                  <a:rPr lang="zh-CN" altLang="en-US" b="1" dirty="0">
                    <a:solidFill>
                      <a:srgbClr val="C00000"/>
                    </a:solidFill>
                  </a:rPr>
                  <a:t>共生</a:t>
                </a:r>
              </a:p>
            </p:txBody>
          </p:sp>
          <p:sp>
            <p:nvSpPr>
              <p:cNvPr id="43" name="文本框 42"/>
              <p:cNvSpPr txBox="1"/>
              <p:nvPr/>
            </p:nvSpPr>
            <p:spPr>
              <a:xfrm>
                <a:off x="8442868" y="3838910"/>
                <a:ext cx="443064" cy="25245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332"/>
                <a:r>
                  <a:rPr lang="zh-CN" altLang="en-US" b="1" dirty="0">
                    <a:solidFill>
                      <a:srgbClr val="C00000"/>
                    </a:solidFill>
                  </a:rPr>
                  <a:t>智慧</a:t>
                </a:r>
              </a:p>
            </p:txBody>
          </p:sp>
          <p:cxnSp>
            <p:nvCxnSpPr>
              <p:cNvPr id="45" name="直接箭头连接符 44"/>
              <p:cNvCxnSpPr>
                <a:endCxn id="38" idx="2"/>
              </p:cNvCxnSpPr>
              <p:nvPr/>
            </p:nvCxnSpPr>
            <p:spPr bwMode="auto">
              <a:xfrm flipV="1">
                <a:off x="7131442" y="1392433"/>
                <a:ext cx="4288" cy="1379343"/>
              </a:xfrm>
              <a:prstGeom prst="straightConnector1">
                <a:avLst/>
              </a:prstGeom>
              <a:noFill/>
              <a:ln w="19050" cap="flat" cmpd="sng" algn="ctr">
                <a:solidFill>
                  <a:srgbClr val="C00000"/>
                </a:solidFill>
                <a:prstDash val="solid"/>
                <a:round/>
                <a:headEnd type="triangl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46" name="文本框 45"/>
              <p:cNvSpPr txBox="1"/>
              <p:nvPr/>
            </p:nvSpPr>
            <p:spPr>
              <a:xfrm>
                <a:off x="6963138" y="1682130"/>
                <a:ext cx="336611" cy="13464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914332"/>
                <a:r>
                  <a:rPr lang="zh-CN" altLang="en-US" sz="1300" dirty="0">
                    <a:solidFill>
                      <a:srgbClr val="C00000"/>
                    </a:solidFill>
                  </a:rPr>
                  <a:t>供应链</a:t>
                </a:r>
              </a:p>
            </p:txBody>
          </p:sp>
          <p:sp>
            <p:nvSpPr>
              <p:cNvPr id="47" name="文本框 46"/>
              <p:cNvSpPr txBox="1"/>
              <p:nvPr/>
            </p:nvSpPr>
            <p:spPr>
              <a:xfrm>
                <a:off x="7019238" y="1999663"/>
                <a:ext cx="224408" cy="13464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914332"/>
                <a:r>
                  <a:rPr lang="zh-CN" altLang="en-US" sz="1300" dirty="0">
                    <a:solidFill>
                      <a:srgbClr val="C00000"/>
                    </a:solidFill>
                  </a:rPr>
                  <a:t>快递</a:t>
                </a:r>
              </a:p>
            </p:txBody>
          </p:sp>
          <p:sp>
            <p:nvSpPr>
              <p:cNvPr id="48" name="文本框 47"/>
              <p:cNvSpPr txBox="1"/>
              <p:nvPr/>
            </p:nvSpPr>
            <p:spPr>
              <a:xfrm>
                <a:off x="7019238" y="2348905"/>
                <a:ext cx="224408" cy="13464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914332"/>
                <a:r>
                  <a:rPr lang="zh-CN" altLang="en-US" sz="1300" dirty="0">
                    <a:solidFill>
                      <a:srgbClr val="C00000"/>
                    </a:solidFill>
                  </a:rPr>
                  <a:t>快运</a:t>
                </a:r>
              </a:p>
            </p:txBody>
          </p:sp>
          <p:sp>
            <p:nvSpPr>
              <p:cNvPr id="49" name="矩形 48"/>
              <p:cNvSpPr/>
              <p:nvPr/>
            </p:nvSpPr>
            <p:spPr>
              <a:xfrm rot="3326798">
                <a:off x="6229053" y="3329295"/>
                <a:ext cx="463067" cy="14754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32"/>
                <a:endParaRPr lang="zh-CN" altLang="en-US" sz="1600" b="1" dirty="0">
                  <a:solidFill>
                    <a:srgbClr val="000000">
                      <a:lumMod val="95000"/>
                      <a:lumOff val="5000"/>
                    </a:srgbClr>
                  </a:solidFill>
                </a:endParaRPr>
              </a:p>
            </p:txBody>
          </p:sp>
          <p:sp>
            <p:nvSpPr>
              <p:cNvPr id="50" name="文本框 49"/>
              <p:cNvSpPr txBox="1"/>
              <p:nvPr/>
            </p:nvSpPr>
            <p:spPr>
              <a:xfrm rot="3382828">
                <a:off x="6302651" y="3276703"/>
                <a:ext cx="375513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prstTxWarp prst="textArchDown">
                  <a:avLst/>
                </a:prstTxWarp>
                <a:spAutoFit/>
              </a:bodyPr>
              <a:lstStyle/>
              <a:p>
                <a:pPr algn="ctr" defTabSz="914332"/>
                <a:r>
                  <a:rPr lang="zh-CN" altLang="en-US" sz="1300" dirty="0">
                    <a:solidFill>
                      <a:srgbClr val="C00000"/>
                    </a:solidFill>
                  </a:rPr>
                  <a:t>云物流</a:t>
                </a:r>
              </a:p>
            </p:txBody>
          </p:sp>
          <p:sp>
            <p:nvSpPr>
              <p:cNvPr id="51" name="矩形 50"/>
              <p:cNvSpPr/>
              <p:nvPr/>
            </p:nvSpPr>
            <p:spPr>
              <a:xfrm rot="3326798">
                <a:off x="5557029" y="3635122"/>
                <a:ext cx="677976" cy="17853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32"/>
                <a:endParaRPr lang="zh-CN" altLang="en-US" sz="1600" b="1" dirty="0">
                  <a:solidFill>
                    <a:srgbClr val="000000">
                      <a:lumMod val="95000"/>
                      <a:lumOff val="5000"/>
                    </a:srgbClr>
                  </a:solidFill>
                </a:endParaRPr>
              </a:p>
            </p:txBody>
          </p:sp>
          <p:sp>
            <p:nvSpPr>
              <p:cNvPr id="52" name="文本框 51"/>
              <p:cNvSpPr txBox="1"/>
              <p:nvPr/>
            </p:nvSpPr>
            <p:spPr>
              <a:xfrm rot="3507589">
                <a:off x="5643009" y="3624496"/>
                <a:ext cx="604767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prstTxWarp prst="textArchDown">
                  <a:avLst/>
                </a:prstTxWarp>
                <a:spAutoFit/>
              </a:bodyPr>
              <a:lstStyle/>
              <a:p>
                <a:pPr algn="ctr" defTabSz="914332"/>
                <a:r>
                  <a:rPr lang="zh-CN" altLang="en-US" sz="1300" dirty="0">
                    <a:solidFill>
                      <a:srgbClr val="C00000"/>
                    </a:solidFill>
                  </a:rPr>
                  <a:t>绿色供应链</a:t>
                </a:r>
              </a:p>
            </p:txBody>
          </p:sp>
          <p:sp>
            <p:nvSpPr>
              <p:cNvPr id="53" name="矩形 52"/>
              <p:cNvSpPr/>
              <p:nvPr/>
            </p:nvSpPr>
            <p:spPr>
              <a:xfrm rot="3326798">
                <a:off x="5994248" y="3468702"/>
                <a:ext cx="347909" cy="14754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32"/>
                <a:endParaRPr lang="zh-CN" altLang="en-US" sz="1600" b="1" dirty="0">
                  <a:solidFill>
                    <a:srgbClr val="000000">
                      <a:lumMod val="95000"/>
                      <a:lumOff val="5000"/>
                    </a:srgbClr>
                  </a:solidFill>
                </a:endParaRPr>
              </a:p>
            </p:txBody>
          </p:sp>
          <p:sp>
            <p:nvSpPr>
              <p:cNvPr id="54" name="文本框 53"/>
              <p:cNvSpPr txBox="1"/>
              <p:nvPr/>
            </p:nvSpPr>
            <p:spPr>
              <a:xfrm rot="3218037">
                <a:off x="5917320" y="3433729"/>
                <a:ext cx="604767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prstTxWarp prst="textArchDown">
                  <a:avLst/>
                </a:prstTxWarp>
                <a:spAutoFit/>
              </a:bodyPr>
              <a:lstStyle/>
              <a:p>
                <a:pPr algn="ctr" defTabSz="914332"/>
                <a:r>
                  <a:rPr lang="zh-CN" altLang="en-US" sz="1300" dirty="0">
                    <a:solidFill>
                      <a:srgbClr val="C00000"/>
                    </a:solidFill>
                  </a:rPr>
                  <a:t>供应链金融</a:t>
                </a:r>
              </a:p>
            </p:txBody>
          </p:sp>
          <p:sp>
            <p:nvSpPr>
              <p:cNvPr id="55" name="矩形 54"/>
              <p:cNvSpPr/>
              <p:nvPr/>
            </p:nvSpPr>
            <p:spPr>
              <a:xfrm rot="17761255">
                <a:off x="7653517" y="3328112"/>
                <a:ext cx="237627" cy="14754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32"/>
                <a:endParaRPr lang="zh-CN" altLang="en-US" sz="1600" b="1" dirty="0">
                  <a:solidFill>
                    <a:srgbClr val="000000">
                      <a:lumMod val="95000"/>
                      <a:lumOff val="5000"/>
                    </a:srgbClr>
                  </a:solidFill>
                </a:endParaRPr>
              </a:p>
            </p:txBody>
          </p:sp>
          <p:sp>
            <p:nvSpPr>
              <p:cNvPr id="56" name="文本框 55"/>
              <p:cNvSpPr txBox="1"/>
              <p:nvPr/>
            </p:nvSpPr>
            <p:spPr>
              <a:xfrm rot="17867657">
                <a:off x="7545978" y="3285571"/>
                <a:ext cx="384721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prstTxWarp prst="textArchDown">
                  <a:avLst/>
                </a:prstTxWarp>
                <a:spAutoFit/>
              </a:bodyPr>
              <a:lstStyle/>
              <a:p>
                <a:pPr algn="ctr" defTabSz="914332"/>
                <a:r>
                  <a:rPr lang="zh-CN" altLang="en-US" sz="1300" dirty="0">
                    <a:solidFill>
                      <a:srgbClr val="C00000"/>
                    </a:solidFill>
                  </a:rPr>
                  <a:t>系统</a:t>
                </a:r>
              </a:p>
            </p:txBody>
          </p:sp>
          <p:sp>
            <p:nvSpPr>
              <p:cNvPr id="57" name="矩形 56"/>
              <p:cNvSpPr/>
              <p:nvPr/>
            </p:nvSpPr>
            <p:spPr>
              <a:xfrm rot="17761255">
                <a:off x="7904634" y="3455415"/>
                <a:ext cx="287528" cy="17853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32"/>
                <a:endParaRPr lang="zh-CN" altLang="en-US" sz="1600" b="1" dirty="0">
                  <a:solidFill>
                    <a:srgbClr val="000000">
                      <a:lumMod val="95000"/>
                      <a:lumOff val="5000"/>
                    </a:srgbClr>
                  </a:solidFill>
                </a:endParaRPr>
              </a:p>
            </p:txBody>
          </p:sp>
          <p:sp>
            <p:nvSpPr>
              <p:cNvPr id="58" name="文本框 57"/>
              <p:cNvSpPr txBox="1"/>
              <p:nvPr/>
            </p:nvSpPr>
            <p:spPr>
              <a:xfrm rot="17912619">
                <a:off x="7695659" y="3433729"/>
                <a:ext cx="641201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prstTxWarp prst="textArchDown">
                  <a:avLst/>
                </a:prstTxWarp>
                <a:spAutoFit/>
              </a:bodyPr>
              <a:lstStyle/>
              <a:p>
                <a:pPr algn="ctr" defTabSz="914332"/>
                <a:r>
                  <a:rPr lang="zh-CN" altLang="en-US" sz="1300" dirty="0">
                    <a:solidFill>
                      <a:srgbClr val="C00000"/>
                    </a:solidFill>
                  </a:rPr>
                  <a:t>数据</a:t>
                </a:r>
              </a:p>
            </p:txBody>
          </p:sp>
          <p:sp>
            <p:nvSpPr>
              <p:cNvPr id="59" name="矩形 58"/>
              <p:cNvSpPr/>
              <p:nvPr/>
            </p:nvSpPr>
            <p:spPr>
              <a:xfrm rot="17761255">
                <a:off x="8110162" y="3626865"/>
                <a:ext cx="509374" cy="17853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32"/>
                <a:endParaRPr lang="zh-CN" altLang="en-US" sz="1600" b="1" dirty="0">
                  <a:solidFill>
                    <a:srgbClr val="000000">
                      <a:lumMod val="95000"/>
                      <a:lumOff val="5000"/>
                    </a:srgbClr>
                  </a:solidFill>
                </a:endParaRPr>
              </a:p>
            </p:txBody>
          </p:sp>
          <p:sp>
            <p:nvSpPr>
              <p:cNvPr id="60" name="文本框 59"/>
              <p:cNvSpPr txBox="1"/>
              <p:nvPr/>
            </p:nvSpPr>
            <p:spPr>
              <a:xfrm rot="18044245">
                <a:off x="7971177" y="3628461"/>
                <a:ext cx="641202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prstTxWarp prst="textArchDown">
                  <a:avLst/>
                </a:prstTxWarp>
                <a:spAutoFit/>
              </a:bodyPr>
              <a:lstStyle/>
              <a:p>
                <a:pPr algn="ctr" defTabSz="914332"/>
                <a:r>
                  <a:rPr lang="zh-CN" altLang="en-US" sz="1300" dirty="0">
                    <a:solidFill>
                      <a:srgbClr val="C00000"/>
                    </a:solidFill>
                  </a:rPr>
                  <a:t>无人技术</a:t>
                </a:r>
              </a:p>
            </p:txBody>
          </p:sp>
        </p:grpSp>
        <p:grpSp>
          <p:nvGrpSpPr>
            <p:cNvPr id="63" name="组合 62"/>
            <p:cNvGrpSpPr/>
            <p:nvPr/>
          </p:nvGrpSpPr>
          <p:grpSpPr>
            <a:xfrm>
              <a:off x="6107791" y="2490218"/>
              <a:ext cx="1037766" cy="935294"/>
              <a:chOff x="1827199" y="2303758"/>
              <a:chExt cx="1319599" cy="1189298"/>
            </a:xfrm>
          </p:grpSpPr>
          <p:sp>
            <p:nvSpPr>
              <p:cNvPr id="64" name="椭圆 63"/>
              <p:cNvSpPr/>
              <p:nvPr/>
            </p:nvSpPr>
            <p:spPr>
              <a:xfrm>
                <a:off x="1943433" y="2303758"/>
                <a:ext cx="1106179" cy="1106179"/>
              </a:xfrm>
              <a:prstGeom prst="ellipse">
                <a:avLst/>
              </a:prstGeom>
              <a:solidFill>
                <a:srgbClr val="C00000"/>
              </a:solidFill>
              <a:ln w="19050">
                <a:noFill/>
              </a:ln>
            </p:spPr>
            <p:txBody>
              <a:bodyPr wrap="square" lIns="36000" tIns="36000" rIns="36000" bIns="36000" rtlCol="0" anchor="ctr">
                <a:noAutofit/>
              </a:bodyPr>
              <a:lstStyle/>
              <a:p>
                <a:pPr algn="ctr" defTabSz="914332"/>
                <a:r>
                  <a:rPr lang="zh-CN" altLang="en-US" sz="1300" dirty="0">
                    <a:solidFill>
                      <a:srgbClr val="FFFFFF"/>
                    </a:solidFill>
                  </a:rPr>
                  <a:t>客户</a:t>
                </a:r>
                <a:endParaRPr lang="en-US" altLang="zh-CN" sz="1300" dirty="0">
                  <a:solidFill>
                    <a:srgbClr val="FFFFFF"/>
                  </a:solidFill>
                </a:endParaRPr>
              </a:p>
              <a:p>
                <a:pPr algn="ctr" defTabSz="914332"/>
                <a:r>
                  <a:rPr lang="zh-CN" altLang="en-US" sz="1300" dirty="0">
                    <a:solidFill>
                      <a:srgbClr val="FFFFFF"/>
                    </a:solidFill>
                  </a:rPr>
                  <a:t>体验</a:t>
                </a:r>
              </a:p>
            </p:txBody>
          </p:sp>
          <p:sp>
            <p:nvSpPr>
              <p:cNvPr id="65" name="椭圆 64"/>
              <p:cNvSpPr/>
              <p:nvPr/>
            </p:nvSpPr>
            <p:spPr>
              <a:xfrm>
                <a:off x="2076781" y="2437106"/>
                <a:ext cx="839482" cy="839482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</p:spPr>
            <p:txBody>
              <a:bodyPr wrap="square" lIns="36000" tIns="36000" rIns="36000" bIns="36000" rtlCol="0" anchor="ctr">
                <a:noAutofit/>
              </a:bodyPr>
              <a:lstStyle/>
              <a:p>
                <a:pPr algn="ctr" defTabSz="914332"/>
                <a:endParaRPr lang="zh-CN" altLang="en-US" sz="16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66" name="组合 65"/>
              <p:cNvGrpSpPr/>
              <p:nvPr/>
            </p:nvGrpSpPr>
            <p:grpSpPr>
              <a:xfrm>
                <a:off x="1827199" y="2486782"/>
                <a:ext cx="1319599" cy="1006274"/>
                <a:chOff x="1825529" y="2475303"/>
                <a:chExt cx="1319599" cy="1006274"/>
              </a:xfrm>
            </p:grpSpPr>
            <p:sp>
              <p:nvSpPr>
                <p:cNvPr id="67" name="文本框 66"/>
                <p:cNvSpPr txBox="1"/>
                <p:nvPr/>
              </p:nvSpPr>
              <p:spPr>
                <a:xfrm>
                  <a:off x="2568573" y="2475303"/>
                  <a:ext cx="576555" cy="515933"/>
                </a:xfrm>
                <a:prstGeom prst="ellipse">
                  <a:avLst/>
                </a:prstGeom>
                <a:solidFill>
                  <a:srgbClr val="C00000"/>
                </a:solidFill>
                <a:ln w="19050">
                  <a:noFill/>
                </a:ln>
              </p:spPr>
              <p:txBody>
                <a:bodyPr wrap="none" rtlCol="0" anchor="ctr">
                  <a:spAutoFit/>
                </a:bodyPr>
                <a:lstStyle/>
                <a:p>
                  <a:pPr algn="ctr" defTabSz="914332"/>
                  <a:r>
                    <a:rPr lang="zh-CN" altLang="en-US" b="1" dirty="0">
                      <a:solidFill>
                        <a:srgbClr val="FFFFFF"/>
                      </a:solidFill>
                    </a:rPr>
                    <a:t>快</a:t>
                  </a:r>
                </a:p>
              </p:txBody>
            </p:sp>
            <p:sp>
              <p:nvSpPr>
                <p:cNvPr id="68" name="文本框 67"/>
                <p:cNvSpPr txBox="1"/>
                <p:nvPr/>
              </p:nvSpPr>
              <p:spPr>
                <a:xfrm>
                  <a:off x="1825529" y="2475304"/>
                  <a:ext cx="576555" cy="515933"/>
                </a:xfrm>
                <a:prstGeom prst="ellipse">
                  <a:avLst/>
                </a:prstGeom>
                <a:solidFill>
                  <a:srgbClr val="C00000"/>
                </a:solidFill>
                <a:ln w="19050">
                  <a:noFill/>
                </a:ln>
              </p:spPr>
              <p:txBody>
                <a:bodyPr wrap="none" rtlCol="0" anchor="ctr">
                  <a:spAutoFit/>
                </a:bodyPr>
                <a:lstStyle/>
                <a:p>
                  <a:pPr algn="ctr" defTabSz="914332"/>
                  <a:r>
                    <a:rPr lang="zh-CN" altLang="en-US" b="1" dirty="0">
                      <a:solidFill>
                        <a:srgbClr val="FFFFFF"/>
                      </a:solidFill>
                    </a:rPr>
                    <a:t>喜</a:t>
                  </a:r>
                </a:p>
              </p:txBody>
            </p:sp>
            <p:sp>
              <p:nvSpPr>
                <p:cNvPr id="69" name="文本框 68"/>
                <p:cNvSpPr txBox="1"/>
                <p:nvPr/>
              </p:nvSpPr>
              <p:spPr>
                <a:xfrm>
                  <a:off x="2206575" y="2965644"/>
                  <a:ext cx="576554" cy="515933"/>
                </a:xfrm>
                <a:prstGeom prst="ellipse">
                  <a:avLst/>
                </a:prstGeom>
                <a:solidFill>
                  <a:srgbClr val="C00000"/>
                </a:solidFill>
                <a:ln w="19050">
                  <a:noFill/>
                </a:ln>
              </p:spPr>
              <p:txBody>
                <a:bodyPr wrap="none" rtlCol="0" anchor="ctr">
                  <a:spAutoFit/>
                </a:bodyPr>
                <a:lstStyle/>
                <a:p>
                  <a:pPr algn="ctr" defTabSz="914332"/>
                  <a:r>
                    <a:rPr lang="zh-CN" altLang="en-US" b="1" dirty="0">
                      <a:solidFill>
                        <a:srgbClr val="FFFFFF"/>
                      </a:solidFill>
                    </a:rPr>
                    <a:t>精</a:t>
                  </a:r>
                </a:p>
              </p:txBody>
            </p:sp>
          </p:grpSp>
        </p:grp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64B38924-63EA-4A50-A5C1-59A1BD951ACE}"/>
              </a:ext>
            </a:extLst>
          </p:cNvPr>
          <p:cNvGrpSpPr/>
          <p:nvPr/>
        </p:nvGrpSpPr>
        <p:grpSpPr>
          <a:xfrm>
            <a:off x="1472018" y="1500547"/>
            <a:ext cx="1005403" cy="4498135"/>
            <a:chOff x="897176" y="1125407"/>
            <a:chExt cx="754052" cy="3373601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EE359B99-4358-412E-A424-03BB6782E114}"/>
                </a:ext>
              </a:extLst>
            </p:cNvPr>
            <p:cNvSpPr/>
            <p:nvPr/>
          </p:nvSpPr>
          <p:spPr>
            <a:xfrm>
              <a:off x="897176" y="1125407"/>
              <a:ext cx="754052" cy="6578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62539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b="1" dirty="0">
                  <a:solidFill>
                    <a:srgbClr val="000000"/>
                  </a:solidFill>
                  <a:cs typeface="+mn-ea"/>
                  <a:sym typeface="+mn-lt"/>
                </a:rPr>
                <a:t>货</a:t>
              </a:r>
              <a:endParaRPr lang="en-US" altLang="zh-CN" b="1" dirty="0">
                <a:solidFill>
                  <a:srgbClr val="000000"/>
                </a:solidFill>
                <a:cs typeface="+mn-ea"/>
                <a:sym typeface="+mn-lt"/>
              </a:endParaRPr>
            </a:p>
            <a:p>
              <a:pPr defTabSz="162539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600" dirty="0">
                  <a:solidFill>
                    <a:srgbClr val="000000"/>
                  </a:solidFill>
                  <a:cs typeface="+mn-ea"/>
                  <a:sym typeface="+mn-lt"/>
                </a:rPr>
                <a:t>定制化</a:t>
              </a:r>
              <a:endParaRPr lang="en-US" altLang="zh-CN" sz="1600" dirty="0">
                <a:solidFill>
                  <a:srgbClr val="000000"/>
                </a:solidFill>
                <a:cs typeface="+mn-ea"/>
                <a:sym typeface="+mn-lt"/>
              </a:endParaRPr>
            </a:p>
            <a:p>
              <a:pPr defTabSz="162539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600" dirty="0">
                  <a:solidFill>
                    <a:srgbClr val="000000"/>
                  </a:solidFill>
                  <a:cs typeface="+mn-ea"/>
                  <a:sym typeface="+mn-lt"/>
                </a:rPr>
                <a:t>快速迭代</a:t>
              </a: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D1B7D55B-0294-4B53-BAB4-EC54C4FB2EDE}"/>
                </a:ext>
              </a:extLst>
            </p:cNvPr>
            <p:cNvSpPr/>
            <p:nvPr/>
          </p:nvSpPr>
          <p:spPr>
            <a:xfrm>
              <a:off x="897176" y="2575604"/>
              <a:ext cx="754052" cy="47320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62539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b="1" dirty="0">
                  <a:solidFill>
                    <a:srgbClr val="000000"/>
                  </a:solidFill>
                  <a:cs typeface="+mn-ea"/>
                  <a:sym typeface="+mn-lt"/>
                </a:rPr>
                <a:t>场</a:t>
              </a:r>
              <a:endParaRPr lang="en-US" altLang="zh-CN" b="1" dirty="0">
                <a:solidFill>
                  <a:srgbClr val="000000"/>
                </a:solidFill>
                <a:cs typeface="+mn-ea"/>
                <a:sym typeface="+mn-lt"/>
              </a:endParaRPr>
            </a:p>
            <a:p>
              <a:pPr defTabSz="162539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600" dirty="0">
                  <a:solidFill>
                    <a:srgbClr val="000000"/>
                  </a:solidFill>
                  <a:cs typeface="+mn-ea"/>
                  <a:sym typeface="+mn-lt"/>
                </a:rPr>
                <a:t>场景无限</a:t>
              </a:r>
            </a:p>
          </p:txBody>
        </p:sp>
        <p:sp>
          <p:nvSpPr>
            <p:cNvPr id="70" name="矩形 69">
              <a:extLst>
                <a:ext uri="{FF2B5EF4-FFF2-40B4-BE49-F238E27FC236}">
                  <a16:creationId xmlns:a16="http://schemas.microsoft.com/office/drawing/2014/main" id="{19F4445D-60D0-4672-8030-1FF99B890E08}"/>
                </a:ext>
              </a:extLst>
            </p:cNvPr>
            <p:cNvSpPr/>
            <p:nvPr/>
          </p:nvSpPr>
          <p:spPr>
            <a:xfrm>
              <a:off x="897176" y="3841136"/>
              <a:ext cx="600164" cy="6578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62539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b="1" dirty="0">
                  <a:solidFill>
                    <a:srgbClr val="000000"/>
                  </a:solidFill>
                  <a:cs typeface="+mn-ea"/>
                  <a:sym typeface="+mn-lt"/>
                </a:rPr>
                <a:t>人</a:t>
              </a:r>
              <a:endParaRPr lang="en-US" altLang="zh-CN" b="1" dirty="0">
                <a:solidFill>
                  <a:srgbClr val="000000"/>
                </a:solidFill>
                <a:cs typeface="+mn-ea"/>
                <a:sym typeface="+mn-lt"/>
              </a:endParaRPr>
            </a:p>
            <a:p>
              <a:pPr defTabSz="162539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600" dirty="0">
                  <a:solidFill>
                    <a:srgbClr val="000000"/>
                  </a:solidFill>
                  <a:cs typeface="+mn-ea"/>
                  <a:sym typeface="+mn-lt"/>
                </a:rPr>
                <a:t>重参与</a:t>
              </a:r>
              <a:endParaRPr lang="en-US" altLang="zh-CN" sz="1600" dirty="0">
                <a:solidFill>
                  <a:srgbClr val="000000"/>
                </a:solidFill>
                <a:cs typeface="+mn-ea"/>
                <a:sym typeface="+mn-lt"/>
              </a:endParaRPr>
            </a:p>
            <a:p>
              <a:pPr defTabSz="162539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600" dirty="0">
                  <a:solidFill>
                    <a:srgbClr val="000000"/>
                  </a:solidFill>
                  <a:cs typeface="+mn-ea"/>
                  <a:sym typeface="+mn-lt"/>
                </a:rPr>
                <a:t>体验</a:t>
              </a:r>
              <a:endParaRPr lang="en-US" altLang="zh-CN" sz="160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E085ED41-4F71-45DE-996D-52714E93DB0C}"/>
              </a:ext>
            </a:extLst>
          </p:cNvPr>
          <p:cNvGrpSpPr/>
          <p:nvPr/>
        </p:nvGrpSpPr>
        <p:grpSpPr>
          <a:xfrm>
            <a:off x="2680935" y="1663503"/>
            <a:ext cx="999183" cy="4213581"/>
            <a:chOff x="2522075" y="1215741"/>
            <a:chExt cx="906759" cy="4206209"/>
          </a:xfrm>
        </p:grpSpPr>
        <p:grpSp>
          <p:nvGrpSpPr>
            <p:cNvPr id="72" name="组合 71">
              <a:extLst>
                <a:ext uri="{FF2B5EF4-FFF2-40B4-BE49-F238E27FC236}">
                  <a16:creationId xmlns:a16="http://schemas.microsoft.com/office/drawing/2014/main" id="{1767C716-EE46-44CF-8D05-B3F496E74538}"/>
                </a:ext>
              </a:extLst>
            </p:cNvPr>
            <p:cNvGrpSpPr/>
            <p:nvPr/>
          </p:nvGrpSpPr>
          <p:grpSpPr>
            <a:xfrm>
              <a:off x="2522075" y="4634200"/>
              <a:ext cx="863149" cy="787750"/>
              <a:chOff x="2522075" y="4634200"/>
              <a:chExt cx="863149" cy="787750"/>
            </a:xfrm>
          </p:grpSpPr>
          <p:sp>
            <p:nvSpPr>
              <p:cNvPr id="92" name="Freeform 14">
                <a:extLst>
                  <a:ext uri="{FF2B5EF4-FFF2-40B4-BE49-F238E27FC236}">
                    <a16:creationId xmlns:a16="http://schemas.microsoft.com/office/drawing/2014/main" id="{799A5170-CF41-4043-9DF1-07684E0755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1945" y="4634200"/>
                <a:ext cx="383279" cy="429185"/>
              </a:xfrm>
              <a:custGeom>
                <a:avLst/>
                <a:gdLst>
                  <a:gd name="T0" fmla="*/ 324 w 885"/>
                  <a:gd name="T1" fmla="*/ 398 h 991"/>
                  <a:gd name="T2" fmla="*/ 367 w 885"/>
                  <a:gd name="T3" fmla="*/ 480 h 991"/>
                  <a:gd name="T4" fmla="*/ 413 w 885"/>
                  <a:gd name="T5" fmla="*/ 511 h 991"/>
                  <a:gd name="T6" fmla="*/ 443 w 885"/>
                  <a:gd name="T7" fmla="*/ 517 h 991"/>
                  <a:gd name="T8" fmla="*/ 457 w 885"/>
                  <a:gd name="T9" fmla="*/ 517 h 991"/>
                  <a:gd name="T10" fmla="*/ 511 w 885"/>
                  <a:gd name="T11" fmla="*/ 496 h 991"/>
                  <a:gd name="T12" fmla="*/ 547 w 885"/>
                  <a:gd name="T13" fmla="*/ 453 h 991"/>
                  <a:gd name="T14" fmla="*/ 584 w 885"/>
                  <a:gd name="T15" fmla="*/ 327 h 991"/>
                  <a:gd name="T16" fmla="*/ 582 w 885"/>
                  <a:gd name="T17" fmla="*/ 273 h 991"/>
                  <a:gd name="T18" fmla="*/ 543 w 885"/>
                  <a:gd name="T19" fmla="*/ 229 h 991"/>
                  <a:gd name="T20" fmla="*/ 432 w 885"/>
                  <a:gd name="T21" fmla="*/ 244 h 991"/>
                  <a:gd name="T22" fmla="*/ 344 w 885"/>
                  <a:gd name="T23" fmla="*/ 227 h 991"/>
                  <a:gd name="T24" fmla="*/ 307 w 885"/>
                  <a:gd name="T25" fmla="*/ 263 h 991"/>
                  <a:gd name="T26" fmla="*/ 309 w 885"/>
                  <a:gd name="T27" fmla="*/ 332 h 991"/>
                  <a:gd name="T28" fmla="*/ 430 w 885"/>
                  <a:gd name="T29" fmla="*/ 669 h 991"/>
                  <a:gd name="T30" fmla="*/ 361 w 885"/>
                  <a:gd name="T31" fmla="*/ 784 h 991"/>
                  <a:gd name="T32" fmla="*/ 303 w 885"/>
                  <a:gd name="T33" fmla="*/ 649 h 991"/>
                  <a:gd name="T34" fmla="*/ 226 w 885"/>
                  <a:gd name="T35" fmla="*/ 601 h 991"/>
                  <a:gd name="T36" fmla="*/ 46 w 885"/>
                  <a:gd name="T37" fmla="*/ 688 h 991"/>
                  <a:gd name="T38" fmla="*/ 11 w 885"/>
                  <a:gd name="T39" fmla="*/ 813 h 991"/>
                  <a:gd name="T40" fmla="*/ 0 w 885"/>
                  <a:gd name="T41" fmla="*/ 932 h 991"/>
                  <a:gd name="T42" fmla="*/ 228 w 885"/>
                  <a:gd name="T43" fmla="*/ 976 h 991"/>
                  <a:gd name="T44" fmla="*/ 451 w 885"/>
                  <a:gd name="T45" fmla="*/ 991 h 991"/>
                  <a:gd name="T46" fmla="*/ 670 w 885"/>
                  <a:gd name="T47" fmla="*/ 976 h 991"/>
                  <a:gd name="T48" fmla="*/ 885 w 885"/>
                  <a:gd name="T49" fmla="*/ 932 h 991"/>
                  <a:gd name="T50" fmla="*/ 874 w 885"/>
                  <a:gd name="T51" fmla="*/ 813 h 991"/>
                  <a:gd name="T52" fmla="*/ 837 w 885"/>
                  <a:gd name="T53" fmla="*/ 688 h 991"/>
                  <a:gd name="T54" fmla="*/ 755 w 885"/>
                  <a:gd name="T55" fmla="*/ 640 h 991"/>
                  <a:gd name="T56" fmla="*/ 593 w 885"/>
                  <a:gd name="T57" fmla="*/ 580 h 991"/>
                  <a:gd name="T58" fmla="*/ 576 w 885"/>
                  <a:gd name="T59" fmla="*/ 678 h 991"/>
                  <a:gd name="T60" fmla="*/ 522 w 885"/>
                  <a:gd name="T61" fmla="*/ 801 h 991"/>
                  <a:gd name="T62" fmla="*/ 476 w 885"/>
                  <a:gd name="T63" fmla="*/ 632 h 991"/>
                  <a:gd name="T64" fmla="*/ 655 w 885"/>
                  <a:gd name="T65" fmla="*/ 213 h 991"/>
                  <a:gd name="T66" fmla="*/ 653 w 885"/>
                  <a:gd name="T67" fmla="*/ 244 h 991"/>
                  <a:gd name="T68" fmla="*/ 664 w 885"/>
                  <a:gd name="T69" fmla="*/ 259 h 991"/>
                  <a:gd name="T70" fmla="*/ 672 w 885"/>
                  <a:gd name="T71" fmla="*/ 265 h 991"/>
                  <a:gd name="T72" fmla="*/ 678 w 885"/>
                  <a:gd name="T73" fmla="*/ 307 h 991"/>
                  <a:gd name="T74" fmla="*/ 668 w 885"/>
                  <a:gd name="T75" fmla="*/ 373 h 991"/>
                  <a:gd name="T76" fmla="*/ 628 w 885"/>
                  <a:gd name="T77" fmla="*/ 407 h 991"/>
                  <a:gd name="T78" fmla="*/ 593 w 885"/>
                  <a:gd name="T79" fmla="*/ 494 h 991"/>
                  <a:gd name="T80" fmla="*/ 543 w 885"/>
                  <a:gd name="T81" fmla="*/ 546 h 991"/>
                  <a:gd name="T82" fmla="*/ 482 w 885"/>
                  <a:gd name="T83" fmla="*/ 571 h 991"/>
                  <a:gd name="T84" fmla="*/ 451 w 885"/>
                  <a:gd name="T85" fmla="*/ 576 h 991"/>
                  <a:gd name="T86" fmla="*/ 420 w 885"/>
                  <a:gd name="T87" fmla="*/ 574 h 991"/>
                  <a:gd name="T88" fmla="*/ 359 w 885"/>
                  <a:gd name="T89" fmla="*/ 551 h 991"/>
                  <a:gd name="T90" fmla="*/ 307 w 885"/>
                  <a:gd name="T91" fmla="*/ 498 h 991"/>
                  <a:gd name="T92" fmla="*/ 267 w 885"/>
                  <a:gd name="T93" fmla="*/ 413 h 991"/>
                  <a:gd name="T94" fmla="*/ 224 w 885"/>
                  <a:gd name="T95" fmla="*/ 377 h 991"/>
                  <a:gd name="T96" fmla="*/ 213 w 885"/>
                  <a:gd name="T97" fmla="*/ 311 h 991"/>
                  <a:gd name="T98" fmla="*/ 219 w 885"/>
                  <a:gd name="T99" fmla="*/ 269 h 991"/>
                  <a:gd name="T100" fmla="*/ 232 w 885"/>
                  <a:gd name="T101" fmla="*/ 259 h 991"/>
                  <a:gd name="T102" fmla="*/ 234 w 885"/>
                  <a:gd name="T103" fmla="*/ 213 h 991"/>
                  <a:gd name="T104" fmla="*/ 236 w 885"/>
                  <a:gd name="T105" fmla="*/ 171 h 991"/>
                  <a:gd name="T106" fmla="*/ 251 w 885"/>
                  <a:gd name="T107" fmla="*/ 102 h 991"/>
                  <a:gd name="T108" fmla="*/ 276 w 885"/>
                  <a:gd name="T109" fmla="*/ 65 h 991"/>
                  <a:gd name="T110" fmla="*/ 355 w 885"/>
                  <a:gd name="T111" fmla="*/ 13 h 991"/>
                  <a:gd name="T112" fmla="*/ 470 w 885"/>
                  <a:gd name="T113" fmla="*/ 2 h 991"/>
                  <a:gd name="T114" fmla="*/ 576 w 885"/>
                  <a:gd name="T115" fmla="*/ 29 h 991"/>
                  <a:gd name="T116" fmla="*/ 641 w 885"/>
                  <a:gd name="T117" fmla="*/ 86 h 991"/>
                  <a:gd name="T118" fmla="*/ 655 w 885"/>
                  <a:gd name="T119" fmla="*/ 144 h 9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5" h="991">
                    <a:moveTo>
                      <a:pt x="309" y="332"/>
                    </a:moveTo>
                    <a:lnTo>
                      <a:pt x="309" y="332"/>
                    </a:lnTo>
                    <a:lnTo>
                      <a:pt x="315" y="365"/>
                    </a:lnTo>
                    <a:lnTo>
                      <a:pt x="324" y="398"/>
                    </a:lnTo>
                    <a:lnTo>
                      <a:pt x="336" y="428"/>
                    </a:lnTo>
                    <a:lnTo>
                      <a:pt x="351" y="455"/>
                    </a:lnTo>
                    <a:lnTo>
                      <a:pt x="359" y="467"/>
                    </a:lnTo>
                    <a:lnTo>
                      <a:pt x="367" y="480"/>
                    </a:lnTo>
                    <a:lnTo>
                      <a:pt x="378" y="488"/>
                    </a:lnTo>
                    <a:lnTo>
                      <a:pt x="388" y="496"/>
                    </a:lnTo>
                    <a:lnTo>
                      <a:pt x="401" y="505"/>
                    </a:lnTo>
                    <a:lnTo>
                      <a:pt x="413" y="511"/>
                    </a:lnTo>
                    <a:lnTo>
                      <a:pt x="428" y="515"/>
                    </a:lnTo>
                    <a:lnTo>
                      <a:pt x="443" y="517"/>
                    </a:lnTo>
                    <a:lnTo>
                      <a:pt x="443" y="517"/>
                    </a:lnTo>
                    <a:lnTo>
                      <a:pt x="443" y="517"/>
                    </a:lnTo>
                    <a:lnTo>
                      <a:pt x="451" y="517"/>
                    </a:lnTo>
                    <a:lnTo>
                      <a:pt x="451" y="517"/>
                    </a:lnTo>
                    <a:lnTo>
                      <a:pt x="457" y="517"/>
                    </a:lnTo>
                    <a:lnTo>
                      <a:pt x="457" y="517"/>
                    </a:lnTo>
                    <a:lnTo>
                      <a:pt x="474" y="513"/>
                    </a:lnTo>
                    <a:lnTo>
                      <a:pt x="486" y="509"/>
                    </a:lnTo>
                    <a:lnTo>
                      <a:pt x="499" y="503"/>
                    </a:lnTo>
                    <a:lnTo>
                      <a:pt x="511" y="496"/>
                    </a:lnTo>
                    <a:lnTo>
                      <a:pt x="522" y="486"/>
                    </a:lnTo>
                    <a:lnTo>
                      <a:pt x="530" y="475"/>
                    </a:lnTo>
                    <a:lnTo>
                      <a:pt x="541" y="465"/>
                    </a:lnTo>
                    <a:lnTo>
                      <a:pt x="547" y="453"/>
                    </a:lnTo>
                    <a:lnTo>
                      <a:pt x="559" y="425"/>
                    </a:lnTo>
                    <a:lnTo>
                      <a:pt x="570" y="394"/>
                    </a:lnTo>
                    <a:lnTo>
                      <a:pt x="578" y="361"/>
                    </a:lnTo>
                    <a:lnTo>
                      <a:pt x="584" y="327"/>
                    </a:lnTo>
                    <a:lnTo>
                      <a:pt x="578" y="327"/>
                    </a:lnTo>
                    <a:lnTo>
                      <a:pt x="578" y="327"/>
                    </a:lnTo>
                    <a:lnTo>
                      <a:pt x="582" y="300"/>
                    </a:lnTo>
                    <a:lnTo>
                      <a:pt x="582" y="273"/>
                    </a:lnTo>
                    <a:lnTo>
                      <a:pt x="580" y="246"/>
                    </a:lnTo>
                    <a:lnTo>
                      <a:pt x="574" y="219"/>
                    </a:lnTo>
                    <a:lnTo>
                      <a:pt x="574" y="219"/>
                    </a:lnTo>
                    <a:lnTo>
                      <a:pt x="543" y="229"/>
                    </a:lnTo>
                    <a:lnTo>
                      <a:pt x="518" y="236"/>
                    </a:lnTo>
                    <a:lnTo>
                      <a:pt x="486" y="242"/>
                    </a:lnTo>
                    <a:lnTo>
                      <a:pt x="451" y="244"/>
                    </a:lnTo>
                    <a:lnTo>
                      <a:pt x="432" y="244"/>
                    </a:lnTo>
                    <a:lnTo>
                      <a:pt x="411" y="242"/>
                    </a:lnTo>
                    <a:lnTo>
                      <a:pt x="390" y="238"/>
                    </a:lnTo>
                    <a:lnTo>
                      <a:pt x="367" y="234"/>
                    </a:lnTo>
                    <a:lnTo>
                      <a:pt x="344" y="227"/>
                    </a:lnTo>
                    <a:lnTo>
                      <a:pt x="322" y="219"/>
                    </a:lnTo>
                    <a:lnTo>
                      <a:pt x="322" y="219"/>
                    </a:lnTo>
                    <a:lnTo>
                      <a:pt x="311" y="248"/>
                    </a:lnTo>
                    <a:lnTo>
                      <a:pt x="307" y="263"/>
                    </a:lnTo>
                    <a:lnTo>
                      <a:pt x="307" y="275"/>
                    </a:lnTo>
                    <a:lnTo>
                      <a:pt x="307" y="302"/>
                    </a:lnTo>
                    <a:lnTo>
                      <a:pt x="311" y="332"/>
                    </a:lnTo>
                    <a:lnTo>
                      <a:pt x="309" y="332"/>
                    </a:lnTo>
                    <a:lnTo>
                      <a:pt x="309" y="332"/>
                    </a:lnTo>
                    <a:close/>
                    <a:moveTo>
                      <a:pt x="428" y="632"/>
                    </a:moveTo>
                    <a:lnTo>
                      <a:pt x="413" y="657"/>
                    </a:lnTo>
                    <a:lnTo>
                      <a:pt x="430" y="669"/>
                    </a:lnTo>
                    <a:lnTo>
                      <a:pt x="397" y="838"/>
                    </a:lnTo>
                    <a:lnTo>
                      <a:pt x="397" y="838"/>
                    </a:lnTo>
                    <a:lnTo>
                      <a:pt x="378" y="813"/>
                    </a:lnTo>
                    <a:lnTo>
                      <a:pt x="361" y="784"/>
                    </a:lnTo>
                    <a:lnTo>
                      <a:pt x="344" y="753"/>
                    </a:lnTo>
                    <a:lnTo>
                      <a:pt x="328" y="719"/>
                    </a:lnTo>
                    <a:lnTo>
                      <a:pt x="315" y="684"/>
                    </a:lnTo>
                    <a:lnTo>
                      <a:pt x="303" y="649"/>
                    </a:lnTo>
                    <a:lnTo>
                      <a:pt x="294" y="613"/>
                    </a:lnTo>
                    <a:lnTo>
                      <a:pt x="290" y="580"/>
                    </a:lnTo>
                    <a:lnTo>
                      <a:pt x="290" y="580"/>
                    </a:lnTo>
                    <a:lnTo>
                      <a:pt x="226" y="601"/>
                    </a:lnTo>
                    <a:lnTo>
                      <a:pt x="163" y="628"/>
                    </a:lnTo>
                    <a:lnTo>
                      <a:pt x="105" y="657"/>
                    </a:lnTo>
                    <a:lnTo>
                      <a:pt x="46" y="688"/>
                    </a:lnTo>
                    <a:lnTo>
                      <a:pt x="46" y="688"/>
                    </a:lnTo>
                    <a:lnTo>
                      <a:pt x="34" y="719"/>
                    </a:lnTo>
                    <a:lnTo>
                      <a:pt x="23" y="751"/>
                    </a:lnTo>
                    <a:lnTo>
                      <a:pt x="15" y="782"/>
                    </a:lnTo>
                    <a:lnTo>
                      <a:pt x="11" y="813"/>
                    </a:lnTo>
                    <a:lnTo>
                      <a:pt x="7" y="845"/>
                    </a:lnTo>
                    <a:lnTo>
                      <a:pt x="5" y="876"/>
                    </a:lnTo>
                    <a:lnTo>
                      <a:pt x="0" y="932"/>
                    </a:lnTo>
                    <a:lnTo>
                      <a:pt x="0" y="932"/>
                    </a:lnTo>
                    <a:lnTo>
                      <a:pt x="57" y="947"/>
                    </a:lnTo>
                    <a:lnTo>
                      <a:pt x="115" y="959"/>
                    </a:lnTo>
                    <a:lnTo>
                      <a:pt x="171" y="968"/>
                    </a:lnTo>
                    <a:lnTo>
                      <a:pt x="228" y="976"/>
                    </a:lnTo>
                    <a:lnTo>
                      <a:pt x="284" y="982"/>
                    </a:lnTo>
                    <a:lnTo>
                      <a:pt x="340" y="986"/>
                    </a:lnTo>
                    <a:lnTo>
                      <a:pt x="397" y="991"/>
                    </a:lnTo>
                    <a:lnTo>
                      <a:pt x="451" y="991"/>
                    </a:lnTo>
                    <a:lnTo>
                      <a:pt x="507" y="991"/>
                    </a:lnTo>
                    <a:lnTo>
                      <a:pt x="561" y="989"/>
                    </a:lnTo>
                    <a:lnTo>
                      <a:pt x="616" y="982"/>
                    </a:lnTo>
                    <a:lnTo>
                      <a:pt x="670" y="976"/>
                    </a:lnTo>
                    <a:lnTo>
                      <a:pt x="724" y="968"/>
                    </a:lnTo>
                    <a:lnTo>
                      <a:pt x="776" y="959"/>
                    </a:lnTo>
                    <a:lnTo>
                      <a:pt x="830" y="947"/>
                    </a:lnTo>
                    <a:lnTo>
                      <a:pt x="885" y="932"/>
                    </a:lnTo>
                    <a:lnTo>
                      <a:pt x="885" y="932"/>
                    </a:lnTo>
                    <a:lnTo>
                      <a:pt x="880" y="876"/>
                    </a:lnTo>
                    <a:lnTo>
                      <a:pt x="878" y="845"/>
                    </a:lnTo>
                    <a:lnTo>
                      <a:pt x="874" y="813"/>
                    </a:lnTo>
                    <a:lnTo>
                      <a:pt x="868" y="782"/>
                    </a:lnTo>
                    <a:lnTo>
                      <a:pt x="862" y="751"/>
                    </a:lnTo>
                    <a:lnTo>
                      <a:pt x="851" y="719"/>
                    </a:lnTo>
                    <a:lnTo>
                      <a:pt x="837" y="688"/>
                    </a:lnTo>
                    <a:lnTo>
                      <a:pt x="837" y="688"/>
                    </a:lnTo>
                    <a:lnTo>
                      <a:pt x="812" y="672"/>
                    </a:lnTo>
                    <a:lnTo>
                      <a:pt x="785" y="657"/>
                    </a:lnTo>
                    <a:lnTo>
                      <a:pt x="755" y="640"/>
                    </a:lnTo>
                    <a:lnTo>
                      <a:pt x="726" y="628"/>
                    </a:lnTo>
                    <a:lnTo>
                      <a:pt x="695" y="613"/>
                    </a:lnTo>
                    <a:lnTo>
                      <a:pt x="661" y="601"/>
                    </a:lnTo>
                    <a:lnTo>
                      <a:pt x="593" y="580"/>
                    </a:lnTo>
                    <a:lnTo>
                      <a:pt x="593" y="580"/>
                    </a:lnTo>
                    <a:lnTo>
                      <a:pt x="588" y="611"/>
                    </a:lnTo>
                    <a:lnTo>
                      <a:pt x="584" y="644"/>
                    </a:lnTo>
                    <a:lnTo>
                      <a:pt x="576" y="678"/>
                    </a:lnTo>
                    <a:lnTo>
                      <a:pt x="566" y="709"/>
                    </a:lnTo>
                    <a:lnTo>
                      <a:pt x="553" y="740"/>
                    </a:lnTo>
                    <a:lnTo>
                      <a:pt x="538" y="772"/>
                    </a:lnTo>
                    <a:lnTo>
                      <a:pt x="522" y="801"/>
                    </a:lnTo>
                    <a:lnTo>
                      <a:pt x="505" y="828"/>
                    </a:lnTo>
                    <a:lnTo>
                      <a:pt x="474" y="669"/>
                    </a:lnTo>
                    <a:lnTo>
                      <a:pt x="490" y="657"/>
                    </a:lnTo>
                    <a:lnTo>
                      <a:pt x="476" y="632"/>
                    </a:lnTo>
                    <a:lnTo>
                      <a:pt x="428" y="632"/>
                    </a:lnTo>
                    <a:lnTo>
                      <a:pt x="428" y="632"/>
                    </a:lnTo>
                    <a:close/>
                    <a:moveTo>
                      <a:pt x="655" y="213"/>
                    </a:moveTo>
                    <a:lnTo>
                      <a:pt x="655" y="213"/>
                    </a:lnTo>
                    <a:lnTo>
                      <a:pt x="655" y="227"/>
                    </a:lnTo>
                    <a:lnTo>
                      <a:pt x="655" y="227"/>
                    </a:lnTo>
                    <a:lnTo>
                      <a:pt x="655" y="227"/>
                    </a:lnTo>
                    <a:lnTo>
                      <a:pt x="653" y="244"/>
                    </a:lnTo>
                    <a:lnTo>
                      <a:pt x="651" y="254"/>
                    </a:lnTo>
                    <a:lnTo>
                      <a:pt x="651" y="254"/>
                    </a:lnTo>
                    <a:lnTo>
                      <a:pt x="657" y="257"/>
                    </a:lnTo>
                    <a:lnTo>
                      <a:pt x="664" y="259"/>
                    </a:lnTo>
                    <a:lnTo>
                      <a:pt x="664" y="259"/>
                    </a:lnTo>
                    <a:lnTo>
                      <a:pt x="664" y="259"/>
                    </a:lnTo>
                    <a:lnTo>
                      <a:pt x="668" y="261"/>
                    </a:lnTo>
                    <a:lnTo>
                      <a:pt x="672" y="265"/>
                    </a:lnTo>
                    <a:lnTo>
                      <a:pt x="676" y="277"/>
                    </a:lnTo>
                    <a:lnTo>
                      <a:pt x="678" y="292"/>
                    </a:lnTo>
                    <a:lnTo>
                      <a:pt x="678" y="307"/>
                    </a:lnTo>
                    <a:lnTo>
                      <a:pt x="678" y="307"/>
                    </a:lnTo>
                    <a:lnTo>
                      <a:pt x="676" y="327"/>
                    </a:lnTo>
                    <a:lnTo>
                      <a:pt x="672" y="348"/>
                    </a:lnTo>
                    <a:lnTo>
                      <a:pt x="668" y="373"/>
                    </a:lnTo>
                    <a:lnTo>
                      <a:pt x="668" y="373"/>
                    </a:lnTo>
                    <a:lnTo>
                      <a:pt x="659" y="384"/>
                    </a:lnTo>
                    <a:lnTo>
                      <a:pt x="649" y="394"/>
                    </a:lnTo>
                    <a:lnTo>
                      <a:pt x="639" y="400"/>
                    </a:lnTo>
                    <a:lnTo>
                      <a:pt x="628" y="407"/>
                    </a:lnTo>
                    <a:lnTo>
                      <a:pt x="628" y="407"/>
                    </a:lnTo>
                    <a:lnTo>
                      <a:pt x="620" y="438"/>
                    </a:lnTo>
                    <a:lnTo>
                      <a:pt x="607" y="467"/>
                    </a:lnTo>
                    <a:lnTo>
                      <a:pt x="593" y="494"/>
                    </a:lnTo>
                    <a:lnTo>
                      <a:pt x="574" y="517"/>
                    </a:lnTo>
                    <a:lnTo>
                      <a:pt x="566" y="528"/>
                    </a:lnTo>
                    <a:lnTo>
                      <a:pt x="553" y="538"/>
                    </a:lnTo>
                    <a:lnTo>
                      <a:pt x="543" y="546"/>
                    </a:lnTo>
                    <a:lnTo>
                      <a:pt x="528" y="555"/>
                    </a:lnTo>
                    <a:lnTo>
                      <a:pt x="516" y="561"/>
                    </a:lnTo>
                    <a:lnTo>
                      <a:pt x="499" y="567"/>
                    </a:lnTo>
                    <a:lnTo>
                      <a:pt x="482" y="571"/>
                    </a:lnTo>
                    <a:lnTo>
                      <a:pt x="465" y="576"/>
                    </a:lnTo>
                    <a:lnTo>
                      <a:pt x="465" y="576"/>
                    </a:lnTo>
                    <a:lnTo>
                      <a:pt x="451" y="576"/>
                    </a:lnTo>
                    <a:lnTo>
                      <a:pt x="451" y="576"/>
                    </a:lnTo>
                    <a:lnTo>
                      <a:pt x="436" y="576"/>
                    </a:lnTo>
                    <a:lnTo>
                      <a:pt x="436" y="576"/>
                    </a:lnTo>
                    <a:lnTo>
                      <a:pt x="436" y="576"/>
                    </a:lnTo>
                    <a:lnTo>
                      <a:pt x="420" y="574"/>
                    </a:lnTo>
                    <a:lnTo>
                      <a:pt x="403" y="569"/>
                    </a:lnTo>
                    <a:lnTo>
                      <a:pt x="388" y="563"/>
                    </a:lnTo>
                    <a:lnTo>
                      <a:pt x="374" y="557"/>
                    </a:lnTo>
                    <a:lnTo>
                      <a:pt x="359" y="551"/>
                    </a:lnTo>
                    <a:lnTo>
                      <a:pt x="347" y="542"/>
                    </a:lnTo>
                    <a:lnTo>
                      <a:pt x="336" y="532"/>
                    </a:lnTo>
                    <a:lnTo>
                      <a:pt x="326" y="521"/>
                    </a:lnTo>
                    <a:lnTo>
                      <a:pt x="307" y="498"/>
                    </a:lnTo>
                    <a:lnTo>
                      <a:pt x="290" y="471"/>
                    </a:lnTo>
                    <a:lnTo>
                      <a:pt x="278" y="444"/>
                    </a:lnTo>
                    <a:lnTo>
                      <a:pt x="267" y="413"/>
                    </a:lnTo>
                    <a:lnTo>
                      <a:pt x="267" y="413"/>
                    </a:lnTo>
                    <a:lnTo>
                      <a:pt x="257" y="407"/>
                    </a:lnTo>
                    <a:lnTo>
                      <a:pt x="244" y="398"/>
                    </a:lnTo>
                    <a:lnTo>
                      <a:pt x="232" y="390"/>
                    </a:lnTo>
                    <a:lnTo>
                      <a:pt x="224" y="377"/>
                    </a:lnTo>
                    <a:lnTo>
                      <a:pt x="224" y="377"/>
                    </a:lnTo>
                    <a:lnTo>
                      <a:pt x="217" y="350"/>
                    </a:lnTo>
                    <a:lnTo>
                      <a:pt x="215" y="332"/>
                    </a:lnTo>
                    <a:lnTo>
                      <a:pt x="213" y="311"/>
                    </a:lnTo>
                    <a:lnTo>
                      <a:pt x="213" y="311"/>
                    </a:lnTo>
                    <a:lnTo>
                      <a:pt x="213" y="294"/>
                    </a:lnTo>
                    <a:lnTo>
                      <a:pt x="215" y="279"/>
                    </a:lnTo>
                    <a:lnTo>
                      <a:pt x="219" y="269"/>
                    </a:lnTo>
                    <a:lnTo>
                      <a:pt x="224" y="265"/>
                    </a:lnTo>
                    <a:lnTo>
                      <a:pt x="228" y="261"/>
                    </a:lnTo>
                    <a:lnTo>
                      <a:pt x="228" y="261"/>
                    </a:lnTo>
                    <a:lnTo>
                      <a:pt x="232" y="259"/>
                    </a:lnTo>
                    <a:lnTo>
                      <a:pt x="238" y="259"/>
                    </a:lnTo>
                    <a:lnTo>
                      <a:pt x="238" y="259"/>
                    </a:lnTo>
                    <a:lnTo>
                      <a:pt x="234" y="219"/>
                    </a:lnTo>
                    <a:lnTo>
                      <a:pt x="234" y="213"/>
                    </a:lnTo>
                    <a:lnTo>
                      <a:pt x="236" y="213"/>
                    </a:lnTo>
                    <a:lnTo>
                      <a:pt x="236" y="213"/>
                    </a:lnTo>
                    <a:lnTo>
                      <a:pt x="234" y="192"/>
                    </a:lnTo>
                    <a:lnTo>
                      <a:pt x="236" y="171"/>
                    </a:lnTo>
                    <a:lnTo>
                      <a:pt x="238" y="152"/>
                    </a:lnTo>
                    <a:lnTo>
                      <a:pt x="240" y="133"/>
                    </a:lnTo>
                    <a:lnTo>
                      <a:pt x="244" y="117"/>
                    </a:lnTo>
                    <a:lnTo>
                      <a:pt x="251" y="102"/>
                    </a:lnTo>
                    <a:lnTo>
                      <a:pt x="257" y="88"/>
                    </a:lnTo>
                    <a:lnTo>
                      <a:pt x="265" y="75"/>
                    </a:lnTo>
                    <a:lnTo>
                      <a:pt x="265" y="75"/>
                    </a:lnTo>
                    <a:lnTo>
                      <a:pt x="276" y="65"/>
                    </a:lnTo>
                    <a:lnTo>
                      <a:pt x="284" y="54"/>
                    </a:lnTo>
                    <a:lnTo>
                      <a:pt x="305" y="38"/>
                    </a:lnTo>
                    <a:lnTo>
                      <a:pt x="330" y="23"/>
                    </a:lnTo>
                    <a:lnTo>
                      <a:pt x="355" y="13"/>
                    </a:lnTo>
                    <a:lnTo>
                      <a:pt x="382" y="6"/>
                    </a:lnTo>
                    <a:lnTo>
                      <a:pt x="411" y="2"/>
                    </a:lnTo>
                    <a:lnTo>
                      <a:pt x="440" y="0"/>
                    </a:lnTo>
                    <a:lnTo>
                      <a:pt x="470" y="2"/>
                    </a:lnTo>
                    <a:lnTo>
                      <a:pt x="499" y="4"/>
                    </a:lnTo>
                    <a:lnTo>
                      <a:pt x="526" y="10"/>
                    </a:lnTo>
                    <a:lnTo>
                      <a:pt x="553" y="19"/>
                    </a:lnTo>
                    <a:lnTo>
                      <a:pt x="576" y="29"/>
                    </a:lnTo>
                    <a:lnTo>
                      <a:pt x="597" y="42"/>
                    </a:lnTo>
                    <a:lnTo>
                      <a:pt x="616" y="54"/>
                    </a:lnTo>
                    <a:lnTo>
                      <a:pt x="630" y="69"/>
                    </a:lnTo>
                    <a:lnTo>
                      <a:pt x="641" y="86"/>
                    </a:lnTo>
                    <a:lnTo>
                      <a:pt x="641" y="86"/>
                    </a:lnTo>
                    <a:lnTo>
                      <a:pt x="647" y="98"/>
                    </a:lnTo>
                    <a:lnTo>
                      <a:pt x="651" y="113"/>
                    </a:lnTo>
                    <a:lnTo>
                      <a:pt x="655" y="144"/>
                    </a:lnTo>
                    <a:lnTo>
                      <a:pt x="657" y="177"/>
                    </a:lnTo>
                    <a:lnTo>
                      <a:pt x="655" y="213"/>
                    </a:lnTo>
                    <a:lnTo>
                      <a:pt x="655" y="213"/>
                    </a:lnTo>
                    <a:close/>
                  </a:path>
                </a:pathLst>
              </a:custGeom>
              <a:solidFill>
                <a:srgbClr val="990000">
                  <a:lumMod val="20000"/>
                  <a:lumOff val="80000"/>
                </a:srgbClr>
              </a:solidFill>
              <a:ln>
                <a:noFill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080">
                  <a:defRPr/>
                </a:pPr>
                <a:endParaRPr lang="zh-CN" altLang="en-US" sz="3200" kern="0">
                  <a:solidFill>
                    <a:srgbClr val="777777"/>
                  </a:solidFill>
                </a:endParaRPr>
              </a:p>
            </p:txBody>
          </p:sp>
          <p:sp>
            <p:nvSpPr>
              <p:cNvPr id="93" name="Freeform 345">
                <a:extLst>
                  <a:ext uri="{FF2B5EF4-FFF2-40B4-BE49-F238E27FC236}">
                    <a16:creationId xmlns:a16="http://schemas.microsoft.com/office/drawing/2014/main" id="{BA84F84E-62A9-4D9B-8122-2DDA085140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22075" y="4640556"/>
                <a:ext cx="352700" cy="420649"/>
              </a:xfrm>
              <a:custGeom>
                <a:avLst/>
                <a:gdLst>
                  <a:gd name="T0" fmla="*/ 169 w 219"/>
                  <a:gd name="T1" fmla="*/ 260 h 260"/>
                  <a:gd name="T2" fmla="*/ 0 w 219"/>
                  <a:gd name="T3" fmla="*/ 260 h 260"/>
                  <a:gd name="T4" fmla="*/ 28 w 219"/>
                  <a:gd name="T5" fmla="*/ 193 h 260"/>
                  <a:gd name="T6" fmla="*/ 43 w 219"/>
                  <a:gd name="T7" fmla="*/ 177 h 260"/>
                  <a:gd name="T8" fmla="*/ 176 w 219"/>
                  <a:gd name="T9" fmla="*/ 177 h 260"/>
                  <a:gd name="T10" fmla="*/ 190 w 219"/>
                  <a:gd name="T11" fmla="*/ 187 h 260"/>
                  <a:gd name="T12" fmla="*/ 219 w 219"/>
                  <a:gd name="T13" fmla="*/ 260 h 260"/>
                  <a:gd name="T14" fmla="*/ 59 w 219"/>
                  <a:gd name="T15" fmla="*/ 187 h 260"/>
                  <a:gd name="T16" fmla="*/ 47 w 219"/>
                  <a:gd name="T17" fmla="*/ 195 h 260"/>
                  <a:gd name="T18" fmla="*/ 50 w 219"/>
                  <a:gd name="T19" fmla="*/ 249 h 260"/>
                  <a:gd name="T20" fmla="*/ 55 w 219"/>
                  <a:gd name="T21" fmla="*/ 213 h 260"/>
                  <a:gd name="T22" fmla="*/ 82 w 219"/>
                  <a:gd name="T23" fmla="*/ 187 h 260"/>
                  <a:gd name="T24" fmla="*/ 90 w 219"/>
                  <a:gd name="T25" fmla="*/ 217 h 260"/>
                  <a:gd name="T26" fmla="*/ 102 w 219"/>
                  <a:gd name="T27" fmla="*/ 236 h 260"/>
                  <a:gd name="T28" fmla="*/ 111 w 219"/>
                  <a:gd name="T29" fmla="*/ 240 h 260"/>
                  <a:gd name="T30" fmla="*/ 124 w 219"/>
                  <a:gd name="T31" fmla="*/ 231 h 260"/>
                  <a:gd name="T32" fmla="*/ 134 w 219"/>
                  <a:gd name="T33" fmla="*/ 208 h 260"/>
                  <a:gd name="T34" fmla="*/ 180 w 219"/>
                  <a:gd name="T35" fmla="*/ 202 h 260"/>
                  <a:gd name="T36" fmla="*/ 169 w 219"/>
                  <a:gd name="T37" fmla="*/ 189 h 260"/>
                  <a:gd name="T38" fmla="*/ 159 w 219"/>
                  <a:gd name="T39" fmla="*/ 187 h 260"/>
                  <a:gd name="T40" fmla="*/ 165 w 219"/>
                  <a:gd name="T41" fmla="*/ 212 h 260"/>
                  <a:gd name="T42" fmla="*/ 197 w 219"/>
                  <a:gd name="T43" fmla="*/ 249 h 260"/>
                  <a:gd name="T44" fmla="*/ 108 w 219"/>
                  <a:gd name="T45" fmla="*/ 165 h 260"/>
                  <a:gd name="T46" fmla="*/ 84 w 219"/>
                  <a:gd name="T47" fmla="*/ 161 h 260"/>
                  <a:gd name="T48" fmla="*/ 50 w 219"/>
                  <a:gd name="T49" fmla="*/ 140 h 260"/>
                  <a:gd name="T50" fmla="*/ 29 w 219"/>
                  <a:gd name="T51" fmla="*/ 106 h 260"/>
                  <a:gd name="T52" fmla="*/ 25 w 219"/>
                  <a:gd name="T53" fmla="*/ 82 h 260"/>
                  <a:gd name="T54" fmla="*/ 26 w 219"/>
                  <a:gd name="T55" fmla="*/ 65 h 260"/>
                  <a:gd name="T56" fmla="*/ 39 w 219"/>
                  <a:gd name="T57" fmla="*/ 36 h 260"/>
                  <a:gd name="T58" fmla="*/ 76 w 219"/>
                  <a:gd name="T59" fmla="*/ 6 h 260"/>
                  <a:gd name="T60" fmla="*/ 99 w 219"/>
                  <a:gd name="T61" fmla="*/ 0 h 260"/>
                  <a:gd name="T62" fmla="*/ 116 w 219"/>
                  <a:gd name="T63" fmla="*/ 0 h 260"/>
                  <a:gd name="T64" fmla="*/ 139 w 219"/>
                  <a:gd name="T65" fmla="*/ 6 h 260"/>
                  <a:gd name="T66" fmla="*/ 176 w 219"/>
                  <a:gd name="T67" fmla="*/ 36 h 260"/>
                  <a:gd name="T68" fmla="*/ 189 w 219"/>
                  <a:gd name="T69" fmla="*/ 65 h 260"/>
                  <a:gd name="T70" fmla="*/ 190 w 219"/>
                  <a:gd name="T71" fmla="*/ 82 h 260"/>
                  <a:gd name="T72" fmla="*/ 186 w 219"/>
                  <a:gd name="T73" fmla="*/ 106 h 260"/>
                  <a:gd name="T74" fmla="*/ 165 w 219"/>
                  <a:gd name="T75" fmla="*/ 140 h 260"/>
                  <a:gd name="T76" fmla="*/ 132 w 219"/>
                  <a:gd name="T77" fmla="*/ 161 h 260"/>
                  <a:gd name="T78" fmla="*/ 108 w 219"/>
                  <a:gd name="T79" fmla="*/ 165 h 260"/>
                  <a:gd name="T80" fmla="*/ 126 w 219"/>
                  <a:gd name="T81" fmla="*/ 32 h 260"/>
                  <a:gd name="T82" fmla="*/ 112 w 219"/>
                  <a:gd name="T83" fmla="*/ 60 h 260"/>
                  <a:gd name="T84" fmla="*/ 97 w 219"/>
                  <a:gd name="T85" fmla="*/ 75 h 260"/>
                  <a:gd name="T86" fmla="*/ 74 w 219"/>
                  <a:gd name="T87" fmla="*/ 82 h 260"/>
                  <a:gd name="T88" fmla="*/ 45 w 219"/>
                  <a:gd name="T89" fmla="*/ 82 h 260"/>
                  <a:gd name="T90" fmla="*/ 55 w 219"/>
                  <a:gd name="T91" fmla="*/ 117 h 260"/>
                  <a:gd name="T92" fmla="*/ 84 w 219"/>
                  <a:gd name="T93" fmla="*/ 140 h 260"/>
                  <a:gd name="T94" fmla="*/ 108 w 219"/>
                  <a:gd name="T95" fmla="*/ 144 h 260"/>
                  <a:gd name="T96" fmla="*/ 143 w 219"/>
                  <a:gd name="T97" fmla="*/ 134 h 260"/>
                  <a:gd name="T98" fmla="*/ 165 w 219"/>
                  <a:gd name="T99" fmla="*/ 106 h 260"/>
                  <a:gd name="T100" fmla="*/ 171 w 219"/>
                  <a:gd name="T101" fmla="*/ 82 h 260"/>
                  <a:gd name="T102" fmla="*/ 149 w 219"/>
                  <a:gd name="T103" fmla="*/ 73 h 260"/>
                  <a:gd name="T104" fmla="*/ 139 w 219"/>
                  <a:gd name="T105" fmla="*/ 52 h 260"/>
                  <a:gd name="T106" fmla="*/ 130 w 219"/>
                  <a:gd name="T107" fmla="*/ 3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19" h="260">
                    <a:moveTo>
                      <a:pt x="169" y="260"/>
                    </a:moveTo>
                    <a:lnTo>
                      <a:pt x="169" y="260"/>
                    </a:lnTo>
                    <a:lnTo>
                      <a:pt x="169" y="260"/>
                    </a:lnTo>
                    <a:lnTo>
                      <a:pt x="50" y="260"/>
                    </a:lnTo>
                    <a:lnTo>
                      <a:pt x="50" y="260"/>
                    </a:lnTo>
                    <a:lnTo>
                      <a:pt x="0" y="260"/>
                    </a:lnTo>
                    <a:lnTo>
                      <a:pt x="26" y="197"/>
                    </a:lnTo>
                    <a:lnTo>
                      <a:pt x="26" y="197"/>
                    </a:lnTo>
                    <a:lnTo>
                      <a:pt x="28" y="193"/>
                    </a:lnTo>
                    <a:lnTo>
                      <a:pt x="33" y="187"/>
                    </a:lnTo>
                    <a:lnTo>
                      <a:pt x="39" y="179"/>
                    </a:lnTo>
                    <a:lnTo>
                      <a:pt x="43" y="177"/>
                    </a:lnTo>
                    <a:lnTo>
                      <a:pt x="47" y="177"/>
                    </a:lnTo>
                    <a:lnTo>
                      <a:pt x="176" y="177"/>
                    </a:lnTo>
                    <a:lnTo>
                      <a:pt x="176" y="177"/>
                    </a:lnTo>
                    <a:lnTo>
                      <a:pt x="180" y="177"/>
                    </a:lnTo>
                    <a:lnTo>
                      <a:pt x="184" y="179"/>
                    </a:lnTo>
                    <a:lnTo>
                      <a:pt x="190" y="187"/>
                    </a:lnTo>
                    <a:lnTo>
                      <a:pt x="195" y="193"/>
                    </a:lnTo>
                    <a:lnTo>
                      <a:pt x="197" y="197"/>
                    </a:lnTo>
                    <a:lnTo>
                      <a:pt x="219" y="260"/>
                    </a:lnTo>
                    <a:lnTo>
                      <a:pt x="169" y="260"/>
                    </a:lnTo>
                    <a:close/>
                    <a:moveTo>
                      <a:pt x="59" y="187"/>
                    </a:moveTo>
                    <a:lnTo>
                      <a:pt x="59" y="187"/>
                    </a:lnTo>
                    <a:lnTo>
                      <a:pt x="56" y="187"/>
                    </a:lnTo>
                    <a:lnTo>
                      <a:pt x="52" y="189"/>
                    </a:lnTo>
                    <a:lnTo>
                      <a:pt x="47" y="195"/>
                    </a:lnTo>
                    <a:lnTo>
                      <a:pt x="43" y="202"/>
                    </a:lnTo>
                    <a:lnTo>
                      <a:pt x="21" y="249"/>
                    </a:lnTo>
                    <a:lnTo>
                      <a:pt x="50" y="249"/>
                    </a:lnTo>
                    <a:lnTo>
                      <a:pt x="50" y="249"/>
                    </a:lnTo>
                    <a:lnTo>
                      <a:pt x="52" y="231"/>
                    </a:lnTo>
                    <a:lnTo>
                      <a:pt x="55" y="213"/>
                    </a:lnTo>
                    <a:lnTo>
                      <a:pt x="61" y="187"/>
                    </a:lnTo>
                    <a:lnTo>
                      <a:pt x="59" y="187"/>
                    </a:lnTo>
                    <a:close/>
                    <a:moveTo>
                      <a:pt x="82" y="187"/>
                    </a:moveTo>
                    <a:lnTo>
                      <a:pt x="82" y="187"/>
                    </a:lnTo>
                    <a:lnTo>
                      <a:pt x="86" y="208"/>
                    </a:lnTo>
                    <a:lnTo>
                      <a:pt x="90" y="217"/>
                    </a:lnTo>
                    <a:lnTo>
                      <a:pt x="93" y="225"/>
                    </a:lnTo>
                    <a:lnTo>
                      <a:pt x="97" y="231"/>
                    </a:lnTo>
                    <a:lnTo>
                      <a:pt x="102" y="236"/>
                    </a:lnTo>
                    <a:lnTo>
                      <a:pt x="106" y="239"/>
                    </a:lnTo>
                    <a:lnTo>
                      <a:pt x="111" y="240"/>
                    </a:lnTo>
                    <a:lnTo>
                      <a:pt x="111" y="240"/>
                    </a:lnTo>
                    <a:lnTo>
                      <a:pt x="116" y="239"/>
                    </a:lnTo>
                    <a:lnTo>
                      <a:pt x="120" y="236"/>
                    </a:lnTo>
                    <a:lnTo>
                      <a:pt x="124" y="231"/>
                    </a:lnTo>
                    <a:lnTo>
                      <a:pt x="128" y="225"/>
                    </a:lnTo>
                    <a:lnTo>
                      <a:pt x="132" y="217"/>
                    </a:lnTo>
                    <a:lnTo>
                      <a:pt x="134" y="208"/>
                    </a:lnTo>
                    <a:lnTo>
                      <a:pt x="139" y="187"/>
                    </a:lnTo>
                    <a:lnTo>
                      <a:pt x="82" y="187"/>
                    </a:lnTo>
                    <a:close/>
                    <a:moveTo>
                      <a:pt x="180" y="202"/>
                    </a:moveTo>
                    <a:lnTo>
                      <a:pt x="180" y="202"/>
                    </a:lnTo>
                    <a:lnTo>
                      <a:pt x="175" y="195"/>
                    </a:lnTo>
                    <a:lnTo>
                      <a:pt x="169" y="189"/>
                    </a:lnTo>
                    <a:lnTo>
                      <a:pt x="167" y="187"/>
                    </a:lnTo>
                    <a:lnTo>
                      <a:pt x="163" y="187"/>
                    </a:lnTo>
                    <a:lnTo>
                      <a:pt x="159" y="187"/>
                    </a:lnTo>
                    <a:lnTo>
                      <a:pt x="159" y="187"/>
                    </a:lnTo>
                    <a:lnTo>
                      <a:pt x="162" y="197"/>
                    </a:lnTo>
                    <a:lnTo>
                      <a:pt x="165" y="212"/>
                    </a:lnTo>
                    <a:lnTo>
                      <a:pt x="168" y="228"/>
                    </a:lnTo>
                    <a:lnTo>
                      <a:pt x="169" y="249"/>
                    </a:lnTo>
                    <a:lnTo>
                      <a:pt x="197" y="249"/>
                    </a:lnTo>
                    <a:lnTo>
                      <a:pt x="180" y="202"/>
                    </a:lnTo>
                    <a:close/>
                    <a:moveTo>
                      <a:pt x="108" y="165"/>
                    </a:moveTo>
                    <a:lnTo>
                      <a:pt x="108" y="165"/>
                    </a:lnTo>
                    <a:lnTo>
                      <a:pt x="99" y="164"/>
                    </a:lnTo>
                    <a:lnTo>
                      <a:pt x="91" y="162"/>
                    </a:lnTo>
                    <a:lnTo>
                      <a:pt x="84" y="161"/>
                    </a:lnTo>
                    <a:lnTo>
                      <a:pt x="76" y="158"/>
                    </a:lnTo>
                    <a:lnTo>
                      <a:pt x="61" y="151"/>
                    </a:lnTo>
                    <a:lnTo>
                      <a:pt x="50" y="140"/>
                    </a:lnTo>
                    <a:lnTo>
                      <a:pt x="39" y="128"/>
                    </a:lnTo>
                    <a:lnTo>
                      <a:pt x="32" y="114"/>
                    </a:lnTo>
                    <a:lnTo>
                      <a:pt x="29" y="106"/>
                    </a:lnTo>
                    <a:lnTo>
                      <a:pt x="26" y="99"/>
                    </a:lnTo>
                    <a:lnTo>
                      <a:pt x="25" y="91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5" y="74"/>
                    </a:lnTo>
                    <a:lnTo>
                      <a:pt x="26" y="65"/>
                    </a:lnTo>
                    <a:lnTo>
                      <a:pt x="29" y="57"/>
                    </a:lnTo>
                    <a:lnTo>
                      <a:pt x="32" y="49"/>
                    </a:lnTo>
                    <a:lnTo>
                      <a:pt x="39" y="36"/>
                    </a:lnTo>
                    <a:lnTo>
                      <a:pt x="50" y="23"/>
                    </a:lnTo>
                    <a:lnTo>
                      <a:pt x="61" y="13"/>
                    </a:lnTo>
                    <a:lnTo>
                      <a:pt x="76" y="6"/>
                    </a:lnTo>
                    <a:lnTo>
                      <a:pt x="84" y="4"/>
                    </a:lnTo>
                    <a:lnTo>
                      <a:pt x="91" y="1"/>
                    </a:lnTo>
                    <a:lnTo>
                      <a:pt x="99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6" y="0"/>
                    </a:lnTo>
                    <a:lnTo>
                      <a:pt x="124" y="1"/>
                    </a:lnTo>
                    <a:lnTo>
                      <a:pt x="132" y="4"/>
                    </a:lnTo>
                    <a:lnTo>
                      <a:pt x="139" y="6"/>
                    </a:lnTo>
                    <a:lnTo>
                      <a:pt x="154" y="13"/>
                    </a:lnTo>
                    <a:lnTo>
                      <a:pt x="165" y="23"/>
                    </a:lnTo>
                    <a:lnTo>
                      <a:pt x="176" y="36"/>
                    </a:lnTo>
                    <a:lnTo>
                      <a:pt x="184" y="49"/>
                    </a:lnTo>
                    <a:lnTo>
                      <a:pt x="186" y="57"/>
                    </a:lnTo>
                    <a:lnTo>
                      <a:pt x="189" y="65"/>
                    </a:lnTo>
                    <a:lnTo>
                      <a:pt x="190" y="74"/>
                    </a:lnTo>
                    <a:lnTo>
                      <a:pt x="190" y="82"/>
                    </a:lnTo>
                    <a:lnTo>
                      <a:pt x="190" y="82"/>
                    </a:lnTo>
                    <a:lnTo>
                      <a:pt x="190" y="91"/>
                    </a:lnTo>
                    <a:lnTo>
                      <a:pt x="189" y="99"/>
                    </a:lnTo>
                    <a:lnTo>
                      <a:pt x="186" y="106"/>
                    </a:lnTo>
                    <a:lnTo>
                      <a:pt x="184" y="114"/>
                    </a:lnTo>
                    <a:lnTo>
                      <a:pt x="176" y="128"/>
                    </a:lnTo>
                    <a:lnTo>
                      <a:pt x="165" y="140"/>
                    </a:lnTo>
                    <a:lnTo>
                      <a:pt x="154" y="151"/>
                    </a:lnTo>
                    <a:lnTo>
                      <a:pt x="139" y="158"/>
                    </a:lnTo>
                    <a:lnTo>
                      <a:pt x="132" y="161"/>
                    </a:lnTo>
                    <a:lnTo>
                      <a:pt x="124" y="162"/>
                    </a:lnTo>
                    <a:lnTo>
                      <a:pt x="116" y="164"/>
                    </a:lnTo>
                    <a:lnTo>
                      <a:pt x="108" y="165"/>
                    </a:lnTo>
                    <a:lnTo>
                      <a:pt x="108" y="165"/>
                    </a:lnTo>
                    <a:close/>
                    <a:moveTo>
                      <a:pt x="126" y="32"/>
                    </a:moveTo>
                    <a:lnTo>
                      <a:pt x="126" y="32"/>
                    </a:lnTo>
                    <a:lnTo>
                      <a:pt x="123" y="43"/>
                    </a:lnTo>
                    <a:lnTo>
                      <a:pt x="117" y="52"/>
                    </a:lnTo>
                    <a:lnTo>
                      <a:pt x="112" y="60"/>
                    </a:lnTo>
                    <a:lnTo>
                      <a:pt x="107" y="66"/>
                    </a:lnTo>
                    <a:lnTo>
                      <a:pt x="102" y="71"/>
                    </a:lnTo>
                    <a:lnTo>
                      <a:pt x="97" y="75"/>
                    </a:lnTo>
                    <a:lnTo>
                      <a:pt x="91" y="78"/>
                    </a:lnTo>
                    <a:lnTo>
                      <a:pt x="86" y="79"/>
                    </a:lnTo>
                    <a:lnTo>
                      <a:pt x="74" y="82"/>
                    </a:lnTo>
                    <a:lnTo>
                      <a:pt x="64" y="82"/>
                    </a:lnTo>
                    <a:lnTo>
                      <a:pt x="45" y="82"/>
                    </a:lnTo>
                    <a:lnTo>
                      <a:pt x="45" y="82"/>
                    </a:lnTo>
                    <a:lnTo>
                      <a:pt x="46" y="95"/>
                    </a:lnTo>
                    <a:lnTo>
                      <a:pt x="50" y="106"/>
                    </a:lnTo>
                    <a:lnTo>
                      <a:pt x="55" y="117"/>
                    </a:lnTo>
                    <a:lnTo>
                      <a:pt x="63" y="126"/>
                    </a:lnTo>
                    <a:lnTo>
                      <a:pt x="72" y="134"/>
                    </a:lnTo>
                    <a:lnTo>
                      <a:pt x="84" y="140"/>
                    </a:lnTo>
                    <a:lnTo>
                      <a:pt x="95" y="143"/>
                    </a:lnTo>
                    <a:lnTo>
                      <a:pt x="108" y="144"/>
                    </a:lnTo>
                    <a:lnTo>
                      <a:pt x="108" y="144"/>
                    </a:lnTo>
                    <a:lnTo>
                      <a:pt x="120" y="143"/>
                    </a:lnTo>
                    <a:lnTo>
                      <a:pt x="132" y="140"/>
                    </a:lnTo>
                    <a:lnTo>
                      <a:pt x="143" y="134"/>
                    </a:lnTo>
                    <a:lnTo>
                      <a:pt x="152" y="126"/>
                    </a:lnTo>
                    <a:lnTo>
                      <a:pt x="160" y="117"/>
                    </a:lnTo>
                    <a:lnTo>
                      <a:pt x="165" y="106"/>
                    </a:lnTo>
                    <a:lnTo>
                      <a:pt x="169" y="95"/>
                    </a:lnTo>
                    <a:lnTo>
                      <a:pt x="171" y="82"/>
                    </a:lnTo>
                    <a:lnTo>
                      <a:pt x="171" y="82"/>
                    </a:lnTo>
                    <a:lnTo>
                      <a:pt x="158" y="78"/>
                    </a:lnTo>
                    <a:lnTo>
                      <a:pt x="152" y="75"/>
                    </a:lnTo>
                    <a:lnTo>
                      <a:pt x="149" y="73"/>
                    </a:lnTo>
                    <a:lnTo>
                      <a:pt x="143" y="66"/>
                    </a:lnTo>
                    <a:lnTo>
                      <a:pt x="141" y="60"/>
                    </a:lnTo>
                    <a:lnTo>
                      <a:pt x="139" y="52"/>
                    </a:lnTo>
                    <a:lnTo>
                      <a:pt x="137" y="45"/>
                    </a:lnTo>
                    <a:lnTo>
                      <a:pt x="133" y="39"/>
                    </a:lnTo>
                    <a:lnTo>
                      <a:pt x="130" y="36"/>
                    </a:lnTo>
                    <a:lnTo>
                      <a:pt x="126" y="32"/>
                    </a:lnTo>
                    <a:lnTo>
                      <a:pt x="126" y="32"/>
                    </a:lnTo>
                    <a:close/>
                  </a:path>
                </a:pathLst>
              </a:custGeom>
              <a:solidFill>
                <a:srgbClr val="990000">
                  <a:lumMod val="20000"/>
                  <a:lumOff val="80000"/>
                </a:srgbClr>
              </a:solidFill>
              <a:ln>
                <a:noFill/>
              </a:ln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080">
                  <a:defRPr/>
                </a:pPr>
                <a:endParaRPr lang="zh-CN" altLang="en-US" sz="3200" kern="0">
                  <a:solidFill>
                    <a:srgbClr val="777777"/>
                  </a:solidFill>
                </a:endParaRPr>
              </a:p>
            </p:txBody>
          </p:sp>
          <p:grpSp>
            <p:nvGrpSpPr>
              <p:cNvPr id="94" name="组合 93">
                <a:extLst>
                  <a:ext uri="{FF2B5EF4-FFF2-40B4-BE49-F238E27FC236}">
                    <a16:creationId xmlns:a16="http://schemas.microsoft.com/office/drawing/2014/main" id="{CE5550C8-7B01-4CC5-B7C3-F2FAC4D34A99}"/>
                  </a:ext>
                </a:extLst>
              </p:cNvPr>
              <p:cNvGrpSpPr/>
              <p:nvPr/>
            </p:nvGrpSpPr>
            <p:grpSpPr>
              <a:xfrm>
                <a:off x="2768071" y="4991602"/>
                <a:ext cx="383115" cy="430348"/>
                <a:chOff x="7164428" y="2787357"/>
                <a:chExt cx="262800" cy="295200"/>
              </a:xfrm>
            </p:grpSpPr>
            <p:sp>
              <p:nvSpPr>
                <p:cNvPr id="95" name="Shape 10871">
                  <a:extLst>
                    <a:ext uri="{FF2B5EF4-FFF2-40B4-BE49-F238E27FC236}">
                      <a16:creationId xmlns:a16="http://schemas.microsoft.com/office/drawing/2014/main" id="{7F8E0282-377C-4483-B00B-749DD69EEC8B}"/>
                    </a:ext>
                  </a:extLst>
                </p:cNvPr>
                <p:cNvSpPr/>
                <p:nvPr/>
              </p:nvSpPr>
              <p:spPr>
                <a:xfrm>
                  <a:off x="7227928" y="2800713"/>
                  <a:ext cx="140281" cy="20233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7672" h="19185" extrusionOk="0">
                      <a:moveTo>
                        <a:pt x="16230" y="3143"/>
                      </a:moveTo>
                      <a:cubicBezTo>
                        <a:pt x="16230" y="3143"/>
                        <a:pt x="21036" y="13442"/>
                        <a:pt x="13102" y="18045"/>
                      </a:cubicBezTo>
                      <a:cubicBezTo>
                        <a:pt x="11191" y="19184"/>
                        <a:pt x="1289" y="20642"/>
                        <a:pt x="652" y="15903"/>
                      </a:cubicBezTo>
                      <a:cubicBezTo>
                        <a:pt x="73" y="11437"/>
                        <a:pt x="-564" y="8794"/>
                        <a:pt x="884" y="4146"/>
                      </a:cubicBezTo>
                      <a:cubicBezTo>
                        <a:pt x="1405" y="2277"/>
                        <a:pt x="4185" y="-958"/>
                        <a:pt x="8122" y="272"/>
                      </a:cubicBezTo>
                      <a:cubicBezTo>
                        <a:pt x="12060" y="1548"/>
                        <a:pt x="16230" y="3143"/>
                        <a:pt x="16230" y="3143"/>
                      </a:cubicBezTo>
                      <a:close/>
                    </a:path>
                  </a:pathLst>
                </a:custGeom>
                <a:solidFill>
                  <a:srgbClr val="990000">
                    <a:lumMod val="20000"/>
                    <a:lumOff val="8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96" name="Shape 10872">
                  <a:extLst>
                    <a:ext uri="{FF2B5EF4-FFF2-40B4-BE49-F238E27FC236}">
                      <a16:creationId xmlns:a16="http://schemas.microsoft.com/office/drawing/2014/main" id="{2094A7A4-7565-43E7-B2A4-2FDF97FFD120}"/>
                    </a:ext>
                  </a:extLst>
                </p:cNvPr>
                <p:cNvSpPr/>
                <p:nvPr/>
              </p:nvSpPr>
              <p:spPr>
                <a:xfrm>
                  <a:off x="7269222" y="2910391"/>
                  <a:ext cx="53534" cy="75120"/>
                </a:xfrm>
                <a:prstGeom prst="rect">
                  <a:avLst/>
                </a:prstGeom>
                <a:solidFill>
                  <a:srgbClr val="990000">
                    <a:lumMod val="20000"/>
                    <a:lumOff val="8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97" name="Shape 10873">
                  <a:extLst>
                    <a:ext uri="{FF2B5EF4-FFF2-40B4-BE49-F238E27FC236}">
                      <a16:creationId xmlns:a16="http://schemas.microsoft.com/office/drawing/2014/main" id="{EBE946BC-58A9-45BE-A2AE-DA7BD7428114}"/>
                    </a:ext>
                  </a:extLst>
                </p:cNvPr>
                <p:cNvSpPr/>
                <p:nvPr/>
              </p:nvSpPr>
              <p:spPr>
                <a:xfrm>
                  <a:off x="7229156" y="2798726"/>
                  <a:ext cx="132210" cy="15592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76" h="21600" extrusionOk="0">
                      <a:moveTo>
                        <a:pt x="20764" y="8533"/>
                      </a:moveTo>
                      <a:cubicBezTo>
                        <a:pt x="20542" y="8467"/>
                        <a:pt x="20172" y="8667"/>
                        <a:pt x="19877" y="9000"/>
                      </a:cubicBezTo>
                      <a:cubicBezTo>
                        <a:pt x="19211" y="3467"/>
                        <a:pt x="14994" y="0"/>
                        <a:pt x="10334" y="0"/>
                      </a:cubicBezTo>
                      <a:cubicBezTo>
                        <a:pt x="5600" y="0"/>
                        <a:pt x="2049" y="3467"/>
                        <a:pt x="1383" y="9000"/>
                      </a:cubicBezTo>
                      <a:cubicBezTo>
                        <a:pt x="1088" y="8667"/>
                        <a:pt x="792" y="8467"/>
                        <a:pt x="496" y="8533"/>
                      </a:cubicBezTo>
                      <a:cubicBezTo>
                        <a:pt x="-170" y="8667"/>
                        <a:pt x="-22" y="10000"/>
                        <a:pt x="126" y="11667"/>
                      </a:cubicBezTo>
                      <a:cubicBezTo>
                        <a:pt x="348" y="14000"/>
                        <a:pt x="1162" y="14067"/>
                        <a:pt x="1753" y="14267"/>
                      </a:cubicBezTo>
                      <a:cubicBezTo>
                        <a:pt x="2419" y="16467"/>
                        <a:pt x="3825" y="18067"/>
                        <a:pt x="5452" y="19200"/>
                      </a:cubicBezTo>
                      <a:cubicBezTo>
                        <a:pt x="7227" y="20333"/>
                        <a:pt x="9151" y="21600"/>
                        <a:pt x="10630" y="21600"/>
                      </a:cubicBezTo>
                      <a:cubicBezTo>
                        <a:pt x="11888" y="21600"/>
                        <a:pt x="13589" y="20467"/>
                        <a:pt x="15216" y="19533"/>
                      </a:cubicBezTo>
                      <a:cubicBezTo>
                        <a:pt x="17066" y="18400"/>
                        <a:pt x="18841" y="16667"/>
                        <a:pt x="19507" y="14267"/>
                      </a:cubicBezTo>
                      <a:cubicBezTo>
                        <a:pt x="20098" y="14067"/>
                        <a:pt x="21060" y="13733"/>
                        <a:pt x="21208" y="11667"/>
                      </a:cubicBezTo>
                      <a:cubicBezTo>
                        <a:pt x="21282" y="10000"/>
                        <a:pt x="21430" y="8667"/>
                        <a:pt x="20764" y="853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98" name="Shape 10874">
                  <a:extLst>
                    <a:ext uri="{FF2B5EF4-FFF2-40B4-BE49-F238E27FC236}">
                      <a16:creationId xmlns:a16="http://schemas.microsoft.com/office/drawing/2014/main" id="{FC9B4CE5-C750-42A3-8409-B7DC1C6994D9}"/>
                    </a:ext>
                  </a:extLst>
                </p:cNvPr>
                <p:cNvSpPr/>
                <p:nvPr/>
              </p:nvSpPr>
              <p:spPr>
                <a:xfrm>
                  <a:off x="7164428" y="2963990"/>
                  <a:ext cx="262800" cy="11856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50" h="21600" extrusionOk="0">
                      <a:moveTo>
                        <a:pt x="21498" y="11678"/>
                      </a:moveTo>
                      <a:cubicBezTo>
                        <a:pt x="21234" y="7639"/>
                        <a:pt x="18859" y="4829"/>
                        <a:pt x="16974" y="3161"/>
                      </a:cubicBezTo>
                      <a:cubicBezTo>
                        <a:pt x="12978" y="0"/>
                        <a:pt x="12978" y="0"/>
                        <a:pt x="12978" y="0"/>
                      </a:cubicBezTo>
                      <a:cubicBezTo>
                        <a:pt x="12978" y="1141"/>
                        <a:pt x="8605" y="1141"/>
                        <a:pt x="8643" y="0"/>
                      </a:cubicBezTo>
                      <a:cubicBezTo>
                        <a:pt x="4610" y="3161"/>
                        <a:pt x="4610" y="3161"/>
                        <a:pt x="4610" y="3161"/>
                      </a:cubicBezTo>
                      <a:cubicBezTo>
                        <a:pt x="2687" y="4829"/>
                        <a:pt x="312" y="7639"/>
                        <a:pt x="86" y="11678"/>
                      </a:cubicBezTo>
                      <a:cubicBezTo>
                        <a:pt x="48" y="12117"/>
                        <a:pt x="-27" y="12644"/>
                        <a:pt x="11" y="13083"/>
                      </a:cubicBezTo>
                      <a:cubicBezTo>
                        <a:pt x="350" y="17561"/>
                        <a:pt x="4572" y="21073"/>
                        <a:pt x="9623" y="21600"/>
                      </a:cubicBezTo>
                      <a:cubicBezTo>
                        <a:pt x="9623" y="21600"/>
                        <a:pt x="9623" y="21600"/>
                        <a:pt x="9623" y="21600"/>
                      </a:cubicBezTo>
                      <a:cubicBezTo>
                        <a:pt x="9661" y="21600"/>
                        <a:pt x="9699" y="21600"/>
                        <a:pt x="9774" y="21600"/>
                      </a:cubicBezTo>
                      <a:cubicBezTo>
                        <a:pt x="11810" y="21600"/>
                        <a:pt x="11810" y="21600"/>
                        <a:pt x="11810" y="21600"/>
                      </a:cubicBezTo>
                      <a:cubicBezTo>
                        <a:pt x="11847" y="21600"/>
                        <a:pt x="11885" y="21600"/>
                        <a:pt x="11960" y="21600"/>
                      </a:cubicBezTo>
                      <a:cubicBezTo>
                        <a:pt x="11960" y="21600"/>
                        <a:pt x="11960" y="21600"/>
                        <a:pt x="11960" y="21600"/>
                      </a:cubicBezTo>
                      <a:cubicBezTo>
                        <a:pt x="16974" y="21073"/>
                        <a:pt x="21196" y="17561"/>
                        <a:pt x="21535" y="13083"/>
                      </a:cubicBezTo>
                      <a:cubicBezTo>
                        <a:pt x="21573" y="12644"/>
                        <a:pt x="21535" y="12117"/>
                        <a:pt x="21498" y="11678"/>
                      </a:cubicBezTo>
                      <a:close/>
                    </a:path>
                  </a:pathLst>
                </a:custGeom>
                <a:solidFill>
                  <a:srgbClr val="990000">
                    <a:lumMod val="20000"/>
                    <a:lumOff val="8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99" name="Shape 10875">
                  <a:extLst>
                    <a:ext uri="{FF2B5EF4-FFF2-40B4-BE49-F238E27FC236}">
                      <a16:creationId xmlns:a16="http://schemas.microsoft.com/office/drawing/2014/main" id="{4BEE7F22-27A5-4B8E-8B59-303BD2D0B576}"/>
                    </a:ext>
                  </a:extLst>
                </p:cNvPr>
                <p:cNvSpPr/>
                <p:nvPr/>
              </p:nvSpPr>
              <p:spPr>
                <a:xfrm>
                  <a:off x="7164428" y="2968456"/>
                  <a:ext cx="262800" cy="1141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50" h="21600" extrusionOk="0">
                      <a:moveTo>
                        <a:pt x="21498" y="11301"/>
                      </a:moveTo>
                      <a:cubicBezTo>
                        <a:pt x="21234" y="7109"/>
                        <a:pt x="18859" y="4192"/>
                        <a:pt x="16974" y="2461"/>
                      </a:cubicBezTo>
                      <a:cubicBezTo>
                        <a:pt x="14185" y="182"/>
                        <a:pt x="14185" y="182"/>
                        <a:pt x="14185" y="182"/>
                      </a:cubicBezTo>
                      <a:cubicBezTo>
                        <a:pt x="14185" y="365"/>
                        <a:pt x="13544" y="5742"/>
                        <a:pt x="10792" y="5924"/>
                      </a:cubicBezTo>
                      <a:cubicBezTo>
                        <a:pt x="8040" y="6015"/>
                        <a:pt x="7550" y="182"/>
                        <a:pt x="7550" y="0"/>
                      </a:cubicBezTo>
                      <a:cubicBezTo>
                        <a:pt x="4610" y="2461"/>
                        <a:pt x="4610" y="2461"/>
                        <a:pt x="4610" y="2461"/>
                      </a:cubicBezTo>
                      <a:cubicBezTo>
                        <a:pt x="2687" y="4192"/>
                        <a:pt x="312" y="7109"/>
                        <a:pt x="86" y="11301"/>
                      </a:cubicBezTo>
                      <a:cubicBezTo>
                        <a:pt x="48" y="11757"/>
                        <a:pt x="-27" y="12304"/>
                        <a:pt x="11" y="12759"/>
                      </a:cubicBezTo>
                      <a:cubicBezTo>
                        <a:pt x="350" y="17408"/>
                        <a:pt x="4572" y="21053"/>
                        <a:pt x="9623" y="21600"/>
                      </a:cubicBezTo>
                      <a:cubicBezTo>
                        <a:pt x="9623" y="21600"/>
                        <a:pt x="9623" y="21600"/>
                        <a:pt x="9623" y="21600"/>
                      </a:cubicBezTo>
                      <a:cubicBezTo>
                        <a:pt x="9661" y="21600"/>
                        <a:pt x="9699" y="21600"/>
                        <a:pt x="9774" y="21600"/>
                      </a:cubicBezTo>
                      <a:cubicBezTo>
                        <a:pt x="11810" y="21600"/>
                        <a:pt x="11810" y="21600"/>
                        <a:pt x="11810" y="21600"/>
                      </a:cubicBezTo>
                      <a:cubicBezTo>
                        <a:pt x="11847" y="21600"/>
                        <a:pt x="11885" y="21600"/>
                        <a:pt x="11960" y="21600"/>
                      </a:cubicBezTo>
                      <a:cubicBezTo>
                        <a:pt x="11960" y="21600"/>
                        <a:pt x="11960" y="21600"/>
                        <a:pt x="11960" y="21600"/>
                      </a:cubicBezTo>
                      <a:cubicBezTo>
                        <a:pt x="16974" y="21053"/>
                        <a:pt x="21196" y="17408"/>
                        <a:pt x="21535" y="12759"/>
                      </a:cubicBezTo>
                      <a:cubicBezTo>
                        <a:pt x="21573" y="12304"/>
                        <a:pt x="21535" y="11757"/>
                        <a:pt x="21498" y="11301"/>
                      </a:cubicBezTo>
                      <a:close/>
                    </a:path>
                  </a:pathLst>
                </a:custGeom>
                <a:solidFill>
                  <a:srgbClr val="990000">
                    <a:lumMod val="20000"/>
                    <a:lumOff val="8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100" name="Shape 10876">
                  <a:extLst>
                    <a:ext uri="{FF2B5EF4-FFF2-40B4-BE49-F238E27FC236}">
                      <a16:creationId xmlns:a16="http://schemas.microsoft.com/office/drawing/2014/main" id="{B62AEC2B-395E-41F8-A0E0-93E424085140}"/>
                    </a:ext>
                  </a:extLst>
                </p:cNvPr>
                <p:cNvSpPr/>
                <p:nvPr/>
              </p:nvSpPr>
              <p:spPr>
                <a:xfrm>
                  <a:off x="7164428" y="2968456"/>
                  <a:ext cx="262800" cy="1141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50" h="21600" extrusionOk="0">
                      <a:moveTo>
                        <a:pt x="21498" y="11301"/>
                      </a:moveTo>
                      <a:cubicBezTo>
                        <a:pt x="21234" y="7109"/>
                        <a:pt x="18859" y="4192"/>
                        <a:pt x="16974" y="2461"/>
                      </a:cubicBezTo>
                      <a:cubicBezTo>
                        <a:pt x="14185" y="182"/>
                        <a:pt x="14185" y="182"/>
                        <a:pt x="14185" y="182"/>
                      </a:cubicBezTo>
                      <a:cubicBezTo>
                        <a:pt x="14185" y="365"/>
                        <a:pt x="13544" y="5742"/>
                        <a:pt x="10792" y="5924"/>
                      </a:cubicBezTo>
                      <a:cubicBezTo>
                        <a:pt x="8040" y="6015"/>
                        <a:pt x="7550" y="182"/>
                        <a:pt x="7550" y="0"/>
                      </a:cubicBezTo>
                      <a:cubicBezTo>
                        <a:pt x="4610" y="2461"/>
                        <a:pt x="4610" y="2461"/>
                        <a:pt x="4610" y="2461"/>
                      </a:cubicBezTo>
                      <a:cubicBezTo>
                        <a:pt x="2687" y="4192"/>
                        <a:pt x="312" y="7109"/>
                        <a:pt x="86" y="11301"/>
                      </a:cubicBezTo>
                      <a:cubicBezTo>
                        <a:pt x="48" y="11757"/>
                        <a:pt x="-27" y="12304"/>
                        <a:pt x="11" y="12759"/>
                      </a:cubicBezTo>
                      <a:cubicBezTo>
                        <a:pt x="350" y="17408"/>
                        <a:pt x="4572" y="21053"/>
                        <a:pt x="9623" y="21600"/>
                      </a:cubicBezTo>
                      <a:cubicBezTo>
                        <a:pt x="9623" y="21600"/>
                        <a:pt x="9623" y="21600"/>
                        <a:pt x="9623" y="21600"/>
                      </a:cubicBezTo>
                      <a:cubicBezTo>
                        <a:pt x="9661" y="21600"/>
                        <a:pt x="9699" y="21600"/>
                        <a:pt x="9774" y="21600"/>
                      </a:cubicBezTo>
                      <a:cubicBezTo>
                        <a:pt x="11810" y="21600"/>
                        <a:pt x="11810" y="21600"/>
                        <a:pt x="11810" y="21600"/>
                      </a:cubicBezTo>
                      <a:cubicBezTo>
                        <a:pt x="11847" y="21600"/>
                        <a:pt x="11885" y="21600"/>
                        <a:pt x="11960" y="21600"/>
                      </a:cubicBezTo>
                      <a:cubicBezTo>
                        <a:pt x="11960" y="21600"/>
                        <a:pt x="11960" y="21600"/>
                        <a:pt x="11960" y="21600"/>
                      </a:cubicBezTo>
                      <a:cubicBezTo>
                        <a:pt x="16974" y="21053"/>
                        <a:pt x="21196" y="17408"/>
                        <a:pt x="21535" y="12759"/>
                      </a:cubicBezTo>
                      <a:cubicBezTo>
                        <a:pt x="21573" y="12304"/>
                        <a:pt x="21535" y="11757"/>
                        <a:pt x="21498" y="11301"/>
                      </a:cubicBezTo>
                      <a:close/>
                    </a:path>
                  </a:pathLst>
                </a:custGeom>
                <a:solidFill>
                  <a:srgbClr val="990000">
                    <a:lumMod val="20000"/>
                    <a:lumOff val="8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101" name="Shape 10877">
                  <a:extLst>
                    <a:ext uri="{FF2B5EF4-FFF2-40B4-BE49-F238E27FC236}">
                      <a16:creationId xmlns:a16="http://schemas.microsoft.com/office/drawing/2014/main" id="{64B62502-FA2D-485B-B156-2498E79CDCA8}"/>
                    </a:ext>
                  </a:extLst>
                </p:cNvPr>
                <p:cNvSpPr/>
                <p:nvPr/>
              </p:nvSpPr>
              <p:spPr>
                <a:xfrm>
                  <a:off x="7245005" y="2872841"/>
                  <a:ext cx="100805" cy="3673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42" h="21475" extrusionOk="0">
                      <a:moveTo>
                        <a:pt x="21276" y="997"/>
                      </a:moveTo>
                      <a:cubicBezTo>
                        <a:pt x="20887" y="-125"/>
                        <a:pt x="18844" y="-125"/>
                        <a:pt x="17482" y="156"/>
                      </a:cubicBezTo>
                      <a:cubicBezTo>
                        <a:pt x="17190" y="156"/>
                        <a:pt x="16801" y="156"/>
                        <a:pt x="16412" y="156"/>
                      </a:cubicBezTo>
                      <a:cubicBezTo>
                        <a:pt x="16314" y="156"/>
                        <a:pt x="16217" y="436"/>
                        <a:pt x="16022" y="436"/>
                      </a:cubicBezTo>
                      <a:cubicBezTo>
                        <a:pt x="15633" y="436"/>
                        <a:pt x="15147" y="717"/>
                        <a:pt x="14660" y="1278"/>
                      </a:cubicBezTo>
                      <a:cubicBezTo>
                        <a:pt x="13687" y="2119"/>
                        <a:pt x="12909" y="3522"/>
                        <a:pt x="12325" y="4644"/>
                      </a:cubicBezTo>
                      <a:cubicBezTo>
                        <a:pt x="11936" y="5766"/>
                        <a:pt x="11644" y="6607"/>
                        <a:pt x="11449" y="7169"/>
                      </a:cubicBezTo>
                      <a:cubicBezTo>
                        <a:pt x="11060" y="6888"/>
                        <a:pt x="10476" y="6607"/>
                        <a:pt x="9893" y="7169"/>
                      </a:cubicBezTo>
                      <a:cubicBezTo>
                        <a:pt x="9698" y="6607"/>
                        <a:pt x="9406" y="5766"/>
                        <a:pt x="9017" y="4644"/>
                      </a:cubicBezTo>
                      <a:cubicBezTo>
                        <a:pt x="8433" y="3522"/>
                        <a:pt x="7655" y="2119"/>
                        <a:pt x="6682" y="1278"/>
                      </a:cubicBezTo>
                      <a:cubicBezTo>
                        <a:pt x="6195" y="717"/>
                        <a:pt x="5709" y="436"/>
                        <a:pt x="5320" y="436"/>
                      </a:cubicBezTo>
                      <a:cubicBezTo>
                        <a:pt x="5125" y="436"/>
                        <a:pt x="5028" y="156"/>
                        <a:pt x="4833" y="156"/>
                      </a:cubicBezTo>
                      <a:cubicBezTo>
                        <a:pt x="4541" y="156"/>
                        <a:pt x="4152" y="156"/>
                        <a:pt x="3860" y="156"/>
                      </a:cubicBezTo>
                      <a:cubicBezTo>
                        <a:pt x="2498" y="-125"/>
                        <a:pt x="455" y="-125"/>
                        <a:pt x="66" y="997"/>
                      </a:cubicBezTo>
                      <a:cubicBezTo>
                        <a:pt x="-129" y="1839"/>
                        <a:pt x="163" y="4363"/>
                        <a:pt x="260" y="6607"/>
                      </a:cubicBezTo>
                      <a:cubicBezTo>
                        <a:pt x="357" y="9132"/>
                        <a:pt x="552" y="11937"/>
                        <a:pt x="552" y="11937"/>
                      </a:cubicBezTo>
                      <a:cubicBezTo>
                        <a:pt x="552" y="11937"/>
                        <a:pt x="552" y="11937"/>
                        <a:pt x="552" y="11937"/>
                      </a:cubicBezTo>
                      <a:cubicBezTo>
                        <a:pt x="552" y="13901"/>
                        <a:pt x="747" y="15865"/>
                        <a:pt x="1233" y="17548"/>
                      </a:cubicBezTo>
                      <a:cubicBezTo>
                        <a:pt x="1914" y="20072"/>
                        <a:pt x="2985" y="21475"/>
                        <a:pt x="4347" y="21475"/>
                      </a:cubicBezTo>
                      <a:cubicBezTo>
                        <a:pt x="4444" y="21475"/>
                        <a:pt x="4444" y="21475"/>
                        <a:pt x="4541" y="21475"/>
                      </a:cubicBezTo>
                      <a:cubicBezTo>
                        <a:pt x="6487" y="21475"/>
                        <a:pt x="8628" y="18950"/>
                        <a:pt x="9406" y="14181"/>
                      </a:cubicBezTo>
                      <a:cubicBezTo>
                        <a:pt x="9406" y="14181"/>
                        <a:pt x="9406" y="13901"/>
                        <a:pt x="9503" y="13901"/>
                      </a:cubicBezTo>
                      <a:cubicBezTo>
                        <a:pt x="9795" y="12498"/>
                        <a:pt x="9990" y="9974"/>
                        <a:pt x="9990" y="8571"/>
                      </a:cubicBezTo>
                      <a:cubicBezTo>
                        <a:pt x="10476" y="8291"/>
                        <a:pt x="11060" y="8291"/>
                        <a:pt x="11352" y="8852"/>
                      </a:cubicBezTo>
                      <a:cubicBezTo>
                        <a:pt x="11352" y="9974"/>
                        <a:pt x="11547" y="12498"/>
                        <a:pt x="11839" y="13901"/>
                      </a:cubicBezTo>
                      <a:cubicBezTo>
                        <a:pt x="11839" y="13901"/>
                        <a:pt x="11936" y="14181"/>
                        <a:pt x="11936" y="14181"/>
                      </a:cubicBezTo>
                      <a:cubicBezTo>
                        <a:pt x="12714" y="18950"/>
                        <a:pt x="14855" y="21475"/>
                        <a:pt x="16801" y="21475"/>
                      </a:cubicBezTo>
                      <a:cubicBezTo>
                        <a:pt x="16801" y="21475"/>
                        <a:pt x="16898" y="21475"/>
                        <a:pt x="16995" y="21475"/>
                      </a:cubicBezTo>
                      <a:cubicBezTo>
                        <a:pt x="18357" y="21475"/>
                        <a:pt x="19428" y="20072"/>
                        <a:pt x="20109" y="17548"/>
                      </a:cubicBezTo>
                      <a:cubicBezTo>
                        <a:pt x="20595" y="15865"/>
                        <a:pt x="20790" y="13901"/>
                        <a:pt x="20790" y="11937"/>
                      </a:cubicBezTo>
                      <a:cubicBezTo>
                        <a:pt x="20790" y="11937"/>
                        <a:pt x="20790" y="11937"/>
                        <a:pt x="20790" y="11937"/>
                      </a:cubicBezTo>
                      <a:cubicBezTo>
                        <a:pt x="20790" y="11937"/>
                        <a:pt x="20985" y="9132"/>
                        <a:pt x="21082" y="6607"/>
                      </a:cubicBezTo>
                      <a:cubicBezTo>
                        <a:pt x="21179" y="4363"/>
                        <a:pt x="21471" y="1839"/>
                        <a:pt x="21276" y="997"/>
                      </a:cubicBezTo>
                      <a:close/>
                      <a:moveTo>
                        <a:pt x="4347" y="20072"/>
                      </a:moveTo>
                      <a:cubicBezTo>
                        <a:pt x="3082" y="19792"/>
                        <a:pt x="2206" y="18670"/>
                        <a:pt x="1622" y="16706"/>
                      </a:cubicBezTo>
                      <a:cubicBezTo>
                        <a:pt x="1039" y="14462"/>
                        <a:pt x="941" y="11937"/>
                        <a:pt x="1039" y="10254"/>
                      </a:cubicBezTo>
                      <a:cubicBezTo>
                        <a:pt x="1039" y="2961"/>
                        <a:pt x="2206" y="1558"/>
                        <a:pt x="4055" y="1558"/>
                      </a:cubicBezTo>
                      <a:cubicBezTo>
                        <a:pt x="4249" y="1558"/>
                        <a:pt x="4444" y="1558"/>
                        <a:pt x="4541" y="1558"/>
                      </a:cubicBezTo>
                      <a:cubicBezTo>
                        <a:pt x="5709" y="1839"/>
                        <a:pt x="6876" y="2961"/>
                        <a:pt x="7752" y="4644"/>
                      </a:cubicBezTo>
                      <a:cubicBezTo>
                        <a:pt x="8725" y="6607"/>
                        <a:pt x="9212" y="8852"/>
                        <a:pt x="9212" y="10815"/>
                      </a:cubicBezTo>
                      <a:cubicBezTo>
                        <a:pt x="9114" y="16706"/>
                        <a:pt x="6585" y="20353"/>
                        <a:pt x="4347" y="20072"/>
                      </a:cubicBezTo>
                      <a:close/>
                      <a:moveTo>
                        <a:pt x="19720" y="16706"/>
                      </a:moveTo>
                      <a:cubicBezTo>
                        <a:pt x="19136" y="18670"/>
                        <a:pt x="18163" y="19792"/>
                        <a:pt x="16995" y="20072"/>
                      </a:cubicBezTo>
                      <a:cubicBezTo>
                        <a:pt x="14757" y="20353"/>
                        <a:pt x="12228" y="16706"/>
                        <a:pt x="12130" y="10815"/>
                      </a:cubicBezTo>
                      <a:cubicBezTo>
                        <a:pt x="12130" y="8852"/>
                        <a:pt x="12617" y="6607"/>
                        <a:pt x="13590" y="4644"/>
                      </a:cubicBezTo>
                      <a:cubicBezTo>
                        <a:pt x="14466" y="2961"/>
                        <a:pt x="15633" y="1839"/>
                        <a:pt x="16703" y="1558"/>
                      </a:cubicBezTo>
                      <a:cubicBezTo>
                        <a:pt x="16898" y="1558"/>
                        <a:pt x="17093" y="1558"/>
                        <a:pt x="17287" y="1558"/>
                      </a:cubicBezTo>
                      <a:cubicBezTo>
                        <a:pt x="19136" y="1558"/>
                        <a:pt x="20206" y="2961"/>
                        <a:pt x="20303" y="10254"/>
                      </a:cubicBezTo>
                      <a:cubicBezTo>
                        <a:pt x="20401" y="11937"/>
                        <a:pt x="20303" y="14462"/>
                        <a:pt x="19720" y="16706"/>
                      </a:cubicBezTo>
                      <a:close/>
                    </a:path>
                  </a:pathLst>
                </a:custGeom>
                <a:solidFill>
                  <a:srgbClr val="990000">
                    <a:lumMod val="20000"/>
                    <a:lumOff val="8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103" name="Shape 10878">
                  <a:extLst>
                    <a:ext uri="{FF2B5EF4-FFF2-40B4-BE49-F238E27FC236}">
                      <a16:creationId xmlns:a16="http://schemas.microsoft.com/office/drawing/2014/main" id="{B4F2198F-B464-49BF-8A46-CAB214EF0F23}"/>
                    </a:ext>
                  </a:extLst>
                </p:cNvPr>
                <p:cNvSpPr/>
                <p:nvPr/>
              </p:nvSpPr>
              <p:spPr>
                <a:xfrm>
                  <a:off x="7247886" y="2970892"/>
                  <a:ext cx="102025" cy="3751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228" extrusionOk="0">
                      <a:moveTo>
                        <a:pt x="20724" y="0"/>
                      </a:moveTo>
                      <a:cubicBezTo>
                        <a:pt x="20335" y="2187"/>
                        <a:pt x="19946" y="4375"/>
                        <a:pt x="19265" y="6562"/>
                      </a:cubicBezTo>
                      <a:cubicBezTo>
                        <a:pt x="17708" y="12304"/>
                        <a:pt x="15081" y="16678"/>
                        <a:pt x="12649" y="18046"/>
                      </a:cubicBezTo>
                      <a:cubicBezTo>
                        <a:pt x="10119" y="19686"/>
                        <a:pt x="7492" y="18592"/>
                        <a:pt x="5157" y="16132"/>
                      </a:cubicBezTo>
                      <a:cubicBezTo>
                        <a:pt x="3697" y="14491"/>
                        <a:pt x="2335" y="9570"/>
                        <a:pt x="1362" y="4922"/>
                      </a:cubicBezTo>
                      <a:cubicBezTo>
                        <a:pt x="1070" y="3281"/>
                        <a:pt x="876" y="1641"/>
                        <a:pt x="584" y="0"/>
                      </a:cubicBezTo>
                      <a:cubicBezTo>
                        <a:pt x="584" y="273"/>
                        <a:pt x="486" y="273"/>
                        <a:pt x="389" y="547"/>
                      </a:cubicBezTo>
                      <a:cubicBezTo>
                        <a:pt x="292" y="547"/>
                        <a:pt x="97" y="820"/>
                        <a:pt x="0" y="1094"/>
                      </a:cubicBezTo>
                      <a:cubicBezTo>
                        <a:pt x="486" y="7656"/>
                        <a:pt x="1654" y="12851"/>
                        <a:pt x="3892" y="16678"/>
                      </a:cubicBezTo>
                      <a:cubicBezTo>
                        <a:pt x="6616" y="21053"/>
                        <a:pt x="8757" y="21600"/>
                        <a:pt x="11481" y="21053"/>
                      </a:cubicBezTo>
                      <a:cubicBezTo>
                        <a:pt x="15957" y="20233"/>
                        <a:pt x="19654" y="11484"/>
                        <a:pt x="21600" y="1367"/>
                      </a:cubicBezTo>
                      <a:cubicBezTo>
                        <a:pt x="21308" y="1094"/>
                        <a:pt x="20919" y="820"/>
                        <a:pt x="20724" y="0"/>
                      </a:cubicBezTo>
                      <a:close/>
                    </a:path>
                  </a:pathLst>
                </a:custGeom>
                <a:solidFill>
                  <a:srgbClr val="990000">
                    <a:lumMod val="20000"/>
                    <a:lumOff val="8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104" name="Shape 10879">
                  <a:extLst>
                    <a:ext uri="{FF2B5EF4-FFF2-40B4-BE49-F238E27FC236}">
                      <a16:creationId xmlns:a16="http://schemas.microsoft.com/office/drawing/2014/main" id="{E78A84C0-57DB-401F-A289-14AFE1AD90AF}"/>
                    </a:ext>
                  </a:extLst>
                </p:cNvPr>
                <p:cNvSpPr/>
                <p:nvPr/>
              </p:nvSpPr>
              <p:spPr>
                <a:xfrm>
                  <a:off x="7206121" y="2787357"/>
                  <a:ext cx="178227" cy="28053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674" h="20930" extrusionOk="0">
                      <a:moveTo>
                        <a:pt x="19268" y="7799"/>
                      </a:moveTo>
                      <a:cubicBezTo>
                        <a:pt x="19268" y="7476"/>
                        <a:pt x="19855" y="0"/>
                        <a:pt x="10042" y="0"/>
                      </a:cubicBezTo>
                      <a:cubicBezTo>
                        <a:pt x="1242" y="0"/>
                        <a:pt x="1402" y="7476"/>
                        <a:pt x="1402" y="7799"/>
                      </a:cubicBezTo>
                      <a:cubicBezTo>
                        <a:pt x="815" y="11213"/>
                        <a:pt x="-465" y="15634"/>
                        <a:pt x="175" y="17754"/>
                      </a:cubicBezTo>
                      <a:cubicBezTo>
                        <a:pt x="1402" y="21600"/>
                        <a:pt x="5882" y="20378"/>
                        <a:pt x="8335" y="20917"/>
                      </a:cubicBezTo>
                      <a:cubicBezTo>
                        <a:pt x="9455" y="21133"/>
                        <a:pt x="8015" y="18617"/>
                        <a:pt x="7428" y="17251"/>
                      </a:cubicBezTo>
                      <a:cubicBezTo>
                        <a:pt x="4655" y="10423"/>
                        <a:pt x="1508" y="8446"/>
                        <a:pt x="6628" y="5571"/>
                      </a:cubicBezTo>
                      <a:cubicBezTo>
                        <a:pt x="7535" y="5068"/>
                        <a:pt x="9028" y="4277"/>
                        <a:pt x="10362" y="4061"/>
                      </a:cubicBezTo>
                      <a:cubicBezTo>
                        <a:pt x="11695" y="4277"/>
                        <a:pt x="13188" y="5068"/>
                        <a:pt x="14095" y="5571"/>
                      </a:cubicBezTo>
                      <a:cubicBezTo>
                        <a:pt x="19215" y="8446"/>
                        <a:pt x="16068" y="10423"/>
                        <a:pt x="13295" y="17251"/>
                      </a:cubicBezTo>
                      <a:cubicBezTo>
                        <a:pt x="12708" y="18617"/>
                        <a:pt x="11268" y="21133"/>
                        <a:pt x="12388" y="20917"/>
                      </a:cubicBezTo>
                      <a:cubicBezTo>
                        <a:pt x="14842" y="20378"/>
                        <a:pt x="19268" y="21312"/>
                        <a:pt x="20495" y="17467"/>
                      </a:cubicBezTo>
                      <a:cubicBezTo>
                        <a:pt x="21135" y="15346"/>
                        <a:pt x="19908" y="11213"/>
                        <a:pt x="19268" y="7799"/>
                      </a:cubicBezTo>
                      <a:close/>
                    </a:path>
                  </a:pathLst>
                </a:custGeom>
                <a:solidFill>
                  <a:srgbClr val="990000">
                    <a:lumMod val="20000"/>
                    <a:lumOff val="80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</p:grpSp>
        </p:grpSp>
        <p:grpSp>
          <p:nvGrpSpPr>
            <p:cNvPr id="73" name="组合 72">
              <a:extLst>
                <a:ext uri="{FF2B5EF4-FFF2-40B4-BE49-F238E27FC236}">
                  <a16:creationId xmlns:a16="http://schemas.microsoft.com/office/drawing/2014/main" id="{5DB48EA1-645A-4BC5-A4B2-F84D6443B6CB}"/>
                </a:ext>
              </a:extLst>
            </p:cNvPr>
            <p:cNvGrpSpPr/>
            <p:nvPr/>
          </p:nvGrpSpPr>
          <p:grpSpPr>
            <a:xfrm>
              <a:off x="2522075" y="3136697"/>
              <a:ext cx="816967" cy="867950"/>
              <a:chOff x="2711047" y="3066763"/>
              <a:chExt cx="816967" cy="867950"/>
            </a:xfrm>
          </p:grpSpPr>
          <p:pic>
            <p:nvPicPr>
              <p:cNvPr id="88" name="图片 87">
                <a:extLst>
                  <a:ext uri="{FF2B5EF4-FFF2-40B4-BE49-F238E27FC236}">
                    <a16:creationId xmlns:a16="http://schemas.microsoft.com/office/drawing/2014/main" id="{308A3CFB-1679-4BA3-86D9-8D301C4721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lum bright="70000" contrast="-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728985" y="3066763"/>
                <a:ext cx="271617" cy="446229"/>
              </a:xfrm>
              <a:prstGeom prst="rect">
                <a:avLst/>
              </a:prstGeom>
            </p:spPr>
          </p:pic>
          <p:pic>
            <p:nvPicPr>
              <p:cNvPr id="89" name="图片 88">
                <a:extLst>
                  <a:ext uri="{FF2B5EF4-FFF2-40B4-BE49-F238E27FC236}">
                    <a16:creationId xmlns:a16="http://schemas.microsoft.com/office/drawing/2014/main" id="{B8A502B8-3D81-4349-A524-1F61783934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prstClr val="black"/>
                  <a:srgbClr val="990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8366" y="3116177"/>
                <a:ext cx="383095" cy="383095"/>
              </a:xfrm>
              <a:prstGeom prst="rect">
                <a:avLst/>
              </a:prstGeom>
            </p:spPr>
          </p:pic>
          <p:pic>
            <p:nvPicPr>
              <p:cNvPr id="90" name="图片 89">
                <a:extLst>
                  <a:ext uri="{FF2B5EF4-FFF2-40B4-BE49-F238E27FC236}">
                    <a16:creationId xmlns:a16="http://schemas.microsoft.com/office/drawing/2014/main" id="{26A4DFA2-01CA-4137-B873-A61BFBEE8E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duotone>
                  <a:prstClr val="black"/>
                  <a:srgbClr val="990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71811" y="3615941"/>
                <a:ext cx="456203" cy="287825"/>
              </a:xfrm>
              <a:prstGeom prst="rect">
                <a:avLst/>
              </a:prstGeom>
            </p:spPr>
          </p:pic>
          <p:sp>
            <p:nvSpPr>
              <p:cNvPr id="91" name="Freeform 71">
                <a:extLst>
                  <a:ext uri="{FF2B5EF4-FFF2-40B4-BE49-F238E27FC236}">
                    <a16:creationId xmlns:a16="http://schemas.microsoft.com/office/drawing/2014/main" id="{A29A77A3-80F0-4E12-B39B-82860DB44B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11047" y="3598713"/>
                <a:ext cx="307491" cy="336000"/>
              </a:xfrm>
              <a:custGeom>
                <a:avLst/>
                <a:gdLst>
                  <a:gd name="T0" fmla="*/ 2147483646 w 256"/>
                  <a:gd name="T1" fmla="*/ 2147483646 h 232"/>
                  <a:gd name="T2" fmla="*/ 2147483646 w 256"/>
                  <a:gd name="T3" fmla="*/ 2147483646 h 232"/>
                  <a:gd name="T4" fmla="*/ 2147483646 w 256"/>
                  <a:gd name="T5" fmla="*/ 2147483646 h 232"/>
                  <a:gd name="T6" fmla="*/ 2147483646 w 256"/>
                  <a:gd name="T7" fmla="*/ 2147483646 h 232"/>
                  <a:gd name="T8" fmla="*/ 2147483646 w 256"/>
                  <a:gd name="T9" fmla="*/ 2147483646 h 232"/>
                  <a:gd name="T10" fmla="*/ 2147483646 w 256"/>
                  <a:gd name="T11" fmla="*/ 2147483646 h 232"/>
                  <a:gd name="T12" fmla="*/ 2147483646 w 256"/>
                  <a:gd name="T13" fmla="*/ 2147483646 h 232"/>
                  <a:gd name="T14" fmla="*/ 2147483646 w 256"/>
                  <a:gd name="T15" fmla="*/ 2147483646 h 232"/>
                  <a:gd name="T16" fmla="*/ 0 w 256"/>
                  <a:gd name="T17" fmla="*/ 2147483646 h 232"/>
                  <a:gd name="T18" fmla="*/ 2147483646 w 256"/>
                  <a:gd name="T19" fmla="*/ 2147483646 h 232"/>
                  <a:gd name="T20" fmla="*/ 2147483646 w 256"/>
                  <a:gd name="T21" fmla="*/ 2147483646 h 232"/>
                  <a:gd name="T22" fmla="*/ 2147483646 w 256"/>
                  <a:gd name="T23" fmla="*/ 2147483646 h 232"/>
                  <a:gd name="T24" fmla="*/ 2147483646 w 256"/>
                  <a:gd name="T25" fmla="*/ 2147483646 h 232"/>
                  <a:gd name="T26" fmla="*/ 2147483646 w 256"/>
                  <a:gd name="T27" fmla="*/ 2147483646 h 232"/>
                  <a:gd name="T28" fmla="*/ 2147483646 w 256"/>
                  <a:gd name="T29" fmla="*/ 2147483646 h 232"/>
                  <a:gd name="T30" fmla="*/ 2147483646 w 256"/>
                  <a:gd name="T31" fmla="*/ 0 h 232"/>
                  <a:gd name="T32" fmla="*/ 2147483646 w 256"/>
                  <a:gd name="T33" fmla="*/ 0 h 232"/>
                  <a:gd name="T34" fmla="*/ 2147483646 w 256"/>
                  <a:gd name="T35" fmla="*/ 2147483646 h 232"/>
                  <a:gd name="T36" fmla="*/ 2147483646 w 256"/>
                  <a:gd name="T37" fmla="*/ 2147483646 h 232"/>
                  <a:gd name="T38" fmla="*/ 2147483646 w 256"/>
                  <a:gd name="T39" fmla="*/ 2147483646 h 232"/>
                  <a:gd name="T40" fmla="*/ 2147483646 w 256"/>
                  <a:gd name="T41" fmla="*/ 2147483646 h 232"/>
                  <a:gd name="T42" fmla="*/ 2147483646 w 256"/>
                  <a:gd name="T43" fmla="*/ 2147483646 h 232"/>
                  <a:gd name="T44" fmla="*/ 2147483646 w 256"/>
                  <a:gd name="T45" fmla="*/ 2147483646 h 232"/>
                  <a:gd name="T46" fmla="*/ 2147483646 w 256"/>
                  <a:gd name="T47" fmla="*/ 2147483646 h 232"/>
                  <a:gd name="T48" fmla="*/ 2147483646 w 256"/>
                  <a:gd name="T49" fmla="*/ 2147483646 h 232"/>
                  <a:gd name="T50" fmla="*/ 2147483646 w 256"/>
                  <a:gd name="T51" fmla="*/ 2147483646 h 232"/>
                  <a:gd name="T52" fmla="*/ 2147483646 w 256"/>
                  <a:gd name="T53" fmla="*/ 2147483646 h 232"/>
                  <a:gd name="T54" fmla="*/ 2147483646 w 256"/>
                  <a:gd name="T55" fmla="*/ 2147483646 h 232"/>
                  <a:gd name="T56" fmla="*/ 2147483646 w 256"/>
                  <a:gd name="T57" fmla="*/ 2147483646 h 232"/>
                  <a:gd name="T58" fmla="*/ 2147483646 w 256"/>
                  <a:gd name="T59" fmla="*/ 2147483646 h 232"/>
                  <a:gd name="T60" fmla="*/ 2147483646 w 256"/>
                  <a:gd name="T61" fmla="*/ 2147483646 h 232"/>
                  <a:gd name="T62" fmla="*/ 2147483646 w 256"/>
                  <a:gd name="T63" fmla="*/ 2147483646 h 232"/>
                  <a:gd name="T64" fmla="*/ 2147483646 w 256"/>
                  <a:gd name="T65" fmla="*/ 2147483646 h 232"/>
                  <a:gd name="T66" fmla="*/ 2147483646 w 256"/>
                  <a:gd name="T67" fmla="*/ 2147483646 h 232"/>
                  <a:gd name="T68" fmla="*/ 2147483646 w 256"/>
                  <a:gd name="T69" fmla="*/ 2147483646 h 232"/>
                  <a:gd name="T70" fmla="*/ 2147483646 w 256"/>
                  <a:gd name="T71" fmla="*/ 2147483646 h 232"/>
                  <a:gd name="T72" fmla="*/ 2147483646 w 256"/>
                  <a:gd name="T73" fmla="*/ 2147483646 h 232"/>
                  <a:gd name="T74" fmla="*/ 2147483646 w 256"/>
                  <a:gd name="T75" fmla="*/ 2147483646 h 232"/>
                  <a:gd name="T76" fmla="*/ 2147483646 w 256"/>
                  <a:gd name="T77" fmla="*/ 2147483646 h 232"/>
                  <a:gd name="T78" fmla="*/ 2147483646 w 256"/>
                  <a:gd name="T79" fmla="*/ 2147483646 h 232"/>
                  <a:gd name="T80" fmla="*/ 2147483646 w 256"/>
                  <a:gd name="T81" fmla="*/ 2147483646 h 232"/>
                  <a:gd name="T82" fmla="*/ 2147483646 w 256"/>
                  <a:gd name="T83" fmla="*/ 2147483646 h 232"/>
                  <a:gd name="T84" fmla="*/ 2147483646 w 256"/>
                  <a:gd name="T85" fmla="*/ 2147483646 h 232"/>
                  <a:gd name="T86" fmla="*/ 2147483646 w 256"/>
                  <a:gd name="T87" fmla="*/ 2147483646 h 23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256" h="232">
                    <a:moveTo>
                      <a:pt x="256" y="96"/>
                    </a:moveTo>
                    <a:cubicBezTo>
                      <a:pt x="256" y="114"/>
                      <a:pt x="242" y="128"/>
                      <a:pt x="224" y="128"/>
                    </a:cubicBezTo>
                    <a:cubicBezTo>
                      <a:pt x="206" y="128"/>
                      <a:pt x="192" y="114"/>
                      <a:pt x="192" y="96"/>
                    </a:cubicBezTo>
                    <a:cubicBezTo>
                      <a:pt x="192" y="114"/>
                      <a:pt x="178" y="128"/>
                      <a:pt x="160" y="128"/>
                    </a:cubicBezTo>
                    <a:cubicBezTo>
                      <a:pt x="142" y="128"/>
                      <a:pt x="128" y="114"/>
                      <a:pt x="128" y="96"/>
                    </a:cubicBezTo>
                    <a:cubicBezTo>
                      <a:pt x="128" y="114"/>
                      <a:pt x="114" y="128"/>
                      <a:pt x="96" y="128"/>
                    </a:cubicBezTo>
                    <a:cubicBezTo>
                      <a:pt x="78" y="128"/>
                      <a:pt x="64" y="114"/>
                      <a:pt x="64" y="96"/>
                    </a:cubicBezTo>
                    <a:cubicBezTo>
                      <a:pt x="64" y="114"/>
                      <a:pt x="50" y="128"/>
                      <a:pt x="32" y="128"/>
                    </a:cubicBezTo>
                    <a:cubicBezTo>
                      <a:pt x="14" y="128"/>
                      <a:pt x="0" y="114"/>
                      <a:pt x="0" y="9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34" y="36"/>
                      <a:pt x="234" y="36"/>
                      <a:pt x="234" y="36"/>
                    </a:cubicBezTo>
                    <a:lnTo>
                      <a:pt x="256" y="96"/>
                    </a:lnTo>
                    <a:close/>
                    <a:moveTo>
                      <a:pt x="216" y="24"/>
                    </a:moveTo>
                    <a:cubicBezTo>
                      <a:pt x="40" y="24"/>
                      <a:pt x="40" y="24"/>
                      <a:pt x="40" y="24"/>
                    </a:cubicBezTo>
                    <a:cubicBezTo>
                      <a:pt x="33" y="24"/>
                      <a:pt x="28" y="19"/>
                      <a:pt x="28" y="12"/>
                    </a:cubicBezTo>
                    <a:cubicBezTo>
                      <a:pt x="28" y="5"/>
                      <a:pt x="33" y="0"/>
                      <a:pt x="40" y="0"/>
                    </a:cubicBezTo>
                    <a:cubicBezTo>
                      <a:pt x="216" y="0"/>
                      <a:pt x="216" y="0"/>
                      <a:pt x="216" y="0"/>
                    </a:cubicBezTo>
                    <a:cubicBezTo>
                      <a:pt x="223" y="0"/>
                      <a:pt x="228" y="5"/>
                      <a:pt x="228" y="12"/>
                    </a:cubicBezTo>
                    <a:cubicBezTo>
                      <a:pt x="228" y="19"/>
                      <a:pt x="223" y="24"/>
                      <a:pt x="216" y="24"/>
                    </a:cubicBezTo>
                    <a:moveTo>
                      <a:pt x="36" y="140"/>
                    </a:moveTo>
                    <a:cubicBezTo>
                      <a:pt x="36" y="140"/>
                      <a:pt x="36" y="140"/>
                      <a:pt x="36" y="140"/>
                    </a:cubicBezTo>
                    <a:cubicBezTo>
                      <a:pt x="37" y="140"/>
                      <a:pt x="38" y="140"/>
                      <a:pt x="39" y="139"/>
                    </a:cubicBezTo>
                    <a:cubicBezTo>
                      <a:pt x="40" y="139"/>
                      <a:pt x="40" y="139"/>
                      <a:pt x="40" y="139"/>
                    </a:cubicBezTo>
                    <a:cubicBezTo>
                      <a:pt x="41" y="139"/>
                      <a:pt x="41" y="139"/>
                      <a:pt x="42" y="139"/>
                    </a:cubicBezTo>
                    <a:cubicBezTo>
                      <a:pt x="44" y="138"/>
                      <a:pt x="46" y="138"/>
                      <a:pt x="48" y="137"/>
                    </a:cubicBezTo>
                    <a:cubicBezTo>
                      <a:pt x="48" y="137"/>
                      <a:pt x="48" y="137"/>
                      <a:pt x="48" y="137"/>
                    </a:cubicBezTo>
                    <a:cubicBezTo>
                      <a:pt x="48" y="196"/>
                      <a:pt x="48" y="196"/>
                      <a:pt x="48" y="196"/>
                    </a:cubicBezTo>
                    <a:cubicBezTo>
                      <a:pt x="208" y="196"/>
                      <a:pt x="208" y="196"/>
                      <a:pt x="208" y="196"/>
                    </a:cubicBezTo>
                    <a:cubicBezTo>
                      <a:pt x="208" y="137"/>
                      <a:pt x="208" y="137"/>
                      <a:pt x="208" y="137"/>
                    </a:cubicBezTo>
                    <a:cubicBezTo>
                      <a:pt x="208" y="137"/>
                      <a:pt x="208" y="137"/>
                      <a:pt x="208" y="137"/>
                    </a:cubicBezTo>
                    <a:cubicBezTo>
                      <a:pt x="210" y="138"/>
                      <a:pt x="212" y="138"/>
                      <a:pt x="214" y="139"/>
                    </a:cubicBezTo>
                    <a:cubicBezTo>
                      <a:pt x="215" y="139"/>
                      <a:pt x="215" y="139"/>
                      <a:pt x="216" y="139"/>
                    </a:cubicBezTo>
                    <a:cubicBezTo>
                      <a:pt x="216" y="139"/>
                      <a:pt x="216" y="139"/>
                      <a:pt x="217" y="139"/>
                    </a:cubicBezTo>
                    <a:cubicBezTo>
                      <a:pt x="218" y="140"/>
                      <a:pt x="219" y="140"/>
                      <a:pt x="220" y="140"/>
                    </a:cubicBezTo>
                    <a:cubicBezTo>
                      <a:pt x="220" y="140"/>
                      <a:pt x="220" y="140"/>
                      <a:pt x="220" y="140"/>
                    </a:cubicBezTo>
                    <a:cubicBezTo>
                      <a:pt x="221" y="140"/>
                      <a:pt x="223" y="140"/>
                      <a:pt x="224" y="140"/>
                    </a:cubicBezTo>
                    <a:cubicBezTo>
                      <a:pt x="227" y="140"/>
                      <a:pt x="229" y="140"/>
                      <a:pt x="232" y="139"/>
                    </a:cubicBezTo>
                    <a:cubicBezTo>
                      <a:pt x="232" y="220"/>
                      <a:pt x="232" y="220"/>
                      <a:pt x="232" y="220"/>
                    </a:cubicBezTo>
                    <a:cubicBezTo>
                      <a:pt x="232" y="227"/>
                      <a:pt x="227" y="232"/>
                      <a:pt x="220" y="232"/>
                    </a:cubicBezTo>
                    <a:cubicBezTo>
                      <a:pt x="36" y="232"/>
                      <a:pt x="36" y="232"/>
                      <a:pt x="36" y="232"/>
                    </a:cubicBezTo>
                    <a:cubicBezTo>
                      <a:pt x="29" y="232"/>
                      <a:pt x="24" y="227"/>
                      <a:pt x="24" y="220"/>
                    </a:cubicBezTo>
                    <a:cubicBezTo>
                      <a:pt x="24" y="139"/>
                      <a:pt x="24" y="139"/>
                      <a:pt x="24" y="139"/>
                    </a:cubicBezTo>
                    <a:cubicBezTo>
                      <a:pt x="27" y="140"/>
                      <a:pt x="29" y="140"/>
                      <a:pt x="32" y="140"/>
                    </a:cubicBezTo>
                    <a:cubicBezTo>
                      <a:pt x="33" y="140"/>
                      <a:pt x="35" y="140"/>
                      <a:pt x="36" y="140"/>
                    </a:cubicBezTo>
                  </a:path>
                </a:pathLst>
              </a:custGeom>
              <a:solidFill>
                <a:srgbClr val="FFB8B8"/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83573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CN" altLang="en-US" sz="4300" kern="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74" name="组合 73">
              <a:extLst>
                <a:ext uri="{FF2B5EF4-FFF2-40B4-BE49-F238E27FC236}">
                  <a16:creationId xmlns:a16="http://schemas.microsoft.com/office/drawing/2014/main" id="{629646BA-5A67-4CD2-BCA3-3755A7222D6C}"/>
                </a:ext>
              </a:extLst>
            </p:cNvPr>
            <p:cNvGrpSpPr/>
            <p:nvPr/>
          </p:nvGrpSpPr>
          <p:grpSpPr>
            <a:xfrm>
              <a:off x="2522075" y="1215741"/>
              <a:ext cx="906759" cy="1291403"/>
              <a:chOff x="1009177" y="2733435"/>
              <a:chExt cx="906759" cy="1291403"/>
            </a:xfrm>
          </p:grpSpPr>
          <p:sp>
            <p:nvSpPr>
              <p:cNvPr id="75" name="Shape 28486">
                <a:extLst>
                  <a:ext uri="{FF2B5EF4-FFF2-40B4-BE49-F238E27FC236}">
                    <a16:creationId xmlns:a16="http://schemas.microsoft.com/office/drawing/2014/main" id="{81F55E0C-6A4F-47C5-85A5-39EE289A2DF8}"/>
                  </a:ext>
                </a:extLst>
              </p:cNvPr>
              <p:cNvSpPr/>
              <p:nvPr/>
            </p:nvSpPr>
            <p:spPr>
              <a:xfrm>
                <a:off x="1501996" y="2790946"/>
                <a:ext cx="413940" cy="34533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474" extrusionOk="0">
                    <a:moveTo>
                      <a:pt x="15930" y="16203"/>
                    </a:moveTo>
                    <a:cubicBezTo>
                      <a:pt x="15862" y="16513"/>
                      <a:pt x="15862" y="16823"/>
                      <a:pt x="15862" y="17133"/>
                    </a:cubicBezTo>
                    <a:cubicBezTo>
                      <a:pt x="15862" y="19510"/>
                      <a:pt x="17145" y="21474"/>
                      <a:pt x="18765" y="21474"/>
                    </a:cubicBezTo>
                    <a:cubicBezTo>
                      <a:pt x="20318" y="21474"/>
                      <a:pt x="21600" y="19510"/>
                      <a:pt x="21600" y="17133"/>
                    </a:cubicBezTo>
                    <a:cubicBezTo>
                      <a:pt x="21600" y="16823"/>
                      <a:pt x="21600" y="16513"/>
                      <a:pt x="21532" y="16203"/>
                    </a:cubicBezTo>
                    <a:cubicBezTo>
                      <a:pt x="20318" y="16203"/>
                      <a:pt x="20318" y="16203"/>
                      <a:pt x="20318" y="16203"/>
                    </a:cubicBezTo>
                    <a:cubicBezTo>
                      <a:pt x="20385" y="16513"/>
                      <a:pt x="20385" y="16823"/>
                      <a:pt x="20385" y="17133"/>
                    </a:cubicBezTo>
                    <a:cubicBezTo>
                      <a:pt x="20385" y="18477"/>
                      <a:pt x="19642" y="19614"/>
                      <a:pt x="18765" y="19614"/>
                    </a:cubicBezTo>
                    <a:cubicBezTo>
                      <a:pt x="17820" y="19614"/>
                      <a:pt x="17077" y="18477"/>
                      <a:pt x="17077" y="17133"/>
                    </a:cubicBezTo>
                    <a:cubicBezTo>
                      <a:pt x="17077" y="16823"/>
                      <a:pt x="17145" y="16513"/>
                      <a:pt x="17213" y="16203"/>
                    </a:cubicBezTo>
                    <a:lnTo>
                      <a:pt x="15930" y="16203"/>
                    </a:lnTo>
                    <a:close/>
                    <a:moveTo>
                      <a:pt x="14782" y="3181"/>
                    </a:moveTo>
                    <a:cubicBezTo>
                      <a:pt x="14513" y="1838"/>
                      <a:pt x="14513" y="1838"/>
                      <a:pt x="14513" y="1838"/>
                    </a:cubicBezTo>
                    <a:cubicBezTo>
                      <a:pt x="13230" y="1838"/>
                      <a:pt x="13230" y="1838"/>
                      <a:pt x="13230" y="1838"/>
                    </a:cubicBezTo>
                    <a:cubicBezTo>
                      <a:pt x="12960" y="1838"/>
                      <a:pt x="12825" y="1631"/>
                      <a:pt x="12825" y="1321"/>
                    </a:cubicBezTo>
                    <a:cubicBezTo>
                      <a:pt x="12825" y="1011"/>
                      <a:pt x="12960" y="701"/>
                      <a:pt x="13230" y="701"/>
                    </a:cubicBezTo>
                    <a:cubicBezTo>
                      <a:pt x="14242" y="701"/>
                      <a:pt x="14242" y="701"/>
                      <a:pt x="14242" y="701"/>
                    </a:cubicBezTo>
                    <a:cubicBezTo>
                      <a:pt x="14242" y="391"/>
                      <a:pt x="14377" y="184"/>
                      <a:pt x="14580" y="81"/>
                    </a:cubicBezTo>
                    <a:cubicBezTo>
                      <a:pt x="14782" y="-126"/>
                      <a:pt x="15120" y="81"/>
                      <a:pt x="15187" y="494"/>
                    </a:cubicBezTo>
                    <a:cubicBezTo>
                      <a:pt x="15728" y="2664"/>
                      <a:pt x="15728" y="2664"/>
                      <a:pt x="15728" y="2664"/>
                    </a:cubicBezTo>
                    <a:lnTo>
                      <a:pt x="14782" y="3181"/>
                    </a:lnTo>
                    <a:close/>
                    <a:moveTo>
                      <a:pt x="2092" y="17443"/>
                    </a:moveTo>
                    <a:cubicBezTo>
                      <a:pt x="2227" y="18684"/>
                      <a:pt x="2902" y="19614"/>
                      <a:pt x="3780" y="19614"/>
                    </a:cubicBezTo>
                    <a:cubicBezTo>
                      <a:pt x="4387" y="19614"/>
                      <a:pt x="4995" y="19097"/>
                      <a:pt x="5265" y="18167"/>
                    </a:cubicBezTo>
                    <a:cubicBezTo>
                      <a:pt x="5670" y="18270"/>
                      <a:pt x="6075" y="18270"/>
                      <a:pt x="6547" y="18374"/>
                    </a:cubicBezTo>
                    <a:cubicBezTo>
                      <a:pt x="6142" y="20130"/>
                      <a:pt x="5062" y="21474"/>
                      <a:pt x="3780" y="21474"/>
                    </a:cubicBezTo>
                    <a:cubicBezTo>
                      <a:pt x="2160" y="21474"/>
                      <a:pt x="877" y="19510"/>
                      <a:pt x="877" y="17133"/>
                    </a:cubicBezTo>
                    <a:cubicBezTo>
                      <a:pt x="877" y="17030"/>
                      <a:pt x="877" y="16927"/>
                      <a:pt x="877" y="16823"/>
                    </a:cubicBezTo>
                    <a:cubicBezTo>
                      <a:pt x="1215" y="17030"/>
                      <a:pt x="1620" y="17237"/>
                      <a:pt x="2092" y="17443"/>
                    </a:cubicBezTo>
                    <a:close/>
                    <a:moveTo>
                      <a:pt x="16200" y="3595"/>
                    </a:moveTo>
                    <a:cubicBezTo>
                      <a:pt x="17955" y="7108"/>
                      <a:pt x="18765" y="8245"/>
                      <a:pt x="17820" y="10312"/>
                    </a:cubicBezTo>
                    <a:cubicBezTo>
                      <a:pt x="17347" y="11346"/>
                      <a:pt x="16740" y="12689"/>
                      <a:pt x="16133" y="14136"/>
                    </a:cubicBezTo>
                    <a:cubicBezTo>
                      <a:pt x="15052" y="16720"/>
                      <a:pt x="13028" y="17237"/>
                      <a:pt x="10935" y="17237"/>
                    </a:cubicBezTo>
                    <a:cubicBezTo>
                      <a:pt x="7830" y="17237"/>
                      <a:pt x="7830" y="17237"/>
                      <a:pt x="7830" y="17237"/>
                    </a:cubicBezTo>
                    <a:cubicBezTo>
                      <a:pt x="2430" y="17237"/>
                      <a:pt x="0" y="14963"/>
                      <a:pt x="0" y="14963"/>
                    </a:cubicBezTo>
                    <a:cubicBezTo>
                      <a:pt x="202" y="10416"/>
                      <a:pt x="2362" y="7108"/>
                      <a:pt x="5805" y="7108"/>
                    </a:cubicBezTo>
                    <a:cubicBezTo>
                      <a:pt x="6277" y="7108"/>
                      <a:pt x="6277" y="7108"/>
                      <a:pt x="6277" y="7108"/>
                    </a:cubicBezTo>
                    <a:cubicBezTo>
                      <a:pt x="8303" y="7108"/>
                      <a:pt x="9787" y="8452"/>
                      <a:pt x="9787" y="8452"/>
                    </a:cubicBezTo>
                    <a:cubicBezTo>
                      <a:pt x="9248" y="14446"/>
                      <a:pt x="9248" y="14446"/>
                      <a:pt x="9248" y="14446"/>
                    </a:cubicBezTo>
                    <a:cubicBezTo>
                      <a:pt x="11543" y="14446"/>
                      <a:pt x="11543" y="14446"/>
                      <a:pt x="11543" y="14446"/>
                    </a:cubicBezTo>
                    <a:cubicBezTo>
                      <a:pt x="14580" y="14446"/>
                      <a:pt x="14445" y="11552"/>
                      <a:pt x="15052" y="4318"/>
                    </a:cubicBezTo>
                    <a:lnTo>
                      <a:pt x="16200" y="3595"/>
                    </a:lnTo>
                    <a:close/>
                  </a:path>
                </a:pathLst>
              </a:custGeom>
              <a:solidFill>
                <a:srgbClr val="FFB8B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defTabSz="1219080">
                  <a:defRPr/>
                </a:pPr>
                <a:endParaRPr sz="2100" kern="0">
                  <a:solidFill>
                    <a:srgbClr val="777777"/>
                  </a:solidFill>
                </a:endParaRPr>
              </a:p>
            </p:txBody>
          </p:sp>
          <p:grpSp>
            <p:nvGrpSpPr>
              <p:cNvPr id="76" name="组合 75">
                <a:extLst>
                  <a:ext uri="{FF2B5EF4-FFF2-40B4-BE49-F238E27FC236}">
                    <a16:creationId xmlns:a16="http://schemas.microsoft.com/office/drawing/2014/main" id="{5E7BE410-3F9B-4944-B195-8231F5A21F14}"/>
                  </a:ext>
                </a:extLst>
              </p:cNvPr>
              <p:cNvGrpSpPr/>
              <p:nvPr/>
            </p:nvGrpSpPr>
            <p:grpSpPr>
              <a:xfrm>
                <a:off x="1072458" y="2733435"/>
                <a:ext cx="200368" cy="434129"/>
                <a:chOff x="3509168" y="1121603"/>
                <a:chExt cx="228689" cy="495492"/>
              </a:xfrm>
              <a:solidFill>
                <a:srgbClr val="FFB8B8"/>
              </a:solidFill>
            </p:grpSpPr>
            <p:sp>
              <p:nvSpPr>
                <p:cNvPr id="86" name="Shape 9842">
                  <a:extLst>
                    <a:ext uri="{FF2B5EF4-FFF2-40B4-BE49-F238E27FC236}">
                      <a16:creationId xmlns:a16="http://schemas.microsoft.com/office/drawing/2014/main" id="{37E0670E-86F3-4385-B945-D634DF224196}"/>
                    </a:ext>
                  </a:extLst>
                </p:cNvPr>
                <p:cNvSpPr/>
                <p:nvPr/>
              </p:nvSpPr>
              <p:spPr>
                <a:xfrm>
                  <a:off x="3509168" y="1343485"/>
                  <a:ext cx="228689" cy="27361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0687" y="8386"/>
                      </a:moveTo>
                      <a:cubicBezTo>
                        <a:pt x="20079" y="5336"/>
                        <a:pt x="18558" y="2287"/>
                        <a:pt x="17949" y="0"/>
                      </a:cubicBezTo>
                      <a:cubicBezTo>
                        <a:pt x="17949" y="0"/>
                        <a:pt x="17949" y="0"/>
                        <a:pt x="17949" y="254"/>
                      </a:cubicBezTo>
                      <a:cubicBezTo>
                        <a:pt x="16428" y="762"/>
                        <a:pt x="14603" y="1016"/>
                        <a:pt x="12777" y="1271"/>
                      </a:cubicBezTo>
                      <a:cubicBezTo>
                        <a:pt x="12777" y="2033"/>
                        <a:pt x="12777" y="2033"/>
                        <a:pt x="12777" y="2033"/>
                      </a:cubicBezTo>
                      <a:cubicBezTo>
                        <a:pt x="8823" y="2033"/>
                        <a:pt x="8823" y="2033"/>
                        <a:pt x="8823" y="2033"/>
                      </a:cubicBezTo>
                      <a:cubicBezTo>
                        <a:pt x="8823" y="1271"/>
                        <a:pt x="8823" y="1271"/>
                        <a:pt x="8823" y="1271"/>
                      </a:cubicBezTo>
                      <a:cubicBezTo>
                        <a:pt x="6997" y="1016"/>
                        <a:pt x="5172" y="762"/>
                        <a:pt x="3346" y="254"/>
                      </a:cubicBezTo>
                      <a:cubicBezTo>
                        <a:pt x="3346" y="0"/>
                        <a:pt x="3346" y="0"/>
                        <a:pt x="3346" y="0"/>
                      </a:cubicBezTo>
                      <a:cubicBezTo>
                        <a:pt x="2738" y="2287"/>
                        <a:pt x="1521" y="5336"/>
                        <a:pt x="608" y="8386"/>
                      </a:cubicBezTo>
                      <a:cubicBezTo>
                        <a:pt x="0" y="11435"/>
                        <a:pt x="0" y="20075"/>
                        <a:pt x="0" y="20838"/>
                      </a:cubicBezTo>
                      <a:cubicBezTo>
                        <a:pt x="0" y="21346"/>
                        <a:pt x="6997" y="21600"/>
                        <a:pt x="10648" y="21600"/>
                      </a:cubicBezTo>
                      <a:cubicBezTo>
                        <a:pt x="14603" y="21600"/>
                        <a:pt x="21600" y="21346"/>
                        <a:pt x="21600" y="20838"/>
                      </a:cubicBezTo>
                      <a:cubicBezTo>
                        <a:pt x="21600" y="20075"/>
                        <a:pt x="21600" y="11435"/>
                        <a:pt x="20687" y="8386"/>
                      </a:cubicBezTo>
                      <a:close/>
                    </a:path>
                  </a:pathLst>
                </a:custGeom>
                <a:grpFill/>
                <a:ln w="12700">
                  <a:miter lim="400000"/>
                </a:ln>
              </p:spPr>
              <p:txBody>
                <a:bodyPr lIns="0" tIns="0" rIns="0" bIns="0"/>
                <a:lstStyle/>
                <a:p>
                  <a:pPr defTabSz="1219080">
                    <a:defRPr/>
                  </a:pPr>
                  <a:endParaRPr sz="21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87" name="Shape 9843">
                  <a:extLst>
                    <a:ext uri="{FF2B5EF4-FFF2-40B4-BE49-F238E27FC236}">
                      <a16:creationId xmlns:a16="http://schemas.microsoft.com/office/drawing/2014/main" id="{1C9EF3EB-7643-425F-A598-8F7524A10549}"/>
                    </a:ext>
                  </a:extLst>
                </p:cNvPr>
                <p:cNvSpPr/>
                <p:nvPr/>
              </p:nvSpPr>
              <p:spPr>
                <a:xfrm>
                  <a:off x="3525120" y="1121603"/>
                  <a:ext cx="195913" cy="2218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588" h="21600" extrusionOk="0">
                      <a:moveTo>
                        <a:pt x="337" y="10957"/>
                      </a:moveTo>
                      <a:cubicBezTo>
                        <a:pt x="337" y="10957"/>
                        <a:pt x="-675" y="13148"/>
                        <a:pt x="1350" y="14713"/>
                      </a:cubicBezTo>
                      <a:cubicBezTo>
                        <a:pt x="3375" y="16278"/>
                        <a:pt x="3037" y="18157"/>
                        <a:pt x="2362" y="20348"/>
                      </a:cubicBezTo>
                      <a:cubicBezTo>
                        <a:pt x="2362" y="20348"/>
                        <a:pt x="2362" y="20348"/>
                        <a:pt x="2362" y="20348"/>
                      </a:cubicBezTo>
                      <a:cubicBezTo>
                        <a:pt x="4387" y="20974"/>
                        <a:pt x="6075" y="21287"/>
                        <a:pt x="8100" y="21600"/>
                      </a:cubicBezTo>
                      <a:cubicBezTo>
                        <a:pt x="8100" y="20035"/>
                        <a:pt x="8100" y="20035"/>
                        <a:pt x="8100" y="20035"/>
                      </a:cubicBezTo>
                      <a:cubicBezTo>
                        <a:pt x="12487" y="20035"/>
                        <a:pt x="12487" y="20035"/>
                        <a:pt x="12487" y="20035"/>
                      </a:cubicBezTo>
                      <a:cubicBezTo>
                        <a:pt x="12487" y="21600"/>
                        <a:pt x="12487" y="21600"/>
                        <a:pt x="12487" y="21600"/>
                      </a:cubicBezTo>
                      <a:cubicBezTo>
                        <a:pt x="14175" y="21287"/>
                        <a:pt x="16200" y="20974"/>
                        <a:pt x="17887" y="20348"/>
                      </a:cubicBezTo>
                      <a:cubicBezTo>
                        <a:pt x="17887" y="20348"/>
                        <a:pt x="17887" y="20348"/>
                        <a:pt x="17887" y="20348"/>
                      </a:cubicBezTo>
                      <a:cubicBezTo>
                        <a:pt x="17213" y="18157"/>
                        <a:pt x="16875" y="16278"/>
                        <a:pt x="18900" y="14713"/>
                      </a:cubicBezTo>
                      <a:cubicBezTo>
                        <a:pt x="20925" y="13148"/>
                        <a:pt x="20250" y="10957"/>
                        <a:pt x="20250" y="10957"/>
                      </a:cubicBezTo>
                      <a:cubicBezTo>
                        <a:pt x="18563" y="6887"/>
                        <a:pt x="18563" y="6887"/>
                        <a:pt x="18563" y="6887"/>
                      </a:cubicBezTo>
                      <a:cubicBezTo>
                        <a:pt x="20588" y="626"/>
                        <a:pt x="20588" y="626"/>
                        <a:pt x="20588" y="626"/>
                      </a:cubicBezTo>
                      <a:cubicBezTo>
                        <a:pt x="17887" y="0"/>
                        <a:pt x="17887" y="0"/>
                        <a:pt x="17887" y="0"/>
                      </a:cubicBezTo>
                      <a:cubicBezTo>
                        <a:pt x="17887" y="0"/>
                        <a:pt x="16538" y="5009"/>
                        <a:pt x="15188" y="7200"/>
                      </a:cubicBezTo>
                      <a:cubicBezTo>
                        <a:pt x="14175" y="8765"/>
                        <a:pt x="11813" y="9704"/>
                        <a:pt x="10125" y="10643"/>
                      </a:cubicBezTo>
                      <a:cubicBezTo>
                        <a:pt x="8437" y="9704"/>
                        <a:pt x="6412" y="8765"/>
                        <a:pt x="5400" y="7200"/>
                      </a:cubicBezTo>
                      <a:cubicBezTo>
                        <a:pt x="3712" y="5009"/>
                        <a:pt x="2362" y="0"/>
                        <a:pt x="2362" y="0"/>
                      </a:cubicBezTo>
                      <a:cubicBezTo>
                        <a:pt x="0" y="626"/>
                        <a:pt x="0" y="626"/>
                        <a:pt x="0" y="626"/>
                      </a:cubicBezTo>
                      <a:cubicBezTo>
                        <a:pt x="2025" y="6887"/>
                        <a:pt x="2025" y="6887"/>
                        <a:pt x="2025" y="6887"/>
                      </a:cubicBezTo>
                      <a:lnTo>
                        <a:pt x="337" y="10957"/>
                      </a:lnTo>
                      <a:close/>
                    </a:path>
                  </a:pathLst>
                </a:custGeom>
                <a:grpFill/>
                <a:ln w="12700">
                  <a:miter lim="400000"/>
                </a:ln>
              </p:spPr>
              <p:txBody>
                <a:bodyPr lIns="0" tIns="0" rIns="0" bIns="0"/>
                <a:lstStyle/>
                <a:p>
                  <a:pPr defTabSz="1219080">
                    <a:defRPr/>
                  </a:pPr>
                  <a:endParaRPr sz="2100" kern="0">
                    <a:solidFill>
                      <a:srgbClr val="777777"/>
                    </a:solidFill>
                  </a:endParaRPr>
                </a:p>
              </p:txBody>
            </p:sp>
          </p:grpSp>
          <p:sp>
            <p:nvSpPr>
              <p:cNvPr id="77" name="Shape 1192">
                <a:extLst>
                  <a:ext uri="{FF2B5EF4-FFF2-40B4-BE49-F238E27FC236}">
                    <a16:creationId xmlns:a16="http://schemas.microsoft.com/office/drawing/2014/main" id="{974C6F1A-A64D-4339-941F-9695B519A507}"/>
                  </a:ext>
                </a:extLst>
              </p:cNvPr>
              <p:cNvSpPr/>
              <p:nvPr/>
            </p:nvSpPr>
            <p:spPr>
              <a:xfrm>
                <a:off x="1032819" y="3345401"/>
                <a:ext cx="279649" cy="28068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798" y="11525"/>
                    </a:moveTo>
                    <a:cubicBezTo>
                      <a:pt x="17798" y="11606"/>
                      <a:pt x="17798" y="12009"/>
                      <a:pt x="17636" y="12493"/>
                    </a:cubicBezTo>
                    <a:cubicBezTo>
                      <a:pt x="19011" y="13218"/>
                      <a:pt x="19011" y="13218"/>
                      <a:pt x="19011" y="13218"/>
                    </a:cubicBezTo>
                    <a:cubicBezTo>
                      <a:pt x="19658" y="12331"/>
                      <a:pt x="19335" y="11364"/>
                      <a:pt x="19335" y="11364"/>
                    </a:cubicBezTo>
                    <a:lnTo>
                      <a:pt x="17798" y="11525"/>
                    </a:lnTo>
                    <a:close/>
                    <a:moveTo>
                      <a:pt x="8009" y="17006"/>
                    </a:moveTo>
                    <a:cubicBezTo>
                      <a:pt x="7928" y="17006"/>
                      <a:pt x="7928" y="17006"/>
                      <a:pt x="7928" y="17006"/>
                    </a:cubicBezTo>
                    <a:cubicBezTo>
                      <a:pt x="6957" y="18296"/>
                      <a:pt x="6957" y="18296"/>
                      <a:pt x="6957" y="18296"/>
                    </a:cubicBezTo>
                    <a:cubicBezTo>
                      <a:pt x="6957" y="18376"/>
                      <a:pt x="6957" y="18376"/>
                      <a:pt x="6957" y="18376"/>
                    </a:cubicBezTo>
                    <a:cubicBezTo>
                      <a:pt x="7524" y="18940"/>
                      <a:pt x="8252" y="19021"/>
                      <a:pt x="8575" y="19021"/>
                    </a:cubicBezTo>
                    <a:cubicBezTo>
                      <a:pt x="8656" y="19021"/>
                      <a:pt x="8737" y="19021"/>
                      <a:pt x="8818" y="19021"/>
                    </a:cubicBezTo>
                    <a:cubicBezTo>
                      <a:pt x="8899" y="19021"/>
                      <a:pt x="8899" y="19021"/>
                      <a:pt x="8899" y="19021"/>
                    </a:cubicBezTo>
                    <a:cubicBezTo>
                      <a:pt x="8899" y="17409"/>
                      <a:pt x="8899" y="17409"/>
                      <a:pt x="8899" y="17409"/>
                    </a:cubicBezTo>
                    <a:cubicBezTo>
                      <a:pt x="8899" y="17328"/>
                      <a:pt x="8899" y="17328"/>
                      <a:pt x="8899" y="17328"/>
                    </a:cubicBezTo>
                    <a:cubicBezTo>
                      <a:pt x="8818" y="17328"/>
                      <a:pt x="8818" y="17328"/>
                      <a:pt x="8818" y="17328"/>
                    </a:cubicBezTo>
                    <a:cubicBezTo>
                      <a:pt x="8818" y="17328"/>
                      <a:pt x="8413" y="17328"/>
                      <a:pt x="8009" y="17006"/>
                    </a:cubicBezTo>
                    <a:close/>
                    <a:moveTo>
                      <a:pt x="8737" y="18860"/>
                    </a:moveTo>
                    <a:cubicBezTo>
                      <a:pt x="8656" y="18860"/>
                      <a:pt x="8656" y="18860"/>
                      <a:pt x="8575" y="18860"/>
                    </a:cubicBezTo>
                    <a:cubicBezTo>
                      <a:pt x="8252" y="18860"/>
                      <a:pt x="7604" y="18779"/>
                      <a:pt x="7119" y="18296"/>
                    </a:cubicBezTo>
                    <a:cubicBezTo>
                      <a:pt x="8009" y="17167"/>
                      <a:pt x="8009" y="17167"/>
                      <a:pt x="8009" y="17167"/>
                    </a:cubicBezTo>
                    <a:cubicBezTo>
                      <a:pt x="8333" y="17409"/>
                      <a:pt x="8656" y="17490"/>
                      <a:pt x="8818" y="17490"/>
                    </a:cubicBezTo>
                    <a:lnTo>
                      <a:pt x="8737" y="18860"/>
                    </a:lnTo>
                    <a:close/>
                    <a:moveTo>
                      <a:pt x="5097" y="6851"/>
                    </a:moveTo>
                    <a:cubicBezTo>
                      <a:pt x="4045" y="5642"/>
                      <a:pt x="4045" y="5642"/>
                      <a:pt x="4045" y="5642"/>
                    </a:cubicBezTo>
                    <a:cubicBezTo>
                      <a:pt x="3155" y="6287"/>
                      <a:pt x="3155" y="7334"/>
                      <a:pt x="3155" y="7334"/>
                    </a:cubicBezTo>
                    <a:cubicBezTo>
                      <a:pt x="4611" y="7657"/>
                      <a:pt x="4611" y="7657"/>
                      <a:pt x="4611" y="7657"/>
                    </a:cubicBezTo>
                    <a:cubicBezTo>
                      <a:pt x="4611" y="7657"/>
                      <a:pt x="4773" y="7254"/>
                      <a:pt x="5097" y="6851"/>
                    </a:cubicBezTo>
                    <a:close/>
                    <a:moveTo>
                      <a:pt x="15694" y="5803"/>
                    </a:moveTo>
                    <a:cubicBezTo>
                      <a:pt x="15775" y="5884"/>
                      <a:pt x="15775" y="5884"/>
                      <a:pt x="15775" y="5884"/>
                    </a:cubicBezTo>
                    <a:cubicBezTo>
                      <a:pt x="17151" y="4997"/>
                      <a:pt x="17151" y="4997"/>
                      <a:pt x="17151" y="4997"/>
                    </a:cubicBezTo>
                    <a:cubicBezTo>
                      <a:pt x="17151" y="4916"/>
                      <a:pt x="17151" y="4916"/>
                      <a:pt x="17151" y="4916"/>
                    </a:cubicBezTo>
                    <a:cubicBezTo>
                      <a:pt x="16665" y="3949"/>
                      <a:pt x="15694" y="3707"/>
                      <a:pt x="15613" y="3707"/>
                    </a:cubicBezTo>
                    <a:cubicBezTo>
                      <a:pt x="15533" y="3707"/>
                      <a:pt x="15533" y="3707"/>
                      <a:pt x="15533" y="3707"/>
                    </a:cubicBezTo>
                    <a:cubicBezTo>
                      <a:pt x="14966" y="5158"/>
                      <a:pt x="14966" y="5158"/>
                      <a:pt x="14966" y="5158"/>
                    </a:cubicBezTo>
                    <a:cubicBezTo>
                      <a:pt x="14966" y="5239"/>
                      <a:pt x="14966" y="5239"/>
                      <a:pt x="14966" y="5239"/>
                    </a:cubicBezTo>
                    <a:cubicBezTo>
                      <a:pt x="14966" y="5239"/>
                      <a:pt x="14966" y="5239"/>
                      <a:pt x="14966" y="5239"/>
                    </a:cubicBezTo>
                    <a:cubicBezTo>
                      <a:pt x="15047" y="5239"/>
                      <a:pt x="15371" y="5400"/>
                      <a:pt x="15694" y="5803"/>
                    </a:cubicBezTo>
                    <a:close/>
                    <a:moveTo>
                      <a:pt x="15613" y="3869"/>
                    </a:moveTo>
                    <a:cubicBezTo>
                      <a:pt x="15856" y="3869"/>
                      <a:pt x="16584" y="4110"/>
                      <a:pt x="16989" y="4916"/>
                    </a:cubicBezTo>
                    <a:cubicBezTo>
                      <a:pt x="15775" y="5722"/>
                      <a:pt x="15775" y="5722"/>
                      <a:pt x="15775" y="5722"/>
                    </a:cubicBezTo>
                    <a:cubicBezTo>
                      <a:pt x="15533" y="5400"/>
                      <a:pt x="15209" y="5239"/>
                      <a:pt x="15128" y="5158"/>
                    </a:cubicBezTo>
                    <a:lnTo>
                      <a:pt x="15613" y="3869"/>
                    </a:lnTo>
                    <a:close/>
                    <a:moveTo>
                      <a:pt x="14966" y="16442"/>
                    </a:moveTo>
                    <a:cubicBezTo>
                      <a:pt x="15533" y="17812"/>
                      <a:pt x="15533" y="17812"/>
                      <a:pt x="15533" y="17812"/>
                    </a:cubicBezTo>
                    <a:cubicBezTo>
                      <a:pt x="16584" y="17570"/>
                      <a:pt x="16908" y="16603"/>
                      <a:pt x="16989" y="16603"/>
                    </a:cubicBezTo>
                    <a:cubicBezTo>
                      <a:pt x="15613" y="15797"/>
                      <a:pt x="15613" y="15797"/>
                      <a:pt x="15613" y="15797"/>
                    </a:cubicBezTo>
                    <a:cubicBezTo>
                      <a:pt x="15613" y="15797"/>
                      <a:pt x="15371" y="16119"/>
                      <a:pt x="14966" y="16442"/>
                    </a:cubicBezTo>
                    <a:close/>
                    <a:moveTo>
                      <a:pt x="5097" y="14588"/>
                    </a:moveTo>
                    <a:cubicBezTo>
                      <a:pt x="5097" y="14507"/>
                      <a:pt x="5097" y="14507"/>
                      <a:pt x="5097" y="14507"/>
                    </a:cubicBezTo>
                    <a:cubicBezTo>
                      <a:pt x="5097" y="14507"/>
                      <a:pt x="4773" y="14266"/>
                      <a:pt x="4611" y="13701"/>
                    </a:cubicBezTo>
                    <a:cubicBezTo>
                      <a:pt x="4611" y="13701"/>
                      <a:pt x="4611" y="13701"/>
                      <a:pt x="4611" y="13701"/>
                    </a:cubicBezTo>
                    <a:cubicBezTo>
                      <a:pt x="2993" y="14024"/>
                      <a:pt x="2993" y="14024"/>
                      <a:pt x="2993" y="14024"/>
                    </a:cubicBezTo>
                    <a:cubicBezTo>
                      <a:pt x="2993" y="14104"/>
                      <a:pt x="2993" y="14104"/>
                      <a:pt x="2993" y="14104"/>
                    </a:cubicBezTo>
                    <a:cubicBezTo>
                      <a:pt x="3074" y="15152"/>
                      <a:pt x="3883" y="15716"/>
                      <a:pt x="3964" y="15797"/>
                    </a:cubicBezTo>
                    <a:cubicBezTo>
                      <a:pt x="4045" y="15797"/>
                      <a:pt x="4045" y="15797"/>
                      <a:pt x="4045" y="15797"/>
                    </a:cubicBezTo>
                    <a:cubicBezTo>
                      <a:pt x="5097" y="14588"/>
                      <a:pt x="5097" y="14588"/>
                      <a:pt x="5097" y="14588"/>
                    </a:cubicBezTo>
                    <a:close/>
                    <a:moveTo>
                      <a:pt x="3964" y="15636"/>
                    </a:moveTo>
                    <a:cubicBezTo>
                      <a:pt x="3802" y="15475"/>
                      <a:pt x="3236" y="14991"/>
                      <a:pt x="3155" y="14104"/>
                    </a:cubicBezTo>
                    <a:cubicBezTo>
                      <a:pt x="4530" y="13863"/>
                      <a:pt x="4530" y="13863"/>
                      <a:pt x="4530" y="13863"/>
                    </a:cubicBezTo>
                    <a:cubicBezTo>
                      <a:pt x="4611" y="14185"/>
                      <a:pt x="4854" y="14507"/>
                      <a:pt x="4935" y="14588"/>
                    </a:cubicBezTo>
                    <a:lnTo>
                      <a:pt x="3964" y="15636"/>
                    </a:lnTo>
                    <a:close/>
                    <a:moveTo>
                      <a:pt x="8980" y="4030"/>
                    </a:moveTo>
                    <a:cubicBezTo>
                      <a:pt x="8899" y="2499"/>
                      <a:pt x="8899" y="2499"/>
                      <a:pt x="8899" y="2499"/>
                    </a:cubicBezTo>
                    <a:cubicBezTo>
                      <a:pt x="7847" y="2418"/>
                      <a:pt x="7200" y="3143"/>
                      <a:pt x="7119" y="3143"/>
                    </a:cubicBezTo>
                    <a:cubicBezTo>
                      <a:pt x="8090" y="4352"/>
                      <a:pt x="8090" y="4352"/>
                      <a:pt x="8090" y="4352"/>
                    </a:cubicBezTo>
                    <a:cubicBezTo>
                      <a:pt x="8090" y="4352"/>
                      <a:pt x="8413" y="4110"/>
                      <a:pt x="8980" y="4030"/>
                    </a:cubicBezTo>
                    <a:close/>
                    <a:moveTo>
                      <a:pt x="19092" y="8382"/>
                    </a:moveTo>
                    <a:cubicBezTo>
                      <a:pt x="19011" y="8382"/>
                      <a:pt x="19011" y="8382"/>
                      <a:pt x="19011" y="8382"/>
                    </a:cubicBezTo>
                    <a:cubicBezTo>
                      <a:pt x="17636" y="9107"/>
                      <a:pt x="17636" y="9107"/>
                      <a:pt x="17636" y="9107"/>
                    </a:cubicBezTo>
                    <a:cubicBezTo>
                      <a:pt x="17555" y="9107"/>
                      <a:pt x="17555" y="9107"/>
                      <a:pt x="17555" y="9107"/>
                    </a:cubicBezTo>
                    <a:cubicBezTo>
                      <a:pt x="17636" y="9188"/>
                      <a:pt x="17636" y="9188"/>
                      <a:pt x="17636" y="9188"/>
                    </a:cubicBezTo>
                    <a:cubicBezTo>
                      <a:pt x="17636" y="9188"/>
                      <a:pt x="17798" y="9591"/>
                      <a:pt x="17717" y="10075"/>
                    </a:cubicBezTo>
                    <a:cubicBezTo>
                      <a:pt x="17717" y="10155"/>
                      <a:pt x="17717" y="10155"/>
                      <a:pt x="17717" y="10155"/>
                    </a:cubicBezTo>
                    <a:cubicBezTo>
                      <a:pt x="19416" y="10397"/>
                      <a:pt x="19416" y="10397"/>
                      <a:pt x="19416" y="10397"/>
                    </a:cubicBezTo>
                    <a:cubicBezTo>
                      <a:pt x="19416" y="10316"/>
                      <a:pt x="19416" y="10316"/>
                      <a:pt x="19416" y="10316"/>
                    </a:cubicBezTo>
                    <a:cubicBezTo>
                      <a:pt x="19739" y="9269"/>
                      <a:pt x="19092" y="8463"/>
                      <a:pt x="19092" y="8382"/>
                    </a:cubicBezTo>
                    <a:close/>
                    <a:moveTo>
                      <a:pt x="19254" y="10236"/>
                    </a:moveTo>
                    <a:cubicBezTo>
                      <a:pt x="17879" y="9994"/>
                      <a:pt x="17879" y="9994"/>
                      <a:pt x="17879" y="9994"/>
                    </a:cubicBezTo>
                    <a:cubicBezTo>
                      <a:pt x="17879" y="9591"/>
                      <a:pt x="17798" y="9349"/>
                      <a:pt x="17717" y="9188"/>
                    </a:cubicBezTo>
                    <a:cubicBezTo>
                      <a:pt x="19011" y="8543"/>
                      <a:pt x="19011" y="8543"/>
                      <a:pt x="19011" y="8543"/>
                    </a:cubicBezTo>
                    <a:cubicBezTo>
                      <a:pt x="19092" y="8704"/>
                      <a:pt x="19497" y="9349"/>
                      <a:pt x="19254" y="10236"/>
                    </a:cubicBezTo>
                    <a:close/>
                    <a:moveTo>
                      <a:pt x="10355" y="17731"/>
                    </a:moveTo>
                    <a:cubicBezTo>
                      <a:pt x="9870" y="19182"/>
                      <a:pt x="9870" y="19182"/>
                      <a:pt x="9870" y="19182"/>
                    </a:cubicBezTo>
                    <a:cubicBezTo>
                      <a:pt x="10840" y="19666"/>
                      <a:pt x="11730" y="19182"/>
                      <a:pt x="11730" y="19182"/>
                    </a:cubicBezTo>
                    <a:cubicBezTo>
                      <a:pt x="11245" y="17731"/>
                      <a:pt x="11245" y="17731"/>
                      <a:pt x="11245" y="17731"/>
                    </a:cubicBezTo>
                    <a:cubicBezTo>
                      <a:pt x="11245" y="17731"/>
                      <a:pt x="10840" y="17812"/>
                      <a:pt x="10355" y="17731"/>
                    </a:cubicBezTo>
                    <a:close/>
                    <a:moveTo>
                      <a:pt x="2346" y="10236"/>
                    </a:moveTo>
                    <a:cubicBezTo>
                      <a:pt x="3964" y="9994"/>
                      <a:pt x="3964" y="9994"/>
                      <a:pt x="3964" y="9994"/>
                    </a:cubicBezTo>
                    <a:cubicBezTo>
                      <a:pt x="4045" y="9994"/>
                      <a:pt x="4045" y="9994"/>
                      <a:pt x="4045" y="9994"/>
                    </a:cubicBezTo>
                    <a:cubicBezTo>
                      <a:pt x="3964" y="9913"/>
                      <a:pt x="3964" y="9913"/>
                      <a:pt x="3964" y="9913"/>
                    </a:cubicBezTo>
                    <a:cubicBezTo>
                      <a:pt x="3964" y="9913"/>
                      <a:pt x="3964" y="9510"/>
                      <a:pt x="4126" y="9027"/>
                    </a:cubicBezTo>
                    <a:cubicBezTo>
                      <a:pt x="4207" y="9027"/>
                      <a:pt x="4207" y="9027"/>
                      <a:pt x="4207" y="9027"/>
                    </a:cubicBezTo>
                    <a:cubicBezTo>
                      <a:pt x="2751" y="8221"/>
                      <a:pt x="2751" y="8221"/>
                      <a:pt x="2751" y="8221"/>
                    </a:cubicBezTo>
                    <a:cubicBezTo>
                      <a:pt x="2670" y="8301"/>
                      <a:pt x="2670" y="8301"/>
                      <a:pt x="2670" y="8301"/>
                    </a:cubicBezTo>
                    <a:cubicBezTo>
                      <a:pt x="2022" y="9107"/>
                      <a:pt x="2346" y="10075"/>
                      <a:pt x="2346" y="10155"/>
                    </a:cubicBezTo>
                    <a:lnTo>
                      <a:pt x="2346" y="10236"/>
                    </a:lnTo>
                    <a:close/>
                    <a:moveTo>
                      <a:pt x="2751" y="8382"/>
                    </a:moveTo>
                    <a:cubicBezTo>
                      <a:pt x="4045" y="9027"/>
                      <a:pt x="4045" y="9027"/>
                      <a:pt x="4045" y="9027"/>
                    </a:cubicBezTo>
                    <a:cubicBezTo>
                      <a:pt x="3883" y="9430"/>
                      <a:pt x="3883" y="9752"/>
                      <a:pt x="3883" y="9913"/>
                    </a:cubicBezTo>
                    <a:cubicBezTo>
                      <a:pt x="2427" y="10075"/>
                      <a:pt x="2427" y="10075"/>
                      <a:pt x="2427" y="10075"/>
                    </a:cubicBezTo>
                    <a:cubicBezTo>
                      <a:pt x="2427" y="9913"/>
                      <a:pt x="2265" y="9107"/>
                      <a:pt x="2751" y="8382"/>
                    </a:cubicBezTo>
                    <a:close/>
                    <a:moveTo>
                      <a:pt x="12944" y="2579"/>
                    </a:moveTo>
                    <a:cubicBezTo>
                      <a:pt x="12863" y="4110"/>
                      <a:pt x="12863" y="4110"/>
                      <a:pt x="12863" y="4110"/>
                    </a:cubicBezTo>
                    <a:cubicBezTo>
                      <a:pt x="12863" y="4110"/>
                      <a:pt x="13267" y="4110"/>
                      <a:pt x="13753" y="4433"/>
                    </a:cubicBezTo>
                    <a:cubicBezTo>
                      <a:pt x="14724" y="3224"/>
                      <a:pt x="14724" y="3224"/>
                      <a:pt x="14724" y="3224"/>
                    </a:cubicBezTo>
                    <a:cubicBezTo>
                      <a:pt x="13915" y="2418"/>
                      <a:pt x="12944" y="2579"/>
                      <a:pt x="12944" y="2579"/>
                    </a:cubicBezTo>
                    <a:close/>
                    <a:moveTo>
                      <a:pt x="17070" y="13782"/>
                    </a:moveTo>
                    <a:cubicBezTo>
                      <a:pt x="17070" y="13863"/>
                      <a:pt x="17070" y="13863"/>
                      <a:pt x="17070" y="13863"/>
                    </a:cubicBezTo>
                    <a:cubicBezTo>
                      <a:pt x="17070" y="13863"/>
                      <a:pt x="16908" y="14266"/>
                      <a:pt x="16584" y="14669"/>
                    </a:cubicBezTo>
                    <a:cubicBezTo>
                      <a:pt x="16503" y="14669"/>
                      <a:pt x="16503" y="14669"/>
                      <a:pt x="16503" y="14669"/>
                    </a:cubicBezTo>
                    <a:cubicBezTo>
                      <a:pt x="17636" y="15878"/>
                      <a:pt x="17636" y="15878"/>
                      <a:pt x="17636" y="15878"/>
                    </a:cubicBezTo>
                    <a:cubicBezTo>
                      <a:pt x="17717" y="15878"/>
                      <a:pt x="17717" y="15878"/>
                      <a:pt x="17717" y="15878"/>
                    </a:cubicBezTo>
                    <a:cubicBezTo>
                      <a:pt x="18607" y="15233"/>
                      <a:pt x="18688" y="14346"/>
                      <a:pt x="18688" y="14185"/>
                    </a:cubicBezTo>
                    <a:cubicBezTo>
                      <a:pt x="18688" y="14104"/>
                      <a:pt x="18688" y="14104"/>
                      <a:pt x="18688" y="14104"/>
                    </a:cubicBezTo>
                    <a:cubicBezTo>
                      <a:pt x="17151" y="13782"/>
                      <a:pt x="17151" y="13782"/>
                      <a:pt x="17151" y="13782"/>
                    </a:cubicBezTo>
                    <a:lnTo>
                      <a:pt x="17070" y="13782"/>
                    </a:lnTo>
                    <a:close/>
                    <a:moveTo>
                      <a:pt x="18526" y="14266"/>
                    </a:moveTo>
                    <a:cubicBezTo>
                      <a:pt x="18526" y="14427"/>
                      <a:pt x="18364" y="15233"/>
                      <a:pt x="17636" y="15716"/>
                    </a:cubicBezTo>
                    <a:cubicBezTo>
                      <a:pt x="16746" y="14669"/>
                      <a:pt x="16746" y="14669"/>
                      <a:pt x="16746" y="14669"/>
                    </a:cubicBezTo>
                    <a:cubicBezTo>
                      <a:pt x="16989" y="14346"/>
                      <a:pt x="17070" y="14104"/>
                      <a:pt x="17151" y="13943"/>
                    </a:cubicBezTo>
                    <a:lnTo>
                      <a:pt x="18526" y="14266"/>
                    </a:lnTo>
                    <a:close/>
                    <a:moveTo>
                      <a:pt x="5987" y="15716"/>
                    </a:moveTo>
                    <a:cubicBezTo>
                      <a:pt x="4692" y="16522"/>
                      <a:pt x="4692" y="16522"/>
                      <a:pt x="4692" y="16522"/>
                    </a:cubicBezTo>
                    <a:cubicBezTo>
                      <a:pt x="5097" y="17570"/>
                      <a:pt x="6067" y="17731"/>
                      <a:pt x="6148" y="17731"/>
                    </a:cubicBezTo>
                    <a:cubicBezTo>
                      <a:pt x="6715" y="16361"/>
                      <a:pt x="6715" y="16361"/>
                      <a:pt x="6715" y="16361"/>
                    </a:cubicBezTo>
                    <a:cubicBezTo>
                      <a:pt x="6715" y="16361"/>
                      <a:pt x="6310" y="16119"/>
                      <a:pt x="5987" y="15716"/>
                    </a:cubicBezTo>
                    <a:close/>
                    <a:moveTo>
                      <a:pt x="6229" y="3627"/>
                    </a:moveTo>
                    <a:cubicBezTo>
                      <a:pt x="5097" y="3869"/>
                      <a:pt x="4773" y="4755"/>
                      <a:pt x="4692" y="4836"/>
                    </a:cubicBezTo>
                    <a:cubicBezTo>
                      <a:pt x="4692" y="4916"/>
                      <a:pt x="4692" y="4916"/>
                      <a:pt x="4692" y="4916"/>
                    </a:cubicBezTo>
                    <a:cubicBezTo>
                      <a:pt x="6067" y="5722"/>
                      <a:pt x="6067" y="5722"/>
                      <a:pt x="6067" y="5722"/>
                    </a:cubicBezTo>
                    <a:cubicBezTo>
                      <a:pt x="6067" y="5803"/>
                      <a:pt x="6067" y="5803"/>
                      <a:pt x="6067" y="5803"/>
                    </a:cubicBezTo>
                    <a:cubicBezTo>
                      <a:pt x="6148" y="5722"/>
                      <a:pt x="6148" y="5722"/>
                      <a:pt x="6148" y="5722"/>
                    </a:cubicBezTo>
                    <a:cubicBezTo>
                      <a:pt x="6148" y="5722"/>
                      <a:pt x="6391" y="5400"/>
                      <a:pt x="6796" y="5158"/>
                    </a:cubicBezTo>
                    <a:cubicBezTo>
                      <a:pt x="6876" y="5078"/>
                      <a:pt x="6876" y="5078"/>
                      <a:pt x="6876" y="5078"/>
                    </a:cubicBezTo>
                    <a:cubicBezTo>
                      <a:pt x="6229" y="3627"/>
                      <a:pt x="6229" y="3627"/>
                      <a:pt x="6229" y="3627"/>
                    </a:cubicBezTo>
                    <a:close/>
                    <a:moveTo>
                      <a:pt x="6067" y="5642"/>
                    </a:moveTo>
                    <a:cubicBezTo>
                      <a:pt x="4854" y="4836"/>
                      <a:pt x="4854" y="4836"/>
                      <a:pt x="4854" y="4836"/>
                    </a:cubicBezTo>
                    <a:cubicBezTo>
                      <a:pt x="4935" y="4675"/>
                      <a:pt x="5339" y="3949"/>
                      <a:pt x="6148" y="3788"/>
                    </a:cubicBezTo>
                    <a:cubicBezTo>
                      <a:pt x="6715" y="5078"/>
                      <a:pt x="6715" y="5078"/>
                      <a:pt x="6715" y="5078"/>
                    </a:cubicBezTo>
                    <a:cubicBezTo>
                      <a:pt x="6391" y="5239"/>
                      <a:pt x="6148" y="5481"/>
                      <a:pt x="6067" y="5642"/>
                    </a:cubicBezTo>
                    <a:close/>
                    <a:moveTo>
                      <a:pt x="17151" y="7737"/>
                    </a:moveTo>
                    <a:cubicBezTo>
                      <a:pt x="18688" y="7415"/>
                      <a:pt x="18688" y="7415"/>
                      <a:pt x="18688" y="7415"/>
                    </a:cubicBezTo>
                    <a:cubicBezTo>
                      <a:pt x="18607" y="6287"/>
                      <a:pt x="17717" y="5803"/>
                      <a:pt x="17717" y="5803"/>
                    </a:cubicBezTo>
                    <a:cubicBezTo>
                      <a:pt x="16665" y="6931"/>
                      <a:pt x="16665" y="6931"/>
                      <a:pt x="16665" y="6931"/>
                    </a:cubicBezTo>
                    <a:cubicBezTo>
                      <a:pt x="16665" y="6931"/>
                      <a:pt x="16989" y="7254"/>
                      <a:pt x="17151" y="7737"/>
                    </a:cubicBezTo>
                    <a:close/>
                    <a:moveTo>
                      <a:pt x="13672" y="17006"/>
                    </a:moveTo>
                    <a:cubicBezTo>
                      <a:pt x="13591" y="17087"/>
                      <a:pt x="13591" y="17087"/>
                      <a:pt x="13591" y="17087"/>
                    </a:cubicBezTo>
                    <a:cubicBezTo>
                      <a:pt x="13591" y="17087"/>
                      <a:pt x="13267" y="17328"/>
                      <a:pt x="12701" y="17409"/>
                    </a:cubicBezTo>
                    <a:cubicBezTo>
                      <a:pt x="12701" y="17409"/>
                      <a:pt x="12701" y="17409"/>
                      <a:pt x="12701" y="17409"/>
                    </a:cubicBezTo>
                    <a:cubicBezTo>
                      <a:pt x="12701" y="19021"/>
                      <a:pt x="12701" y="19021"/>
                      <a:pt x="12701" y="19021"/>
                    </a:cubicBezTo>
                    <a:cubicBezTo>
                      <a:pt x="12782" y="19021"/>
                      <a:pt x="12782" y="19021"/>
                      <a:pt x="12782" y="19021"/>
                    </a:cubicBezTo>
                    <a:cubicBezTo>
                      <a:pt x="12863" y="19101"/>
                      <a:pt x="12944" y="19101"/>
                      <a:pt x="13025" y="19101"/>
                    </a:cubicBezTo>
                    <a:cubicBezTo>
                      <a:pt x="13996" y="19101"/>
                      <a:pt x="14481" y="18537"/>
                      <a:pt x="14643" y="18376"/>
                    </a:cubicBezTo>
                    <a:cubicBezTo>
                      <a:pt x="14643" y="18376"/>
                      <a:pt x="14643" y="18376"/>
                      <a:pt x="14643" y="18376"/>
                    </a:cubicBezTo>
                    <a:cubicBezTo>
                      <a:pt x="13672" y="17087"/>
                      <a:pt x="13672" y="17087"/>
                      <a:pt x="13672" y="17087"/>
                    </a:cubicBezTo>
                    <a:lnTo>
                      <a:pt x="13672" y="17006"/>
                    </a:lnTo>
                    <a:close/>
                    <a:moveTo>
                      <a:pt x="13025" y="18940"/>
                    </a:moveTo>
                    <a:cubicBezTo>
                      <a:pt x="12944" y="18940"/>
                      <a:pt x="12944" y="18940"/>
                      <a:pt x="12863" y="18940"/>
                    </a:cubicBezTo>
                    <a:cubicBezTo>
                      <a:pt x="12782" y="17490"/>
                      <a:pt x="12782" y="17490"/>
                      <a:pt x="12782" y="17490"/>
                    </a:cubicBezTo>
                    <a:cubicBezTo>
                      <a:pt x="13187" y="17409"/>
                      <a:pt x="13510" y="17328"/>
                      <a:pt x="13591" y="17248"/>
                    </a:cubicBezTo>
                    <a:cubicBezTo>
                      <a:pt x="14481" y="18376"/>
                      <a:pt x="14481" y="18376"/>
                      <a:pt x="14481" y="18376"/>
                    </a:cubicBezTo>
                    <a:cubicBezTo>
                      <a:pt x="14319" y="18457"/>
                      <a:pt x="13834" y="18940"/>
                      <a:pt x="13025" y="18940"/>
                    </a:cubicBezTo>
                    <a:close/>
                    <a:moveTo>
                      <a:pt x="3883" y="11445"/>
                    </a:moveTo>
                    <a:cubicBezTo>
                      <a:pt x="2346" y="11203"/>
                      <a:pt x="2346" y="11203"/>
                      <a:pt x="2346" y="11203"/>
                    </a:cubicBezTo>
                    <a:cubicBezTo>
                      <a:pt x="2103" y="12251"/>
                      <a:pt x="2670" y="13057"/>
                      <a:pt x="2670" y="13057"/>
                    </a:cubicBezTo>
                    <a:cubicBezTo>
                      <a:pt x="4045" y="12331"/>
                      <a:pt x="4045" y="12331"/>
                      <a:pt x="4045" y="12331"/>
                    </a:cubicBezTo>
                    <a:cubicBezTo>
                      <a:pt x="4045" y="12331"/>
                      <a:pt x="3883" y="11928"/>
                      <a:pt x="3883" y="11445"/>
                    </a:cubicBezTo>
                    <a:close/>
                    <a:moveTo>
                      <a:pt x="10436" y="3869"/>
                    </a:moveTo>
                    <a:cubicBezTo>
                      <a:pt x="10436" y="3869"/>
                      <a:pt x="10436" y="3869"/>
                      <a:pt x="10436" y="3869"/>
                    </a:cubicBezTo>
                    <a:cubicBezTo>
                      <a:pt x="10436" y="3869"/>
                      <a:pt x="10679" y="3869"/>
                      <a:pt x="10921" y="3869"/>
                    </a:cubicBezTo>
                    <a:cubicBezTo>
                      <a:pt x="11083" y="3869"/>
                      <a:pt x="11245" y="3869"/>
                      <a:pt x="11407" y="3869"/>
                    </a:cubicBezTo>
                    <a:cubicBezTo>
                      <a:pt x="11407" y="3869"/>
                      <a:pt x="11407" y="3869"/>
                      <a:pt x="11407" y="3869"/>
                    </a:cubicBezTo>
                    <a:cubicBezTo>
                      <a:pt x="11973" y="2337"/>
                      <a:pt x="11973" y="2337"/>
                      <a:pt x="11973" y="2337"/>
                    </a:cubicBezTo>
                    <a:cubicBezTo>
                      <a:pt x="11892" y="2257"/>
                      <a:pt x="11892" y="2257"/>
                      <a:pt x="11892" y="2257"/>
                    </a:cubicBezTo>
                    <a:cubicBezTo>
                      <a:pt x="11569" y="2176"/>
                      <a:pt x="11245" y="2096"/>
                      <a:pt x="10921" y="2096"/>
                    </a:cubicBezTo>
                    <a:cubicBezTo>
                      <a:pt x="10436" y="2096"/>
                      <a:pt x="10031" y="2257"/>
                      <a:pt x="9951" y="2257"/>
                    </a:cubicBezTo>
                    <a:cubicBezTo>
                      <a:pt x="9870" y="2337"/>
                      <a:pt x="9870" y="2337"/>
                      <a:pt x="9870" y="2337"/>
                    </a:cubicBezTo>
                    <a:cubicBezTo>
                      <a:pt x="10355" y="3788"/>
                      <a:pt x="10355" y="3788"/>
                      <a:pt x="10355" y="3788"/>
                    </a:cubicBezTo>
                    <a:lnTo>
                      <a:pt x="10436" y="3869"/>
                    </a:lnTo>
                    <a:close/>
                    <a:moveTo>
                      <a:pt x="10921" y="2176"/>
                    </a:moveTo>
                    <a:cubicBezTo>
                      <a:pt x="11245" y="2176"/>
                      <a:pt x="11488" y="2257"/>
                      <a:pt x="11811" y="2418"/>
                    </a:cubicBezTo>
                    <a:cubicBezTo>
                      <a:pt x="11326" y="3707"/>
                      <a:pt x="11326" y="3707"/>
                      <a:pt x="11326" y="3707"/>
                    </a:cubicBezTo>
                    <a:cubicBezTo>
                      <a:pt x="11245" y="3707"/>
                      <a:pt x="11083" y="3707"/>
                      <a:pt x="10921" y="3707"/>
                    </a:cubicBezTo>
                    <a:cubicBezTo>
                      <a:pt x="10760" y="3707"/>
                      <a:pt x="10598" y="3707"/>
                      <a:pt x="10517" y="3707"/>
                    </a:cubicBezTo>
                    <a:cubicBezTo>
                      <a:pt x="10031" y="2418"/>
                      <a:pt x="10031" y="2418"/>
                      <a:pt x="10031" y="2418"/>
                    </a:cubicBezTo>
                    <a:cubicBezTo>
                      <a:pt x="10193" y="2337"/>
                      <a:pt x="10517" y="2176"/>
                      <a:pt x="10921" y="2176"/>
                    </a:cubicBezTo>
                    <a:close/>
                    <a:moveTo>
                      <a:pt x="11892" y="12493"/>
                    </a:moveTo>
                    <a:cubicBezTo>
                      <a:pt x="11569" y="11606"/>
                      <a:pt x="11569" y="11606"/>
                      <a:pt x="11569" y="11606"/>
                    </a:cubicBezTo>
                    <a:cubicBezTo>
                      <a:pt x="11973" y="11364"/>
                      <a:pt x="12216" y="10881"/>
                      <a:pt x="12135" y="10316"/>
                    </a:cubicBezTo>
                    <a:cubicBezTo>
                      <a:pt x="13106" y="9994"/>
                      <a:pt x="13106" y="9994"/>
                      <a:pt x="13106" y="9994"/>
                    </a:cubicBezTo>
                    <a:cubicBezTo>
                      <a:pt x="13267" y="10236"/>
                      <a:pt x="13591" y="10397"/>
                      <a:pt x="13915" y="10236"/>
                    </a:cubicBezTo>
                    <a:cubicBezTo>
                      <a:pt x="14319" y="10155"/>
                      <a:pt x="14481" y="9672"/>
                      <a:pt x="14319" y="9349"/>
                    </a:cubicBezTo>
                    <a:cubicBezTo>
                      <a:pt x="14238" y="8946"/>
                      <a:pt x="13834" y="8785"/>
                      <a:pt x="13429" y="8866"/>
                    </a:cubicBezTo>
                    <a:cubicBezTo>
                      <a:pt x="13106" y="9027"/>
                      <a:pt x="12944" y="9269"/>
                      <a:pt x="12944" y="9591"/>
                    </a:cubicBezTo>
                    <a:cubicBezTo>
                      <a:pt x="11973" y="9913"/>
                      <a:pt x="11973" y="9913"/>
                      <a:pt x="11973" y="9913"/>
                    </a:cubicBezTo>
                    <a:cubicBezTo>
                      <a:pt x="11730" y="9510"/>
                      <a:pt x="11245" y="9269"/>
                      <a:pt x="10760" y="9349"/>
                    </a:cubicBezTo>
                    <a:cubicBezTo>
                      <a:pt x="10436" y="8463"/>
                      <a:pt x="10436" y="8463"/>
                      <a:pt x="10436" y="8463"/>
                    </a:cubicBezTo>
                    <a:cubicBezTo>
                      <a:pt x="10679" y="8221"/>
                      <a:pt x="10760" y="7979"/>
                      <a:pt x="10598" y="7657"/>
                    </a:cubicBezTo>
                    <a:cubicBezTo>
                      <a:pt x="10517" y="7254"/>
                      <a:pt x="10031" y="7093"/>
                      <a:pt x="9708" y="7254"/>
                    </a:cubicBezTo>
                    <a:cubicBezTo>
                      <a:pt x="9303" y="7334"/>
                      <a:pt x="9142" y="7818"/>
                      <a:pt x="9222" y="8140"/>
                    </a:cubicBezTo>
                    <a:cubicBezTo>
                      <a:pt x="9384" y="8463"/>
                      <a:pt x="9708" y="8624"/>
                      <a:pt x="9951" y="8624"/>
                    </a:cubicBezTo>
                    <a:cubicBezTo>
                      <a:pt x="10274" y="9510"/>
                      <a:pt x="10274" y="9510"/>
                      <a:pt x="10274" y="9510"/>
                    </a:cubicBezTo>
                    <a:cubicBezTo>
                      <a:pt x="9870" y="9752"/>
                      <a:pt x="9627" y="10236"/>
                      <a:pt x="9708" y="10719"/>
                    </a:cubicBezTo>
                    <a:cubicBezTo>
                      <a:pt x="8818" y="11042"/>
                      <a:pt x="8818" y="11042"/>
                      <a:pt x="8818" y="11042"/>
                    </a:cubicBezTo>
                    <a:cubicBezTo>
                      <a:pt x="8656" y="10881"/>
                      <a:pt x="8333" y="10719"/>
                      <a:pt x="8090" y="10881"/>
                    </a:cubicBezTo>
                    <a:cubicBezTo>
                      <a:pt x="7685" y="10961"/>
                      <a:pt x="7443" y="11445"/>
                      <a:pt x="7604" y="11767"/>
                    </a:cubicBezTo>
                    <a:cubicBezTo>
                      <a:pt x="7766" y="12170"/>
                      <a:pt x="8171" y="12331"/>
                      <a:pt x="8575" y="12251"/>
                    </a:cubicBezTo>
                    <a:cubicBezTo>
                      <a:pt x="8899" y="12090"/>
                      <a:pt x="9061" y="11767"/>
                      <a:pt x="9061" y="11525"/>
                    </a:cubicBezTo>
                    <a:cubicBezTo>
                      <a:pt x="9870" y="11203"/>
                      <a:pt x="9870" y="11203"/>
                      <a:pt x="9870" y="11203"/>
                    </a:cubicBezTo>
                    <a:cubicBezTo>
                      <a:pt x="10112" y="11606"/>
                      <a:pt x="10598" y="11848"/>
                      <a:pt x="11164" y="11767"/>
                    </a:cubicBezTo>
                    <a:cubicBezTo>
                      <a:pt x="11488" y="12654"/>
                      <a:pt x="11488" y="12654"/>
                      <a:pt x="11488" y="12654"/>
                    </a:cubicBezTo>
                    <a:cubicBezTo>
                      <a:pt x="11245" y="12896"/>
                      <a:pt x="11083" y="13218"/>
                      <a:pt x="11245" y="13460"/>
                    </a:cubicBezTo>
                    <a:cubicBezTo>
                      <a:pt x="11407" y="13863"/>
                      <a:pt x="11811" y="14104"/>
                      <a:pt x="12135" y="13943"/>
                    </a:cubicBezTo>
                    <a:cubicBezTo>
                      <a:pt x="12539" y="13782"/>
                      <a:pt x="12701" y="13379"/>
                      <a:pt x="12620" y="12976"/>
                    </a:cubicBezTo>
                    <a:cubicBezTo>
                      <a:pt x="12458" y="12734"/>
                      <a:pt x="12216" y="12493"/>
                      <a:pt x="11892" y="12493"/>
                    </a:cubicBezTo>
                    <a:close/>
                    <a:moveTo>
                      <a:pt x="10760" y="0"/>
                    </a:moveTo>
                    <a:cubicBezTo>
                      <a:pt x="4854" y="0"/>
                      <a:pt x="0" y="4836"/>
                      <a:pt x="0" y="10800"/>
                    </a:cubicBezTo>
                    <a:cubicBezTo>
                      <a:pt x="0" y="16764"/>
                      <a:pt x="4854" y="21600"/>
                      <a:pt x="10760" y="21600"/>
                    </a:cubicBezTo>
                    <a:cubicBezTo>
                      <a:pt x="16746" y="21600"/>
                      <a:pt x="21600" y="16764"/>
                      <a:pt x="21600" y="10800"/>
                    </a:cubicBezTo>
                    <a:cubicBezTo>
                      <a:pt x="21600" y="4836"/>
                      <a:pt x="16746" y="0"/>
                      <a:pt x="10760" y="0"/>
                    </a:cubicBezTo>
                    <a:close/>
                    <a:moveTo>
                      <a:pt x="10760" y="19988"/>
                    </a:moveTo>
                    <a:cubicBezTo>
                      <a:pt x="5663" y="19988"/>
                      <a:pt x="1537" y="15878"/>
                      <a:pt x="1537" y="10800"/>
                    </a:cubicBezTo>
                    <a:cubicBezTo>
                      <a:pt x="1537" y="5722"/>
                      <a:pt x="5663" y="1612"/>
                      <a:pt x="10760" y="1612"/>
                    </a:cubicBezTo>
                    <a:cubicBezTo>
                      <a:pt x="15937" y="1612"/>
                      <a:pt x="20063" y="5722"/>
                      <a:pt x="20063" y="10800"/>
                    </a:cubicBezTo>
                    <a:cubicBezTo>
                      <a:pt x="20063" y="15878"/>
                      <a:pt x="15937" y="19988"/>
                      <a:pt x="10760" y="19988"/>
                    </a:cubicBezTo>
                    <a:close/>
                  </a:path>
                </a:pathLst>
              </a:custGeom>
              <a:solidFill>
                <a:srgbClr val="FFB8B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defTabSz="1219080">
                  <a:defRPr/>
                </a:pPr>
                <a:endParaRPr sz="3200" kern="0">
                  <a:solidFill>
                    <a:srgbClr val="777777"/>
                  </a:solidFill>
                </a:endParaRPr>
              </a:p>
            </p:txBody>
          </p:sp>
          <p:sp>
            <p:nvSpPr>
              <p:cNvPr id="78" name="Shape 1170">
                <a:extLst>
                  <a:ext uri="{FF2B5EF4-FFF2-40B4-BE49-F238E27FC236}">
                    <a16:creationId xmlns:a16="http://schemas.microsoft.com/office/drawing/2014/main" id="{A8DB381B-F8EB-47F5-92C0-CE97F79C77C0}"/>
                  </a:ext>
                </a:extLst>
              </p:cNvPr>
              <p:cNvSpPr/>
              <p:nvPr/>
            </p:nvSpPr>
            <p:spPr>
              <a:xfrm>
                <a:off x="1520486" y="3364301"/>
                <a:ext cx="376957" cy="2415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035" h="19489" extrusionOk="0">
                    <a:moveTo>
                      <a:pt x="18242" y="7229"/>
                    </a:moveTo>
                    <a:cubicBezTo>
                      <a:pt x="18242" y="7229"/>
                      <a:pt x="18395" y="3831"/>
                      <a:pt x="16645" y="2617"/>
                    </a:cubicBezTo>
                    <a:cubicBezTo>
                      <a:pt x="16645" y="2617"/>
                      <a:pt x="16721" y="312"/>
                      <a:pt x="15048" y="69"/>
                    </a:cubicBezTo>
                    <a:cubicBezTo>
                      <a:pt x="15048" y="69"/>
                      <a:pt x="13527" y="-659"/>
                      <a:pt x="13147" y="2617"/>
                    </a:cubicBezTo>
                    <a:cubicBezTo>
                      <a:pt x="9496" y="2617"/>
                      <a:pt x="9496" y="2617"/>
                      <a:pt x="9496" y="2617"/>
                    </a:cubicBezTo>
                    <a:cubicBezTo>
                      <a:pt x="5921" y="2617"/>
                      <a:pt x="5921" y="2617"/>
                      <a:pt x="5921" y="2617"/>
                    </a:cubicBezTo>
                    <a:cubicBezTo>
                      <a:pt x="5541" y="-659"/>
                      <a:pt x="4020" y="69"/>
                      <a:pt x="4020" y="69"/>
                    </a:cubicBezTo>
                    <a:cubicBezTo>
                      <a:pt x="2347" y="312"/>
                      <a:pt x="2423" y="2617"/>
                      <a:pt x="2423" y="2617"/>
                    </a:cubicBezTo>
                    <a:cubicBezTo>
                      <a:pt x="597" y="3831"/>
                      <a:pt x="826" y="7229"/>
                      <a:pt x="826" y="7229"/>
                    </a:cubicBezTo>
                    <a:cubicBezTo>
                      <a:pt x="-1304" y="18393"/>
                      <a:pt x="1358" y="19121"/>
                      <a:pt x="1358" y="19121"/>
                    </a:cubicBezTo>
                    <a:cubicBezTo>
                      <a:pt x="3792" y="20941"/>
                      <a:pt x="5085" y="15480"/>
                      <a:pt x="5313" y="14388"/>
                    </a:cubicBezTo>
                    <a:cubicBezTo>
                      <a:pt x="5313" y="14267"/>
                      <a:pt x="5389" y="14145"/>
                      <a:pt x="5389" y="14145"/>
                    </a:cubicBezTo>
                    <a:cubicBezTo>
                      <a:pt x="8051" y="17422"/>
                      <a:pt x="9116" y="12932"/>
                      <a:pt x="9116" y="12932"/>
                    </a:cubicBezTo>
                    <a:cubicBezTo>
                      <a:pt x="9496" y="13053"/>
                      <a:pt x="9496" y="13053"/>
                      <a:pt x="9496" y="13053"/>
                    </a:cubicBezTo>
                    <a:cubicBezTo>
                      <a:pt x="9876" y="12932"/>
                      <a:pt x="9876" y="12932"/>
                      <a:pt x="9876" y="12932"/>
                    </a:cubicBezTo>
                    <a:cubicBezTo>
                      <a:pt x="9876" y="12932"/>
                      <a:pt x="11017" y="17422"/>
                      <a:pt x="13679" y="14145"/>
                    </a:cubicBezTo>
                    <a:cubicBezTo>
                      <a:pt x="13679" y="14145"/>
                      <a:pt x="13679" y="14267"/>
                      <a:pt x="13679" y="14388"/>
                    </a:cubicBezTo>
                    <a:cubicBezTo>
                      <a:pt x="13907" y="15480"/>
                      <a:pt x="15276" y="20941"/>
                      <a:pt x="17710" y="19121"/>
                    </a:cubicBezTo>
                    <a:cubicBezTo>
                      <a:pt x="17710" y="19121"/>
                      <a:pt x="20296" y="18393"/>
                      <a:pt x="18242" y="7229"/>
                    </a:cubicBezTo>
                    <a:close/>
                    <a:moveTo>
                      <a:pt x="4781" y="7714"/>
                    </a:moveTo>
                    <a:cubicBezTo>
                      <a:pt x="4781" y="10262"/>
                      <a:pt x="4781" y="10262"/>
                      <a:pt x="4781" y="10262"/>
                    </a:cubicBezTo>
                    <a:cubicBezTo>
                      <a:pt x="3564" y="10262"/>
                      <a:pt x="3564" y="10262"/>
                      <a:pt x="3564" y="10262"/>
                    </a:cubicBezTo>
                    <a:cubicBezTo>
                      <a:pt x="3564" y="7714"/>
                      <a:pt x="3564" y="7714"/>
                      <a:pt x="3564" y="7714"/>
                    </a:cubicBezTo>
                    <a:cubicBezTo>
                      <a:pt x="1966" y="7714"/>
                      <a:pt x="1966" y="7714"/>
                      <a:pt x="1966" y="7714"/>
                    </a:cubicBezTo>
                    <a:cubicBezTo>
                      <a:pt x="1966" y="5772"/>
                      <a:pt x="1966" y="5772"/>
                      <a:pt x="1966" y="5772"/>
                    </a:cubicBezTo>
                    <a:cubicBezTo>
                      <a:pt x="3564" y="5772"/>
                      <a:pt x="3564" y="5772"/>
                      <a:pt x="3564" y="5772"/>
                    </a:cubicBezTo>
                    <a:cubicBezTo>
                      <a:pt x="3564" y="3345"/>
                      <a:pt x="3564" y="3345"/>
                      <a:pt x="3564" y="3345"/>
                    </a:cubicBezTo>
                    <a:cubicBezTo>
                      <a:pt x="4781" y="3345"/>
                      <a:pt x="4781" y="3345"/>
                      <a:pt x="4781" y="3345"/>
                    </a:cubicBezTo>
                    <a:cubicBezTo>
                      <a:pt x="4781" y="5772"/>
                      <a:pt x="4781" y="5772"/>
                      <a:pt x="4781" y="5772"/>
                    </a:cubicBezTo>
                    <a:cubicBezTo>
                      <a:pt x="6302" y="5772"/>
                      <a:pt x="6302" y="5772"/>
                      <a:pt x="6302" y="5772"/>
                    </a:cubicBezTo>
                    <a:cubicBezTo>
                      <a:pt x="6302" y="7714"/>
                      <a:pt x="6302" y="7714"/>
                      <a:pt x="6302" y="7714"/>
                    </a:cubicBezTo>
                    <a:lnTo>
                      <a:pt x="4781" y="7714"/>
                    </a:lnTo>
                    <a:close/>
                    <a:moveTo>
                      <a:pt x="7138" y="14388"/>
                    </a:moveTo>
                    <a:cubicBezTo>
                      <a:pt x="6302" y="14388"/>
                      <a:pt x="5693" y="13417"/>
                      <a:pt x="5693" y="12083"/>
                    </a:cubicBezTo>
                    <a:cubicBezTo>
                      <a:pt x="5693" y="10748"/>
                      <a:pt x="6302" y="9777"/>
                      <a:pt x="7138" y="9777"/>
                    </a:cubicBezTo>
                    <a:cubicBezTo>
                      <a:pt x="7975" y="9777"/>
                      <a:pt x="8583" y="10748"/>
                      <a:pt x="8583" y="12083"/>
                    </a:cubicBezTo>
                    <a:cubicBezTo>
                      <a:pt x="8583" y="13417"/>
                      <a:pt x="7975" y="14388"/>
                      <a:pt x="7138" y="14388"/>
                    </a:cubicBezTo>
                    <a:close/>
                    <a:moveTo>
                      <a:pt x="11930" y="14388"/>
                    </a:moveTo>
                    <a:cubicBezTo>
                      <a:pt x="11093" y="14388"/>
                      <a:pt x="10409" y="13417"/>
                      <a:pt x="10409" y="12083"/>
                    </a:cubicBezTo>
                    <a:cubicBezTo>
                      <a:pt x="10409" y="10748"/>
                      <a:pt x="11093" y="9777"/>
                      <a:pt x="11930" y="9777"/>
                    </a:cubicBezTo>
                    <a:cubicBezTo>
                      <a:pt x="12690" y="9777"/>
                      <a:pt x="13375" y="10748"/>
                      <a:pt x="13375" y="12083"/>
                    </a:cubicBezTo>
                    <a:cubicBezTo>
                      <a:pt x="13375" y="13417"/>
                      <a:pt x="12690" y="14388"/>
                      <a:pt x="11930" y="14388"/>
                    </a:cubicBezTo>
                    <a:close/>
                    <a:moveTo>
                      <a:pt x="17026" y="7714"/>
                    </a:moveTo>
                    <a:cubicBezTo>
                      <a:pt x="15428" y="7714"/>
                      <a:pt x="15428" y="7714"/>
                      <a:pt x="15428" y="7714"/>
                    </a:cubicBezTo>
                    <a:cubicBezTo>
                      <a:pt x="15428" y="10262"/>
                      <a:pt x="15428" y="10262"/>
                      <a:pt x="15428" y="10262"/>
                    </a:cubicBezTo>
                    <a:cubicBezTo>
                      <a:pt x="14211" y="10262"/>
                      <a:pt x="14211" y="10262"/>
                      <a:pt x="14211" y="10262"/>
                    </a:cubicBezTo>
                    <a:cubicBezTo>
                      <a:pt x="14211" y="7714"/>
                      <a:pt x="14211" y="7714"/>
                      <a:pt x="14211" y="7714"/>
                    </a:cubicBezTo>
                    <a:cubicBezTo>
                      <a:pt x="12690" y="7714"/>
                      <a:pt x="12690" y="7714"/>
                      <a:pt x="12690" y="7714"/>
                    </a:cubicBezTo>
                    <a:cubicBezTo>
                      <a:pt x="12690" y="5772"/>
                      <a:pt x="12690" y="5772"/>
                      <a:pt x="12690" y="5772"/>
                    </a:cubicBezTo>
                    <a:cubicBezTo>
                      <a:pt x="14211" y="5772"/>
                      <a:pt x="14211" y="5772"/>
                      <a:pt x="14211" y="5772"/>
                    </a:cubicBezTo>
                    <a:cubicBezTo>
                      <a:pt x="14211" y="3345"/>
                      <a:pt x="14211" y="3345"/>
                      <a:pt x="14211" y="3345"/>
                    </a:cubicBezTo>
                    <a:cubicBezTo>
                      <a:pt x="15428" y="3345"/>
                      <a:pt x="15428" y="3345"/>
                      <a:pt x="15428" y="3345"/>
                    </a:cubicBezTo>
                    <a:cubicBezTo>
                      <a:pt x="15428" y="5772"/>
                      <a:pt x="15428" y="5772"/>
                      <a:pt x="15428" y="5772"/>
                    </a:cubicBezTo>
                    <a:cubicBezTo>
                      <a:pt x="17026" y="5772"/>
                      <a:pt x="17026" y="5772"/>
                      <a:pt x="17026" y="5772"/>
                    </a:cubicBezTo>
                    <a:lnTo>
                      <a:pt x="17026" y="7714"/>
                    </a:lnTo>
                    <a:close/>
                  </a:path>
                </a:pathLst>
              </a:custGeom>
              <a:solidFill>
                <a:srgbClr val="FFB8B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defTabSz="1219080">
                  <a:defRPr/>
                </a:pPr>
                <a:endParaRPr sz="3200" kern="0">
                  <a:solidFill>
                    <a:srgbClr val="777777"/>
                  </a:solidFill>
                </a:endParaRPr>
              </a:p>
            </p:txBody>
          </p:sp>
          <p:sp>
            <p:nvSpPr>
              <p:cNvPr id="79" name="Shape 1180">
                <a:extLst>
                  <a:ext uri="{FF2B5EF4-FFF2-40B4-BE49-F238E27FC236}">
                    <a16:creationId xmlns:a16="http://schemas.microsoft.com/office/drawing/2014/main" id="{6CE8A823-0A16-4100-85CA-C81FA7E766EC}"/>
                  </a:ext>
                </a:extLst>
              </p:cNvPr>
              <p:cNvSpPr/>
              <p:nvPr/>
            </p:nvSpPr>
            <p:spPr>
              <a:xfrm>
                <a:off x="1009177" y="3803927"/>
                <a:ext cx="326932" cy="2085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11" h="21600" extrusionOk="0">
                    <a:moveTo>
                      <a:pt x="18238" y="0"/>
                    </a:moveTo>
                    <a:cubicBezTo>
                      <a:pt x="3090" y="148"/>
                      <a:pt x="3090" y="148"/>
                      <a:pt x="3090" y="148"/>
                    </a:cubicBezTo>
                    <a:cubicBezTo>
                      <a:pt x="1314" y="148"/>
                      <a:pt x="-89" y="2367"/>
                      <a:pt x="5" y="5178"/>
                    </a:cubicBezTo>
                    <a:cubicBezTo>
                      <a:pt x="5" y="16570"/>
                      <a:pt x="5" y="16570"/>
                      <a:pt x="5" y="16570"/>
                    </a:cubicBezTo>
                    <a:cubicBezTo>
                      <a:pt x="5" y="19381"/>
                      <a:pt x="1501" y="21600"/>
                      <a:pt x="3184" y="21600"/>
                    </a:cubicBezTo>
                    <a:cubicBezTo>
                      <a:pt x="18332" y="21452"/>
                      <a:pt x="18332" y="21452"/>
                      <a:pt x="18332" y="21452"/>
                    </a:cubicBezTo>
                    <a:cubicBezTo>
                      <a:pt x="20108" y="21452"/>
                      <a:pt x="21511" y="19233"/>
                      <a:pt x="21511" y="16422"/>
                    </a:cubicBezTo>
                    <a:cubicBezTo>
                      <a:pt x="21417" y="5030"/>
                      <a:pt x="21417" y="5030"/>
                      <a:pt x="21417" y="5030"/>
                    </a:cubicBezTo>
                    <a:cubicBezTo>
                      <a:pt x="21417" y="2219"/>
                      <a:pt x="19921" y="0"/>
                      <a:pt x="18238" y="0"/>
                    </a:cubicBezTo>
                    <a:close/>
                    <a:moveTo>
                      <a:pt x="5428" y="5622"/>
                    </a:moveTo>
                    <a:cubicBezTo>
                      <a:pt x="2903" y="5918"/>
                      <a:pt x="2903" y="5918"/>
                      <a:pt x="2903" y="5918"/>
                    </a:cubicBezTo>
                    <a:cubicBezTo>
                      <a:pt x="2436" y="5918"/>
                      <a:pt x="2062" y="5622"/>
                      <a:pt x="2062" y="5178"/>
                    </a:cubicBezTo>
                    <a:cubicBezTo>
                      <a:pt x="1968" y="2663"/>
                      <a:pt x="1968" y="2663"/>
                      <a:pt x="1968" y="2663"/>
                    </a:cubicBezTo>
                    <a:cubicBezTo>
                      <a:pt x="1968" y="2219"/>
                      <a:pt x="2249" y="1923"/>
                      <a:pt x="2716" y="1923"/>
                    </a:cubicBezTo>
                    <a:cubicBezTo>
                      <a:pt x="5241" y="1627"/>
                      <a:pt x="5241" y="1627"/>
                      <a:pt x="5241" y="1627"/>
                    </a:cubicBezTo>
                    <a:cubicBezTo>
                      <a:pt x="5708" y="1627"/>
                      <a:pt x="6082" y="1923"/>
                      <a:pt x="6082" y="2367"/>
                    </a:cubicBezTo>
                    <a:cubicBezTo>
                      <a:pt x="6176" y="4882"/>
                      <a:pt x="6176" y="4882"/>
                      <a:pt x="6176" y="4882"/>
                    </a:cubicBezTo>
                    <a:cubicBezTo>
                      <a:pt x="6176" y="5326"/>
                      <a:pt x="5802" y="5622"/>
                      <a:pt x="5428" y="5622"/>
                    </a:cubicBezTo>
                    <a:close/>
                    <a:moveTo>
                      <a:pt x="11412" y="16422"/>
                    </a:moveTo>
                    <a:cubicBezTo>
                      <a:pt x="9542" y="17310"/>
                      <a:pt x="7579" y="15386"/>
                      <a:pt x="7017" y="12279"/>
                    </a:cubicBezTo>
                    <a:cubicBezTo>
                      <a:pt x="6550" y="9321"/>
                      <a:pt x="7672" y="6066"/>
                      <a:pt x="9636" y="5326"/>
                    </a:cubicBezTo>
                    <a:cubicBezTo>
                      <a:pt x="11506" y="4586"/>
                      <a:pt x="13469" y="6362"/>
                      <a:pt x="14030" y="9468"/>
                    </a:cubicBezTo>
                    <a:cubicBezTo>
                      <a:pt x="14498" y="12575"/>
                      <a:pt x="13376" y="15682"/>
                      <a:pt x="11412" y="16422"/>
                    </a:cubicBezTo>
                    <a:close/>
                  </a:path>
                </a:pathLst>
              </a:custGeom>
              <a:solidFill>
                <a:srgbClr val="FFB8B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defTabSz="1219080">
                  <a:defRPr/>
                </a:pPr>
                <a:endParaRPr sz="3200" kern="0">
                  <a:solidFill>
                    <a:srgbClr val="777777"/>
                  </a:solidFill>
                </a:endParaRPr>
              </a:p>
            </p:txBody>
          </p:sp>
          <p:grpSp>
            <p:nvGrpSpPr>
              <p:cNvPr id="80" name="组合 79">
                <a:extLst>
                  <a:ext uri="{FF2B5EF4-FFF2-40B4-BE49-F238E27FC236}">
                    <a16:creationId xmlns:a16="http://schemas.microsoft.com/office/drawing/2014/main" id="{9D264944-A18E-4072-A722-1BE2CEF88987}"/>
                  </a:ext>
                </a:extLst>
              </p:cNvPr>
              <p:cNvGrpSpPr/>
              <p:nvPr/>
            </p:nvGrpSpPr>
            <p:grpSpPr>
              <a:xfrm>
                <a:off x="1530586" y="3799387"/>
                <a:ext cx="356757" cy="225451"/>
                <a:chOff x="4403726" y="3190875"/>
                <a:chExt cx="914401" cy="577850"/>
              </a:xfrm>
              <a:solidFill>
                <a:srgbClr val="FFB8B8"/>
              </a:solidFill>
            </p:grpSpPr>
            <p:sp>
              <p:nvSpPr>
                <p:cNvPr id="81" name="Shape 1271">
                  <a:extLst>
                    <a:ext uri="{FF2B5EF4-FFF2-40B4-BE49-F238E27FC236}">
                      <a16:creationId xmlns:a16="http://schemas.microsoft.com/office/drawing/2014/main" id="{5DFFDB88-4F1B-406D-8AAC-A49550CFE311}"/>
                    </a:ext>
                  </a:extLst>
                </p:cNvPr>
                <p:cNvSpPr/>
                <p:nvPr/>
              </p:nvSpPr>
              <p:spPr>
                <a:xfrm>
                  <a:off x="4403726" y="3190875"/>
                  <a:ext cx="914401" cy="57785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0376" y="0"/>
                      </a:moveTo>
                      <a:cubicBezTo>
                        <a:pt x="1296" y="0"/>
                        <a:pt x="1296" y="0"/>
                        <a:pt x="1296" y="0"/>
                      </a:cubicBezTo>
                      <a:cubicBezTo>
                        <a:pt x="576" y="0"/>
                        <a:pt x="0" y="796"/>
                        <a:pt x="0" y="1933"/>
                      </a:cubicBezTo>
                      <a:cubicBezTo>
                        <a:pt x="0" y="19554"/>
                        <a:pt x="0" y="19554"/>
                        <a:pt x="0" y="19554"/>
                      </a:cubicBezTo>
                      <a:cubicBezTo>
                        <a:pt x="0" y="20691"/>
                        <a:pt x="576" y="21600"/>
                        <a:pt x="1296" y="21600"/>
                      </a:cubicBezTo>
                      <a:cubicBezTo>
                        <a:pt x="20376" y="21600"/>
                        <a:pt x="20376" y="21600"/>
                        <a:pt x="20376" y="21600"/>
                      </a:cubicBezTo>
                      <a:cubicBezTo>
                        <a:pt x="21096" y="21600"/>
                        <a:pt x="21600" y="20691"/>
                        <a:pt x="21600" y="19554"/>
                      </a:cubicBezTo>
                      <a:cubicBezTo>
                        <a:pt x="21600" y="1933"/>
                        <a:pt x="21600" y="1933"/>
                        <a:pt x="21600" y="1933"/>
                      </a:cubicBezTo>
                      <a:cubicBezTo>
                        <a:pt x="21600" y="796"/>
                        <a:pt x="21096" y="0"/>
                        <a:pt x="20376" y="0"/>
                      </a:cubicBezTo>
                      <a:close/>
                      <a:moveTo>
                        <a:pt x="6768" y="18758"/>
                      </a:moveTo>
                      <a:cubicBezTo>
                        <a:pt x="4032" y="18758"/>
                        <a:pt x="1728" y="15120"/>
                        <a:pt x="1728" y="10800"/>
                      </a:cubicBezTo>
                      <a:cubicBezTo>
                        <a:pt x="1728" y="6366"/>
                        <a:pt x="4032" y="2728"/>
                        <a:pt x="6768" y="2728"/>
                      </a:cubicBezTo>
                      <a:cubicBezTo>
                        <a:pt x="9576" y="2728"/>
                        <a:pt x="11880" y="6366"/>
                        <a:pt x="11880" y="10800"/>
                      </a:cubicBezTo>
                      <a:cubicBezTo>
                        <a:pt x="11880" y="15120"/>
                        <a:pt x="9576" y="18758"/>
                        <a:pt x="6768" y="18758"/>
                      </a:cubicBezTo>
                      <a:close/>
                      <a:moveTo>
                        <a:pt x="19008" y="17621"/>
                      </a:moveTo>
                      <a:cubicBezTo>
                        <a:pt x="14544" y="17621"/>
                        <a:pt x="14544" y="17621"/>
                        <a:pt x="14544" y="17621"/>
                      </a:cubicBezTo>
                      <a:cubicBezTo>
                        <a:pt x="14400" y="17621"/>
                        <a:pt x="14256" y="17394"/>
                        <a:pt x="14256" y="17053"/>
                      </a:cubicBezTo>
                      <a:cubicBezTo>
                        <a:pt x="14256" y="16825"/>
                        <a:pt x="14400" y="16484"/>
                        <a:pt x="14544" y="16484"/>
                      </a:cubicBezTo>
                      <a:cubicBezTo>
                        <a:pt x="19008" y="16484"/>
                        <a:pt x="19008" y="16484"/>
                        <a:pt x="19008" y="16484"/>
                      </a:cubicBezTo>
                      <a:cubicBezTo>
                        <a:pt x="19224" y="16484"/>
                        <a:pt x="19368" y="16825"/>
                        <a:pt x="19368" y="17053"/>
                      </a:cubicBezTo>
                      <a:cubicBezTo>
                        <a:pt x="19368" y="17394"/>
                        <a:pt x="19224" y="17621"/>
                        <a:pt x="19008" y="17621"/>
                      </a:cubicBezTo>
                      <a:close/>
                      <a:moveTo>
                        <a:pt x="19008" y="15120"/>
                      </a:moveTo>
                      <a:cubicBezTo>
                        <a:pt x="14544" y="15120"/>
                        <a:pt x="14544" y="15120"/>
                        <a:pt x="14544" y="15120"/>
                      </a:cubicBezTo>
                      <a:cubicBezTo>
                        <a:pt x="14400" y="15120"/>
                        <a:pt x="14256" y="14893"/>
                        <a:pt x="14256" y="14552"/>
                      </a:cubicBezTo>
                      <a:cubicBezTo>
                        <a:pt x="14256" y="14211"/>
                        <a:pt x="14400" y="13983"/>
                        <a:pt x="14544" y="13983"/>
                      </a:cubicBezTo>
                      <a:cubicBezTo>
                        <a:pt x="19008" y="13983"/>
                        <a:pt x="19008" y="13983"/>
                        <a:pt x="19008" y="13983"/>
                      </a:cubicBezTo>
                      <a:cubicBezTo>
                        <a:pt x="19224" y="13983"/>
                        <a:pt x="19368" y="14211"/>
                        <a:pt x="19368" y="14552"/>
                      </a:cubicBezTo>
                      <a:cubicBezTo>
                        <a:pt x="19368" y="14893"/>
                        <a:pt x="19224" y="15120"/>
                        <a:pt x="19008" y="15120"/>
                      </a:cubicBezTo>
                      <a:close/>
                      <a:moveTo>
                        <a:pt x="19008" y="12619"/>
                      </a:moveTo>
                      <a:cubicBezTo>
                        <a:pt x="14544" y="12619"/>
                        <a:pt x="14544" y="12619"/>
                        <a:pt x="14544" y="12619"/>
                      </a:cubicBezTo>
                      <a:cubicBezTo>
                        <a:pt x="14400" y="12619"/>
                        <a:pt x="14256" y="12278"/>
                        <a:pt x="14256" y="12051"/>
                      </a:cubicBezTo>
                      <a:cubicBezTo>
                        <a:pt x="14256" y="11709"/>
                        <a:pt x="14400" y="11482"/>
                        <a:pt x="14544" y="11482"/>
                      </a:cubicBezTo>
                      <a:cubicBezTo>
                        <a:pt x="19008" y="11482"/>
                        <a:pt x="19008" y="11482"/>
                        <a:pt x="19008" y="11482"/>
                      </a:cubicBezTo>
                      <a:cubicBezTo>
                        <a:pt x="19224" y="11482"/>
                        <a:pt x="19368" y="11709"/>
                        <a:pt x="19368" y="12051"/>
                      </a:cubicBezTo>
                      <a:cubicBezTo>
                        <a:pt x="19368" y="12278"/>
                        <a:pt x="19224" y="12619"/>
                        <a:pt x="19008" y="12619"/>
                      </a:cubicBezTo>
                      <a:close/>
                      <a:moveTo>
                        <a:pt x="19008" y="10004"/>
                      </a:moveTo>
                      <a:cubicBezTo>
                        <a:pt x="14544" y="10004"/>
                        <a:pt x="14544" y="10004"/>
                        <a:pt x="14544" y="10004"/>
                      </a:cubicBezTo>
                      <a:cubicBezTo>
                        <a:pt x="14400" y="10004"/>
                        <a:pt x="14256" y="9777"/>
                        <a:pt x="14256" y="9436"/>
                      </a:cubicBezTo>
                      <a:cubicBezTo>
                        <a:pt x="14256" y="9208"/>
                        <a:pt x="14400" y="8981"/>
                        <a:pt x="14544" y="8981"/>
                      </a:cubicBezTo>
                      <a:cubicBezTo>
                        <a:pt x="19008" y="8981"/>
                        <a:pt x="19008" y="8981"/>
                        <a:pt x="19008" y="8981"/>
                      </a:cubicBezTo>
                      <a:cubicBezTo>
                        <a:pt x="19224" y="8981"/>
                        <a:pt x="19368" y="9208"/>
                        <a:pt x="19368" y="9436"/>
                      </a:cubicBezTo>
                      <a:cubicBezTo>
                        <a:pt x="19368" y="9777"/>
                        <a:pt x="19224" y="10004"/>
                        <a:pt x="19008" y="10004"/>
                      </a:cubicBezTo>
                      <a:close/>
                      <a:moveTo>
                        <a:pt x="19008" y="7503"/>
                      </a:moveTo>
                      <a:cubicBezTo>
                        <a:pt x="14544" y="7503"/>
                        <a:pt x="14544" y="7503"/>
                        <a:pt x="14544" y="7503"/>
                      </a:cubicBezTo>
                      <a:cubicBezTo>
                        <a:pt x="14400" y="7503"/>
                        <a:pt x="14256" y="7276"/>
                        <a:pt x="14256" y="6935"/>
                      </a:cubicBezTo>
                      <a:cubicBezTo>
                        <a:pt x="14256" y="6594"/>
                        <a:pt x="14400" y="6366"/>
                        <a:pt x="14544" y="6366"/>
                      </a:cubicBezTo>
                      <a:cubicBezTo>
                        <a:pt x="19008" y="6366"/>
                        <a:pt x="19008" y="6366"/>
                        <a:pt x="19008" y="6366"/>
                      </a:cubicBezTo>
                      <a:cubicBezTo>
                        <a:pt x="19224" y="6366"/>
                        <a:pt x="19368" y="6594"/>
                        <a:pt x="19368" y="6935"/>
                      </a:cubicBezTo>
                      <a:cubicBezTo>
                        <a:pt x="19368" y="7276"/>
                        <a:pt x="19224" y="7503"/>
                        <a:pt x="19008" y="7503"/>
                      </a:cubicBezTo>
                      <a:close/>
                      <a:moveTo>
                        <a:pt x="19008" y="5002"/>
                      </a:moveTo>
                      <a:cubicBezTo>
                        <a:pt x="14544" y="5002"/>
                        <a:pt x="14544" y="5002"/>
                        <a:pt x="14544" y="5002"/>
                      </a:cubicBezTo>
                      <a:cubicBezTo>
                        <a:pt x="14400" y="5002"/>
                        <a:pt x="14256" y="4775"/>
                        <a:pt x="14256" y="4434"/>
                      </a:cubicBezTo>
                      <a:cubicBezTo>
                        <a:pt x="14256" y="4093"/>
                        <a:pt x="14400" y="3865"/>
                        <a:pt x="14544" y="3865"/>
                      </a:cubicBezTo>
                      <a:cubicBezTo>
                        <a:pt x="19008" y="3865"/>
                        <a:pt x="19008" y="3865"/>
                        <a:pt x="19008" y="3865"/>
                      </a:cubicBezTo>
                      <a:cubicBezTo>
                        <a:pt x="19224" y="3865"/>
                        <a:pt x="19368" y="4093"/>
                        <a:pt x="19368" y="4434"/>
                      </a:cubicBezTo>
                      <a:cubicBezTo>
                        <a:pt x="19368" y="4775"/>
                        <a:pt x="19224" y="5002"/>
                        <a:pt x="19008" y="5002"/>
                      </a:cubicBezTo>
                      <a:close/>
                    </a:path>
                  </a:pathLst>
                </a:custGeom>
                <a:grpFill/>
                <a:ln w="12700">
                  <a:miter lim="400000"/>
                </a:ln>
              </p:spPr>
              <p:txBody>
                <a:bodyPr lIns="0" tIns="0" rIns="0" bIns="0"/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82" name="Shape 1272">
                  <a:extLst>
                    <a:ext uri="{FF2B5EF4-FFF2-40B4-BE49-F238E27FC236}">
                      <a16:creationId xmlns:a16="http://schemas.microsoft.com/office/drawing/2014/main" id="{E08FE780-CC4D-43A1-8339-6DC11897AC41}"/>
                    </a:ext>
                  </a:extLst>
                </p:cNvPr>
                <p:cNvSpPr/>
                <p:nvPr/>
              </p:nvSpPr>
              <p:spPr>
                <a:xfrm>
                  <a:off x="4651376" y="3440112"/>
                  <a:ext cx="80965" cy="7937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679" h="19679" extrusionOk="0">
                      <a:moveTo>
                        <a:pt x="16796" y="2882"/>
                      </a:moveTo>
                      <a:cubicBezTo>
                        <a:pt x="20639" y="6724"/>
                        <a:pt x="20639" y="12954"/>
                        <a:pt x="16796" y="16796"/>
                      </a:cubicBezTo>
                      <a:cubicBezTo>
                        <a:pt x="12954" y="20639"/>
                        <a:pt x="6724" y="20639"/>
                        <a:pt x="2882" y="16796"/>
                      </a:cubicBezTo>
                      <a:cubicBezTo>
                        <a:pt x="-961" y="12954"/>
                        <a:pt x="-961" y="6724"/>
                        <a:pt x="2882" y="2882"/>
                      </a:cubicBezTo>
                      <a:cubicBezTo>
                        <a:pt x="6724" y="-961"/>
                        <a:pt x="12954" y="-961"/>
                        <a:pt x="16796" y="2882"/>
                      </a:cubicBezTo>
                      <a:close/>
                    </a:path>
                  </a:pathLst>
                </a:custGeom>
                <a:grpFill/>
                <a:ln w="12700">
                  <a:miter lim="400000"/>
                </a:ln>
              </p:spPr>
              <p:txBody>
                <a:bodyPr lIns="0" tIns="0" rIns="0" bIns="0"/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83" name="Shape 1273">
                  <a:extLst>
                    <a:ext uri="{FF2B5EF4-FFF2-40B4-BE49-F238E27FC236}">
                      <a16:creationId xmlns:a16="http://schemas.microsoft.com/office/drawing/2014/main" id="{E00A9A07-4E7F-4782-8731-8419B51A6D1F}"/>
                    </a:ext>
                  </a:extLst>
                </p:cNvPr>
                <p:cNvSpPr/>
                <p:nvPr/>
              </p:nvSpPr>
              <p:spPr>
                <a:xfrm>
                  <a:off x="4725880" y="3470275"/>
                  <a:ext cx="151951" cy="14039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7671" h="19103" extrusionOk="0">
                      <a:moveTo>
                        <a:pt x="2261" y="0"/>
                      </a:moveTo>
                      <a:cubicBezTo>
                        <a:pt x="2261" y="415"/>
                        <a:pt x="2261" y="831"/>
                        <a:pt x="2261" y="1246"/>
                      </a:cubicBezTo>
                      <a:cubicBezTo>
                        <a:pt x="2261" y="3323"/>
                        <a:pt x="1553" y="5400"/>
                        <a:pt x="136" y="6646"/>
                      </a:cubicBezTo>
                      <a:cubicBezTo>
                        <a:pt x="490" y="10800"/>
                        <a:pt x="-1280" y="14123"/>
                        <a:pt x="2261" y="17446"/>
                      </a:cubicBezTo>
                      <a:cubicBezTo>
                        <a:pt x="6156" y="21600"/>
                        <a:pt x="11113" y="17031"/>
                        <a:pt x="15717" y="13708"/>
                      </a:cubicBezTo>
                      <a:cubicBezTo>
                        <a:pt x="20320" y="10385"/>
                        <a:pt x="16071" y="3738"/>
                        <a:pt x="10405" y="1246"/>
                      </a:cubicBezTo>
                      <a:cubicBezTo>
                        <a:pt x="8281" y="415"/>
                        <a:pt x="4740" y="0"/>
                        <a:pt x="2261" y="0"/>
                      </a:cubicBezTo>
                      <a:close/>
                    </a:path>
                  </a:pathLst>
                </a:custGeom>
                <a:grpFill/>
                <a:ln w="12700">
                  <a:miter lim="400000"/>
                </a:ln>
              </p:spPr>
              <p:txBody>
                <a:bodyPr lIns="0" tIns="0" rIns="0" bIns="0"/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84" name="Shape 1274">
                  <a:extLst>
                    <a:ext uri="{FF2B5EF4-FFF2-40B4-BE49-F238E27FC236}">
                      <a16:creationId xmlns:a16="http://schemas.microsoft.com/office/drawing/2014/main" id="{9129B6D6-CA03-44A4-A0E6-9DC1C4B3264C}"/>
                    </a:ext>
                  </a:extLst>
                </p:cNvPr>
                <p:cNvSpPr/>
                <p:nvPr/>
              </p:nvSpPr>
              <p:spPr>
                <a:xfrm>
                  <a:off x="4527940" y="3460139"/>
                  <a:ext cx="147248" cy="15155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444" h="18746" extrusionOk="0">
                      <a:moveTo>
                        <a:pt x="15785" y="3444"/>
                      </a:moveTo>
                      <a:cubicBezTo>
                        <a:pt x="11973" y="1929"/>
                        <a:pt x="9856" y="-1103"/>
                        <a:pt x="4773" y="413"/>
                      </a:cubicBezTo>
                      <a:cubicBezTo>
                        <a:pt x="-1156" y="2308"/>
                        <a:pt x="115" y="9129"/>
                        <a:pt x="115" y="14813"/>
                      </a:cubicBezTo>
                      <a:cubicBezTo>
                        <a:pt x="115" y="20497"/>
                        <a:pt x="9009" y="19360"/>
                        <a:pt x="14091" y="15571"/>
                      </a:cubicBezTo>
                      <a:cubicBezTo>
                        <a:pt x="16632" y="13676"/>
                        <a:pt x="18750" y="11023"/>
                        <a:pt x="20444" y="8371"/>
                      </a:cubicBezTo>
                      <a:cubicBezTo>
                        <a:pt x="17903" y="7613"/>
                        <a:pt x="16209" y="5718"/>
                        <a:pt x="15785" y="3444"/>
                      </a:cubicBezTo>
                      <a:close/>
                    </a:path>
                  </a:pathLst>
                </a:custGeom>
                <a:grpFill/>
                <a:ln w="12700">
                  <a:miter lim="400000"/>
                </a:ln>
              </p:spPr>
              <p:txBody>
                <a:bodyPr lIns="0" tIns="0" rIns="0" bIns="0"/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85" name="Shape 1275">
                  <a:extLst>
                    <a:ext uri="{FF2B5EF4-FFF2-40B4-BE49-F238E27FC236}">
                      <a16:creationId xmlns:a16="http://schemas.microsoft.com/office/drawing/2014/main" id="{78A72B2D-5896-45CE-AD2E-87E98B96F7AB}"/>
                    </a:ext>
                  </a:extLst>
                </p:cNvPr>
                <p:cNvSpPr/>
                <p:nvPr/>
              </p:nvSpPr>
              <p:spPr>
                <a:xfrm>
                  <a:off x="4630031" y="3282356"/>
                  <a:ext cx="140257" cy="15775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473" h="19513" extrusionOk="0">
                      <a:moveTo>
                        <a:pt x="4078" y="19513"/>
                      </a:moveTo>
                      <a:cubicBezTo>
                        <a:pt x="5349" y="18376"/>
                        <a:pt x="7043" y="17997"/>
                        <a:pt x="8737" y="17997"/>
                      </a:cubicBezTo>
                      <a:cubicBezTo>
                        <a:pt x="9584" y="17997"/>
                        <a:pt x="10431" y="17997"/>
                        <a:pt x="10855" y="18376"/>
                      </a:cubicBezTo>
                      <a:cubicBezTo>
                        <a:pt x="14243" y="16102"/>
                        <a:pt x="18478" y="16102"/>
                        <a:pt x="19325" y="11555"/>
                      </a:cubicBezTo>
                      <a:cubicBezTo>
                        <a:pt x="20596" y="5871"/>
                        <a:pt x="13396" y="3218"/>
                        <a:pt x="7890" y="566"/>
                      </a:cubicBezTo>
                      <a:cubicBezTo>
                        <a:pt x="2384" y="-2087"/>
                        <a:pt x="-1004" y="5113"/>
                        <a:pt x="267" y="11176"/>
                      </a:cubicBezTo>
                      <a:cubicBezTo>
                        <a:pt x="690" y="13829"/>
                        <a:pt x="2384" y="16860"/>
                        <a:pt x="4078" y="19513"/>
                      </a:cubicBezTo>
                      <a:close/>
                    </a:path>
                  </a:pathLst>
                </a:custGeom>
                <a:grpFill/>
                <a:ln w="12700">
                  <a:miter lim="400000"/>
                </a:ln>
              </p:spPr>
              <p:txBody>
                <a:bodyPr lIns="0" tIns="0" rIns="0" bIns="0"/>
                <a:lstStyle/>
                <a:p>
                  <a:pPr defTabSz="1219080">
                    <a:defRPr/>
                  </a:pPr>
                  <a:endParaRPr sz="3200" kern="0">
                    <a:solidFill>
                      <a:srgbClr val="777777"/>
                    </a:solidFill>
                  </a:endParaRPr>
                </a:p>
              </p:txBody>
            </p:sp>
          </p:grpSp>
        </p:grpSp>
      </p:grpSp>
      <p:sp>
        <p:nvSpPr>
          <p:cNvPr id="105" name="右箭头 179">
            <a:extLst>
              <a:ext uri="{FF2B5EF4-FFF2-40B4-BE49-F238E27FC236}">
                <a16:creationId xmlns:a16="http://schemas.microsoft.com/office/drawing/2014/main" id="{B005B8E9-E7D2-4868-B0D8-DE1A1AD5D8D8}"/>
              </a:ext>
            </a:extLst>
          </p:cNvPr>
          <p:cNvSpPr/>
          <p:nvPr/>
        </p:nvSpPr>
        <p:spPr>
          <a:xfrm>
            <a:off x="5525077" y="3056140"/>
            <a:ext cx="497560" cy="1364661"/>
          </a:xfrm>
          <a:prstGeom prst="rightArrow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60954" rIns="0" bIns="60954" rtlCol="0" anchor="ctr">
            <a:noAutofit/>
          </a:bodyPr>
          <a:lstStyle/>
          <a:p>
            <a:pPr algn="ctr" defTabSz="914332"/>
            <a:endParaRPr lang="zh-CN" altLang="en-US" sz="1600" b="1" dirty="0">
              <a:solidFill>
                <a:srgbClr val="000000">
                  <a:lumMod val="95000"/>
                  <a:lumOff val="5000"/>
                </a:srgbClr>
              </a:solidFill>
            </a:endParaRPr>
          </a:p>
        </p:txBody>
      </p:sp>
      <p:grpSp>
        <p:nvGrpSpPr>
          <p:cNvPr id="106" name="组合 105">
            <a:extLst>
              <a:ext uri="{FF2B5EF4-FFF2-40B4-BE49-F238E27FC236}">
                <a16:creationId xmlns:a16="http://schemas.microsoft.com/office/drawing/2014/main" id="{ACB20F0D-F950-4E26-B179-31394804E184}"/>
              </a:ext>
            </a:extLst>
          </p:cNvPr>
          <p:cNvGrpSpPr/>
          <p:nvPr/>
        </p:nvGrpSpPr>
        <p:grpSpPr>
          <a:xfrm>
            <a:off x="4121145" y="1826116"/>
            <a:ext cx="670171" cy="3824709"/>
            <a:chOff x="3700473" y="1369587"/>
            <a:chExt cx="502628" cy="2868532"/>
          </a:xfrm>
        </p:grpSpPr>
        <p:grpSp>
          <p:nvGrpSpPr>
            <p:cNvPr id="107" name="组合 106">
              <a:extLst>
                <a:ext uri="{FF2B5EF4-FFF2-40B4-BE49-F238E27FC236}">
                  <a16:creationId xmlns:a16="http://schemas.microsoft.com/office/drawing/2014/main" id="{E7BA910B-1672-44DF-8611-E3686A375D57}"/>
                </a:ext>
              </a:extLst>
            </p:cNvPr>
            <p:cNvGrpSpPr/>
            <p:nvPr/>
          </p:nvGrpSpPr>
          <p:grpSpPr>
            <a:xfrm rot="16200000">
              <a:off x="2517521" y="2552539"/>
              <a:ext cx="2868532" cy="502628"/>
              <a:chOff x="1536401" y="3766730"/>
              <a:chExt cx="5873545" cy="380040"/>
            </a:xfrm>
            <a:scene3d>
              <a:camera prst="orthographicFront">
                <a:rot lat="0" lon="1800000" rev="0"/>
              </a:camera>
              <a:lightRig rig="threePt" dir="t"/>
            </a:scene3d>
          </p:grpSpPr>
          <p:cxnSp>
            <p:nvCxnSpPr>
              <p:cNvPr id="109" name="直接连接符 108">
                <a:extLst>
                  <a:ext uri="{FF2B5EF4-FFF2-40B4-BE49-F238E27FC236}">
                    <a16:creationId xmlns:a16="http://schemas.microsoft.com/office/drawing/2014/main" id="{A5F5E71B-05F7-4E70-B3AB-F9A2AB65335B}"/>
                  </a:ext>
                </a:extLst>
              </p:cNvPr>
              <p:cNvCxnSpPr/>
              <p:nvPr/>
            </p:nvCxnSpPr>
            <p:spPr bwMode="auto">
              <a:xfrm>
                <a:off x="1536401" y="4137343"/>
                <a:ext cx="5873545" cy="0"/>
              </a:xfrm>
              <a:prstGeom prst="line">
                <a:avLst/>
              </a:prstGeom>
              <a:noFill/>
              <a:ln w="31750" cap="flat" cmpd="sng" algn="ctr">
                <a:solidFill>
                  <a:srgbClr val="C81423"/>
                </a:solidFill>
                <a:prstDash val="solid"/>
              </a:ln>
              <a:effectLst/>
              <a:extLst/>
            </p:spPr>
          </p:cxnSp>
          <p:cxnSp>
            <p:nvCxnSpPr>
              <p:cNvPr id="110" name="直接箭头连接符 109">
                <a:extLst>
                  <a:ext uri="{FF2B5EF4-FFF2-40B4-BE49-F238E27FC236}">
                    <a16:creationId xmlns:a16="http://schemas.microsoft.com/office/drawing/2014/main" id="{F81F41AC-48BC-42AA-8545-B6B3E6010D14}"/>
                  </a:ext>
                </a:extLst>
              </p:cNvPr>
              <p:cNvCxnSpPr/>
              <p:nvPr/>
            </p:nvCxnSpPr>
            <p:spPr bwMode="auto">
              <a:xfrm flipV="1">
                <a:off x="1536401" y="3766730"/>
                <a:ext cx="0" cy="380040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1" name="直接箭头连接符 110">
                <a:extLst>
                  <a:ext uri="{FF2B5EF4-FFF2-40B4-BE49-F238E27FC236}">
                    <a16:creationId xmlns:a16="http://schemas.microsoft.com/office/drawing/2014/main" id="{E1980223-95CB-4219-8E52-807D5B6CC5A2}"/>
                  </a:ext>
                </a:extLst>
              </p:cNvPr>
              <p:cNvCxnSpPr/>
              <p:nvPr/>
            </p:nvCxnSpPr>
            <p:spPr bwMode="auto">
              <a:xfrm flipV="1">
                <a:off x="7403449" y="3786549"/>
                <a:ext cx="4100" cy="360221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08" name="文本框 107">
              <a:extLst>
                <a:ext uri="{FF2B5EF4-FFF2-40B4-BE49-F238E27FC236}">
                  <a16:creationId xmlns:a16="http://schemas.microsoft.com/office/drawing/2014/main" id="{2A85F2D9-05AC-4FB8-BEB6-9DF607B12FD1}"/>
                </a:ext>
              </a:extLst>
            </p:cNvPr>
            <p:cNvSpPr txBox="1"/>
            <p:nvPr/>
          </p:nvSpPr>
          <p:spPr>
            <a:xfrm>
              <a:off x="3789307" y="2180605"/>
              <a:ext cx="346896" cy="12464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32"/>
              <a:r>
                <a:rPr lang="zh-CN" altLang="en-US" sz="2000" b="1" dirty="0">
                  <a:solidFill>
                    <a:srgbClr val="C00000"/>
                  </a:solidFill>
                </a:rPr>
                <a:t>所</a:t>
              </a:r>
              <a:endParaRPr lang="en-US" altLang="zh-CN" sz="2000" b="1" dirty="0">
                <a:solidFill>
                  <a:srgbClr val="C00000"/>
                </a:solidFill>
              </a:endParaRPr>
            </a:p>
            <a:p>
              <a:pPr defTabSz="914332"/>
              <a:r>
                <a:rPr lang="zh-CN" altLang="en-US" sz="2000" b="1" dirty="0">
                  <a:solidFill>
                    <a:srgbClr val="C00000"/>
                  </a:solidFill>
                </a:rPr>
                <a:t>想</a:t>
              </a:r>
              <a:endParaRPr lang="en-US" altLang="zh-CN" sz="2000" b="1" dirty="0">
                <a:solidFill>
                  <a:srgbClr val="C00000"/>
                </a:solidFill>
              </a:endParaRPr>
            </a:p>
            <a:p>
              <a:pPr defTabSz="914332"/>
              <a:r>
                <a:rPr lang="zh-CN" altLang="en-US" sz="2000" b="1" dirty="0">
                  <a:solidFill>
                    <a:srgbClr val="C00000"/>
                  </a:solidFill>
                </a:rPr>
                <a:t>即</a:t>
              </a:r>
              <a:endParaRPr lang="en-US" altLang="zh-CN" sz="2000" b="1" dirty="0">
                <a:solidFill>
                  <a:srgbClr val="C00000"/>
                </a:solidFill>
              </a:endParaRPr>
            </a:p>
            <a:p>
              <a:pPr defTabSz="914332"/>
              <a:r>
                <a:rPr lang="zh-CN" altLang="en-US" sz="2000" b="1" dirty="0">
                  <a:solidFill>
                    <a:srgbClr val="C00000"/>
                  </a:solidFill>
                </a:rPr>
                <a:t>所</a:t>
              </a:r>
              <a:endParaRPr lang="en-US" altLang="zh-CN" sz="2000" b="1" dirty="0">
                <a:solidFill>
                  <a:srgbClr val="C00000"/>
                </a:solidFill>
              </a:endParaRPr>
            </a:p>
            <a:p>
              <a:pPr defTabSz="914332"/>
              <a:r>
                <a:rPr lang="zh-CN" altLang="en-US" sz="2000" b="1" dirty="0">
                  <a:solidFill>
                    <a:srgbClr val="C00000"/>
                  </a:solidFill>
                </a:rPr>
                <a:t>得</a:t>
              </a:r>
            </a:p>
          </p:txBody>
        </p:sp>
      </p:grpSp>
      <p:sp>
        <p:nvSpPr>
          <p:cNvPr id="112" name="文本框 111">
            <a:extLst>
              <a:ext uri="{FF2B5EF4-FFF2-40B4-BE49-F238E27FC236}">
                <a16:creationId xmlns:a16="http://schemas.microsoft.com/office/drawing/2014/main" id="{070F364F-D419-4B45-AFC3-8BDE21580110}"/>
              </a:ext>
            </a:extLst>
          </p:cNvPr>
          <p:cNvSpPr txBox="1"/>
          <p:nvPr/>
        </p:nvSpPr>
        <p:spPr>
          <a:xfrm>
            <a:off x="4923483" y="3061368"/>
            <a:ext cx="462528" cy="1354217"/>
          </a:xfrm>
          <a:prstGeom prst="rect">
            <a:avLst/>
          </a:prstGeom>
          <a:noFill/>
        </p:spPr>
        <p:txBody>
          <a:bodyPr wrap="square" lIns="121909" tIns="60954" rIns="121909" bIns="60954" rtlCol="0">
            <a:spAutoFit/>
          </a:bodyPr>
          <a:lstStyle/>
          <a:p>
            <a:pPr defTabSz="914332"/>
            <a:r>
              <a:rPr lang="zh-CN" altLang="en-US" sz="2000" b="1" dirty="0">
                <a:solidFill>
                  <a:srgbClr val="FFFFFF">
                    <a:lumMod val="50000"/>
                  </a:srgbClr>
                </a:solidFill>
              </a:rPr>
              <a:t>无界物流</a:t>
            </a:r>
          </a:p>
        </p:txBody>
      </p:sp>
      <p:cxnSp>
        <p:nvCxnSpPr>
          <p:cNvPr id="113" name="直接连接符 112">
            <a:extLst>
              <a:ext uri="{FF2B5EF4-FFF2-40B4-BE49-F238E27FC236}">
                <a16:creationId xmlns:a16="http://schemas.microsoft.com/office/drawing/2014/main" id="{8EAC49F3-4EE9-4478-AB13-674373488B9A}"/>
              </a:ext>
            </a:extLst>
          </p:cNvPr>
          <p:cNvCxnSpPr/>
          <p:nvPr/>
        </p:nvCxnSpPr>
        <p:spPr>
          <a:xfrm>
            <a:off x="3142153" y="3032252"/>
            <a:ext cx="0" cy="528645"/>
          </a:xfrm>
          <a:prstGeom prst="line">
            <a:avLst/>
          </a:prstGeom>
          <a:noFill/>
          <a:ln w="12700" cap="flat" cmpd="sng" algn="ctr">
            <a:solidFill>
              <a:srgbClr val="C00000"/>
            </a:solidFill>
            <a:prstDash val="solid"/>
            <a:round/>
            <a:headEnd type="triangle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4" name="直接连接符 113">
            <a:extLst>
              <a:ext uri="{FF2B5EF4-FFF2-40B4-BE49-F238E27FC236}">
                <a16:creationId xmlns:a16="http://schemas.microsoft.com/office/drawing/2014/main" id="{B6FE78E1-DDDD-4485-8433-56C80B243B66}"/>
              </a:ext>
            </a:extLst>
          </p:cNvPr>
          <p:cNvCxnSpPr/>
          <p:nvPr/>
        </p:nvCxnSpPr>
        <p:spPr>
          <a:xfrm>
            <a:off x="3142153" y="4544788"/>
            <a:ext cx="0" cy="528645"/>
          </a:xfrm>
          <a:prstGeom prst="line">
            <a:avLst/>
          </a:prstGeom>
          <a:noFill/>
          <a:ln w="15875" cap="flat" cmpd="sng" algn="ctr">
            <a:solidFill>
              <a:srgbClr val="C00000"/>
            </a:solidFill>
            <a:prstDash val="solid"/>
            <a:round/>
            <a:headEnd type="triangle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06571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596" y="2616739"/>
            <a:ext cx="12191405" cy="969408"/>
          </a:xfrm>
          <a:prstGeom prst="rect">
            <a:avLst/>
          </a:prstGeom>
          <a:solidFill>
            <a:srgbClr val="DB3D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4" rIns="91424" bIns="45714"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17"/>
          <p:cNvSpPr txBox="1"/>
          <p:nvPr/>
        </p:nvSpPr>
        <p:spPr>
          <a:xfrm>
            <a:off x="2897816" y="2809062"/>
            <a:ext cx="5392719" cy="584775"/>
          </a:xfrm>
          <a:prstGeom prst="rect">
            <a:avLst/>
          </a:prstGeom>
          <a:noFill/>
        </p:spPr>
        <p:txBody>
          <a:bodyPr wrap="square" lIns="91424" tIns="45714" rIns="91424" bIns="45714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物流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新技术</a:t>
            </a:r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趋势预判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845585" y="2314317"/>
            <a:ext cx="1585851" cy="1586243"/>
            <a:chOff x="1041891" y="2887277"/>
            <a:chExt cx="1036261" cy="1036518"/>
          </a:xfrm>
          <a:solidFill>
            <a:srgbClr val="DB3D33"/>
          </a:solidFill>
        </p:grpSpPr>
        <p:sp>
          <p:nvSpPr>
            <p:cNvPr id="10" name="Oval 53"/>
            <p:cNvSpPr>
              <a:spLocks noChangeArrowheads="1"/>
            </p:cNvSpPr>
            <p:nvPr/>
          </p:nvSpPr>
          <p:spPr bwMode="auto">
            <a:xfrm>
              <a:off x="1041891" y="2887277"/>
              <a:ext cx="1036261" cy="1036518"/>
            </a:xfrm>
            <a:prstGeom prst="ellipse">
              <a:avLst/>
            </a:prstGeom>
            <a:grpFill/>
            <a:ln w="88900">
              <a:gradFill flip="none" rotWithShape="1">
                <a:gsLst>
                  <a:gs pos="0">
                    <a:srgbClr val="FFFFFF"/>
                  </a:gs>
                  <a:gs pos="100000">
                    <a:srgbClr val="D9D9DA"/>
                  </a:gs>
                </a:gsLst>
                <a:lin ang="2700000" scaled="0"/>
                <a:tileRect/>
              </a:gradFill>
            </a:ln>
            <a:effectLst>
              <a:outerShdw blurRad="279400" dist="76200" dir="2700000" sx="101000" sy="101000" algn="tl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1" tIns="34286" rIns="68571" bIns="34286" anchor="ctr"/>
            <a:lstStyle/>
            <a:p>
              <a:pPr algn="ctr">
                <a:defRPr/>
              </a:pPr>
              <a:endParaRPr lang="zh-CN" altLang="en-US" sz="440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1" name="Text Box 58"/>
            <p:cNvSpPr txBox="1">
              <a:spLocks noChangeArrowheads="1"/>
            </p:cNvSpPr>
            <p:nvPr/>
          </p:nvSpPr>
          <p:spPr bwMode="auto">
            <a:xfrm>
              <a:off x="1159958" y="3077737"/>
              <a:ext cx="782803" cy="7307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68571" tIns="34286" rIns="68571" bIns="34286">
              <a:spAutoFit/>
            </a:bodyPr>
            <a:lstStyle/>
            <a:p>
              <a:pPr algn="ctr"/>
              <a:r>
                <a:rPr lang="en-US" altLang="zh-CN" sz="6700" dirty="0" smtClean="0">
                  <a:solidFill>
                    <a:schemeClr val="bg1"/>
                  </a:solidFill>
                  <a:latin typeface="Impact" panose="020B0806030902050204" pitchFamily="34" charset="0"/>
                  <a:ea typeface="微软雅黑" panose="020B0503020204020204" charset="-122"/>
                </a:rPr>
                <a:t>02</a:t>
              </a:r>
              <a:endParaRPr lang="en-US" altLang="zh-CN" sz="6700" dirty="0">
                <a:solidFill>
                  <a:schemeClr val="bg1"/>
                </a:solidFill>
                <a:latin typeface="Impact" panose="020B0806030902050204" pitchFamily="34" charset="0"/>
                <a:ea typeface="微软雅黑" panose="020B050302020402020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5581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4">
            <a:extLst>
              <a:ext uri="{FF2B5EF4-FFF2-40B4-BE49-F238E27FC236}">
                <a16:creationId xmlns:a16="http://schemas.microsoft.com/office/drawing/2014/main" id="{9A67A416-2454-495B-8349-5C4ED7751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新的技术得到不断发展和应用</a:t>
            </a:r>
          </a:p>
        </p:txBody>
      </p:sp>
      <p:sp>
        <p:nvSpPr>
          <p:cNvPr id="18" name="文本占位符 1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9" name="文本占位符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graphicFrame>
        <p:nvGraphicFramePr>
          <p:cNvPr id="4" name="图表 3">
            <a:extLst>
              <a:ext uri="{FF2B5EF4-FFF2-40B4-BE49-F238E27FC236}">
                <a16:creationId xmlns:a16="http://schemas.microsoft.com/office/drawing/2014/main" id="{4D88DC31-0FC4-4529-901D-7908FFC92D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7328200"/>
              </p:ext>
            </p:extLst>
          </p:nvPr>
        </p:nvGraphicFramePr>
        <p:xfrm>
          <a:off x="923547" y="1812727"/>
          <a:ext cx="10813484" cy="3141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51">
            <a:extLst>
              <a:ext uri="{FF2B5EF4-FFF2-40B4-BE49-F238E27FC236}">
                <a16:creationId xmlns:a16="http://schemas.microsoft.com/office/drawing/2014/main" id="{0B849A0E-1C75-4E9E-9F67-155F289FBED2}"/>
              </a:ext>
            </a:extLst>
          </p:cNvPr>
          <p:cNvSpPr txBox="1">
            <a:spLocks/>
          </p:cNvSpPr>
          <p:nvPr/>
        </p:nvSpPr>
        <p:spPr>
          <a:xfrm>
            <a:off x="1130157" y="5832225"/>
            <a:ext cx="10606872" cy="414283"/>
          </a:xfrm>
          <a:prstGeom prst="rect">
            <a:avLst/>
          </a:prstGeom>
          <a:noFill/>
        </p:spPr>
        <p:txBody>
          <a:bodyPr wrap="square" lIns="121914" tIns="60957" rIns="121914" bIns="60957" rtlCol="0" anchor="t" anchorCtr="0">
            <a:noAutofit/>
          </a:bodyPr>
          <a:lstStyle/>
          <a:p>
            <a:pPr algn="r" defTabSz="1219110"/>
            <a:r>
              <a:rPr lang="zh-CN" altLang="en-US" sz="1200" dirty="0">
                <a:cs typeface="+mn-ea"/>
                <a:sym typeface="+mn-lt"/>
              </a:rPr>
              <a:t>数据来源：</a:t>
            </a:r>
            <a:r>
              <a:rPr lang="en-US" altLang="zh-CN" sz="1200" dirty="0">
                <a:cs typeface="+mn-ea"/>
                <a:sym typeface="+mn-lt"/>
              </a:rPr>
              <a:t>MHI2016</a:t>
            </a:r>
            <a:r>
              <a:rPr lang="zh-CN" altLang="en-US" sz="1200" dirty="0">
                <a:cs typeface="+mn-ea"/>
                <a:sym typeface="+mn-lt"/>
              </a:rPr>
              <a:t>年全球供应链技术调研报告和专家访谈</a:t>
            </a:r>
          </a:p>
        </p:txBody>
      </p:sp>
      <p:sp>
        <p:nvSpPr>
          <p:cNvPr id="6" name="TextBox 51">
            <a:extLst>
              <a:ext uri="{FF2B5EF4-FFF2-40B4-BE49-F238E27FC236}">
                <a16:creationId xmlns:a16="http://schemas.microsoft.com/office/drawing/2014/main" id="{0ADD28C9-538E-4D77-8194-E2625C7D2EE5}"/>
              </a:ext>
            </a:extLst>
          </p:cNvPr>
          <p:cNvSpPr txBox="1"/>
          <p:nvPr/>
        </p:nvSpPr>
        <p:spPr>
          <a:xfrm>
            <a:off x="364308" y="3615234"/>
            <a:ext cx="892239" cy="553996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目前</a:t>
            </a:r>
            <a:endParaRPr lang="en-US" altLang="zh-CN" sz="15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应用率</a:t>
            </a:r>
          </a:p>
        </p:txBody>
      </p:sp>
      <p:sp>
        <p:nvSpPr>
          <p:cNvPr id="7" name="TextBox 51">
            <a:extLst>
              <a:ext uri="{FF2B5EF4-FFF2-40B4-BE49-F238E27FC236}">
                <a16:creationId xmlns:a16="http://schemas.microsoft.com/office/drawing/2014/main" id="{90B722FF-EA90-4D60-8B69-8C33EBE65163}"/>
              </a:ext>
            </a:extLst>
          </p:cNvPr>
          <p:cNvSpPr txBox="1"/>
          <p:nvPr/>
        </p:nvSpPr>
        <p:spPr>
          <a:xfrm>
            <a:off x="289230" y="2208374"/>
            <a:ext cx="1042396" cy="553996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未来</a:t>
            </a:r>
            <a:endParaRPr lang="en-US" altLang="zh-CN" sz="15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五年增速</a:t>
            </a:r>
          </a:p>
        </p:txBody>
      </p:sp>
      <p:sp>
        <p:nvSpPr>
          <p:cNvPr id="8" name="TextBox 51">
            <a:extLst>
              <a:ext uri="{FF2B5EF4-FFF2-40B4-BE49-F238E27FC236}">
                <a16:creationId xmlns:a16="http://schemas.microsoft.com/office/drawing/2014/main" id="{D352DCBA-A099-4E77-A9E4-2FC95821B783}"/>
              </a:ext>
            </a:extLst>
          </p:cNvPr>
          <p:cNvSpPr txBox="1"/>
          <p:nvPr/>
        </p:nvSpPr>
        <p:spPr>
          <a:xfrm>
            <a:off x="1256547" y="4841763"/>
            <a:ext cx="892239" cy="692253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noAutofit/>
          </a:bodyPr>
          <a:lstStyle/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云计算和存储</a:t>
            </a:r>
          </a:p>
        </p:txBody>
      </p:sp>
      <p:sp>
        <p:nvSpPr>
          <p:cNvPr id="9" name="TextBox 51">
            <a:extLst>
              <a:ext uri="{FF2B5EF4-FFF2-40B4-BE49-F238E27FC236}">
                <a16:creationId xmlns:a16="http://schemas.microsoft.com/office/drawing/2014/main" id="{A016205C-232D-4918-9829-8273B644A591}"/>
              </a:ext>
            </a:extLst>
          </p:cNvPr>
          <p:cNvSpPr txBox="1"/>
          <p:nvPr/>
        </p:nvSpPr>
        <p:spPr>
          <a:xfrm>
            <a:off x="10334447" y="4841763"/>
            <a:ext cx="1258028" cy="692253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noAutofit/>
          </a:bodyPr>
          <a:lstStyle/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区块链</a:t>
            </a:r>
          </a:p>
        </p:txBody>
      </p:sp>
      <p:sp>
        <p:nvSpPr>
          <p:cNvPr id="10" name="TextBox 51">
            <a:extLst>
              <a:ext uri="{FF2B5EF4-FFF2-40B4-BE49-F238E27FC236}">
                <a16:creationId xmlns:a16="http://schemas.microsoft.com/office/drawing/2014/main" id="{6A4686B0-A83E-464A-9F3B-CE26569B1537}"/>
              </a:ext>
            </a:extLst>
          </p:cNvPr>
          <p:cNvSpPr txBox="1"/>
          <p:nvPr/>
        </p:nvSpPr>
        <p:spPr>
          <a:xfrm>
            <a:off x="2458922" y="4841763"/>
            <a:ext cx="892239" cy="692253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noAutofit/>
          </a:bodyPr>
          <a:lstStyle/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物联网</a:t>
            </a:r>
          </a:p>
        </p:txBody>
      </p:sp>
      <p:sp>
        <p:nvSpPr>
          <p:cNvPr id="11" name="TextBox 51">
            <a:extLst>
              <a:ext uri="{FF2B5EF4-FFF2-40B4-BE49-F238E27FC236}">
                <a16:creationId xmlns:a16="http://schemas.microsoft.com/office/drawing/2014/main" id="{C1C513E4-3CC3-440D-959B-03A6A3C69F3B}"/>
              </a:ext>
            </a:extLst>
          </p:cNvPr>
          <p:cNvSpPr txBox="1"/>
          <p:nvPr/>
        </p:nvSpPr>
        <p:spPr>
          <a:xfrm>
            <a:off x="3626627" y="4841763"/>
            <a:ext cx="890356" cy="692253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noAutofit/>
          </a:bodyPr>
          <a:lstStyle/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智能机器人</a:t>
            </a:r>
          </a:p>
        </p:txBody>
      </p:sp>
      <p:sp>
        <p:nvSpPr>
          <p:cNvPr id="12" name="TextBox 51">
            <a:extLst>
              <a:ext uri="{FF2B5EF4-FFF2-40B4-BE49-F238E27FC236}">
                <a16:creationId xmlns:a16="http://schemas.microsoft.com/office/drawing/2014/main" id="{F786E2BF-6D26-415B-B8AB-253B648856F3}"/>
              </a:ext>
            </a:extLst>
          </p:cNvPr>
          <p:cNvSpPr txBox="1"/>
          <p:nvPr/>
        </p:nvSpPr>
        <p:spPr>
          <a:xfrm>
            <a:off x="4657120" y="4841763"/>
            <a:ext cx="1028969" cy="692253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noAutofit/>
          </a:bodyPr>
          <a:lstStyle/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可穿戴和移动设备</a:t>
            </a:r>
          </a:p>
        </p:txBody>
      </p:sp>
      <p:sp>
        <p:nvSpPr>
          <p:cNvPr id="13" name="TextBox 51">
            <a:extLst>
              <a:ext uri="{FF2B5EF4-FFF2-40B4-BE49-F238E27FC236}">
                <a16:creationId xmlns:a16="http://schemas.microsoft.com/office/drawing/2014/main" id="{4BAEDF46-5FE1-4615-80E3-8F9E36EC21C6}"/>
              </a:ext>
            </a:extLst>
          </p:cNvPr>
          <p:cNvSpPr txBox="1"/>
          <p:nvPr/>
        </p:nvSpPr>
        <p:spPr>
          <a:xfrm>
            <a:off x="5888495" y="4841763"/>
            <a:ext cx="883588" cy="692253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noAutofit/>
          </a:bodyPr>
          <a:lstStyle/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大数据分析</a:t>
            </a:r>
          </a:p>
        </p:txBody>
      </p:sp>
      <p:sp>
        <p:nvSpPr>
          <p:cNvPr id="14" name="TextBox 51">
            <a:extLst>
              <a:ext uri="{FF2B5EF4-FFF2-40B4-BE49-F238E27FC236}">
                <a16:creationId xmlns:a16="http://schemas.microsoft.com/office/drawing/2014/main" id="{E5732091-C188-48A4-9CBF-87C3AB90E5CB}"/>
              </a:ext>
            </a:extLst>
          </p:cNvPr>
          <p:cNvSpPr txBox="1"/>
          <p:nvPr/>
        </p:nvSpPr>
        <p:spPr>
          <a:xfrm>
            <a:off x="6916639" y="4841763"/>
            <a:ext cx="1258028" cy="692253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noAutofit/>
          </a:bodyPr>
          <a:lstStyle/>
          <a:p>
            <a:pPr algn="ctr" defTabSz="1219110"/>
            <a:r>
              <a:rPr lang="en-US" altLang="zh-CN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3D</a:t>
            </a:r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打印</a:t>
            </a:r>
          </a:p>
        </p:txBody>
      </p:sp>
      <p:sp>
        <p:nvSpPr>
          <p:cNvPr id="15" name="TextBox 51">
            <a:extLst>
              <a:ext uri="{FF2B5EF4-FFF2-40B4-BE49-F238E27FC236}">
                <a16:creationId xmlns:a16="http://schemas.microsoft.com/office/drawing/2014/main" id="{29927B05-6BA4-41D5-904C-246EE61A1BA7}"/>
              </a:ext>
            </a:extLst>
          </p:cNvPr>
          <p:cNvSpPr txBox="1"/>
          <p:nvPr/>
        </p:nvSpPr>
        <p:spPr>
          <a:xfrm>
            <a:off x="8125220" y="4841763"/>
            <a:ext cx="1021333" cy="692253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noAutofit/>
          </a:bodyPr>
          <a:lstStyle/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无人机和</a:t>
            </a:r>
            <a:endParaRPr lang="en-US" altLang="zh-CN" sz="15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  <a:p>
            <a:pPr algn="ctr" defTabSz="1219110"/>
            <a:r>
              <a:rPr lang="zh-CN" altLang="en-US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无人车</a:t>
            </a:r>
          </a:p>
        </p:txBody>
      </p:sp>
      <p:sp>
        <p:nvSpPr>
          <p:cNvPr id="16" name="TextBox 51">
            <a:extLst>
              <a:ext uri="{FF2B5EF4-FFF2-40B4-BE49-F238E27FC236}">
                <a16:creationId xmlns:a16="http://schemas.microsoft.com/office/drawing/2014/main" id="{2495D2B3-47A5-4185-AD42-9DB57389A1C5}"/>
              </a:ext>
            </a:extLst>
          </p:cNvPr>
          <p:cNvSpPr txBox="1"/>
          <p:nvPr/>
        </p:nvSpPr>
        <p:spPr>
          <a:xfrm>
            <a:off x="9192135" y="4841763"/>
            <a:ext cx="1258028" cy="692253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noAutofit/>
          </a:bodyPr>
          <a:lstStyle/>
          <a:p>
            <a:pPr algn="ctr" defTabSz="1219110"/>
            <a:r>
              <a:rPr lang="en-US" altLang="zh-CN" sz="15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R/VR</a:t>
            </a:r>
            <a:endParaRPr lang="zh-CN" altLang="en-US" sz="15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141389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箭头: 五边形 24">
            <a:extLst>
              <a:ext uri="{FF2B5EF4-FFF2-40B4-BE49-F238E27FC236}">
                <a16:creationId xmlns:a16="http://schemas.microsoft.com/office/drawing/2014/main" id="{56F1F709-52A7-4D62-9546-857AC5EDBC76}"/>
              </a:ext>
            </a:extLst>
          </p:cNvPr>
          <p:cNvSpPr/>
          <p:nvPr/>
        </p:nvSpPr>
        <p:spPr>
          <a:xfrm>
            <a:off x="1247289" y="1632796"/>
            <a:ext cx="6597616" cy="4533901"/>
          </a:xfrm>
          <a:prstGeom prst="homePlate">
            <a:avLst>
              <a:gd name="adj" fmla="val 21132"/>
            </a:avLst>
          </a:prstGeom>
          <a:solidFill>
            <a:srgbClr val="D9D9D9">
              <a:alpha val="2588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121914" tIns="60957" rIns="121914" bIns="60957" numCol="1" anchor="t" anchorCtr="0" compatLnSpc="1">
            <a:prstTxWarp prst="textNoShape">
              <a:avLst/>
            </a:prstTxWarp>
          </a:bodyPr>
          <a:lstStyle/>
          <a:p>
            <a:endParaRPr lang="zh-CN" altLang="en-US" sz="2500" kern="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6E6DFCA7-6FF9-407A-B2B7-FCA78A28D5A2}"/>
              </a:ext>
            </a:extLst>
          </p:cNvPr>
          <p:cNvSpPr/>
          <p:nvPr/>
        </p:nvSpPr>
        <p:spPr>
          <a:xfrm>
            <a:off x="8090804" y="1573233"/>
            <a:ext cx="2584853" cy="4593465"/>
          </a:xfrm>
          <a:prstGeom prst="rect">
            <a:avLst/>
          </a:prstGeom>
          <a:solidFill>
            <a:srgbClr val="D9D9D9">
              <a:alpha val="2588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121914" tIns="60957" rIns="121914" bIns="60957" numCol="1" anchor="t" anchorCtr="0" compatLnSpc="1">
            <a:prstTxWarp prst="textNoShape">
              <a:avLst/>
            </a:prstTxWarp>
          </a:bodyPr>
          <a:lstStyle/>
          <a:p>
            <a:endParaRPr lang="zh-CN" altLang="en-US" sz="2500" kern="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4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支撑物流行业发展的主要</a:t>
            </a:r>
            <a:r>
              <a:rPr lang="zh-CN" altLang="en-US" dirty="0" smtClean="0"/>
              <a:t>技术及新的技术发展趋势</a:t>
            </a:r>
            <a:endParaRPr lang="zh-CN" altLang="en-US" dirty="0"/>
          </a:p>
        </p:txBody>
      </p:sp>
      <p:sp>
        <p:nvSpPr>
          <p:cNvPr id="72" name="文本占位符 7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3" name="文本占位符 7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6C6CDC2-99B5-4DEC-90B4-2B977306E255}"/>
              </a:ext>
            </a:extLst>
          </p:cNvPr>
          <p:cNvSpPr/>
          <p:nvPr/>
        </p:nvSpPr>
        <p:spPr>
          <a:xfrm>
            <a:off x="3713675" y="4174741"/>
            <a:ext cx="2016796" cy="323163"/>
          </a:xfrm>
          <a:prstGeom prst="rect">
            <a:avLst/>
          </a:prstGeom>
          <a:ln>
            <a:noFill/>
          </a:ln>
        </p:spPr>
        <p:txBody>
          <a:bodyPr wrap="square" lIns="91436" tIns="45718" rIns="91436" bIns="45718">
            <a:spAutoFit/>
          </a:bodyPr>
          <a:lstStyle/>
          <a:p>
            <a:pPr algn="ctr" defTabSz="16254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500" b="1" dirty="0">
                <a:cs typeface="+mn-ea"/>
                <a:sym typeface="+mn-lt"/>
              </a:rPr>
              <a:t>传感及自动识别技术</a:t>
            </a:r>
          </a:p>
        </p:txBody>
      </p:sp>
      <p:grpSp>
        <p:nvGrpSpPr>
          <p:cNvPr id="7" name="组合 6"/>
          <p:cNvGrpSpPr/>
          <p:nvPr/>
        </p:nvGrpSpPr>
        <p:grpSpPr>
          <a:xfrm>
            <a:off x="4410071" y="3338200"/>
            <a:ext cx="624000" cy="624000"/>
            <a:chOff x="1232463" y="1007944"/>
            <a:chExt cx="1054567" cy="1054567"/>
          </a:xfrm>
        </p:grpSpPr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C31B443A-3D25-4BFD-A96D-129FF7CF0C53}"/>
                </a:ext>
              </a:extLst>
            </p:cNvPr>
            <p:cNvSpPr/>
            <p:nvPr/>
          </p:nvSpPr>
          <p:spPr>
            <a:xfrm>
              <a:off x="1232463" y="1007944"/>
              <a:ext cx="1054567" cy="1054567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00">
                <a:cs typeface="+mn-ea"/>
                <a:sym typeface="+mn-lt"/>
              </a:endParaRPr>
            </a:p>
          </p:txBody>
        </p:sp>
        <p:sp>
          <p:nvSpPr>
            <p:cNvPr id="9" name="Freeform 58">
              <a:extLst>
                <a:ext uri="{FF2B5EF4-FFF2-40B4-BE49-F238E27FC236}">
                  <a16:creationId xmlns:a16="http://schemas.microsoft.com/office/drawing/2014/main" id="{455733FC-67F0-42D9-803E-2E34C26184F5}"/>
                </a:ext>
              </a:extLst>
            </p:cNvPr>
            <p:cNvSpPr>
              <a:spLocks noEditPoints="1"/>
            </p:cNvSpPr>
            <p:nvPr/>
          </p:nvSpPr>
          <p:spPr bwMode="auto">
            <a:xfrm rot="10800000">
              <a:off x="1525870" y="1372771"/>
              <a:ext cx="467755" cy="324911"/>
            </a:xfrm>
            <a:custGeom>
              <a:avLst/>
              <a:gdLst>
                <a:gd name="T0" fmla="*/ 2147483646 w 256"/>
                <a:gd name="T1" fmla="*/ 2147483646 h 160"/>
                <a:gd name="T2" fmla="*/ 2147483646 w 256"/>
                <a:gd name="T3" fmla="*/ 2147483646 h 160"/>
                <a:gd name="T4" fmla="*/ 2147483646 w 256"/>
                <a:gd name="T5" fmla="*/ 2147483646 h 160"/>
                <a:gd name="T6" fmla="*/ 2147483646 w 256"/>
                <a:gd name="T7" fmla="*/ 2147483646 h 160"/>
                <a:gd name="T8" fmla="*/ 2147483646 w 256"/>
                <a:gd name="T9" fmla="*/ 0 h 160"/>
                <a:gd name="T10" fmla="*/ 2147483646 w 256"/>
                <a:gd name="T11" fmla="*/ 2147483646 h 160"/>
                <a:gd name="T12" fmla="*/ 2147483646 w 256"/>
                <a:gd name="T13" fmla="*/ 2147483646 h 160"/>
                <a:gd name="T14" fmla="*/ 2147483646 w 256"/>
                <a:gd name="T15" fmla="*/ 2147483646 h 160"/>
                <a:gd name="T16" fmla="*/ 2147483646 w 256"/>
                <a:gd name="T17" fmla="*/ 2147483646 h 160"/>
                <a:gd name="T18" fmla="*/ 2147483646 w 256"/>
                <a:gd name="T19" fmla="*/ 2147483646 h 160"/>
                <a:gd name="T20" fmla="*/ 2147483646 w 256"/>
                <a:gd name="T21" fmla="*/ 2147483646 h 160"/>
                <a:gd name="T22" fmla="*/ 2147483646 w 256"/>
                <a:gd name="T23" fmla="*/ 2147483646 h 160"/>
                <a:gd name="T24" fmla="*/ 2147483646 w 256"/>
                <a:gd name="T25" fmla="*/ 2147483646 h 160"/>
                <a:gd name="T26" fmla="*/ 2147483646 w 256"/>
                <a:gd name="T27" fmla="*/ 2147483646 h 160"/>
                <a:gd name="T28" fmla="*/ 2147483646 w 256"/>
                <a:gd name="T29" fmla="*/ 2147483646 h 160"/>
                <a:gd name="T30" fmla="*/ 2147483646 w 256"/>
                <a:gd name="T31" fmla="*/ 2147483646 h 160"/>
                <a:gd name="T32" fmla="*/ 2147483646 w 256"/>
                <a:gd name="T33" fmla="*/ 2147483646 h 160"/>
                <a:gd name="T34" fmla="*/ 2147483646 w 256"/>
                <a:gd name="T35" fmla="*/ 2147483646 h 160"/>
                <a:gd name="T36" fmla="*/ 2147483646 w 256"/>
                <a:gd name="T37" fmla="*/ 2147483646 h 160"/>
                <a:gd name="T38" fmla="*/ 2147483646 w 256"/>
                <a:gd name="T39" fmla="*/ 2147483646 h 160"/>
                <a:gd name="T40" fmla="*/ 2147483646 w 256"/>
                <a:gd name="T41" fmla="*/ 2147483646 h 160"/>
                <a:gd name="T42" fmla="*/ 2147483646 w 256"/>
                <a:gd name="T43" fmla="*/ 2147483646 h 160"/>
                <a:gd name="T44" fmla="*/ 2147483646 w 256"/>
                <a:gd name="T45" fmla="*/ 2147483646 h 160"/>
                <a:gd name="T46" fmla="*/ 2147483646 w 256"/>
                <a:gd name="T47" fmla="*/ 2147483646 h 160"/>
                <a:gd name="T48" fmla="*/ 2147483646 w 256"/>
                <a:gd name="T49" fmla="*/ 2147483646 h 160"/>
                <a:gd name="T50" fmla="*/ 2147483646 w 256"/>
                <a:gd name="T51" fmla="*/ 2147483646 h 160"/>
                <a:gd name="T52" fmla="*/ 2147483646 w 256"/>
                <a:gd name="T53" fmla="*/ 2147483646 h 160"/>
                <a:gd name="T54" fmla="*/ 2147483646 w 256"/>
                <a:gd name="T55" fmla="*/ 2147483646 h 160"/>
                <a:gd name="T56" fmla="*/ 0 w 256"/>
                <a:gd name="T57" fmla="*/ 2147483646 h 160"/>
                <a:gd name="T58" fmla="*/ 0 w 256"/>
                <a:gd name="T59" fmla="*/ 2147483646 h 160"/>
                <a:gd name="T60" fmla="*/ 0 w 256"/>
                <a:gd name="T61" fmla="*/ 2147483646 h 160"/>
                <a:gd name="T62" fmla="*/ 0 w 256"/>
                <a:gd name="T63" fmla="*/ 2147483646 h 160"/>
                <a:gd name="T64" fmla="*/ 2147483646 w 256"/>
                <a:gd name="T65" fmla="*/ 2147483646 h 160"/>
                <a:gd name="T66" fmla="*/ 2147483646 w 256"/>
                <a:gd name="T67" fmla="*/ 2147483646 h 160"/>
                <a:gd name="T68" fmla="*/ 2147483646 w 256"/>
                <a:gd name="T69" fmla="*/ 2147483646 h 160"/>
                <a:gd name="T70" fmla="*/ 2147483646 w 256"/>
                <a:gd name="T71" fmla="*/ 2147483646 h 160"/>
                <a:gd name="T72" fmla="*/ 2147483646 w 256"/>
                <a:gd name="T73" fmla="*/ 2147483646 h 16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56" h="160">
                  <a:moveTo>
                    <a:pt x="244" y="160"/>
                  </a:moveTo>
                  <a:cubicBezTo>
                    <a:pt x="237" y="160"/>
                    <a:pt x="232" y="155"/>
                    <a:pt x="232" y="148"/>
                  </a:cubicBezTo>
                  <a:cubicBezTo>
                    <a:pt x="232" y="140"/>
                    <a:pt x="232" y="140"/>
                    <a:pt x="232" y="140"/>
                  </a:cubicBezTo>
                  <a:cubicBezTo>
                    <a:pt x="232" y="100"/>
                    <a:pt x="232" y="100"/>
                    <a:pt x="232" y="100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2" y="68"/>
                    <a:pt x="232" y="68"/>
                    <a:pt x="232" y="68"/>
                  </a:cubicBezTo>
                  <a:cubicBezTo>
                    <a:pt x="232" y="60"/>
                    <a:pt x="232" y="60"/>
                    <a:pt x="232" y="60"/>
                  </a:cubicBezTo>
                  <a:cubicBezTo>
                    <a:pt x="232" y="20"/>
                    <a:pt x="232" y="20"/>
                    <a:pt x="232" y="20"/>
                  </a:cubicBezTo>
                  <a:cubicBezTo>
                    <a:pt x="232" y="12"/>
                    <a:pt x="232" y="12"/>
                    <a:pt x="232" y="12"/>
                  </a:cubicBezTo>
                  <a:cubicBezTo>
                    <a:pt x="232" y="5"/>
                    <a:pt x="237" y="0"/>
                    <a:pt x="244" y="0"/>
                  </a:cubicBezTo>
                  <a:cubicBezTo>
                    <a:pt x="251" y="0"/>
                    <a:pt x="256" y="5"/>
                    <a:pt x="256" y="12"/>
                  </a:cubicBezTo>
                  <a:cubicBezTo>
                    <a:pt x="256" y="20"/>
                    <a:pt x="256" y="20"/>
                    <a:pt x="256" y="20"/>
                  </a:cubicBezTo>
                  <a:cubicBezTo>
                    <a:pt x="256" y="60"/>
                    <a:pt x="256" y="60"/>
                    <a:pt x="256" y="60"/>
                  </a:cubicBezTo>
                  <a:cubicBezTo>
                    <a:pt x="256" y="68"/>
                    <a:pt x="256" y="68"/>
                    <a:pt x="256" y="68"/>
                  </a:cubicBezTo>
                  <a:cubicBezTo>
                    <a:pt x="256" y="92"/>
                    <a:pt x="256" y="92"/>
                    <a:pt x="256" y="92"/>
                  </a:cubicBezTo>
                  <a:cubicBezTo>
                    <a:pt x="256" y="100"/>
                    <a:pt x="256" y="100"/>
                    <a:pt x="256" y="100"/>
                  </a:cubicBezTo>
                  <a:cubicBezTo>
                    <a:pt x="256" y="140"/>
                    <a:pt x="256" y="140"/>
                    <a:pt x="256" y="140"/>
                  </a:cubicBezTo>
                  <a:cubicBezTo>
                    <a:pt x="256" y="148"/>
                    <a:pt x="256" y="148"/>
                    <a:pt x="256" y="148"/>
                  </a:cubicBezTo>
                  <a:cubicBezTo>
                    <a:pt x="256" y="155"/>
                    <a:pt x="251" y="160"/>
                    <a:pt x="244" y="160"/>
                  </a:cubicBezTo>
                  <a:moveTo>
                    <a:pt x="208" y="136"/>
                  </a:moveTo>
                  <a:cubicBezTo>
                    <a:pt x="201" y="136"/>
                    <a:pt x="196" y="131"/>
                    <a:pt x="196" y="124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96" y="44"/>
                    <a:pt x="196" y="44"/>
                    <a:pt x="196" y="44"/>
                  </a:cubicBezTo>
                  <a:cubicBezTo>
                    <a:pt x="196" y="36"/>
                    <a:pt x="196" y="36"/>
                    <a:pt x="196" y="36"/>
                  </a:cubicBezTo>
                  <a:cubicBezTo>
                    <a:pt x="196" y="29"/>
                    <a:pt x="201" y="24"/>
                    <a:pt x="208" y="24"/>
                  </a:cubicBezTo>
                  <a:cubicBezTo>
                    <a:pt x="215" y="24"/>
                    <a:pt x="220" y="29"/>
                    <a:pt x="220" y="36"/>
                  </a:cubicBezTo>
                  <a:cubicBezTo>
                    <a:pt x="220" y="44"/>
                    <a:pt x="220" y="44"/>
                    <a:pt x="220" y="44"/>
                  </a:cubicBezTo>
                  <a:cubicBezTo>
                    <a:pt x="220" y="116"/>
                    <a:pt x="220" y="116"/>
                    <a:pt x="220" y="116"/>
                  </a:cubicBezTo>
                  <a:cubicBezTo>
                    <a:pt x="220" y="124"/>
                    <a:pt x="220" y="124"/>
                    <a:pt x="220" y="124"/>
                  </a:cubicBezTo>
                  <a:cubicBezTo>
                    <a:pt x="220" y="131"/>
                    <a:pt x="215" y="136"/>
                    <a:pt x="208" y="136"/>
                  </a:cubicBezTo>
                  <a:moveTo>
                    <a:pt x="172" y="136"/>
                  </a:moveTo>
                  <a:cubicBezTo>
                    <a:pt x="84" y="136"/>
                    <a:pt x="84" y="136"/>
                    <a:pt x="84" y="136"/>
                  </a:cubicBezTo>
                  <a:cubicBezTo>
                    <a:pt x="77" y="136"/>
                    <a:pt x="72" y="131"/>
                    <a:pt x="72" y="124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29"/>
                    <a:pt x="77" y="24"/>
                    <a:pt x="84" y="24"/>
                  </a:cubicBezTo>
                  <a:cubicBezTo>
                    <a:pt x="172" y="24"/>
                    <a:pt x="172" y="24"/>
                    <a:pt x="172" y="24"/>
                  </a:cubicBezTo>
                  <a:cubicBezTo>
                    <a:pt x="179" y="24"/>
                    <a:pt x="184" y="29"/>
                    <a:pt x="184" y="36"/>
                  </a:cubicBezTo>
                  <a:cubicBezTo>
                    <a:pt x="184" y="124"/>
                    <a:pt x="184" y="124"/>
                    <a:pt x="184" y="124"/>
                  </a:cubicBezTo>
                  <a:cubicBezTo>
                    <a:pt x="184" y="131"/>
                    <a:pt x="179" y="136"/>
                    <a:pt x="172" y="136"/>
                  </a:cubicBezTo>
                  <a:moveTo>
                    <a:pt x="160" y="48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6" y="112"/>
                    <a:pt x="96" y="112"/>
                    <a:pt x="96" y="112"/>
                  </a:cubicBezTo>
                  <a:cubicBezTo>
                    <a:pt x="160" y="112"/>
                    <a:pt x="160" y="112"/>
                    <a:pt x="160" y="112"/>
                  </a:cubicBezTo>
                  <a:lnTo>
                    <a:pt x="160" y="48"/>
                  </a:lnTo>
                  <a:close/>
                  <a:moveTo>
                    <a:pt x="48" y="136"/>
                  </a:moveTo>
                  <a:cubicBezTo>
                    <a:pt x="41" y="136"/>
                    <a:pt x="36" y="131"/>
                    <a:pt x="36" y="124"/>
                  </a:cubicBezTo>
                  <a:cubicBezTo>
                    <a:pt x="36" y="116"/>
                    <a:pt x="36" y="116"/>
                    <a:pt x="36" y="116"/>
                  </a:cubicBezTo>
                  <a:cubicBezTo>
                    <a:pt x="36" y="44"/>
                    <a:pt x="36" y="44"/>
                    <a:pt x="36" y="44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29"/>
                    <a:pt x="41" y="24"/>
                    <a:pt x="48" y="24"/>
                  </a:cubicBezTo>
                  <a:cubicBezTo>
                    <a:pt x="55" y="24"/>
                    <a:pt x="60" y="29"/>
                    <a:pt x="60" y="36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60" y="116"/>
                    <a:pt x="60" y="116"/>
                    <a:pt x="60" y="116"/>
                  </a:cubicBezTo>
                  <a:cubicBezTo>
                    <a:pt x="60" y="124"/>
                    <a:pt x="60" y="124"/>
                    <a:pt x="60" y="124"/>
                  </a:cubicBezTo>
                  <a:cubicBezTo>
                    <a:pt x="60" y="131"/>
                    <a:pt x="55" y="136"/>
                    <a:pt x="48" y="136"/>
                  </a:cubicBezTo>
                  <a:moveTo>
                    <a:pt x="12" y="160"/>
                  </a:moveTo>
                  <a:cubicBezTo>
                    <a:pt x="5" y="160"/>
                    <a:pt x="0" y="155"/>
                    <a:pt x="0" y="148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24" y="140"/>
                    <a:pt x="24" y="140"/>
                    <a:pt x="24" y="140"/>
                  </a:cubicBezTo>
                  <a:cubicBezTo>
                    <a:pt x="24" y="148"/>
                    <a:pt x="24" y="148"/>
                    <a:pt x="24" y="148"/>
                  </a:cubicBezTo>
                  <a:cubicBezTo>
                    <a:pt x="24" y="155"/>
                    <a:pt x="19" y="160"/>
                    <a:pt x="12" y="160"/>
                  </a:cubicBezTo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/>
          </p:spPr>
          <p:txBody>
            <a:bodyPr/>
            <a:lstStyle/>
            <a:p>
              <a:pPr defTabSz="81272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CN" altLang="en-US" sz="3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2226856" y="4803679"/>
            <a:ext cx="624000" cy="624000"/>
            <a:chOff x="3055341" y="1019057"/>
            <a:chExt cx="1054567" cy="1054567"/>
          </a:xfrm>
        </p:grpSpPr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350FF891-C8E8-4A07-9384-BE3EDA61FC0B}"/>
                </a:ext>
              </a:extLst>
            </p:cNvPr>
            <p:cNvSpPr/>
            <p:nvPr/>
          </p:nvSpPr>
          <p:spPr>
            <a:xfrm>
              <a:off x="3055341" y="1019057"/>
              <a:ext cx="1054567" cy="1054567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00">
                <a:cs typeface="+mn-ea"/>
                <a:sym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2969E043-23CA-4A6E-938B-07ACC4738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5363" y="1367609"/>
              <a:ext cx="614524" cy="356283"/>
            </a:xfrm>
            <a:custGeom>
              <a:avLst/>
              <a:gdLst>
                <a:gd name="T0" fmla="*/ 345 w 394"/>
                <a:gd name="T1" fmla="*/ 105 h 218"/>
                <a:gd name="T2" fmla="*/ 346 w 394"/>
                <a:gd name="T3" fmla="*/ 99 h 218"/>
                <a:gd name="T4" fmla="*/ 280 w 394"/>
                <a:gd name="T5" fmla="*/ 33 h 218"/>
                <a:gd name="T6" fmla="*/ 253 w 394"/>
                <a:gd name="T7" fmla="*/ 39 h 218"/>
                <a:gd name="T8" fmla="*/ 178 w 394"/>
                <a:gd name="T9" fmla="*/ 0 h 218"/>
                <a:gd name="T10" fmla="*/ 90 w 394"/>
                <a:gd name="T11" fmla="*/ 67 h 218"/>
                <a:gd name="T12" fmla="*/ 76 w 394"/>
                <a:gd name="T13" fmla="*/ 66 h 218"/>
                <a:gd name="T14" fmla="*/ 0 w 394"/>
                <a:gd name="T15" fmla="*/ 142 h 218"/>
                <a:gd name="T16" fmla="*/ 76 w 394"/>
                <a:gd name="T17" fmla="*/ 218 h 218"/>
                <a:gd name="T18" fmla="*/ 337 w 394"/>
                <a:gd name="T19" fmla="*/ 218 h 218"/>
                <a:gd name="T20" fmla="*/ 337 w 394"/>
                <a:gd name="T21" fmla="*/ 218 h 218"/>
                <a:gd name="T22" fmla="*/ 337 w 394"/>
                <a:gd name="T23" fmla="*/ 218 h 218"/>
                <a:gd name="T24" fmla="*/ 394 w 394"/>
                <a:gd name="T25" fmla="*/ 161 h 218"/>
                <a:gd name="T26" fmla="*/ 345 w 394"/>
                <a:gd name="T27" fmla="*/ 105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4" h="218">
                  <a:moveTo>
                    <a:pt x="345" y="105"/>
                  </a:moveTo>
                  <a:cubicBezTo>
                    <a:pt x="346" y="104"/>
                    <a:pt x="346" y="101"/>
                    <a:pt x="346" y="99"/>
                  </a:cubicBezTo>
                  <a:cubicBezTo>
                    <a:pt x="346" y="63"/>
                    <a:pt x="316" y="33"/>
                    <a:pt x="280" y="33"/>
                  </a:cubicBezTo>
                  <a:cubicBezTo>
                    <a:pt x="270" y="33"/>
                    <a:pt x="261" y="35"/>
                    <a:pt x="253" y="39"/>
                  </a:cubicBezTo>
                  <a:cubicBezTo>
                    <a:pt x="236" y="15"/>
                    <a:pt x="209" y="0"/>
                    <a:pt x="178" y="0"/>
                  </a:cubicBezTo>
                  <a:cubicBezTo>
                    <a:pt x="136" y="0"/>
                    <a:pt x="100" y="28"/>
                    <a:pt x="90" y="67"/>
                  </a:cubicBezTo>
                  <a:cubicBezTo>
                    <a:pt x="85" y="66"/>
                    <a:pt x="80" y="66"/>
                    <a:pt x="76" y="66"/>
                  </a:cubicBezTo>
                  <a:cubicBezTo>
                    <a:pt x="34" y="66"/>
                    <a:pt x="0" y="100"/>
                    <a:pt x="0" y="142"/>
                  </a:cubicBezTo>
                  <a:cubicBezTo>
                    <a:pt x="0" y="183"/>
                    <a:pt x="34" y="218"/>
                    <a:pt x="76" y="218"/>
                  </a:cubicBezTo>
                  <a:cubicBezTo>
                    <a:pt x="337" y="218"/>
                    <a:pt x="337" y="218"/>
                    <a:pt x="337" y="218"/>
                  </a:cubicBezTo>
                  <a:cubicBezTo>
                    <a:pt x="337" y="218"/>
                    <a:pt x="337" y="218"/>
                    <a:pt x="337" y="218"/>
                  </a:cubicBezTo>
                  <a:cubicBezTo>
                    <a:pt x="337" y="218"/>
                    <a:pt x="337" y="218"/>
                    <a:pt x="337" y="218"/>
                  </a:cubicBezTo>
                  <a:cubicBezTo>
                    <a:pt x="368" y="218"/>
                    <a:pt x="394" y="193"/>
                    <a:pt x="394" y="161"/>
                  </a:cubicBezTo>
                  <a:cubicBezTo>
                    <a:pt x="394" y="133"/>
                    <a:pt x="373" y="109"/>
                    <a:pt x="345" y="105"/>
                  </a:cubicBezTo>
                  <a:close/>
                </a:path>
              </a:pathLst>
            </a:custGeom>
            <a:solidFill>
              <a:schemeClr val="bg1"/>
            </a:solidFill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112541" tIns="56271" rIns="112541" bIns="56271" numCol="1" anchor="t" anchorCtr="0" compatLnSpc="1">
              <a:prstTxWarp prst="textNoShape">
                <a:avLst/>
              </a:prstTxWarp>
            </a:bodyPr>
            <a:lstStyle/>
            <a:p>
              <a:endParaRPr lang="en-US" sz="2500" dirty="0">
                <a:cs typeface="+mn-ea"/>
                <a:sym typeface="+mn-lt"/>
              </a:endParaRPr>
            </a:p>
          </p:txBody>
        </p:sp>
      </p:grpSp>
      <p:sp>
        <p:nvSpPr>
          <p:cNvPr id="13" name="矩形 12">
            <a:extLst>
              <a:ext uri="{FF2B5EF4-FFF2-40B4-BE49-F238E27FC236}">
                <a16:creationId xmlns:a16="http://schemas.microsoft.com/office/drawing/2014/main" id="{A4530226-D8DC-4A90-8D5E-9A214E28D352}"/>
              </a:ext>
            </a:extLst>
          </p:cNvPr>
          <p:cNvSpPr/>
          <p:nvPr/>
        </p:nvSpPr>
        <p:spPr>
          <a:xfrm>
            <a:off x="1471168" y="5639823"/>
            <a:ext cx="2135385" cy="323163"/>
          </a:xfrm>
          <a:prstGeom prst="rect">
            <a:avLst/>
          </a:prstGeom>
          <a:ln>
            <a:noFill/>
          </a:ln>
        </p:spPr>
        <p:txBody>
          <a:bodyPr wrap="square" lIns="91436" tIns="45718" rIns="91436" bIns="45718">
            <a:spAutoFit/>
          </a:bodyPr>
          <a:lstStyle/>
          <a:p>
            <a:pPr algn="ctr" defTabSz="16254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500" b="1" dirty="0">
                <a:cs typeface="+mn-ea"/>
                <a:sym typeface="+mn-lt"/>
              </a:rPr>
              <a:t>云计算及数据挖掘技术</a:t>
            </a:r>
          </a:p>
        </p:txBody>
      </p:sp>
      <p:grpSp>
        <p:nvGrpSpPr>
          <p:cNvPr id="14" name="组合 13"/>
          <p:cNvGrpSpPr/>
          <p:nvPr/>
        </p:nvGrpSpPr>
        <p:grpSpPr>
          <a:xfrm>
            <a:off x="4410071" y="4803679"/>
            <a:ext cx="624000" cy="624000"/>
            <a:chOff x="4878219" y="1051211"/>
            <a:chExt cx="720000" cy="720000"/>
          </a:xfrm>
        </p:grpSpPr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A0910B11-E87C-4448-BFC0-2EB634233531}"/>
                </a:ext>
              </a:extLst>
            </p:cNvPr>
            <p:cNvSpPr/>
            <p:nvPr/>
          </p:nvSpPr>
          <p:spPr>
            <a:xfrm>
              <a:off x="4878219" y="1051211"/>
              <a:ext cx="720000" cy="720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00">
                <a:cs typeface="+mn-ea"/>
                <a:sym typeface="+mn-lt"/>
              </a:endParaRPr>
            </a:p>
          </p:txBody>
        </p:sp>
        <p:sp>
          <p:nvSpPr>
            <p:cNvPr id="16" name="Freeform 108">
              <a:extLst>
                <a:ext uri="{FF2B5EF4-FFF2-40B4-BE49-F238E27FC236}">
                  <a16:creationId xmlns:a16="http://schemas.microsoft.com/office/drawing/2014/main" id="{B9F631AD-6062-45C7-A564-3760B7061DC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065299" y="1211379"/>
              <a:ext cx="345840" cy="399664"/>
            </a:xfrm>
            <a:custGeom>
              <a:avLst/>
              <a:gdLst>
                <a:gd name="T0" fmla="*/ 93 w 96"/>
                <a:gd name="T1" fmla="*/ 56 h 111"/>
                <a:gd name="T2" fmla="*/ 90 w 96"/>
                <a:gd name="T3" fmla="*/ 48 h 111"/>
                <a:gd name="T4" fmla="*/ 91 w 96"/>
                <a:gd name="T5" fmla="*/ 43 h 111"/>
                <a:gd name="T6" fmla="*/ 90 w 96"/>
                <a:gd name="T7" fmla="*/ 37 h 111"/>
                <a:gd name="T8" fmla="*/ 87 w 96"/>
                <a:gd name="T9" fmla="*/ 30 h 111"/>
                <a:gd name="T10" fmla="*/ 84 w 96"/>
                <a:gd name="T11" fmla="*/ 23 h 111"/>
                <a:gd name="T12" fmla="*/ 84 w 96"/>
                <a:gd name="T13" fmla="*/ 17 h 111"/>
                <a:gd name="T14" fmla="*/ 80 w 96"/>
                <a:gd name="T15" fmla="*/ 13 h 111"/>
                <a:gd name="T16" fmla="*/ 79 w 96"/>
                <a:gd name="T17" fmla="*/ 9 h 111"/>
                <a:gd name="T18" fmla="*/ 74 w 96"/>
                <a:gd name="T19" fmla="*/ 6 h 111"/>
                <a:gd name="T20" fmla="*/ 69 w 96"/>
                <a:gd name="T21" fmla="*/ 4 h 111"/>
                <a:gd name="T22" fmla="*/ 62 w 96"/>
                <a:gd name="T23" fmla="*/ 2 h 111"/>
                <a:gd name="T24" fmla="*/ 56 w 96"/>
                <a:gd name="T25" fmla="*/ 1 h 111"/>
                <a:gd name="T26" fmla="*/ 49 w 96"/>
                <a:gd name="T27" fmla="*/ 0 h 111"/>
                <a:gd name="T28" fmla="*/ 42 w 96"/>
                <a:gd name="T29" fmla="*/ 1 h 111"/>
                <a:gd name="T30" fmla="*/ 35 w 96"/>
                <a:gd name="T31" fmla="*/ 2 h 111"/>
                <a:gd name="T32" fmla="*/ 28 w 96"/>
                <a:gd name="T33" fmla="*/ 4 h 111"/>
                <a:gd name="T34" fmla="*/ 21 w 96"/>
                <a:gd name="T35" fmla="*/ 7 h 111"/>
                <a:gd name="T36" fmla="*/ 15 w 96"/>
                <a:gd name="T37" fmla="*/ 10 h 111"/>
                <a:gd name="T38" fmla="*/ 10 w 96"/>
                <a:gd name="T39" fmla="*/ 15 h 111"/>
                <a:gd name="T40" fmla="*/ 6 w 96"/>
                <a:gd name="T41" fmla="*/ 20 h 111"/>
                <a:gd name="T42" fmla="*/ 3 w 96"/>
                <a:gd name="T43" fmla="*/ 26 h 111"/>
                <a:gd name="T44" fmla="*/ 1 w 96"/>
                <a:gd name="T45" fmla="*/ 33 h 111"/>
                <a:gd name="T46" fmla="*/ 0 w 96"/>
                <a:gd name="T47" fmla="*/ 44 h 111"/>
                <a:gd name="T48" fmla="*/ 3 w 96"/>
                <a:gd name="T49" fmla="*/ 57 h 111"/>
                <a:gd name="T50" fmla="*/ 24 w 96"/>
                <a:gd name="T51" fmla="*/ 110 h 111"/>
                <a:gd name="T52" fmla="*/ 73 w 96"/>
                <a:gd name="T53" fmla="*/ 105 h 111"/>
                <a:gd name="T54" fmla="*/ 74 w 96"/>
                <a:gd name="T55" fmla="*/ 94 h 111"/>
                <a:gd name="T56" fmla="*/ 76 w 96"/>
                <a:gd name="T57" fmla="*/ 93 h 111"/>
                <a:gd name="T58" fmla="*/ 79 w 96"/>
                <a:gd name="T59" fmla="*/ 92 h 111"/>
                <a:gd name="T60" fmla="*/ 82 w 96"/>
                <a:gd name="T61" fmla="*/ 92 h 111"/>
                <a:gd name="T62" fmla="*/ 82 w 96"/>
                <a:gd name="T63" fmla="*/ 93 h 111"/>
                <a:gd name="T64" fmla="*/ 86 w 96"/>
                <a:gd name="T65" fmla="*/ 93 h 111"/>
                <a:gd name="T66" fmla="*/ 89 w 96"/>
                <a:gd name="T67" fmla="*/ 92 h 111"/>
                <a:gd name="T68" fmla="*/ 91 w 96"/>
                <a:gd name="T69" fmla="*/ 89 h 111"/>
                <a:gd name="T70" fmla="*/ 91 w 96"/>
                <a:gd name="T71" fmla="*/ 84 h 111"/>
                <a:gd name="T72" fmla="*/ 92 w 96"/>
                <a:gd name="T73" fmla="*/ 82 h 111"/>
                <a:gd name="T74" fmla="*/ 92 w 96"/>
                <a:gd name="T75" fmla="*/ 80 h 111"/>
                <a:gd name="T76" fmla="*/ 91 w 96"/>
                <a:gd name="T77" fmla="*/ 78 h 111"/>
                <a:gd name="T78" fmla="*/ 90 w 96"/>
                <a:gd name="T79" fmla="*/ 77 h 111"/>
                <a:gd name="T80" fmla="*/ 93 w 96"/>
                <a:gd name="T81" fmla="*/ 75 h 111"/>
                <a:gd name="T82" fmla="*/ 92 w 96"/>
                <a:gd name="T83" fmla="*/ 71 h 111"/>
                <a:gd name="T84" fmla="*/ 92 w 96"/>
                <a:gd name="T85" fmla="*/ 66 h 111"/>
                <a:gd name="T86" fmla="*/ 95 w 96"/>
                <a:gd name="T87" fmla="*/ 64 h 111"/>
                <a:gd name="T88" fmla="*/ 48 w 96"/>
                <a:gd name="T89" fmla="*/ 51 h 111"/>
                <a:gd name="T90" fmla="*/ 33 w 96"/>
                <a:gd name="T91" fmla="*/ 55 h 111"/>
                <a:gd name="T92" fmla="*/ 19 w 96"/>
                <a:gd name="T93" fmla="*/ 48 h 111"/>
                <a:gd name="T94" fmla="*/ 15 w 96"/>
                <a:gd name="T95" fmla="*/ 33 h 111"/>
                <a:gd name="T96" fmla="*/ 22 w 96"/>
                <a:gd name="T97" fmla="*/ 19 h 111"/>
                <a:gd name="T98" fmla="*/ 37 w 96"/>
                <a:gd name="T99" fmla="*/ 15 h 111"/>
                <a:gd name="T100" fmla="*/ 51 w 96"/>
                <a:gd name="T101" fmla="*/ 22 h 111"/>
                <a:gd name="T102" fmla="*/ 56 w 96"/>
                <a:gd name="T103" fmla="*/ 37 h 111"/>
                <a:gd name="T104" fmla="*/ 48 w 96"/>
                <a:gd name="T105" fmla="*/ 51 h 111"/>
                <a:gd name="T106" fmla="*/ 69 w 96"/>
                <a:gd name="T107" fmla="*/ 53 h 111"/>
                <a:gd name="T108" fmla="*/ 62 w 96"/>
                <a:gd name="T109" fmla="*/ 55 h 111"/>
                <a:gd name="T110" fmla="*/ 55 w 96"/>
                <a:gd name="T111" fmla="*/ 51 h 111"/>
                <a:gd name="T112" fmla="*/ 53 w 96"/>
                <a:gd name="T113" fmla="*/ 44 h 111"/>
                <a:gd name="T114" fmla="*/ 57 w 96"/>
                <a:gd name="T115" fmla="*/ 37 h 111"/>
                <a:gd name="T116" fmla="*/ 64 w 96"/>
                <a:gd name="T117" fmla="*/ 35 h 111"/>
                <a:gd name="T118" fmla="*/ 71 w 96"/>
                <a:gd name="T119" fmla="*/ 39 h 111"/>
                <a:gd name="T120" fmla="*/ 73 w 96"/>
                <a:gd name="T121" fmla="*/ 4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6" h="111">
                  <a:moveTo>
                    <a:pt x="95" y="63"/>
                  </a:moveTo>
                  <a:cubicBezTo>
                    <a:pt x="95" y="60"/>
                    <a:pt x="95" y="60"/>
                    <a:pt x="95" y="60"/>
                  </a:cubicBezTo>
                  <a:cubicBezTo>
                    <a:pt x="94" y="58"/>
                    <a:pt x="94" y="58"/>
                    <a:pt x="94" y="5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2"/>
                    <a:pt x="92" y="52"/>
                    <a:pt x="92" y="52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0" y="48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91" y="43"/>
                    <a:pt x="91" y="43"/>
                    <a:pt x="91" y="43"/>
                  </a:cubicBezTo>
                  <a:cubicBezTo>
                    <a:pt x="91" y="42"/>
                    <a:pt x="91" y="42"/>
                    <a:pt x="91" y="42"/>
                  </a:cubicBezTo>
                  <a:cubicBezTo>
                    <a:pt x="91" y="41"/>
                    <a:pt x="91" y="41"/>
                    <a:pt x="91" y="41"/>
                  </a:cubicBezTo>
                  <a:cubicBezTo>
                    <a:pt x="90" y="39"/>
                    <a:pt x="90" y="39"/>
                    <a:pt x="90" y="39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89" y="35"/>
                    <a:pt x="89" y="35"/>
                    <a:pt x="89" y="35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6" y="20"/>
                    <a:pt x="86" y="20"/>
                    <a:pt x="86" y="20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25" y="85"/>
                    <a:pt x="24" y="100"/>
                    <a:pt x="24" y="100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73" y="108"/>
                    <a:pt x="73" y="108"/>
                    <a:pt x="73" y="108"/>
                  </a:cubicBezTo>
                  <a:cubicBezTo>
                    <a:pt x="73" y="105"/>
                    <a:pt x="73" y="105"/>
                    <a:pt x="73" y="105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3" y="95"/>
                    <a:pt x="73" y="95"/>
                    <a:pt x="73" y="95"/>
                  </a:cubicBezTo>
                  <a:cubicBezTo>
                    <a:pt x="73" y="95"/>
                    <a:pt x="73" y="95"/>
                    <a:pt x="73" y="95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5" y="93"/>
                    <a:pt x="75" y="93"/>
                    <a:pt x="75" y="93"/>
                  </a:cubicBezTo>
                  <a:cubicBezTo>
                    <a:pt x="76" y="93"/>
                    <a:pt x="76" y="93"/>
                    <a:pt x="76" y="93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8" y="92"/>
                    <a:pt x="78" y="92"/>
                    <a:pt x="78" y="92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80" y="92"/>
                    <a:pt x="80" y="92"/>
                    <a:pt x="80" y="92"/>
                  </a:cubicBezTo>
                  <a:cubicBezTo>
                    <a:pt x="81" y="92"/>
                    <a:pt x="81" y="92"/>
                    <a:pt x="81" y="92"/>
                  </a:cubicBezTo>
                  <a:cubicBezTo>
                    <a:pt x="82" y="92"/>
                    <a:pt x="82" y="92"/>
                    <a:pt x="82" y="92"/>
                  </a:cubicBezTo>
                  <a:cubicBezTo>
                    <a:pt x="83" y="92"/>
                    <a:pt x="83" y="92"/>
                    <a:pt x="83" y="92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85" y="93"/>
                    <a:pt x="85" y="93"/>
                    <a:pt x="85" y="93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3"/>
                    <a:pt x="84" y="93"/>
                    <a:pt x="84" y="93"/>
                  </a:cubicBezTo>
                  <a:cubicBezTo>
                    <a:pt x="85" y="93"/>
                    <a:pt x="85" y="93"/>
                    <a:pt x="85" y="93"/>
                  </a:cubicBezTo>
                  <a:cubicBezTo>
                    <a:pt x="86" y="93"/>
                    <a:pt x="86" y="93"/>
                    <a:pt x="86" y="93"/>
                  </a:cubicBezTo>
                  <a:cubicBezTo>
                    <a:pt x="86" y="93"/>
                    <a:pt x="86" y="93"/>
                    <a:pt x="86" y="93"/>
                  </a:cubicBezTo>
                  <a:cubicBezTo>
                    <a:pt x="87" y="93"/>
                    <a:pt x="87" y="93"/>
                    <a:pt x="87" y="93"/>
                  </a:cubicBezTo>
                  <a:cubicBezTo>
                    <a:pt x="88" y="92"/>
                    <a:pt x="88" y="92"/>
                    <a:pt x="88" y="92"/>
                  </a:cubicBezTo>
                  <a:cubicBezTo>
                    <a:pt x="88" y="92"/>
                    <a:pt x="88" y="92"/>
                    <a:pt x="88" y="92"/>
                  </a:cubicBezTo>
                  <a:cubicBezTo>
                    <a:pt x="89" y="92"/>
                    <a:pt x="89" y="92"/>
                    <a:pt x="89" y="92"/>
                  </a:cubicBezTo>
                  <a:cubicBezTo>
                    <a:pt x="90" y="91"/>
                    <a:pt x="90" y="91"/>
                    <a:pt x="90" y="91"/>
                  </a:cubicBezTo>
                  <a:cubicBezTo>
                    <a:pt x="90" y="91"/>
                    <a:pt x="90" y="91"/>
                    <a:pt x="90" y="91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90" y="86"/>
                    <a:pt x="90" y="86"/>
                    <a:pt x="90" y="86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91" y="84"/>
                    <a:pt x="91" y="84"/>
                    <a:pt x="91" y="84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91" y="83"/>
                    <a:pt x="91" y="83"/>
                    <a:pt x="91" y="83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93" y="75"/>
                    <a:pt x="93" y="75"/>
                    <a:pt x="93" y="75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3" y="74"/>
                    <a:pt x="93" y="74"/>
                    <a:pt x="93" y="74"/>
                  </a:cubicBezTo>
                  <a:cubicBezTo>
                    <a:pt x="93" y="73"/>
                    <a:pt x="93" y="73"/>
                    <a:pt x="93" y="73"/>
                  </a:cubicBezTo>
                  <a:cubicBezTo>
                    <a:pt x="92" y="71"/>
                    <a:pt x="92" y="71"/>
                    <a:pt x="92" y="71"/>
                  </a:cubicBezTo>
                  <a:cubicBezTo>
                    <a:pt x="92" y="70"/>
                    <a:pt x="92" y="70"/>
                    <a:pt x="92" y="70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95" y="64"/>
                    <a:pt x="95" y="64"/>
                    <a:pt x="95" y="64"/>
                  </a:cubicBezTo>
                  <a:cubicBezTo>
                    <a:pt x="95" y="64"/>
                    <a:pt x="95" y="64"/>
                    <a:pt x="95" y="64"/>
                  </a:cubicBezTo>
                  <a:cubicBezTo>
                    <a:pt x="96" y="63"/>
                    <a:pt x="96" y="63"/>
                    <a:pt x="96" y="63"/>
                  </a:cubicBezTo>
                  <a:lnTo>
                    <a:pt x="95" y="63"/>
                  </a:lnTo>
                  <a:close/>
                  <a:moveTo>
                    <a:pt x="48" y="51"/>
                  </a:moveTo>
                  <a:cubicBezTo>
                    <a:pt x="43" y="49"/>
                    <a:pt x="43" y="49"/>
                    <a:pt x="43" y="49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52" y="48"/>
                    <a:pt x="52" y="48"/>
                    <a:pt x="52" y="48"/>
                  </a:cubicBezTo>
                  <a:lnTo>
                    <a:pt x="48" y="51"/>
                  </a:lnTo>
                  <a:close/>
                  <a:moveTo>
                    <a:pt x="72" y="48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3" y="46"/>
                    <a:pt x="73" y="46"/>
                    <a:pt x="73" y="46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/>
          </p:spPr>
          <p:txBody>
            <a:bodyPr vert="horz" wrap="square" lIns="217400" tIns="108700" rIns="217400" bIns="10870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1900">
                <a:cs typeface="+mn-ea"/>
                <a:sym typeface="+mn-lt"/>
              </a:endParaRPr>
            </a:p>
          </p:txBody>
        </p:sp>
      </p:grpSp>
      <p:sp>
        <p:nvSpPr>
          <p:cNvPr id="17" name="矩形 16">
            <a:extLst>
              <a:ext uri="{FF2B5EF4-FFF2-40B4-BE49-F238E27FC236}">
                <a16:creationId xmlns:a16="http://schemas.microsoft.com/office/drawing/2014/main" id="{0C1EAB7D-572E-4BDB-9B73-F36AED1A8708}"/>
              </a:ext>
            </a:extLst>
          </p:cNvPr>
          <p:cNvSpPr/>
          <p:nvPr/>
        </p:nvSpPr>
        <p:spPr>
          <a:xfrm>
            <a:off x="3722274" y="5639824"/>
            <a:ext cx="1999601" cy="323163"/>
          </a:xfrm>
          <a:prstGeom prst="rect">
            <a:avLst/>
          </a:prstGeom>
          <a:ln>
            <a:noFill/>
          </a:ln>
        </p:spPr>
        <p:txBody>
          <a:bodyPr wrap="square" lIns="91436" tIns="45718" rIns="91436" bIns="45718">
            <a:spAutoFit/>
          </a:bodyPr>
          <a:lstStyle/>
          <a:p>
            <a:pPr algn="ctr" defTabSz="16254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500" b="1" dirty="0">
                <a:cs typeface="+mn-ea"/>
                <a:sym typeface="+mn-lt"/>
              </a:rPr>
              <a:t>人工智能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694B100-40E3-4689-9DBE-63902E181A30}"/>
              </a:ext>
            </a:extLst>
          </p:cNvPr>
          <p:cNvSpPr/>
          <p:nvPr/>
        </p:nvSpPr>
        <p:spPr>
          <a:xfrm>
            <a:off x="1671316" y="4174741"/>
            <a:ext cx="1735085" cy="323163"/>
          </a:xfrm>
          <a:prstGeom prst="rect">
            <a:avLst/>
          </a:prstGeom>
          <a:ln>
            <a:noFill/>
          </a:ln>
        </p:spPr>
        <p:txBody>
          <a:bodyPr wrap="square" lIns="91436" tIns="45718" rIns="91436" bIns="45718">
            <a:spAutoFit/>
          </a:bodyPr>
          <a:lstStyle/>
          <a:p>
            <a:pPr algn="ctr" defTabSz="16254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500" b="1" dirty="0">
                <a:cs typeface="+mn-ea"/>
                <a:sym typeface="+mn-lt"/>
              </a:rPr>
              <a:t>可穿戴及移动技术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2226856" y="3338200"/>
            <a:ext cx="624000" cy="624000"/>
            <a:chOff x="2346975" y="3098431"/>
            <a:chExt cx="720000" cy="720000"/>
          </a:xfrm>
        </p:grpSpPr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AF157521-807B-4DC1-B55F-78C960351F84}"/>
                </a:ext>
              </a:extLst>
            </p:cNvPr>
            <p:cNvSpPr/>
            <p:nvPr/>
          </p:nvSpPr>
          <p:spPr>
            <a:xfrm>
              <a:off x="2346975" y="3098431"/>
              <a:ext cx="720000" cy="720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00">
                <a:cs typeface="+mn-ea"/>
                <a:sym typeface="+mn-lt"/>
              </a:endParaRPr>
            </a:p>
          </p:txBody>
        </p:sp>
        <p:sp>
          <p:nvSpPr>
            <p:cNvPr id="21" name="Freeform 96">
              <a:extLst>
                <a:ext uri="{FF2B5EF4-FFF2-40B4-BE49-F238E27FC236}">
                  <a16:creationId xmlns:a16="http://schemas.microsoft.com/office/drawing/2014/main" id="{B3599985-C99A-401C-AA1E-CC5C52A970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7866" y="3284334"/>
              <a:ext cx="218218" cy="348195"/>
            </a:xfrm>
            <a:custGeom>
              <a:avLst/>
              <a:gdLst>
                <a:gd name="T0" fmla="*/ 881 w 977"/>
                <a:gd name="T1" fmla="*/ 0 h 1761"/>
                <a:gd name="T2" fmla="*/ 96 w 977"/>
                <a:gd name="T3" fmla="*/ 0 h 1761"/>
                <a:gd name="T4" fmla="*/ 0 w 977"/>
                <a:gd name="T5" fmla="*/ 96 h 1761"/>
                <a:gd name="T6" fmla="*/ 0 w 977"/>
                <a:gd name="T7" fmla="*/ 1482 h 1761"/>
                <a:gd name="T8" fmla="*/ 488 w 977"/>
                <a:gd name="T9" fmla="*/ 1761 h 1761"/>
                <a:gd name="T10" fmla="*/ 977 w 977"/>
                <a:gd name="T11" fmla="*/ 1482 h 1761"/>
                <a:gd name="T12" fmla="*/ 977 w 977"/>
                <a:gd name="T13" fmla="*/ 96 h 1761"/>
                <a:gd name="T14" fmla="*/ 881 w 977"/>
                <a:gd name="T15" fmla="*/ 0 h 1761"/>
                <a:gd name="T16" fmla="*/ 488 w 977"/>
                <a:gd name="T17" fmla="*/ 1691 h 1761"/>
                <a:gd name="T18" fmla="*/ 420 w 977"/>
                <a:gd name="T19" fmla="*/ 1622 h 1761"/>
                <a:gd name="T20" fmla="*/ 488 w 977"/>
                <a:gd name="T21" fmla="*/ 1554 h 1761"/>
                <a:gd name="T22" fmla="*/ 557 w 977"/>
                <a:gd name="T23" fmla="*/ 1622 h 1761"/>
                <a:gd name="T24" fmla="*/ 488 w 977"/>
                <a:gd name="T25" fmla="*/ 1691 h 1761"/>
                <a:gd name="T26" fmla="*/ 913 w 977"/>
                <a:gd name="T27" fmla="*/ 1384 h 1761"/>
                <a:gd name="T28" fmla="*/ 811 w 977"/>
                <a:gd name="T29" fmla="*/ 1482 h 1761"/>
                <a:gd name="T30" fmla="*/ 166 w 977"/>
                <a:gd name="T31" fmla="*/ 1482 h 1761"/>
                <a:gd name="T32" fmla="*/ 64 w 977"/>
                <a:gd name="T33" fmla="*/ 1384 h 1761"/>
                <a:gd name="T34" fmla="*/ 64 w 977"/>
                <a:gd name="T35" fmla="*/ 186 h 1761"/>
                <a:gd name="T36" fmla="*/ 166 w 977"/>
                <a:gd name="T37" fmla="*/ 88 h 1761"/>
                <a:gd name="T38" fmla="*/ 811 w 977"/>
                <a:gd name="T39" fmla="*/ 88 h 1761"/>
                <a:gd name="T40" fmla="*/ 913 w 977"/>
                <a:gd name="T41" fmla="*/ 186 h 1761"/>
                <a:gd name="T42" fmla="*/ 913 w 977"/>
                <a:gd name="T43" fmla="*/ 1384 h 1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77" h="1761">
                  <a:moveTo>
                    <a:pt x="881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1482"/>
                    <a:pt x="0" y="1482"/>
                    <a:pt x="0" y="1482"/>
                  </a:cubicBezTo>
                  <a:cubicBezTo>
                    <a:pt x="0" y="1752"/>
                    <a:pt x="219" y="1761"/>
                    <a:pt x="488" y="1761"/>
                  </a:cubicBezTo>
                  <a:cubicBezTo>
                    <a:pt x="758" y="1761"/>
                    <a:pt x="977" y="1752"/>
                    <a:pt x="977" y="1482"/>
                  </a:cubicBezTo>
                  <a:cubicBezTo>
                    <a:pt x="977" y="96"/>
                    <a:pt x="977" y="96"/>
                    <a:pt x="977" y="96"/>
                  </a:cubicBezTo>
                  <a:cubicBezTo>
                    <a:pt x="977" y="43"/>
                    <a:pt x="934" y="0"/>
                    <a:pt x="881" y="0"/>
                  </a:cubicBezTo>
                  <a:close/>
                  <a:moveTo>
                    <a:pt x="488" y="1691"/>
                  </a:moveTo>
                  <a:cubicBezTo>
                    <a:pt x="450" y="1691"/>
                    <a:pt x="420" y="1660"/>
                    <a:pt x="420" y="1622"/>
                  </a:cubicBezTo>
                  <a:cubicBezTo>
                    <a:pt x="420" y="1584"/>
                    <a:pt x="450" y="1554"/>
                    <a:pt x="488" y="1554"/>
                  </a:cubicBezTo>
                  <a:cubicBezTo>
                    <a:pt x="526" y="1554"/>
                    <a:pt x="557" y="1584"/>
                    <a:pt x="557" y="1622"/>
                  </a:cubicBezTo>
                  <a:cubicBezTo>
                    <a:pt x="557" y="1660"/>
                    <a:pt x="526" y="1691"/>
                    <a:pt x="488" y="1691"/>
                  </a:cubicBezTo>
                  <a:close/>
                  <a:moveTo>
                    <a:pt x="913" y="1384"/>
                  </a:moveTo>
                  <a:cubicBezTo>
                    <a:pt x="913" y="1438"/>
                    <a:pt x="867" y="1482"/>
                    <a:pt x="811" y="1482"/>
                  </a:cubicBezTo>
                  <a:cubicBezTo>
                    <a:pt x="166" y="1482"/>
                    <a:pt x="166" y="1482"/>
                    <a:pt x="166" y="1482"/>
                  </a:cubicBezTo>
                  <a:cubicBezTo>
                    <a:pt x="110" y="1482"/>
                    <a:pt x="64" y="1438"/>
                    <a:pt x="64" y="1384"/>
                  </a:cubicBezTo>
                  <a:cubicBezTo>
                    <a:pt x="64" y="186"/>
                    <a:pt x="64" y="186"/>
                    <a:pt x="64" y="186"/>
                  </a:cubicBezTo>
                  <a:cubicBezTo>
                    <a:pt x="64" y="132"/>
                    <a:pt x="110" y="88"/>
                    <a:pt x="166" y="88"/>
                  </a:cubicBezTo>
                  <a:cubicBezTo>
                    <a:pt x="811" y="88"/>
                    <a:pt x="811" y="88"/>
                    <a:pt x="811" y="88"/>
                  </a:cubicBezTo>
                  <a:cubicBezTo>
                    <a:pt x="867" y="88"/>
                    <a:pt x="913" y="132"/>
                    <a:pt x="913" y="186"/>
                  </a:cubicBezTo>
                  <a:lnTo>
                    <a:pt x="913" y="1384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10">
                <a:defRPr/>
              </a:pPr>
              <a:endParaRPr lang="en-AU" sz="2400" kern="0" dirty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22" name="矩形 21">
            <a:extLst>
              <a:ext uri="{FF2B5EF4-FFF2-40B4-BE49-F238E27FC236}">
                <a16:creationId xmlns:a16="http://schemas.microsoft.com/office/drawing/2014/main" id="{631E167F-B788-4DD4-AE0D-46078C7615A4}"/>
              </a:ext>
            </a:extLst>
          </p:cNvPr>
          <p:cNvSpPr/>
          <p:nvPr/>
        </p:nvSpPr>
        <p:spPr>
          <a:xfrm>
            <a:off x="5276993" y="4174741"/>
            <a:ext cx="2812064" cy="323163"/>
          </a:xfrm>
          <a:prstGeom prst="rect">
            <a:avLst/>
          </a:prstGeom>
          <a:ln>
            <a:noFill/>
          </a:ln>
        </p:spPr>
        <p:txBody>
          <a:bodyPr wrap="square" lIns="91436" tIns="45718" rIns="91436" bIns="45718">
            <a:spAutoFit/>
          </a:bodyPr>
          <a:lstStyle/>
          <a:p>
            <a:pPr algn="ctr" defTabSz="16254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500" b="1" dirty="0">
                <a:cs typeface="+mn-ea"/>
                <a:sym typeface="+mn-lt"/>
              </a:rPr>
              <a:t>物联网技术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6371025" y="3338200"/>
            <a:ext cx="624000" cy="624000"/>
            <a:chOff x="4061314" y="2978186"/>
            <a:chExt cx="720000" cy="720000"/>
          </a:xfrm>
        </p:grpSpPr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AFB42014-A1F3-407F-804A-35590E6C14D8}"/>
                </a:ext>
              </a:extLst>
            </p:cNvPr>
            <p:cNvSpPr/>
            <p:nvPr/>
          </p:nvSpPr>
          <p:spPr>
            <a:xfrm>
              <a:off x="4061314" y="2978186"/>
              <a:ext cx="720000" cy="720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00">
                <a:cs typeface="+mn-ea"/>
                <a:sym typeface="+mn-lt"/>
              </a:endParaRPr>
            </a:p>
          </p:txBody>
        </p: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DB0505C9-89CD-4BC2-AD9E-20C5CA1F7331}"/>
                </a:ext>
              </a:extLst>
            </p:cNvPr>
            <p:cNvGrpSpPr/>
            <p:nvPr/>
          </p:nvGrpSpPr>
          <p:grpSpPr>
            <a:xfrm>
              <a:off x="4158777" y="3156171"/>
              <a:ext cx="525074" cy="302260"/>
              <a:chOff x="4890116" y="4559173"/>
              <a:chExt cx="895824" cy="767496"/>
            </a:xfrm>
            <a:solidFill>
              <a:schemeClr val="bg1"/>
            </a:solidFill>
          </p:grpSpPr>
          <p:grpSp>
            <p:nvGrpSpPr>
              <p:cNvPr id="26" name="Group 142">
                <a:extLst>
                  <a:ext uri="{FF2B5EF4-FFF2-40B4-BE49-F238E27FC236}">
                    <a16:creationId xmlns:a16="http://schemas.microsoft.com/office/drawing/2014/main" id="{A359E251-54DF-48B5-BB2B-7DBFA047A15A}"/>
                  </a:ext>
                </a:extLst>
              </p:cNvPr>
              <p:cNvGrpSpPr/>
              <p:nvPr/>
            </p:nvGrpSpPr>
            <p:grpSpPr>
              <a:xfrm>
                <a:off x="4890116" y="4559173"/>
                <a:ext cx="895824" cy="767496"/>
                <a:chOff x="4573588" y="2434911"/>
                <a:chExt cx="1117636" cy="957533"/>
              </a:xfrm>
              <a:grpFill/>
            </p:grpSpPr>
            <p:grpSp>
              <p:nvGrpSpPr>
                <p:cNvPr id="35" name="Group 152">
                  <a:extLst>
                    <a:ext uri="{FF2B5EF4-FFF2-40B4-BE49-F238E27FC236}">
                      <a16:creationId xmlns:a16="http://schemas.microsoft.com/office/drawing/2014/main" id="{E642A9A2-6934-4137-BE4B-BDF0AD014508}"/>
                    </a:ext>
                  </a:extLst>
                </p:cNvPr>
                <p:cNvGrpSpPr/>
                <p:nvPr/>
              </p:nvGrpSpPr>
              <p:grpSpPr>
                <a:xfrm>
                  <a:off x="4573588" y="3202511"/>
                  <a:ext cx="194628" cy="169666"/>
                  <a:chOff x="3849688" y="2393950"/>
                  <a:chExt cx="2654300" cy="2313863"/>
                </a:xfrm>
                <a:grpFill/>
              </p:grpSpPr>
              <p:sp>
                <p:nvSpPr>
                  <p:cNvPr id="48" name="Freeform 24">
                    <a:extLst>
                      <a:ext uri="{FF2B5EF4-FFF2-40B4-BE49-F238E27FC236}">
                        <a16:creationId xmlns:a16="http://schemas.microsoft.com/office/drawing/2014/main" id="{375957B2-FF61-427B-A716-543D443E797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19599" y="4429998"/>
                    <a:ext cx="1514479" cy="277815"/>
                  </a:xfrm>
                  <a:custGeom>
                    <a:avLst/>
                    <a:gdLst>
                      <a:gd name="T0" fmla="*/ 268 w 404"/>
                      <a:gd name="T1" fmla="*/ 0 h 74"/>
                      <a:gd name="T2" fmla="*/ 404 w 404"/>
                      <a:gd name="T3" fmla="*/ 53 h 74"/>
                      <a:gd name="T4" fmla="*/ 404 w 404"/>
                      <a:gd name="T5" fmla="*/ 74 h 74"/>
                      <a:gd name="T6" fmla="*/ 0 w 404"/>
                      <a:gd name="T7" fmla="*/ 74 h 74"/>
                      <a:gd name="T8" fmla="*/ 0 w 404"/>
                      <a:gd name="T9" fmla="*/ 53 h 74"/>
                      <a:gd name="T10" fmla="*/ 136 w 404"/>
                      <a:gd name="T11" fmla="*/ 0 h 74"/>
                      <a:gd name="T12" fmla="*/ 268 w 404"/>
                      <a:gd name="T13" fmla="*/ 0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4" h="74">
                        <a:moveTo>
                          <a:pt x="268" y="0"/>
                        </a:moveTo>
                        <a:cubicBezTo>
                          <a:pt x="268" y="38"/>
                          <a:pt x="329" y="53"/>
                          <a:pt x="404" y="53"/>
                        </a:cubicBezTo>
                        <a:cubicBezTo>
                          <a:pt x="404" y="74"/>
                          <a:pt x="404" y="74"/>
                          <a:pt x="404" y="74"/>
                        </a:cubicBezTo>
                        <a:cubicBezTo>
                          <a:pt x="0" y="74"/>
                          <a:pt x="0" y="74"/>
                          <a:pt x="0" y="74"/>
                        </a:cubicBezTo>
                        <a:cubicBezTo>
                          <a:pt x="0" y="53"/>
                          <a:pt x="0" y="53"/>
                          <a:pt x="0" y="53"/>
                        </a:cubicBezTo>
                        <a:cubicBezTo>
                          <a:pt x="75" y="53"/>
                          <a:pt x="136" y="38"/>
                          <a:pt x="136" y="0"/>
                        </a:cubicBezTo>
                        <a:lnTo>
                          <a:pt x="268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10">
                      <a:defRPr/>
                    </a:pPr>
                    <a:endParaRPr lang="en-AU" sz="2400" kern="0" dirty="0">
                      <a:solidFill>
                        <a:srgbClr val="000000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49" name="Freeform 25">
                    <a:extLst>
                      <a:ext uri="{FF2B5EF4-FFF2-40B4-BE49-F238E27FC236}">
                        <a16:creationId xmlns:a16="http://schemas.microsoft.com/office/drawing/2014/main" id="{F6AC2342-DEB7-4433-9285-FD5D62AE972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849688" y="2393950"/>
                    <a:ext cx="2654300" cy="1924055"/>
                  </a:xfrm>
                  <a:custGeom>
                    <a:avLst/>
                    <a:gdLst>
                      <a:gd name="T0" fmla="*/ 708 w 708"/>
                      <a:gd name="T1" fmla="*/ 479 h 513"/>
                      <a:gd name="T2" fmla="*/ 674 w 708"/>
                      <a:gd name="T3" fmla="*/ 513 h 513"/>
                      <a:gd name="T4" fmla="*/ 34 w 708"/>
                      <a:gd name="T5" fmla="*/ 513 h 513"/>
                      <a:gd name="T6" fmla="*/ 0 w 708"/>
                      <a:gd name="T7" fmla="*/ 479 h 513"/>
                      <a:gd name="T8" fmla="*/ 0 w 708"/>
                      <a:gd name="T9" fmla="*/ 34 h 513"/>
                      <a:gd name="T10" fmla="*/ 34 w 708"/>
                      <a:gd name="T11" fmla="*/ 0 h 513"/>
                      <a:gd name="T12" fmla="*/ 674 w 708"/>
                      <a:gd name="T13" fmla="*/ 0 h 513"/>
                      <a:gd name="T14" fmla="*/ 708 w 708"/>
                      <a:gd name="T15" fmla="*/ 34 h 513"/>
                      <a:gd name="T16" fmla="*/ 708 w 708"/>
                      <a:gd name="T17" fmla="*/ 479 h 513"/>
                      <a:gd name="T18" fmla="*/ 669 w 708"/>
                      <a:gd name="T19" fmla="*/ 70 h 513"/>
                      <a:gd name="T20" fmla="*/ 635 w 708"/>
                      <a:gd name="T21" fmla="*/ 36 h 513"/>
                      <a:gd name="T22" fmla="*/ 73 w 708"/>
                      <a:gd name="T23" fmla="*/ 36 h 513"/>
                      <a:gd name="T24" fmla="*/ 39 w 708"/>
                      <a:gd name="T25" fmla="*/ 70 h 513"/>
                      <a:gd name="T26" fmla="*/ 39 w 708"/>
                      <a:gd name="T27" fmla="*/ 404 h 513"/>
                      <a:gd name="T28" fmla="*/ 73 w 708"/>
                      <a:gd name="T29" fmla="*/ 438 h 513"/>
                      <a:gd name="T30" fmla="*/ 635 w 708"/>
                      <a:gd name="T31" fmla="*/ 438 h 513"/>
                      <a:gd name="T32" fmla="*/ 669 w 708"/>
                      <a:gd name="T33" fmla="*/ 404 h 513"/>
                      <a:gd name="T34" fmla="*/ 669 w 708"/>
                      <a:gd name="T35" fmla="*/ 70 h 513"/>
                      <a:gd name="T36" fmla="*/ 633 w 708"/>
                      <a:gd name="T37" fmla="*/ 467 h 513"/>
                      <a:gd name="T38" fmla="*/ 630 w 708"/>
                      <a:gd name="T39" fmla="*/ 464 h 513"/>
                      <a:gd name="T40" fmla="*/ 602 w 708"/>
                      <a:gd name="T41" fmla="*/ 464 h 513"/>
                      <a:gd name="T42" fmla="*/ 599 w 708"/>
                      <a:gd name="T43" fmla="*/ 467 h 513"/>
                      <a:gd name="T44" fmla="*/ 599 w 708"/>
                      <a:gd name="T45" fmla="*/ 484 h 513"/>
                      <a:gd name="T46" fmla="*/ 602 w 708"/>
                      <a:gd name="T47" fmla="*/ 487 h 513"/>
                      <a:gd name="T48" fmla="*/ 630 w 708"/>
                      <a:gd name="T49" fmla="*/ 487 h 513"/>
                      <a:gd name="T50" fmla="*/ 633 w 708"/>
                      <a:gd name="T51" fmla="*/ 484 h 513"/>
                      <a:gd name="T52" fmla="*/ 633 w 708"/>
                      <a:gd name="T53" fmla="*/ 467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708" h="513">
                        <a:moveTo>
                          <a:pt x="708" y="479"/>
                        </a:moveTo>
                        <a:cubicBezTo>
                          <a:pt x="708" y="498"/>
                          <a:pt x="693" y="513"/>
                          <a:pt x="674" y="513"/>
                        </a:cubicBezTo>
                        <a:cubicBezTo>
                          <a:pt x="34" y="513"/>
                          <a:pt x="34" y="513"/>
                          <a:pt x="34" y="513"/>
                        </a:cubicBezTo>
                        <a:cubicBezTo>
                          <a:pt x="15" y="513"/>
                          <a:pt x="0" y="498"/>
                          <a:pt x="0" y="479"/>
                        </a:cubicBezTo>
                        <a:cubicBezTo>
                          <a:pt x="0" y="34"/>
                          <a:pt x="0" y="34"/>
                          <a:pt x="0" y="34"/>
                        </a:cubicBezTo>
                        <a:cubicBezTo>
                          <a:pt x="0" y="15"/>
                          <a:pt x="15" y="0"/>
                          <a:pt x="34" y="0"/>
                        </a:cubicBezTo>
                        <a:cubicBezTo>
                          <a:pt x="674" y="0"/>
                          <a:pt x="674" y="0"/>
                          <a:pt x="674" y="0"/>
                        </a:cubicBezTo>
                        <a:cubicBezTo>
                          <a:pt x="693" y="0"/>
                          <a:pt x="708" y="15"/>
                          <a:pt x="708" y="34"/>
                        </a:cubicBezTo>
                        <a:lnTo>
                          <a:pt x="708" y="479"/>
                        </a:lnTo>
                        <a:close/>
                        <a:moveTo>
                          <a:pt x="669" y="70"/>
                        </a:moveTo>
                        <a:cubicBezTo>
                          <a:pt x="669" y="51"/>
                          <a:pt x="654" y="36"/>
                          <a:pt x="635" y="36"/>
                        </a:cubicBezTo>
                        <a:cubicBezTo>
                          <a:pt x="73" y="36"/>
                          <a:pt x="73" y="36"/>
                          <a:pt x="73" y="36"/>
                        </a:cubicBezTo>
                        <a:cubicBezTo>
                          <a:pt x="54" y="36"/>
                          <a:pt x="39" y="51"/>
                          <a:pt x="39" y="70"/>
                        </a:cubicBezTo>
                        <a:cubicBezTo>
                          <a:pt x="39" y="404"/>
                          <a:pt x="39" y="404"/>
                          <a:pt x="39" y="404"/>
                        </a:cubicBezTo>
                        <a:cubicBezTo>
                          <a:pt x="39" y="423"/>
                          <a:pt x="54" y="438"/>
                          <a:pt x="73" y="438"/>
                        </a:cubicBezTo>
                        <a:cubicBezTo>
                          <a:pt x="635" y="438"/>
                          <a:pt x="635" y="438"/>
                          <a:pt x="635" y="438"/>
                        </a:cubicBezTo>
                        <a:cubicBezTo>
                          <a:pt x="654" y="438"/>
                          <a:pt x="669" y="423"/>
                          <a:pt x="669" y="404"/>
                        </a:cubicBezTo>
                        <a:lnTo>
                          <a:pt x="669" y="70"/>
                        </a:lnTo>
                        <a:close/>
                        <a:moveTo>
                          <a:pt x="633" y="467"/>
                        </a:moveTo>
                        <a:cubicBezTo>
                          <a:pt x="633" y="465"/>
                          <a:pt x="632" y="464"/>
                          <a:pt x="630" y="464"/>
                        </a:cubicBezTo>
                        <a:cubicBezTo>
                          <a:pt x="602" y="464"/>
                          <a:pt x="602" y="464"/>
                          <a:pt x="602" y="464"/>
                        </a:cubicBezTo>
                        <a:cubicBezTo>
                          <a:pt x="601" y="464"/>
                          <a:pt x="599" y="465"/>
                          <a:pt x="599" y="467"/>
                        </a:cubicBezTo>
                        <a:cubicBezTo>
                          <a:pt x="599" y="484"/>
                          <a:pt x="599" y="484"/>
                          <a:pt x="599" y="484"/>
                        </a:cubicBezTo>
                        <a:cubicBezTo>
                          <a:pt x="599" y="486"/>
                          <a:pt x="601" y="487"/>
                          <a:pt x="602" y="487"/>
                        </a:cubicBezTo>
                        <a:cubicBezTo>
                          <a:pt x="630" y="487"/>
                          <a:pt x="630" y="487"/>
                          <a:pt x="630" y="487"/>
                        </a:cubicBezTo>
                        <a:cubicBezTo>
                          <a:pt x="632" y="487"/>
                          <a:pt x="633" y="486"/>
                          <a:pt x="633" y="484"/>
                        </a:cubicBezTo>
                        <a:lnTo>
                          <a:pt x="633" y="467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10">
                      <a:defRPr/>
                    </a:pPr>
                    <a:endParaRPr lang="en-AU" sz="2400" kern="0" dirty="0">
                      <a:solidFill>
                        <a:srgbClr val="000000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36" name="Group 153">
                  <a:extLst>
                    <a:ext uri="{FF2B5EF4-FFF2-40B4-BE49-F238E27FC236}">
                      <a16:creationId xmlns:a16="http://schemas.microsoft.com/office/drawing/2014/main" id="{4A0EEC97-8E8A-4194-9D63-3FC2064CBBD5}"/>
                    </a:ext>
                  </a:extLst>
                </p:cNvPr>
                <p:cNvGrpSpPr/>
                <p:nvPr/>
              </p:nvGrpSpPr>
              <p:grpSpPr>
                <a:xfrm>
                  <a:off x="5496596" y="3222778"/>
                  <a:ext cx="194628" cy="169666"/>
                  <a:chOff x="3849688" y="2393950"/>
                  <a:chExt cx="2654300" cy="2313863"/>
                </a:xfrm>
                <a:grpFill/>
              </p:grpSpPr>
              <p:sp>
                <p:nvSpPr>
                  <p:cNvPr id="46" name="Freeform 24">
                    <a:extLst>
                      <a:ext uri="{FF2B5EF4-FFF2-40B4-BE49-F238E27FC236}">
                        <a16:creationId xmlns:a16="http://schemas.microsoft.com/office/drawing/2014/main" id="{6D4D8654-037E-447B-9EF2-ACD4CFA95EF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19599" y="4429998"/>
                    <a:ext cx="1514479" cy="277815"/>
                  </a:xfrm>
                  <a:custGeom>
                    <a:avLst/>
                    <a:gdLst>
                      <a:gd name="T0" fmla="*/ 268 w 404"/>
                      <a:gd name="T1" fmla="*/ 0 h 74"/>
                      <a:gd name="T2" fmla="*/ 404 w 404"/>
                      <a:gd name="T3" fmla="*/ 53 h 74"/>
                      <a:gd name="T4" fmla="*/ 404 w 404"/>
                      <a:gd name="T5" fmla="*/ 74 h 74"/>
                      <a:gd name="T6" fmla="*/ 0 w 404"/>
                      <a:gd name="T7" fmla="*/ 74 h 74"/>
                      <a:gd name="T8" fmla="*/ 0 w 404"/>
                      <a:gd name="T9" fmla="*/ 53 h 74"/>
                      <a:gd name="T10" fmla="*/ 136 w 404"/>
                      <a:gd name="T11" fmla="*/ 0 h 74"/>
                      <a:gd name="T12" fmla="*/ 268 w 404"/>
                      <a:gd name="T13" fmla="*/ 0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4" h="74">
                        <a:moveTo>
                          <a:pt x="268" y="0"/>
                        </a:moveTo>
                        <a:cubicBezTo>
                          <a:pt x="268" y="38"/>
                          <a:pt x="329" y="53"/>
                          <a:pt x="404" y="53"/>
                        </a:cubicBezTo>
                        <a:cubicBezTo>
                          <a:pt x="404" y="74"/>
                          <a:pt x="404" y="74"/>
                          <a:pt x="404" y="74"/>
                        </a:cubicBezTo>
                        <a:cubicBezTo>
                          <a:pt x="0" y="74"/>
                          <a:pt x="0" y="74"/>
                          <a:pt x="0" y="74"/>
                        </a:cubicBezTo>
                        <a:cubicBezTo>
                          <a:pt x="0" y="53"/>
                          <a:pt x="0" y="53"/>
                          <a:pt x="0" y="53"/>
                        </a:cubicBezTo>
                        <a:cubicBezTo>
                          <a:pt x="75" y="53"/>
                          <a:pt x="136" y="38"/>
                          <a:pt x="136" y="0"/>
                        </a:cubicBezTo>
                        <a:lnTo>
                          <a:pt x="268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10">
                      <a:defRPr/>
                    </a:pPr>
                    <a:endParaRPr lang="en-AU" sz="2400" kern="0" dirty="0">
                      <a:solidFill>
                        <a:srgbClr val="000000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47" name="Freeform 25">
                    <a:extLst>
                      <a:ext uri="{FF2B5EF4-FFF2-40B4-BE49-F238E27FC236}">
                        <a16:creationId xmlns:a16="http://schemas.microsoft.com/office/drawing/2014/main" id="{19A11872-6881-4681-9E8C-527E668D14C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849688" y="2393950"/>
                    <a:ext cx="2654300" cy="1924055"/>
                  </a:xfrm>
                  <a:custGeom>
                    <a:avLst/>
                    <a:gdLst>
                      <a:gd name="T0" fmla="*/ 708 w 708"/>
                      <a:gd name="T1" fmla="*/ 479 h 513"/>
                      <a:gd name="T2" fmla="*/ 674 w 708"/>
                      <a:gd name="T3" fmla="*/ 513 h 513"/>
                      <a:gd name="T4" fmla="*/ 34 w 708"/>
                      <a:gd name="T5" fmla="*/ 513 h 513"/>
                      <a:gd name="T6" fmla="*/ 0 w 708"/>
                      <a:gd name="T7" fmla="*/ 479 h 513"/>
                      <a:gd name="T8" fmla="*/ 0 w 708"/>
                      <a:gd name="T9" fmla="*/ 34 h 513"/>
                      <a:gd name="T10" fmla="*/ 34 w 708"/>
                      <a:gd name="T11" fmla="*/ 0 h 513"/>
                      <a:gd name="T12" fmla="*/ 674 w 708"/>
                      <a:gd name="T13" fmla="*/ 0 h 513"/>
                      <a:gd name="T14" fmla="*/ 708 w 708"/>
                      <a:gd name="T15" fmla="*/ 34 h 513"/>
                      <a:gd name="T16" fmla="*/ 708 w 708"/>
                      <a:gd name="T17" fmla="*/ 479 h 513"/>
                      <a:gd name="T18" fmla="*/ 669 w 708"/>
                      <a:gd name="T19" fmla="*/ 70 h 513"/>
                      <a:gd name="T20" fmla="*/ 635 w 708"/>
                      <a:gd name="T21" fmla="*/ 36 h 513"/>
                      <a:gd name="T22" fmla="*/ 73 w 708"/>
                      <a:gd name="T23" fmla="*/ 36 h 513"/>
                      <a:gd name="T24" fmla="*/ 39 w 708"/>
                      <a:gd name="T25" fmla="*/ 70 h 513"/>
                      <a:gd name="T26" fmla="*/ 39 w 708"/>
                      <a:gd name="T27" fmla="*/ 404 h 513"/>
                      <a:gd name="T28" fmla="*/ 73 w 708"/>
                      <a:gd name="T29" fmla="*/ 438 h 513"/>
                      <a:gd name="T30" fmla="*/ 635 w 708"/>
                      <a:gd name="T31" fmla="*/ 438 h 513"/>
                      <a:gd name="T32" fmla="*/ 669 w 708"/>
                      <a:gd name="T33" fmla="*/ 404 h 513"/>
                      <a:gd name="T34" fmla="*/ 669 w 708"/>
                      <a:gd name="T35" fmla="*/ 70 h 513"/>
                      <a:gd name="T36" fmla="*/ 633 w 708"/>
                      <a:gd name="T37" fmla="*/ 467 h 513"/>
                      <a:gd name="T38" fmla="*/ 630 w 708"/>
                      <a:gd name="T39" fmla="*/ 464 h 513"/>
                      <a:gd name="T40" fmla="*/ 602 w 708"/>
                      <a:gd name="T41" fmla="*/ 464 h 513"/>
                      <a:gd name="T42" fmla="*/ 599 w 708"/>
                      <a:gd name="T43" fmla="*/ 467 h 513"/>
                      <a:gd name="T44" fmla="*/ 599 w 708"/>
                      <a:gd name="T45" fmla="*/ 484 h 513"/>
                      <a:gd name="T46" fmla="*/ 602 w 708"/>
                      <a:gd name="T47" fmla="*/ 487 h 513"/>
                      <a:gd name="T48" fmla="*/ 630 w 708"/>
                      <a:gd name="T49" fmla="*/ 487 h 513"/>
                      <a:gd name="T50" fmla="*/ 633 w 708"/>
                      <a:gd name="T51" fmla="*/ 484 h 513"/>
                      <a:gd name="T52" fmla="*/ 633 w 708"/>
                      <a:gd name="T53" fmla="*/ 467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708" h="513">
                        <a:moveTo>
                          <a:pt x="708" y="479"/>
                        </a:moveTo>
                        <a:cubicBezTo>
                          <a:pt x="708" y="498"/>
                          <a:pt x="693" y="513"/>
                          <a:pt x="674" y="513"/>
                        </a:cubicBezTo>
                        <a:cubicBezTo>
                          <a:pt x="34" y="513"/>
                          <a:pt x="34" y="513"/>
                          <a:pt x="34" y="513"/>
                        </a:cubicBezTo>
                        <a:cubicBezTo>
                          <a:pt x="15" y="513"/>
                          <a:pt x="0" y="498"/>
                          <a:pt x="0" y="479"/>
                        </a:cubicBezTo>
                        <a:cubicBezTo>
                          <a:pt x="0" y="34"/>
                          <a:pt x="0" y="34"/>
                          <a:pt x="0" y="34"/>
                        </a:cubicBezTo>
                        <a:cubicBezTo>
                          <a:pt x="0" y="15"/>
                          <a:pt x="15" y="0"/>
                          <a:pt x="34" y="0"/>
                        </a:cubicBezTo>
                        <a:cubicBezTo>
                          <a:pt x="674" y="0"/>
                          <a:pt x="674" y="0"/>
                          <a:pt x="674" y="0"/>
                        </a:cubicBezTo>
                        <a:cubicBezTo>
                          <a:pt x="693" y="0"/>
                          <a:pt x="708" y="15"/>
                          <a:pt x="708" y="34"/>
                        </a:cubicBezTo>
                        <a:lnTo>
                          <a:pt x="708" y="479"/>
                        </a:lnTo>
                        <a:close/>
                        <a:moveTo>
                          <a:pt x="669" y="70"/>
                        </a:moveTo>
                        <a:cubicBezTo>
                          <a:pt x="669" y="51"/>
                          <a:pt x="654" y="36"/>
                          <a:pt x="635" y="36"/>
                        </a:cubicBezTo>
                        <a:cubicBezTo>
                          <a:pt x="73" y="36"/>
                          <a:pt x="73" y="36"/>
                          <a:pt x="73" y="36"/>
                        </a:cubicBezTo>
                        <a:cubicBezTo>
                          <a:pt x="54" y="36"/>
                          <a:pt x="39" y="51"/>
                          <a:pt x="39" y="70"/>
                        </a:cubicBezTo>
                        <a:cubicBezTo>
                          <a:pt x="39" y="404"/>
                          <a:pt x="39" y="404"/>
                          <a:pt x="39" y="404"/>
                        </a:cubicBezTo>
                        <a:cubicBezTo>
                          <a:pt x="39" y="423"/>
                          <a:pt x="54" y="438"/>
                          <a:pt x="73" y="438"/>
                        </a:cubicBezTo>
                        <a:cubicBezTo>
                          <a:pt x="635" y="438"/>
                          <a:pt x="635" y="438"/>
                          <a:pt x="635" y="438"/>
                        </a:cubicBezTo>
                        <a:cubicBezTo>
                          <a:pt x="654" y="438"/>
                          <a:pt x="669" y="423"/>
                          <a:pt x="669" y="404"/>
                        </a:cubicBezTo>
                        <a:lnTo>
                          <a:pt x="669" y="70"/>
                        </a:lnTo>
                        <a:close/>
                        <a:moveTo>
                          <a:pt x="633" y="467"/>
                        </a:moveTo>
                        <a:cubicBezTo>
                          <a:pt x="633" y="465"/>
                          <a:pt x="632" y="464"/>
                          <a:pt x="630" y="464"/>
                        </a:cubicBezTo>
                        <a:cubicBezTo>
                          <a:pt x="602" y="464"/>
                          <a:pt x="602" y="464"/>
                          <a:pt x="602" y="464"/>
                        </a:cubicBezTo>
                        <a:cubicBezTo>
                          <a:pt x="601" y="464"/>
                          <a:pt x="599" y="465"/>
                          <a:pt x="599" y="467"/>
                        </a:cubicBezTo>
                        <a:cubicBezTo>
                          <a:pt x="599" y="484"/>
                          <a:pt x="599" y="484"/>
                          <a:pt x="599" y="484"/>
                        </a:cubicBezTo>
                        <a:cubicBezTo>
                          <a:pt x="599" y="486"/>
                          <a:pt x="601" y="487"/>
                          <a:pt x="602" y="487"/>
                        </a:cubicBezTo>
                        <a:cubicBezTo>
                          <a:pt x="630" y="487"/>
                          <a:pt x="630" y="487"/>
                          <a:pt x="630" y="487"/>
                        </a:cubicBezTo>
                        <a:cubicBezTo>
                          <a:pt x="632" y="487"/>
                          <a:pt x="633" y="486"/>
                          <a:pt x="633" y="484"/>
                        </a:cubicBezTo>
                        <a:lnTo>
                          <a:pt x="633" y="467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10">
                      <a:defRPr/>
                    </a:pPr>
                    <a:endParaRPr lang="en-AU" sz="2400" kern="0" dirty="0">
                      <a:solidFill>
                        <a:srgbClr val="000000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37" name="Group 154">
                  <a:extLst>
                    <a:ext uri="{FF2B5EF4-FFF2-40B4-BE49-F238E27FC236}">
                      <a16:creationId xmlns:a16="http://schemas.microsoft.com/office/drawing/2014/main" id="{067A95F1-DE38-4E6C-967F-FCBA1B66FAC2}"/>
                    </a:ext>
                  </a:extLst>
                </p:cNvPr>
                <p:cNvGrpSpPr/>
                <p:nvPr/>
              </p:nvGrpSpPr>
              <p:grpSpPr>
                <a:xfrm>
                  <a:off x="5380308" y="2434911"/>
                  <a:ext cx="194628" cy="169666"/>
                  <a:chOff x="3849688" y="2393950"/>
                  <a:chExt cx="2654300" cy="2313863"/>
                </a:xfrm>
                <a:grpFill/>
              </p:grpSpPr>
              <p:sp>
                <p:nvSpPr>
                  <p:cNvPr id="44" name="Freeform 24">
                    <a:extLst>
                      <a:ext uri="{FF2B5EF4-FFF2-40B4-BE49-F238E27FC236}">
                        <a16:creationId xmlns:a16="http://schemas.microsoft.com/office/drawing/2014/main" id="{6DCD70B9-FC20-4731-B5D2-021C978FCC2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19599" y="4429998"/>
                    <a:ext cx="1514479" cy="277815"/>
                  </a:xfrm>
                  <a:custGeom>
                    <a:avLst/>
                    <a:gdLst>
                      <a:gd name="T0" fmla="*/ 268 w 404"/>
                      <a:gd name="T1" fmla="*/ 0 h 74"/>
                      <a:gd name="T2" fmla="*/ 404 w 404"/>
                      <a:gd name="T3" fmla="*/ 53 h 74"/>
                      <a:gd name="T4" fmla="*/ 404 w 404"/>
                      <a:gd name="T5" fmla="*/ 74 h 74"/>
                      <a:gd name="T6" fmla="*/ 0 w 404"/>
                      <a:gd name="T7" fmla="*/ 74 h 74"/>
                      <a:gd name="T8" fmla="*/ 0 w 404"/>
                      <a:gd name="T9" fmla="*/ 53 h 74"/>
                      <a:gd name="T10" fmla="*/ 136 w 404"/>
                      <a:gd name="T11" fmla="*/ 0 h 74"/>
                      <a:gd name="T12" fmla="*/ 268 w 404"/>
                      <a:gd name="T13" fmla="*/ 0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4" h="74">
                        <a:moveTo>
                          <a:pt x="268" y="0"/>
                        </a:moveTo>
                        <a:cubicBezTo>
                          <a:pt x="268" y="38"/>
                          <a:pt x="329" y="53"/>
                          <a:pt x="404" y="53"/>
                        </a:cubicBezTo>
                        <a:cubicBezTo>
                          <a:pt x="404" y="74"/>
                          <a:pt x="404" y="74"/>
                          <a:pt x="404" y="74"/>
                        </a:cubicBezTo>
                        <a:cubicBezTo>
                          <a:pt x="0" y="74"/>
                          <a:pt x="0" y="74"/>
                          <a:pt x="0" y="74"/>
                        </a:cubicBezTo>
                        <a:cubicBezTo>
                          <a:pt x="0" y="53"/>
                          <a:pt x="0" y="53"/>
                          <a:pt x="0" y="53"/>
                        </a:cubicBezTo>
                        <a:cubicBezTo>
                          <a:pt x="75" y="53"/>
                          <a:pt x="136" y="38"/>
                          <a:pt x="136" y="0"/>
                        </a:cubicBezTo>
                        <a:lnTo>
                          <a:pt x="268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10">
                      <a:defRPr/>
                    </a:pPr>
                    <a:endParaRPr lang="en-AU" sz="2400" kern="0" dirty="0">
                      <a:solidFill>
                        <a:srgbClr val="000000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45" name="Freeform 25">
                    <a:extLst>
                      <a:ext uri="{FF2B5EF4-FFF2-40B4-BE49-F238E27FC236}">
                        <a16:creationId xmlns:a16="http://schemas.microsoft.com/office/drawing/2014/main" id="{F9E2720D-D409-4C3C-AD81-DC390E4BA5B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849688" y="2393950"/>
                    <a:ext cx="2654300" cy="1924055"/>
                  </a:xfrm>
                  <a:custGeom>
                    <a:avLst/>
                    <a:gdLst>
                      <a:gd name="T0" fmla="*/ 708 w 708"/>
                      <a:gd name="T1" fmla="*/ 479 h 513"/>
                      <a:gd name="T2" fmla="*/ 674 w 708"/>
                      <a:gd name="T3" fmla="*/ 513 h 513"/>
                      <a:gd name="T4" fmla="*/ 34 w 708"/>
                      <a:gd name="T5" fmla="*/ 513 h 513"/>
                      <a:gd name="T6" fmla="*/ 0 w 708"/>
                      <a:gd name="T7" fmla="*/ 479 h 513"/>
                      <a:gd name="T8" fmla="*/ 0 w 708"/>
                      <a:gd name="T9" fmla="*/ 34 h 513"/>
                      <a:gd name="T10" fmla="*/ 34 w 708"/>
                      <a:gd name="T11" fmla="*/ 0 h 513"/>
                      <a:gd name="T12" fmla="*/ 674 w 708"/>
                      <a:gd name="T13" fmla="*/ 0 h 513"/>
                      <a:gd name="T14" fmla="*/ 708 w 708"/>
                      <a:gd name="T15" fmla="*/ 34 h 513"/>
                      <a:gd name="T16" fmla="*/ 708 w 708"/>
                      <a:gd name="T17" fmla="*/ 479 h 513"/>
                      <a:gd name="T18" fmla="*/ 669 w 708"/>
                      <a:gd name="T19" fmla="*/ 70 h 513"/>
                      <a:gd name="T20" fmla="*/ 635 w 708"/>
                      <a:gd name="T21" fmla="*/ 36 h 513"/>
                      <a:gd name="T22" fmla="*/ 73 w 708"/>
                      <a:gd name="T23" fmla="*/ 36 h 513"/>
                      <a:gd name="T24" fmla="*/ 39 w 708"/>
                      <a:gd name="T25" fmla="*/ 70 h 513"/>
                      <a:gd name="T26" fmla="*/ 39 w 708"/>
                      <a:gd name="T27" fmla="*/ 404 h 513"/>
                      <a:gd name="T28" fmla="*/ 73 w 708"/>
                      <a:gd name="T29" fmla="*/ 438 h 513"/>
                      <a:gd name="T30" fmla="*/ 635 w 708"/>
                      <a:gd name="T31" fmla="*/ 438 h 513"/>
                      <a:gd name="T32" fmla="*/ 669 w 708"/>
                      <a:gd name="T33" fmla="*/ 404 h 513"/>
                      <a:gd name="T34" fmla="*/ 669 w 708"/>
                      <a:gd name="T35" fmla="*/ 70 h 513"/>
                      <a:gd name="T36" fmla="*/ 633 w 708"/>
                      <a:gd name="T37" fmla="*/ 467 h 513"/>
                      <a:gd name="T38" fmla="*/ 630 w 708"/>
                      <a:gd name="T39" fmla="*/ 464 h 513"/>
                      <a:gd name="T40" fmla="*/ 602 w 708"/>
                      <a:gd name="T41" fmla="*/ 464 h 513"/>
                      <a:gd name="T42" fmla="*/ 599 w 708"/>
                      <a:gd name="T43" fmla="*/ 467 h 513"/>
                      <a:gd name="T44" fmla="*/ 599 w 708"/>
                      <a:gd name="T45" fmla="*/ 484 h 513"/>
                      <a:gd name="T46" fmla="*/ 602 w 708"/>
                      <a:gd name="T47" fmla="*/ 487 h 513"/>
                      <a:gd name="T48" fmla="*/ 630 w 708"/>
                      <a:gd name="T49" fmla="*/ 487 h 513"/>
                      <a:gd name="T50" fmla="*/ 633 w 708"/>
                      <a:gd name="T51" fmla="*/ 484 h 513"/>
                      <a:gd name="T52" fmla="*/ 633 w 708"/>
                      <a:gd name="T53" fmla="*/ 467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708" h="513">
                        <a:moveTo>
                          <a:pt x="708" y="479"/>
                        </a:moveTo>
                        <a:cubicBezTo>
                          <a:pt x="708" y="498"/>
                          <a:pt x="693" y="513"/>
                          <a:pt x="674" y="513"/>
                        </a:cubicBezTo>
                        <a:cubicBezTo>
                          <a:pt x="34" y="513"/>
                          <a:pt x="34" y="513"/>
                          <a:pt x="34" y="513"/>
                        </a:cubicBezTo>
                        <a:cubicBezTo>
                          <a:pt x="15" y="513"/>
                          <a:pt x="0" y="498"/>
                          <a:pt x="0" y="479"/>
                        </a:cubicBezTo>
                        <a:cubicBezTo>
                          <a:pt x="0" y="34"/>
                          <a:pt x="0" y="34"/>
                          <a:pt x="0" y="34"/>
                        </a:cubicBezTo>
                        <a:cubicBezTo>
                          <a:pt x="0" y="15"/>
                          <a:pt x="15" y="0"/>
                          <a:pt x="34" y="0"/>
                        </a:cubicBezTo>
                        <a:cubicBezTo>
                          <a:pt x="674" y="0"/>
                          <a:pt x="674" y="0"/>
                          <a:pt x="674" y="0"/>
                        </a:cubicBezTo>
                        <a:cubicBezTo>
                          <a:pt x="693" y="0"/>
                          <a:pt x="708" y="15"/>
                          <a:pt x="708" y="34"/>
                        </a:cubicBezTo>
                        <a:lnTo>
                          <a:pt x="708" y="479"/>
                        </a:lnTo>
                        <a:close/>
                        <a:moveTo>
                          <a:pt x="669" y="70"/>
                        </a:moveTo>
                        <a:cubicBezTo>
                          <a:pt x="669" y="51"/>
                          <a:pt x="654" y="36"/>
                          <a:pt x="635" y="36"/>
                        </a:cubicBezTo>
                        <a:cubicBezTo>
                          <a:pt x="73" y="36"/>
                          <a:pt x="73" y="36"/>
                          <a:pt x="73" y="36"/>
                        </a:cubicBezTo>
                        <a:cubicBezTo>
                          <a:pt x="54" y="36"/>
                          <a:pt x="39" y="51"/>
                          <a:pt x="39" y="70"/>
                        </a:cubicBezTo>
                        <a:cubicBezTo>
                          <a:pt x="39" y="404"/>
                          <a:pt x="39" y="404"/>
                          <a:pt x="39" y="404"/>
                        </a:cubicBezTo>
                        <a:cubicBezTo>
                          <a:pt x="39" y="423"/>
                          <a:pt x="54" y="438"/>
                          <a:pt x="73" y="438"/>
                        </a:cubicBezTo>
                        <a:cubicBezTo>
                          <a:pt x="635" y="438"/>
                          <a:pt x="635" y="438"/>
                          <a:pt x="635" y="438"/>
                        </a:cubicBezTo>
                        <a:cubicBezTo>
                          <a:pt x="654" y="438"/>
                          <a:pt x="669" y="423"/>
                          <a:pt x="669" y="404"/>
                        </a:cubicBezTo>
                        <a:lnTo>
                          <a:pt x="669" y="70"/>
                        </a:lnTo>
                        <a:close/>
                        <a:moveTo>
                          <a:pt x="633" y="467"/>
                        </a:moveTo>
                        <a:cubicBezTo>
                          <a:pt x="633" y="465"/>
                          <a:pt x="632" y="464"/>
                          <a:pt x="630" y="464"/>
                        </a:cubicBezTo>
                        <a:cubicBezTo>
                          <a:pt x="602" y="464"/>
                          <a:pt x="602" y="464"/>
                          <a:pt x="602" y="464"/>
                        </a:cubicBezTo>
                        <a:cubicBezTo>
                          <a:pt x="601" y="464"/>
                          <a:pt x="599" y="465"/>
                          <a:pt x="599" y="467"/>
                        </a:cubicBezTo>
                        <a:cubicBezTo>
                          <a:pt x="599" y="484"/>
                          <a:pt x="599" y="484"/>
                          <a:pt x="599" y="484"/>
                        </a:cubicBezTo>
                        <a:cubicBezTo>
                          <a:pt x="599" y="486"/>
                          <a:pt x="601" y="487"/>
                          <a:pt x="602" y="487"/>
                        </a:cubicBezTo>
                        <a:cubicBezTo>
                          <a:pt x="630" y="487"/>
                          <a:pt x="630" y="487"/>
                          <a:pt x="630" y="487"/>
                        </a:cubicBezTo>
                        <a:cubicBezTo>
                          <a:pt x="632" y="487"/>
                          <a:pt x="633" y="486"/>
                          <a:pt x="633" y="484"/>
                        </a:cubicBezTo>
                        <a:lnTo>
                          <a:pt x="633" y="467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10">
                      <a:defRPr/>
                    </a:pPr>
                    <a:endParaRPr lang="en-AU" sz="2400" kern="0" dirty="0">
                      <a:solidFill>
                        <a:srgbClr val="000000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38" name="Group 155">
                  <a:extLst>
                    <a:ext uri="{FF2B5EF4-FFF2-40B4-BE49-F238E27FC236}">
                      <a16:creationId xmlns:a16="http://schemas.microsoft.com/office/drawing/2014/main" id="{A5DD96A4-52A8-481F-8B4D-B118700F358F}"/>
                    </a:ext>
                  </a:extLst>
                </p:cNvPr>
                <p:cNvGrpSpPr/>
                <p:nvPr/>
              </p:nvGrpSpPr>
              <p:grpSpPr>
                <a:xfrm>
                  <a:off x="4731996" y="2554266"/>
                  <a:ext cx="194628" cy="169666"/>
                  <a:chOff x="3849688" y="2393950"/>
                  <a:chExt cx="2654300" cy="2313863"/>
                </a:xfrm>
                <a:grpFill/>
              </p:grpSpPr>
              <p:sp>
                <p:nvSpPr>
                  <p:cNvPr id="42" name="Freeform 24">
                    <a:extLst>
                      <a:ext uri="{FF2B5EF4-FFF2-40B4-BE49-F238E27FC236}">
                        <a16:creationId xmlns:a16="http://schemas.microsoft.com/office/drawing/2014/main" id="{D15A23EC-6A5D-44F9-AB8F-BCEC489BF27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19599" y="4429998"/>
                    <a:ext cx="1514479" cy="277815"/>
                  </a:xfrm>
                  <a:custGeom>
                    <a:avLst/>
                    <a:gdLst>
                      <a:gd name="T0" fmla="*/ 268 w 404"/>
                      <a:gd name="T1" fmla="*/ 0 h 74"/>
                      <a:gd name="T2" fmla="*/ 404 w 404"/>
                      <a:gd name="T3" fmla="*/ 53 h 74"/>
                      <a:gd name="T4" fmla="*/ 404 w 404"/>
                      <a:gd name="T5" fmla="*/ 74 h 74"/>
                      <a:gd name="T6" fmla="*/ 0 w 404"/>
                      <a:gd name="T7" fmla="*/ 74 h 74"/>
                      <a:gd name="T8" fmla="*/ 0 w 404"/>
                      <a:gd name="T9" fmla="*/ 53 h 74"/>
                      <a:gd name="T10" fmla="*/ 136 w 404"/>
                      <a:gd name="T11" fmla="*/ 0 h 74"/>
                      <a:gd name="T12" fmla="*/ 268 w 404"/>
                      <a:gd name="T13" fmla="*/ 0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4" h="74">
                        <a:moveTo>
                          <a:pt x="268" y="0"/>
                        </a:moveTo>
                        <a:cubicBezTo>
                          <a:pt x="268" y="38"/>
                          <a:pt x="329" y="53"/>
                          <a:pt x="404" y="53"/>
                        </a:cubicBezTo>
                        <a:cubicBezTo>
                          <a:pt x="404" y="74"/>
                          <a:pt x="404" y="74"/>
                          <a:pt x="404" y="74"/>
                        </a:cubicBezTo>
                        <a:cubicBezTo>
                          <a:pt x="0" y="74"/>
                          <a:pt x="0" y="74"/>
                          <a:pt x="0" y="74"/>
                        </a:cubicBezTo>
                        <a:cubicBezTo>
                          <a:pt x="0" y="53"/>
                          <a:pt x="0" y="53"/>
                          <a:pt x="0" y="53"/>
                        </a:cubicBezTo>
                        <a:cubicBezTo>
                          <a:pt x="75" y="53"/>
                          <a:pt x="136" y="38"/>
                          <a:pt x="136" y="0"/>
                        </a:cubicBezTo>
                        <a:lnTo>
                          <a:pt x="268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10">
                      <a:defRPr/>
                    </a:pPr>
                    <a:endParaRPr lang="en-AU" sz="2400" kern="0" dirty="0">
                      <a:solidFill>
                        <a:srgbClr val="000000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43" name="Freeform 25">
                    <a:extLst>
                      <a:ext uri="{FF2B5EF4-FFF2-40B4-BE49-F238E27FC236}">
                        <a16:creationId xmlns:a16="http://schemas.microsoft.com/office/drawing/2014/main" id="{BF09D07A-3B44-4B63-9083-8959D0753B9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849688" y="2393950"/>
                    <a:ext cx="2654300" cy="1924055"/>
                  </a:xfrm>
                  <a:custGeom>
                    <a:avLst/>
                    <a:gdLst>
                      <a:gd name="T0" fmla="*/ 708 w 708"/>
                      <a:gd name="T1" fmla="*/ 479 h 513"/>
                      <a:gd name="T2" fmla="*/ 674 w 708"/>
                      <a:gd name="T3" fmla="*/ 513 h 513"/>
                      <a:gd name="T4" fmla="*/ 34 w 708"/>
                      <a:gd name="T5" fmla="*/ 513 h 513"/>
                      <a:gd name="T6" fmla="*/ 0 w 708"/>
                      <a:gd name="T7" fmla="*/ 479 h 513"/>
                      <a:gd name="T8" fmla="*/ 0 w 708"/>
                      <a:gd name="T9" fmla="*/ 34 h 513"/>
                      <a:gd name="T10" fmla="*/ 34 w 708"/>
                      <a:gd name="T11" fmla="*/ 0 h 513"/>
                      <a:gd name="T12" fmla="*/ 674 w 708"/>
                      <a:gd name="T13" fmla="*/ 0 h 513"/>
                      <a:gd name="T14" fmla="*/ 708 w 708"/>
                      <a:gd name="T15" fmla="*/ 34 h 513"/>
                      <a:gd name="T16" fmla="*/ 708 w 708"/>
                      <a:gd name="T17" fmla="*/ 479 h 513"/>
                      <a:gd name="T18" fmla="*/ 669 w 708"/>
                      <a:gd name="T19" fmla="*/ 70 h 513"/>
                      <a:gd name="T20" fmla="*/ 635 w 708"/>
                      <a:gd name="T21" fmla="*/ 36 h 513"/>
                      <a:gd name="T22" fmla="*/ 73 w 708"/>
                      <a:gd name="T23" fmla="*/ 36 h 513"/>
                      <a:gd name="T24" fmla="*/ 39 w 708"/>
                      <a:gd name="T25" fmla="*/ 70 h 513"/>
                      <a:gd name="T26" fmla="*/ 39 w 708"/>
                      <a:gd name="T27" fmla="*/ 404 h 513"/>
                      <a:gd name="T28" fmla="*/ 73 w 708"/>
                      <a:gd name="T29" fmla="*/ 438 h 513"/>
                      <a:gd name="T30" fmla="*/ 635 w 708"/>
                      <a:gd name="T31" fmla="*/ 438 h 513"/>
                      <a:gd name="T32" fmla="*/ 669 w 708"/>
                      <a:gd name="T33" fmla="*/ 404 h 513"/>
                      <a:gd name="T34" fmla="*/ 669 w 708"/>
                      <a:gd name="T35" fmla="*/ 70 h 513"/>
                      <a:gd name="T36" fmla="*/ 633 w 708"/>
                      <a:gd name="T37" fmla="*/ 467 h 513"/>
                      <a:gd name="T38" fmla="*/ 630 w 708"/>
                      <a:gd name="T39" fmla="*/ 464 h 513"/>
                      <a:gd name="T40" fmla="*/ 602 w 708"/>
                      <a:gd name="T41" fmla="*/ 464 h 513"/>
                      <a:gd name="T42" fmla="*/ 599 w 708"/>
                      <a:gd name="T43" fmla="*/ 467 h 513"/>
                      <a:gd name="T44" fmla="*/ 599 w 708"/>
                      <a:gd name="T45" fmla="*/ 484 h 513"/>
                      <a:gd name="T46" fmla="*/ 602 w 708"/>
                      <a:gd name="T47" fmla="*/ 487 h 513"/>
                      <a:gd name="T48" fmla="*/ 630 w 708"/>
                      <a:gd name="T49" fmla="*/ 487 h 513"/>
                      <a:gd name="T50" fmla="*/ 633 w 708"/>
                      <a:gd name="T51" fmla="*/ 484 h 513"/>
                      <a:gd name="T52" fmla="*/ 633 w 708"/>
                      <a:gd name="T53" fmla="*/ 467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708" h="513">
                        <a:moveTo>
                          <a:pt x="708" y="479"/>
                        </a:moveTo>
                        <a:cubicBezTo>
                          <a:pt x="708" y="498"/>
                          <a:pt x="693" y="513"/>
                          <a:pt x="674" y="513"/>
                        </a:cubicBezTo>
                        <a:cubicBezTo>
                          <a:pt x="34" y="513"/>
                          <a:pt x="34" y="513"/>
                          <a:pt x="34" y="513"/>
                        </a:cubicBezTo>
                        <a:cubicBezTo>
                          <a:pt x="15" y="513"/>
                          <a:pt x="0" y="498"/>
                          <a:pt x="0" y="479"/>
                        </a:cubicBezTo>
                        <a:cubicBezTo>
                          <a:pt x="0" y="34"/>
                          <a:pt x="0" y="34"/>
                          <a:pt x="0" y="34"/>
                        </a:cubicBezTo>
                        <a:cubicBezTo>
                          <a:pt x="0" y="15"/>
                          <a:pt x="15" y="0"/>
                          <a:pt x="34" y="0"/>
                        </a:cubicBezTo>
                        <a:cubicBezTo>
                          <a:pt x="674" y="0"/>
                          <a:pt x="674" y="0"/>
                          <a:pt x="674" y="0"/>
                        </a:cubicBezTo>
                        <a:cubicBezTo>
                          <a:pt x="693" y="0"/>
                          <a:pt x="708" y="15"/>
                          <a:pt x="708" y="34"/>
                        </a:cubicBezTo>
                        <a:lnTo>
                          <a:pt x="708" y="479"/>
                        </a:lnTo>
                        <a:close/>
                        <a:moveTo>
                          <a:pt x="669" y="70"/>
                        </a:moveTo>
                        <a:cubicBezTo>
                          <a:pt x="669" y="51"/>
                          <a:pt x="654" y="36"/>
                          <a:pt x="635" y="36"/>
                        </a:cubicBezTo>
                        <a:cubicBezTo>
                          <a:pt x="73" y="36"/>
                          <a:pt x="73" y="36"/>
                          <a:pt x="73" y="36"/>
                        </a:cubicBezTo>
                        <a:cubicBezTo>
                          <a:pt x="54" y="36"/>
                          <a:pt x="39" y="51"/>
                          <a:pt x="39" y="70"/>
                        </a:cubicBezTo>
                        <a:cubicBezTo>
                          <a:pt x="39" y="404"/>
                          <a:pt x="39" y="404"/>
                          <a:pt x="39" y="404"/>
                        </a:cubicBezTo>
                        <a:cubicBezTo>
                          <a:pt x="39" y="423"/>
                          <a:pt x="54" y="438"/>
                          <a:pt x="73" y="438"/>
                        </a:cubicBezTo>
                        <a:cubicBezTo>
                          <a:pt x="635" y="438"/>
                          <a:pt x="635" y="438"/>
                          <a:pt x="635" y="438"/>
                        </a:cubicBezTo>
                        <a:cubicBezTo>
                          <a:pt x="654" y="438"/>
                          <a:pt x="669" y="423"/>
                          <a:pt x="669" y="404"/>
                        </a:cubicBezTo>
                        <a:lnTo>
                          <a:pt x="669" y="70"/>
                        </a:lnTo>
                        <a:close/>
                        <a:moveTo>
                          <a:pt x="633" y="467"/>
                        </a:moveTo>
                        <a:cubicBezTo>
                          <a:pt x="633" y="465"/>
                          <a:pt x="632" y="464"/>
                          <a:pt x="630" y="464"/>
                        </a:cubicBezTo>
                        <a:cubicBezTo>
                          <a:pt x="602" y="464"/>
                          <a:pt x="602" y="464"/>
                          <a:pt x="602" y="464"/>
                        </a:cubicBezTo>
                        <a:cubicBezTo>
                          <a:pt x="601" y="464"/>
                          <a:pt x="599" y="465"/>
                          <a:pt x="599" y="467"/>
                        </a:cubicBezTo>
                        <a:cubicBezTo>
                          <a:pt x="599" y="484"/>
                          <a:pt x="599" y="484"/>
                          <a:pt x="599" y="484"/>
                        </a:cubicBezTo>
                        <a:cubicBezTo>
                          <a:pt x="599" y="486"/>
                          <a:pt x="601" y="487"/>
                          <a:pt x="602" y="487"/>
                        </a:cubicBezTo>
                        <a:cubicBezTo>
                          <a:pt x="630" y="487"/>
                          <a:pt x="630" y="487"/>
                          <a:pt x="630" y="487"/>
                        </a:cubicBezTo>
                        <a:cubicBezTo>
                          <a:pt x="632" y="487"/>
                          <a:pt x="633" y="486"/>
                          <a:pt x="633" y="484"/>
                        </a:cubicBezTo>
                        <a:lnTo>
                          <a:pt x="633" y="467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10">
                      <a:defRPr/>
                    </a:pPr>
                    <a:endParaRPr lang="en-AU" sz="2400" kern="0" dirty="0">
                      <a:solidFill>
                        <a:srgbClr val="000000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39" name="Group 156">
                  <a:extLst>
                    <a:ext uri="{FF2B5EF4-FFF2-40B4-BE49-F238E27FC236}">
                      <a16:creationId xmlns:a16="http://schemas.microsoft.com/office/drawing/2014/main" id="{671D225D-BCC5-492A-8C14-2F0B363D08E4}"/>
                    </a:ext>
                  </a:extLst>
                </p:cNvPr>
                <p:cNvGrpSpPr/>
                <p:nvPr/>
              </p:nvGrpSpPr>
              <p:grpSpPr>
                <a:xfrm>
                  <a:off x="5076116" y="2879321"/>
                  <a:ext cx="194628" cy="169666"/>
                  <a:chOff x="3849688" y="2393950"/>
                  <a:chExt cx="2654300" cy="2313863"/>
                </a:xfrm>
                <a:grpFill/>
              </p:grpSpPr>
              <p:sp>
                <p:nvSpPr>
                  <p:cNvPr id="40" name="Freeform 24">
                    <a:extLst>
                      <a:ext uri="{FF2B5EF4-FFF2-40B4-BE49-F238E27FC236}">
                        <a16:creationId xmlns:a16="http://schemas.microsoft.com/office/drawing/2014/main" id="{66C279FD-15C1-4240-922A-C9552661AE7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19599" y="4429998"/>
                    <a:ext cx="1514479" cy="277815"/>
                  </a:xfrm>
                  <a:custGeom>
                    <a:avLst/>
                    <a:gdLst>
                      <a:gd name="T0" fmla="*/ 268 w 404"/>
                      <a:gd name="T1" fmla="*/ 0 h 74"/>
                      <a:gd name="T2" fmla="*/ 404 w 404"/>
                      <a:gd name="T3" fmla="*/ 53 h 74"/>
                      <a:gd name="T4" fmla="*/ 404 w 404"/>
                      <a:gd name="T5" fmla="*/ 74 h 74"/>
                      <a:gd name="T6" fmla="*/ 0 w 404"/>
                      <a:gd name="T7" fmla="*/ 74 h 74"/>
                      <a:gd name="T8" fmla="*/ 0 w 404"/>
                      <a:gd name="T9" fmla="*/ 53 h 74"/>
                      <a:gd name="T10" fmla="*/ 136 w 404"/>
                      <a:gd name="T11" fmla="*/ 0 h 74"/>
                      <a:gd name="T12" fmla="*/ 268 w 404"/>
                      <a:gd name="T13" fmla="*/ 0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4" h="74">
                        <a:moveTo>
                          <a:pt x="268" y="0"/>
                        </a:moveTo>
                        <a:cubicBezTo>
                          <a:pt x="268" y="38"/>
                          <a:pt x="329" y="53"/>
                          <a:pt x="404" y="53"/>
                        </a:cubicBezTo>
                        <a:cubicBezTo>
                          <a:pt x="404" y="74"/>
                          <a:pt x="404" y="74"/>
                          <a:pt x="404" y="74"/>
                        </a:cubicBezTo>
                        <a:cubicBezTo>
                          <a:pt x="0" y="74"/>
                          <a:pt x="0" y="74"/>
                          <a:pt x="0" y="74"/>
                        </a:cubicBezTo>
                        <a:cubicBezTo>
                          <a:pt x="0" y="53"/>
                          <a:pt x="0" y="53"/>
                          <a:pt x="0" y="53"/>
                        </a:cubicBezTo>
                        <a:cubicBezTo>
                          <a:pt x="75" y="53"/>
                          <a:pt x="136" y="38"/>
                          <a:pt x="136" y="0"/>
                        </a:cubicBezTo>
                        <a:lnTo>
                          <a:pt x="268" y="0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10">
                      <a:defRPr/>
                    </a:pPr>
                    <a:endParaRPr lang="en-AU" sz="2400" kern="0" dirty="0">
                      <a:solidFill>
                        <a:srgbClr val="000000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41" name="Freeform 25">
                    <a:extLst>
                      <a:ext uri="{FF2B5EF4-FFF2-40B4-BE49-F238E27FC236}">
                        <a16:creationId xmlns:a16="http://schemas.microsoft.com/office/drawing/2014/main" id="{F177DF00-DFD9-483D-8E36-384F24403ED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849688" y="2393950"/>
                    <a:ext cx="2654300" cy="1924055"/>
                  </a:xfrm>
                  <a:custGeom>
                    <a:avLst/>
                    <a:gdLst>
                      <a:gd name="T0" fmla="*/ 708 w 708"/>
                      <a:gd name="T1" fmla="*/ 479 h 513"/>
                      <a:gd name="T2" fmla="*/ 674 w 708"/>
                      <a:gd name="T3" fmla="*/ 513 h 513"/>
                      <a:gd name="T4" fmla="*/ 34 w 708"/>
                      <a:gd name="T5" fmla="*/ 513 h 513"/>
                      <a:gd name="T6" fmla="*/ 0 w 708"/>
                      <a:gd name="T7" fmla="*/ 479 h 513"/>
                      <a:gd name="T8" fmla="*/ 0 w 708"/>
                      <a:gd name="T9" fmla="*/ 34 h 513"/>
                      <a:gd name="T10" fmla="*/ 34 w 708"/>
                      <a:gd name="T11" fmla="*/ 0 h 513"/>
                      <a:gd name="T12" fmla="*/ 674 w 708"/>
                      <a:gd name="T13" fmla="*/ 0 h 513"/>
                      <a:gd name="T14" fmla="*/ 708 w 708"/>
                      <a:gd name="T15" fmla="*/ 34 h 513"/>
                      <a:gd name="T16" fmla="*/ 708 w 708"/>
                      <a:gd name="T17" fmla="*/ 479 h 513"/>
                      <a:gd name="T18" fmla="*/ 669 w 708"/>
                      <a:gd name="T19" fmla="*/ 70 h 513"/>
                      <a:gd name="T20" fmla="*/ 635 w 708"/>
                      <a:gd name="T21" fmla="*/ 36 h 513"/>
                      <a:gd name="T22" fmla="*/ 73 w 708"/>
                      <a:gd name="T23" fmla="*/ 36 h 513"/>
                      <a:gd name="T24" fmla="*/ 39 w 708"/>
                      <a:gd name="T25" fmla="*/ 70 h 513"/>
                      <a:gd name="T26" fmla="*/ 39 w 708"/>
                      <a:gd name="T27" fmla="*/ 404 h 513"/>
                      <a:gd name="T28" fmla="*/ 73 w 708"/>
                      <a:gd name="T29" fmla="*/ 438 h 513"/>
                      <a:gd name="T30" fmla="*/ 635 w 708"/>
                      <a:gd name="T31" fmla="*/ 438 h 513"/>
                      <a:gd name="T32" fmla="*/ 669 w 708"/>
                      <a:gd name="T33" fmla="*/ 404 h 513"/>
                      <a:gd name="T34" fmla="*/ 669 w 708"/>
                      <a:gd name="T35" fmla="*/ 70 h 513"/>
                      <a:gd name="T36" fmla="*/ 633 w 708"/>
                      <a:gd name="T37" fmla="*/ 467 h 513"/>
                      <a:gd name="T38" fmla="*/ 630 w 708"/>
                      <a:gd name="T39" fmla="*/ 464 h 513"/>
                      <a:gd name="T40" fmla="*/ 602 w 708"/>
                      <a:gd name="T41" fmla="*/ 464 h 513"/>
                      <a:gd name="T42" fmla="*/ 599 w 708"/>
                      <a:gd name="T43" fmla="*/ 467 h 513"/>
                      <a:gd name="T44" fmla="*/ 599 w 708"/>
                      <a:gd name="T45" fmla="*/ 484 h 513"/>
                      <a:gd name="T46" fmla="*/ 602 w 708"/>
                      <a:gd name="T47" fmla="*/ 487 h 513"/>
                      <a:gd name="T48" fmla="*/ 630 w 708"/>
                      <a:gd name="T49" fmla="*/ 487 h 513"/>
                      <a:gd name="T50" fmla="*/ 633 w 708"/>
                      <a:gd name="T51" fmla="*/ 484 h 513"/>
                      <a:gd name="T52" fmla="*/ 633 w 708"/>
                      <a:gd name="T53" fmla="*/ 467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708" h="513">
                        <a:moveTo>
                          <a:pt x="708" y="479"/>
                        </a:moveTo>
                        <a:cubicBezTo>
                          <a:pt x="708" y="498"/>
                          <a:pt x="693" y="513"/>
                          <a:pt x="674" y="513"/>
                        </a:cubicBezTo>
                        <a:cubicBezTo>
                          <a:pt x="34" y="513"/>
                          <a:pt x="34" y="513"/>
                          <a:pt x="34" y="513"/>
                        </a:cubicBezTo>
                        <a:cubicBezTo>
                          <a:pt x="15" y="513"/>
                          <a:pt x="0" y="498"/>
                          <a:pt x="0" y="479"/>
                        </a:cubicBezTo>
                        <a:cubicBezTo>
                          <a:pt x="0" y="34"/>
                          <a:pt x="0" y="34"/>
                          <a:pt x="0" y="34"/>
                        </a:cubicBezTo>
                        <a:cubicBezTo>
                          <a:pt x="0" y="15"/>
                          <a:pt x="15" y="0"/>
                          <a:pt x="34" y="0"/>
                        </a:cubicBezTo>
                        <a:cubicBezTo>
                          <a:pt x="674" y="0"/>
                          <a:pt x="674" y="0"/>
                          <a:pt x="674" y="0"/>
                        </a:cubicBezTo>
                        <a:cubicBezTo>
                          <a:pt x="693" y="0"/>
                          <a:pt x="708" y="15"/>
                          <a:pt x="708" y="34"/>
                        </a:cubicBezTo>
                        <a:lnTo>
                          <a:pt x="708" y="479"/>
                        </a:lnTo>
                        <a:close/>
                        <a:moveTo>
                          <a:pt x="669" y="70"/>
                        </a:moveTo>
                        <a:cubicBezTo>
                          <a:pt x="669" y="51"/>
                          <a:pt x="654" y="36"/>
                          <a:pt x="635" y="36"/>
                        </a:cubicBezTo>
                        <a:cubicBezTo>
                          <a:pt x="73" y="36"/>
                          <a:pt x="73" y="36"/>
                          <a:pt x="73" y="36"/>
                        </a:cubicBezTo>
                        <a:cubicBezTo>
                          <a:pt x="54" y="36"/>
                          <a:pt x="39" y="51"/>
                          <a:pt x="39" y="70"/>
                        </a:cubicBezTo>
                        <a:cubicBezTo>
                          <a:pt x="39" y="404"/>
                          <a:pt x="39" y="404"/>
                          <a:pt x="39" y="404"/>
                        </a:cubicBezTo>
                        <a:cubicBezTo>
                          <a:pt x="39" y="423"/>
                          <a:pt x="54" y="438"/>
                          <a:pt x="73" y="438"/>
                        </a:cubicBezTo>
                        <a:cubicBezTo>
                          <a:pt x="635" y="438"/>
                          <a:pt x="635" y="438"/>
                          <a:pt x="635" y="438"/>
                        </a:cubicBezTo>
                        <a:cubicBezTo>
                          <a:pt x="654" y="438"/>
                          <a:pt x="669" y="423"/>
                          <a:pt x="669" y="404"/>
                        </a:cubicBezTo>
                        <a:lnTo>
                          <a:pt x="669" y="70"/>
                        </a:lnTo>
                        <a:close/>
                        <a:moveTo>
                          <a:pt x="633" y="467"/>
                        </a:moveTo>
                        <a:cubicBezTo>
                          <a:pt x="633" y="465"/>
                          <a:pt x="632" y="464"/>
                          <a:pt x="630" y="464"/>
                        </a:cubicBezTo>
                        <a:cubicBezTo>
                          <a:pt x="602" y="464"/>
                          <a:pt x="602" y="464"/>
                          <a:pt x="602" y="464"/>
                        </a:cubicBezTo>
                        <a:cubicBezTo>
                          <a:pt x="601" y="464"/>
                          <a:pt x="599" y="465"/>
                          <a:pt x="599" y="467"/>
                        </a:cubicBezTo>
                        <a:cubicBezTo>
                          <a:pt x="599" y="484"/>
                          <a:pt x="599" y="484"/>
                          <a:pt x="599" y="484"/>
                        </a:cubicBezTo>
                        <a:cubicBezTo>
                          <a:pt x="599" y="486"/>
                          <a:pt x="601" y="487"/>
                          <a:pt x="602" y="487"/>
                        </a:cubicBezTo>
                        <a:cubicBezTo>
                          <a:pt x="630" y="487"/>
                          <a:pt x="630" y="487"/>
                          <a:pt x="630" y="487"/>
                        </a:cubicBezTo>
                        <a:cubicBezTo>
                          <a:pt x="632" y="487"/>
                          <a:pt x="633" y="486"/>
                          <a:pt x="633" y="484"/>
                        </a:cubicBezTo>
                        <a:lnTo>
                          <a:pt x="633" y="467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10">
                      <a:defRPr/>
                    </a:pPr>
                    <a:endParaRPr lang="en-AU" sz="2400" kern="0" dirty="0">
                      <a:solidFill>
                        <a:srgbClr val="000000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</p:grpSp>
          <p:cxnSp>
            <p:nvCxnSpPr>
              <p:cNvPr id="27" name="Straight Connector 144">
                <a:extLst>
                  <a:ext uri="{FF2B5EF4-FFF2-40B4-BE49-F238E27FC236}">
                    <a16:creationId xmlns:a16="http://schemas.microsoft.com/office/drawing/2014/main" id="{9611413D-F561-4DB3-9C57-CF7B1A6D33E9}"/>
                  </a:ext>
                </a:extLst>
              </p:cNvPr>
              <p:cNvCxnSpPr/>
              <p:nvPr/>
            </p:nvCxnSpPr>
            <p:spPr>
              <a:xfrm flipV="1">
                <a:off x="4977919" y="4813496"/>
                <a:ext cx="84354" cy="340795"/>
              </a:xfrm>
              <a:prstGeom prst="line">
                <a:avLst/>
              </a:prstGeom>
              <a:grpFill/>
              <a:ln w="38100" cap="rnd" cmpd="sng" algn="ctr">
                <a:solidFill>
                  <a:schemeClr val="bg1"/>
                </a:solidFill>
                <a:prstDash val="sysDash"/>
              </a:ln>
              <a:effectLst/>
            </p:spPr>
          </p:cxnSp>
          <p:cxnSp>
            <p:nvCxnSpPr>
              <p:cNvPr id="28" name="Straight Connector 145">
                <a:extLst>
                  <a:ext uri="{FF2B5EF4-FFF2-40B4-BE49-F238E27FC236}">
                    <a16:creationId xmlns:a16="http://schemas.microsoft.com/office/drawing/2014/main" id="{6DF53986-4591-4D99-AE47-BAA4910A31E9}"/>
                  </a:ext>
                </a:extLst>
              </p:cNvPr>
              <p:cNvCxnSpPr/>
              <p:nvPr/>
            </p:nvCxnSpPr>
            <p:spPr>
              <a:xfrm flipV="1">
                <a:off x="5199573" y="4626154"/>
                <a:ext cx="311727" cy="70523"/>
              </a:xfrm>
              <a:prstGeom prst="line">
                <a:avLst/>
              </a:prstGeom>
              <a:grpFill/>
              <a:ln w="38100" cap="rnd" cmpd="sng" algn="ctr">
                <a:solidFill>
                  <a:schemeClr val="bg1"/>
                </a:solidFill>
                <a:prstDash val="sysDash"/>
              </a:ln>
              <a:effectLst/>
            </p:spPr>
          </p:cxnSp>
          <p:cxnSp>
            <p:nvCxnSpPr>
              <p:cNvPr id="29" name="Straight Connector 146">
                <a:extLst>
                  <a:ext uri="{FF2B5EF4-FFF2-40B4-BE49-F238E27FC236}">
                    <a16:creationId xmlns:a16="http://schemas.microsoft.com/office/drawing/2014/main" id="{FF2674C1-6151-4A91-9B05-74A842AE4546}"/>
                  </a:ext>
                </a:extLst>
              </p:cNvPr>
              <p:cNvCxnSpPr/>
              <p:nvPr/>
            </p:nvCxnSpPr>
            <p:spPr>
              <a:xfrm>
                <a:off x="5631889" y="4727684"/>
                <a:ext cx="63922" cy="426283"/>
              </a:xfrm>
              <a:prstGeom prst="line">
                <a:avLst/>
              </a:prstGeom>
              <a:grpFill/>
              <a:ln w="38100" cap="rnd" cmpd="sng" algn="ctr">
                <a:solidFill>
                  <a:schemeClr val="bg1"/>
                </a:solidFill>
                <a:prstDash val="sysDash"/>
              </a:ln>
              <a:effectLst/>
            </p:spPr>
          </p:cxnSp>
          <p:cxnSp>
            <p:nvCxnSpPr>
              <p:cNvPr id="30" name="Straight Connector 147">
                <a:extLst>
                  <a:ext uri="{FF2B5EF4-FFF2-40B4-BE49-F238E27FC236}">
                    <a16:creationId xmlns:a16="http://schemas.microsoft.com/office/drawing/2014/main" id="{B7DCAF02-ACD0-497C-9BCD-83EBA9774EDF}"/>
                  </a:ext>
                </a:extLst>
              </p:cNvPr>
              <p:cNvCxnSpPr/>
              <p:nvPr/>
            </p:nvCxnSpPr>
            <p:spPr>
              <a:xfrm flipH="1" flipV="1">
                <a:off x="5067853" y="5230972"/>
                <a:ext cx="536210" cy="18568"/>
              </a:xfrm>
              <a:prstGeom prst="line">
                <a:avLst/>
              </a:prstGeom>
              <a:grpFill/>
              <a:ln w="38100" cap="rnd" cmpd="sng" algn="ctr">
                <a:solidFill>
                  <a:schemeClr val="bg1"/>
                </a:solidFill>
                <a:prstDash val="sysDash"/>
              </a:ln>
              <a:effectLst/>
            </p:spPr>
          </p:cxnSp>
          <p:cxnSp>
            <p:nvCxnSpPr>
              <p:cNvPr id="31" name="Straight Connector 148">
                <a:extLst>
                  <a:ext uri="{FF2B5EF4-FFF2-40B4-BE49-F238E27FC236}">
                    <a16:creationId xmlns:a16="http://schemas.microsoft.com/office/drawing/2014/main" id="{E2025669-95D5-44AB-8CF3-815F01DEC5CF}"/>
                  </a:ext>
                </a:extLst>
              </p:cNvPr>
              <p:cNvCxnSpPr/>
              <p:nvPr/>
            </p:nvCxnSpPr>
            <p:spPr>
              <a:xfrm flipH="1" flipV="1">
                <a:off x="5466649" y="5043319"/>
                <a:ext cx="144635" cy="132328"/>
              </a:xfrm>
              <a:prstGeom prst="line">
                <a:avLst/>
              </a:prstGeom>
              <a:grpFill/>
              <a:ln w="38100" cap="rnd" cmpd="sng" algn="ctr">
                <a:solidFill>
                  <a:schemeClr val="bg1"/>
                </a:solidFill>
                <a:prstDash val="sysDash"/>
              </a:ln>
              <a:effectLst/>
            </p:spPr>
          </p:cxnSp>
          <p:cxnSp>
            <p:nvCxnSpPr>
              <p:cNvPr id="32" name="Straight Connector 149">
                <a:extLst>
                  <a:ext uri="{FF2B5EF4-FFF2-40B4-BE49-F238E27FC236}">
                    <a16:creationId xmlns:a16="http://schemas.microsoft.com/office/drawing/2014/main" id="{5C601087-9444-4424-89C8-88CFEFBC44CE}"/>
                  </a:ext>
                </a:extLst>
              </p:cNvPr>
              <p:cNvCxnSpPr/>
              <p:nvPr/>
            </p:nvCxnSpPr>
            <p:spPr>
              <a:xfrm flipV="1">
                <a:off x="5069849" y="5039444"/>
                <a:ext cx="198728" cy="129178"/>
              </a:xfrm>
              <a:prstGeom prst="line">
                <a:avLst/>
              </a:prstGeom>
              <a:grpFill/>
              <a:ln w="38100" cap="rnd" cmpd="sng" algn="ctr">
                <a:solidFill>
                  <a:schemeClr val="bg1"/>
                </a:solidFill>
                <a:prstDash val="sysDash"/>
              </a:ln>
              <a:effectLst/>
            </p:spPr>
          </p:cxnSp>
          <p:cxnSp>
            <p:nvCxnSpPr>
              <p:cNvPr id="33" name="Straight Connector 150">
                <a:extLst>
                  <a:ext uri="{FF2B5EF4-FFF2-40B4-BE49-F238E27FC236}">
                    <a16:creationId xmlns:a16="http://schemas.microsoft.com/office/drawing/2014/main" id="{20C42C40-6044-4F69-AF1A-E52ED2CE6867}"/>
                  </a:ext>
                </a:extLst>
              </p:cNvPr>
              <p:cNvCxnSpPr/>
              <p:nvPr/>
            </p:nvCxnSpPr>
            <p:spPr>
              <a:xfrm flipV="1">
                <a:off x="5455399" y="4726299"/>
                <a:ext cx="99030" cy="154517"/>
              </a:xfrm>
              <a:prstGeom prst="line">
                <a:avLst/>
              </a:prstGeom>
              <a:grpFill/>
              <a:ln w="38100" cap="rnd" cmpd="sng" algn="ctr">
                <a:solidFill>
                  <a:schemeClr val="bg1"/>
                </a:solidFill>
                <a:prstDash val="sysDash"/>
              </a:ln>
              <a:effectLst/>
            </p:spPr>
          </p:cxnSp>
          <p:cxnSp>
            <p:nvCxnSpPr>
              <p:cNvPr id="34" name="Straight Connector 151">
                <a:extLst>
                  <a:ext uri="{FF2B5EF4-FFF2-40B4-BE49-F238E27FC236}">
                    <a16:creationId xmlns:a16="http://schemas.microsoft.com/office/drawing/2014/main" id="{AADCED0F-E577-48EC-AEE6-E97048E7D599}"/>
                  </a:ext>
                </a:extLst>
              </p:cNvPr>
              <p:cNvCxnSpPr/>
              <p:nvPr/>
            </p:nvCxnSpPr>
            <p:spPr>
              <a:xfrm flipH="1" flipV="1">
                <a:off x="5178177" y="4801012"/>
                <a:ext cx="95490" cy="99706"/>
              </a:xfrm>
              <a:prstGeom prst="line">
                <a:avLst/>
              </a:prstGeom>
              <a:grpFill/>
              <a:ln w="38100" cap="rnd" cmpd="sng" algn="ctr">
                <a:solidFill>
                  <a:schemeClr val="bg1"/>
                </a:solidFill>
                <a:prstDash val="sysDash"/>
              </a:ln>
              <a:effectLst/>
            </p:spPr>
          </p:cxnSp>
        </p:grpSp>
      </p:grpSp>
      <p:sp>
        <p:nvSpPr>
          <p:cNvPr id="50" name="矩形 49">
            <a:extLst>
              <a:ext uri="{FF2B5EF4-FFF2-40B4-BE49-F238E27FC236}">
                <a16:creationId xmlns:a16="http://schemas.microsoft.com/office/drawing/2014/main" id="{2A79A4CD-6036-4C51-A3BF-63DFD9C17617}"/>
              </a:ext>
            </a:extLst>
          </p:cNvPr>
          <p:cNvSpPr/>
          <p:nvPr/>
        </p:nvSpPr>
        <p:spPr>
          <a:xfrm>
            <a:off x="3636503" y="2707971"/>
            <a:ext cx="2171136" cy="323163"/>
          </a:xfrm>
          <a:prstGeom prst="rect">
            <a:avLst/>
          </a:prstGeom>
          <a:ln>
            <a:noFill/>
          </a:ln>
        </p:spPr>
        <p:txBody>
          <a:bodyPr wrap="square" lIns="91436" tIns="45718" rIns="91436" bIns="45718">
            <a:spAutoFit/>
          </a:bodyPr>
          <a:lstStyle/>
          <a:p>
            <a:pPr algn="ctr" defTabSz="16254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500" b="1" dirty="0">
                <a:cs typeface="+mn-ea"/>
                <a:sym typeface="+mn-lt"/>
              </a:rPr>
              <a:t>无人机及自动驾驶技术</a:t>
            </a:r>
          </a:p>
        </p:txBody>
      </p:sp>
      <p:grpSp>
        <p:nvGrpSpPr>
          <p:cNvPr id="51" name="组合 50"/>
          <p:cNvGrpSpPr/>
          <p:nvPr/>
        </p:nvGrpSpPr>
        <p:grpSpPr>
          <a:xfrm>
            <a:off x="4410071" y="1862805"/>
            <a:ext cx="624000" cy="624000"/>
            <a:chOff x="5929950" y="3032065"/>
            <a:chExt cx="720000" cy="720000"/>
          </a:xfrm>
        </p:grpSpPr>
        <p:sp>
          <p:nvSpPr>
            <p:cNvPr id="52" name="椭圆 51">
              <a:extLst>
                <a:ext uri="{FF2B5EF4-FFF2-40B4-BE49-F238E27FC236}">
                  <a16:creationId xmlns:a16="http://schemas.microsoft.com/office/drawing/2014/main" id="{A24E48FE-0ACE-4CC3-B33D-58D65F07BEF3}"/>
                </a:ext>
              </a:extLst>
            </p:cNvPr>
            <p:cNvSpPr/>
            <p:nvPr/>
          </p:nvSpPr>
          <p:spPr>
            <a:xfrm>
              <a:off x="5929950" y="3032065"/>
              <a:ext cx="720000" cy="72000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00">
                <a:cs typeface="+mn-ea"/>
                <a:sym typeface="+mn-lt"/>
              </a:endParaRPr>
            </a:p>
          </p:txBody>
        </p:sp>
        <p:pic>
          <p:nvPicPr>
            <p:cNvPr id="53" name="图片 52" descr="图片包含 物体&#10;&#10;已生成高可信度的说明">
              <a:extLst>
                <a:ext uri="{FF2B5EF4-FFF2-40B4-BE49-F238E27FC236}">
                  <a16:creationId xmlns:a16="http://schemas.microsoft.com/office/drawing/2014/main" id="{6F286F54-C0AB-49B3-8AFD-3B0224A22E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1997" y="3151649"/>
              <a:ext cx="486442" cy="486442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54" name="组合 53">
            <a:extLst>
              <a:ext uri="{FF2B5EF4-FFF2-40B4-BE49-F238E27FC236}">
                <a16:creationId xmlns:a16="http://schemas.microsoft.com/office/drawing/2014/main" id="{7C7D84BA-EF4E-4F32-B123-684697514148}"/>
              </a:ext>
            </a:extLst>
          </p:cNvPr>
          <p:cNvGrpSpPr/>
          <p:nvPr/>
        </p:nvGrpSpPr>
        <p:grpSpPr>
          <a:xfrm>
            <a:off x="9055416" y="3314200"/>
            <a:ext cx="672000" cy="672000"/>
            <a:chOff x="4010772" y="1352187"/>
            <a:chExt cx="1109202" cy="1109202"/>
          </a:xfrm>
        </p:grpSpPr>
        <p:sp>
          <p:nvSpPr>
            <p:cNvPr id="55" name="椭圆 54">
              <a:extLst>
                <a:ext uri="{FF2B5EF4-FFF2-40B4-BE49-F238E27FC236}">
                  <a16:creationId xmlns:a16="http://schemas.microsoft.com/office/drawing/2014/main" id="{D2E22412-C150-4AF1-AEBE-2C8FB6743698}"/>
                </a:ext>
              </a:extLst>
            </p:cNvPr>
            <p:cNvSpPr/>
            <p:nvPr/>
          </p:nvSpPr>
          <p:spPr>
            <a:xfrm>
              <a:off x="4010772" y="1352187"/>
              <a:ext cx="1109202" cy="1109202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00">
                <a:cs typeface="+mn-ea"/>
                <a:sym typeface="+mn-lt"/>
              </a:endParaRPr>
            </a:p>
          </p:txBody>
        </p:sp>
        <p:pic>
          <p:nvPicPr>
            <p:cNvPr id="56" name="图片 55">
              <a:extLst>
                <a:ext uri="{FF2B5EF4-FFF2-40B4-BE49-F238E27FC236}">
                  <a16:creationId xmlns:a16="http://schemas.microsoft.com/office/drawing/2014/main" id="{3910C7EE-5BC4-441C-8679-F944CEFA29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25430" y="1567729"/>
              <a:ext cx="679887" cy="679887"/>
            </a:xfrm>
            <a:prstGeom prst="rect">
              <a:avLst/>
            </a:prstGeom>
          </p:spPr>
        </p:pic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5F38E781-3700-4C1E-A514-DC90C988659C}"/>
              </a:ext>
            </a:extLst>
          </p:cNvPr>
          <p:cNvGrpSpPr/>
          <p:nvPr/>
        </p:nvGrpSpPr>
        <p:grpSpPr>
          <a:xfrm>
            <a:off x="9055416" y="4779679"/>
            <a:ext cx="672000" cy="672000"/>
            <a:chOff x="6308942" y="1334342"/>
            <a:chExt cx="1109202" cy="1109202"/>
          </a:xfrm>
        </p:grpSpPr>
        <p:sp>
          <p:nvSpPr>
            <p:cNvPr id="58" name="椭圆 57">
              <a:extLst>
                <a:ext uri="{FF2B5EF4-FFF2-40B4-BE49-F238E27FC236}">
                  <a16:creationId xmlns:a16="http://schemas.microsoft.com/office/drawing/2014/main" id="{683BAF0D-CA15-442D-9C9A-948EF490BF97}"/>
                </a:ext>
              </a:extLst>
            </p:cNvPr>
            <p:cNvSpPr/>
            <p:nvPr/>
          </p:nvSpPr>
          <p:spPr>
            <a:xfrm>
              <a:off x="6308942" y="1334342"/>
              <a:ext cx="1109202" cy="1109202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00">
                <a:cs typeface="+mn-ea"/>
                <a:sym typeface="+mn-lt"/>
              </a:endParaRPr>
            </a:p>
          </p:txBody>
        </p:sp>
        <p:pic>
          <p:nvPicPr>
            <p:cNvPr id="59" name="图片 58">
              <a:extLst>
                <a:ext uri="{FF2B5EF4-FFF2-40B4-BE49-F238E27FC236}">
                  <a16:creationId xmlns:a16="http://schemas.microsoft.com/office/drawing/2014/main" id="{672DAE0A-B931-4F6A-856E-9DD2DE8B46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6636" y="1442036"/>
              <a:ext cx="893815" cy="893815"/>
            </a:xfrm>
            <a:prstGeom prst="rect">
              <a:avLst/>
            </a:prstGeom>
          </p:spPr>
        </p:pic>
      </p:grpSp>
      <p:grpSp>
        <p:nvGrpSpPr>
          <p:cNvPr id="60" name="组合 59"/>
          <p:cNvGrpSpPr/>
          <p:nvPr/>
        </p:nvGrpSpPr>
        <p:grpSpPr>
          <a:xfrm>
            <a:off x="9055416" y="1838805"/>
            <a:ext cx="672000" cy="672000"/>
            <a:chOff x="6583123" y="899532"/>
            <a:chExt cx="835063" cy="835063"/>
          </a:xfrm>
        </p:grpSpPr>
        <p:sp>
          <p:nvSpPr>
            <p:cNvPr id="61" name="椭圆 60">
              <a:extLst>
                <a:ext uri="{FF2B5EF4-FFF2-40B4-BE49-F238E27FC236}">
                  <a16:creationId xmlns:a16="http://schemas.microsoft.com/office/drawing/2014/main" id="{D60ED566-5AC6-4EC6-8CEC-40C8E13710AE}"/>
                </a:ext>
              </a:extLst>
            </p:cNvPr>
            <p:cNvSpPr/>
            <p:nvPr/>
          </p:nvSpPr>
          <p:spPr>
            <a:xfrm>
              <a:off x="6583123" y="899532"/>
              <a:ext cx="835063" cy="835063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00">
                <a:cs typeface="+mn-ea"/>
                <a:sym typeface="+mn-lt"/>
              </a:endParaRPr>
            </a:p>
          </p:txBody>
        </p:sp>
        <p:pic>
          <p:nvPicPr>
            <p:cNvPr id="62" name="图片 61">
              <a:extLst>
                <a:ext uri="{FF2B5EF4-FFF2-40B4-BE49-F238E27FC236}">
                  <a16:creationId xmlns:a16="http://schemas.microsoft.com/office/drawing/2014/main" id="{B6582E5C-6035-4B64-A919-ED2250CAD44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6766" y="1065375"/>
              <a:ext cx="502209" cy="48524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63" name="矩形 62">
            <a:extLst>
              <a:ext uri="{FF2B5EF4-FFF2-40B4-BE49-F238E27FC236}">
                <a16:creationId xmlns:a16="http://schemas.microsoft.com/office/drawing/2014/main" id="{66E34262-9FD9-4D05-8885-CD68BF539F2C}"/>
              </a:ext>
            </a:extLst>
          </p:cNvPr>
          <p:cNvSpPr/>
          <p:nvPr/>
        </p:nvSpPr>
        <p:spPr>
          <a:xfrm>
            <a:off x="1471168" y="2707971"/>
            <a:ext cx="2135385" cy="323163"/>
          </a:xfrm>
          <a:prstGeom prst="rect">
            <a:avLst/>
          </a:prstGeom>
          <a:ln>
            <a:noFill/>
          </a:ln>
        </p:spPr>
        <p:txBody>
          <a:bodyPr wrap="square" lIns="91436" tIns="45718" rIns="91436" bIns="45718">
            <a:spAutoFit/>
          </a:bodyPr>
          <a:lstStyle/>
          <a:p>
            <a:pPr algn="ctr" defTabSz="16254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500" b="1" dirty="0">
                <a:cs typeface="+mn-ea"/>
                <a:sym typeface="+mn-lt"/>
              </a:rPr>
              <a:t>机器人及自动化技术</a:t>
            </a:r>
          </a:p>
        </p:txBody>
      </p:sp>
      <p:sp>
        <p:nvSpPr>
          <p:cNvPr id="64" name="椭圆 63">
            <a:extLst>
              <a:ext uri="{FF2B5EF4-FFF2-40B4-BE49-F238E27FC236}">
                <a16:creationId xmlns:a16="http://schemas.microsoft.com/office/drawing/2014/main" id="{8D176995-C5C4-4678-9DC3-8D675F6DE594}"/>
              </a:ext>
            </a:extLst>
          </p:cNvPr>
          <p:cNvSpPr/>
          <p:nvPr/>
        </p:nvSpPr>
        <p:spPr>
          <a:xfrm>
            <a:off x="2226856" y="1862805"/>
            <a:ext cx="624000" cy="62400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>
              <a:cs typeface="+mn-ea"/>
              <a:sym typeface="+mn-lt"/>
            </a:endParaRPr>
          </a:p>
        </p:txBody>
      </p:sp>
      <p:pic>
        <p:nvPicPr>
          <p:cNvPr id="65" name="图片 6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6797" y="1952745"/>
            <a:ext cx="444123" cy="444123"/>
          </a:xfrm>
          <a:prstGeom prst="rect">
            <a:avLst/>
          </a:prstGeom>
        </p:spPr>
      </p:pic>
      <p:sp>
        <p:nvSpPr>
          <p:cNvPr id="66" name="矩形 65">
            <a:extLst>
              <a:ext uri="{FF2B5EF4-FFF2-40B4-BE49-F238E27FC236}">
                <a16:creationId xmlns:a16="http://schemas.microsoft.com/office/drawing/2014/main" id="{90F533C8-F124-4B32-86D6-27784DA0912C}"/>
              </a:ext>
            </a:extLst>
          </p:cNvPr>
          <p:cNvSpPr/>
          <p:nvPr/>
        </p:nvSpPr>
        <p:spPr>
          <a:xfrm>
            <a:off x="7952359" y="2686357"/>
            <a:ext cx="2878116" cy="381779"/>
          </a:xfrm>
          <a:prstGeom prst="rect">
            <a:avLst/>
          </a:prstGeom>
          <a:noFill/>
          <a:ln w="22225" cap="sq" cmpd="sng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997" tIns="45718" rIns="47997" bIns="45718" rtlCol="0" anchor="ctr"/>
          <a:lstStyle/>
          <a:p>
            <a:pPr algn="ctr"/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作业无人化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90F533C8-F124-4B32-86D6-27784DA0912C}"/>
              </a:ext>
            </a:extLst>
          </p:cNvPr>
          <p:cNvSpPr/>
          <p:nvPr/>
        </p:nvSpPr>
        <p:spPr>
          <a:xfrm>
            <a:off x="7952359" y="4153129"/>
            <a:ext cx="2878116" cy="381779"/>
          </a:xfrm>
          <a:prstGeom prst="rect">
            <a:avLst/>
          </a:prstGeom>
          <a:noFill/>
          <a:ln w="22225" cap="sq" cmpd="sng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997" tIns="45718" rIns="47997" bIns="45718" rtlCol="0" anchor="ctr"/>
          <a:lstStyle/>
          <a:p>
            <a:pPr algn="ctr"/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运营数字化</a:t>
            </a: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90F533C8-F124-4B32-86D6-27784DA0912C}"/>
              </a:ext>
            </a:extLst>
          </p:cNvPr>
          <p:cNvSpPr/>
          <p:nvPr/>
        </p:nvSpPr>
        <p:spPr>
          <a:xfrm>
            <a:off x="7952359" y="5602905"/>
            <a:ext cx="2878116" cy="381779"/>
          </a:xfrm>
          <a:prstGeom prst="rect">
            <a:avLst/>
          </a:prstGeom>
          <a:noFill/>
          <a:ln w="22225" cap="sq" cmpd="sng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997" tIns="45718" rIns="47997" bIns="45718" rtlCol="0" anchor="ctr"/>
          <a:lstStyle/>
          <a:p>
            <a:pPr algn="ctr"/>
            <a:r>
              <a:rPr lang="zh-CN" altLang="en-US" sz="1500" b="1" dirty="0">
                <a:solidFill>
                  <a:srgbClr val="C00000"/>
                </a:solidFill>
                <a:cs typeface="+mn-ea"/>
                <a:sym typeface="+mn-lt"/>
              </a:rPr>
              <a:t>决策智能化</a:t>
            </a:r>
          </a:p>
        </p:txBody>
      </p:sp>
      <p:sp>
        <p:nvSpPr>
          <p:cNvPr id="69" name="文本框 68"/>
          <p:cNvSpPr txBox="1"/>
          <p:nvPr/>
        </p:nvSpPr>
        <p:spPr>
          <a:xfrm>
            <a:off x="1247291" y="1059315"/>
            <a:ext cx="5663268" cy="482120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zh-CN" altLang="en-US" sz="2500" b="1" dirty="0"/>
              <a:t>支撑物流行业发展的主要技术</a:t>
            </a:r>
          </a:p>
        </p:txBody>
      </p:sp>
      <p:sp>
        <p:nvSpPr>
          <p:cNvPr id="70" name="文本框 69"/>
          <p:cNvSpPr txBox="1"/>
          <p:nvPr/>
        </p:nvSpPr>
        <p:spPr>
          <a:xfrm>
            <a:off x="7858165" y="1028219"/>
            <a:ext cx="3050137" cy="482120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zh-CN" altLang="en-US" sz="2500" b="1" dirty="0"/>
              <a:t>无界物流技术趋势</a:t>
            </a:r>
          </a:p>
        </p:txBody>
      </p:sp>
    </p:spTree>
    <p:extLst>
      <p:ext uri="{BB962C8B-B14F-4D97-AF65-F5344CB8AC3E}">
        <p14:creationId xmlns:p14="http://schemas.microsoft.com/office/powerpoint/2010/main" val="4004436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京东物流自动化两个阶段</a:t>
            </a:r>
          </a:p>
        </p:txBody>
      </p:sp>
      <p:sp>
        <p:nvSpPr>
          <p:cNvPr id="21" name="文本占位符 2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2" name="文本占位符 2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8D0D57AE-EA18-4102-B8C1-0C836055FEF2}"/>
              </a:ext>
            </a:extLst>
          </p:cNvPr>
          <p:cNvCxnSpPr>
            <a:cxnSpLocks/>
          </p:cNvCxnSpPr>
          <p:nvPr/>
        </p:nvCxnSpPr>
        <p:spPr>
          <a:xfrm>
            <a:off x="1206440" y="4151891"/>
            <a:ext cx="3845855" cy="0"/>
          </a:xfrm>
          <a:prstGeom prst="line">
            <a:avLst/>
          </a:prstGeom>
          <a:solidFill>
            <a:srgbClr val="FFFFFF">
              <a:alpha val="10196"/>
            </a:srgbClr>
          </a:solidFill>
          <a:ln w="19050" cmpd="sng">
            <a:solidFill>
              <a:srgbClr val="C00000">
                <a:alpha val="92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E7662FB8-F2CC-4A6D-99D8-845FB6060D3B}"/>
              </a:ext>
            </a:extLst>
          </p:cNvPr>
          <p:cNvCxnSpPr>
            <a:cxnSpLocks/>
          </p:cNvCxnSpPr>
          <p:nvPr/>
        </p:nvCxnSpPr>
        <p:spPr>
          <a:xfrm flipV="1">
            <a:off x="5052298" y="2758151"/>
            <a:ext cx="1" cy="1393740"/>
          </a:xfrm>
          <a:prstGeom prst="line">
            <a:avLst/>
          </a:prstGeom>
          <a:solidFill>
            <a:srgbClr val="FFFFFF">
              <a:alpha val="10196"/>
            </a:srgbClr>
          </a:solidFill>
          <a:ln w="19050" cmpd="sng">
            <a:solidFill>
              <a:srgbClr val="C00000">
                <a:alpha val="92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FC7B13D8-6519-4CD5-B0CC-94115AB7F138}"/>
              </a:ext>
            </a:extLst>
          </p:cNvPr>
          <p:cNvCxnSpPr>
            <a:cxnSpLocks/>
          </p:cNvCxnSpPr>
          <p:nvPr/>
        </p:nvCxnSpPr>
        <p:spPr>
          <a:xfrm>
            <a:off x="5052298" y="2770261"/>
            <a:ext cx="6430180" cy="0"/>
          </a:xfrm>
          <a:prstGeom prst="line">
            <a:avLst/>
          </a:prstGeom>
          <a:solidFill>
            <a:srgbClr val="FFFFFF">
              <a:alpha val="10196"/>
            </a:srgbClr>
          </a:solidFill>
          <a:ln w="19050" cmpd="sng">
            <a:solidFill>
              <a:srgbClr val="C00000">
                <a:alpha val="92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" name="矩形: 圆角 20">
            <a:extLst>
              <a:ext uri="{FF2B5EF4-FFF2-40B4-BE49-F238E27FC236}">
                <a16:creationId xmlns:a16="http://schemas.microsoft.com/office/drawing/2014/main" id="{5091AD1A-6790-442C-82B3-BFD2DB788050}"/>
              </a:ext>
            </a:extLst>
          </p:cNvPr>
          <p:cNvSpPr/>
          <p:nvPr/>
        </p:nvSpPr>
        <p:spPr>
          <a:xfrm>
            <a:off x="2261001" y="3238388"/>
            <a:ext cx="2161241" cy="651885"/>
          </a:xfrm>
          <a:prstGeom prst="roundRect">
            <a:avLst/>
          </a:prstGeom>
          <a:solidFill>
            <a:srgbClr val="FFFFFF">
              <a:alpha val="10196"/>
            </a:srgbClr>
          </a:solidFill>
          <a:ln w="19050" cmpd="sng">
            <a:solidFill>
              <a:srgbClr val="C00000">
                <a:alpha val="92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r>
              <a:rPr lang="zh-CN" altLang="en-US" b="1" dirty="0">
                <a:solidFill>
                  <a:srgbClr val="C00000"/>
                </a:solidFill>
                <a:cs typeface="+mn-ea"/>
                <a:sym typeface="+mn-lt"/>
              </a:rPr>
              <a:t>规模自动化</a:t>
            </a:r>
            <a:endParaRPr lang="en-US" altLang="zh-CN" b="1" dirty="0">
              <a:solidFill>
                <a:srgbClr val="C00000"/>
              </a:solidFill>
              <a:cs typeface="+mn-ea"/>
              <a:sym typeface="+mn-lt"/>
            </a:endParaRPr>
          </a:p>
        </p:txBody>
      </p:sp>
      <p:sp>
        <p:nvSpPr>
          <p:cNvPr id="7" name="矩形: 圆角 21">
            <a:extLst>
              <a:ext uri="{FF2B5EF4-FFF2-40B4-BE49-F238E27FC236}">
                <a16:creationId xmlns:a16="http://schemas.microsoft.com/office/drawing/2014/main" id="{C7EEC41B-9C35-42CA-8F17-9F248EE1A431}"/>
              </a:ext>
            </a:extLst>
          </p:cNvPr>
          <p:cNvSpPr/>
          <p:nvPr/>
        </p:nvSpPr>
        <p:spPr>
          <a:xfrm>
            <a:off x="7185897" y="1940384"/>
            <a:ext cx="2161241" cy="651885"/>
          </a:xfrm>
          <a:prstGeom prst="roundRect">
            <a:avLst/>
          </a:prstGeom>
          <a:solidFill>
            <a:srgbClr val="FFFFFF">
              <a:alpha val="10196"/>
            </a:srgbClr>
          </a:solidFill>
          <a:ln w="19050" cmpd="sng">
            <a:solidFill>
              <a:srgbClr val="C00000">
                <a:alpha val="92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r>
              <a:rPr lang="zh-CN" altLang="en-US" b="1" dirty="0">
                <a:solidFill>
                  <a:srgbClr val="C00000"/>
                </a:solidFill>
                <a:cs typeface="+mn-ea"/>
                <a:sym typeface="+mn-lt"/>
              </a:rPr>
              <a:t>智能无人化</a:t>
            </a:r>
            <a:endParaRPr lang="en-US" altLang="zh-CN" b="1" dirty="0">
              <a:solidFill>
                <a:srgbClr val="C00000"/>
              </a:solidFill>
              <a:cs typeface="+mn-ea"/>
              <a:sym typeface="+mn-lt"/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E048FC21-1764-4624-A75E-4492EB9889B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6439" y="4346188"/>
            <a:ext cx="1785388" cy="1113109"/>
          </a:xfrm>
          <a:prstGeom prst="rect">
            <a:avLst/>
          </a:prstGeom>
        </p:spPr>
      </p:pic>
      <p:pic>
        <p:nvPicPr>
          <p:cNvPr id="9" name="Picture 10">
            <a:extLst>
              <a:ext uri="{FF2B5EF4-FFF2-40B4-BE49-F238E27FC236}">
                <a16:creationId xmlns:a16="http://schemas.microsoft.com/office/drawing/2014/main" id="{70A51677-5810-458B-8B7D-4A722F45CE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763" y="4329378"/>
            <a:ext cx="1836733" cy="1129921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6CB628AD-A8D9-4584-AEBA-E7E5EA2F475E}"/>
              </a:ext>
            </a:extLst>
          </p:cNvPr>
          <p:cNvSpPr/>
          <p:nvPr/>
        </p:nvSpPr>
        <p:spPr>
          <a:xfrm>
            <a:off x="988427" y="5587941"/>
            <a:ext cx="4063868" cy="465371"/>
          </a:xfrm>
          <a:prstGeom prst="rect">
            <a:avLst/>
          </a:prstGeom>
          <a:solidFill>
            <a:srgbClr val="FFFFFF">
              <a:alpha val="35000"/>
            </a:srgbClr>
          </a:solidFill>
          <a:ln w="41275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r>
              <a:rPr lang="en-US" altLang="zh-CN" sz="1500" b="1" dirty="0">
                <a:solidFill>
                  <a:schemeClr val="tx1"/>
                </a:solidFill>
                <a:cs typeface="+mn-ea"/>
                <a:sym typeface="+mn-lt"/>
              </a:rPr>
              <a:t>AS/RS</a:t>
            </a:r>
            <a:r>
              <a:rPr lang="zh-CN" altLang="en-US" sz="1500" b="1" dirty="0">
                <a:solidFill>
                  <a:schemeClr val="tx1"/>
                </a:solidFill>
                <a:cs typeface="+mn-ea"/>
                <a:sym typeface="+mn-lt"/>
              </a:rPr>
              <a:t>，传输设备、分拣设备等自动化设备</a:t>
            </a:r>
            <a:endParaRPr lang="en-US" altLang="zh-CN" sz="15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06B859CC-5CFF-4F1F-A8F9-363AC140B9FE}"/>
              </a:ext>
            </a:extLst>
          </p:cNvPr>
          <p:cNvGrpSpPr>
            <a:grpSpLocks noChangeAspect="1"/>
          </p:cNvGrpSpPr>
          <p:nvPr/>
        </p:nvGrpSpPr>
        <p:grpSpPr>
          <a:xfrm>
            <a:off x="5201763" y="2908335"/>
            <a:ext cx="6212172" cy="1254532"/>
            <a:chOff x="-203082" y="3526999"/>
            <a:chExt cx="7639758" cy="1080120"/>
          </a:xfrm>
        </p:grpSpPr>
        <p:pic>
          <p:nvPicPr>
            <p:cNvPr id="12" name="Picture 5" descr="C:\Users\lirui10\Desktop\双十一\无人仓动图\3.视觉检验.gif">
              <a:extLst>
                <a:ext uri="{FF2B5EF4-FFF2-40B4-BE49-F238E27FC236}">
                  <a16:creationId xmlns:a16="http://schemas.microsoft.com/office/drawing/2014/main" id="{17A1AFD1-46E5-43C4-A14F-BBC8EC1426FF}"/>
                </a:ext>
              </a:extLst>
            </p:cNvPr>
            <p:cNvPicPr>
              <a:picLocks noChangeAspect="1" noChangeArrowheads="1" noCrop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03082" y="3527119"/>
              <a:ext cx="1918781" cy="1080000"/>
            </a:xfrm>
            <a:prstGeom prst="rect">
              <a:avLst/>
            </a:prstGeom>
            <a:solidFill>
              <a:srgbClr val="FFFFFF">
                <a:alpha val="35000"/>
              </a:srgbClr>
            </a:solidFill>
            <a:ln w="41275" cmpd="dbl">
              <a:noFill/>
            </a:ln>
            <a:extLst/>
          </p:spPr>
        </p:pic>
        <p:pic>
          <p:nvPicPr>
            <p:cNvPr id="13" name="Picture 3" descr="C:\Users\lirui10\Desktop\双十一\无人仓动图\6.立体存储2.gif">
              <a:extLst>
                <a:ext uri="{FF2B5EF4-FFF2-40B4-BE49-F238E27FC236}">
                  <a16:creationId xmlns:a16="http://schemas.microsoft.com/office/drawing/2014/main" id="{3A3FABB6-CF87-411E-93FC-2645F478690D}"/>
                </a:ext>
              </a:extLst>
            </p:cNvPr>
            <p:cNvPicPr>
              <a:picLocks noChangeAspect="1" noChangeArrowheads="1" noCrop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6901" y="3526999"/>
              <a:ext cx="1918995" cy="1080120"/>
            </a:xfrm>
            <a:prstGeom prst="rect">
              <a:avLst/>
            </a:prstGeom>
            <a:solidFill>
              <a:srgbClr val="FFFFFF">
                <a:alpha val="35000"/>
              </a:srgbClr>
            </a:solidFill>
            <a:ln w="41275" cmpd="dbl">
              <a:noFill/>
            </a:ln>
            <a:extLst/>
          </p:spPr>
        </p:pic>
        <p:pic>
          <p:nvPicPr>
            <p:cNvPr id="14" name="Picture 6" descr="C:\Users\lirui10\Desktop\双十一\无人仓动图\分拣机器人.gif">
              <a:extLst>
                <a:ext uri="{FF2B5EF4-FFF2-40B4-BE49-F238E27FC236}">
                  <a16:creationId xmlns:a16="http://schemas.microsoft.com/office/drawing/2014/main" id="{92D51A37-8AE0-497C-B632-D9BF90DF802A}"/>
                </a:ext>
              </a:extLst>
            </p:cNvPr>
            <p:cNvPicPr>
              <a:picLocks noChangeAspect="1" noChangeArrowheads="1" noCrop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8104" y="3526999"/>
              <a:ext cx="1928572" cy="1080000"/>
            </a:xfrm>
            <a:prstGeom prst="rect">
              <a:avLst/>
            </a:prstGeom>
            <a:solidFill>
              <a:srgbClr val="FFFFFF">
                <a:alpha val="35000"/>
              </a:srgbClr>
            </a:solidFill>
            <a:ln w="41275" cmpd="dbl">
              <a:noFill/>
            </a:ln>
            <a:extLst/>
          </p:spPr>
        </p:pic>
        <p:pic>
          <p:nvPicPr>
            <p:cNvPr id="15" name="Picture 8" descr="C:\Users\lirui10\Desktop\双十一\无人仓动图\13.自动打包5.gif">
              <a:extLst>
                <a:ext uri="{FF2B5EF4-FFF2-40B4-BE49-F238E27FC236}">
                  <a16:creationId xmlns:a16="http://schemas.microsoft.com/office/drawing/2014/main" id="{C19E2F59-F44C-464D-8DA9-92C8F07B05AD}"/>
                </a:ext>
              </a:extLst>
            </p:cNvPr>
            <p:cNvPicPr>
              <a:picLocks noChangeAspect="1" noChangeArrowheads="1" noCrop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18572" y="3526999"/>
              <a:ext cx="1928571" cy="1080000"/>
            </a:xfrm>
            <a:prstGeom prst="rect">
              <a:avLst/>
            </a:prstGeom>
            <a:solidFill>
              <a:srgbClr val="FFFFFF">
                <a:alpha val="35000"/>
              </a:srgbClr>
            </a:solidFill>
            <a:ln w="41275" cmpd="dbl">
              <a:noFill/>
            </a:ln>
            <a:extLst/>
          </p:spPr>
        </p:pic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DE365C7B-3CEB-4C9A-A45E-BC9356EFF11F}"/>
              </a:ext>
            </a:extLst>
          </p:cNvPr>
          <p:cNvSpPr/>
          <p:nvPr/>
        </p:nvSpPr>
        <p:spPr>
          <a:xfrm>
            <a:off x="5160429" y="4227476"/>
            <a:ext cx="6212168" cy="429769"/>
          </a:xfrm>
          <a:prstGeom prst="rect">
            <a:avLst/>
          </a:prstGeom>
          <a:solidFill>
            <a:srgbClr val="FFFFFF">
              <a:alpha val="35000"/>
            </a:srgbClr>
          </a:solidFill>
          <a:ln w="41275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r>
              <a:rPr lang="zh-CN" altLang="en-US" sz="1500" b="1" dirty="0">
                <a:solidFill>
                  <a:schemeClr val="tx1"/>
                </a:solidFill>
                <a:cs typeface="+mn-ea"/>
                <a:sym typeface="+mn-lt"/>
              </a:rPr>
              <a:t>实现从入库、存储、包装、分拣的全流程、全系统的智能化和无人化</a:t>
            </a:r>
          </a:p>
        </p:txBody>
      </p:sp>
      <p:sp>
        <p:nvSpPr>
          <p:cNvPr id="17" name="文本框 16"/>
          <p:cNvSpPr txBox="1"/>
          <p:nvPr/>
        </p:nvSpPr>
        <p:spPr>
          <a:xfrm>
            <a:off x="1431432" y="3282359"/>
            <a:ext cx="620683" cy="467692"/>
          </a:xfrm>
          <a:prstGeom prst="rect">
            <a:avLst/>
          </a:prstGeom>
          <a:noFill/>
          <a:ln>
            <a:noFill/>
          </a:ln>
        </p:spPr>
        <p:txBody>
          <a:bodyPr wrap="none" lIns="91436" tIns="45718" rIns="91436" bIns="45718" rtlCol="0">
            <a:spAutoFit/>
          </a:bodyPr>
          <a:lstStyle/>
          <a:p>
            <a:pPr defTabSz="819221"/>
            <a:r>
              <a:rPr kumimoji="1" lang="en-US" altLang="zh-CN" sz="2400" b="1" dirty="0">
                <a:solidFill>
                  <a:srgbClr val="C00000"/>
                </a:solidFill>
                <a:cs typeface="+mn-ea"/>
                <a:sym typeface="+mn-lt"/>
              </a:rPr>
              <a:t>1.0</a:t>
            </a:r>
            <a:endParaRPr kumimoji="1" lang="zh-CN" altLang="en-US" sz="2400" b="1" dirty="0">
              <a:solidFill>
                <a:srgbClr val="C00000"/>
              </a:solidFill>
              <a:cs typeface="+mn-ea"/>
              <a:sym typeface="+mn-lt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6357921" y="2021739"/>
            <a:ext cx="620683" cy="467692"/>
          </a:xfrm>
          <a:prstGeom prst="rect">
            <a:avLst/>
          </a:prstGeom>
          <a:noFill/>
          <a:ln>
            <a:noFill/>
          </a:ln>
        </p:spPr>
        <p:txBody>
          <a:bodyPr wrap="none" lIns="91436" tIns="45718" rIns="91436" bIns="45718" rtlCol="0">
            <a:spAutoFit/>
          </a:bodyPr>
          <a:lstStyle/>
          <a:p>
            <a:pPr defTabSz="819221"/>
            <a:r>
              <a:rPr kumimoji="1" lang="en-US" altLang="zh-CN" sz="2400" b="1" dirty="0">
                <a:solidFill>
                  <a:srgbClr val="C00000"/>
                </a:solidFill>
                <a:cs typeface="+mn-ea"/>
                <a:sym typeface="+mn-lt"/>
              </a:rPr>
              <a:t>2.0</a:t>
            </a:r>
            <a:endParaRPr kumimoji="1" lang="zh-CN" altLang="en-US" sz="2400" b="1" dirty="0">
              <a:solidFill>
                <a:srgbClr val="C00000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935571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自动化设备更具柔性，通过人机混合，提升仓库作业效率</a:t>
            </a:r>
          </a:p>
        </p:txBody>
      </p:sp>
      <p:sp>
        <p:nvSpPr>
          <p:cNvPr id="20" name="文本占位符 1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1" name="文本占位符 2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C0DC359-D45D-462E-BE87-FA924509F8B4}"/>
              </a:ext>
            </a:extLst>
          </p:cNvPr>
          <p:cNvSpPr txBox="1"/>
          <p:nvPr/>
        </p:nvSpPr>
        <p:spPr>
          <a:xfrm>
            <a:off x="1064451" y="1770413"/>
            <a:ext cx="4834895" cy="465320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r>
              <a:rPr lang="zh-CN" altLang="en-US" sz="1900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自动化设备更具柔性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178C300-B260-4291-A2DF-562C60319713}"/>
              </a:ext>
            </a:extLst>
          </p:cNvPr>
          <p:cNvSpPr txBox="1"/>
          <p:nvPr/>
        </p:nvSpPr>
        <p:spPr>
          <a:xfrm>
            <a:off x="6567850" y="1770413"/>
            <a:ext cx="4834895" cy="465320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 defTabSz="614461">
              <a:defRPr sz="1400" b="1">
                <a:solidFill>
                  <a:srgbClr val="C00000"/>
                </a:solidFill>
                <a:cs typeface="+mn-ea"/>
              </a:defRPr>
            </a:lvl1pPr>
          </a:lstStyle>
          <a:p>
            <a:r>
              <a:rPr lang="zh-CN" altLang="en-US" dirty="0">
                <a:sym typeface="+mn-lt"/>
              </a:rPr>
              <a:t>人机混合提升效率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69FDCE82-7DB3-4EF3-996F-C99D827F766E}"/>
              </a:ext>
            </a:extLst>
          </p:cNvPr>
          <p:cNvSpPr/>
          <p:nvPr/>
        </p:nvSpPr>
        <p:spPr>
          <a:xfrm>
            <a:off x="7263479" y="2658613"/>
            <a:ext cx="1415772" cy="338555"/>
          </a:xfrm>
          <a:prstGeom prst="rect">
            <a:avLst/>
          </a:prstGeom>
          <a:ln>
            <a:noFill/>
          </a:ln>
        </p:spPr>
        <p:txBody>
          <a:bodyPr wrap="none" lIns="91436" tIns="45718" rIns="91436" bIns="45718">
            <a:spAutoFit/>
          </a:bodyPr>
          <a:lstStyle/>
          <a:p>
            <a:pPr defTabSz="819221"/>
            <a:r>
              <a:rPr lang="zh-CN" altLang="en-US" sz="1600" b="1" dirty="0">
                <a:solidFill>
                  <a:srgbClr val="C00000"/>
                </a:solidFill>
                <a:cs typeface="+mn-ea"/>
                <a:sym typeface="+mn-lt"/>
              </a:rPr>
              <a:t>外骨骼机器人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1F98FBB-3A4F-45F7-9E3C-529688461A0D}"/>
              </a:ext>
            </a:extLst>
          </p:cNvPr>
          <p:cNvSpPr/>
          <p:nvPr/>
        </p:nvSpPr>
        <p:spPr>
          <a:xfrm>
            <a:off x="6970988" y="4790125"/>
            <a:ext cx="1769821" cy="6463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819221"/>
            <a:r>
              <a:rPr lang="zh-CN" altLang="en-US" sz="1200" b="1" dirty="0">
                <a:cs typeface="+mn-ea"/>
                <a:sym typeface="+mn-lt"/>
              </a:rPr>
              <a:t>动力学原理设计，帮助工人减轻负重，减少身体损伤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B3B3008-5B00-4FDE-9153-8BB92E53F516}"/>
              </a:ext>
            </a:extLst>
          </p:cNvPr>
          <p:cNvSpPr/>
          <p:nvPr/>
        </p:nvSpPr>
        <p:spPr>
          <a:xfrm>
            <a:off x="9813048" y="2654605"/>
            <a:ext cx="1005403" cy="338555"/>
          </a:xfrm>
          <a:prstGeom prst="rect">
            <a:avLst/>
          </a:prstGeom>
          <a:ln>
            <a:noFill/>
          </a:ln>
        </p:spPr>
        <p:txBody>
          <a:bodyPr wrap="none" lIns="91436" tIns="45718" rIns="91436" bIns="45718">
            <a:spAutoFit/>
          </a:bodyPr>
          <a:lstStyle/>
          <a:p>
            <a:pPr defTabSz="819221"/>
            <a:r>
              <a:rPr lang="zh-CN" altLang="en-US" sz="1600" b="1" dirty="0">
                <a:solidFill>
                  <a:srgbClr val="C00000"/>
                </a:solidFill>
                <a:cs typeface="+mn-ea"/>
                <a:sym typeface="+mn-lt"/>
              </a:rPr>
              <a:t>京东竖亥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9AB61219-7CBD-4F2C-B3DF-1919FB5D94B0}"/>
              </a:ext>
            </a:extLst>
          </p:cNvPr>
          <p:cNvSpPr/>
          <p:nvPr/>
        </p:nvSpPr>
        <p:spPr>
          <a:xfrm>
            <a:off x="9734115" y="4877854"/>
            <a:ext cx="1292108" cy="461665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819221"/>
            <a:r>
              <a:rPr lang="zh-CN" altLang="en-US" sz="1200" b="1" dirty="0">
                <a:cs typeface="+mn-ea"/>
                <a:sym typeface="+mn-lt"/>
              </a:rPr>
              <a:t>自动采集商品物流信息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155E0D9-CEC2-4020-B83C-ABC6A91ADA3F}"/>
              </a:ext>
            </a:extLst>
          </p:cNvPr>
          <p:cNvSpPr/>
          <p:nvPr/>
        </p:nvSpPr>
        <p:spPr>
          <a:xfrm>
            <a:off x="1791607" y="2654605"/>
            <a:ext cx="1210588" cy="338555"/>
          </a:xfrm>
          <a:prstGeom prst="rect">
            <a:avLst/>
          </a:prstGeom>
          <a:ln>
            <a:noFill/>
          </a:ln>
        </p:spPr>
        <p:txBody>
          <a:bodyPr wrap="none" lIns="91436" tIns="45718" rIns="91436" bIns="45718">
            <a:spAutoFit/>
          </a:bodyPr>
          <a:lstStyle/>
          <a:p>
            <a:pPr defTabSz="819221"/>
            <a:r>
              <a:rPr lang="zh-CN" altLang="en-US" sz="1600" b="1" dirty="0">
                <a:solidFill>
                  <a:srgbClr val="C00000"/>
                </a:solidFill>
                <a:cs typeface="+mn-ea"/>
                <a:sym typeface="+mn-lt"/>
              </a:rPr>
              <a:t>翻板机器人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38EA620E-677A-45EF-9F63-3D8FD405F875}"/>
              </a:ext>
            </a:extLst>
          </p:cNvPr>
          <p:cNvSpPr/>
          <p:nvPr/>
        </p:nvSpPr>
        <p:spPr>
          <a:xfrm>
            <a:off x="4217023" y="2654605"/>
            <a:ext cx="1210588" cy="338555"/>
          </a:xfrm>
          <a:prstGeom prst="rect">
            <a:avLst/>
          </a:prstGeom>
          <a:ln>
            <a:noFill/>
          </a:ln>
        </p:spPr>
        <p:txBody>
          <a:bodyPr wrap="none" lIns="91436" tIns="45718" rIns="91436" bIns="45718">
            <a:spAutoFit/>
          </a:bodyPr>
          <a:lstStyle/>
          <a:p>
            <a:pPr defTabSz="819221"/>
            <a:r>
              <a:rPr lang="zh-CN" altLang="en-US" sz="1600" b="1" dirty="0">
                <a:solidFill>
                  <a:srgbClr val="C00000"/>
                </a:solidFill>
                <a:cs typeface="+mn-ea"/>
                <a:sym typeface="+mn-lt"/>
              </a:rPr>
              <a:t>地狼机器人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28BB1600-68C6-4536-B0D8-041E11DDBA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3045" y="3160929"/>
            <a:ext cx="1147296" cy="1467163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8747E2AE-DE35-4D5E-A875-F4483AE424B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859" y="3549786"/>
            <a:ext cx="956679" cy="972228"/>
          </a:xfrm>
          <a:prstGeom prst="ellipse">
            <a:avLst/>
          </a:prstGeom>
        </p:spPr>
      </p:pic>
      <p:pic>
        <p:nvPicPr>
          <p:cNvPr id="13" name="Picture 2" descr="C:\Users\WANGCHAO\Desktop\385274013307410386.jpg">
            <a:extLst>
              <a:ext uri="{FF2B5EF4-FFF2-40B4-BE49-F238E27FC236}">
                <a16:creationId xmlns:a16="http://schemas.microsoft.com/office/drawing/2014/main" id="{37D10CF2-B5FE-4681-B1A0-353F0EE293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25" r="26293"/>
          <a:stretch/>
        </p:blipFill>
        <p:spPr bwMode="auto">
          <a:xfrm>
            <a:off x="7792767" y="3160931"/>
            <a:ext cx="1341072" cy="1471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图片 13" descr="图片包含 室内, 玩具, 建筑物, 餐桌&#10;&#10;已生成高可信度的说明">
            <a:extLst>
              <a:ext uri="{FF2B5EF4-FFF2-40B4-BE49-F238E27FC236}">
                <a16:creationId xmlns:a16="http://schemas.microsoft.com/office/drawing/2014/main" id="{53C4863E-8055-45A0-A448-96AE62D76BD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490" y="3270492"/>
            <a:ext cx="2087881" cy="1307621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55C0DCF6-2335-4BEF-B05F-6C12ECC54C57}"/>
              </a:ext>
            </a:extLst>
          </p:cNvPr>
          <p:cNvSpPr/>
          <p:nvPr/>
        </p:nvSpPr>
        <p:spPr>
          <a:xfrm>
            <a:off x="1100783" y="4735781"/>
            <a:ext cx="2599288" cy="6463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819221">
              <a:lnSpc>
                <a:spcPct val="150000"/>
              </a:lnSpc>
            </a:pPr>
            <a:r>
              <a:rPr lang="zh-CN" altLang="en-US" sz="1200" b="1" dirty="0">
                <a:cs typeface="+mn-ea"/>
                <a:sym typeface="+mn-lt"/>
              </a:rPr>
              <a:t>快速扩充供件台、格口</a:t>
            </a:r>
            <a:endParaRPr lang="en-US" altLang="zh-CN" sz="1200" b="1" dirty="0">
              <a:cs typeface="+mn-ea"/>
              <a:sym typeface="+mn-lt"/>
            </a:endParaRPr>
          </a:p>
          <a:p>
            <a:pPr algn="ctr" defTabSz="819221">
              <a:lnSpc>
                <a:spcPct val="150000"/>
              </a:lnSpc>
            </a:pPr>
            <a:r>
              <a:rPr lang="zh-CN" altLang="en-US" sz="1200" b="1" dirty="0">
                <a:cs typeface="+mn-ea"/>
                <a:sym typeface="+mn-lt"/>
              </a:rPr>
              <a:t>灵活控制投入的分拣机器人数量</a:t>
            </a:r>
            <a:endParaRPr lang="en-US" altLang="zh-CN" sz="1200" b="1" dirty="0">
              <a:cs typeface="+mn-ea"/>
              <a:sym typeface="+mn-lt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55C0DCF6-2335-4BEF-B05F-6C12ECC54C57}"/>
              </a:ext>
            </a:extLst>
          </p:cNvPr>
          <p:cNvSpPr/>
          <p:nvPr/>
        </p:nvSpPr>
        <p:spPr>
          <a:xfrm>
            <a:off x="3968570" y="4736121"/>
            <a:ext cx="1894737" cy="6463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819221">
              <a:lnSpc>
                <a:spcPct val="150000"/>
              </a:lnSpc>
            </a:pPr>
            <a:r>
              <a:rPr lang="zh-CN" altLang="en-US" sz="1200" b="1" dirty="0">
                <a:cs typeface="+mn-ea"/>
                <a:sym typeface="+mn-lt"/>
              </a:rPr>
              <a:t>移动机器人</a:t>
            </a:r>
            <a:r>
              <a:rPr lang="en-US" altLang="zh-CN" sz="1200" b="1" dirty="0">
                <a:cs typeface="+mn-ea"/>
                <a:sym typeface="+mn-lt"/>
              </a:rPr>
              <a:t>+</a:t>
            </a:r>
            <a:r>
              <a:rPr lang="zh-CN" altLang="en-US" sz="1200" b="1" dirty="0">
                <a:cs typeface="+mn-ea"/>
                <a:sym typeface="+mn-lt"/>
              </a:rPr>
              <a:t>移动货架</a:t>
            </a:r>
            <a:endParaRPr lang="en-US" altLang="zh-CN" sz="1200" b="1" dirty="0">
              <a:cs typeface="+mn-ea"/>
              <a:sym typeface="+mn-lt"/>
            </a:endParaRPr>
          </a:p>
          <a:p>
            <a:pPr algn="ctr" defTabSz="819221">
              <a:lnSpc>
                <a:spcPct val="150000"/>
              </a:lnSpc>
            </a:pPr>
            <a:r>
              <a:rPr lang="zh-CN" altLang="en-US" sz="1200" b="1" dirty="0">
                <a:cs typeface="+mn-ea"/>
                <a:sym typeface="+mn-lt"/>
              </a:rPr>
              <a:t>更加灵活</a:t>
            </a:r>
            <a:endParaRPr lang="en-US" altLang="zh-CN" sz="1200" b="1" dirty="0">
              <a:cs typeface="+mn-ea"/>
              <a:sym typeface="+mn-lt"/>
            </a:endParaRP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133D62BD-A79D-4D0A-B0CC-7A33D0FAE871}"/>
              </a:ext>
            </a:extLst>
          </p:cNvPr>
          <p:cNvPicPr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727"/>
          <a:stretch/>
        </p:blipFill>
        <p:spPr>
          <a:xfrm>
            <a:off x="4088017" y="3235876"/>
            <a:ext cx="1485216" cy="1394463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609756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9C0DC359-D45D-462E-BE87-FA924509F8B4}"/>
              </a:ext>
            </a:extLst>
          </p:cNvPr>
          <p:cNvSpPr txBox="1"/>
          <p:nvPr/>
        </p:nvSpPr>
        <p:spPr>
          <a:xfrm>
            <a:off x="9106376" y="1783979"/>
            <a:ext cx="2639693" cy="474903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endParaRPr lang="zh-CN" altLang="en-US" sz="1900" dirty="0">
              <a:solidFill>
                <a:srgbClr val="C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C0DC359-D45D-462E-BE87-FA924509F8B4}"/>
              </a:ext>
            </a:extLst>
          </p:cNvPr>
          <p:cNvSpPr txBox="1"/>
          <p:nvPr/>
        </p:nvSpPr>
        <p:spPr>
          <a:xfrm>
            <a:off x="6268670" y="1799947"/>
            <a:ext cx="2639695" cy="474903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endParaRPr lang="zh-CN" altLang="en-US" sz="1900" dirty="0">
              <a:solidFill>
                <a:srgbClr val="C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9C0DC359-D45D-462E-BE87-FA924509F8B4}"/>
              </a:ext>
            </a:extLst>
          </p:cNvPr>
          <p:cNvSpPr txBox="1"/>
          <p:nvPr/>
        </p:nvSpPr>
        <p:spPr>
          <a:xfrm>
            <a:off x="9106376" y="2419440"/>
            <a:ext cx="2639693" cy="3115789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endParaRPr lang="zh-CN" altLang="en-US" sz="1900" dirty="0">
              <a:solidFill>
                <a:srgbClr val="C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C0DC359-D45D-462E-BE87-FA924509F8B4}"/>
              </a:ext>
            </a:extLst>
          </p:cNvPr>
          <p:cNvSpPr txBox="1"/>
          <p:nvPr/>
        </p:nvSpPr>
        <p:spPr>
          <a:xfrm>
            <a:off x="643132" y="2419440"/>
            <a:ext cx="2645317" cy="3115789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endParaRPr lang="zh-CN" altLang="en-US" sz="1900" dirty="0">
              <a:solidFill>
                <a:srgbClr val="C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C0DC359-D45D-462E-BE87-FA924509F8B4}"/>
              </a:ext>
            </a:extLst>
          </p:cNvPr>
          <p:cNvSpPr txBox="1"/>
          <p:nvPr/>
        </p:nvSpPr>
        <p:spPr>
          <a:xfrm>
            <a:off x="3428376" y="2419440"/>
            <a:ext cx="2783613" cy="3115789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endParaRPr lang="zh-CN" altLang="en-US" sz="1900" dirty="0">
              <a:solidFill>
                <a:srgbClr val="C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9C0DC359-D45D-462E-BE87-FA924509F8B4}"/>
              </a:ext>
            </a:extLst>
          </p:cNvPr>
          <p:cNvSpPr txBox="1"/>
          <p:nvPr/>
        </p:nvSpPr>
        <p:spPr>
          <a:xfrm>
            <a:off x="6351912" y="2419440"/>
            <a:ext cx="2639693" cy="3115789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endParaRPr lang="zh-CN" altLang="en-US" sz="1900" dirty="0">
              <a:solidFill>
                <a:srgbClr val="C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" name="标题 1">
            <a:extLst>
              <a:ext uri="{FF2B5EF4-FFF2-40B4-BE49-F238E27FC236}">
                <a16:creationId xmlns:a16="http://schemas.microsoft.com/office/drawing/2014/main" id="{A5D054E8-B707-428F-BD4D-162C9B6E3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京</a:t>
            </a: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东物流的无人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驾驶广泛应用于物流</a:t>
            </a: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不同环节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中，创新引领</a:t>
            </a:r>
          </a:p>
        </p:txBody>
      </p:sp>
      <p:sp>
        <p:nvSpPr>
          <p:cNvPr id="25" name="文本占位符 2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6" name="文本占位符 2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D8FDB76B-7EE1-466F-B0D8-BAEF3C63377F}"/>
              </a:ext>
            </a:extLst>
          </p:cNvPr>
          <p:cNvSpPr/>
          <p:nvPr/>
        </p:nvSpPr>
        <p:spPr>
          <a:xfrm>
            <a:off x="1195159" y="1783976"/>
            <a:ext cx="1551069" cy="511901"/>
          </a:xfrm>
          <a:prstGeom prst="rect">
            <a:avLst/>
          </a:prstGeom>
        </p:spPr>
        <p:txBody>
          <a:bodyPr wrap="square" lIns="217384" tIns="108692" rIns="217384" bIns="108692">
            <a:spAutoFit/>
          </a:bodyPr>
          <a:lstStyle/>
          <a:p>
            <a:pPr algn="ctr" defTabSz="2173686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cs typeface="+mn-ea"/>
                <a:sym typeface="+mn-lt"/>
              </a:rPr>
              <a:t>无人货车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948D9F85-8A40-4DB0-900E-F164652CF772}"/>
              </a:ext>
            </a:extLst>
          </p:cNvPr>
          <p:cNvSpPr/>
          <p:nvPr/>
        </p:nvSpPr>
        <p:spPr>
          <a:xfrm>
            <a:off x="1010587" y="4446855"/>
            <a:ext cx="1920213" cy="784828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500" b="1" dirty="0">
                <a:cs typeface="+mn-ea"/>
                <a:sym typeface="+mn-lt"/>
              </a:rPr>
              <a:t>联合多方研发</a:t>
            </a:r>
            <a:endParaRPr lang="en-US" altLang="zh-CN" sz="1500" b="1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500" b="1" dirty="0">
                <a:cs typeface="+mn-ea"/>
                <a:sym typeface="+mn-lt"/>
              </a:rPr>
              <a:t>已在指定路段测试</a:t>
            </a:r>
            <a:endParaRPr lang="en-US" altLang="zh-CN" sz="1500" b="1" dirty="0">
              <a:cs typeface="+mn-ea"/>
              <a:sym typeface="+mn-lt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2B35FADC-AE8A-43BF-9281-DC9CAA5776B2}"/>
              </a:ext>
            </a:extLst>
          </p:cNvPr>
          <p:cNvSpPr/>
          <p:nvPr/>
        </p:nvSpPr>
        <p:spPr>
          <a:xfrm>
            <a:off x="6609449" y="4446855"/>
            <a:ext cx="2081465" cy="784828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500" b="1" dirty="0">
                <a:cs typeface="+mn-ea"/>
                <a:sym typeface="+mn-lt"/>
              </a:rPr>
              <a:t>北京、浙江等</a:t>
            </a:r>
            <a:endParaRPr lang="en-US" altLang="zh-CN" sz="1500" b="1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500" b="1" dirty="0">
                <a:cs typeface="+mn-ea"/>
                <a:sym typeface="+mn-lt"/>
              </a:rPr>
              <a:t>多个高校运营</a:t>
            </a:r>
            <a:endParaRPr lang="en-US" altLang="zh-CN" sz="1500" b="1" dirty="0">
              <a:cs typeface="+mn-ea"/>
              <a:sym typeface="+mn-lt"/>
            </a:endParaRPr>
          </a:p>
        </p:txBody>
      </p:sp>
      <p:pic>
        <p:nvPicPr>
          <p:cNvPr id="12" name="Picture 7" descr="https://timgsa.baidu.com/timg?image&amp;quality=80&amp;size=b9999_10000&amp;sec=1511366146223&amp;di=936e544936213a3fa83c02d756dcb385&amp;imgtype=0&amp;src=http%3A%2F%2F5b0988e595225.cdn.sohucs.com%2Fimages%2F20170619%2Fb3a812d1e0cb44e4808eeb40ce009254.gif">
            <a:extLst>
              <a:ext uri="{FF2B5EF4-FFF2-40B4-BE49-F238E27FC236}">
                <a16:creationId xmlns:a16="http://schemas.microsoft.com/office/drawing/2014/main" id="{446A13DC-8A9F-420F-BE22-7111E4A7E8FF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7271" y="2690259"/>
            <a:ext cx="2422268" cy="151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矩形 12">
            <a:extLst>
              <a:ext uri="{FF2B5EF4-FFF2-40B4-BE49-F238E27FC236}">
                <a16:creationId xmlns:a16="http://schemas.microsoft.com/office/drawing/2014/main" id="{D6DE37F7-0D48-4548-AC7F-8C42BD26D507}"/>
              </a:ext>
            </a:extLst>
          </p:cNvPr>
          <p:cNvSpPr/>
          <p:nvPr/>
        </p:nvSpPr>
        <p:spPr>
          <a:xfrm>
            <a:off x="3883924" y="4446857"/>
            <a:ext cx="1920213" cy="784828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500" b="1" dirty="0">
                <a:cs typeface="+mn-ea"/>
                <a:sym typeface="+mn-lt"/>
              </a:rPr>
              <a:t>全球首个全流程</a:t>
            </a:r>
            <a:endParaRPr lang="en-US" altLang="zh-CN" sz="1500" b="1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500" b="1" dirty="0">
                <a:cs typeface="+mn-ea"/>
                <a:sym typeface="+mn-lt"/>
              </a:rPr>
              <a:t>智慧化无人机机场</a:t>
            </a:r>
            <a:endParaRPr lang="en-US" altLang="zh-CN" sz="1500" b="1" dirty="0">
              <a:cs typeface="+mn-ea"/>
              <a:sym typeface="+mn-lt"/>
            </a:endParaRPr>
          </a:p>
        </p:txBody>
      </p:sp>
      <p:pic>
        <p:nvPicPr>
          <p:cNvPr id="14" name="Picture 4" descr="C:\Users\lirui10\Pictures\微信图片_20170929153137.gif">
            <a:extLst>
              <a:ext uri="{FF2B5EF4-FFF2-40B4-BE49-F238E27FC236}">
                <a16:creationId xmlns:a16="http://schemas.microsoft.com/office/drawing/2014/main" id="{058490EF-9BE1-40A9-8783-41E275B91672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559" y="2690259"/>
            <a:ext cx="2422268" cy="151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https://timgsa.baidu.com/timg?image&amp;quality=80&amp;size=b9999_10000&amp;sec=1511366020708&amp;di=f29166a74b82d5bea8b00722760d53a5&amp;imgtype=0&amp;src=http%3A%2F%2Fn1.itc.cn%2Fimg8%2Fwb%2Frecom%2F2016%2F11%2F14%2F147910743447058893.GIF">
            <a:extLst>
              <a:ext uri="{FF2B5EF4-FFF2-40B4-BE49-F238E27FC236}">
                <a16:creationId xmlns:a16="http://schemas.microsoft.com/office/drawing/2014/main" id="{B1E9076A-853F-4A8C-9486-31A0FB83607B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9877" y="2690259"/>
            <a:ext cx="2608307" cy="151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矩形 15">
            <a:extLst>
              <a:ext uri="{FF2B5EF4-FFF2-40B4-BE49-F238E27FC236}">
                <a16:creationId xmlns:a16="http://schemas.microsoft.com/office/drawing/2014/main" id="{25897B21-60D6-4CB4-9EE0-D3DC0DD2470C}"/>
              </a:ext>
            </a:extLst>
          </p:cNvPr>
          <p:cNvSpPr/>
          <p:nvPr/>
        </p:nvSpPr>
        <p:spPr>
          <a:xfrm>
            <a:off x="4068496" y="1783976"/>
            <a:ext cx="1551069" cy="511901"/>
          </a:xfrm>
          <a:prstGeom prst="rect">
            <a:avLst/>
          </a:prstGeom>
        </p:spPr>
        <p:txBody>
          <a:bodyPr wrap="square" lIns="217384" tIns="108692" rIns="217384" bIns="108692">
            <a:spAutoFit/>
          </a:bodyPr>
          <a:lstStyle/>
          <a:p>
            <a:pPr algn="ctr" defTabSz="2173686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cs typeface="+mn-ea"/>
                <a:sym typeface="+mn-lt"/>
              </a:rPr>
              <a:t>无人机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02B44651-2C16-4B25-A4CB-5D392A7D4492}"/>
              </a:ext>
            </a:extLst>
          </p:cNvPr>
          <p:cNvSpPr/>
          <p:nvPr/>
        </p:nvSpPr>
        <p:spPr>
          <a:xfrm>
            <a:off x="6674687" y="1783976"/>
            <a:ext cx="2016224" cy="511901"/>
          </a:xfrm>
          <a:prstGeom prst="rect">
            <a:avLst/>
          </a:prstGeom>
        </p:spPr>
        <p:txBody>
          <a:bodyPr wrap="square" lIns="217384" tIns="108692" rIns="217384" bIns="108692">
            <a:spAutoFit/>
          </a:bodyPr>
          <a:lstStyle/>
          <a:p>
            <a:pPr algn="ctr" defTabSz="2173686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cs typeface="+mn-ea"/>
                <a:sym typeface="+mn-lt"/>
              </a:rPr>
              <a:t>配送机器人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03F84018-A663-478C-B332-5251679F381F}"/>
              </a:ext>
            </a:extLst>
          </p:cNvPr>
          <p:cNvSpPr/>
          <p:nvPr/>
        </p:nvSpPr>
        <p:spPr>
          <a:xfrm>
            <a:off x="9280280" y="1783976"/>
            <a:ext cx="2352000" cy="511901"/>
          </a:xfrm>
          <a:prstGeom prst="rect">
            <a:avLst/>
          </a:prstGeom>
        </p:spPr>
        <p:txBody>
          <a:bodyPr wrap="square" lIns="217384" tIns="108692" rIns="217384" bIns="108692">
            <a:spAutoFit/>
          </a:bodyPr>
          <a:lstStyle/>
          <a:p>
            <a:pPr algn="ctr" defTabSz="2173686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cs typeface="+mn-ea"/>
                <a:sym typeface="+mn-lt"/>
              </a:rPr>
              <a:t>无人配送站</a:t>
            </a:r>
            <a:endParaRPr lang="en-US" altLang="zh-CN" b="1" dirty="0">
              <a:cs typeface="+mn-ea"/>
              <a:sym typeface="+mn-lt"/>
            </a:endParaRPr>
          </a:p>
        </p:txBody>
      </p:sp>
      <p:pic>
        <p:nvPicPr>
          <p:cNvPr id="19" name="图片 18" descr="图片包含 天空, 地面, 户外, 红色&#10;&#10;已生成极高可信度的说明">
            <a:extLst>
              <a:ext uri="{FF2B5EF4-FFF2-40B4-BE49-F238E27FC236}">
                <a16:creationId xmlns:a16="http://schemas.microsoft.com/office/drawing/2014/main" id="{FBDD9E6F-5A7D-4C7C-AC21-64DA2FD69E4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8817" y="2690259"/>
            <a:ext cx="2394811" cy="151635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20" name="矩形 19">
            <a:extLst>
              <a:ext uri="{FF2B5EF4-FFF2-40B4-BE49-F238E27FC236}">
                <a16:creationId xmlns:a16="http://schemas.microsoft.com/office/drawing/2014/main" id="{7DDDE080-1478-450D-97CD-9D59B83D7C04}"/>
              </a:ext>
            </a:extLst>
          </p:cNvPr>
          <p:cNvSpPr/>
          <p:nvPr/>
        </p:nvSpPr>
        <p:spPr>
          <a:xfrm>
            <a:off x="9450305" y="4616135"/>
            <a:ext cx="2011955" cy="438580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500" b="1" dirty="0">
                <a:cs typeface="+mn-ea"/>
                <a:sym typeface="+mn-lt"/>
              </a:rPr>
              <a:t>全球首个无人配送站</a:t>
            </a:r>
            <a:endParaRPr lang="en-US" altLang="zh-CN" sz="1500" b="1" dirty="0">
              <a:cs typeface="+mn-ea"/>
              <a:sym typeface="+mn-lt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9C0DC359-D45D-462E-BE87-FA924509F8B4}"/>
              </a:ext>
            </a:extLst>
          </p:cNvPr>
          <p:cNvSpPr txBox="1"/>
          <p:nvPr/>
        </p:nvSpPr>
        <p:spPr>
          <a:xfrm>
            <a:off x="642831" y="1783979"/>
            <a:ext cx="2645317" cy="474903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endParaRPr lang="zh-CN" altLang="en-US" sz="1900" dirty="0">
              <a:solidFill>
                <a:srgbClr val="C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9C0DC359-D45D-462E-BE87-FA924509F8B4}"/>
              </a:ext>
            </a:extLst>
          </p:cNvPr>
          <p:cNvSpPr txBox="1"/>
          <p:nvPr/>
        </p:nvSpPr>
        <p:spPr>
          <a:xfrm>
            <a:off x="3419392" y="1783979"/>
            <a:ext cx="2792597" cy="474903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endParaRPr lang="zh-CN" altLang="en-US" sz="1900" dirty="0">
              <a:solidFill>
                <a:srgbClr val="C00000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406484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596" y="2616739"/>
            <a:ext cx="12191405" cy="969408"/>
          </a:xfrm>
          <a:prstGeom prst="rect">
            <a:avLst/>
          </a:prstGeom>
          <a:solidFill>
            <a:srgbClr val="DB3D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4" rIns="91424" bIns="45714"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17"/>
          <p:cNvSpPr txBox="1"/>
          <p:nvPr/>
        </p:nvSpPr>
        <p:spPr>
          <a:xfrm>
            <a:off x="2897816" y="2809062"/>
            <a:ext cx="5392719" cy="584775"/>
          </a:xfrm>
          <a:prstGeom prst="rect">
            <a:avLst/>
          </a:prstGeom>
          <a:noFill/>
        </p:spPr>
        <p:txBody>
          <a:bodyPr wrap="square" lIns="91424" tIns="45714" rIns="91424" bIns="45714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物流产业概述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845585" y="2314317"/>
            <a:ext cx="1585851" cy="1586243"/>
            <a:chOff x="1041891" y="2887277"/>
            <a:chExt cx="1036261" cy="1036518"/>
          </a:xfrm>
          <a:solidFill>
            <a:srgbClr val="DB3D33"/>
          </a:solidFill>
        </p:grpSpPr>
        <p:sp>
          <p:nvSpPr>
            <p:cNvPr id="10" name="Oval 53"/>
            <p:cNvSpPr>
              <a:spLocks noChangeArrowheads="1"/>
            </p:cNvSpPr>
            <p:nvPr/>
          </p:nvSpPr>
          <p:spPr bwMode="auto">
            <a:xfrm>
              <a:off x="1041891" y="2887277"/>
              <a:ext cx="1036261" cy="1036518"/>
            </a:xfrm>
            <a:prstGeom prst="ellipse">
              <a:avLst/>
            </a:prstGeom>
            <a:grpFill/>
            <a:ln w="88900">
              <a:gradFill flip="none" rotWithShape="1">
                <a:gsLst>
                  <a:gs pos="0">
                    <a:srgbClr val="FFFFFF"/>
                  </a:gs>
                  <a:gs pos="100000">
                    <a:srgbClr val="D9D9DA"/>
                  </a:gs>
                </a:gsLst>
                <a:lin ang="2700000" scaled="0"/>
                <a:tileRect/>
              </a:gradFill>
            </a:ln>
            <a:effectLst>
              <a:outerShdw blurRad="279400" dist="76200" dir="2700000" sx="101000" sy="101000" algn="tl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1" tIns="34286" rIns="68571" bIns="34286" anchor="ctr"/>
            <a:lstStyle/>
            <a:p>
              <a:pPr algn="ctr">
                <a:defRPr/>
              </a:pPr>
              <a:endParaRPr lang="zh-CN" altLang="en-US" sz="440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1" name="Text Box 58"/>
            <p:cNvSpPr txBox="1">
              <a:spLocks noChangeArrowheads="1"/>
            </p:cNvSpPr>
            <p:nvPr/>
          </p:nvSpPr>
          <p:spPr bwMode="auto">
            <a:xfrm>
              <a:off x="1159958" y="3077737"/>
              <a:ext cx="782803" cy="7307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68571" tIns="34286" rIns="68571" bIns="34286">
              <a:spAutoFit/>
            </a:bodyPr>
            <a:lstStyle/>
            <a:p>
              <a:pPr algn="ctr"/>
              <a:r>
                <a:rPr lang="en-US" altLang="zh-CN" sz="6700" dirty="0">
                  <a:solidFill>
                    <a:schemeClr val="bg1"/>
                  </a:solidFill>
                  <a:latin typeface="Impact" panose="020B0806030902050204" pitchFamily="34" charset="0"/>
                  <a:ea typeface="微软雅黑" panose="020B0503020204020204" charset="-122"/>
                </a:rPr>
                <a:t>0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8935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京东物流的数字化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仓储运营，提升运营效率</a:t>
            </a:r>
          </a:p>
        </p:txBody>
      </p:sp>
      <p:sp>
        <p:nvSpPr>
          <p:cNvPr id="30" name="文本占位符 2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1" name="文本占位符 3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231E65F0-8EE8-4357-884D-8AC9B7342B29}"/>
              </a:ext>
            </a:extLst>
          </p:cNvPr>
          <p:cNvCxnSpPr>
            <a:cxnSpLocks/>
          </p:cNvCxnSpPr>
          <p:nvPr/>
        </p:nvCxnSpPr>
        <p:spPr>
          <a:xfrm>
            <a:off x="1201003" y="3813612"/>
            <a:ext cx="10382527" cy="13568"/>
          </a:xfrm>
          <a:prstGeom prst="line">
            <a:avLst/>
          </a:prstGeom>
          <a:ln w="3175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椭圆 3">
            <a:extLst>
              <a:ext uri="{FF2B5EF4-FFF2-40B4-BE49-F238E27FC236}">
                <a16:creationId xmlns:a16="http://schemas.microsoft.com/office/drawing/2014/main" id="{4A52E87B-49EB-4BD3-A878-F05B53BA4721}"/>
              </a:ext>
            </a:extLst>
          </p:cNvPr>
          <p:cNvSpPr/>
          <p:nvPr/>
        </p:nvSpPr>
        <p:spPr>
          <a:xfrm>
            <a:off x="2813608" y="3721444"/>
            <a:ext cx="211477" cy="211477"/>
          </a:xfrm>
          <a:prstGeom prst="ellipse">
            <a:avLst/>
          </a:prstGeom>
          <a:solidFill>
            <a:schemeClr val="bg1"/>
          </a:solidFill>
          <a:ln w="19050" cmpd="dbl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endParaRPr lang="zh-CN" altLang="en-US" sz="16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177DE7A-ACE4-45A3-8E55-AD818007FAC3}"/>
              </a:ext>
            </a:extLst>
          </p:cNvPr>
          <p:cNvSpPr/>
          <p:nvPr/>
        </p:nvSpPr>
        <p:spPr>
          <a:xfrm>
            <a:off x="2022557" y="1784063"/>
            <a:ext cx="1793585" cy="1550400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sz="1600" b="1" dirty="0">
                <a:solidFill>
                  <a:schemeClr val="tx1"/>
                </a:solidFill>
                <a:cs typeface="+mn-ea"/>
                <a:sym typeface="+mn-lt"/>
              </a:rPr>
              <a:t>手工组单模式</a:t>
            </a:r>
            <a:endParaRPr lang="en-US" altLang="zh-CN" sz="1600" b="1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 defTabSz="819221"/>
            <a:endParaRPr lang="en-US" altLang="zh-CN" sz="1600" b="1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 defTabSz="819221"/>
            <a:r>
              <a:rPr lang="zh-CN" altLang="en-US" sz="1200" dirty="0">
                <a:solidFill>
                  <a:schemeClr val="tx1"/>
                </a:solidFill>
                <a:cs typeface="+mn-ea"/>
                <a:sym typeface="+mn-lt"/>
              </a:rPr>
              <a:t>人工在订单池内筛选后，生成拣货的集单批次</a:t>
            </a:r>
            <a:endParaRPr lang="en-US" altLang="zh-CN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" name="矩形: 圆角 19">
            <a:extLst>
              <a:ext uri="{FF2B5EF4-FFF2-40B4-BE49-F238E27FC236}">
                <a16:creationId xmlns:a16="http://schemas.microsoft.com/office/drawing/2014/main" id="{C28F5692-91F9-4D47-BB7C-9F9255277F45}"/>
              </a:ext>
            </a:extLst>
          </p:cNvPr>
          <p:cNvSpPr/>
          <p:nvPr/>
        </p:nvSpPr>
        <p:spPr>
          <a:xfrm>
            <a:off x="2206677" y="3957273"/>
            <a:ext cx="1425339" cy="500763"/>
          </a:xfrm>
          <a:prstGeom prst="round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1.0</a:t>
            </a:r>
            <a:endParaRPr lang="zh-CN" altLang="en-US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FD6477C-E164-41B8-A9A0-D533938E47E8}"/>
              </a:ext>
            </a:extLst>
          </p:cNvPr>
          <p:cNvCxnSpPr>
            <a:cxnSpLocks/>
            <a:endCxn id="5" idx="2"/>
          </p:cNvCxnSpPr>
          <p:nvPr/>
        </p:nvCxnSpPr>
        <p:spPr>
          <a:xfrm flipV="1">
            <a:off x="2916207" y="3334463"/>
            <a:ext cx="3143" cy="371144"/>
          </a:xfrm>
          <a:prstGeom prst="line">
            <a:avLst/>
          </a:prstGeom>
          <a:ln w="317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椭圆 7">
            <a:extLst>
              <a:ext uri="{FF2B5EF4-FFF2-40B4-BE49-F238E27FC236}">
                <a16:creationId xmlns:a16="http://schemas.microsoft.com/office/drawing/2014/main" id="{FB5D0B1E-AACD-4ADC-A238-DE58DED7AC1F}"/>
              </a:ext>
            </a:extLst>
          </p:cNvPr>
          <p:cNvSpPr/>
          <p:nvPr/>
        </p:nvSpPr>
        <p:spPr>
          <a:xfrm>
            <a:off x="5239128" y="3721440"/>
            <a:ext cx="211477" cy="211477"/>
          </a:xfrm>
          <a:prstGeom prst="ellipse">
            <a:avLst/>
          </a:prstGeom>
          <a:solidFill>
            <a:schemeClr val="bg1"/>
          </a:solidFill>
          <a:ln w="19050" cmpd="dbl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endParaRPr lang="zh-CN" altLang="en-US" sz="16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矩形: 圆角 23">
            <a:extLst>
              <a:ext uri="{FF2B5EF4-FFF2-40B4-BE49-F238E27FC236}">
                <a16:creationId xmlns:a16="http://schemas.microsoft.com/office/drawing/2014/main" id="{60A4EF5C-9105-4E6C-8D39-9D66F44716CF}"/>
              </a:ext>
            </a:extLst>
          </p:cNvPr>
          <p:cNvSpPr/>
          <p:nvPr/>
        </p:nvSpPr>
        <p:spPr>
          <a:xfrm>
            <a:off x="4632196" y="3220677"/>
            <a:ext cx="1425339" cy="500763"/>
          </a:xfrm>
          <a:prstGeom prst="round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2.0</a:t>
            </a:r>
            <a:endParaRPr lang="zh-CN" altLang="en-US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DE55B95A-4F86-4DDE-9D49-98368DB72BAD}"/>
              </a:ext>
            </a:extLst>
          </p:cNvPr>
          <p:cNvSpPr/>
          <p:nvPr/>
        </p:nvSpPr>
        <p:spPr>
          <a:xfrm>
            <a:off x="4419402" y="4314537"/>
            <a:ext cx="1830849" cy="1551217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sz="1600" b="1" dirty="0">
                <a:solidFill>
                  <a:schemeClr val="tx1"/>
                </a:solidFill>
                <a:cs typeface="+mn-ea"/>
                <a:sym typeface="+mn-lt"/>
              </a:rPr>
              <a:t>自动选单</a:t>
            </a:r>
            <a:endParaRPr lang="en-US" altLang="zh-CN" sz="1600" b="1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 defTabSz="819221"/>
            <a:endParaRPr lang="en-US" altLang="zh-CN" sz="1600" b="1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 defTabSz="819221"/>
            <a:r>
              <a:rPr lang="zh-CN" altLang="en-US" sz="1200" dirty="0">
                <a:solidFill>
                  <a:schemeClr val="tx1"/>
                </a:solidFill>
                <a:cs typeface="+mn-ea"/>
                <a:sym typeface="+mn-lt"/>
              </a:rPr>
              <a:t>划分多个波次群，使用贪心算法计算最短拣货路径</a:t>
            </a:r>
            <a:endParaRPr lang="en-US" altLang="zh-CN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091DC18F-0EFC-4A71-8283-AF73A1C31BE3}"/>
              </a:ext>
            </a:extLst>
          </p:cNvPr>
          <p:cNvCxnSpPr>
            <a:cxnSpLocks/>
            <a:stCxn id="10" idx="0"/>
            <a:endCxn id="8" idx="4"/>
          </p:cNvCxnSpPr>
          <p:nvPr/>
        </p:nvCxnSpPr>
        <p:spPr>
          <a:xfrm flipV="1">
            <a:off x="5334826" y="3932917"/>
            <a:ext cx="10041" cy="381616"/>
          </a:xfrm>
          <a:prstGeom prst="line">
            <a:avLst/>
          </a:prstGeom>
          <a:ln w="317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椭圆 11">
            <a:extLst>
              <a:ext uri="{FF2B5EF4-FFF2-40B4-BE49-F238E27FC236}">
                <a16:creationId xmlns:a16="http://schemas.microsoft.com/office/drawing/2014/main" id="{055140BD-A07A-4001-B05D-932B8A484576}"/>
              </a:ext>
            </a:extLst>
          </p:cNvPr>
          <p:cNvSpPr/>
          <p:nvPr/>
        </p:nvSpPr>
        <p:spPr>
          <a:xfrm>
            <a:off x="7664647" y="3721440"/>
            <a:ext cx="211477" cy="211477"/>
          </a:xfrm>
          <a:prstGeom prst="ellipse">
            <a:avLst/>
          </a:prstGeom>
          <a:solidFill>
            <a:schemeClr val="bg1"/>
          </a:solidFill>
          <a:ln w="19050" cmpd="dbl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endParaRPr lang="zh-CN" altLang="en-US" sz="16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4FCCB1B5-9177-4183-AD40-ECB41339EA4C}"/>
              </a:ext>
            </a:extLst>
          </p:cNvPr>
          <p:cNvSpPr/>
          <p:nvPr/>
        </p:nvSpPr>
        <p:spPr>
          <a:xfrm>
            <a:off x="10090163" y="3721440"/>
            <a:ext cx="211477" cy="211477"/>
          </a:xfrm>
          <a:prstGeom prst="ellipse">
            <a:avLst/>
          </a:prstGeom>
          <a:solidFill>
            <a:schemeClr val="bg1"/>
          </a:solidFill>
          <a:ln w="19050" cmpd="dbl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endParaRPr lang="zh-CN" altLang="en-US" sz="16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4" name="矩形: 圆角 28">
            <a:extLst>
              <a:ext uri="{FF2B5EF4-FFF2-40B4-BE49-F238E27FC236}">
                <a16:creationId xmlns:a16="http://schemas.microsoft.com/office/drawing/2014/main" id="{446D1531-26F6-4CC3-BFD0-4432EBF26BA6}"/>
              </a:ext>
            </a:extLst>
          </p:cNvPr>
          <p:cNvSpPr/>
          <p:nvPr/>
        </p:nvSpPr>
        <p:spPr>
          <a:xfrm>
            <a:off x="7077741" y="3953529"/>
            <a:ext cx="1425339" cy="500763"/>
          </a:xfrm>
          <a:prstGeom prst="round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3.0</a:t>
            </a:r>
            <a:endParaRPr lang="zh-CN" altLang="en-US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5" name="矩形: 圆角 29">
            <a:extLst>
              <a:ext uri="{FF2B5EF4-FFF2-40B4-BE49-F238E27FC236}">
                <a16:creationId xmlns:a16="http://schemas.microsoft.com/office/drawing/2014/main" id="{93665825-5739-49FE-9A30-0DF56AEE1865}"/>
              </a:ext>
            </a:extLst>
          </p:cNvPr>
          <p:cNvSpPr/>
          <p:nvPr/>
        </p:nvSpPr>
        <p:spPr>
          <a:xfrm>
            <a:off x="9483232" y="3220677"/>
            <a:ext cx="1425339" cy="500763"/>
          </a:xfrm>
          <a:prstGeom prst="round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4.0</a:t>
            </a:r>
            <a:endParaRPr lang="zh-CN" altLang="en-US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4C23F53B-51B1-485D-ADFC-988A2253CED4}"/>
              </a:ext>
            </a:extLst>
          </p:cNvPr>
          <p:cNvSpPr/>
          <p:nvPr/>
        </p:nvSpPr>
        <p:spPr>
          <a:xfrm>
            <a:off x="6874618" y="1794337"/>
            <a:ext cx="1793585" cy="1550400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sz="1600" b="1" dirty="0">
                <a:solidFill>
                  <a:schemeClr val="tx1"/>
                </a:solidFill>
                <a:cs typeface="+mn-ea"/>
                <a:sym typeface="+mn-lt"/>
              </a:rPr>
              <a:t>自动排序优化</a:t>
            </a:r>
            <a:endParaRPr lang="en-US" altLang="zh-CN" sz="1600" b="1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 defTabSz="819221"/>
            <a:endParaRPr lang="en-US" altLang="zh-CN" sz="1600" b="1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 defTabSz="819221"/>
            <a:r>
              <a:rPr lang="zh-CN" altLang="en-US" sz="1200" dirty="0">
                <a:solidFill>
                  <a:schemeClr val="tx1"/>
                </a:solidFill>
                <a:cs typeface="+mn-ea"/>
                <a:sym typeface="+mn-lt"/>
              </a:rPr>
              <a:t>通过储位坐标及通道线边信息，使用</a:t>
            </a:r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ACO</a:t>
            </a:r>
            <a:r>
              <a:rPr lang="zh-CN" altLang="en-US" sz="1200" dirty="0">
                <a:solidFill>
                  <a:schemeClr val="tx1"/>
                </a:solidFill>
                <a:cs typeface="+mn-ea"/>
                <a:sym typeface="+mn-lt"/>
              </a:rPr>
              <a:t>算法优化行走轨迹</a:t>
            </a:r>
            <a:endParaRPr lang="en-US" altLang="zh-CN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2D1AD696-C608-45B0-BD20-11AB8B293A45}"/>
              </a:ext>
            </a:extLst>
          </p:cNvPr>
          <p:cNvCxnSpPr>
            <a:cxnSpLocks/>
            <a:endCxn id="16" idx="2"/>
          </p:cNvCxnSpPr>
          <p:nvPr/>
        </p:nvCxnSpPr>
        <p:spPr>
          <a:xfrm flipV="1">
            <a:off x="7768263" y="3344737"/>
            <a:ext cx="3144" cy="371144"/>
          </a:xfrm>
          <a:prstGeom prst="line">
            <a:avLst/>
          </a:prstGeom>
          <a:ln w="317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>
            <a:extLst>
              <a:ext uri="{FF2B5EF4-FFF2-40B4-BE49-F238E27FC236}">
                <a16:creationId xmlns:a16="http://schemas.microsoft.com/office/drawing/2014/main" id="{D66DD846-7A72-4B56-B600-0A81C5EB9482}"/>
              </a:ext>
            </a:extLst>
          </p:cNvPr>
          <p:cNvSpPr/>
          <p:nvPr/>
        </p:nvSpPr>
        <p:spPr>
          <a:xfrm>
            <a:off x="9299109" y="4344069"/>
            <a:ext cx="1793585" cy="1551217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sng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sz="1600" b="1" dirty="0">
                <a:solidFill>
                  <a:schemeClr val="tx1"/>
                </a:solidFill>
                <a:cs typeface="+mn-ea"/>
                <a:sym typeface="+mn-lt"/>
              </a:rPr>
              <a:t>无人仓</a:t>
            </a:r>
            <a:endParaRPr lang="en-US" altLang="zh-CN" sz="1600" b="1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 defTabSz="819221"/>
            <a:endParaRPr lang="en-US" altLang="zh-CN" sz="1600" b="1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 defTabSz="819221"/>
            <a:r>
              <a:rPr lang="zh-CN" altLang="en-US" sz="1200" dirty="0">
                <a:solidFill>
                  <a:schemeClr val="tx1"/>
                </a:solidFill>
                <a:cs typeface="+mn-ea"/>
                <a:sym typeface="+mn-lt"/>
              </a:rPr>
              <a:t>通过销售预测、在库库存分布，以及机器人信息，全要素优化</a:t>
            </a:r>
            <a:endParaRPr lang="en-US" altLang="zh-CN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3916EEFC-9D6D-48F5-ACED-35A71D4DBE23}"/>
              </a:ext>
            </a:extLst>
          </p:cNvPr>
          <p:cNvCxnSpPr>
            <a:cxnSpLocks/>
            <a:stCxn id="18" idx="0"/>
            <a:endCxn id="13" idx="4"/>
          </p:cNvCxnSpPr>
          <p:nvPr/>
        </p:nvCxnSpPr>
        <p:spPr>
          <a:xfrm flipV="1">
            <a:off x="10195899" y="3932916"/>
            <a:ext cx="0" cy="411149"/>
          </a:xfrm>
          <a:prstGeom prst="line">
            <a:avLst/>
          </a:prstGeom>
          <a:ln w="31750"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Chart 13">
            <a:extLst>
              <a:ext uri="{FF2B5EF4-FFF2-40B4-BE49-F238E27FC236}">
                <a16:creationId xmlns:a16="http://schemas.microsoft.com/office/drawing/2014/main" id="{97CB111C-8D58-4BFF-A519-97C70E4900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5638839"/>
              </p:ext>
            </p:extLst>
          </p:nvPr>
        </p:nvGraphicFramePr>
        <p:xfrm>
          <a:off x="1912540" y="4245647"/>
          <a:ext cx="1965709" cy="1649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1" name="图片 20">
            <a:extLst>
              <a:ext uri="{FF2B5EF4-FFF2-40B4-BE49-F238E27FC236}">
                <a16:creationId xmlns:a16="http://schemas.microsoft.com/office/drawing/2014/main" id="{0B3DD551-B9B7-4703-AC7D-04C1C16544C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19402" y="1794341"/>
            <a:ext cx="1830849" cy="1454793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828CAEF8-0C66-4658-95C0-EC28DFDB4ACF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23643" y="4464625"/>
            <a:ext cx="2102071" cy="1430659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C78F875F-554F-457A-A838-05A68AE6327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4552" t="4557" r="11631" b="20882"/>
          <a:stretch/>
        </p:blipFill>
        <p:spPr>
          <a:xfrm>
            <a:off x="9390312" y="2000179"/>
            <a:ext cx="1702381" cy="12763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extLst>
            <a:ext uri="{91240B29-F687-4F45-9708-019B960494DF}">
              <a14:hiddenLine xmlns:a14="http://schemas.microsoft.com/office/drawing/2010/main" w="88900" cap="sq">
                <a:solidFill>
                  <a:srgbClr val="FFFFFF"/>
                </a:solidFill>
                <a:miter lim="800000"/>
              </a14:hiddenLine>
            </a:ext>
          </a:extLst>
        </p:spPr>
      </p:pic>
      <p:grpSp>
        <p:nvGrpSpPr>
          <p:cNvPr id="24" name="组合 23">
            <a:extLst>
              <a:ext uri="{FF2B5EF4-FFF2-40B4-BE49-F238E27FC236}">
                <a16:creationId xmlns:a16="http://schemas.microsoft.com/office/drawing/2014/main" id="{FBE119DB-47D6-432E-A083-8C5CE192F4B8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679523" y="1173227"/>
            <a:ext cx="1899188" cy="493951"/>
            <a:chOff x="7231177" y="1498600"/>
            <a:chExt cx="973023" cy="266244"/>
          </a:xfrm>
        </p:grpSpPr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0B2D4C25-244F-4627-91D6-06B01B8BDED1}"/>
                </a:ext>
              </a:extLst>
            </p:cNvPr>
            <p:cNvSpPr txBox="1"/>
            <p:nvPr/>
          </p:nvSpPr>
          <p:spPr>
            <a:xfrm>
              <a:off x="7231177" y="1552924"/>
              <a:ext cx="973023" cy="15760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 defTabSz="1612637">
                <a:defRPr/>
              </a:pPr>
              <a:r>
                <a:rPr lang="zh-CN" altLang="en-US" b="1" kern="0" dirty="0">
                  <a:cs typeface="+mn-ea"/>
                  <a:sym typeface="+mn-lt"/>
                </a:rPr>
                <a:t>以拣货路径为例</a:t>
              </a:r>
            </a:p>
          </p:txBody>
        </p:sp>
        <p:cxnSp>
          <p:nvCxnSpPr>
            <p:cNvPr id="26" name="直接连接符 25">
              <a:extLst>
                <a:ext uri="{FF2B5EF4-FFF2-40B4-BE49-F238E27FC236}">
                  <a16:creationId xmlns:a16="http://schemas.microsoft.com/office/drawing/2014/main" id="{5E0A78D0-FF63-435F-AC7E-5BBA582835DD}"/>
                </a:ext>
              </a:extLst>
            </p:cNvPr>
            <p:cNvCxnSpPr/>
            <p:nvPr/>
          </p:nvCxnSpPr>
          <p:spPr>
            <a:xfrm>
              <a:off x="7231177" y="1498600"/>
              <a:ext cx="973023" cy="0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headEnd type="none"/>
              <a:tailEnd type="none"/>
            </a:ln>
            <a:effectLst/>
          </p:spPr>
        </p:cxnSp>
        <p:cxnSp>
          <p:nvCxnSpPr>
            <p:cNvPr id="27" name="直接连接符 26">
              <a:extLst>
                <a:ext uri="{FF2B5EF4-FFF2-40B4-BE49-F238E27FC236}">
                  <a16:creationId xmlns:a16="http://schemas.microsoft.com/office/drawing/2014/main" id="{792ECB06-CA83-4273-8C22-E5CFC14F7148}"/>
                </a:ext>
              </a:extLst>
            </p:cNvPr>
            <p:cNvCxnSpPr/>
            <p:nvPr/>
          </p:nvCxnSpPr>
          <p:spPr>
            <a:xfrm>
              <a:off x="7231177" y="1764844"/>
              <a:ext cx="973023" cy="0"/>
            </a:xfrm>
            <a:prstGeom prst="line">
              <a:avLst/>
            </a:prstGeom>
            <a:noFill/>
            <a:ln w="12700" cap="flat" cmpd="sng" algn="ctr">
              <a:solidFill>
                <a:srgbClr val="FF0000"/>
              </a:solidFill>
              <a:prstDash val="solid"/>
              <a:miter lim="800000"/>
              <a:headEnd type="none"/>
              <a:tailEnd type="non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427757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京东物流使用大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数据人工智能，提升决策效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8586AD82-4C61-4042-A72B-8ADE85CAB2E8}"/>
              </a:ext>
            </a:extLst>
          </p:cNvPr>
          <p:cNvSpPr/>
          <p:nvPr/>
        </p:nvSpPr>
        <p:spPr>
          <a:xfrm>
            <a:off x="1619557" y="1962265"/>
            <a:ext cx="3620891" cy="421901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dbl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b="1" dirty="0">
                <a:solidFill>
                  <a:srgbClr val="C00000"/>
                </a:solidFill>
                <a:cs typeface="+mn-ea"/>
                <a:sym typeface="+mn-lt"/>
              </a:rPr>
              <a:t>配送路区规划</a:t>
            </a:r>
            <a:endParaRPr lang="en-US" altLang="zh-CN" b="1" dirty="0">
              <a:solidFill>
                <a:srgbClr val="C00000"/>
              </a:solidFill>
              <a:cs typeface="+mn-ea"/>
              <a:sym typeface="+mn-lt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ACE1C63-0446-46DC-8D49-2BAE3264E926}"/>
              </a:ext>
            </a:extLst>
          </p:cNvPr>
          <p:cNvSpPr/>
          <p:nvPr/>
        </p:nvSpPr>
        <p:spPr>
          <a:xfrm>
            <a:off x="7248537" y="1962265"/>
            <a:ext cx="3620891" cy="421901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dbl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b="1" dirty="0">
                <a:solidFill>
                  <a:srgbClr val="C00000"/>
                </a:solidFill>
                <a:cs typeface="+mn-ea"/>
                <a:sym typeface="+mn-lt"/>
              </a:rPr>
              <a:t>配送路径规划</a:t>
            </a:r>
            <a:endParaRPr lang="en-US" altLang="zh-CN" b="1" dirty="0">
              <a:solidFill>
                <a:srgbClr val="C00000"/>
              </a:solidFill>
              <a:cs typeface="+mn-ea"/>
              <a:sym typeface="+mn-lt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02900A6A-E4D8-4E15-9A90-434A9F6CC1C3}"/>
              </a:ext>
            </a:extLst>
          </p:cNvPr>
          <p:cNvSpPr/>
          <p:nvPr/>
        </p:nvSpPr>
        <p:spPr>
          <a:xfrm>
            <a:off x="6756381" y="2717258"/>
            <a:ext cx="1257723" cy="341364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sz="1200" b="1" dirty="0">
                <a:solidFill>
                  <a:schemeClr val="tx1"/>
                </a:solidFill>
                <a:cs typeface="+mn-ea"/>
                <a:sym typeface="+mn-lt"/>
              </a:rPr>
              <a:t>配送习惯挖掘</a:t>
            </a:r>
            <a:endParaRPr lang="en-US" altLang="zh-CN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DD040EC2-BD3B-4314-BA80-FCA0A331D966}"/>
              </a:ext>
            </a:extLst>
          </p:cNvPr>
          <p:cNvSpPr/>
          <p:nvPr/>
        </p:nvSpPr>
        <p:spPr>
          <a:xfrm>
            <a:off x="8361432" y="2717258"/>
            <a:ext cx="1201789" cy="341364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sz="1200" b="1" dirty="0">
                <a:solidFill>
                  <a:schemeClr val="tx1"/>
                </a:solidFill>
                <a:cs typeface="+mn-ea"/>
                <a:sym typeface="+mn-lt"/>
              </a:rPr>
              <a:t>妥投时间挖掘</a:t>
            </a:r>
            <a:endParaRPr lang="en-US" altLang="zh-CN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A5AA0E35-0ADE-49C0-A583-48B573021AB5}"/>
              </a:ext>
            </a:extLst>
          </p:cNvPr>
          <p:cNvSpPr/>
          <p:nvPr/>
        </p:nvSpPr>
        <p:spPr>
          <a:xfrm>
            <a:off x="10037233" y="2717258"/>
            <a:ext cx="1306867" cy="341364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sz="1200" b="1">
                <a:solidFill>
                  <a:schemeClr val="tx1"/>
                </a:solidFill>
                <a:cs typeface="+mn-ea"/>
                <a:sym typeface="+mn-lt"/>
              </a:rPr>
              <a:t>路径规划</a:t>
            </a:r>
            <a:endParaRPr lang="en-US" altLang="zh-CN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pic>
        <p:nvPicPr>
          <p:cNvPr id="35" name="Picture 3">
            <a:extLst>
              <a:ext uri="{FF2B5EF4-FFF2-40B4-BE49-F238E27FC236}">
                <a16:creationId xmlns:a16="http://schemas.microsoft.com/office/drawing/2014/main" id="{8490B6CB-84B7-4969-A487-0A818DBEDF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14357" y="3342176"/>
            <a:ext cx="1142583" cy="747755"/>
          </a:xfrm>
          <a:prstGeom prst="rect">
            <a:avLst/>
          </a:prstGeom>
          <a:noFill/>
        </p:spPr>
      </p:pic>
      <p:sp>
        <p:nvSpPr>
          <p:cNvPr id="36" name="矩形 35">
            <a:extLst>
              <a:ext uri="{FF2B5EF4-FFF2-40B4-BE49-F238E27FC236}">
                <a16:creationId xmlns:a16="http://schemas.microsoft.com/office/drawing/2014/main" id="{A5F83922-6B58-492B-BF4F-BB4EE7F8A28D}"/>
              </a:ext>
            </a:extLst>
          </p:cNvPr>
          <p:cNvSpPr/>
          <p:nvPr/>
        </p:nvSpPr>
        <p:spPr>
          <a:xfrm>
            <a:off x="6680401" y="4724557"/>
            <a:ext cx="1410495" cy="600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站点配送范围</a:t>
            </a:r>
            <a:endParaRPr lang="en-US" altLang="zh-CN" sz="1100" b="1" dirty="0">
              <a:cs typeface="+mn-ea"/>
              <a:sym typeface="+mn-lt"/>
            </a:endParaRPr>
          </a:p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配送平均时长</a:t>
            </a:r>
          </a:p>
        </p:txBody>
      </p:sp>
      <p:pic>
        <p:nvPicPr>
          <p:cNvPr id="37" name="Picture 3">
            <a:extLst>
              <a:ext uri="{FF2B5EF4-FFF2-40B4-BE49-F238E27FC236}">
                <a16:creationId xmlns:a16="http://schemas.microsoft.com/office/drawing/2014/main" id="{78729E5C-7965-434F-ADC6-43BFC8A4A2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419976" y="3342175"/>
            <a:ext cx="1092536" cy="697765"/>
          </a:xfrm>
          <a:prstGeom prst="rect">
            <a:avLst/>
          </a:prstGeom>
          <a:noFill/>
        </p:spPr>
      </p:pic>
      <p:sp>
        <p:nvSpPr>
          <p:cNvPr id="38" name="矩形 37">
            <a:extLst>
              <a:ext uri="{FF2B5EF4-FFF2-40B4-BE49-F238E27FC236}">
                <a16:creationId xmlns:a16="http://schemas.microsoft.com/office/drawing/2014/main" id="{D2A12BA7-C56E-4E7E-BCC5-3B50BBDB2BC9}"/>
              </a:ext>
            </a:extLst>
          </p:cNvPr>
          <p:cNvSpPr/>
          <p:nvPr/>
        </p:nvSpPr>
        <p:spPr>
          <a:xfrm>
            <a:off x="8260999" y="4724557"/>
            <a:ext cx="1410495" cy="600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妥投时间分布</a:t>
            </a:r>
            <a:endParaRPr lang="en-US" altLang="zh-CN" sz="1100" b="1" dirty="0">
              <a:cs typeface="+mn-ea"/>
              <a:sym typeface="+mn-lt"/>
            </a:endParaRPr>
          </a:p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配送路径</a:t>
            </a:r>
            <a:r>
              <a:rPr lang="en-US" altLang="zh-CN" sz="1100" b="1" dirty="0">
                <a:cs typeface="+mn-ea"/>
                <a:sym typeface="+mn-lt"/>
              </a:rPr>
              <a:t>GIS</a:t>
            </a:r>
            <a:r>
              <a:rPr lang="zh-CN" altLang="en-US" sz="1100" b="1" dirty="0">
                <a:cs typeface="+mn-ea"/>
                <a:sym typeface="+mn-lt"/>
              </a:rPr>
              <a:t>分析</a:t>
            </a:r>
          </a:p>
        </p:txBody>
      </p:sp>
      <p:pic>
        <p:nvPicPr>
          <p:cNvPr id="39" name="Picture 3">
            <a:extLst>
              <a:ext uri="{FF2B5EF4-FFF2-40B4-BE49-F238E27FC236}">
                <a16:creationId xmlns:a16="http://schemas.microsoft.com/office/drawing/2014/main" id="{3D1383A1-A730-4E71-82BC-BAA3346AD2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096638" y="3342175"/>
            <a:ext cx="1209743" cy="697765"/>
          </a:xfrm>
          <a:prstGeom prst="rect">
            <a:avLst/>
          </a:prstGeom>
          <a:noFill/>
        </p:spPr>
      </p:pic>
      <p:sp>
        <p:nvSpPr>
          <p:cNvPr id="40" name="矩形 39">
            <a:extLst>
              <a:ext uri="{FF2B5EF4-FFF2-40B4-BE49-F238E27FC236}">
                <a16:creationId xmlns:a16="http://schemas.microsoft.com/office/drawing/2014/main" id="{CF1F7F40-FF7A-4933-8046-6A01C91D5A5F}"/>
              </a:ext>
            </a:extLst>
          </p:cNvPr>
          <p:cNvSpPr/>
          <p:nvPr/>
        </p:nvSpPr>
        <p:spPr>
          <a:xfrm>
            <a:off x="9675385" y="4724557"/>
            <a:ext cx="2299243" cy="600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匹配送货方式</a:t>
            </a:r>
            <a:endParaRPr lang="en-US" altLang="zh-CN" sz="1100" b="1" dirty="0">
              <a:cs typeface="+mn-ea"/>
              <a:sym typeface="+mn-lt"/>
            </a:endParaRPr>
          </a:p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匹配订单时效（</a:t>
            </a:r>
            <a:r>
              <a:rPr lang="en-US" altLang="zh-CN" sz="1100" b="1" dirty="0">
                <a:cs typeface="+mn-ea"/>
                <a:sym typeface="+mn-lt"/>
              </a:rPr>
              <a:t>211/</a:t>
            </a:r>
            <a:r>
              <a:rPr lang="zh-CN" altLang="en-US" sz="1100" b="1" dirty="0">
                <a:cs typeface="+mn-ea"/>
                <a:sym typeface="+mn-lt"/>
              </a:rPr>
              <a:t>京准达等）</a:t>
            </a:r>
          </a:p>
        </p:txBody>
      </p:sp>
      <p:sp>
        <p:nvSpPr>
          <p:cNvPr id="41" name="燕尾形 13">
            <a:extLst>
              <a:ext uri="{FF2B5EF4-FFF2-40B4-BE49-F238E27FC236}">
                <a16:creationId xmlns:a16="http://schemas.microsoft.com/office/drawing/2014/main" id="{23DC7FC9-9040-4983-AE8F-03FEDE7A9FBE}"/>
              </a:ext>
            </a:extLst>
          </p:cNvPr>
          <p:cNvSpPr/>
          <p:nvPr/>
        </p:nvSpPr>
        <p:spPr>
          <a:xfrm flipV="1">
            <a:off x="8138992" y="3663403"/>
            <a:ext cx="111685" cy="165047"/>
          </a:xfrm>
          <a:prstGeom prst="chevron">
            <a:avLst/>
          </a:prstGeom>
          <a:noFill/>
          <a:ln w="31750" cmpd="dbl">
            <a:solidFill>
              <a:schemeClr val="bg1">
                <a:lumMod val="95000"/>
                <a:alpha val="79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endParaRPr lang="zh-CN" altLang="en-US" sz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2" name="燕尾形 13">
            <a:extLst>
              <a:ext uri="{FF2B5EF4-FFF2-40B4-BE49-F238E27FC236}">
                <a16:creationId xmlns:a16="http://schemas.microsoft.com/office/drawing/2014/main" id="{60DC0955-3ADF-4AFB-A242-AA24949175D1}"/>
              </a:ext>
            </a:extLst>
          </p:cNvPr>
          <p:cNvSpPr/>
          <p:nvPr/>
        </p:nvSpPr>
        <p:spPr>
          <a:xfrm flipV="1">
            <a:off x="9828260" y="3678991"/>
            <a:ext cx="111685" cy="165047"/>
          </a:xfrm>
          <a:prstGeom prst="chevron">
            <a:avLst/>
          </a:prstGeom>
          <a:noFill/>
          <a:ln w="31750" cmpd="dbl">
            <a:solidFill>
              <a:schemeClr val="bg1">
                <a:lumMod val="95000"/>
                <a:alpha val="79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endParaRPr lang="zh-CN" altLang="en-US" sz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4698282F-CBFF-475C-91AE-21752F72516D}"/>
              </a:ext>
            </a:extLst>
          </p:cNvPr>
          <p:cNvSpPr/>
          <p:nvPr/>
        </p:nvSpPr>
        <p:spPr>
          <a:xfrm>
            <a:off x="758407" y="2717258"/>
            <a:ext cx="1331613" cy="341364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sz="1200" b="1" dirty="0">
                <a:solidFill>
                  <a:schemeClr val="tx1"/>
                </a:solidFill>
                <a:cs typeface="+mn-ea"/>
                <a:sym typeface="+mn-lt"/>
              </a:rPr>
              <a:t>楼宇配送时间挖掘</a:t>
            </a:r>
            <a:endParaRPr lang="en-US" altLang="zh-CN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pic>
        <p:nvPicPr>
          <p:cNvPr id="44" name="Picture 3">
            <a:extLst>
              <a:ext uri="{FF2B5EF4-FFF2-40B4-BE49-F238E27FC236}">
                <a16:creationId xmlns:a16="http://schemas.microsoft.com/office/drawing/2014/main" id="{E48D08ED-AA13-4A7B-A646-19F3165658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18937" y="3342175"/>
            <a:ext cx="1204435" cy="744476"/>
          </a:xfrm>
          <a:prstGeom prst="rect">
            <a:avLst/>
          </a:prstGeom>
          <a:noFill/>
        </p:spPr>
      </p:pic>
      <p:pic>
        <p:nvPicPr>
          <p:cNvPr id="45" name="Picture 3">
            <a:extLst>
              <a:ext uri="{FF2B5EF4-FFF2-40B4-BE49-F238E27FC236}">
                <a16:creationId xmlns:a16="http://schemas.microsoft.com/office/drawing/2014/main" id="{B246027D-9FEC-4E9A-B1EE-C2BD208F0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290757" y="3342174"/>
            <a:ext cx="1178063" cy="740331"/>
          </a:xfrm>
          <a:prstGeom prst="rect">
            <a:avLst/>
          </a:prstGeom>
          <a:noFill/>
        </p:spPr>
      </p:pic>
      <p:pic>
        <p:nvPicPr>
          <p:cNvPr id="46" name="Picture 3">
            <a:extLst>
              <a:ext uri="{FF2B5EF4-FFF2-40B4-BE49-F238E27FC236}">
                <a16:creationId xmlns:a16="http://schemas.microsoft.com/office/drawing/2014/main" id="{85E37BCF-4DAB-407A-BFD2-724CE3D650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693596" y="3342176"/>
            <a:ext cx="1225397" cy="747755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47" name="Picture 3">
            <a:extLst>
              <a:ext uri="{FF2B5EF4-FFF2-40B4-BE49-F238E27FC236}">
                <a16:creationId xmlns:a16="http://schemas.microsoft.com/office/drawing/2014/main" id="{BF0056BA-6A69-4A7C-B500-007571527B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128669" y="3342176"/>
            <a:ext cx="1282603" cy="747755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48" name="矩形 47">
            <a:extLst>
              <a:ext uri="{FF2B5EF4-FFF2-40B4-BE49-F238E27FC236}">
                <a16:creationId xmlns:a16="http://schemas.microsoft.com/office/drawing/2014/main" id="{39515D7E-07F5-4CF3-A634-0832E9943BDA}"/>
              </a:ext>
            </a:extLst>
          </p:cNvPr>
          <p:cNvSpPr/>
          <p:nvPr/>
        </p:nvSpPr>
        <p:spPr>
          <a:xfrm>
            <a:off x="2230228" y="2717258"/>
            <a:ext cx="1331613" cy="316980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sz="1200" b="1" dirty="0">
                <a:solidFill>
                  <a:schemeClr val="tx1"/>
                </a:solidFill>
                <a:cs typeface="+mn-ea"/>
                <a:sym typeface="+mn-lt"/>
              </a:rPr>
              <a:t>配送单元生成</a:t>
            </a:r>
            <a:endParaRPr lang="en-US" altLang="zh-CN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BF987983-9ACE-4EDC-918D-5A11A7BF7831}"/>
              </a:ext>
            </a:extLst>
          </p:cNvPr>
          <p:cNvSpPr/>
          <p:nvPr/>
        </p:nvSpPr>
        <p:spPr>
          <a:xfrm>
            <a:off x="3633068" y="2717258"/>
            <a:ext cx="1331613" cy="316980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sz="1200" b="1" dirty="0">
                <a:solidFill>
                  <a:schemeClr val="tx1"/>
                </a:solidFill>
                <a:cs typeface="+mn-ea"/>
                <a:sym typeface="+mn-lt"/>
              </a:rPr>
              <a:t>路区现状刻画</a:t>
            </a:r>
            <a:endParaRPr lang="en-US" altLang="zh-CN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97B70E06-1E0E-497F-9BC3-6D5DF830D736}"/>
              </a:ext>
            </a:extLst>
          </p:cNvPr>
          <p:cNvSpPr/>
          <p:nvPr/>
        </p:nvSpPr>
        <p:spPr>
          <a:xfrm>
            <a:off x="5061783" y="2717258"/>
            <a:ext cx="1412908" cy="316980"/>
          </a:xfrm>
          <a:prstGeom prst="rect">
            <a:avLst/>
          </a:prstGeom>
          <a:solidFill>
            <a:schemeClr val="bg1">
              <a:alpha val="20000"/>
            </a:schemeClr>
          </a:solidFill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/>
          <a:p>
            <a:pPr algn="ctr" defTabSz="819221"/>
            <a:r>
              <a:rPr lang="zh-CN" altLang="en-US" sz="1200" b="1" dirty="0">
                <a:solidFill>
                  <a:schemeClr val="tx1"/>
                </a:solidFill>
                <a:cs typeface="+mn-ea"/>
                <a:sym typeface="+mn-lt"/>
              </a:rPr>
              <a:t>最优路区规划</a:t>
            </a:r>
            <a:endParaRPr lang="en-US" altLang="zh-CN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9DBAEDC8-6989-4F1A-839A-93F6D0299F1C}"/>
              </a:ext>
            </a:extLst>
          </p:cNvPr>
          <p:cNvSpPr/>
          <p:nvPr/>
        </p:nvSpPr>
        <p:spPr>
          <a:xfrm>
            <a:off x="718970" y="4724557"/>
            <a:ext cx="1410495" cy="600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细分城市至楼宇</a:t>
            </a:r>
            <a:endParaRPr lang="en-US" altLang="zh-CN" sz="1100" b="1" dirty="0">
              <a:cs typeface="+mn-ea"/>
              <a:sym typeface="+mn-lt"/>
            </a:endParaRPr>
          </a:p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楼宇配送时间计算</a:t>
            </a: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0A6CDEDD-9107-476B-ADEC-3A46259E6DFE}"/>
              </a:ext>
            </a:extLst>
          </p:cNvPr>
          <p:cNvSpPr/>
          <p:nvPr/>
        </p:nvSpPr>
        <p:spPr>
          <a:xfrm>
            <a:off x="2030605" y="4724557"/>
            <a:ext cx="1613313" cy="600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路区自动聚类</a:t>
            </a:r>
          </a:p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考虑配送产能约束</a:t>
            </a: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EBF7F949-1AA9-4199-AD77-A75D4568DB85}"/>
              </a:ext>
            </a:extLst>
          </p:cNvPr>
          <p:cNvSpPr/>
          <p:nvPr/>
        </p:nvSpPr>
        <p:spPr>
          <a:xfrm>
            <a:off x="3427982" y="4724557"/>
            <a:ext cx="1613313" cy="600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刻画路区现状</a:t>
            </a:r>
            <a:endParaRPr lang="en-US" altLang="zh-CN" sz="1100" b="1" dirty="0">
              <a:cs typeface="+mn-ea"/>
              <a:sym typeface="+mn-lt"/>
            </a:endParaRPr>
          </a:p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分析路区存在问题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596DB4FF-9651-4577-A7E9-AC5F61432D3B}"/>
              </a:ext>
            </a:extLst>
          </p:cNvPr>
          <p:cNvSpPr/>
          <p:nvPr/>
        </p:nvSpPr>
        <p:spPr>
          <a:xfrm>
            <a:off x="5050076" y="4724557"/>
            <a:ext cx="1426013" cy="600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平衡配送单量</a:t>
            </a:r>
            <a:endParaRPr lang="en-US" altLang="zh-CN" sz="1100" b="1" dirty="0">
              <a:cs typeface="+mn-ea"/>
              <a:sym typeface="+mn-lt"/>
            </a:endParaRPr>
          </a:p>
          <a:p>
            <a:pPr algn="ctr" defTabSz="819221">
              <a:lnSpc>
                <a:spcPct val="150000"/>
              </a:lnSpc>
            </a:pPr>
            <a:r>
              <a:rPr lang="zh-CN" altLang="en-US" sz="1100" b="1" dirty="0">
                <a:cs typeface="+mn-ea"/>
                <a:sym typeface="+mn-lt"/>
              </a:rPr>
              <a:t>配送效果跟踪</a:t>
            </a:r>
          </a:p>
        </p:txBody>
      </p:sp>
      <p:sp>
        <p:nvSpPr>
          <p:cNvPr id="55" name="燕尾形 13">
            <a:extLst>
              <a:ext uri="{FF2B5EF4-FFF2-40B4-BE49-F238E27FC236}">
                <a16:creationId xmlns:a16="http://schemas.microsoft.com/office/drawing/2014/main" id="{E057A7CB-ED5A-4FF3-8B16-663B4691A9E2}"/>
              </a:ext>
            </a:extLst>
          </p:cNvPr>
          <p:cNvSpPr/>
          <p:nvPr/>
        </p:nvSpPr>
        <p:spPr>
          <a:xfrm flipV="1">
            <a:off x="2103936" y="3642083"/>
            <a:ext cx="111685" cy="165047"/>
          </a:xfrm>
          <a:prstGeom prst="chevron">
            <a:avLst/>
          </a:prstGeom>
          <a:noFill/>
          <a:ln w="31750" cmpd="dbl">
            <a:solidFill>
              <a:schemeClr val="bg1">
                <a:lumMod val="95000"/>
                <a:alpha val="79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endParaRPr lang="zh-CN" altLang="en-US" sz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6" name="燕尾形 13">
            <a:extLst>
              <a:ext uri="{FF2B5EF4-FFF2-40B4-BE49-F238E27FC236}">
                <a16:creationId xmlns:a16="http://schemas.microsoft.com/office/drawing/2014/main" id="{A8DA3DC1-9DE1-41B6-897C-E6AA66A1CDAB}"/>
              </a:ext>
            </a:extLst>
          </p:cNvPr>
          <p:cNvSpPr/>
          <p:nvPr/>
        </p:nvSpPr>
        <p:spPr>
          <a:xfrm flipV="1">
            <a:off x="3536152" y="3642083"/>
            <a:ext cx="111685" cy="165047"/>
          </a:xfrm>
          <a:prstGeom prst="chevron">
            <a:avLst/>
          </a:prstGeom>
          <a:noFill/>
          <a:ln w="31750" cmpd="dbl">
            <a:solidFill>
              <a:schemeClr val="bg1">
                <a:lumMod val="95000"/>
                <a:alpha val="79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endParaRPr lang="zh-CN" altLang="en-US" sz="12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7" name="燕尾形 13">
            <a:extLst>
              <a:ext uri="{FF2B5EF4-FFF2-40B4-BE49-F238E27FC236}">
                <a16:creationId xmlns:a16="http://schemas.microsoft.com/office/drawing/2014/main" id="{72D9E5CE-A51A-494D-8F39-B069BE44238C}"/>
              </a:ext>
            </a:extLst>
          </p:cNvPr>
          <p:cNvSpPr/>
          <p:nvPr/>
        </p:nvSpPr>
        <p:spPr>
          <a:xfrm flipV="1">
            <a:off x="4978712" y="3663403"/>
            <a:ext cx="111685" cy="165047"/>
          </a:xfrm>
          <a:prstGeom prst="chevron">
            <a:avLst/>
          </a:prstGeom>
          <a:noFill/>
          <a:ln w="31750" cmpd="dbl">
            <a:solidFill>
              <a:schemeClr val="bg1">
                <a:lumMod val="95000"/>
                <a:alpha val="79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819221"/>
            <a:endParaRPr lang="zh-CN" altLang="en-US" sz="120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58" name="直接箭头连接符 57">
            <a:extLst>
              <a:ext uri="{FF2B5EF4-FFF2-40B4-BE49-F238E27FC236}">
                <a16:creationId xmlns:a16="http://schemas.microsoft.com/office/drawing/2014/main" id="{F4910DE7-16DA-45D8-93F3-842B64098A4E}"/>
              </a:ext>
            </a:extLst>
          </p:cNvPr>
          <p:cNvCxnSpPr/>
          <p:nvPr/>
        </p:nvCxnSpPr>
        <p:spPr>
          <a:xfrm>
            <a:off x="818935" y="4428621"/>
            <a:ext cx="5602308" cy="0"/>
          </a:xfrm>
          <a:prstGeom prst="straightConnector1">
            <a:avLst/>
          </a:prstGeom>
          <a:ln w="12700">
            <a:solidFill>
              <a:srgbClr val="C00000">
                <a:alpha val="4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Freeform 3">
            <a:extLst>
              <a:ext uri="{FF2B5EF4-FFF2-40B4-BE49-F238E27FC236}">
                <a16:creationId xmlns:a16="http://schemas.microsoft.com/office/drawing/2014/main" id="{07EC3972-FB92-46EF-99C0-13C2B5097288}"/>
              </a:ext>
            </a:extLst>
          </p:cNvPr>
          <p:cNvSpPr/>
          <p:nvPr/>
        </p:nvSpPr>
        <p:spPr>
          <a:xfrm>
            <a:off x="2402681" y="4270019"/>
            <a:ext cx="2347648" cy="317207"/>
          </a:xfrm>
          <a:prstGeom prst="rect">
            <a:avLst/>
          </a:prstGeom>
          <a:solidFill>
            <a:srgbClr val="C00000"/>
          </a:solidFill>
          <a:ln>
            <a:solidFill>
              <a:schemeClr val="accent1">
                <a:alpha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47997" tIns="45718" rIns="47997" bIns="45718" rtlCol="0" anchor="ctr"/>
          <a:lstStyle/>
          <a:p>
            <a:pPr algn="ctr"/>
            <a:r>
              <a:rPr lang="en-US" altLang="zh-CN" sz="1500" b="1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zh-CN" altLang="en-US" sz="1500" b="1" dirty="0">
                <a:solidFill>
                  <a:schemeClr val="bg1"/>
                </a:solidFill>
                <a:cs typeface="+mn-ea"/>
                <a:sym typeface="+mn-lt"/>
              </a:rPr>
              <a:t>算法引擎</a:t>
            </a:r>
          </a:p>
        </p:txBody>
      </p:sp>
      <p:cxnSp>
        <p:nvCxnSpPr>
          <p:cNvPr id="60" name="直接箭头连接符 59">
            <a:extLst>
              <a:ext uri="{FF2B5EF4-FFF2-40B4-BE49-F238E27FC236}">
                <a16:creationId xmlns:a16="http://schemas.microsoft.com/office/drawing/2014/main" id="{E595541D-B264-43C3-8C95-D90E66FDD25E}"/>
              </a:ext>
            </a:extLst>
          </p:cNvPr>
          <p:cNvCxnSpPr>
            <a:cxnSpLocks/>
          </p:cNvCxnSpPr>
          <p:nvPr/>
        </p:nvCxnSpPr>
        <p:spPr>
          <a:xfrm>
            <a:off x="6849805" y="4428621"/>
            <a:ext cx="4505179" cy="0"/>
          </a:xfrm>
          <a:prstGeom prst="straightConnector1">
            <a:avLst/>
          </a:prstGeom>
          <a:ln w="12700">
            <a:solidFill>
              <a:srgbClr val="C00000">
                <a:alpha val="4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Freeform 3">
            <a:extLst>
              <a:ext uri="{FF2B5EF4-FFF2-40B4-BE49-F238E27FC236}">
                <a16:creationId xmlns:a16="http://schemas.microsoft.com/office/drawing/2014/main" id="{AEC9495E-CA39-474B-A5C2-00828DD90235}"/>
              </a:ext>
            </a:extLst>
          </p:cNvPr>
          <p:cNvSpPr/>
          <p:nvPr/>
        </p:nvSpPr>
        <p:spPr>
          <a:xfrm>
            <a:off x="7918681" y="4270019"/>
            <a:ext cx="2347648" cy="317207"/>
          </a:xfrm>
          <a:prstGeom prst="rect">
            <a:avLst/>
          </a:prstGeom>
          <a:solidFill>
            <a:srgbClr val="C00000"/>
          </a:solidFill>
          <a:ln>
            <a:solidFill>
              <a:schemeClr val="accent1">
                <a:alpha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47997" tIns="45718" rIns="47997" bIns="45718" rtlCol="0" anchor="ctr"/>
          <a:lstStyle/>
          <a:p>
            <a:pPr algn="ctr"/>
            <a:r>
              <a:rPr lang="zh-CN" altLang="en-US" sz="1500" b="1" dirty="0">
                <a:solidFill>
                  <a:srgbClr val="FFFFFF"/>
                </a:solidFill>
                <a:cs typeface="+mn-ea"/>
                <a:sym typeface="+mn-lt"/>
              </a:rPr>
              <a:t>算法引擎</a:t>
            </a:r>
            <a:endParaRPr lang="zh-CN" altLang="en-US" sz="1500" b="1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796407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全链路智慧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化</a:t>
            </a: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，</a:t>
            </a:r>
            <a:r>
              <a:rPr lang="zh-CN" altLang="en-US" dirty="0">
                <a:cs typeface="+mn-ea"/>
                <a:sym typeface="+mn-lt"/>
              </a:rPr>
              <a:t>京东物流</a:t>
            </a: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实现“四好” 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服务</a:t>
            </a:r>
          </a:p>
        </p:txBody>
      </p:sp>
      <p:sp>
        <p:nvSpPr>
          <p:cNvPr id="230" name="文本占位符 22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31" name="文本占位符 23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830430" y="1050069"/>
            <a:ext cx="4728140" cy="2530515"/>
            <a:chOff x="684625" y="960098"/>
            <a:chExt cx="3424080" cy="1824781"/>
          </a:xfrm>
        </p:grpSpPr>
        <p:sp>
          <p:nvSpPr>
            <p:cNvPr id="6" name="Arc 682">
              <a:extLst>
                <a:ext uri="{FF2B5EF4-FFF2-40B4-BE49-F238E27FC236}">
                  <a16:creationId xmlns:a16="http://schemas.microsoft.com/office/drawing/2014/main" id="{F6961F03-B193-44FE-926D-AD0B15DB72AF}"/>
                </a:ext>
              </a:extLst>
            </p:cNvPr>
            <p:cNvSpPr>
              <a:spLocks/>
            </p:cNvSpPr>
            <p:nvPr/>
          </p:nvSpPr>
          <p:spPr bwMode="auto">
            <a:xfrm rot="20102482" flipH="1">
              <a:off x="2172115" y="1367942"/>
              <a:ext cx="278025" cy="256162"/>
            </a:xfrm>
            <a:custGeom>
              <a:avLst/>
              <a:gdLst>
                <a:gd name="T0" fmla="*/ 2147483647 w 21600"/>
                <a:gd name="T1" fmla="*/ 0 h 21356"/>
                <a:gd name="T2" fmla="*/ 2147483647 w 21600"/>
                <a:gd name="T3" fmla="*/ 2147483647 h 21356"/>
                <a:gd name="T4" fmla="*/ 0 w 21600"/>
                <a:gd name="T5" fmla="*/ 2147483647 h 21356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356"/>
                <a:gd name="T11" fmla="*/ 21600 w 21600"/>
                <a:gd name="T12" fmla="*/ 21356 h 2135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356" fill="none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</a:path>
                <a:path w="21600" h="21356" stroke="0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  <a:lnTo>
                    <a:pt x="0" y="21356"/>
                  </a:lnTo>
                  <a:lnTo>
                    <a:pt x="3237" y="-1"/>
                  </a:lnTo>
                  <a:close/>
                </a:path>
              </a:pathLst>
            </a:custGeom>
            <a:noFill/>
            <a:ln w="38100">
              <a:solidFill>
                <a:sysClr val="window" lastClr="FFFFFF">
                  <a:lumMod val="50000"/>
                </a:sysClr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zh-CN" altLang="en-US" sz="13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7" name="Freeform 673">
              <a:extLst>
                <a:ext uri="{FF2B5EF4-FFF2-40B4-BE49-F238E27FC236}">
                  <a16:creationId xmlns:a16="http://schemas.microsoft.com/office/drawing/2014/main" id="{46D302E8-F212-4DBE-827C-D85CBA7D5CE4}"/>
                </a:ext>
              </a:extLst>
            </p:cNvPr>
            <p:cNvSpPr>
              <a:spLocks noEditPoints="1"/>
            </p:cNvSpPr>
            <p:nvPr/>
          </p:nvSpPr>
          <p:spPr bwMode="auto">
            <a:xfrm rot="17573630" flipH="1">
              <a:off x="2190366" y="1589750"/>
              <a:ext cx="671209" cy="720948"/>
            </a:xfrm>
            <a:custGeom>
              <a:avLst/>
              <a:gdLst>
                <a:gd name="T0" fmla="*/ 2147483647 w 1816"/>
                <a:gd name="T1" fmla="*/ 2147483647 h 1816"/>
                <a:gd name="T2" fmla="*/ 2147483647 w 1816"/>
                <a:gd name="T3" fmla="*/ 2147483647 h 1816"/>
                <a:gd name="T4" fmla="*/ 2147483647 w 1816"/>
                <a:gd name="T5" fmla="*/ 2147483647 h 1816"/>
                <a:gd name="T6" fmla="*/ 2147483647 w 1816"/>
                <a:gd name="T7" fmla="*/ 2147483647 h 1816"/>
                <a:gd name="T8" fmla="*/ 2147483647 w 1816"/>
                <a:gd name="T9" fmla="*/ 2147483647 h 1816"/>
                <a:gd name="T10" fmla="*/ 2147483647 w 1816"/>
                <a:gd name="T11" fmla="*/ 2147483647 h 1816"/>
                <a:gd name="T12" fmla="*/ 2147483647 w 1816"/>
                <a:gd name="T13" fmla="*/ 2147483647 h 1816"/>
                <a:gd name="T14" fmla="*/ 2147483647 w 1816"/>
                <a:gd name="T15" fmla="*/ 2147483647 h 1816"/>
                <a:gd name="T16" fmla="*/ 2147483647 w 1816"/>
                <a:gd name="T17" fmla="*/ 2147483647 h 1816"/>
                <a:gd name="T18" fmla="*/ 2147483647 w 1816"/>
                <a:gd name="T19" fmla="*/ 2147483647 h 1816"/>
                <a:gd name="T20" fmla="*/ 2147483647 w 1816"/>
                <a:gd name="T21" fmla="*/ 2147483647 h 1816"/>
                <a:gd name="T22" fmla="*/ 2147483647 w 1816"/>
                <a:gd name="T23" fmla="*/ 2147483647 h 1816"/>
                <a:gd name="T24" fmla="*/ 0 w 1816"/>
                <a:gd name="T25" fmla="*/ 2147483647 h 1816"/>
                <a:gd name="T26" fmla="*/ 2147483647 w 1816"/>
                <a:gd name="T27" fmla="*/ 2147483647 h 1816"/>
                <a:gd name="T28" fmla="*/ 2147483647 w 1816"/>
                <a:gd name="T29" fmla="*/ 2147483647 h 1816"/>
                <a:gd name="T30" fmla="*/ 2147483647 w 1816"/>
                <a:gd name="T31" fmla="*/ 2147483647 h 1816"/>
                <a:gd name="T32" fmla="*/ 2147483647 w 1816"/>
                <a:gd name="T33" fmla="*/ 2147483647 h 1816"/>
                <a:gd name="T34" fmla="*/ 2147483647 w 1816"/>
                <a:gd name="T35" fmla="*/ 2147483647 h 1816"/>
                <a:gd name="T36" fmla="*/ 2147483647 w 1816"/>
                <a:gd name="T37" fmla="*/ 2147483647 h 1816"/>
                <a:gd name="T38" fmla="*/ 2147483647 w 1816"/>
                <a:gd name="T39" fmla="*/ 2147483647 h 1816"/>
                <a:gd name="T40" fmla="*/ 2147483647 w 1816"/>
                <a:gd name="T41" fmla="*/ 2147483647 h 1816"/>
                <a:gd name="T42" fmla="*/ 2147483647 w 1816"/>
                <a:gd name="T43" fmla="*/ 2147483647 h 1816"/>
                <a:gd name="T44" fmla="*/ 2147483647 w 1816"/>
                <a:gd name="T45" fmla="*/ 2147483647 h 1816"/>
                <a:gd name="T46" fmla="*/ 2147483647 w 1816"/>
                <a:gd name="T47" fmla="*/ 2147483647 h 1816"/>
                <a:gd name="T48" fmla="*/ 2147483647 w 1816"/>
                <a:gd name="T49" fmla="*/ 2147483647 h 1816"/>
                <a:gd name="T50" fmla="*/ 2147483647 w 1816"/>
                <a:gd name="T51" fmla="*/ 2147483647 h 1816"/>
                <a:gd name="T52" fmla="*/ 2147483647 w 1816"/>
                <a:gd name="T53" fmla="*/ 2147483647 h 1816"/>
                <a:gd name="T54" fmla="*/ 2147483647 w 1816"/>
                <a:gd name="T55" fmla="*/ 2147483647 h 1816"/>
                <a:gd name="T56" fmla="*/ 2147483647 w 1816"/>
                <a:gd name="T57" fmla="*/ 2147483647 h 1816"/>
                <a:gd name="T58" fmla="*/ 2147483647 w 1816"/>
                <a:gd name="T59" fmla="*/ 2147483647 h 1816"/>
                <a:gd name="T60" fmla="*/ 2147483647 w 1816"/>
                <a:gd name="T61" fmla="*/ 2147483647 h 1816"/>
                <a:gd name="T62" fmla="*/ 2147483647 w 1816"/>
                <a:gd name="T63" fmla="*/ 2147483647 h 1816"/>
                <a:gd name="T64" fmla="*/ 2147483647 w 1816"/>
                <a:gd name="T65" fmla="*/ 2147483647 h 1816"/>
                <a:gd name="T66" fmla="*/ 2147483647 w 1816"/>
                <a:gd name="T67" fmla="*/ 2147483647 h 1816"/>
                <a:gd name="T68" fmla="*/ 2147483647 w 1816"/>
                <a:gd name="T69" fmla="*/ 2147483647 h 1816"/>
                <a:gd name="T70" fmla="*/ 2147483647 w 1816"/>
                <a:gd name="T71" fmla="*/ 2147483647 h 1816"/>
                <a:gd name="T72" fmla="*/ 2147483647 w 1816"/>
                <a:gd name="T73" fmla="*/ 2147483647 h 1816"/>
                <a:gd name="T74" fmla="*/ 2147483647 w 1816"/>
                <a:gd name="T75" fmla="*/ 2147483647 h 1816"/>
                <a:gd name="T76" fmla="*/ 2147483647 w 1816"/>
                <a:gd name="T77" fmla="*/ 2147483647 h 1816"/>
                <a:gd name="T78" fmla="*/ 2147483647 w 1816"/>
                <a:gd name="T79" fmla="*/ 2147483647 h 1816"/>
                <a:gd name="T80" fmla="*/ 2147483647 w 1816"/>
                <a:gd name="T81" fmla="*/ 2147483647 h 1816"/>
                <a:gd name="T82" fmla="*/ 2147483647 w 1816"/>
                <a:gd name="T83" fmla="*/ 2147483647 h 1816"/>
                <a:gd name="T84" fmla="*/ 2147483647 w 1816"/>
                <a:gd name="T85" fmla="*/ 2147483647 h 1816"/>
                <a:gd name="T86" fmla="*/ 2147483647 w 1816"/>
                <a:gd name="T87" fmla="*/ 2147483647 h 1816"/>
                <a:gd name="T88" fmla="*/ 2147483647 w 1816"/>
                <a:gd name="T89" fmla="*/ 2147483647 h 1816"/>
                <a:gd name="T90" fmla="*/ 2147483647 w 1816"/>
                <a:gd name="T91" fmla="*/ 2147483647 h 1816"/>
                <a:gd name="T92" fmla="*/ 2147483647 w 1816"/>
                <a:gd name="T93" fmla="*/ 2147483647 h 1816"/>
                <a:gd name="T94" fmla="*/ 2147483647 w 1816"/>
                <a:gd name="T95" fmla="*/ 2147483647 h 1816"/>
                <a:gd name="T96" fmla="*/ 2147483647 w 1816"/>
                <a:gd name="T97" fmla="*/ 2147483647 h 1816"/>
                <a:gd name="T98" fmla="*/ 2147483647 w 1816"/>
                <a:gd name="T99" fmla="*/ 2147483647 h 1816"/>
                <a:gd name="T100" fmla="*/ 2147483647 w 1816"/>
                <a:gd name="T101" fmla="*/ 2147483647 h 1816"/>
                <a:gd name="T102" fmla="*/ 2147483647 w 1816"/>
                <a:gd name="T103" fmla="*/ 2147483647 h 181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816"/>
                <a:gd name="T157" fmla="*/ 0 h 1816"/>
                <a:gd name="T158" fmla="*/ 1816 w 1816"/>
                <a:gd name="T159" fmla="*/ 1816 h 181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816" h="1816">
                  <a:moveTo>
                    <a:pt x="1816" y="978"/>
                  </a:moveTo>
                  <a:lnTo>
                    <a:pt x="1816" y="836"/>
                  </a:lnTo>
                  <a:lnTo>
                    <a:pt x="1710" y="836"/>
                  </a:lnTo>
                  <a:lnTo>
                    <a:pt x="1706" y="792"/>
                  </a:lnTo>
                  <a:lnTo>
                    <a:pt x="1698" y="750"/>
                  </a:lnTo>
                  <a:lnTo>
                    <a:pt x="1688" y="708"/>
                  </a:lnTo>
                  <a:lnTo>
                    <a:pt x="1678" y="666"/>
                  </a:lnTo>
                  <a:lnTo>
                    <a:pt x="1774" y="626"/>
                  </a:lnTo>
                  <a:lnTo>
                    <a:pt x="1718" y="494"/>
                  </a:lnTo>
                  <a:lnTo>
                    <a:pt x="1622" y="534"/>
                  </a:lnTo>
                  <a:lnTo>
                    <a:pt x="1602" y="496"/>
                  </a:lnTo>
                  <a:lnTo>
                    <a:pt x="1578" y="460"/>
                  </a:lnTo>
                  <a:lnTo>
                    <a:pt x="1552" y="424"/>
                  </a:lnTo>
                  <a:lnTo>
                    <a:pt x="1526" y="390"/>
                  </a:lnTo>
                  <a:lnTo>
                    <a:pt x="1600" y="316"/>
                  </a:lnTo>
                  <a:lnTo>
                    <a:pt x="1498" y="216"/>
                  </a:lnTo>
                  <a:lnTo>
                    <a:pt x="1426" y="290"/>
                  </a:lnTo>
                  <a:lnTo>
                    <a:pt x="1392" y="262"/>
                  </a:lnTo>
                  <a:lnTo>
                    <a:pt x="1356" y="236"/>
                  </a:lnTo>
                  <a:lnTo>
                    <a:pt x="1318" y="214"/>
                  </a:lnTo>
                  <a:lnTo>
                    <a:pt x="1280" y="192"/>
                  </a:lnTo>
                  <a:lnTo>
                    <a:pt x="1320" y="96"/>
                  </a:lnTo>
                  <a:lnTo>
                    <a:pt x="1188" y="42"/>
                  </a:lnTo>
                  <a:lnTo>
                    <a:pt x="1150" y="138"/>
                  </a:lnTo>
                  <a:lnTo>
                    <a:pt x="1108" y="126"/>
                  </a:lnTo>
                  <a:lnTo>
                    <a:pt x="1066" y="116"/>
                  </a:lnTo>
                  <a:lnTo>
                    <a:pt x="1022" y="110"/>
                  </a:lnTo>
                  <a:lnTo>
                    <a:pt x="978" y="104"/>
                  </a:lnTo>
                  <a:lnTo>
                    <a:pt x="978" y="0"/>
                  </a:lnTo>
                  <a:lnTo>
                    <a:pt x="836" y="0"/>
                  </a:lnTo>
                  <a:lnTo>
                    <a:pt x="836" y="104"/>
                  </a:lnTo>
                  <a:lnTo>
                    <a:pt x="792" y="110"/>
                  </a:lnTo>
                  <a:lnTo>
                    <a:pt x="750" y="116"/>
                  </a:lnTo>
                  <a:lnTo>
                    <a:pt x="706" y="126"/>
                  </a:lnTo>
                  <a:lnTo>
                    <a:pt x="666" y="138"/>
                  </a:lnTo>
                  <a:lnTo>
                    <a:pt x="626" y="42"/>
                  </a:lnTo>
                  <a:lnTo>
                    <a:pt x="494" y="96"/>
                  </a:lnTo>
                  <a:lnTo>
                    <a:pt x="534" y="192"/>
                  </a:lnTo>
                  <a:lnTo>
                    <a:pt x="496" y="214"/>
                  </a:lnTo>
                  <a:lnTo>
                    <a:pt x="460" y="236"/>
                  </a:lnTo>
                  <a:lnTo>
                    <a:pt x="424" y="262"/>
                  </a:lnTo>
                  <a:lnTo>
                    <a:pt x="390" y="290"/>
                  </a:lnTo>
                  <a:lnTo>
                    <a:pt x="316" y="216"/>
                  </a:lnTo>
                  <a:lnTo>
                    <a:pt x="216" y="316"/>
                  </a:lnTo>
                  <a:lnTo>
                    <a:pt x="288" y="390"/>
                  </a:lnTo>
                  <a:lnTo>
                    <a:pt x="262" y="424"/>
                  </a:lnTo>
                  <a:lnTo>
                    <a:pt x="236" y="460"/>
                  </a:lnTo>
                  <a:lnTo>
                    <a:pt x="214" y="496"/>
                  </a:lnTo>
                  <a:lnTo>
                    <a:pt x="192" y="534"/>
                  </a:lnTo>
                  <a:lnTo>
                    <a:pt x="96" y="494"/>
                  </a:lnTo>
                  <a:lnTo>
                    <a:pt x="42" y="626"/>
                  </a:lnTo>
                  <a:lnTo>
                    <a:pt x="138" y="666"/>
                  </a:lnTo>
                  <a:lnTo>
                    <a:pt x="126" y="708"/>
                  </a:lnTo>
                  <a:lnTo>
                    <a:pt x="116" y="750"/>
                  </a:lnTo>
                  <a:lnTo>
                    <a:pt x="108" y="792"/>
                  </a:lnTo>
                  <a:lnTo>
                    <a:pt x="104" y="836"/>
                  </a:lnTo>
                  <a:lnTo>
                    <a:pt x="0" y="836"/>
                  </a:lnTo>
                  <a:lnTo>
                    <a:pt x="0" y="978"/>
                  </a:lnTo>
                  <a:lnTo>
                    <a:pt x="104" y="978"/>
                  </a:lnTo>
                  <a:lnTo>
                    <a:pt x="108" y="1022"/>
                  </a:lnTo>
                  <a:lnTo>
                    <a:pt x="116" y="1066"/>
                  </a:lnTo>
                  <a:lnTo>
                    <a:pt x="126" y="1108"/>
                  </a:lnTo>
                  <a:lnTo>
                    <a:pt x="138" y="1150"/>
                  </a:lnTo>
                  <a:lnTo>
                    <a:pt x="42" y="1190"/>
                  </a:lnTo>
                  <a:lnTo>
                    <a:pt x="96" y="1320"/>
                  </a:lnTo>
                  <a:lnTo>
                    <a:pt x="192" y="1280"/>
                  </a:lnTo>
                  <a:lnTo>
                    <a:pt x="214" y="1320"/>
                  </a:lnTo>
                  <a:lnTo>
                    <a:pt x="236" y="1356"/>
                  </a:lnTo>
                  <a:lnTo>
                    <a:pt x="262" y="1392"/>
                  </a:lnTo>
                  <a:lnTo>
                    <a:pt x="288" y="1426"/>
                  </a:lnTo>
                  <a:lnTo>
                    <a:pt x="216" y="1500"/>
                  </a:lnTo>
                  <a:lnTo>
                    <a:pt x="316" y="1600"/>
                  </a:lnTo>
                  <a:lnTo>
                    <a:pt x="390" y="1526"/>
                  </a:lnTo>
                  <a:lnTo>
                    <a:pt x="424" y="1554"/>
                  </a:lnTo>
                  <a:lnTo>
                    <a:pt x="460" y="1578"/>
                  </a:lnTo>
                  <a:lnTo>
                    <a:pt x="496" y="1602"/>
                  </a:lnTo>
                  <a:lnTo>
                    <a:pt x="534" y="1622"/>
                  </a:lnTo>
                  <a:lnTo>
                    <a:pt x="494" y="1718"/>
                  </a:lnTo>
                  <a:lnTo>
                    <a:pt x="626" y="1774"/>
                  </a:lnTo>
                  <a:lnTo>
                    <a:pt x="666" y="1678"/>
                  </a:lnTo>
                  <a:lnTo>
                    <a:pt x="706" y="1690"/>
                  </a:lnTo>
                  <a:lnTo>
                    <a:pt x="750" y="1698"/>
                  </a:lnTo>
                  <a:lnTo>
                    <a:pt x="792" y="1706"/>
                  </a:lnTo>
                  <a:lnTo>
                    <a:pt x="836" y="1712"/>
                  </a:lnTo>
                  <a:lnTo>
                    <a:pt x="836" y="1816"/>
                  </a:lnTo>
                  <a:lnTo>
                    <a:pt x="978" y="1816"/>
                  </a:lnTo>
                  <a:lnTo>
                    <a:pt x="978" y="1712"/>
                  </a:lnTo>
                  <a:lnTo>
                    <a:pt x="1022" y="1706"/>
                  </a:lnTo>
                  <a:lnTo>
                    <a:pt x="1066" y="1698"/>
                  </a:lnTo>
                  <a:lnTo>
                    <a:pt x="1108" y="1690"/>
                  </a:lnTo>
                  <a:lnTo>
                    <a:pt x="1150" y="1678"/>
                  </a:lnTo>
                  <a:lnTo>
                    <a:pt x="1188" y="1774"/>
                  </a:lnTo>
                  <a:lnTo>
                    <a:pt x="1320" y="1718"/>
                  </a:lnTo>
                  <a:lnTo>
                    <a:pt x="1280" y="1622"/>
                  </a:lnTo>
                  <a:lnTo>
                    <a:pt x="1318" y="1602"/>
                  </a:lnTo>
                  <a:lnTo>
                    <a:pt x="1356" y="1578"/>
                  </a:lnTo>
                  <a:lnTo>
                    <a:pt x="1392" y="1554"/>
                  </a:lnTo>
                  <a:lnTo>
                    <a:pt x="1426" y="1526"/>
                  </a:lnTo>
                  <a:lnTo>
                    <a:pt x="1498" y="1600"/>
                  </a:lnTo>
                  <a:lnTo>
                    <a:pt x="1600" y="1500"/>
                  </a:lnTo>
                  <a:lnTo>
                    <a:pt x="1526" y="1426"/>
                  </a:lnTo>
                  <a:lnTo>
                    <a:pt x="1552" y="1392"/>
                  </a:lnTo>
                  <a:lnTo>
                    <a:pt x="1578" y="1356"/>
                  </a:lnTo>
                  <a:lnTo>
                    <a:pt x="1602" y="1320"/>
                  </a:lnTo>
                  <a:lnTo>
                    <a:pt x="1622" y="1280"/>
                  </a:lnTo>
                  <a:lnTo>
                    <a:pt x="1718" y="1320"/>
                  </a:lnTo>
                  <a:lnTo>
                    <a:pt x="1774" y="1190"/>
                  </a:lnTo>
                  <a:lnTo>
                    <a:pt x="1678" y="1150"/>
                  </a:lnTo>
                  <a:lnTo>
                    <a:pt x="1688" y="1108"/>
                  </a:lnTo>
                  <a:lnTo>
                    <a:pt x="1698" y="1066"/>
                  </a:lnTo>
                  <a:lnTo>
                    <a:pt x="1706" y="1022"/>
                  </a:lnTo>
                  <a:lnTo>
                    <a:pt x="1710" y="978"/>
                  </a:lnTo>
                  <a:lnTo>
                    <a:pt x="1816" y="978"/>
                  </a:lnTo>
                  <a:close/>
                  <a:moveTo>
                    <a:pt x="908" y="1614"/>
                  </a:moveTo>
                  <a:lnTo>
                    <a:pt x="908" y="1614"/>
                  </a:lnTo>
                  <a:lnTo>
                    <a:pt x="872" y="1612"/>
                  </a:lnTo>
                  <a:lnTo>
                    <a:pt x="836" y="1610"/>
                  </a:lnTo>
                  <a:lnTo>
                    <a:pt x="800" y="1606"/>
                  </a:lnTo>
                  <a:lnTo>
                    <a:pt x="766" y="1600"/>
                  </a:lnTo>
                  <a:lnTo>
                    <a:pt x="730" y="1592"/>
                  </a:lnTo>
                  <a:lnTo>
                    <a:pt x="698" y="1582"/>
                  </a:lnTo>
                  <a:lnTo>
                    <a:pt x="664" y="1570"/>
                  </a:lnTo>
                  <a:lnTo>
                    <a:pt x="632" y="1558"/>
                  </a:lnTo>
                  <a:lnTo>
                    <a:pt x="602" y="1544"/>
                  </a:lnTo>
                  <a:lnTo>
                    <a:pt x="570" y="1528"/>
                  </a:lnTo>
                  <a:lnTo>
                    <a:pt x="542" y="1512"/>
                  </a:lnTo>
                  <a:lnTo>
                    <a:pt x="512" y="1492"/>
                  </a:lnTo>
                  <a:lnTo>
                    <a:pt x="484" y="1474"/>
                  </a:lnTo>
                  <a:lnTo>
                    <a:pt x="458" y="1452"/>
                  </a:lnTo>
                  <a:lnTo>
                    <a:pt x="432" y="1430"/>
                  </a:lnTo>
                  <a:lnTo>
                    <a:pt x="408" y="1406"/>
                  </a:lnTo>
                  <a:lnTo>
                    <a:pt x="384" y="1382"/>
                  </a:lnTo>
                  <a:lnTo>
                    <a:pt x="362" y="1356"/>
                  </a:lnTo>
                  <a:lnTo>
                    <a:pt x="342" y="1330"/>
                  </a:lnTo>
                  <a:lnTo>
                    <a:pt x="322" y="1302"/>
                  </a:lnTo>
                  <a:lnTo>
                    <a:pt x="304" y="1274"/>
                  </a:lnTo>
                  <a:lnTo>
                    <a:pt x="286" y="1244"/>
                  </a:lnTo>
                  <a:lnTo>
                    <a:pt x="272" y="1214"/>
                  </a:lnTo>
                  <a:lnTo>
                    <a:pt x="256" y="1182"/>
                  </a:lnTo>
                  <a:lnTo>
                    <a:pt x="244" y="1150"/>
                  </a:lnTo>
                  <a:lnTo>
                    <a:pt x="234" y="1118"/>
                  </a:lnTo>
                  <a:lnTo>
                    <a:pt x="224" y="1084"/>
                  </a:lnTo>
                  <a:lnTo>
                    <a:pt x="216" y="1050"/>
                  </a:lnTo>
                  <a:lnTo>
                    <a:pt x="210" y="1016"/>
                  </a:lnTo>
                  <a:lnTo>
                    <a:pt x="206" y="980"/>
                  </a:lnTo>
                  <a:lnTo>
                    <a:pt x="202" y="944"/>
                  </a:lnTo>
                  <a:lnTo>
                    <a:pt x="202" y="908"/>
                  </a:lnTo>
                  <a:lnTo>
                    <a:pt x="202" y="872"/>
                  </a:lnTo>
                  <a:lnTo>
                    <a:pt x="206" y="836"/>
                  </a:lnTo>
                  <a:lnTo>
                    <a:pt x="210" y="800"/>
                  </a:lnTo>
                  <a:lnTo>
                    <a:pt x="216" y="766"/>
                  </a:lnTo>
                  <a:lnTo>
                    <a:pt x="224" y="732"/>
                  </a:lnTo>
                  <a:lnTo>
                    <a:pt x="234" y="698"/>
                  </a:lnTo>
                  <a:lnTo>
                    <a:pt x="244" y="664"/>
                  </a:lnTo>
                  <a:lnTo>
                    <a:pt x="256" y="632"/>
                  </a:lnTo>
                  <a:lnTo>
                    <a:pt x="272" y="602"/>
                  </a:lnTo>
                  <a:lnTo>
                    <a:pt x="286" y="572"/>
                  </a:lnTo>
                  <a:lnTo>
                    <a:pt x="304" y="542"/>
                  </a:lnTo>
                  <a:lnTo>
                    <a:pt x="322" y="512"/>
                  </a:lnTo>
                  <a:lnTo>
                    <a:pt x="342" y="486"/>
                  </a:lnTo>
                  <a:lnTo>
                    <a:pt x="362" y="458"/>
                  </a:lnTo>
                  <a:lnTo>
                    <a:pt x="384" y="432"/>
                  </a:lnTo>
                  <a:lnTo>
                    <a:pt x="408" y="408"/>
                  </a:lnTo>
                  <a:lnTo>
                    <a:pt x="432" y="386"/>
                  </a:lnTo>
                  <a:lnTo>
                    <a:pt x="458" y="362"/>
                  </a:lnTo>
                  <a:lnTo>
                    <a:pt x="484" y="342"/>
                  </a:lnTo>
                  <a:lnTo>
                    <a:pt x="512" y="322"/>
                  </a:lnTo>
                  <a:lnTo>
                    <a:pt x="542" y="304"/>
                  </a:lnTo>
                  <a:lnTo>
                    <a:pt x="570" y="286"/>
                  </a:lnTo>
                  <a:lnTo>
                    <a:pt x="602" y="272"/>
                  </a:lnTo>
                  <a:lnTo>
                    <a:pt x="632" y="258"/>
                  </a:lnTo>
                  <a:lnTo>
                    <a:pt x="664" y="244"/>
                  </a:lnTo>
                  <a:lnTo>
                    <a:pt x="698" y="234"/>
                  </a:lnTo>
                  <a:lnTo>
                    <a:pt x="730" y="224"/>
                  </a:lnTo>
                  <a:lnTo>
                    <a:pt x="766" y="216"/>
                  </a:lnTo>
                  <a:lnTo>
                    <a:pt x="800" y="210"/>
                  </a:lnTo>
                  <a:lnTo>
                    <a:pt x="836" y="206"/>
                  </a:lnTo>
                  <a:lnTo>
                    <a:pt x="872" y="202"/>
                  </a:lnTo>
                  <a:lnTo>
                    <a:pt x="908" y="202"/>
                  </a:lnTo>
                  <a:lnTo>
                    <a:pt x="944" y="202"/>
                  </a:lnTo>
                  <a:lnTo>
                    <a:pt x="980" y="206"/>
                  </a:lnTo>
                  <a:lnTo>
                    <a:pt x="1014" y="210"/>
                  </a:lnTo>
                  <a:lnTo>
                    <a:pt x="1050" y="216"/>
                  </a:lnTo>
                  <a:lnTo>
                    <a:pt x="1084" y="224"/>
                  </a:lnTo>
                  <a:lnTo>
                    <a:pt x="1118" y="234"/>
                  </a:lnTo>
                  <a:lnTo>
                    <a:pt x="1150" y="244"/>
                  </a:lnTo>
                  <a:lnTo>
                    <a:pt x="1182" y="258"/>
                  </a:lnTo>
                  <a:lnTo>
                    <a:pt x="1214" y="272"/>
                  </a:lnTo>
                  <a:lnTo>
                    <a:pt x="1244" y="286"/>
                  </a:lnTo>
                  <a:lnTo>
                    <a:pt x="1274" y="304"/>
                  </a:lnTo>
                  <a:lnTo>
                    <a:pt x="1302" y="322"/>
                  </a:lnTo>
                  <a:lnTo>
                    <a:pt x="1330" y="342"/>
                  </a:lnTo>
                  <a:lnTo>
                    <a:pt x="1356" y="362"/>
                  </a:lnTo>
                  <a:lnTo>
                    <a:pt x="1382" y="386"/>
                  </a:lnTo>
                  <a:lnTo>
                    <a:pt x="1406" y="408"/>
                  </a:lnTo>
                  <a:lnTo>
                    <a:pt x="1430" y="432"/>
                  </a:lnTo>
                  <a:lnTo>
                    <a:pt x="1452" y="458"/>
                  </a:lnTo>
                  <a:lnTo>
                    <a:pt x="1474" y="486"/>
                  </a:lnTo>
                  <a:lnTo>
                    <a:pt x="1492" y="512"/>
                  </a:lnTo>
                  <a:lnTo>
                    <a:pt x="1512" y="542"/>
                  </a:lnTo>
                  <a:lnTo>
                    <a:pt x="1528" y="572"/>
                  </a:lnTo>
                  <a:lnTo>
                    <a:pt x="1544" y="602"/>
                  </a:lnTo>
                  <a:lnTo>
                    <a:pt x="1558" y="632"/>
                  </a:lnTo>
                  <a:lnTo>
                    <a:pt x="1570" y="664"/>
                  </a:lnTo>
                  <a:lnTo>
                    <a:pt x="1582" y="698"/>
                  </a:lnTo>
                  <a:lnTo>
                    <a:pt x="1592" y="732"/>
                  </a:lnTo>
                  <a:lnTo>
                    <a:pt x="1598" y="766"/>
                  </a:lnTo>
                  <a:lnTo>
                    <a:pt x="1606" y="800"/>
                  </a:lnTo>
                  <a:lnTo>
                    <a:pt x="1610" y="836"/>
                  </a:lnTo>
                  <a:lnTo>
                    <a:pt x="1612" y="872"/>
                  </a:lnTo>
                  <a:lnTo>
                    <a:pt x="1614" y="908"/>
                  </a:lnTo>
                  <a:lnTo>
                    <a:pt x="1612" y="944"/>
                  </a:lnTo>
                  <a:lnTo>
                    <a:pt x="1610" y="980"/>
                  </a:lnTo>
                  <a:lnTo>
                    <a:pt x="1606" y="1016"/>
                  </a:lnTo>
                  <a:lnTo>
                    <a:pt x="1598" y="1050"/>
                  </a:lnTo>
                  <a:lnTo>
                    <a:pt x="1592" y="1084"/>
                  </a:lnTo>
                  <a:lnTo>
                    <a:pt x="1582" y="1118"/>
                  </a:lnTo>
                  <a:lnTo>
                    <a:pt x="1570" y="1150"/>
                  </a:lnTo>
                  <a:lnTo>
                    <a:pt x="1558" y="1182"/>
                  </a:lnTo>
                  <a:lnTo>
                    <a:pt x="1544" y="1214"/>
                  </a:lnTo>
                  <a:lnTo>
                    <a:pt x="1528" y="1244"/>
                  </a:lnTo>
                  <a:lnTo>
                    <a:pt x="1512" y="1274"/>
                  </a:lnTo>
                  <a:lnTo>
                    <a:pt x="1492" y="1302"/>
                  </a:lnTo>
                  <a:lnTo>
                    <a:pt x="1474" y="1330"/>
                  </a:lnTo>
                  <a:lnTo>
                    <a:pt x="1452" y="1356"/>
                  </a:lnTo>
                  <a:lnTo>
                    <a:pt x="1430" y="1382"/>
                  </a:lnTo>
                  <a:lnTo>
                    <a:pt x="1406" y="1406"/>
                  </a:lnTo>
                  <a:lnTo>
                    <a:pt x="1382" y="1430"/>
                  </a:lnTo>
                  <a:lnTo>
                    <a:pt x="1356" y="1452"/>
                  </a:lnTo>
                  <a:lnTo>
                    <a:pt x="1330" y="1474"/>
                  </a:lnTo>
                  <a:lnTo>
                    <a:pt x="1302" y="1492"/>
                  </a:lnTo>
                  <a:lnTo>
                    <a:pt x="1274" y="1512"/>
                  </a:lnTo>
                  <a:lnTo>
                    <a:pt x="1244" y="1528"/>
                  </a:lnTo>
                  <a:lnTo>
                    <a:pt x="1214" y="1544"/>
                  </a:lnTo>
                  <a:lnTo>
                    <a:pt x="1182" y="1558"/>
                  </a:lnTo>
                  <a:lnTo>
                    <a:pt x="1150" y="1570"/>
                  </a:lnTo>
                  <a:lnTo>
                    <a:pt x="1118" y="1582"/>
                  </a:lnTo>
                  <a:lnTo>
                    <a:pt x="1084" y="1592"/>
                  </a:lnTo>
                  <a:lnTo>
                    <a:pt x="1050" y="1600"/>
                  </a:lnTo>
                  <a:lnTo>
                    <a:pt x="1014" y="1606"/>
                  </a:lnTo>
                  <a:lnTo>
                    <a:pt x="980" y="1610"/>
                  </a:lnTo>
                  <a:lnTo>
                    <a:pt x="944" y="1612"/>
                  </a:lnTo>
                  <a:lnTo>
                    <a:pt x="908" y="1614"/>
                  </a:lnTo>
                  <a:close/>
                </a:path>
              </a:pathLst>
            </a:custGeom>
            <a:solidFill>
              <a:srgbClr val="808080">
                <a:alpha val="7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cap="rnd">
                  <a:solidFill>
                    <a:srgbClr val="000000"/>
                  </a:solidFill>
                  <a:prstDash val="sysDot"/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619307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zh-CN" altLang="en-US" sz="13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8" name="Oval 676">
              <a:extLst>
                <a:ext uri="{FF2B5EF4-FFF2-40B4-BE49-F238E27FC236}">
                  <a16:creationId xmlns:a16="http://schemas.microsoft.com/office/drawing/2014/main" id="{700CAA8F-1556-441D-B8B7-4B5AF4C67B1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7573630" flipH="1">
              <a:off x="2578955" y="937317"/>
              <a:ext cx="625667" cy="67123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/>
          </p:spPr>
          <p:txBody>
            <a:bodyPr wrap="none" anchor="ctr"/>
            <a:lstStyle/>
            <a:p>
              <a:pPr defTabSz="619307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13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9" name="Oval 677">
              <a:extLst>
                <a:ext uri="{FF2B5EF4-FFF2-40B4-BE49-F238E27FC236}">
                  <a16:creationId xmlns:a16="http://schemas.microsoft.com/office/drawing/2014/main" id="{41123E5D-B3B2-4415-96B1-EA8B5C80449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7573630" flipH="1">
              <a:off x="2296015" y="1703115"/>
              <a:ext cx="460038" cy="49383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/>
          </p:spPr>
          <p:txBody>
            <a:bodyPr wrap="none" anchor="ctr"/>
            <a:lstStyle/>
            <a:p>
              <a:pPr defTabSz="619307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13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10" name="Freeform 679">
              <a:extLst>
                <a:ext uri="{FF2B5EF4-FFF2-40B4-BE49-F238E27FC236}">
                  <a16:creationId xmlns:a16="http://schemas.microsoft.com/office/drawing/2014/main" id="{46C99127-8E29-4A1C-B961-98705E8A33D4}"/>
                </a:ext>
              </a:extLst>
            </p:cNvPr>
            <p:cNvSpPr>
              <a:spLocks noEditPoints="1"/>
            </p:cNvSpPr>
            <p:nvPr/>
          </p:nvSpPr>
          <p:spPr bwMode="auto">
            <a:xfrm rot="17573630" flipH="1">
              <a:off x="2630204" y="2108225"/>
              <a:ext cx="588117" cy="631754"/>
            </a:xfrm>
            <a:custGeom>
              <a:avLst/>
              <a:gdLst>
                <a:gd name="T0" fmla="*/ 2147483647 w 1816"/>
                <a:gd name="T1" fmla="*/ 2147483647 h 1816"/>
                <a:gd name="T2" fmla="*/ 2147483647 w 1816"/>
                <a:gd name="T3" fmla="*/ 2147483647 h 1816"/>
                <a:gd name="T4" fmla="*/ 2147483647 w 1816"/>
                <a:gd name="T5" fmla="*/ 2147483647 h 1816"/>
                <a:gd name="T6" fmla="*/ 2147483647 w 1816"/>
                <a:gd name="T7" fmla="*/ 2147483647 h 1816"/>
                <a:gd name="T8" fmla="*/ 2147483647 w 1816"/>
                <a:gd name="T9" fmla="*/ 2147483647 h 1816"/>
                <a:gd name="T10" fmla="*/ 2147483647 w 1816"/>
                <a:gd name="T11" fmla="*/ 2147483647 h 1816"/>
                <a:gd name="T12" fmla="*/ 2147483647 w 1816"/>
                <a:gd name="T13" fmla="*/ 2147483647 h 1816"/>
                <a:gd name="T14" fmla="*/ 2147483647 w 1816"/>
                <a:gd name="T15" fmla="*/ 2147483647 h 1816"/>
                <a:gd name="T16" fmla="*/ 2147483647 w 1816"/>
                <a:gd name="T17" fmla="*/ 2147483647 h 1816"/>
                <a:gd name="T18" fmla="*/ 2147483647 w 1816"/>
                <a:gd name="T19" fmla="*/ 2147483647 h 1816"/>
                <a:gd name="T20" fmla="*/ 2147483647 w 1816"/>
                <a:gd name="T21" fmla="*/ 2147483647 h 1816"/>
                <a:gd name="T22" fmla="*/ 2147483647 w 1816"/>
                <a:gd name="T23" fmla="*/ 2147483647 h 1816"/>
                <a:gd name="T24" fmla="*/ 0 w 1816"/>
                <a:gd name="T25" fmla="*/ 2147483647 h 1816"/>
                <a:gd name="T26" fmla="*/ 2147483647 w 1816"/>
                <a:gd name="T27" fmla="*/ 2147483647 h 1816"/>
                <a:gd name="T28" fmla="*/ 2147483647 w 1816"/>
                <a:gd name="T29" fmla="*/ 2147483647 h 1816"/>
                <a:gd name="T30" fmla="*/ 2147483647 w 1816"/>
                <a:gd name="T31" fmla="*/ 2147483647 h 1816"/>
                <a:gd name="T32" fmla="*/ 2147483647 w 1816"/>
                <a:gd name="T33" fmla="*/ 2147483647 h 1816"/>
                <a:gd name="T34" fmla="*/ 2147483647 w 1816"/>
                <a:gd name="T35" fmla="*/ 2147483647 h 1816"/>
                <a:gd name="T36" fmla="*/ 2147483647 w 1816"/>
                <a:gd name="T37" fmla="*/ 2147483647 h 1816"/>
                <a:gd name="T38" fmla="*/ 2147483647 w 1816"/>
                <a:gd name="T39" fmla="*/ 2147483647 h 1816"/>
                <a:gd name="T40" fmla="*/ 2147483647 w 1816"/>
                <a:gd name="T41" fmla="*/ 2147483647 h 1816"/>
                <a:gd name="T42" fmla="*/ 2147483647 w 1816"/>
                <a:gd name="T43" fmla="*/ 2147483647 h 1816"/>
                <a:gd name="T44" fmla="*/ 2147483647 w 1816"/>
                <a:gd name="T45" fmla="*/ 2147483647 h 1816"/>
                <a:gd name="T46" fmla="*/ 2147483647 w 1816"/>
                <a:gd name="T47" fmla="*/ 2147483647 h 1816"/>
                <a:gd name="T48" fmla="*/ 2147483647 w 1816"/>
                <a:gd name="T49" fmla="*/ 2147483647 h 1816"/>
                <a:gd name="T50" fmla="*/ 2147483647 w 1816"/>
                <a:gd name="T51" fmla="*/ 2147483647 h 1816"/>
                <a:gd name="T52" fmla="*/ 2147483647 w 1816"/>
                <a:gd name="T53" fmla="*/ 2147483647 h 1816"/>
                <a:gd name="T54" fmla="*/ 2147483647 w 1816"/>
                <a:gd name="T55" fmla="*/ 2147483647 h 1816"/>
                <a:gd name="T56" fmla="*/ 2147483647 w 1816"/>
                <a:gd name="T57" fmla="*/ 2147483647 h 1816"/>
                <a:gd name="T58" fmla="*/ 2147483647 w 1816"/>
                <a:gd name="T59" fmla="*/ 2147483647 h 1816"/>
                <a:gd name="T60" fmla="*/ 2147483647 w 1816"/>
                <a:gd name="T61" fmla="*/ 2147483647 h 1816"/>
                <a:gd name="T62" fmla="*/ 2147483647 w 1816"/>
                <a:gd name="T63" fmla="*/ 2147483647 h 1816"/>
                <a:gd name="T64" fmla="*/ 2147483647 w 1816"/>
                <a:gd name="T65" fmla="*/ 2147483647 h 1816"/>
                <a:gd name="T66" fmla="*/ 2147483647 w 1816"/>
                <a:gd name="T67" fmla="*/ 2147483647 h 1816"/>
                <a:gd name="T68" fmla="*/ 2147483647 w 1816"/>
                <a:gd name="T69" fmla="*/ 2147483647 h 1816"/>
                <a:gd name="T70" fmla="*/ 2147483647 w 1816"/>
                <a:gd name="T71" fmla="*/ 2147483647 h 1816"/>
                <a:gd name="T72" fmla="*/ 2147483647 w 1816"/>
                <a:gd name="T73" fmla="*/ 2147483647 h 1816"/>
                <a:gd name="T74" fmla="*/ 2147483647 w 1816"/>
                <a:gd name="T75" fmla="*/ 2147483647 h 1816"/>
                <a:gd name="T76" fmla="*/ 2147483647 w 1816"/>
                <a:gd name="T77" fmla="*/ 2147483647 h 1816"/>
                <a:gd name="T78" fmla="*/ 2147483647 w 1816"/>
                <a:gd name="T79" fmla="*/ 2147483647 h 1816"/>
                <a:gd name="T80" fmla="*/ 2147483647 w 1816"/>
                <a:gd name="T81" fmla="*/ 2147483647 h 1816"/>
                <a:gd name="T82" fmla="*/ 2147483647 w 1816"/>
                <a:gd name="T83" fmla="*/ 2147483647 h 1816"/>
                <a:gd name="T84" fmla="*/ 2147483647 w 1816"/>
                <a:gd name="T85" fmla="*/ 2147483647 h 1816"/>
                <a:gd name="T86" fmla="*/ 2147483647 w 1816"/>
                <a:gd name="T87" fmla="*/ 2147483647 h 1816"/>
                <a:gd name="T88" fmla="*/ 2147483647 w 1816"/>
                <a:gd name="T89" fmla="*/ 2147483647 h 1816"/>
                <a:gd name="T90" fmla="*/ 2147483647 w 1816"/>
                <a:gd name="T91" fmla="*/ 2147483647 h 1816"/>
                <a:gd name="T92" fmla="*/ 2147483647 w 1816"/>
                <a:gd name="T93" fmla="*/ 2147483647 h 1816"/>
                <a:gd name="T94" fmla="*/ 2147483647 w 1816"/>
                <a:gd name="T95" fmla="*/ 2147483647 h 1816"/>
                <a:gd name="T96" fmla="*/ 2147483647 w 1816"/>
                <a:gd name="T97" fmla="*/ 2147483647 h 1816"/>
                <a:gd name="T98" fmla="*/ 2147483647 w 1816"/>
                <a:gd name="T99" fmla="*/ 2147483647 h 1816"/>
                <a:gd name="T100" fmla="*/ 2147483647 w 1816"/>
                <a:gd name="T101" fmla="*/ 2147483647 h 1816"/>
                <a:gd name="T102" fmla="*/ 2147483647 w 1816"/>
                <a:gd name="T103" fmla="*/ 2147483647 h 181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816"/>
                <a:gd name="T157" fmla="*/ 0 h 1816"/>
                <a:gd name="T158" fmla="*/ 1816 w 1816"/>
                <a:gd name="T159" fmla="*/ 1816 h 181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816" h="1816">
                  <a:moveTo>
                    <a:pt x="1816" y="978"/>
                  </a:moveTo>
                  <a:lnTo>
                    <a:pt x="1816" y="836"/>
                  </a:lnTo>
                  <a:lnTo>
                    <a:pt x="1710" y="836"/>
                  </a:lnTo>
                  <a:lnTo>
                    <a:pt x="1706" y="792"/>
                  </a:lnTo>
                  <a:lnTo>
                    <a:pt x="1698" y="750"/>
                  </a:lnTo>
                  <a:lnTo>
                    <a:pt x="1688" y="708"/>
                  </a:lnTo>
                  <a:lnTo>
                    <a:pt x="1678" y="666"/>
                  </a:lnTo>
                  <a:lnTo>
                    <a:pt x="1774" y="626"/>
                  </a:lnTo>
                  <a:lnTo>
                    <a:pt x="1718" y="494"/>
                  </a:lnTo>
                  <a:lnTo>
                    <a:pt x="1622" y="534"/>
                  </a:lnTo>
                  <a:lnTo>
                    <a:pt x="1602" y="496"/>
                  </a:lnTo>
                  <a:lnTo>
                    <a:pt x="1578" y="460"/>
                  </a:lnTo>
                  <a:lnTo>
                    <a:pt x="1552" y="424"/>
                  </a:lnTo>
                  <a:lnTo>
                    <a:pt x="1526" y="390"/>
                  </a:lnTo>
                  <a:lnTo>
                    <a:pt x="1600" y="316"/>
                  </a:lnTo>
                  <a:lnTo>
                    <a:pt x="1498" y="216"/>
                  </a:lnTo>
                  <a:lnTo>
                    <a:pt x="1426" y="290"/>
                  </a:lnTo>
                  <a:lnTo>
                    <a:pt x="1392" y="262"/>
                  </a:lnTo>
                  <a:lnTo>
                    <a:pt x="1356" y="236"/>
                  </a:lnTo>
                  <a:lnTo>
                    <a:pt x="1318" y="214"/>
                  </a:lnTo>
                  <a:lnTo>
                    <a:pt x="1280" y="192"/>
                  </a:lnTo>
                  <a:lnTo>
                    <a:pt x="1320" y="96"/>
                  </a:lnTo>
                  <a:lnTo>
                    <a:pt x="1188" y="42"/>
                  </a:lnTo>
                  <a:lnTo>
                    <a:pt x="1150" y="138"/>
                  </a:lnTo>
                  <a:lnTo>
                    <a:pt x="1108" y="126"/>
                  </a:lnTo>
                  <a:lnTo>
                    <a:pt x="1066" y="116"/>
                  </a:lnTo>
                  <a:lnTo>
                    <a:pt x="1022" y="110"/>
                  </a:lnTo>
                  <a:lnTo>
                    <a:pt x="978" y="104"/>
                  </a:lnTo>
                  <a:lnTo>
                    <a:pt x="978" y="0"/>
                  </a:lnTo>
                  <a:lnTo>
                    <a:pt x="836" y="0"/>
                  </a:lnTo>
                  <a:lnTo>
                    <a:pt x="836" y="104"/>
                  </a:lnTo>
                  <a:lnTo>
                    <a:pt x="792" y="110"/>
                  </a:lnTo>
                  <a:lnTo>
                    <a:pt x="750" y="116"/>
                  </a:lnTo>
                  <a:lnTo>
                    <a:pt x="706" y="126"/>
                  </a:lnTo>
                  <a:lnTo>
                    <a:pt x="666" y="138"/>
                  </a:lnTo>
                  <a:lnTo>
                    <a:pt x="626" y="42"/>
                  </a:lnTo>
                  <a:lnTo>
                    <a:pt x="494" y="96"/>
                  </a:lnTo>
                  <a:lnTo>
                    <a:pt x="534" y="192"/>
                  </a:lnTo>
                  <a:lnTo>
                    <a:pt x="496" y="214"/>
                  </a:lnTo>
                  <a:lnTo>
                    <a:pt x="460" y="236"/>
                  </a:lnTo>
                  <a:lnTo>
                    <a:pt x="424" y="262"/>
                  </a:lnTo>
                  <a:lnTo>
                    <a:pt x="390" y="290"/>
                  </a:lnTo>
                  <a:lnTo>
                    <a:pt x="316" y="216"/>
                  </a:lnTo>
                  <a:lnTo>
                    <a:pt x="216" y="316"/>
                  </a:lnTo>
                  <a:lnTo>
                    <a:pt x="288" y="390"/>
                  </a:lnTo>
                  <a:lnTo>
                    <a:pt x="262" y="424"/>
                  </a:lnTo>
                  <a:lnTo>
                    <a:pt x="236" y="460"/>
                  </a:lnTo>
                  <a:lnTo>
                    <a:pt x="214" y="496"/>
                  </a:lnTo>
                  <a:lnTo>
                    <a:pt x="192" y="534"/>
                  </a:lnTo>
                  <a:lnTo>
                    <a:pt x="96" y="494"/>
                  </a:lnTo>
                  <a:lnTo>
                    <a:pt x="42" y="626"/>
                  </a:lnTo>
                  <a:lnTo>
                    <a:pt x="138" y="666"/>
                  </a:lnTo>
                  <a:lnTo>
                    <a:pt x="126" y="708"/>
                  </a:lnTo>
                  <a:lnTo>
                    <a:pt x="116" y="750"/>
                  </a:lnTo>
                  <a:lnTo>
                    <a:pt x="108" y="792"/>
                  </a:lnTo>
                  <a:lnTo>
                    <a:pt x="104" y="836"/>
                  </a:lnTo>
                  <a:lnTo>
                    <a:pt x="0" y="836"/>
                  </a:lnTo>
                  <a:lnTo>
                    <a:pt x="0" y="978"/>
                  </a:lnTo>
                  <a:lnTo>
                    <a:pt x="104" y="978"/>
                  </a:lnTo>
                  <a:lnTo>
                    <a:pt x="108" y="1022"/>
                  </a:lnTo>
                  <a:lnTo>
                    <a:pt x="116" y="1066"/>
                  </a:lnTo>
                  <a:lnTo>
                    <a:pt x="126" y="1108"/>
                  </a:lnTo>
                  <a:lnTo>
                    <a:pt x="138" y="1150"/>
                  </a:lnTo>
                  <a:lnTo>
                    <a:pt x="42" y="1190"/>
                  </a:lnTo>
                  <a:lnTo>
                    <a:pt x="96" y="1320"/>
                  </a:lnTo>
                  <a:lnTo>
                    <a:pt x="192" y="1280"/>
                  </a:lnTo>
                  <a:lnTo>
                    <a:pt x="214" y="1320"/>
                  </a:lnTo>
                  <a:lnTo>
                    <a:pt x="236" y="1356"/>
                  </a:lnTo>
                  <a:lnTo>
                    <a:pt x="262" y="1392"/>
                  </a:lnTo>
                  <a:lnTo>
                    <a:pt x="288" y="1426"/>
                  </a:lnTo>
                  <a:lnTo>
                    <a:pt x="216" y="1500"/>
                  </a:lnTo>
                  <a:lnTo>
                    <a:pt x="316" y="1600"/>
                  </a:lnTo>
                  <a:lnTo>
                    <a:pt x="390" y="1526"/>
                  </a:lnTo>
                  <a:lnTo>
                    <a:pt x="424" y="1554"/>
                  </a:lnTo>
                  <a:lnTo>
                    <a:pt x="460" y="1578"/>
                  </a:lnTo>
                  <a:lnTo>
                    <a:pt x="496" y="1602"/>
                  </a:lnTo>
                  <a:lnTo>
                    <a:pt x="534" y="1622"/>
                  </a:lnTo>
                  <a:lnTo>
                    <a:pt x="494" y="1718"/>
                  </a:lnTo>
                  <a:lnTo>
                    <a:pt x="626" y="1774"/>
                  </a:lnTo>
                  <a:lnTo>
                    <a:pt x="666" y="1678"/>
                  </a:lnTo>
                  <a:lnTo>
                    <a:pt x="706" y="1690"/>
                  </a:lnTo>
                  <a:lnTo>
                    <a:pt x="750" y="1698"/>
                  </a:lnTo>
                  <a:lnTo>
                    <a:pt x="792" y="1706"/>
                  </a:lnTo>
                  <a:lnTo>
                    <a:pt x="836" y="1712"/>
                  </a:lnTo>
                  <a:lnTo>
                    <a:pt x="836" y="1816"/>
                  </a:lnTo>
                  <a:lnTo>
                    <a:pt x="978" y="1816"/>
                  </a:lnTo>
                  <a:lnTo>
                    <a:pt x="978" y="1712"/>
                  </a:lnTo>
                  <a:lnTo>
                    <a:pt x="1022" y="1706"/>
                  </a:lnTo>
                  <a:lnTo>
                    <a:pt x="1066" y="1698"/>
                  </a:lnTo>
                  <a:lnTo>
                    <a:pt x="1108" y="1690"/>
                  </a:lnTo>
                  <a:lnTo>
                    <a:pt x="1150" y="1678"/>
                  </a:lnTo>
                  <a:lnTo>
                    <a:pt x="1188" y="1774"/>
                  </a:lnTo>
                  <a:lnTo>
                    <a:pt x="1320" y="1718"/>
                  </a:lnTo>
                  <a:lnTo>
                    <a:pt x="1280" y="1622"/>
                  </a:lnTo>
                  <a:lnTo>
                    <a:pt x="1318" y="1602"/>
                  </a:lnTo>
                  <a:lnTo>
                    <a:pt x="1356" y="1578"/>
                  </a:lnTo>
                  <a:lnTo>
                    <a:pt x="1392" y="1554"/>
                  </a:lnTo>
                  <a:lnTo>
                    <a:pt x="1426" y="1526"/>
                  </a:lnTo>
                  <a:lnTo>
                    <a:pt x="1498" y="1600"/>
                  </a:lnTo>
                  <a:lnTo>
                    <a:pt x="1600" y="1500"/>
                  </a:lnTo>
                  <a:lnTo>
                    <a:pt x="1526" y="1426"/>
                  </a:lnTo>
                  <a:lnTo>
                    <a:pt x="1552" y="1392"/>
                  </a:lnTo>
                  <a:lnTo>
                    <a:pt x="1578" y="1356"/>
                  </a:lnTo>
                  <a:lnTo>
                    <a:pt x="1602" y="1320"/>
                  </a:lnTo>
                  <a:lnTo>
                    <a:pt x="1622" y="1280"/>
                  </a:lnTo>
                  <a:lnTo>
                    <a:pt x="1718" y="1320"/>
                  </a:lnTo>
                  <a:lnTo>
                    <a:pt x="1774" y="1190"/>
                  </a:lnTo>
                  <a:lnTo>
                    <a:pt x="1678" y="1150"/>
                  </a:lnTo>
                  <a:lnTo>
                    <a:pt x="1688" y="1108"/>
                  </a:lnTo>
                  <a:lnTo>
                    <a:pt x="1698" y="1066"/>
                  </a:lnTo>
                  <a:lnTo>
                    <a:pt x="1706" y="1022"/>
                  </a:lnTo>
                  <a:lnTo>
                    <a:pt x="1710" y="978"/>
                  </a:lnTo>
                  <a:lnTo>
                    <a:pt x="1816" y="978"/>
                  </a:lnTo>
                  <a:close/>
                  <a:moveTo>
                    <a:pt x="908" y="1614"/>
                  </a:moveTo>
                  <a:lnTo>
                    <a:pt x="908" y="1614"/>
                  </a:lnTo>
                  <a:lnTo>
                    <a:pt x="872" y="1612"/>
                  </a:lnTo>
                  <a:lnTo>
                    <a:pt x="836" y="1610"/>
                  </a:lnTo>
                  <a:lnTo>
                    <a:pt x="800" y="1606"/>
                  </a:lnTo>
                  <a:lnTo>
                    <a:pt x="766" y="1600"/>
                  </a:lnTo>
                  <a:lnTo>
                    <a:pt x="730" y="1592"/>
                  </a:lnTo>
                  <a:lnTo>
                    <a:pt x="698" y="1582"/>
                  </a:lnTo>
                  <a:lnTo>
                    <a:pt x="664" y="1570"/>
                  </a:lnTo>
                  <a:lnTo>
                    <a:pt x="632" y="1558"/>
                  </a:lnTo>
                  <a:lnTo>
                    <a:pt x="602" y="1544"/>
                  </a:lnTo>
                  <a:lnTo>
                    <a:pt x="570" y="1528"/>
                  </a:lnTo>
                  <a:lnTo>
                    <a:pt x="542" y="1512"/>
                  </a:lnTo>
                  <a:lnTo>
                    <a:pt x="512" y="1492"/>
                  </a:lnTo>
                  <a:lnTo>
                    <a:pt x="484" y="1474"/>
                  </a:lnTo>
                  <a:lnTo>
                    <a:pt x="458" y="1452"/>
                  </a:lnTo>
                  <a:lnTo>
                    <a:pt x="432" y="1430"/>
                  </a:lnTo>
                  <a:lnTo>
                    <a:pt x="408" y="1406"/>
                  </a:lnTo>
                  <a:lnTo>
                    <a:pt x="384" y="1382"/>
                  </a:lnTo>
                  <a:lnTo>
                    <a:pt x="362" y="1356"/>
                  </a:lnTo>
                  <a:lnTo>
                    <a:pt x="342" y="1330"/>
                  </a:lnTo>
                  <a:lnTo>
                    <a:pt x="322" y="1302"/>
                  </a:lnTo>
                  <a:lnTo>
                    <a:pt x="304" y="1274"/>
                  </a:lnTo>
                  <a:lnTo>
                    <a:pt x="286" y="1244"/>
                  </a:lnTo>
                  <a:lnTo>
                    <a:pt x="272" y="1214"/>
                  </a:lnTo>
                  <a:lnTo>
                    <a:pt x="256" y="1182"/>
                  </a:lnTo>
                  <a:lnTo>
                    <a:pt x="244" y="1150"/>
                  </a:lnTo>
                  <a:lnTo>
                    <a:pt x="234" y="1118"/>
                  </a:lnTo>
                  <a:lnTo>
                    <a:pt x="224" y="1084"/>
                  </a:lnTo>
                  <a:lnTo>
                    <a:pt x="216" y="1050"/>
                  </a:lnTo>
                  <a:lnTo>
                    <a:pt x="210" y="1016"/>
                  </a:lnTo>
                  <a:lnTo>
                    <a:pt x="206" y="980"/>
                  </a:lnTo>
                  <a:lnTo>
                    <a:pt x="202" y="944"/>
                  </a:lnTo>
                  <a:lnTo>
                    <a:pt x="202" y="908"/>
                  </a:lnTo>
                  <a:lnTo>
                    <a:pt x="202" y="872"/>
                  </a:lnTo>
                  <a:lnTo>
                    <a:pt x="206" y="836"/>
                  </a:lnTo>
                  <a:lnTo>
                    <a:pt x="210" y="800"/>
                  </a:lnTo>
                  <a:lnTo>
                    <a:pt x="216" y="766"/>
                  </a:lnTo>
                  <a:lnTo>
                    <a:pt x="224" y="732"/>
                  </a:lnTo>
                  <a:lnTo>
                    <a:pt x="234" y="698"/>
                  </a:lnTo>
                  <a:lnTo>
                    <a:pt x="244" y="664"/>
                  </a:lnTo>
                  <a:lnTo>
                    <a:pt x="256" y="632"/>
                  </a:lnTo>
                  <a:lnTo>
                    <a:pt x="272" y="602"/>
                  </a:lnTo>
                  <a:lnTo>
                    <a:pt x="286" y="572"/>
                  </a:lnTo>
                  <a:lnTo>
                    <a:pt x="304" y="542"/>
                  </a:lnTo>
                  <a:lnTo>
                    <a:pt x="322" y="512"/>
                  </a:lnTo>
                  <a:lnTo>
                    <a:pt x="342" y="486"/>
                  </a:lnTo>
                  <a:lnTo>
                    <a:pt x="362" y="458"/>
                  </a:lnTo>
                  <a:lnTo>
                    <a:pt x="384" y="432"/>
                  </a:lnTo>
                  <a:lnTo>
                    <a:pt x="408" y="408"/>
                  </a:lnTo>
                  <a:lnTo>
                    <a:pt x="432" y="386"/>
                  </a:lnTo>
                  <a:lnTo>
                    <a:pt x="458" y="362"/>
                  </a:lnTo>
                  <a:lnTo>
                    <a:pt x="484" y="342"/>
                  </a:lnTo>
                  <a:lnTo>
                    <a:pt x="512" y="322"/>
                  </a:lnTo>
                  <a:lnTo>
                    <a:pt x="542" y="304"/>
                  </a:lnTo>
                  <a:lnTo>
                    <a:pt x="570" y="286"/>
                  </a:lnTo>
                  <a:lnTo>
                    <a:pt x="602" y="272"/>
                  </a:lnTo>
                  <a:lnTo>
                    <a:pt x="632" y="258"/>
                  </a:lnTo>
                  <a:lnTo>
                    <a:pt x="664" y="244"/>
                  </a:lnTo>
                  <a:lnTo>
                    <a:pt x="698" y="234"/>
                  </a:lnTo>
                  <a:lnTo>
                    <a:pt x="730" y="224"/>
                  </a:lnTo>
                  <a:lnTo>
                    <a:pt x="766" y="216"/>
                  </a:lnTo>
                  <a:lnTo>
                    <a:pt x="800" y="210"/>
                  </a:lnTo>
                  <a:lnTo>
                    <a:pt x="836" y="206"/>
                  </a:lnTo>
                  <a:lnTo>
                    <a:pt x="872" y="202"/>
                  </a:lnTo>
                  <a:lnTo>
                    <a:pt x="908" y="202"/>
                  </a:lnTo>
                  <a:lnTo>
                    <a:pt x="944" y="202"/>
                  </a:lnTo>
                  <a:lnTo>
                    <a:pt x="980" y="206"/>
                  </a:lnTo>
                  <a:lnTo>
                    <a:pt x="1014" y="210"/>
                  </a:lnTo>
                  <a:lnTo>
                    <a:pt x="1050" y="216"/>
                  </a:lnTo>
                  <a:lnTo>
                    <a:pt x="1084" y="224"/>
                  </a:lnTo>
                  <a:lnTo>
                    <a:pt x="1118" y="234"/>
                  </a:lnTo>
                  <a:lnTo>
                    <a:pt x="1150" y="244"/>
                  </a:lnTo>
                  <a:lnTo>
                    <a:pt x="1182" y="258"/>
                  </a:lnTo>
                  <a:lnTo>
                    <a:pt x="1214" y="272"/>
                  </a:lnTo>
                  <a:lnTo>
                    <a:pt x="1244" y="286"/>
                  </a:lnTo>
                  <a:lnTo>
                    <a:pt x="1274" y="304"/>
                  </a:lnTo>
                  <a:lnTo>
                    <a:pt x="1302" y="322"/>
                  </a:lnTo>
                  <a:lnTo>
                    <a:pt x="1330" y="342"/>
                  </a:lnTo>
                  <a:lnTo>
                    <a:pt x="1356" y="362"/>
                  </a:lnTo>
                  <a:lnTo>
                    <a:pt x="1382" y="386"/>
                  </a:lnTo>
                  <a:lnTo>
                    <a:pt x="1406" y="408"/>
                  </a:lnTo>
                  <a:lnTo>
                    <a:pt x="1430" y="432"/>
                  </a:lnTo>
                  <a:lnTo>
                    <a:pt x="1452" y="458"/>
                  </a:lnTo>
                  <a:lnTo>
                    <a:pt x="1474" y="486"/>
                  </a:lnTo>
                  <a:lnTo>
                    <a:pt x="1492" y="512"/>
                  </a:lnTo>
                  <a:lnTo>
                    <a:pt x="1512" y="542"/>
                  </a:lnTo>
                  <a:lnTo>
                    <a:pt x="1528" y="572"/>
                  </a:lnTo>
                  <a:lnTo>
                    <a:pt x="1544" y="602"/>
                  </a:lnTo>
                  <a:lnTo>
                    <a:pt x="1558" y="632"/>
                  </a:lnTo>
                  <a:lnTo>
                    <a:pt x="1570" y="664"/>
                  </a:lnTo>
                  <a:lnTo>
                    <a:pt x="1582" y="698"/>
                  </a:lnTo>
                  <a:lnTo>
                    <a:pt x="1592" y="732"/>
                  </a:lnTo>
                  <a:lnTo>
                    <a:pt x="1598" y="766"/>
                  </a:lnTo>
                  <a:lnTo>
                    <a:pt x="1606" y="800"/>
                  </a:lnTo>
                  <a:lnTo>
                    <a:pt x="1610" y="836"/>
                  </a:lnTo>
                  <a:lnTo>
                    <a:pt x="1612" y="872"/>
                  </a:lnTo>
                  <a:lnTo>
                    <a:pt x="1614" y="908"/>
                  </a:lnTo>
                  <a:lnTo>
                    <a:pt x="1612" y="944"/>
                  </a:lnTo>
                  <a:lnTo>
                    <a:pt x="1610" y="980"/>
                  </a:lnTo>
                  <a:lnTo>
                    <a:pt x="1606" y="1016"/>
                  </a:lnTo>
                  <a:lnTo>
                    <a:pt x="1598" y="1050"/>
                  </a:lnTo>
                  <a:lnTo>
                    <a:pt x="1592" y="1084"/>
                  </a:lnTo>
                  <a:lnTo>
                    <a:pt x="1582" y="1118"/>
                  </a:lnTo>
                  <a:lnTo>
                    <a:pt x="1570" y="1150"/>
                  </a:lnTo>
                  <a:lnTo>
                    <a:pt x="1558" y="1182"/>
                  </a:lnTo>
                  <a:lnTo>
                    <a:pt x="1544" y="1214"/>
                  </a:lnTo>
                  <a:lnTo>
                    <a:pt x="1528" y="1244"/>
                  </a:lnTo>
                  <a:lnTo>
                    <a:pt x="1512" y="1274"/>
                  </a:lnTo>
                  <a:lnTo>
                    <a:pt x="1492" y="1302"/>
                  </a:lnTo>
                  <a:lnTo>
                    <a:pt x="1474" y="1330"/>
                  </a:lnTo>
                  <a:lnTo>
                    <a:pt x="1452" y="1356"/>
                  </a:lnTo>
                  <a:lnTo>
                    <a:pt x="1430" y="1382"/>
                  </a:lnTo>
                  <a:lnTo>
                    <a:pt x="1406" y="1406"/>
                  </a:lnTo>
                  <a:lnTo>
                    <a:pt x="1382" y="1430"/>
                  </a:lnTo>
                  <a:lnTo>
                    <a:pt x="1356" y="1452"/>
                  </a:lnTo>
                  <a:lnTo>
                    <a:pt x="1330" y="1474"/>
                  </a:lnTo>
                  <a:lnTo>
                    <a:pt x="1302" y="1492"/>
                  </a:lnTo>
                  <a:lnTo>
                    <a:pt x="1274" y="1512"/>
                  </a:lnTo>
                  <a:lnTo>
                    <a:pt x="1244" y="1528"/>
                  </a:lnTo>
                  <a:lnTo>
                    <a:pt x="1214" y="1544"/>
                  </a:lnTo>
                  <a:lnTo>
                    <a:pt x="1182" y="1558"/>
                  </a:lnTo>
                  <a:lnTo>
                    <a:pt x="1150" y="1570"/>
                  </a:lnTo>
                  <a:lnTo>
                    <a:pt x="1118" y="1582"/>
                  </a:lnTo>
                  <a:lnTo>
                    <a:pt x="1084" y="1592"/>
                  </a:lnTo>
                  <a:lnTo>
                    <a:pt x="1050" y="1600"/>
                  </a:lnTo>
                  <a:lnTo>
                    <a:pt x="1014" y="1606"/>
                  </a:lnTo>
                  <a:lnTo>
                    <a:pt x="980" y="1610"/>
                  </a:lnTo>
                  <a:lnTo>
                    <a:pt x="944" y="1612"/>
                  </a:lnTo>
                  <a:lnTo>
                    <a:pt x="908" y="1614"/>
                  </a:lnTo>
                  <a:close/>
                </a:path>
              </a:pathLst>
            </a:custGeom>
            <a:solidFill>
              <a:srgbClr val="808080">
                <a:alpha val="7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cap="rnd">
                  <a:solidFill>
                    <a:srgbClr val="000000"/>
                  </a:solidFill>
                  <a:prstDash val="sysDot"/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619307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zh-CN" altLang="en-US" sz="13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11" name="Oval 680">
              <a:extLst>
                <a:ext uri="{FF2B5EF4-FFF2-40B4-BE49-F238E27FC236}">
                  <a16:creationId xmlns:a16="http://schemas.microsoft.com/office/drawing/2014/main" id="{AA6D3D60-DF70-4E68-8A19-93598903F76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7573630" flipH="1">
              <a:off x="2722884" y="2207666"/>
              <a:ext cx="402887" cy="43248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/>
          </p:spPr>
          <p:txBody>
            <a:bodyPr wrap="none" anchor="ctr"/>
            <a:lstStyle/>
            <a:p>
              <a:pPr defTabSz="619307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13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12" name="Arc 681">
              <a:extLst>
                <a:ext uri="{FF2B5EF4-FFF2-40B4-BE49-F238E27FC236}">
                  <a16:creationId xmlns:a16="http://schemas.microsoft.com/office/drawing/2014/main" id="{7F991278-5598-438E-97BD-6BB5041A4516}"/>
                </a:ext>
              </a:extLst>
            </p:cNvPr>
            <p:cNvSpPr>
              <a:spLocks/>
            </p:cNvSpPr>
            <p:nvPr/>
          </p:nvSpPr>
          <p:spPr bwMode="auto">
            <a:xfrm rot="9747201" flipH="1">
              <a:off x="2688279" y="1765349"/>
              <a:ext cx="522547" cy="395592"/>
            </a:xfrm>
            <a:custGeom>
              <a:avLst/>
              <a:gdLst>
                <a:gd name="T0" fmla="*/ 2147483647 w 21600"/>
                <a:gd name="T1" fmla="*/ 0 h 15695"/>
                <a:gd name="T2" fmla="*/ 2147483647 w 21600"/>
                <a:gd name="T3" fmla="*/ 2147483647 h 15695"/>
                <a:gd name="T4" fmla="*/ 0 w 21600"/>
                <a:gd name="T5" fmla="*/ 2147483647 h 15695"/>
                <a:gd name="T6" fmla="*/ 0 60000 65536"/>
                <a:gd name="T7" fmla="*/ 0 60000 65536"/>
                <a:gd name="T8" fmla="*/ 0 60000 65536"/>
                <a:gd name="T9" fmla="*/ 0 w 21600"/>
                <a:gd name="T10" fmla="*/ 0 h 15695"/>
                <a:gd name="T11" fmla="*/ 21600 w 21600"/>
                <a:gd name="T12" fmla="*/ 15695 h 1569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15695" fill="none" extrusionOk="0">
                  <a:moveTo>
                    <a:pt x="14840" y="-1"/>
                  </a:moveTo>
                  <a:cubicBezTo>
                    <a:pt x="19155" y="4079"/>
                    <a:pt x="21600" y="9756"/>
                    <a:pt x="21600" y="15695"/>
                  </a:cubicBezTo>
                </a:path>
                <a:path w="21600" h="15695" stroke="0" extrusionOk="0">
                  <a:moveTo>
                    <a:pt x="14840" y="-1"/>
                  </a:moveTo>
                  <a:cubicBezTo>
                    <a:pt x="19155" y="4079"/>
                    <a:pt x="21600" y="9756"/>
                    <a:pt x="21600" y="15695"/>
                  </a:cubicBezTo>
                  <a:lnTo>
                    <a:pt x="0" y="15695"/>
                  </a:lnTo>
                  <a:lnTo>
                    <a:pt x="14840" y="-1"/>
                  </a:lnTo>
                  <a:close/>
                </a:path>
              </a:pathLst>
            </a:custGeom>
            <a:noFill/>
            <a:ln w="38100">
              <a:solidFill>
                <a:sysClr val="window" lastClr="FFFFFF">
                  <a:lumMod val="50000"/>
                </a:sysClr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zh-CN" altLang="en-US" sz="13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13" name="Arc 683">
              <a:extLst>
                <a:ext uri="{FF2B5EF4-FFF2-40B4-BE49-F238E27FC236}">
                  <a16:creationId xmlns:a16="http://schemas.microsoft.com/office/drawing/2014/main" id="{12147F41-9C7F-4C85-960D-8949C8875576}"/>
                </a:ext>
              </a:extLst>
            </p:cNvPr>
            <p:cNvSpPr>
              <a:spLocks/>
            </p:cNvSpPr>
            <p:nvPr/>
          </p:nvSpPr>
          <p:spPr bwMode="auto">
            <a:xfrm rot="16991942" flipH="1">
              <a:off x="2378376" y="2291349"/>
              <a:ext cx="158480" cy="246262"/>
            </a:xfrm>
            <a:custGeom>
              <a:avLst/>
              <a:gdLst>
                <a:gd name="T0" fmla="*/ 2147483647 w 21600"/>
                <a:gd name="T1" fmla="*/ 0 h 31203"/>
                <a:gd name="T2" fmla="*/ 2147483647 w 21600"/>
                <a:gd name="T3" fmla="*/ 2147483647 h 31203"/>
                <a:gd name="T4" fmla="*/ 0 w 21600"/>
                <a:gd name="T5" fmla="*/ 2147483647 h 31203"/>
                <a:gd name="T6" fmla="*/ 0 60000 65536"/>
                <a:gd name="T7" fmla="*/ 0 60000 65536"/>
                <a:gd name="T8" fmla="*/ 0 60000 65536"/>
                <a:gd name="T9" fmla="*/ 0 w 21600"/>
                <a:gd name="T10" fmla="*/ 0 h 31203"/>
                <a:gd name="T11" fmla="*/ 21600 w 21600"/>
                <a:gd name="T12" fmla="*/ 31203 h 3120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1203" fill="none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  <a:cubicBezTo>
                    <a:pt x="21600" y="24780"/>
                    <a:pt x="20785" y="28155"/>
                    <a:pt x="19224" y="31202"/>
                  </a:cubicBezTo>
                </a:path>
                <a:path w="21600" h="31203" stroke="0" extrusionOk="0">
                  <a:moveTo>
                    <a:pt x="3237" y="-1"/>
                  </a:moveTo>
                  <a:cubicBezTo>
                    <a:pt x="13795" y="1600"/>
                    <a:pt x="21600" y="10676"/>
                    <a:pt x="21600" y="21356"/>
                  </a:cubicBezTo>
                  <a:cubicBezTo>
                    <a:pt x="21600" y="24780"/>
                    <a:pt x="20785" y="28155"/>
                    <a:pt x="19224" y="31202"/>
                  </a:cubicBezTo>
                  <a:lnTo>
                    <a:pt x="0" y="21356"/>
                  </a:lnTo>
                  <a:lnTo>
                    <a:pt x="3237" y="-1"/>
                  </a:lnTo>
                  <a:close/>
                </a:path>
              </a:pathLst>
            </a:custGeom>
            <a:noFill/>
            <a:ln w="38100">
              <a:solidFill>
                <a:sysClr val="window" lastClr="FFFFFF">
                  <a:lumMod val="50000"/>
                </a:sysClr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zh-CN" altLang="en-US" sz="13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14" name="Content Placeholder 2">
              <a:extLst>
                <a:ext uri="{FF2B5EF4-FFF2-40B4-BE49-F238E27FC236}">
                  <a16:creationId xmlns:a16="http://schemas.microsoft.com/office/drawing/2014/main" id="{E6BFFBB9-4B18-49B4-8E1E-9D4D8FB6F104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034111" y="1068381"/>
              <a:ext cx="1186069" cy="241058"/>
            </a:xfrm>
            <a:prstGeom prst="rect">
              <a:avLst/>
            </a:prstGeom>
          </p:spPr>
          <p:txBody>
            <a:bodyPr vert="horz" lIns="46449" tIns="23225" rIns="46449" bIns="23225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  <a:defRPr/>
              </a:pPr>
              <a:r>
                <a:rPr lang="zh-CN" altLang="en-US" sz="1200" b="1" dirty="0">
                  <a:solidFill>
                    <a:srgbClr val="06174C"/>
                  </a:solidFill>
                  <a:cs typeface="+mn-ea"/>
                  <a:sym typeface="+mn-lt"/>
                </a:rPr>
                <a:t>销售预测</a:t>
              </a:r>
              <a:endParaRPr lang="en-US" sz="1200" b="1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15" name="Content Placeholder 2">
              <a:extLst>
                <a:ext uri="{FF2B5EF4-FFF2-40B4-BE49-F238E27FC236}">
                  <a16:creationId xmlns:a16="http://schemas.microsoft.com/office/drawing/2014/main" id="{CC509B2A-4BAC-47C4-942F-07DEC2F7FB68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684869" y="2300999"/>
              <a:ext cx="778337" cy="245780"/>
            </a:xfrm>
            <a:prstGeom prst="rect">
              <a:avLst/>
            </a:prstGeom>
          </p:spPr>
          <p:txBody>
            <a:bodyPr vert="horz" lIns="46449" tIns="23225" rIns="46449" bIns="23225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  <a:defRPr/>
              </a:pPr>
              <a:r>
                <a:rPr lang="zh-CN" altLang="en-US" sz="1200" b="1" dirty="0">
                  <a:solidFill>
                    <a:srgbClr val="06174C"/>
                  </a:solidFill>
                  <a:cs typeface="+mn-ea"/>
                  <a:sym typeface="+mn-lt"/>
                </a:rPr>
                <a:t>补 货</a:t>
              </a:r>
              <a:endParaRPr lang="en-US" sz="1200" b="1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16" name="Content Placeholder 2">
              <a:extLst>
                <a:ext uri="{FF2B5EF4-FFF2-40B4-BE49-F238E27FC236}">
                  <a16:creationId xmlns:a16="http://schemas.microsoft.com/office/drawing/2014/main" id="{326C9B1F-C5FC-4992-B990-8C9226CD7761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3188546" y="1628062"/>
              <a:ext cx="705028" cy="186092"/>
            </a:xfrm>
            <a:prstGeom prst="rect">
              <a:avLst/>
            </a:prstGeom>
          </p:spPr>
          <p:txBody>
            <a:bodyPr vert="horz" lIns="46449" tIns="23225" rIns="46449" bIns="23225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  <a:defRPr/>
              </a:pPr>
              <a:r>
                <a:rPr lang="zh-CN" altLang="en-US" sz="1200" b="1" dirty="0">
                  <a:solidFill>
                    <a:srgbClr val="06174C"/>
                  </a:solidFill>
                  <a:cs typeface="+mn-ea"/>
                  <a:sym typeface="+mn-lt"/>
                </a:rPr>
                <a:t>供 应</a:t>
              </a:r>
              <a:endParaRPr lang="en-US" sz="1200" b="1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grpSp>
          <p:nvGrpSpPr>
            <p:cNvPr id="17" name="Group 58">
              <a:extLst>
                <a:ext uri="{FF2B5EF4-FFF2-40B4-BE49-F238E27FC236}">
                  <a16:creationId xmlns:a16="http://schemas.microsoft.com/office/drawing/2014/main" id="{5F0AB26B-B344-4859-889B-89456DCE242F}"/>
                </a:ext>
              </a:extLst>
            </p:cNvPr>
            <p:cNvGrpSpPr/>
            <p:nvPr/>
          </p:nvGrpSpPr>
          <p:grpSpPr>
            <a:xfrm flipH="1">
              <a:off x="2849127" y="2355221"/>
              <a:ext cx="143888" cy="134042"/>
              <a:chOff x="5607370" y="3562829"/>
              <a:chExt cx="587140" cy="587140"/>
            </a:xfrm>
            <a:noFill/>
          </p:grpSpPr>
          <p:sp>
            <p:nvSpPr>
              <p:cNvPr id="35" name="Freeform 59">
                <a:extLst>
                  <a:ext uri="{FF2B5EF4-FFF2-40B4-BE49-F238E27FC236}">
                    <a16:creationId xmlns:a16="http://schemas.microsoft.com/office/drawing/2014/main" id="{4C8AA9AE-BCE8-43C0-9EE7-09303ED2D8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6497" y="3702123"/>
                <a:ext cx="308897" cy="308544"/>
              </a:xfrm>
              <a:custGeom>
                <a:avLst/>
                <a:gdLst>
                  <a:gd name="T0" fmla="*/ 183 w 371"/>
                  <a:gd name="T1" fmla="*/ 1 h 370"/>
                  <a:gd name="T2" fmla="*/ 2 w 371"/>
                  <a:gd name="T3" fmla="*/ 187 h 370"/>
                  <a:gd name="T4" fmla="*/ 188 w 371"/>
                  <a:gd name="T5" fmla="*/ 369 h 370"/>
                  <a:gd name="T6" fmla="*/ 370 w 371"/>
                  <a:gd name="T7" fmla="*/ 182 h 370"/>
                  <a:gd name="T8" fmla="*/ 183 w 371"/>
                  <a:gd name="T9" fmla="*/ 1 h 370"/>
                  <a:gd name="T10" fmla="*/ 184 w 371"/>
                  <a:gd name="T11" fmla="*/ 25 h 370"/>
                  <a:gd name="T12" fmla="*/ 260 w 371"/>
                  <a:gd name="T13" fmla="*/ 43 h 370"/>
                  <a:gd name="T14" fmla="*/ 235 w 371"/>
                  <a:gd name="T15" fmla="*/ 84 h 370"/>
                  <a:gd name="T16" fmla="*/ 186 w 371"/>
                  <a:gd name="T17" fmla="*/ 73 h 370"/>
                  <a:gd name="T18" fmla="*/ 137 w 371"/>
                  <a:gd name="T19" fmla="*/ 84 h 370"/>
                  <a:gd name="T20" fmla="*/ 112 w 371"/>
                  <a:gd name="T21" fmla="*/ 43 h 370"/>
                  <a:gd name="T22" fmla="*/ 184 w 371"/>
                  <a:gd name="T23" fmla="*/ 25 h 370"/>
                  <a:gd name="T24" fmla="*/ 85 w 371"/>
                  <a:gd name="T25" fmla="*/ 234 h 370"/>
                  <a:gd name="T26" fmla="*/ 44 w 371"/>
                  <a:gd name="T27" fmla="*/ 259 h 370"/>
                  <a:gd name="T28" fmla="*/ 26 w 371"/>
                  <a:gd name="T29" fmla="*/ 187 h 370"/>
                  <a:gd name="T30" fmla="*/ 44 w 371"/>
                  <a:gd name="T31" fmla="*/ 111 h 370"/>
                  <a:gd name="T32" fmla="*/ 85 w 371"/>
                  <a:gd name="T33" fmla="*/ 136 h 370"/>
                  <a:gd name="T34" fmla="*/ 74 w 371"/>
                  <a:gd name="T35" fmla="*/ 185 h 370"/>
                  <a:gd name="T36" fmla="*/ 85 w 371"/>
                  <a:gd name="T37" fmla="*/ 234 h 370"/>
                  <a:gd name="T38" fmla="*/ 188 w 371"/>
                  <a:gd name="T39" fmla="*/ 345 h 370"/>
                  <a:gd name="T40" fmla="*/ 112 w 371"/>
                  <a:gd name="T41" fmla="*/ 327 h 370"/>
                  <a:gd name="T42" fmla="*/ 137 w 371"/>
                  <a:gd name="T43" fmla="*/ 286 h 370"/>
                  <a:gd name="T44" fmla="*/ 186 w 371"/>
                  <a:gd name="T45" fmla="*/ 297 h 370"/>
                  <a:gd name="T46" fmla="*/ 235 w 371"/>
                  <a:gd name="T47" fmla="*/ 286 h 370"/>
                  <a:gd name="T48" fmla="*/ 260 w 371"/>
                  <a:gd name="T49" fmla="*/ 327 h 370"/>
                  <a:gd name="T50" fmla="*/ 188 w 371"/>
                  <a:gd name="T51" fmla="*/ 345 h 370"/>
                  <a:gd name="T52" fmla="*/ 186 w 371"/>
                  <a:gd name="T53" fmla="*/ 273 h 370"/>
                  <a:gd name="T54" fmla="*/ 98 w 371"/>
                  <a:gd name="T55" fmla="*/ 185 h 370"/>
                  <a:gd name="T56" fmla="*/ 186 w 371"/>
                  <a:gd name="T57" fmla="*/ 97 h 370"/>
                  <a:gd name="T58" fmla="*/ 274 w 371"/>
                  <a:gd name="T59" fmla="*/ 185 h 370"/>
                  <a:gd name="T60" fmla="*/ 186 w 371"/>
                  <a:gd name="T61" fmla="*/ 273 h 370"/>
                  <a:gd name="T62" fmla="*/ 286 w 371"/>
                  <a:gd name="T63" fmla="*/ 234 h 370"/>
                  <a:gd name="T64" fmla="*/ 298 w 371"/>
                  <a:gd name="T65" fmla="*/ 185 h 370"/>
                  <a:gd name="T66" fmla="*/ 286 w 371"/>
                  <a:gd name="T67" fmla="*/ 136 h 370"/>
                  <a:gd name="T68" fmla="*/ 328 w 371"/>
                  <a:gd name="T69" fmla="*/ 111 h 370"/>
                  <a:gd name="T70" fmla="*/ 346 w 371"/>
                  <a:gd name="T71" fmla="*/ 183 h 370"/>
                  <a:gd name="T72" fmla="*/ 328 w 371"/>
                  <a:gd name="T73" fmla="*/ 259 h 370"/>
                  <a:gd name="T74" fmla="*/ 286 w 371"/>
                  <a:gd name="T75" fmla="*/ 234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71" h="370">
                    <a:moveTo>
                      <a:pt x="183" y="1"/>
                    </a:moveTo>
                    <a:cubicBezTo>
                      <a:pt x="82" y="2"/>
                      <a:pt x="0" y="86"/>
                      <a:pt x="2" y="187"/>
                    </a:cubicBezTo>
                    <a:cubicBezTo>
                      <a:pt x="3" y="289"/>
                      <a:pt x="87" y="370"/>
                      <a:pt x="188" y="369"/>
                    </a:cubicBezTo>
                    <a:cubicBezTo>
                      <a:pt x="290" y="368"/>
                      <a:pt x="371" y="284"/>
                      <a:pt x="370" y="182"/>
                    </a:cubicBezTo>
                    <a:cubicBezTo>
                      <a:pt x="368" y="81"/>
                      <a:pt x="285" y="0"/>
                      <a:pt x="183" y="1"/>
                    </a:cubicBezTo>
                    <a:close/>
                    <a:moveTo>
                      <a:pt x="184" y="25"/>
                    </a:moveTo>
                    <a:cubicBezTo>
                      <a:pt x="211" y="25"/>
                      <a:pt x="237" y="31"/>
                      <a:pt x="260" y="43"/>
                    </a:cubicBezTo>
                    <a:cubicBezTo>
                      <a:pt x="235" y="84"/>
                      <a:pt x="235" y="84"/>
                      <a:pt x="235" y="84"/>
                    </a:cubicBezTo>
                    <a:cubicBezTo>
                      <a:pt x="220" y="77"/>
                      <a:pt x="203" y="73"/>
                      <a:pt x="186" y="73"/>
                    </a:cubicBezTo>
                    <a:cubicBezTo>
                      <a:pt x="168" y="73"/>
                      <a:pt x="151" y="77"/>
                      <a:pt x="137" y="84"/>
                    </a:cubicBezTo>
                    <a:cubicBezTo>
                      <a:pt x="112" y="43"/>
                      <a:pt x="112" y="43"/>
                      <a:pt x="112" y="43"/>
                    </a:cubicBezTo>
                    <a:cubicBezTo>
                      <a:pt x="133" y="32"/>
                      <a:pt x="158" y="25"/>
                      <a:pt x="184" y="25"/>
                    </a:cubicBezTo>
                    <a:close/>
                    <a:moveTo>
                      <a:pt x="85" y="234"/>
                    </a:moveTo>
                    <a:cubicBezTo>
                      <a:pt x="44" y="259"/>
                      <a:pt x="44" y="259"/>
                      <a:pt x="44" y="259"/>
                    </a:cubicBezTo>
                    <a:cubicBezTo>
                      <a:pt x="33" y="237"/>
                      <a:pt x="26" y="213"/>
                      <a:pt x="26" y="187"/>
                    </a:cubicBezTo>
                    <a:cubicBezTo>
                      <a:pt x="25" y="160"/>
                      <a:pt x="32" y="134"/>
                      <a:pt x="44" y="111"/>
                    </a:cubicBezTo>
                    <a:cubicBezTo>
                      <a:pt x="85" y="136"/>
                      <a:pt x="85" y="136"/>
                      <a:pt x="85" y="136"/>
                    </a:cubicBezTo>
                    <a:cubicBezTo>
                      <a:pt x="78" y="151"/>
                      <a:pt x="74" y="167"/>
                      <a:pt x="74" y="185"/>
                    </a:cubicBezTo>
                    <a:cubicBezTo>
                      <a:pt x="74" y="203"/>
                      <a:pt x="78" y="219"/>
                      <a:pt x="85" y="234"/>
                    </a:cubicBezTo>
                    <a:close/>
                    <a:moveTo>
                      <a:pt x="188" y="345"/>
                    </a:moveTo>
                    <a:cubicBezTo>
                      <a:pt x="161" y="345"/>
                      <a:pt x="135" y="339"/>
                      <a:pt x="112" y="327"/>
                    </a:cubicBezTo>
                    <a:cubicBezTo>
                      <a:pt x="137" y="286"/>
                      <a:pt x="137" y="286"/>
                      <a:pt x="137" y="286"/>
                    </a:cubicBezTo>
                    <a:cubicBezTo>
                      <a:pt x="151" y="293"/>
                      <a:pt x="168" y="297"/>
                      <a:pt x="186" y="297"/>
                    </a:cubicBezTo>
                    <a:cubicBezTo>
                      <a:pt x="203" y="297"/>
                      <a:pt x="220" y="293"/>
                      <a:pt x="235" y="286"/>
                    </a:cubicBezTo>
                    <a:cubicBezTo>
                      <a:pt x="260" y="327"/>
                      <a:pt x="260" y="327"/>
                      <a:pt x="260" y="327"/>
                    </a:cubicBezTo>
                    <a:cubicBezTo>
                      <a:pt x="238" y="338"/>
                      <a:pt x="214" y="345"/>
                      <a:pt x="188" y="345"/>
                    </a:cubicBezTo>
                    <a:close/>
                    <a:moveTo>
                      <a:pt x="186" y="273"/>
                    </a:moveTo>
                    <a:cubicBezTo>
                      <a:pt x="137" y="273"/>
                      <a:pt x="98" y="233"/>
                      <a:pt x="98" y="185"/>
                    </a:cubicBezTo>
                    <a:cubicBezTo>
                      <a:pt x="98" y="136"/>
                      <a:pt x="137" y="97"/>
                      <a:pt x="186" y="97"/>
                    </a:cubicBezTo>
                    <a:cubicBezTo>
                      <a:pt x="234" y="97"/>
                      <a:pt x="274" y="136"/>
                      <a:pt x="274" y="185"/>
                    </a:cubicBezTo>
                    <a:cubicBezTo>
                      <a:pt x="274" y="233"/>
                      <a:pt x="234" y="273"/>
                      <a:pt x="186" y="273"/>
                    </a:cubicBezTo>
                    <a:close/>
                    <a:moveTo>
                      <a:pt x="286" y="234"/>
                    </a:moveTo>
                    <a:cubicBezTo>
                      <a:pt x="294" y="219"/>
                      <a:pt x="298" y="203"/>
                      <a:pt x="298" y="185"/>
                    </a:cubicBezTo>
                    <a:cubicBezTo>
                      <a:pt x="298" y="167"/>
                      <a:pt x="294" y="151"/>
                      <a:pt x="286" y="136"/>
                    </a:cubicBezTo>
                    <a:cubicBezTo>
                      <a:pt x="328" y="111"/>
                      <a:pt x="328" y="111"/>
                      <a:pt x="328" y="111"/>
                    </a:cubicBezTo>
                    <a:cubicBezTo>
                      <a:pt x="339" y="133"/>
                      <a:pt x="345" y="157"/>
                      <a:pt x="346" y="183"/>
                    </a:cubicBezTo>
                    <a:cubicBezTo>
                      <a:pt x="346" y="210"/>
                      <a:pt x="340" y="236"/>
                      <a:pt x="328" y="259"/>
                    </a:cubicBezTo>
                    <a:lnTo>
                      <a:pt x="286" y="234"/>
                    </a:lnTo>
                    <a:close/>
                  </a:path>
                </a:pathLst>
              </a:custGeom>
              <a:grpFill/>
              <a:ln>
                <a:solidFill>
                  <a:sysClr val="window" lastClr="FFFFFF">
                    <a:lumMod val="95000"/>
                  </a:sysClr>
                </a:solidFill>
              </a:ln>
            </p:spPr>
            <p:txBody>
              <a:bodyPr vert="horz" wrap="square" lIns="46449" tIns="23225" rIns="46449" bIns="23225" numCol="1" anchor="t" anchorCtr="0" compatLnSpc="1">
                <a:prstTxWarp prst="textNoShape">
                  <a:avLst/>
                </a:prstTxWarp>
              </a:bodyPr>
              <a:lstStyle/>
              <a:p>
                <a:pPr defTabSz="619307">
                  <a:defRPr/>
                </a:pPr>
                <a:endParaRPr lang="en-US" sz="1600" kern="0" dirty="0">
                  <a:solidFill>
                    <a:srgbClr val="06174C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6" name="Freeform 23">
                <a:extLst>
                  <a:ext uri="{FF2B5EF4-FFF2-40B4-BE49-F238E27FC236}">
                    <a16:creationId xmlns:a16="http://schemas.microsoft.com/office/drawing/2014/main" id="{7AF2CF3C-A901-481E-91C2-95C62D5EA6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7370" y="3562829"/>
                <a:ext cx="587140" cy="587140"/>
              </a:xfrm>
              <a:custGeom>
                <a:avLst/>
                <a:gdLst>
                  <a:gd name="T0" fmla="*/ 192 w 384"/>
                  <a:gd name="T1" fmla="*/ 0 h 384"/>
                  <a:gd name="T2" fmla="*/ 0 w 384"/>
                  <a:gd name="T3" fmla="*/ 192 h 384"/>
                  <a:gd name="T4" fmla="*/ 192 w 384"/>
                  <a:gd name="T5" fmla="*/ 384 h 384"/>
                  <a:gd name="T6" fmla="*/ 384 w 384"/>
                  <a:gd name="T7" fmla="*/ 192 h 384"/>
                  <a:gd name="T8" fmla="*/ 192 w 384"/>
                  <a:gd name="T9" fmla="*/ 0 h 384"/>
                  <a:gd name="T10" fmla="*/ 192 w 384"/>
                  <a:gd name="T11" fmla="*/ 349 h 384"/>
                  <a:gd name="T12" fmla="*/ 35 w 384"/>
                  <a:gd name="T13" fmla="*/ 192 h 384"/>
                  <a:gd name="T14" fmla="*/ 192 w 384"/>
                  <a:gd name="T15" fmla="*/ 35 h 384"/>
                  <a:gd name="T16" fmla="*/ 349 w 384"/>
                  <a:gd name="T17" fmla="*/ 192 h 384"/>
                  <a:gd name="T18" fmla="*/ 192 w 384"/>
                  <a:gd name="T19" fmla="*/ 349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4" h="384">
                    <a:moveTo>
                      <a:pt x="192" y="0"/>
                    </a:moveTo>
                    <a:cubicBezTo>
                      <a:pt x="86" y="0"/>
                      <a:pt x="0" y="86"/>
                      <a:pt x="0" y="192"/>
                    </a:cubicBezTo>
                    <a:cubicBezTo>
                      <a:pt x="0" y="298"/>
                      <a:pt x="86" y="384"/>
                      <a:pt x="192" y="384"/>
                    </a:cubicBezTo>
                    <a:cubicBezTo>
                      <a:pt x="298" y="384"/>
                      <a:pt x="384" y="298"/>
                      <a:pt x="384" y="192"/>
                    </a:cubicBezTo>
                    <a:cubicBezTo>
                      <a:pt x="384" y="86"/>
                      <a:pt x="298" y="0"/>
                      <a:pt x="192" y="0"/>
                    </a:cubicBezTo>
                    <a:close/>
                    <a:moveTo>
                      <a:pt x="192" y="349"/>
                    </a:moveTo>
                    <a:cubicBezTo>
                      <a:pt x="105" y="349"/>
                      <a:pt x="35" y="278"/>
                      <a:pt x="35" y="192"/>
                    </a:cubicBezTo>
                    <a:cubicBezTo>
                      <a:pt x="35" y="105"/>
                      <a:pt x="105" y="35"/>
                      <a:pt x="192" y="35"/>
                    </a:cubicBezTo>
                    <a:cubicBezTo>
                      <a:pt x="278" y="35"/>
                      <a:pt x="349" y="105"/>
                      <a:pt x="349" y="192"/>
                    </a:cubicBezTo>
                    <a:cubicBezTo>
                      <a:pt x="349" y="278"/>
                      <a:pt x="278" y="349"/>
                      <a:pt x="192" y="349"/>
                    </a:cubicBezTo>
                    <a:close/>
                  </a:path>
                </a:pathLst>
              </a:custGeom>
              <a:grpFill/>
              <a:ln>
                <a:solidFill>
                  <a:sysClr val="window" lastClr="FFFFFF">
                    <a:lumMod val="95000"/>
                  </a:sysClr>
                </a:solidFill>
              </a:ln>
            </p:spPr>
            <p:txBody>
              <a:bodyPr vert="horz" wrap="square" lIns="46449" tIns="23225" rIns="46449" bIns="23225" numCol="1" anchor="t" anchorCtr="0" compatLnSpc="1">
                <a:prstTxWarp prst="textNoShape">
                  <a:avLst/>
                </a:prstTxWarp>
              </a:bodyPr>
              <a:lstStyle/>
              <a:p>
                <a:pPr defTabSz="619307">
                  <a:defRPr/>
                </a:pPr>
                <a:endParaRPr lang="en-US" sz="1600" kern="0" dirty="0">
                  <a:solidFill>
                    <a:srgbClr val="06174C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8" name="Group 61">
              <a:extLst>
                <a:ext uri="{FF2B5EF4-FFF2-40B4-BE49-F238E27FC236}">
                  <a16:creationId xmlns:a16="http://schemas.microsoft.com/office/drawing/2014/main" id="{7F4A2B59-4BF8-4FF3-BF08-7A403B62B71D}"/>
                </a:ext>
              </a:extLst>
            </p:cNvPr>
            <p:cNvGrpSpPr/>
            <p:nvPr/>
          </p:nvGrpSpPr>
          <p:grpSpPr>
            <a:xfrm flipH="1">
              <a:off x="2780952" y="1150467"/>
              <a:ext cx="206669" cy="192526"/>
              <a:chOff x="6665323" y="3562825"/>
              <a:chExt cx="587140" cy="587140"/>
            </a:xfrm>
            <a:noFill/>
          </p:grpSpPr>
          <p:sp>
            <p:nvSpPr>
              <p:cNvPr id="33" name="Freeform 19">
                <a:extLst>
                  <a:ext uri="{FF2B5EF4-FFF2-40B4-BE49-F238E27FC236}">
                    <a16:creationId xmlns:a16="http://schemas.microsoft.com/office/drawing/2014/main" id="{6A0392C7-08D3-4574-B407-42139D2FC3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8144" y="3735126"/>
                <a:ext cx="301499" cy="242538"/>
              </a:xfrm>
              <a:custGeom>
                <a:avLst/>
                <a:gdLst>
                  <a:gd name="T0" fmla="*/ 393 w 400"/>
                  <a:gd name="T1" fmla="*/ 61 h 322"/>
                  <a:gd name="T2" fmla="*/ 300 w 400"/>
                  <a:gd name="T3" fmla="*/ 3 h 322"/>
                  <a:gd name="T4" fmla="*/ 286 w 400"/>
                  <a:gd name="T5" fmla="*/ 3 h 322"/>
                  <a:gd name="T6" fmla="*/ 200 w 400"/>
                  <a:gd name="T7" fmla="*/ 57 h 322"/>
                  <a:gd name="T8" fmla="*/ 113 w 400"/>
                  <a:gd name="T9" fmla="*/ 3 h 322"/>
                  <a:gd name="T10" fmla="*/ 100 w 400"/>
                  <a:gd name="T11" fmla="*/ 3 h 322"/>
                  <a:gd name="T12" fmla="*/ 6 w 400"/>
                  <a:gd name="T13" fmla="*/ 61 h 322"/>
                  <a:gd name="T14" fmla="*/ 0 w 400"/>
                  <a:gd name="T15" fmla="*/ 73 h 322"/>
                  <a:gd name="T16" fmla="*/ 0 w 400"/>
                  <a:gd name="T17" fmla="*/ 307 h 322"/>
                  <a:gd name="T18" fmla="*/ 6 w 400"/>
                  <a:gd name="T19" fmla="*/ 319 h 322"/>
                  <a:gd name="T20" fmla="*/ 20 w 400"/>
                  <a:gd name="T21" fmla="*/ 319 h 322"/>
                  <a:gd name="T22" fmla="*/ 106 w 400"/>
                  <a:gd name="T23" fmla="*/ 265 h 322"/>
                  <a:gd name="T24" fmla="*/ 193 w 400"/>
                  <a:gd name="T25" fmla="*/ 319 h 322"/>
                  <a:gd name="T26" fmla="*/ 207 w 400"/>
                  <a:gd name="T27" fmla="*/ 319 h 322"/>
                  <a:gd name="T28" fmla="*/ 293 w 400"/>
                  <a:gd name="T29" fmla="*/ 265 h 322"/>
                  <a:gd name="T30" fmla="*/ 380 w 400"/>
                  <a:gd name="T31" fmla="*/ 319 h 322"/>
                  <a:gd name="T32" fmla="*/ 387 w 400"/>
                  <a:gd name="T33" fmla="*/ 321 h 322"/>
                  <a:gd name="T34" fmla="*/ 393 w 400"/>
                  <a:gd name="T35" fmla="*/ 319 h 322"/>
                  <a:gd name="T36" fmla="*/ 400 w 400"/>
                  <a:gd name="T37" fmla="*/ 307 h 322"/>
                  <a:gd name="T38" fmla="*/ 400 w 400"/>
                  <a:gd name="T39" fmla="*/ 73 h 322"/>
                  <a:gd name="T40" fmla="*/ 393 w 400"/>
                  <a:gd name="T41" fmla="*/ 61 h 322"/>
                  <a:gd name="T42" fmla="*/ 93 w 400"/>
                  <a:gd name="T43" fmla="*/ 241 h 322"/>
                  <a:gd name="T44" fmla="*/ 26 w 400"/>
                  <a:gd name="T45" fmla="*/ 283 h 322"/>
                  <a:gd name="T46" fmla="*/ 26 w 400"/>
                  <a:gd name="T47" fmla="*/ 81 h 322"/>
                  <a:gd name="T48" fmla="*/ 93 w 400"/>
                  <a:gd name="T49" fmla="*/ 39 h 322"/>
                  <a:gd name="T50" fmla="*/ 93 w 400"/>
                  <a:gd name="T51" fmla="*/ 241 h 322"/>
                  <a:gd name="T52" fmla="*/ 187 w 400"/>
                  <a:gd name="T53" fmla="*/ 283 h 322"/>
                  <a:gd name="T54" fmla="*/ 119 w 400"/>
                  <a:gd name="T55" fmla="*/ 241 h 322"/>
                  <a:gd name="T56" fmla="*/ 119 w 400"/>
                  <a:gd name="T57" fmla="*/ 39 h 322"/>
                  <a:gd name="T58" fmla="*/ 187 w 400"/>
                  <a:gd name="T59" fmla="*/ 81 h 322"/>
                  <a:gd name="T60" fmla="*/ 187 w 400"/>
                  <a:gd name="T61" fmla="*/ 283 h 322"/>
                  <a:gd name="T62" fmla="*/ 280 w 400"/>
                  <a:gd name="T63" fmla="*/ 241 h 322"/>
                  <a:gd name="T64" fmla="*/ 213 w 400"/>
                  <a:gd name="T65" fmla="*/ 283 h 322"/>
                  <a:gd name="T66" fmla="*/ 213 w 400"/>
                  <a:gd name="T67" fmla="*/ 81 h 322"/>
                  <a:gd name="T68" fmla="*/ 280 w 400"/>
                  <a:gd name="T69" fmla="*/ 39 h 322"/>
                  <a:gd name="T70" fmla="*/ 280 w 400"/>
                  <a:gd name="T71" fmla="*/ 241 h 322"/>
                  <a:gd name="T72" fmla="*/ 374 w 400"/>
                  <a:gd name="T73" fmla="*/ 283 h 322"/>
                  <a:gd name="T74" fmla="*/ 306 w 400"/>
                  <a:gd name="T75" fmla="*/ 241 h 322"/>
                  <a:gd name="T76" fmla="*/ 306 w 400"/>
                  <a:gd name="T77" fmla="*/ 39 h 322"/>
                  <a:gd name="T78" fmla="*/ 374 w 400"/>
                  <a:gd name="T79" fmla="*/ 81 h 322"/>
                  <a:gd name="T80" fmla="*/ 374 w 400"/>
                  <a:gd name="T81" fmla="*/ 283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00" h="322">
                    <a:moveTo>
                      <a:pt x="393" y="61"/>
                    </a:moveTo>
                    <a:cubicBezTo>
                      <a:pt x="300" y="3"/>
                      <a:pt x="300" y="3"/>
                      <a:pt x="300" y="3"/>
                    </a:cubicBezTo>
                    <a:cubicBezTo>
                      <a:pt x="296" y="0"/>
                      <a:pt x="291" y="0"/>
                      <a:pt x="286" y="3"/>
                    </a:cubicBezTo>
                    <a:cubicBezTo>
                      <a:pt x="200" y="57"/>
                      <a:pt x="200" y="57"/>
                      <a:pt x="200" y="57"/>
                    </a:cubicBezTo>
                    <a:cubicBezTo>
                      <a:pt x="113" y="3"/>
                      <a:pt x="113" y="3"/>
                      <a:pt x="113" y="3"/>
                    </a:cubicBezTo>
                    <a:cubicBezTo>
                      <a:pt x="109" y="0"/>
                      <a:pt x="104" y="0"/>
                      <a:pt x="100" y="3"/>
                    </a:cubicBezTo>
                    <a:cubicBezTo>
                      <a:pt x="6" y="61"/>
                      <a:pt x="6" y="61"/>
                      <a:pt x="6" y="61"/>
                    </a:cubicBezTo>
                    <a:cubicBezTo>
                      <a:pt x="2" y="64"/>
                      <a:pt x="0" y="68"/>
                      <a:pt x="0" y="73"/>
                    </a:cubicBezTo>
                    <a:cubicBezTo>
                      <a:pt x="0" y="307"/>
                      <a:pt x="0" y="307"/>
                      <a:pt x="0" y="307"/>
                    </a:cubicBezTo>
                    <a:cubicBezTo>
                      <a:pt x="0" y="312"/>
                      <a:pt x="2" y="317"/>
                      <a:pt x="6" y="319"/>
                    </a:cubicBezTo>
                    <a:cubicBezTo>
                      <a:pt x="11" y="322"/>
                      <a:pt x="16" y="321"/>
                      <a:pt x="20" y="319"/>
                    </a:cubicBezTo>
                    <a:cubicBezTo>
                      <a:pt x="106" y="265"/>
                      <a:pt x="106" y="265"/>
                      <a:pt x="106" y="265"/>
                    </a:cubicBezTo>
                    <a:cubicBezTo>
                      <a:pt x="193" y="319"/>
                      <a:pt x="193" y="319"/>
                      <a:pt x="193" y="319"/>
                    </a:cubicBezTo>
                    <a:cubicBezTo>
                      <a:pt x="197" y="322"/>
                      <a:pt x="202" y="322"/>
                      <a:pt x="207" y="319"/>
                    </a:cubicBezTo>
                    <a:cubicBezTo>
                      <a:pt x="293" y="265"/>
                      <a:pt x="293" y="265"/>
                      <a:pt x="293" y="265"/>
                    </a:cubicBezTo>
                    <a:cubicBezTo>
                      <a:pt x="380" y="319"/>
                      <a:pt x="380" y="319"/>
                      <a:pt x="380" y="319"/>
                    </a:cubicBezTo>
                    <a:cubicBezTo>
                      <a:pt x="382" y="320"/>
                      <a:pt x="384" y="321"/>
                      <a:pt x="387" y="321"/>
                    </a:cubicBezTo>
                    <a:cubicBezTo>
                      <a:pt x="389" y="321"/>
                      <a:pt x="391" y="320"/>
                      <a:pt x="393" y="319"/>
                    </a:cubicBezTo>
                    <a:cubicBezTo>
                      <a:pt x="397" y="317"/>
                      <a:pt x="400" y="312"/>
                      <a:pt x="400" y="307"/>
                    </a:cubicBezTo>
                    <a:cubicBezTo>
                      <a:pt x="400" y="73"/>
                      <a:pt x="400" y="73"/>
                      <a:pt x="400" y="73"/>
                    </a:cubicBezTo>
                    <a:cubicBezTo>
                      <a:pt x="400" y="68"/>
                      <a:pt x="397" y="64"/>
                      <a:pt x="393" y="61"/>
                    </a:cubicBezTo>
                    <a:close/>
                    <a:moveTo>
                      <a:pt x="93" y="241"/>
                    </a:moveTo>
                    <a:cubicBezTo>
                      <a:pt x="26" y="283"/>
                      <a:pt x="26" y="283"/>
                      <a:pt x="26" y="283"/>
                    </a:cubicBezTo>
                    <a:cubicBezTo>
                      <a:pt x="26" y="81"/>
                      <a:pt x="26" y="81"/>
                      <a:pt x="26" y="81"/>
                    </a:cubicBezTo>
                    <a:cubicBezTo>
                      <a:pt x="93" y="39"/>
                      <a:pt x="93" y="39"/>
                      <a:pt x="93" y="39"/>
                    </a:cubicBezTo>
                    <a:lnTo>
                      <a:pt x="93" y="241"/>
                    </a:lnTo>
                    <a:close/>
                    <a:moveTo>
                      <a:pt x="187" y="283"/>
                    </a:moveTo>
                    <a:cubicBezTo>
                      <a:pt x="119" y="241"/>
                      <a:pt x="119" y="241"/>
                      <a:pt x="119" y="241"/>
                    </a:cubicBezTo>
                    <a:cubicBezTo>
                      <a:pt x="119" y="39"/>
                      <a:pt x="119" y="39"/>
                      <a:pt x="119" y="39"/>
                    </a:cubicBezTo>
                    <a:cubicBezTo>
                      <a:pt x="187" y="81"/>
                      <a:pt x="187" y="81"/>
                      <a:pt x="187" y="81"/>
                    </a:cubicBezTo>
                    <a:lnTo>
                      <a:pt x="187" y="283"/>
                    </a:lnTo>
                    <a:close/>
                    <a:moveTo>
                      <a:pt x="280" y="241"/>
                    </a:moveTo>
                    <a:cubicBezTo>
                      <a:pt x="213" y="283"/>
                      <a:pt x="213" y="283"/>
                      <a:pt x="213" y="283"/>
                    </a:cubicBezTo>
                    <a:cubicBezTo>
                      <a:pt x="213" y="81"/>
                      <a:pt x="213" y="81"/>
                      <a:pt x="213" y="81"/>
                    </a:cubicBezTo>
                    <a:cubicBezTo>
                      <a:pt x="280" y="39"/>
                      <a:pt x="280" y="39"/>
                      <a:pt x="280" y="39"/>
                    </a:cubicBezTo>
                    <a:lnTo>
                      <a:pt x="280" y="241"/>
                    </a:lnTo>
                    <a:close/>
                    <a:moveTo>
                      <a:pt x="374" y="283"/>
                    </a:moveTo>
                    <a:cubicBezTo>
                      <a:pt x="306" y="241"/>
                      <a:pt x="306" y="241"/>
                      <a:pt x="306" y="241"/>
                    </a:cubicBezTo>
                    <a:cubicBezTo>
                      <a:pt x="306" y="39"/>
                      <a:pt x="306" y="39"/>
                      <a:pt x="306" y="39"/>
                    </a:cubicBezTo>
                    <a:cubicBezTo>
                      <a:pt x="374" y="81"/>
                      <a:pt x="374" y="81"/>
                      <a:pt x="374" y="81"/>
                    </a:cubicBezTo>
                    <a:lnTo>
                      <a:pt x="374" y="283"/>
                    </a:lnTo>
                    <a:close/>
                  </a:path>
                </a:pathLst>
              </a:custGeom>
              <a:grpFill/>
              <a:ln>
                <a:solidFill>
                  <a:sysClr val="window" lastClr="FFFFFF">
                    <a:lumMod val="95000"/>
                  </a:sysClr>
                </a:solidFill>
              </a:ln>
            </p:spPr>
            <p:txBody>
              <a:bodyPr vert="horz" wrap="square" lIns="46449" tIns="23225" rIns="46449" bIns="23225" numCol="1" anchor="t" anchorCtr="0" compatLnSpc="1">
                <a:prstTxWarp prst="textNoShape">
                  <a:avLst/>
                </a:prstTxWarp>
              </a:bodyPr>
              <a:lstStyle/>
              <a:p>
                <a:pPr defTabSz="619307">
                  <a:defRPr/>
                </a:pPr>
                <a:endParaRPr lang="en-US" sz="1600" kern="0" dirty="0">
                  <a:solidFill>
                    <a:srgbClr val="06174C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4" name="Freeform 23">
                <a:extLst>
                  <a:ext uri="{FF2B5EF4-FFF2-40B4-BE49-F238E27FC236}">
                    <a16:creationId xmlns:a16="http://schemas.microsoft.com/office/drawing/2014/main" id="{EBD86908-F905-4BF5-913A-D2000DEE86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5323" y="3562825"/>
                <a:ext cx="587140" cy="587140"/>
              </a:xfrm>
              <a:custGeom>
                <a:avLst/>
                <a:gdLst>
                  <a:gd name="T0" fmla="*/ 192 w 384"/>
                  <a:gd name="T1" fmla="*/ 0 h 384"/>
                  <a:gd name="T2" fmla="*/ 0 w 384"/>
                  <a:gd name="T3" fmla="*/ 192 h 384"/>
                  <a:gd name="T4" fmla="*/ 192 w 384"/>
                  <a:gd name="T5" fmla="*/ 384 h 384"/>
                  <a:gd name="T6" fmla="*/ 384 w 384"/>
                  <a:gd name="T7" fmla="*/ 192 h 384"/>
                  <a:gd name="T8" fmla="*/ 192 w 384"/>
                  <a:gd name="T9" fmla="*/ 0 h 384"/>
                  <a:gd name="T10" fmla="*/ 192 w 384"/>
                  <a:gd name="T11" fmla="*/ 349 h 384"/>
                  <a:gd name="T12" fmla="*/ 35 w 384"/>
                  <a:gd name="T13" fmla="*/ 192 h 384"/>
                  <a:gd name="T14" fmla="*/ 192 w 384"/>
                  <a:gd name="T15" fmla="*/ 35 h 384"/>
                  <a:gd name="T16" fmla="*/ 349 w 384"/>
                  <a:gd name="T17" fmla="*/ 192 h 384"/>
                  <a:gd name="T18" fmla="*/ 192 w 384"/>
                  <a:gd name="T19" fmla="*/ 349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4" h="384">
                    <a:moveTo>
                      <a:pt x="192" y="0"/>
                    </a:moveTo>
                    <a:cubicBezTo>
                      <a:pt x="86" y="0"/>
                      <a:pt x="0" y="86"/>
                      <a:pt x="0" y="192"/>
                    </a:cubicBezTo>
                    <a:cubicBezTo>
                      <a:pt x="0" y="298"/>
                      <a:pt x="86" y="384"/>
                      <a:pt x="192" y="384"/>
                    </a:cubicBezTo>
                    <a:cubicBezTo>
                      <a:pt x="298" y="384"/>
                      <a:pt x="384" y="298"/>
                      <a:pt x="384" y="192"/>
                    </a:cubicBezTo>
                    <a:cubicBezTo>
                      <a:pt x="384" y="86"/>
                      <a:pt x="298" y="0"/>
                      <a:pt x="192" y="0"/>
                    </a:cubicBezTo>
                    <a:close/>
                    <a:moveTo>
                      <a:pt x="192" y="349"/>
                    </a:moveTo>
                    <a:cubicBezTo>
                      <a:pt x="105" y="349"/>
                      <a:pt x="35" y="278"/>
                      <a:pt x="35" y="192"/>
                    </a:cubicBezTo>
                    <a:cubicBezTo>
                      <a:pt x="35" y="105"/>
                      <a:pt x="105" y="35"/>
                      <a:pt x="192" y="35"/>
                    </a:cubicBezTo>
                    <a:cubicBezTo>
                      <a:pt x="278" y="35"/>
                      <a:pt x="349" y="105"/>
                      <a:pt x="349" y="192"/>
                    </a:cubicBezTo>
                    <a:cubicBezTo>
                      <a:pt x="349" y="278"/>
                      <a:pt x="278" y="349"/>
                      <a:pt x="192" y="349"/>
                    </a:cubicBezTo>
                    <a:close/>
                  </a:path>
                </a:pathLst>
              </a:custGeom>
              <a:grpFill/>
              <a:ln>
                <a:solidFill>
                  <a:sysClr val="window" lastClr="FFFFFF">
                    <a:lumMod val="95000"/>
                  </a:sysClr>
                </a:solidFill>
              </a:ln>
            </p:spPr>
            <p:txBody>
              <a:bodyPr vert="horz" wrap="square" lIns="46449" tIns="23225" rIns="46449" bIns="23225" numCol="1" anchor="t" anchorCtr="0" compatLnSpc="1">
                <a:prstTxWarp prst="textNoShape">
                  <a:avLst/>
                </a:prstTxWarp>
              </a:bodyPr>
              <a:lstStyle/>
              <a:p>
                <a:pPr defTabSz="619307">
                  <a:defRPr/>
                </a:pPr>
                <a:endParaRPr lang="en-US" sz="1600" kern="0" dirty="0">
                  <a:solidFill>
                    <a:srgbClr val="06174C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9" name="Group 64">
              <a:extLst>
                <a:ext uri="{FF2B5EF4-FFF2-40B4-BE49-F238E27FC236}">
                  <a16:creationId xmlns:a16="http://schemas.microsoft.com/office/drawing/2014/main" id="{5A2D3ADE-7D63-451A-8E5D-5965DA0CE505}"/>
                </a:ext>
              </a:extLst>
            </p:cNvPr>
            <p:cNvGrpSpPr/>
            <p:nvPr/>
          </p:nvGrpSpPr>
          <p:grpSpPr>
            <a:xfrm flipH="1">
              <a:off x="2454908" y="1877305"/>
              <a:ext cx="143888" cy="134042"/>
              <a:chOff x="7740352" y="3562825"/>
              <a:chExt cx="587140" cy="587140"/>
            </a:xfrm>
            <a:solidFill>
              <a:schemeClr val="bg1">
                <a:lumMod val="65000"/>
              </a:schemeClr>
            </a:solidFill>
          </p:grpSpPr>
          <p:sp>
            <p:nvSpPr>
              <p:cNvPr id="31" name="Freeform 65">
                <a:extLst>
                  <a:ext uri="{FF2B5EF4-FFF2-40B4-BE49-F238E27FC236}">
                    <a16:creationId xmlns:a16="http://schemas.microsoft.com/office/drawing/2014/main" id="{DCC5B19C-9E6D-4843-8463-A5FF1BE9ED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40352" y="3562825"/>
                <a:ext cx="587140" cy="587140"/>
              </a:xfrm>
              <a:custGeom>
                <a:avLst/>
                <a:gdLst>
                  <a:gd name="T0" fmla="*/ 192 w 384"/>
                  <a:gd name="T1" fmla="*/ 0 h 384"/>
                  <a:gd name="T2" fmla="*/ 0 w 384"/>
                  <a:gd name="T3" fmla="*/ 192 h 384"/>
                  <a:gd name="T4" fmla="*/ 192 w 384"/>
                  <a:gd name="T5" fmla="*/ 384 h 384"/>
                  <a:gd name="T6" fmla="*/ 384 w 384"/>
                  <a:gd name="T7" fmla="*/ 192 h 384"/>
                  <a:gd name="T8" fmla="*/ 192 w 384"/>
                  <a:gd name="T9" fmla="*/ 0 h 384"/>
                  <a:gd name="T10" fmla="*/ 192 w 384"/>
                  <a:gd name="T11" fmla="*/ 349 h 384"/>
                  <a:gd name="T12" fmla="*/ 35 w 384"/>
                  <a:gd name="T13" fmla="*/ 192 h 384"/>
                  <a:gd name="T14" fmla="*/ 192 w 384"/>
                  <a:gd name="T15" fmla="*/ 35 h 384"/>
                  <a:gd name="T16" fmla="*/ 349 w 384"/>
                  <a:gd name="T17" fmla="*/ 192 h 384"/>
                  <a:gd name="T18" fmla="*/ 192 w 384"/>
                  <a:gd name="T19" fmla="*/ 349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4" h="384">
                    <a:moveTo>
                      <a:pt x="192" y="0"/>
                    </a:moveTo>
                    <a:cubicBezTo>
                      <a:pt x="86" y="0"/>
                      <a:pt x="0" y="86"/>
                      <a:pt x="0" y="192"/>
                    </a:cubicBezTo>
                    <a:cubicBezTo>
                      <a:pt x="0" y="298"/>
                      <a:pt x="86" y="384"/>
                      <a:pt x="192" y="384"/>
                    </a:cubicBezTo>
                    <a:cubicBezTo>
                      <a:pt x="298" y="384"/>
                      <a:pt x="384" y="298"/>
                      <a:pt x="384" y="192"/>
                    </a:cubicBezTo>
                    <a:cubicBezTo>
                      <a:pt x="384" y="86"/>
                      <a:pt x="298" y="0"/>
                      <a:pt x="192" y="0"/>
                    </a:cubicBezTo>
                    <a:close/>
                    <a:moveTo>
                      <a:pt x="192" y="349"/>
                    </a:moveTo>
                    <a:cubicBezTo>
                      <a:pt x="105" y="349"/>
                      <a:pt x="35" y="278"/>
                      <a:pt x="35" y="192"/>
                    </a:cubicBezTo>
                    <a:cubicBezTo>
                      <a:pt x="35" y="105"/>
                      <a:pt x="105" y="35"/>
                      <a:pt x="192" y="35"/>
                    </a:cubicBezTo>
                    <a:cubicBezTo>
                      <a:pt x="278" y="35"/>
                      <a:pt x="349" y="105"/>
                      <a:pt x="349" y="192"/>
                    </a:cubicBezTo>
                    <a:cubicBezTo>
                      <a:pt x="349" y="278"/>
                      <a:pt x="278" y="349"/>
                      <a:pt x="192" y="349"/>
                    </a:cubicBezTo>
                    <a:close/>
                  </a:path>
                </a:pathLst>
              </a:custGeom>
              <a:grpFill/>
              <a:ln>
                <a:solidFill>
                  <a:sysClr val="window" lastClr="FFFFFF">
                    <a:lumMod val="95000"/>
                  </a:sysClr>
                </a:solidFill>
              </a:ln>
            </p:spPr>
            <p:txBody>
              <a:bodyPr vert="horz" wrap="square" lIns="46449" tIns="23225" rIns="46449" bIns="23225" numCol="1" anchor="t" anchorCtr="0" compatLnSpc="1">
                <a:prstTxWarp prst="textNoShape">
                  <a:avLst/>
                </a:prstTxWarp>
              </a:bodyPr>
              <a:lstStyle/>
              <a:p>
                <a:pPr defTabSz="619307">
                  <a:defRPr/>
                </a:pPr>
                <a:endParaRPr lang="en-US" sz="1600" kern="0" dirty="0">
                  <a:solidFill>
                    <a:srgbClr val="06174C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2" name="Freeform 27">
                <a:extLst>
                  <a:ext uri="{FF2B5EF4-FFF2-40B4-BE49-F238E27FC236}">
                    <a16:creationId xmlns:a16="http://schemas.microsoft.com/office/drawing/2014/main" id="{D6DCDE83-A4A6-4AFE-BA65-312DDE5F33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31746" y="3722078"/>
                <a:ext cx="204352" cy="268635"/>
              </a:xfrm>
              <a:custGeom>
                <a:avLst/>
                <a:gdLst>
                  <a:gd name="T0" fmla="*/ 96 w 256"/>
                  <a:gd name="T1" fmla="*/ 48 h 336"/>
                  <a:gd name="T2" fmla="*/ 48 w 256"/>
                  <a:gd name="T3" fmla="*/ 0 h 336"/>
                  <a:gd name="T4" fmla="*/ 0 w 256"/>
                  <a:gd name="T5" fmla="*/ 48 h 336"/>
                  <a:gd name="T6" fmla="*/ 29 w 256"/>
                  <a:gd name="T7" fmla="*/ 92 h 336"/>
                  <a:gd name="T8" fmla="*/ 29 w 256"/>
                  <a:gd name="T9" fmla="*/ 244 h 336"/>
                  <a:gd name="T10" fmla="*/ 0 w 256"/>
                  <a:gd name="T11" fmla="*/ 288 h 336"/>
                  <a:gd name="T12" fmla="*/ 48 w 256"/>
                  <a:gd name="T13" fmla="*/ 336 h 336"/>
                  <a:gd name="T14" fmla="*/ 96 w 256"/>
                  <a:gd name="T15" fmla="*/ 288 h 336"/>
                  <a:gd name="T16" fmla="*/ 67 w 256"/>
                  <a:gd name="T17" fmla="*/ 244 h 336"/>
                  <a:gd name="T18" fmla="*/ 67 w 256"/>
                  <a:gd name="T19" fmla="*/ 92 h 336"/>
                  <a:gd name="T20" fmla="*/ 96 w 256"/>
                  <a:gd name="T21" fmla="*/ 48 h 336"/>
                  <a:gd name="T22" fmla="*/ 75 w 256"/>
                  <a:gd name="T23" fmla="*/ 288 h 336"/>
                  <a:gd name="T24" fmla="*/ 48 w 256"/>
                  <a:gd name="T25" fmla="*/ 316 h 336"/>
                  <a:gd name="T26" fmla="*/ 20 w 256"/>
                  <a:gd name="T27" fmla="*/ 288 h 336"/>
                  <a:gd name="T28" fmla="*/ 48 w 256"/>
                  <a:gd name="T29" fmla="*/ 260 h 336"/>
                  <a:gd name="T30" fmla="*/ 75 w 256"/>
                  <a:gd name="T31" fmla="*/ 288 h 336"/>
                  <a:gd name="T32" fmla="*/ 48 w 256"/>
                  <a:gd name="T33" fmla="*/ 76 h 336"/>
                  <a:gd name="T34" fmla="*/ 20 w 256"/>
                  <a:gd name="T35" fmla="*/ 48 h 336"/>
                  <a:gd name="T36" fmla="*/ 48 w 256"/>
                  <a:gd name="T37" fmla="*/ 20 h 336"/>
                  <a:gd name="T38" fmla="*/ 75 w 256"/>
                  <a:gd name="T39" fmla="*/ 48 h 336"/>
                  <a:gd name="T40" fmla="*/ 48 w 256"/>
                  <a:gd name="T41" fmla="*/ 76 h 336"/>
                  <a:gd name="T42" fmla="*/ 227 w 256"/>
                  <a:gd name="T43" fmla="*/ 244 h 336"/>
                  <a:gd name="T44" fmla="*/ 227 w 256"/>
                  <a:gd name="T45" fmla="*/ 92 h 336"/>
                  <a:gd name="T46" fmla="*/ 256 w 256"/>
                  <a:gd name="T47" fmla="*/ 48 h 336"/>
                  <a:gd name="T48" fmla="*/ 208 w 256"/>
                  <a:gd name="T49" fmla="*/ 0 h 336"/>
                  <a:gd name="T50" fmla="*/ 160 w 256"/>
                  <a:gd name="T51" fmla="*/ 48 h 336"/>
                  <a:gd name="T52" fmla="*/ 189 w 256"/>
                  <a:gd name="T53" fmla="*/ 92 h 336"/>
                  <a:gd name="T54" fmla="*/ 189 w 256"/>
                  <a:gd name="T55" fmla="*/ 244 h 336"/>
                  <a:gd name="T56" fmla="*/ 160 w 256"/>
                  <a:gd name="T57" fmla="*/ 288 h 336"/>
                  <a:gd name="T58" fmla="*/ 208 w 256"/>
                  <a:gd name="T59" fmla="*/ 336 h 336"/>
                  <a:gd name="T60" fmla="*/ 256 w 256"/>
                  <a:gd name="T61" fmla="*/ 288 h 336"/>
                  <a:gd name="T62" fmla="*/ 227 w 256"/>
                  <a:gd name="T63" fmla="*/ 244 h 336"/>
                  <a:gd name="T64" fmla="*/ 180 w 256"/>
                  <a:gd name="T65" fmla="*/ 48 h 336"/>
                  <a:gd name="T66" fmla="*/ 208 w 256"/>
                  <a:gd name="T67" fmla="*/ 20 h 336"/>
                  <a:gd name="T68" fmla="*/ 235 w 256"/>
                  <a:gd name="T69" fmla="*/ 48 h 336"/>
                  <a:gd name="T70" fmla="*/ 208 w 256"/>
                  <a:gd name="T71" fmla="*/ 76 h 336"/>
                  <a:gd name="T72" fmla="*/ 180 w 256"/>
                  <a:gd name="T73" fmla="*/ 48 h 336"/>
                  <a:gd name="T74" fmla="*/ 208 w 256"/>
                  <a:gd name="T75" fmla="*/ 316 h 336"/>
                  <a:gd name="T76" fmla="*/ 180 w 256"/>
                  <a:gd name="T77" fmla="*/ 288 h 336"/>
                  <a:gd name="T78" fmla="*/ 208 w 256"/>
                  <a:gd name="T79" fmla="*/ 260 h 336"/>
                  <a:gd name="T80" fmla="*/ 235 w 256"/>
                  <a:gd name="T81" fmla="*/ 288 h 336"/>
                  <a:gd name="T82" fmla="*/ 208 w 256"/>
                  <a:gd name="T83" fmla="*/ 316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56" h="336">
                    <a:moveTo>
                      <a:pt x="96" y="48"/>
                    </a:moveTo>
                    <a:cubicBezTo>
                      <a:pt x="96" y="21"/>
                      <a:pt x="74" y="0"/>
                      <a:pt x="48" y="0"/>
                    </a:cubicBezTo>
                    <a:cubicBezTo>
                      <a:pt x="21" y="0"/>
                      <a:pt x="0" y="21"/>
                      <a:pt x="0" y="48"/>
                    </a:cubicBezTo>
                    <a:cubicBezTo>
                      <a:pt x="0" y="68"/>
                      <a:pt x="12" y="85"/>
                      <a:pt x="29" y="92"/>
                    </a:cubicBezTo>
                    <a:cubicBezTo>
                      <a:pt x="29" y="244"/>
                      <a:pt x="29" y="244"/>
                      <a:pt x="29" y="244"/>
                    </a:cubicBezTo>
                    <a:cubicBezTo>
                      <a:pt x="12" y="251"/>
                      <a:pt x="0" y="268"/>
                      <a:pt x="0" y="288"/>
                    </a:cubicBezTo>
                    <a:cubicBezTo>
                      <a:pt x="0" y="314"/>
                      <a:pt x="21" y="336"/>
                      <a:pt x="48" y="336"/>
                    </a:cubicBezTo>
                    <a:cubicBezTo>
                      <a:pt x="74" y="336"/>
                      <a:pt x="96" y="314"/>
                      <a:pt x="96" y="288"/>
                    </a:cubicBezTo>
                    <a:cubicBezTo>
                      <a:pt x="96" y="268"/>
                      <a:pt x="84" y="251"/>
                      <a:pt x="67" y="244"/>
                    </a:cubicBezTo>
                    <a:cubicBezTo>
                      <a:pt x="67" y="92"/>
                      <a:pt x="67" y="92"/>
                      <a:pt x="67" y="92"/>
                    </a:cubicBezTo>
                    <a:cubicBezTo>
                      <a:pt x="84" y="85"/>
                      <a:pt x="96" y="68"/>
                      <a:pt x="96" y="48"/>
                    </a:cubicBezTo>
                    <a:close/>
                    <a:moveTo>
                      <a:pt x="75" y="288"/>
                    </a:moveTo>
                    <a:cubicBezTo>
                      <a:pt x="75" y="303"/>
                      <a:pt x="63" y="316"/>
                      <a:pt x="48" y="316"/>
                    </a:cubicBezTo>
                    <a:cubicBezTo>
                      <a:pt x="32" y="316"/>
                      <a:pt x="20" y="303"/>
                      <a:pt x="20" y="288"/>
                    </a:cubicBezTo>
                    <a:cubicBezTo>
                      <a:pt x="20" y="273"/>
                      <a:pt x="32" y="260"/>
                      <a:pt x="48" y="260"/>
                    </a:cubicBezTo>
                    <a:cubicBezTo>
                      <a:pt x="63" y="260"/>
                      <a:pt x="75" y="273"/>
                      <a:pt x="75" y="288"/>
                    </a:cubicBezTo>
                    <a:close/>
                    <a:moveTo>
                      <a:pt x="48" y="76"/>
                    </a:moveTo>
                    <a:cubicBezTo>
                      <a:pt x="32" y="76"/>
                      <a:pt x="20" y="63"/>
                      <a:pt x="20" y="48"/>
                    </a:cubicBezTo>
                    <a:cubicBezTo>
                      <a:pt x="20" y="33"/>
                      <a:pt x="32" y="20"/>
                      <a:pt x="48" y="20"/>
                    </a:cubicBezTo>
                    <a:cubicBezTo>
                      <a:pt x="63" y="20"/>
                      <a:pt x="75" y="33"/>
                      <a:pt x="75" y="48"/>
                    </a:cubicBezTo>
                    <a:cubicBezTo>
                      <a:pt x="75" y="63"/>
                      <a:pt x="63" y="76"/>
                      <a:pt x="48" y="76"/>
                    </a:cubicBezTo>
                    <a:close/>
                    <a:moveTo>
                      <a:pt x="227" y="244"/>
                    </a:moveTo>
                    <a:cubicBezTo>
                      <a:pt x="227" y="92"/>
                      <a:pt x="227" y="92"/>
                      <a:pt x="227" y="92"/>
                    </a:cubicBezTo>
                    <a:cubicBezTo>
                      <a:pt x="244" y="85"/>
                      <a:pt x="256" y="68"/>
                      <a:pt x="256" y="48"/>
                    </a:cubicBezTo>
                    <a:cubicBezTo>
                      <a:pt x="256" y="21"/>
                      <a:pt x="234" y="0"/>
                      <a:pt x="208" y="0"/>
                    </a:cubicBezTo>
                    <a:cubicBezTo>
                      <a:pt x="181" y="0"/>
                      <a:pt x="160" y="21"/>
                      <a:pt x="160" y="48"/>
                    </a:cubicBezTo>
                    <a:cubicBezTo>
                      <a:pt x="160" y="68"/>
                      <a:pt x="172" y="85"/>
                      <a:pt x="189" y="92"/>
                    </a:cubicBezTo>
                    <a:cubicBezTo>
                      <a:pt x="189" y="244"/>
                      <a:pt x="189" y="244"/>
                      <a:pt x="189" y="244"/>
                    </a:cubicBezTo>
                    <a:cubicBezTo>
                      <a:pt x="172" y="251"/>
                      <a:pt x="160" y="268"/>
                      <a:pt x="160" y="288"/>
                    </a:cubicBezTo>
                    <a:cubicBezTo>
                      <a:pt x="160" y="314"/>
                      <a:pt x="181" y="336"/>
                      <a:pt x="208" y="336"/>
                    </a:cubicBezTo>
                    <a:cubicBezTo>
                      <a:pt x="234" y="336"/>
                      <a:pt x="256" y="314"/>
                      <a:pt x="256" y="288"/>
                    </a:cubicBezTo>
                    <a:cubicBezTo>
                      <a:pt x="256" y="268"/>
                      <a:pt x="244" y="251"/>
                      <a:pt x="227" y="244"/>
                    </a:cubicBezTo>
                    <a:close/>
                    <a:moveTo>
                      <a:pt x="180" y="48"/>
                    </a:moveTo>
                    <a:cubicBezTo>
                      <a:pt x="180" y="33"/>
                      <a:pt x="192" y="20"/>
                      <a:pt x="208" y="20"/>
                    </a:cubicBezTo>
                    <a:cubicBezTo>
                      <a:pt x="223" y="20"/>
                      <a:pt x="235" y="33"/>
                      <a:pt x="235" y="48"/>
                    </a:cubicBezTo>
                    <a:cubicBezTo>
                      <a:pt x="235" y="63"/>
                      <a:pt x="223" y="76"/>
                      <a:pt x="208" y="76"/>
                    </a:cubicBezTo>
                    <a:cubicBezTo>
                      <a:pt x="192" y="76"/>
                      <a:pt x="180" y="63"/>
                      <a:pt x="180" y="48"/>
                    </a:cubicBezTo>
                    <a:close/>
                    <a:moveTo>
                      <a:pt x="208" y="316"/>
                    </a:moveTo>
                    <a:cubicBezTo>
                      <a:pt x="192" y="316"/>
                      <a:pt x="180" y="303"/>
                      <a:pt x="180" y="288"/>
                    </a:cubicBezTo>
                    <a:cubicBezTo>
                      <a:pt x="180" y="273"/>
                      <a:pt x="192" y="260"/>
                      <a:pt x="208" y="260"/>
                    </a:cubicBezTo>
                    <a:cubicBezTo>
                      <a:pt x="223" y="260"/>
                      <a:pt x="235" y="273"/>
                      <a:pt x="235" y="288"/>
                    </a:cubicBezTo>
                    <a:cubicBezTo>
                      <a:pt x="235" y="303"/>
                      <a:pt x="223" y="316"/>
                      <a:pt x="208" y="316"/>
                    </a:cubicBezTo>
                    <a:close/>
                  </a:path>
                </a:pathLst>
              </a:custGeom>
              <a:grpFill/>
              <a:ln>
                <a:solidFill>
                  <a:sysClr val="window" lastClr="FFFFFF">
                    <a:lumMod val="95000"/>
                  </a:sysClr>
                </a:solidFill>
              </a:ln>
            </p:spPr>
            <p:txBody>
              <a:bodyPr vert="horz" wrap="square" lIns="46449" tIns="23225" rIns="46449" bIns="23225" numCol="1" anchor="t" anchorCtr="0" compatLnSpc="1">
                <a:prstTxWarp prst="textNoShape">
                  <a:avLst/>
                </a:prstTxWarp>
              </a:bodyPr>
              <a:lstStyle/>
              <a:p>
                <a:pPr defTabSz="619307">
                  <a:defRPr/>
                </a:pPr>
                <a:endParaRPr lang="en-US" sz="1600" kern="0" dirty="0">
                  <a:solidFill>
                    <a:srgbClr val="06174C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20" name="Freeform 832">
              <a:extLst>
                <a:ext uri="{FF2B5EF4-FFF2-40B4-BE49-F238E27FC236}">
                  <a16:creationId xmlns:a16="http://schemas.microsoft.com/office/drawing/2014/main" id="{42DF6F11-F7F8-4543-89E2-18A48489920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3234160" y="1877661"/>
              <a:ext cx="643105" cy="271412"/>
            </a:xfrm>
            <a:custGeom>
              <a:avLst/>
              <a:gdLst>
                <a:gd name="T0" fmla="*/ 0 w 1315"/>
                <a:gd name="T1" fmla="*/ 2147483647 h 544"/>
                <a:gd name="T2" fmla="*/ 0 w 1315"/>
                <a:gd name="T3" fmla="*/ 0 h 544"/>
                <a:gd name="T4" fmla="*/ 1657553719 w 1315"/>
                <a:gd name="T5" fmla="*/ 0 h 544"/>
                <a:gd name="T6" fmla="*/ 0 60000 65536"/>
                <a:gd name="T7" fmla="*/ 0 60000 65536"/>
                <a:gd name="T8" fmla="*/ 0 60000 65536"/>
                <a:gd name="T9" fmla="*/ 0 w 1315"/>
                <a:gd name="T10" fmla="*/ 0 h 544"/>
                <a:gd name="T11" fmla="*/ 1315 w 1315"/>
                <a:gd name="T12" fmla="*/ 544 h 54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15" h="544">
                  <a:moveTo>
                    <a:pt x="0" y="544"/>
                  </a:moveTo>
                  <a:lnTo>
                    <a:pt x="0" y="0"/>
                  </a:lnTo>
                  <a:lnTo>
                    <a:pt x="1315" y="0"/>
                  </a:lnTo>
                </a:path>
              </a:pathLst>
            </a:custGeom>
            <a:noFill/>
            <a:ln w="9525" cap="rnd">
              <a:solidFill>
                <a:srgbClr val="C00000"/>
              </a:solidFill>
              <a:prstDash val="sysDot"/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19307">
                <a:defRPr/>
              </a:pPr>
              <a:endParaRPr lang="zh-CN" altLang="en-US" sz="130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21" name="Freeform 825">
              <a:extLst>
                <a:ext uri="{FF2B5EF4-FFF2-40B4-BE49-F238E27FC236}">
                  <a16:creationId xmlns:a16="http://schemas.microsoft.com/office/drawing/2014/main" id="{CC6CE06A-B8EF-480F-BFA9-C93283A4C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625" y="2551096"/>
              <a:ext cx="1730951" cy="173706"/>
            </a:xfrm>
            <a:custGeom>
              <a:avLst/>
              <a:gdLst>
                <a:gd name="T0" fmla="*/ 0 w 1315"/>
                <a:gd name="T1" fmla="*/ 2147483647 h 544"/>
                <a:gd name="T2" fmla="*/ 0 w 1315"/>
                <a:gd name="T3" fmla="*/ 0 h 544"/>
                <a:gd name="T4" fmla="*/ 1424020518 w 1315"/>
                <a:gd name="T5" fmla="*/ 0 h 544"/>
                <a:gd name="T6" fmla="*/ 0 60000 65536"/>
                <a:gd name="T7" fmla="*/ 0 60000 65536"/>
                <a:gd name="T8" fmla="*/ 0 60000 65536"/>
                <a:gd name="T9" fmla="*/ 0 w 1315"/>
                <a:gd name="T10" fmla="*/ 0 h 544"/>
                <a:gd name="T11" fmla="*/ 1315 w 1315"/>
                <a:gd name="T12" fmla="*/ 544 h 54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15" h="544">
                  <a:moveTo>
                    <a:pt x="0" y="544"/>
                  </a:moveTo>
                  <a:lnTo>
                    <a:pt x="0" y="0"/>
                  </a:lnTo>
                  <a:lnTo>
                    <a:pt x="1315" y="0"/>
                  </a:lnTo>
                </a:path>
              </a:pathLst>
            </a:custGeom>
            <a:noFill/>
            <a:ln w="9525" cap="rnd">
              <a:solidFill>
                <a:srgbClr val="06174C"/>
              </a:solidFill>
              <a:prstDash val="sysDot"/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19307">
                <a:defRPr/>
              </a:pPr>
              <a:endParaRPr lang="zh-CN" altLang="en-US" sz="130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pic>
          <p:nvPicPr>
            <p:cNvPr id="22" name="Picture 71">
              <a:extLst>
                <a:ext uri="{FF2B5EF4-FFF2-40B4-BE49-F238E27FC236}">
                  <a16:creationId xmlns:a16="http://schemas.microsoft.com/office/drawing/2014/main" id="{8325C995-0A24-4C22-8542-628538C14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84625" y="1457051"/>
              <a:ext cx="227844" cy="16445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3" name="Picture 72">
              <a:extLst>
                <a:ext uri="{FF2B5EF4-FFF2-40B4-BE49-F238E27FC236}">
                  <a16:creationId xmlns:a16="http://schemas.microsoft.com/office/drawing/2014/main" id="{9F1F7BA3-B8B0-4E3A-864B-EA04BF6790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biLevel thresh="75000"/>
            </a:blip>
            <a:stretch>
              <a:fillRect/>
            </a:stretch>
          </p:blipFill>
          <p:spPr>
            <a:xfrm flipH="1">
              <a:off x="3441643" y="1974990"/>
              <a:ext cx="207517" cy="147818"/>
            </a:xfrm>
            <a:prstGeom prst="rect">
              <a:avLst/>
            </a:prstGeom>
          </p:spPr>
        </p:pic>
        <p:pic>
          <p:nvPicPr>
            <p:cNvPr id="24" name="Picture 73">
              <a:extLst>
                <a:ext uri="{FF2B5EF4-FFF2-40B4-BE49-F238E27FC236}">
                  <a16:creationId xmlns:a16="http://schemas.microsoft.com/office/drawing/2014/main" id="{5C5B5AC2-A439-4411-8463-46716561B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70436" y="2598522"/>
              <a:ext cx="191384" cy="181312"/>
            </a:xfrm>
            <a:prstGeom prst="rect">
              <a:avLst/>
            </a:prstGeom>
          </p:spPr>
        </p:pic>
        <p:sp>
          <p:nvSpPr>
            <p:cNvPr id="25" name="TextBox 75">
              <a:extLst>
                <a:ext uri="{FF2B5EF4-FFF2-40B4-BE49-F238E27FC236}">
                  <a16:creationId xmlns:a16="http://schemas.microsoft.com/office/drawing/2014/main" id="{B904ABD8-3A9A-4422-8057-3BCB49B3A831}"/>
                </a:ext>
              </a:extLst>
            </p:cNvPr>
            <p:cNvSpPr txBox="1"/>
            <p:nvPr/>
          </p:nvSpPr>
          <p:spPr>
            <a:xfrm>
              <a:off x="973231" y="1457052"/>
              <a:ext cx="1222929" cy="1664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19307">
                <a:defRPr/>
              </a:pPr>
              <a:r>
                <a:rPr lang="zh-CN" altLang="en-US" sz="900" dirty="0">
                  <a:solidFill>
                    <a:srgbClr val="06174C"/>
                  </a:solidFill>
                  <a:cs typeface="+mn-ea"/>
                  <a:sym typeface="+mn-lt"/>
                </a:rPr>
                <a:t>销售数据分享与分析 </a:t>
              </a:r>
              <a:endParaRPr lang="en-US" altLang="zh-CN" sz="90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26" name="TextBox 76">
              <a:extLst>
                <a:ext uri="{FF2B5EF4-FFF2-40B4-BE49-F238E27FC236}">
                  <a16:creationId xmlns:a16="http://schemas.microsoft.com/office/drawing/2014/main" id="{9DF7FE57-71F0-4150-BB9A-C2CAF69EF935}"/>
                </a:ext>
              </a:extLst>
            </p:cNvPr>
            <p:cNvSpPr txBox="1"/>
            <p:nvPr/>
          </p:nvSpPr>
          <p:spPr>
            <a:xfrm>
              <a:off x="969083" y="1703401"/>
              <a:ext cx="1168385" cy="1664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19307">
                <a:defRPr/>
              </a:pPr>
              <a:r>
                <a:rPr lang="zh-CN" altLang="en-US" sz="900" dirty="0">
                  <a:solidFill>
                    <a:srgbClr val="06174C"/>
                  </a:solidFill>
                  <a:cs typeface="+mn-ea"/>
                  <a:sym typeface="+mn-lt"/>
                </a:rPr>
                <a:t>基线预测与促销联合计划</a:t>
              </a:r>
              <a:endParaRPr lang="en-US" sz="90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27" name="TextBox 77">
              <a:extLst>
                <a:ext uri="{FF2B5EF4-FFF2-40B4-BE49-F238E27FC236}">
                  <a16:creationId xmlns:a16="http://schemas.microsoft.com/office/drawing/2014/main" id="{FA7747A4-B6F9-42A2-8E72-D76A95B5EDF5}"/>
                </a:ext>
              </a:extLst>
            </p:cNvPr>
            <p:cNvSpPr txBox="1"/>
            <p:nvPr/>
          </p:nvSpPr>
          <p:spPr>
            <a:xfrm>
              <a:off x="1090384" y="2618424"/>
              <a:ext cx="707266" cy="1664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19307">
                <a:defRPr/>
              </a:pPr>
              <a:r>
                <a:rPr lang="zh-CN" altLang="en-US" sz="900" dirty="0">
                  <a:solidFill>
                    <a:srgbClr val="06174C"/>
                  </a:solidFill>
                  <a:cs typeface="+mn-ea"/>
                  <a:sym typeface="+mn-lt"/>
                </a:rPr>
                <a:t>联动补货</a:t>
              </a:r>
              <a:endParaRPr lang="en-US" sz="90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28" name="TextBox 78">
              <a:extLst>
                <a:ext uri="{FF2B5EF4-FFF2-40B4-BE49-F238E27FC236}">
                  <a16:creationId xmlns:a16="http://schemas.microsoft.com/office/drawing/2014/main" id="{30369794-1A8E-4C5B-8C50-30834077DEEC}"/>
                </a:ext>
              </a:extLst>
            </p:cNvPr>
            <p:cNvSpPr txBox="1"/>
            <p:nvPr/>
          </p:nvSpPr>
          <p:spPr>
            <a:xfrm>
              <a:off x="3248871" y="2180556"/>
              <a:ext cx="859834" cy="1553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19307">
                <a:defRPr/>
              </a:pPr>
              <a:r>
                <a:rPr lang="zh-CN" altLang="en-US" sz="800" dirty="0">
                  <a:solidFill>
                    <a:srgbClr val="06174C"/>
                  </a:solidFill>
                  <a:cs typeface="+mn-ea"/>
                  <a:sym typeface="+mn-lt"/>
                </a:rPr>
                <a:t>物流大仓直供 </a:t>
              </a:r>
              <a:endParaRPr lang="en-US" altLang="zh-CN" sz="80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pic>
          <p:nvPicPr>
            <p:cNvPr id="29" name="Picture 81">
              <a:extLst>
                <a:ext uri="{FF2B5EF4-FFF2-40B4-BE49-F238E27FC236}">
                  <a16:creationId xmlns:a16="http://schemas.microsoft.com/office/drawing/2014/main" id="{C221D764-D300-4270-9392-7855FD7A1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24564" y="1736136"/>
              <a:ext cx="153481" cy="125188"/>
            </a:xfrm>
            <a:prstGeom prst="rect">
              <a:avLst/>
            </a:prstGeom>
          </p:spPr>
        </p:pic>
        <p:sp>
          <p:nvSpPr>
            <p:cNvPr id="30" name="Freeform 825">
              <a:extLst>
                <a:ext uri="{FF2B5EF4-FFF2-40B4-BE49-F238E27FC236}">
                  <a16:creationId xmlns:a16="http://schemas.microsoft.com/office/drawing/2014/main" id="{D6676CB1-CDAD-4E4B-B86C-FFA1879FD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135" y="1024101"/>
              <a:ext cx="1824895" cy="186867"/>
            </a:xfrm>
            <a:custGeom>
              <a:avLst/>
              <a:gdLst>
                <a:gd name="T0" fmla="*/ 0 w 1315"/>
                <a:gd name="T1" fmla="*/ 2147483647 h 544"/>
                <a:gd name="T2" fmla="*/ 0 w 1315"/>
                <a:gd name="T3" fmla="*/ 0 h 544"/>
                <a:gd name="T4" fmla="*/ 1424020518 w 1315"/>
                <a:gd name="T5" fmla="*/ 0 h 544"/>
                <a:gd name="T6" fmla="*/ 0 60000 65536"/>
                <a:gd name="T7" fmla="*/ 0 60000 65536"/>
                <a:gd name="T8" fmla="*/ 0 60000 65536"/>
                <a:gd name="T9" fmla="*/ 0 w 1315"/>
                <a:gd name="T10" fmla="*/ 0 h 544"/>
                <a:gd name="T11" fmla="*/ 1315 w 1315"/>
                <a:gd name="T12" fmla="*/ 544 h 54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15" h="544">
                  <a:moveTo>
                    <a:pt x="0" y="544"/>
                  </a:moveTo>
                  <a:lnTo>
                    <a:pt x="0" y="0"/>
                  </a:lnTo>
                  <a:lnTo>
                    <a:pt x="1315" y="0"/>
                  </a:lnTo>
                </a:path>
              </a:pathLst>
            </a:custGeom>
            <a:noFill/>
            <a:ln w="9525" cap="rnd">
              <a:solidFill>
                <a:srgbClr val="06174C"/>
              </a:solidFill>
              <a:prstDash val="sysDot"/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619307">
                <a:defRPr/>
              </a:pPr>
              <a:endParaRPr lang="zh-CN" altLang="en-US" sz="130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E433AB36-B67D-44A7-9F14-2F030D34C229}"/>
              </a:ext>
            </a:extLst>
          </p:cNvPr>
          <p:cNvGrpSpPr/>
          <p:nvPr/>
        </p:nvGrpSpPr>
        <p:grpSpPr>
          <a:xfrm>
            <a:off x="776370" y="4036659"/>
            <a:ext cx="4956243" cy="2582727"/>
            <a:chOff x="9230361" y="1820596"/>
            <a:chExt cx="7234341" cy="3317217"/>
          </a:xfrm>
        </p:grpSpPr>
        <p:sp>
          <p:nvSpPr>
            <p:cNvPr id="38" name="Oval 7">
              <a:extLst>
                <a:ext uri="{FF2B5EF4-FFF2-40B4-BE49-F238E27FC236}">
                  <a16:creationId xmlns:a16="http://schemas.microsoft.com/office/drawing/2014/main" id="{1F95A2E7-5F05-4241-BF68-014428315F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37660" y="3898668"/>
              <a:ext cx="1078131" cy="465479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订单生产顺序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39" name="Oval 7">
              <a:extLst>
                <a:ext uri="{FF2B5EF4-FFF2-40B4-BE49-F238E27FC236}">
                  <a16:creationId xmlns:a16="http://schemas.microsoft.com/office/drawing/2014/main" id="{2948300E-EF60-4885-8813-DBF8E0FF8E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63184" y="3898668"/>
              <a:ext cx="1192621" cy="465479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商品拣货顺序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40" name="Oval 7">
              <a:extLst>
                <a:ext uri="{FF2B5EF4-FFF2-40B4-BE49-F238E27FC236}">
                  <a16:creationId xmlns:a16="http://schemas.microsoft.com/office/drawing/2014/main" id="{BA7176F7-C23F-41BA-BDDE-DC4F46D6CE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46542" y="3898668"/>
              <a:ext cx="1177557" cy="465479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装车顺序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41" name="Oval 7">
              <a:extLst>
                <a:ext uri="{FF2B5EF4-FFF2-40B4-BE49-F238E27FC236}">
                  <a16:creationId xmlns:a16="http://schemas.microsoft.com/office/drawing/2014/main" id="{5BC3C2D9-8F78-4A18-A2C4-711BED6CC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39068" y="3919548"/>
              <a:ext cx="825634" cy="465478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投递路径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cxnSp>
          <p:nvCxnSpPr>
            <p:cNvPr id="42" name="直接连接符 41">
              <a:extLst>
                <a:ext uri="{FF2B5EF4-FFF2-40B4-BE49-F238E27FC236}">
                  <a16:creationId xmlns:a16="http://schemas.microsoft.com/office/drawing/2014/main" id="{7DBE6E38-628D-4584-9419-246119795EAD}"/>
                </a:ext>
              </a:extLst>
            </p:cNvPr>
            <p:cNvCxnSpPr>
              <a:cxnSpLocks/>
              <a:stCxn id="38" idx="3"/>
              <a:endCxn id="39" idx="1"/>
            </p:cNvCxnSpPr>
            <p:nvPr/>
          </p:nvCxnSpPr>
          <p:spPr>
            <a:xfrm>
              <a:off x="11615791" y="4131408"/>
              <a:ext cx="447393" cy="0"/>
            </a:xfrm>
            <a:prstGeom prst="line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>
              <a:extLst>
                <a:ext uri="{FF2B5EF4-FFF2-40B4-BE49-F238E27FC236}">
                  <a16:creationId xmlns:a16="http://schemas.microsoft.com/office/drawing/2014/main" id="{668C9BCC-6EC0-4675-8269-7D5435FE246F}"/>
                </a:ext>
              </a:extLst>
            </p:cNvPr>
            <p:cNvCxnSpPr>
              <a:cxnSpLocks/>
              <a:stCxn id="39" idx="3"/>
              <a:endCxn id="40" idx="1"/>
            </p:cNvCxnSpPr>
            <p:nvPr/>
          </p:nvCxnSpPr>
          <p:spPr>
            <a:xfrm>
              <a:off x="13255805" y="4131408"/>
              <a:ext cx="90737" cy="0"/>
            </a:xfrm>
            <a:prstGeom prst="line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>
              <a:extLst>
                <a:ext uri="{FF2B5EF4-FFF2-40B4-BE49-F238E27FC236}">
                  <a16:creationId xmlns:a16="http://schemas.microsoft.com/office/drawing/2014/main" id="{4BBF8787-4360-4167-98F0-D8B9B48E2394}"/>
                </a:ext>
              </a:extLst>
            </p:cNvPr>
            <p:cNvCxnSpPr>
              <a:cxnSpLocks/>
              <a:stCxn id="40" idx="3"/>
              <a:endCxn id="63" idx="1"/>
            </p:cNvCxnSpPr>
            <p:nvPr/>
          </p:nvCxnSpPr>
          <p:spPr>
            <a:xfrm>
              <a:off x="14524100" y="4131408"/>
              <a:ext cx="43028" cy="6316"/>
            </a:xfrm>
            <a:prstGeom prst="line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7">
              <a:extLst>
                <a:ext uri="{FF2B5EF4-FFF2-40B4-BE49-F238E27FC236}">
                  <a16:creationId xmlns:a16="http://schemas.microsoft.com/office/drawing/2014/main" id="{5D9987B9-773A-4686-A95C-75D8536699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37660" y="2513492"/>
              <a:ext cx="1078131" cy="465479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订单预测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46" name="Oval 7">
              <a:extLst>
                <a:ext uri="{FF2B5EF4-FFF2-40B4-BE49-F238E27FC236}">
                  <a16:creationId xmlns:a16="http://schemas.microsoft.com/office/drawing/2014/main" id="{26A70D2E-BD7F-4003-941E-56C0C89A0D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0361" y="3578868"/>
              <a:ext cx="1207870" cy="465478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kern="0" dirty="0">
                  <a:solidFill>
                    <a:srgbClr val="06174C"/>
                  </a:solidFill>
                  <a:cs typeface="+mn-ea"/>
                  <a:sym typeface="+mn-lt"/>
                </a:rPr>
                <a:t>实际订单</a:t>
              </a:r>
              <a:endParaRPr lang="en-US" altLang="zh-CN" sz="1100" kern="0" dirty="0">
                <a:solidFill>
                  <a:srgbClr val="06174C"/>
                </a:solidFill>
                <a:cs typeface="+mn-ea"/>
                <a:sym typeface="+mn-lt"/>
              </a:endParaRPr>
            </a:p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kern="0" dirty="0">
                  <a:solidFill>
                    <a:srgbClr val="06174C"/>
                  </a:solidFill>
                  <a:cs typeface="+mn-ea"/>
                  <a:sym typeface="+mn-lt"/>
                </a:rPr>
                <a:t>地址</a:t>
              </a:r>
              <a:r>
                <a:rPr lang="en-US" altLang="zh-CN" sz="1100" kern="0" dirty="0">
                  <a:solidFill>
                    <a:srgbClr val="06174C"/>
                  </a:solidFill>
                  <a:cs typeface="+mn-ea"/>
                  <a:sym typeface="+mn-lt"/>
                </a:rPr>
                <a:t>|</a:t>
              </a:r>
              <a:r>
                <a:rPr lang="zh-CN" altLang="en-US" sz="1100" kern="0" dirty="0">
                  <a:solidFill>
                    <a:srgbClr val="06174C"/>
                  </a:solidFill>
                  <a:cs typeface="+mn-ea"/>
                  <a:sym typeface="+mn-lt"/>
                </a:rPr>
                <a:t>时效</a:t>
              </a:r>
              <a:r>
                <a:rPr lang="en-US" altLang="zh-CN" sz="1100" kern="0" dirty="0">
                  <a:solidFill>
                    <a:srgbClr val="06174C"/>
                  </a:solidFill>
                  <a:cs typeface="+mn-ea"/>
                  <a:sym typeface="+mn-lt"/>
                </a:rPr>
                <a:t>|…</a:t>
              </a:r>
              <a:endParaRPr lang="en-US" sz="11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47" name="Oval 7">
              <a:extLst>
                <a:ext uri="{FF2B5EF4-FFF2-40B4-BE49-F238E27FC236}">
                  <a16:creationId xmlns:a16="http://schemas.microsoft.com/office/drawing/2014/main" id="{F8F92461-5D9C-42FB-AEFB-9ADB43BF15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37660" y="4672334"/>
              <a:ext cx="1078131" cy="465479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订单优先级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48" name="Oval 7">
              <a:extLst>
                <a:ext uri="{FF2B5EF4-FFF2-40B4-BE49-F238E27FC236}">
                  <a16:creationId xmlns:a16="http://schemas.microsoft.com/office/drawing/2014/main" id="{213B92F7-AC0C-4A5E-9F92-31ABE7250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46542" y="3153105"/>
              <a:ext cx="1177557" cy="465479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车辆信息</a:t>
              </a:r>
              <a:endParaRPr lang="en-US" altLang="zh-CN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位置</a:t>
              </a:r>
              <a:r>
                <a:rPr lang="en-US" altLang="zh-CN" sz="900" kern="0" dirty="0">
                  <a:solidFill>
                    <a:srgbClr val="06174C"/>
                  </a:solidFill>
                  <a:cs typeface="+mn-ea"/>
                  <a:sym typeface="+mn-lt"/>
                </a:rPr>
                <a:t>|</a:t>
              </a: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规格</a:t>
              </a:r>
              <a:r>
                <a:rPr lang="en-US" altLang="zh-CN" sz="900" kern="0" dirty="0">
                  <a:solidFill>
                    <a:srgbClr val="06174C"/>
                  </a:solidFill>
                  <a:cs typeface="+mn-ea"/>
                  <a:sym typeface="+mn-lt"/>
                </a:rPr>
                <a:t>|…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49" name="Oval 7">
              <a:extLst>
                <a:ext uri="{FF2B5EF4-FFF2-40B4-BE49-F238E27FC236}">
                  <a16:creationId xmlns:a16="http://schemas.microsoft.com/office/drawing/2014/main" id="{B9F1477D-4AB9-483A-8D11-FAABC96B3F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37660" y="3158460"/>
              <a:ext cx="1078131" cy="465479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资源配置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50" name="Oval 7">
              <a:extLst>
                <a:ext uri="{FF2B5EF4-FFF2-40B4-BE49-F238E27FC236}">
                  <a16:creationId xmlns:a16="http://schemas.microsoft.com/office/drawing/2014/main" id="{F1268B0F-22BF-4D79-A1BF-BD90D825BC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63075" y="4672334"/>
              <a:ext cx="1192621" cy="465479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集单策略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pic>
          <p:nvPicPr>
            <p:cNvPr id="51" name="图片 50">
              <a:extLst>
                <a:ext uri="{FF2B5EF4-FFF2-40B4-BE49-F238E27FC236}">
                  <a16:creationId xmlns:a16="http://schemas.microsoft.com/office/drawing/2014/main" id="{161B3C33-5329-4430-BB1C-8AE40767BD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2021918" y="1820596"/>
              <a:ext cx="1629666" cy="1556252"/>
            </a:xfrm>
            <a:prstGeom prst="rect">
              <a:avLst/>
            </a:prstGeom>
            <a:ln>
              <a:solidFill>
                <a:srgbClr val="C00000"/>
              </a:solidFill>
            </a:ln>
            <a:effectLst>
              <a:softEdge rad="317500"/>
            </a:effectLst>
          </p:spPr>
        </p:pic>
        <p:cxnSp>
          <p:nvCxnSpPr>
            <p:cNvPr id="52" name="直接连接符 51">
              <a:extLst>
                <a:ext uri="{FF2B5EF4-FFF2-40B4-BE49-F238E27FC236}">
                  <a16:creationId xmlns:a16="http://schemas.microsoft.com/office/drawing/2014/main" id="{FCF41BD9-3ADD-4777-97DA-994E2B6EFB57}"/>
                </a:ext>
              </a:extLst>
            </p:cNvPr>
            <p:cNvCxnSpPr>
              <a:cxnSpLocks/>
              <a:stCxn id="49" idx="2"/>
              <a:endCxn id="38" idx="0"/>
            </p:cNvCxnSpPr>
            <p:nvPr/>
          </p:nvCxnSpPr>
          <p:spPr>
            <a:xfrm>
              <a:off x="11076725" y="3623938"/>
              <a:ext cx="0" cy="274730"/>
            </a:xfrm>
            <a:prstGeom prst="line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直接连接符 52">
              <a:extLst>
                <a:ext uri="{FF2B5EF4-FFF2-40B4-BE49-F238E27FC236}">
                  <a16:creationId xmlns:a16="http://schemas.microsoft.com/office/drawing/2014/main" id="{B4042928-5999-499B-9378-4EEBE312E457}"/>
                </a:ext>
              </a:extLst>
            </p:cNvPr>
            <p:cNvCxnSpPr>
              <a:cxnSpLocks/>
              <a:stCxn id="45" idx="2"/>
              <a:endCxn id="49" idx="0"/>
            </p:cNvCxnSpPr>
            <p:nvPr/>
          </p:nvCxnSpPr>
          <p:spPr>
            <a:xfrm>
              <a:off x="11076725" y="2978970"/>
              <a:ext cx="0" cy="179489"/>
            </a:xfrm>
            <a:prstGeom prst="line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直接连接符 53">
              <a:extLst>
                <a:ext uri="{FF2B5EF4-FFF2-40B4-BE49-F238E27FC236}">
                  <a16:creationId xmlns:a16="http://schemas.microsoft.com/office/drawing/2014/main" id="{28E1B9A7-E1E0-4299-8174-769162E04C88}"/>
                </a:ext>
              </a:extLst>
            </p:cNvPr>
            <p:cNvCxnSpPr>
              <a:cxnSpLocks/>
              <a:stCxn id="47" idx="0"/>
              <a:endCxn id="38" idx="2"/>
            </p:cNvCxnSpPr>
            <p:nvPr/>
          </p:nvCxnSpPr>
          <p:spPr>
            <a:xfrm flipV="1">
              <a:off x="11076725" y="4364147"/>
              <a:ext cx="0" cy="308188"/>
            </a:xfrm>
            <a:prstGeom prst="line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直接连接符 54">
              <a:extLst>
                <a:ext uri="{FF2B5EF4-FFF2-40B4-BE49-F238E27FC236}">
                  <a16:creationId xmlns:a16="http://schemas.microsoft.com/office/drawing/2014/main" id="{4AAB456C-2686-454E-93A3-56DB1E67E5DA}"/>
                </a:ext>
              </a:extLst>
            </p:cNvPr>
            <p:cNvCxnSpPr>
              <a:cxnSpLocks/>
              <a:stCxn id="50" idx="0"/>
              <a:endCxn id="39" idx="2"/>
            </p:cNvCxnSpPr>
            <p:nvPr/>
          </p:nvCxnSpPr>
          <p:spPr>
            <a:xfrm flipV="1">
              <a:off x="12659386" y="4364147"/>
              <a:ext cx="109" cy="308188"/>
            </a:xfrm>
            <a:prstGeom prst="line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直接连接符 55">
              <a:extLst>
                <a:ext uri="{FF2B5EF4-FFF2-40B4-BE49-F238E27FC236}">
                  <a16:creationId xmlns:a16="http://schemas.microsoft.com/office/drawing/2014/main" id="{30A3A19D-7634-4143-8D8A-A5CDC988332A}"/>
                </a:ext>
              </a:extLst>
            </p:cNvPr>
            <p:cNvCxnSpPr>
              <a:cxnSpLocks/>
              <a:stCxn id="40" idx="0"/>
              <a:endCxn id="48" idx="2"/>
            </p:cNvCxnSpPr>
            <p:nvPr/>
          </p:nvCxnSpPr>
          <p:spPr>
            <a:xfrm flipV="1">
              <a:off x="13935321" y="3618583"/>
              <a:ext cx="0" cy="280085"/>
            </a:xfrm>
            <a:prstGeom prst="line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曲线连接符 46">
              <a:extLst>
                <a:ext uri="{FF2B5EF4-FFF2-40B4-BE49-F238E27FC236}">
                  <a16:creationId xmlns:a16="http://schemas.microsoft.com/office/drawing/2014/main" id="{0A2757D7-9D39-4BA6-AD50-F39A6D3B5950}"/>
                </a:ext>
              </a:extLst>
            </p:cNvPr>
            <p:cNvCxnSpPr>
              <a:cxnSpLocks/>
              <a:endCxn id="45" idx="3"/>
            </p:cNvCxnSpPr>
            <p:nvPr/>
          </p:nvCxnSpPr>
          <p:spPr>
            <a:xfrm rot="10800000" flipV="1">
              <a:off x="11615793" y="2430391"/>
              <a:ext cx="428158" cy="315841"/>
            </a:xfrm>
            <a:prstGeom prst="curvedConnector3">
              <a:avLst>
                <a:gd name="adj1" fmla="val 50000"/>
              </a:avLst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曲线连接符 47">
              <a:extLst>
                <a:ext uri="{FF2B5EF4-FFF2-40B4-BE49-F238E27FC236}">
                  <a16:creationId xmlns:a16="http://schemas.microsoft.com/office/drawing/2014/main" id="{B2CC9598-1906-46F0-AA1D-D4B7B29D00B7}"/>
                </a:ext>
              </a:extLst>
            </p:cNvPr>
            <p:cNvCxnSpPr>
              <a:cxnSpLocks/>
              <a:stCxn id="51" idx="3"/>
              <a:endCxn id="49" idx="3"/>
            </p:cNvCxnSpPr>
            <p:nvPr/>
          </p:nvCxnSpPr>
          <p:spPr>
            <a:xfrm rot="10800000" flipV="1">
              <a:off x="11615791" y="2598720"/>
              <a:ext cx="406127" cy="792478"/>
            </a:xfrm>
            <a:prstGeom prst="curvedConnector3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曲线连接符 50">
              <a:extLst>
                <a:ext uri="{FF2B5EF4-FFF2-40B4-BE49-F238E27FC236}">
                  <a16:creationId xmlns:a16="http://schemas.microsoft.com/office/drawing/2014/main" id="{7D5CD99E-8543-46E3-97D0-21FCE65D0E36}"/>
                </a:ext>
              </a:extLst>
            </p:cNvPr>
            <p:cNvCxnSpPr>
              <a:cxnSpLocks/>
              <a:stCxn id="51" idx="2"/>
              <a:endCxn id="39" idx="0"/>
            </p:cNvCxnSpPr>
            <p:nvPr/>
          </p:nvCxnSpPr>
          <p:spPr>
            <a:xfrm rot="5400000">
              <a:off x="12487213" y="3549131"/>
              <a:ext cx="521820" cy="177255"/>
            </a:xfrm>
            <a:prstGeom prst="curvedConnector3">
              <a:avLst>
                <a:gd name="adj1" fmla="val 50000"/>
              </a:avLst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曲线连接符 54">
              <a:extLst>
                <a:ext uri="{FF2B5EF4-FFF2-40B4-BE49-F238E27FC236}">
                  <a16:creationId xmlns:a16="http://schemas.microsoft.com/office/drawing/2014/main" id="{6F2BF8DF-D57D-4F70-BC04-637E8DBA70A0}"/>
                </a:ext>
              </a:extLst>
            </p:cNvPr>
            <p:cNvCxnSpPr/>
            <p:nvPr/>
          </p:nvCxnSpPr>
          <p:spPr>
            <a:xfrm rot="5400000">
              <a:off x="11491302" y="3305388"/>
              <a:ext cx="670674" cy="453847"/>
            </a:xfrm>
            <a:prstGeom prst="curvedConnector3">
              <a:avLst>
                <a:gd name="adj1" fmla="val 50000"/>
              </a:avLst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曲线连接符 58">
              <a:extLst>
                <a:ext uri="{FF2B5EF4-FFF2-40B4-BE49-F238E27FC236}">
                  <a16:creationId xmlns:a16="http://schemas.microsoft.com/office/drawing/2014/main" id="{F6BFD429-0A77-4653-91F0-CF4D044F4143}"/>
                </a:ext>
              </a:extLst>
            </p:cNvPr>
            <p:cNvCxnSpPr>
              <a:cxnSpLocks/>
              <a:endCxn id="48" idx="1"/>
            </p:cNvCxnSpPr>
            <p:nvPr/>
          </p:nvCxnSpPr>
          <p:spPr>
            <a:xfrm rot="16200000" flipH="1">
              <a:off x="13187493" y="3226797"/>
              <a:ext cx="232740" cy="85356"/>
            </a:xfrm>
            <a:prstGeom prst="curvedConnector2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等腰三角形 61">
              <a:extLst>
                <a:ext uri="{FF2B5EF4-FFF2-40B4-BE49-F238E27FC236}">
                  <a16:creationId xmlns:a16="http://schemas.microsoft.com/office/drawing/2014/main" id="{D8E29AB0-05AE-44E6-AC07-943016DF8916}"/>
                </a:ext>
              </a:extLst>
            </p:cNvPr>
            <p:cNvSpPr/>
            <p:nvPr/>
          </p:nvSpPr>
          <p:spPr>
            <a:xfrm rot="5400000">
              <a:off x="9641735" y="3749942"/>
              <a:ext cx="1574652" cy="123330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rgbClr val="C00000"/>
              </a:solidFill>
            </a:ln>
          </p:spPr>
          <p:txBody>
            <a:bodyPr vert="horz" wrap="square" lIns="48767" tIns="0" rIns="0" bIns="0" rtlCol="0" anchor="ctr">
              <a:noAutofit/>
            </a:bodyPr>
            <a:lstStyle/>
            <a:p>
              <a:pPr algn="ctr" defTabSz="619307">
                <a:buClr>
                  <a:srgbClr val="C81423"/>
                </a:buClr>
                <a:buSzPct val="75000"/>
              </a:pPr>
              <a:endParaRPr lang="zh-CN" altLang="en-US" sz="90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63" name="Oval 7">
              <a:extLst>
                <a:ext uri="{FF2B5EF4-FFF2-40B4-BE49-F238E27FC236}">
                  <a16:creationId xmlns:a16="http://schemas.microsoft.com/office/drawing/2014/main" id="{FDD0018B-B849-4DC4-BFF2-ADD7D3AED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67128" y="3911300"/>
              <a:ext cx="807918" cy="452845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分拣顺序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cxnSp>
          <p:nvCxnSpPr>
            <p:cNvPr id="64" name="直接连接符 63">
              <a:extLst>
                <a:ext uri="{FF2B5EF4-FFF2-40B4-BE49-F238E27FC236}">
                  <a16:creationId xmlns:a16="http://schemas.microsoft.com/office/drawing/2014/main" id="{C24107E0-448D-4EEA-8195-4CFE48A35508}"/>
                </a:ext>
              </a:extLst>
            </p:cNvPr>
            <p:cNvCxnSpPr>
              <a:cxnSpLocks/>
              <a:stCxn id="63" idx="3"/>
              <a:endCxn id="41" idx="1"/>
            </p:cNvCxnSpPr>
            <p:nvPr/>
          </p:nvCxnSpPr>
          <p:spPr>
            <a:xfrm>
              <a:off x="15375046" y="4137724"/>
              <a:ext cx="264022" cy="14563"/>
            </a:xfrm>
            <a:prstGeom prst="line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Oval 7">
              <a:extLst>
                <a:ext uri="{FF2B5EF4-FFF2-40B4-BE49-F238E27FC236}">
                  <a16:creationId xmlns:a16="http://schemas.microsoft.com/office/drawing/2014/main" id="{00471AFB-ADE7-4AD6-9480-CAE6C697C6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67128" y="3165736"/>
              <a:ext cx="807918" cy="452845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动态路区</a:t>
              </a:r>
              <a:r>
                <a:rPr lang="en-US" altLang="zh-CN" sz="900" kern="0" dirty="0">
                  <a:solidFill>
                    <a:srgbClr val="06174C"/>
                  </a:solidFill>
                  <a:cs typeface="+mn-ea"/>
                  <a:sym typeface="+mn-lt"/>
                </a:rPr>
                <a:t>…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66" name="Oval 7">
              <a:extLst>
                <a:ext uri="{FF2B5EF4-FFF2-40B4-BE49-F238E27FC236}">
                  <a16:creationId xmlns:a16="http://schemas.microsoft.com/office/drawing/2014/main" id="{4720B0B7-BF47-4806-8717-A01A76D25B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91612" y="3153105"/>
              <a:ext cx="825634" cy="465478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  <a:effectLst/>
          </p:spPr>
          <p:txBody>
            <a:bodyPr wrap="square" lIns="30967" rIns="30967" anchor="ctr"/>
            <a:lstStyle/>
            <a:p>
              <a:pPr algn="ctr" defTabSz="61930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900" kern="0" dirty="0">
                  <a:solidFill>
                    <a:srgbClr val="06174C"/>
                  </a:solidFill>
                  <a:cs typeface="+mn-ea"/>
                  <a:sym typeface="+mn-lt"/>
                </a:rPr>
                <a:t>路况</a:t>
              </a:r>
              <a:r>
                <a:rPr lang="en-US" altLang="zh-CN" sz="900" kern="0" dirty="0">
                  <a:solidFill>
                    <a:srgbClr val="06174C"/>
                  </a:solidFill>
                  <a:cs typeface="+mn-ea"/>
                  <a:sym typeface="+mn-lt"/>
                </a:rPr>
                <a:t>…</a:t>
              </a:r>
              <a:endParaRPr lang="en-US" sz="900" kern="0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cxnSp>
          <p:nvCxnSpPr>
            <p:cNvPr id="67" name="直接连接符 66">
              <a:extLst>
                <a:ext uri="{FF2B5EF4-FFF2-40B4-BE49-F238E27FC236}">
                  <a16:creationId xmlns:a16="http://schemas.microsoft.com/office/drawing/2014/main" id="{A8EB1C22-1830-4BB4-A031-BE262D146C37}"/>
                </a:ext>
              </a:extLst>
            </p:cNvPr>
            <p:cNvCxnSpPr>
              <a:cxnSpLocks/>
              <a:stCxn id="63" idx="0"/>
              <a:endCxn id="65" idx="2"/>
            </p:cNvCxnSpPr>
            <p:nvPr/>
          </p:nvCxnSpPr>
          <p:spPr>
            <a:xfrm flipV="1">
              <a:off x="14971087" y="3618582"/>
              <a:ext cx="0" cy="292718"/>
            </a:xfrm>
            <a:prstGeom prst="line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直接连接符 67">
              <a:extLst>
                <a:ext uri="{FF2B5EF4-FFF2-40B4-BE49-F238E27FC236}">
                  <a16:creationId xmlns:a16="http://schemas.microsoft.com/office/drawing/2014/main" id="{58E0E2FC-1D1C-4DF7-BA1A-C3737BAB700E}"/>
                </a:ext>
              </a:extLst>
            </p:cNvPr>
            <p:cNvCxnSpPr>
              <a:stCxn id="41" idx="0"/>
              <a:endCxn id="66" idx="2"/>
            </p:cNvCxnSpPr>
            <p:nvPr/>
          </p:nvCxnSpPr>
          <p:spPr>
            <a:xfrm flipH="1" flipV="1">
              <a:off x="16004430" y="3618583"/>
              <a:ext cx="47456" cy="300964"/>
            </a:xfrm>
            <a:prstGeom prst="line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曲线连接符 107">
              <a:extLst>
                <a:ext uri="{FF2B5EF4-FFF2-40B4-BE49-F238E27FC236}">
                  <a16:creationId xmlns:a16="http://schemas.microsoft.com/office/drawing/2014/main" id="{2AE3B70F-685E-4CF4-B891-9A4BC92AE599}"/>
                </a:ext>
              </a:extLst>
            </p:cNvPr>
            <p:cNvCxnSpPr>
              <a:endCxn id="66" idx="0"/>
            </p:cNvCxnSpPr>
            <p:nvPr/>
          </p:nvCxnSpPr>
          <p:spPr>
            <a:xfrm>
              <a:off x="13312330" y="2397324"/>
              <a:ext cx="2692100" cy="755781"/>
            </a:xfrm>
            <a:prstGeom prst="curvedConnector2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曲线连接符 110">
              <a:extLst>
                <a:ext uri="{FF2B5EF4-FFF2-40B4-BE49-F238E27FC236}">
                  <a16:creationId xmlns:a16="http://schemas.microsoft.com/office/drawing/2014/main" id="{C10D3CFF-33F3-4D9C-83DF-B0CB9EAD7E28}"/>
                </a:ext>
              </a:extLst>
            </p:cNvPr>
            <p:cNvCxnSpPr>
              <a:cxnSpLocks/>
              <a:endCxn id="65" idx="0"/>
            </p:cNvCxnSpPr>
            <p:nvPr/>
          </p:nvCxnSpPr>
          <p:spPr>
            <a:xfrm>
              <a:off x="13304215" y="2775213"/>
              <a:ext cx="1666872" cy="390523"/>
            </a:xfrm>
            <a:prstGeom prst="curvedConnector2">
              <a:avLst/>
            </a:prstGeom>
            <a:ln>
              <a:solidFill>
                <a:srgbClr val="C0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组合 70"/>
          <p:cNvGrpSpPr/>
          <p:nvPr/>
        </p:nvGrpSpPr>
        <p:grpSpPr>
          <a:xfrm>
            <a:off x="6823419" y="933758"/>
            <a:ext cx="4787375" cy="2396968"/>
            <a:chOff x="4972442" y="1003257"/>
            <a:chExt cx="3590531" cy="1797726"/>
          </a:xfrm>
        </p:grpSpPr>
        <p:pic>
          <p:nvPicPr>
            <p:cNvPr id="72" name="Picture 1">
              <a:extLst>
                <a:ext uri="{FF2B5EF4-FFF2-40B4-BE49-F238E27FC236}">
                  <a16:creationId xmlns:a16="http://schemas.microsoft.com/office/drawing/2014/main" id="{41EEF4DF-8AA6-43DB-97E3-F0A4F70195DB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2442" y="1067599"/>
              <a:ext cx="716521" cy="534637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3" descr="捕获">
              <a:extLst>
                <a:ext uri="{FF2B5EF4-FFF2-40B4-BE49-F238E27FC236}">
                  <a16:creationId xmlns:a16="http://schemas.microsoft.com/office/drawing/2014/main" id="{5D38C09E-42A5-4183-9808-5122635F7F43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0844" y="1003257"/>
              <a:ext cx="693265" cy="462025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" name="Picture 4" descr="C:\Users\liuxu6\Desktop\Rplot.png">
              <a:extLst>
                <a:ext uri="{FF2B5EF4-FFF2-40B4-BE49-F238E27FC236}">
                  <a16:creationId xmlns:a16="http://schemas.microsoft.com/office/drawing/2014/main" id="{A67FEAF5-C33D-42F4-B89E-BE8CC79C1B8D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19861" y="1063226"/>
              <a:ext cx="630241" cy="462025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5" name="Picture 5" descr="关联矩阵">
              <a:extLst>
                <a:ext uri="{FF2B5EF4-FFF2-40B4-BE49-F238E27FC236}">
                  <a16:creationId xmlns:a16="http://schemas.microsoft.com/office/drawing/2014/main" id="{8699F9DB-E5F1-4F20-9FAF-BFDD956690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10204" y="2008559"/>
              <a:ext cx="714545" cy="478437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6" name="Picture 6">
              <a:extLst>
                <a:ext uri="{FF2B5EF4-FFF2-40B4-BE49-F238E27FC236}">
                  <a16:creationId xmlns:a16="http://schemas.microsoft.com/office/drawing/2014/main" id="{1060238A-B871-48CE-A2BC-FDA1C673812A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13906" y="1939887"/>
              <a:ext cx="585293" cy="462025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7" name="组合 76">
              <a:extLst>
                <a:ext uri="{FF2B5EF4-FFF2-40B4-BE49-F238E27FC236}">
                  <a16:creationId xmlns:a16="http://schemas.microsoft.com/office/drawing/2014/main" id="{B9000ADD-DD29-4DDF-AAEC-7AE06513452D}"/>
                </a:ext>
              </a:extLst>
            </p:cNvPr>
            <p:cNvGrpSpPr/>
            <p:nvPr/>
          </p:nvGrpSpPr>
          <p:grpSpPr>
            <a:xfrm>
              <a:off x="5105602" y="1953743"/>
              <a:ext cx="756373" cy="427665"/>
              <a:chOff x="552316" y="3643810"/>
              <a:chExt cx="2160240" cy="1499690"/>
            </a:xfrm>
            <a:effectLst/>
          </p:grpSpPr>
          <p:pic>
            <p:nvPicPr>
              <p:cNvPr id="187" name="Picture 7">
                <a:extLst>
                  <a:ext uri="{FF2B5EF4-FFF2-40B4-BE49-F238E27FC236}">
                    <a16:creationId xmlns:a16="http://schemas.microsoft.com/office/drawing/2014/main" id="{0FC45CC1-6E66-48CB-99CB-5E4A37B6CB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37"/>
              <a:stretch/>
            </p:blipFill>
            <p:spPr bwMode="auto">
              <a:xfrm>
                <a:off x="552316" y="3643810"/>
                <a:ext cx="2160240" cy="1499690"/>
              </a:xfrm>
              <a:prstGeom prst="rect">
                <a:avLst/>
              </a:prstGeom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8" name="Picture 8">
                <a:extLst>
                  <a:ext uri="{FF2B5EF4-FFF2-40B4-BE49-F238E27FC236}">
                    <a16:creationId xmlns:a16="http://schemas.microsoft.com/office/drawing/2014/main" id="{B57DEF12-ECE8-433B-8FE1-E5053A08C6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2298" y="3733131"/>
                <a:ext cx="689301" cy="458698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8" name="右箭头 202">
              <a:extLst>
                <a:ext uri="{FF2B5EF4-FFF2-40B4-BE49-F238E27FC236}">
                  <a16:creationId xmlns:a16="http://schemas.microsoft.com/office/drawing/2014/main" id="{7089902D-D489-44A9-80D8-DE5BAB79CC73}"/>
                </a:ext>
              </a:extLst>
            </p:cNvPr>
            <p:cNvSpPr/>
            <p:nvPr/>
          </p:nvSpPr>
          <p:spPr>
            <a:xfrm>
              <a:off x="6004755" y="1313343"/>
              <a:ext cx="177847" cy="92415"/>
            </a:xfrm>
            <a:prstGeom prst="rightArrow">
              <a:avLst/>
            </a:prstGeom>
            <a:solidFill>
              <a:srgbClr val="FFCC99"/>
            </a:solidFill>
            <a:ln w="25400" cap="flat" cmpd="sng" algn="ctr">
              <a:solidFill>
                <a:srgbClr val="FFCC9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8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79" name="右箭头 203">
              <a:extLst>
                <a:ext uri="{FF2B5EF4-FFF2-40B4-BE49-F238E27FC236}">
                  <a16:creationId xmlns:a16="http://schemas.microsoft.com/office/drawing/2014/main" id="{EE909572-22A4-4988-AD60-6BF26E15E05D}"/>
                </a:ext>
              </a:extLst>
            </p:cNvPr>
            <p:cNvSpPr/>
            <p:nvPr/>
          </p:nvSpPr>
          <p:spPr>
            <a:xfrm>
              <a:off x="7312591" y="1450868"/>
              <a:ext cx="177847" cy="92415"/>
            </a:xfrm>
            <a:prstGeom prst="rightArrow">
              <a:avLst/>
            </a:prstGeom>
            <a:solidFill>
              <a:srgbClr val="FFCC99"/>
            </a:solidFill>
            <a:ln w="25400" cap="flat" cmpd="sng" algn="ctr">
              <a:solidFill>
                <a:srgbClr val="FFCC9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8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80" name="右箭头 204">
              <a:extLst>
                <a:ext uri="{FF2B5EF4-FFF2-40B4-BE49-F238E27FC236}">
                  <a16:creationId xmlns:a16="http://schemas.microsoft.com/office/drawing/2014/main" id="{786DC1DC-84F1-4D47-B8D4-0B72C507F744}"/>
                </a:ext>
              </a:extLst>
            </p:cNvPr>
            <p:cNvSpPr/>
            <p:nvPr/>
          </p:nvSpPr>
          <p:spPr>
            <a:xfrm rot="5400000">
              <a:off x="7860978" y="1791645"/>
              <a:ext cx="159989" cy="162252"/>
            </a:xfrm>
            <a:prstGeom prst="rightArrow">
              <a:avLst/>
            </a:prstGeom>
            <a:solidFill>
              <a:srgbClr val="FFCC99"/>
            </a:solidFill>
            <a:ln w="25400" cap="flat" cmpd="sng" algn="ctr">
              <a:solidFill>
                <a:srgbClr val="FFCC9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8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81" name="右箭头 205">
              <a:extLst>
                <a:ext uri="{FF2B5EF4-FFF2-40B4-BE49-F238E27FC236}">
                  <a16:creationId xmlns:a16="http://schemas.microsoft.com/office/drawing/2014/main" id="{7F97917D-945A-45BA-8903-7859701BE449}"/>
                </a:ext>
              </a:extLst>
            </p:cNvPr>
            <p:cNvSpPr/>
            <p:nvPr/>
          </p:nvSpPr>
          <p:spPr>
            <a:xfrm rot="10800000">
              <a:off x="7201241" y="2103380"/>
              <a:ext cx="177847" cy="92415"/>
            </a:xfrm>
            <a:prstGeom prst="rightArrow">
              <a:avLst/>
            </a:prstGeom>
            <a:solidFill>
              <a:srgbClr val="FFCC99"/>
            </a:solidFill>
            <a:ln w="25400" cap="flat" cmpd="sng" algn="ctr">
              <a:solidFill>
                <a:srgbClr val="FFCC9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8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82" name="右箭头 206">
              <a:extLst>
                <a:ext uri="{FF2B5EF4-FFF2-40B4-BE49-F238E27FC236}">
                  <a16:creationId xmlns:a16="http://schemas.microsoft.com/office/drawing/2014/main" id="{BFDD8F73-EA99-40AB-A638-7A807DBE60E0}"/>
                </a:ext>
              </a:extLst>
            </p:cNvPr>
            <p:cNvSpPr/>
            <p:nvPr/>
          </p:nvSpPr>
          <p:spPr>
            <a:xfrm rot="10800000">
              <a:off x="6093678" y="2103380"/>
              <a:ext cx="177847" cy="92415"/>
            </a:xfrm>
            <a:prstGeom prst="rightArrow">
              <a:avLst/>
            </a:prstGeom>
            <a:solidFill>
              <a:srgbClr val="FFCC99"/>
            </a:solidFill>
            <a:ln w="25400" cap="flat" cmpd="sng" algn="ctr">
              <a:solidFill>
                <a:srgbClr val="FFCC9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8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83" name="TextBox 4">
              <a:extLst>
                <a:ext uri="{FF2B5EF4-FFF2-40B4-BE49-F238E27FC236}">
                  <a16:creationId xmlns:a16="http://schemas.microsoft.com/office/drawing/2014/main" id="{159D9F7E-9C52-4661-ADA7-1FF329C1A644}"/>
                </a:ext>
              </a:extLst>
            </p:cNvPr>
            <p:cNvSpPr txBox="1"/>
            <p:nvPr/>
          </p:nvSpPr>
          <p:spPr>
            <a:xfrm>
              <a:off x="5105603" y="1518153"/>
              <a:ext cx="609901" cy="253916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kern="0" dirty="0">
                  <a:solidFill>
                    <a:srgbClr val="06174C"/>
                  </a:solidFill>
                  <a:cs typeface="+mn-ea"/>
                  <a:sym typeface="+mn-lt"/>
                </a:rPr>
                <a:t>数据立方体生成</a:t>
              </a:r>
            </a:p>
          </p:txBody>
        </p:sp>
        <p:sp>
          <p:nvSpPr>
            <p:cNvPr id="84" name="TextBox 18">
              <a:extLst>
                <a:ext uri="{FF2B5EF4-FFF2-40B4-BE49-F238E27FC236}">
                  <a16:creationId xmlns:a16="http://schemas.microsoft.com/office/drawing/2014/main" id="{2CC9B745-ECB7-4DB6-B994-9EDE441E741B}"/>
                </a:ext>
              </a:extLst>
            </p:cNvPr>
            <p:cNvSpPr txBox="1"/>
            <p:nvPr/>
          </p:nvSpPr>
          <p:spPr>
            <a:xfrm>
              <a:off x="6381910" y="1518153"/>
              <a:ext cx="754052" cy="161583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pPr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kern="0" dirty="0">
                  <a:solidFill>
                    <a:srgbClr val="06174C"/>
                  </a:solidFill>
                  <a:cs typeface="+mn-ea"/>
                  <a:sym typeface="+mn-lt"/>
                </a:rPr>
                <a:t>商品间关联性分析</a:t>
              </a:r>
            </a:p>
          </p:txBody>
        </p:sp>
        <p:sp>
          <p:nvSpPr>
            <p:cNvPr id="85" name="TextBox 19">
              <a:extLst>
                <a:ext uri="{FF2B5EF4-FFF2-40B4-BE49-F238E27FC236}">
                  <a16:creationId xmlns:a16="http://schemas.microsoft.com/office/drawing/2014/main" id="{D400E39D-615A-473C-A78C-61AC30CCEEC2}"/>
                </a:ext>
              </a:extLst>
            </p:cNvPr>
            <p:cNvSpPr txBox="1"/>
            <p:nvPr/>
          </p:nvSpPr>
          <p:spPr>
            <a:xfrm>
              <a:off x="7628663" y="1474543"/>
              <a:ext cx="900459" cy="253916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kern="0" dirty="0">
                  <a:solidFill>
                    <a:srgbClr val="06174C"/>
                  </a:solidFill>
                  <a:cs typeface="+mn-ea"/>
                  <a:sym typeface="+mn-lt"/>
                </a:rPr>
                <a:t>基于时间序列的关联性滤波及预测</a:t>
              </a:r>
            </a:p>
          </p:txBody>
        </p:sp>
        <p:sp>
          <p:nvSpPr>
            <p:cNvPr id="86" name="TextBox 20">
              <a:extLst>
                <a:ext uri="{FF2B5EF4-FFF2-40B4-BE49-F238E27FC236}">
                  <a16:creationId xmlns:a16="http://schemas.microsoft.com/office/drawing/2014/main" id="{ED37AD3A-E905-408C-8FBC-2E3ADE552589}"/>
                </a:ext>
              </a:extLst>
            </p:cNvPr>
            <p:cNvSpPr txBox="1"/>
            <p:nvPr/>
          </p:nvSpPr>
          <p:spPr>
            <a:xfrm>
              <a:off x="7651166" y="2547067"/>
              <a:ext cx="788067" cy="253916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kern="0" dirty="0">
                  <a:solidFill>
                    <a:srgbClr val="06174C"/>
                  </a:solidFill>
                  <a:cs typeface="+mn-ea"/>
                  <a:sym typeface="+mn-lt"/>
                </a:rPr>
                <a:t>基于矩阵的计算加速策略</a:t>
              </a:r>
            </a:p>
          </p:txBody>
        </p:sp>
        <p:sp>
          <p:nvSpPr>
            <p:cNvPr id="87" name="TextBox 21">
              <a:extLst>
                <a:ext uri="{FF2B5EF4-FFF2-40B4-BE49-F238E27FC236}">
                  <a16:creationId xmlns:a16="http://schemas.microsoft.com/office/drawing/2014/main" id="{990AE8F7-03A1-494C-A434-24FE46AEE2A9}"/>
                </a:ext>
              </a:extLst>
            </p:cNvPr>
            <p:cNvSpPr txBox="1"/>
            <p:nvPr/>
          </p:nvSpPr>
          <p:spPr>
            <a:xfrm>
              <a:off x="6519648" y="2411966"/>
              <a:ext cx="369332" cy="161583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pPr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kern="0" dirty="0">
                  <a:solidFill>
                    <a:srgbClr val="06174C"/>
                  </a:solidFill>
                  <a:cs typeface="+mn-ea"/>
                  <a:sym typeface="+mn-lt"/>
                </a:rPr>
                <a:t>谱聚类</a:t>
              </a:r>
            </a:p>
          </p:txBody>
        </p:sp>
        <p:sp>
          <p:nvSpPr>
            <p:cNvPr id="88" name="TextBox 22">
              <a:extLst>
                <a:ext uri="{FF2B5EF4-FFF2-40B4-BE49-F238E27FC236}">
                  <a16:creationId xmlns:a16="http://schemas.microsoft.com/office/drawing/2014/main" id="{4F535127-82D4-4172-9335-781E0750212F}"/>
                </a:ext>
              </a:extLst>
            </p:cNvPr>
            <p:cNvSpPr txBox="1"/>
            <p:nvPr/>
          </p:nvSpPr>
          <p:spPr>
            <a:xfrm>
              <a:off x="5098346" y="2418859"/>
              <a:ext cx="722332" cy="253916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kern="0" dirty="0">
                  <a:solidFill>
                    <a:srgbClr val="06174C"/>
                  </a:solidFill>
                  <a:cs typeface="+mn-ea"/>
                  <a:sym typeface="+mn-lt"/>
                </a:rPr>
                <a:t>遗传算法获取全局最优解</a:t>
              </a:r>
            </a:p>
          </p:txBody>
        </p:sp>
        <p:sp>
          <p:nvSpPr>
            <p:cNvPr id="89" name="TextBox 5">
              <a:extLst>
                <a:ext uri="{FF2B5EF4-FFF2-40B4-BE49-F238E27FC236}">
                  <a16:creationId xmlns:a16="http://schemas.microsoft.com/office/drawing/2014/main" id="{BA953AC2-225A-4161-A3D2-47E4DD8ED96F}"/>
                </a:ext>
              </a:extLst>
            </p:cNvPr>
            <p:cNvSpPr txBox="1"/>
            <p:nvPr/>
          </p:nvSpPr>
          <p:spPr>
            <a:xfrm>
              <a:off x="5787713" y="1035743"/>
              <a:ext cx="568852" cy="253916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b="1" kern="0" dirty="0">
                  <a:solidFill>
                    <a:srgbClr val="06174C"/>
                  </a:solidFill>
                  <a:cs typeface="+mn-ea"/>
                  <a:sym typeface="+mn-lt"/>
                </a:rPr>
                <a:t>百亿级</a:t>
              </a:r>
              <a:endParaRPr lang="en-US" altLang="zh-CN" sz="800" b="1" kern="0" dirty="0">
                <a:solidFill>
                  <a:srgbClr val="06174C"/>
                </a:solidFill>
                <a:cs typeface="+mn-ea"/>
                <a:sym typeface="+mn-lt"/>
              </a:endParaRPr>
            </a:p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b="1" kern="0" dirty="0">
                  <a:solidFill>
                    <a:srgbClr val="06174C"/>
                  </a:solidFill>
                  <a:cs typeface="+mn-ea"/>
                  <a:sym typeface="+mn-lt"/>
                </a:rPr>
                <a:t>商品组合</a:t>
              </a:r>
            </a:p>
          </p:txBody>
        </p:sp>
        <p:sp>
          <p:nvSpPr>
            <p:cNvPr id="90" name="TextBox 24">
              <a:extLst>
                <a:ext uri="{FF2B5EF4-FFF2-40B4-BE49-F238E27FC236}">
                  <a16:creationId xmlns:a16="http://schemas.microsoft.com/office/drawing/2014/main" id="{FCA53C36-6EAC-4BD9-A49D-5FBA118827E4}"/>
                </a:ext>
              </a:extLst>
            </p:cNvPr>
            <p:cNvSpPr txBox="1"/>
            <p:nvPr/>
          </p:nvSpPr>
          <p:spPr>
            <a:xfrm>
              <a:off x="7113398" y="1017496"/>
              <a:ext cx="544153" cy="346249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b="1" kern="0" dirty="0">
                  <a:solidFill>
                    <a:srgbClr val="06174C"/>
                  </a:solidFill>
                  <a:cs typeface="+mn-ea"/>
                  <a:sym typeface="+mn-lt"/>
                </a:rPr>
                <a:t>剔除主观干扰提取本质关联</a:t>
              </a:r>
            </a:p>
          </p:txBody>
        </p:sp>
        <p:sp>
          <p:nvSpPr>
            <p:cNvPr id="91" name="TextBox 25">
              <a:extLst>
                <a:ext uri="{FF2B5EF4-FFF2-40B4-BE49-F238E27FC236}">
                  <a16:creationId xmlns:a16="http://schemas.microsoft.com/office/drawing/2014/main" id="{C1AEC3FA-0154-4F56-9173-EFB98E1467F7}"/>
                </a:ext>
              </a:extLst>
            </p:cNvPr>
            <p:cNvSpPr txBox="1"/>
            <p:nvPr/>
          </p:nvSpPr>
          <p:spPr>
            <a:xfrm>
              <a:off x="8053364" y="1734716"/>
              <a:ext cx="509609" cy="253916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b="1" kern="0" dirty="0">
                  <a:solidFill>
                    <a:srgbClr val="06174C"/>
                  </a:solidFill>
                  <a:cs typeface="+mn-ea"/>
                  <a:sym typeface="+mn-lt"/>
                </a:rPr>
                <a:t>计算速度千倍提升</a:t>
              </a:r>
            </a:p>
          </p:txBody>
        </p:sp>
        <p:sp>
          <p:nvSpPr>
            <p:cNvPr id="92" name="TextBox 26">
              <a:extLst>
                <a:ext uri="{FF2B5EF4-FFF2-40B4-BE49-F238E27FC236}">
                  <a16:creationId xmlns:a16="http://schemas.microsoft.com/office/drawing/2014/main" id="{A6305AB7-1110-477B-9100-BCAF8CFE7501}"/>
                </a:ext>
              </a:extLst>
            </p:cNvPr>
            <p:cNvSpPr txBox="1"/>
            <p:nvPr/>
          </p:nvSpPr>
          <p:spPr>
            <a:xfrm>
              <a:off x="6999200" y="2223100"/>
              <a:ext cx="711122" cy="253916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b="1" kern="0" dirty="0">
                  <a:solidFill>
                    <a:srgbClr val="06174C"/>
                  </a:solidFill>
                  <a:cs typeface="+mn-ea"/>
                  <a:sym typeface="+mn-lt"/>
                </a:rPr>
                <a:t>面向拓扑空间的深层关系挖掘</a:t>
              </a:r>
            </a:p>
          </p:txBody>
        </p:sp>
        <p:sp>
          <p:nvSpPr>
            <p:cNvPr id="93" name="TextBox 27">
              <a:extLst>
                <a:ext uri="{FF2B5EF4-FFF2-40B4-BE49-F238E27FC236}">
                  <a16:creationId xmlns:a16="http://schemas.microsoft.com/office/drawing/2014/main" id="{22963CC1-B8BC-4EDC-8E94-826CD4935C35}"/>
                </a:ext>
              </a:extLst>
            </p:cNvPr>
            <p:cNvSpPr txBox="1"/>
            <p:nvPr/>
          </p:nvSpPr>
          <p:spPr>
            <a:xfrm>
              <a:off x="5843386" y="2218710"/>
              <a:ext cx="645809" cy="253916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b="1" kern="0" dirty="0">
                  <a:solidFill>
                    <a:srgbClr val="06174C"/>
                  </a:solidFill>
                  <a:cs typeface="+mn-ea"/>
                  <a:sym typeface="+mn-lt"/>
                </a:rPr>
                <a:t>贴近业务的多目标优化</a:t>
              </a:r>
            </a:p>
          </p:txBody>
        </p:sp>
        <p:grpSp>
          <p:nvGrpSpPr>
            <p:cNvPr id="94" name="组合 93">
              <a:extLst>
                <a:ext uri="{FF2B5EF4-FFF2-40B4-BE49-F238E27FC236}">
                  <a16:creationId xmlns:a16="http://schemas.microsoft.com/office/drawing/2014/main" id="{B3645F03-47EB-4E55-B25F-AA4013F01E7D}"/>
                </a:ext>
              </a:extLst>
            </p:cNvPr>
            <p:cNvGrpSpPr/>
            <p:nvPr/>
          </p:nvGrpSpPr>
          <p:grpSpPr>
            <a:xfrm>
              <a:off x="5962878" y="1635788"/>
              <a:ext cx="250684" cy="200483"/>
              <a:chOff x="2965493" y="2746300"/>
              <a:chExt cx="2520280" cy="2304256"/>
            </a:xfrm>
            <a:effectLst/>
          </p:grpSpPr>
          <p:grpSp>
            <p:nvGrpSpPr>
              <p:cNvPr id="99" name="组合 98">
                <a:extLst>
                  <a:ext uri="{FF2B5EF4-FFF2-40B4-BE49-F238E27FC236}">
                    <a16:creationId xmlns:a16="http://schemas.microsoft.com/office/drawing/2014/main" id="{3BED1539-196F-4C41-B03C-9235B84B2B5D}"/>
                  </a:ext>
                </a:extLst>
              </p:cNvPr>
              <p:cNvGrpSpPr/>
              <p:nvPr/>
            </p:nvGrpSpPr>
            <p:grpSpPr>
              <a:xfrm>
                <a:off x="3397541" y="2746300"/>
                <a:ext cx="2088232" cy="2304256"/>
                <a:chOff x="755576" y="3140968"/>
                <a:chExt cx="2088232" cy="2304256"/>
              </a:xfrm>
            </p:grpSpPr>
            <p:grpSp>
              <p:nvGrpSpPr>
                <p:cNvPr id="163" name="组合 162">
                  <a:extLst>
                    <a:ext uri="{FF2B5EF4-FFF2-40B4-BE49-F238E27FC236}">
                      <a16:creationId xmlns:a16="http://schemas.microsoft.com/office/drawing/2014/main" id="{58FF0EF7-25AB-400D-9F53-CD83FAAA3A11}"/>
                    </a:ext>
                  </a:extLst>
                </p:cNvPr>
                <p:cNvGrpSpPr/>
                <p:nvPr/>
              </p:nvGrpSpPr>
              <p:grpSpPr>
                <a:xfrm>
                  <a:off x="755576" y="4869160"/>
                  <a:ext cx="1584176" cy="576064"/>
                  <a:chOff x="683568" y="2495357"/>
                  <a:chExt cx="1584176" cy="576064"/>
                </a:xfrm>
              </p:grpSpPr>
              <p:sp>
                <p:nvSpPr>
                  <p:cNvPr id="184" name="立方体 183">
                    <a:extLst>
                      <a:ext uri="{FF2B5EF4-FFF2-40B4-BE49-F238E27FC236}">
                        <a16:creationId xmlns:a16="http://schemas.microsoft.com/office/drawing/2014/main" id="{5E8F09D2-18BB-4F03-BFD2-84A4E7AFF2AD}"/>
                      </a:ext>
                    </a:extLst>
                  </p:cNvPr>
                  <p:cNvSpPr/>
                  <p:nvPr/>
                </p:nvSpPr>
                <p:spPr>
                  <a:xfrm>
                    <a:off x="683568" y="249535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85" name="立方体 184">
                    <a:extLst>
                      <a:ext uri="{FF2B5EF4-FFF2-40B4-BE49-F238E27FC236}">
                        <a16:creationId xmlns:a16="http://schemas.microsoft.com/office/drawing/2014/main" id="{FE13C8E1-8FD6-4CFC-B936-4AE2EBEAABC6}"/>
                      </a:ext>
                    </a:extLst>
                  </p:cNvPr>
                  <p:cNvSpPr/>
                  <p:nvPr/>
                </p:nvSpPr>
                <p:spPr>
                  <a:xfrm>
                    <a:off x="1187624" y="249535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86" name="立方体 185">
                    <a:extLst>
                      <a:ext uri="{FF2B5EF4-FFF2-40B4-BE49-F238E27FC236}">
                        <a16:creationId xmlns:a16="http://schemas.microsoft.com/office/drawing/2014/main" id="{FC898FC8-F9C2-473E-9A1D-C07A38EF9801}"/>
                      </a:ext>
                    </a:extLst>
                  </p:cNvPr>
                  <p:cNvSpPr/>
                  <p:nvPr/>
                </p:nvSpPr>
                <p:spPr>
                  <a:xfrm>
                    <a:off x="1691680" y="249535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64" name="组合 163">
                  <a:extLst>
                    <a:ext uri="{FF2B5EF4-FFF2-40B4-BE49-F238E27FC236}">
                      <a16:creationId xmlns:a16="http://schemas.microsoft.com/office/drawing/2014/main" id="{E95DB797-9AE7-4576-AFC8-701CD6D33559}"/>
                    </a:ext>
                  </a:extLst>
                </p:cNvPr>
                <p:cNvGrpSpPr/>
                <p:nvPr/>
              </p:nvGrpSpPr>
              <p:grpSpPr>
                <a:xfrm>
                  <a:off x="755576" y="4437112"/>
                  <a:ext cx="2088232" cy="576064"/>
                  <a:chOff x="755576" y="2135317"/>
                  <a:chExt cx="2088232" cy="576064"/>
                </a:xfrm>
              </p:grpSpPr>
              <p:sp>
                <p:nvSpPr>
                  <p:cNvPr id="180" name="立方体 179">
                    <a:extLst>
                      <a:ext uri="{FF2B5EF4-FFF2-40B4-BE49-F238E27FC236}">
                        <a16:creationId xmlns:a16="http://schemas.microsoft.com/office/drawing/2014/main" id="{4EEEFB94-E634-4246-9576-BEDD45CF1AC8}"/>
                      </a:ext>
                    </a:extLst>
                  </p:cNvPr>
                  <p:cNvSpPr/>
                  <p:nvPr/>
                </p:nvSpPr>
                <p:spPr>
                  <a:xfrm>
                    <a:off x="755576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81" name="立方体 180">
                    <a:extLst>
                      <a:ext uri="{FF2B5EF4-FFF2-40B4-BE49-F238E27FC236}">
                        <a16:creationId xmlns:a16="http://schemas.microsoft.com/office/drawing/2014/main" id="{A7C26532-9B9B-4F86-BA57-CE480F30FDFB}"/>
                      </a:ext>
                    </a:extLst>
                  </p:cNvPr>
                  <p:cNvSpPr/>
                  <p:nvPr/>
                </p:nvSpPr>
                <p:spPr>
                  <a:xfrm>
                    <a:off x="1259632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82" name="立方体 181">
                    <a:extLst>
                      <a:ext uri="{FF2B5EF4-FFF2-40B4-BE49-F238E27FC236}">
                        <a16:creationId xmlns:a16="http://schemas.microsoft.com/office/drawing/2014/main" id="{848B908E-DFD6-47C7-B492-82DCCC90FBD3}"/>
                      </a:ext>
                    </a:extLst>
                  </p:cNvPr>
                  <p:cNvSpPr/>
                  <p:nvPr/>
                </p:nvSpPr>
                <p:spPr>
                  <a:xfrm>
                    <a:off x="1763688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83" name="立方体 182">
                    <a:extLst>
                      <a:ext uri="{FF2B5EF4-FFF2-40B4-BE49-F238E27FC236}">
                        <a16:creationId xmlns:a16="http://schemas.microsoft.com/office/drawing/2014/main" id="{C8426D8A-0AA0-4569-AE50-38EC3542DC01}"/>
                      </a:ext>
                    </a:extLst>
                  </p:cNvPr>
                  <p:cNvSpPr/>
                  <p:nvPr/>
                </p:nvSpPr>
                <p:spPr>
                  <a:xfrm>
                    <a:off x="2267744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65" name="组合 164">
                  <a:extLst>
                    <a:ext uri="{FF2B5EF4-FFF2-40B4-BE49-F238E27FC236}">
                      <a16:creationId xmlns:a16="http://schemas.microsoft.com/office/drawing/2014/main" id="{9C4608BD-1362-44FA-915C-C99594335DA0}"/>
                    </a:ext>
                  </a:extLst>
                </p:cNvPr>
                <p:cNvGrpSpPr/>
                <p:nvPr/>
              </p:nvGrpSpPr>
              <p:grpSpPr>
                <a:xfrm>
                  <a:off x="755576" y="4005064"/>
                  <a:ext cx="2088232" cy="576064"/>
                  <a:chOff x="827584" y="1772816"/>
                  <a:chExt cx="2088232" cy="576064"/>
                </a:xfrm>
              </p:grpSpPr>
              <p:sp>
                <p:nvSpPr>
                  <p:cNvPr id="176" name="立方体 175">
                    <a:extLst>
                      <a:ext uri="{FF2B5EF4-FFF2-40B4-BE49-F238E27FC236}">
                        <a16:creationId xmlns:a16="http://schemas.microsoft.com/office/drawing/2014/main" id="{CF85CE41-D3D0-4F80-8991-FBE26E2BE742}"/>
                      </a:ext>
                    </a:extLst>
                  </p:cNvPr>
                  <p:cNvSpPr/>
                  <p:nvPr/>
                </p:nvSpPr>
                <p:spPr>
                  <a:xfrm>
                    <a:off x="827584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77" name="立方体 176">
                    <a:extLst>
                      <a:ext uri="{FF2B5EF4-FFF2-40B4-BE49-F238E27FC236}">
                        <a16:creationId xmlns:a16="http://schemas.microsoft.com/office/drawing/2014/main" id="{D27B3114-5DBD-44A7-A997-460D8102C5D8}"/>
                      </a:ext>
                    </a:extLst>
                  </p:cNvPr>
                  <p:cNvSpPr/>
                  <p:nvPr/>
                </p:nvSpPr>
                <p:spPr>
                  <a:xfrm>
                    <a:off x="1331640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78" name="立方体 177">
                    <a:extLst>
                      <a:ext uri="{FF2B5EF4-FFF2-40B4-BE49-F238E27FC236}">
                        <a16:creationId xmlns:a16="http://schemas.microsoft.com/office/drawing/2014/main" id="{D70835B4-99A9-4A5A-8CDB-8A2C3FAE2858}"/>
                      </a:ext>
                    </a:extLst>
                  </p:cNvPr>
                  <p:cNvSpPr/>
                  <p:nvPr/>
                </p:nvSpPr>
                <p:spPr>
                  <a:xfrm>
                    <a:off x="1835696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79" name="立方体 178">
                    <a:extLst>
                      <a:ext uri="{FF2B5EF4-FFF2-40B4-BE49-F238E27FC236}">
                        <a16:creationId xmlns:a16="http://schemas.microsoft.com/office/drawing/2014/main" id="{5783D532-4EEB-4833-844E-2B90867C88B6}"/>
                      </a:ext>
                    </a:extLst>
                  </p:cNvPr>
                  <p:cNvSpPr/>
                  <p:nvPr/>
                </p:nvSpPr>
                <p:spPr>
                  <a:xfrm>
                    <a:off x="2339752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66" name="组合 165">
                  <a:extLst>
                    <a:ext uri="{FF2B5EF4-FFF2-40B4-BE49-F238E27FC236}">
                      <a16:creationId xmlns:a16="http://schemas.microsoft.com/office/drawing/2014/main" id="{3C7BD07B-1F6B-490D-97D2-7F8ACEA3AC1C}"/>
                    </a:ext>
                  </a:extLst>
                </p:cNvPr>
                <p:cNvGrpSpPr/>
                <p:nvPr/>
              </p:nvGrpSpPr>
              <p:grpSpPr>
                <a:xfrm>
                  <a:off x="755576" y="3573016"/>
                  <a:ext cx="2088232" cy="576064"/>
                  <a:chOff x="899592" y="1484784"/>
                  <a:chExt cx="2088232" cy="576064"/>
                </a:xfrm>
              </p:grpSpPr>
              <p:sp>
                <p:nvSpPr>
                  <p:cNvPr id="172" name="立方体 171">
                    <a:extLst>
                      <a:ext uri="{FF2B5EF4-FFF2-40B4-BE49-F238E27FC236}">
                        <a16:creationId xmlns:a16="http://schemas.microsoft.com/office/drawing/2014/main" id="{4C8BCE32-431D-410F-A2B2-D829F096543E}"/>
                      </a:ext>
                    </a:extLst>
                  </p:cNvPr>
                  <p:cNvSpPr/>
                  <p:nvPr/>
                </p:nvSpPr>
                <p:spPr>
                  <a:xfrm>
                    <a:off x="899592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73" name="立方体 172">
                    <a:extLst>
                      <a:ext uri="{FF2B5EF4-FFF2-40B4-BE49-F238E27FC236}">
                        <a16:creationId xmlns:a16="http://schemas.microsoft.com/office/drawing/2014/main" id="{87AAB997-4B8D-4CD8-8A82-E8CC72D59370}"/>
                      </a:ext>
                    </a:extLst>
                  </p:cNvPr>
                  <p:cNvSpPr/>
                  <p:nvPr/>
                </p:nvSpPr>
                <p:spPr>
                  <a:xfrm>
                    <a:off x="1403648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74" name="立方体 173">
                    <a:extLst>
                      <a:ext uri="{FF2B5EF4-FFF2-40B4-BE49-F238E27FC236}">
                        <a16:creationId xmlns:a16="http://schemas.microsoft.com/office/drawing/2014/main" id="{D20371C7-CEDB-4EBA-B6B1-6A42B90E9D38}"/>
                      </a:ext>
                    </a:extLst>
                  </p:cNvPr>
                  <p:cNvSpPr/>
                  <p:nvPr/>
                </p:nvSpPr>
                <p:spPr>
                  <a:xfrm>
                    <a:off x="1907704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75" name="立方体 174">
                    <a:extLst>
                      <a:ext uri="{FF2B5EF4-FFF2-40B4-BE49-F238E27FC236}">
                        <a16:creationId xmlns:a16="http://schemas.microsoft.com/office/drawing/2014/main" id="{D5EEDFF6-066A-4E92-9B7E-CBA6A16E1124}"/>
                      </a:ext>
                    </a:extLst>
                  </p:cNvPr>
                  <p:cNvSpPr/>
                  <p:nvPr/>
                </p:nvSpPr>
                <p:spPr>
                  <a:xfrm>
                    <a:off x="2411760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67" name="组合 166">
                  <a:extLst>
                    <a:ext uri="{FF2B5EF4-FFF2-40B4-BE49-F238E27FC236}">
                      <a16:creationId xmlns:a16="http://schemas.microsoft.com/office/drawing/2014/main" id="{E9B15132-A0BF-421F-AB8F-10117763E860}"/>
                    </a:ext>
                  </a:extLst>
                </p:cNvPr>
                <p:cNvGrpSpPr/>
                <p:nvPr/>
              </p:nvGrpSpPr>
              <p:grpSpPr>
                <a:xfrm>
                  <a:off x="755576" y="3140968"/>
                  <a:ext cx="2088232" cy="576064"/>
                  <a:chOff x="971600" y="1124744"/>
                  <a:chExt cx="2088232" cy="576064"/>
                </a:xfrm>
              </p:grpSpPr>
              <p:sp>
                <p:nvSpPr>
                  <p:cNvPr id="168" name="立方体 167">
                    <a:extLst>
                      <a:ext uri="{FF2B5EF4-FFF2-40B4-BE49-F238E27FC236}">
                        <a16:creationId xmlns:a16="http://schemas.microsoft.com/office/drawing/2014/main" id="{AD6CD9E7-A974-47CA-97FC-D0F600A6A76E}"/>
                      </a:ext>
                    </a:extLst>
                  </p:cNvPr>
                  <p:cNvSpPr/>
                  <p:nvPr/>
                </p:nvSpPr>
                <p:spPr>
                  <a:xfrm>
                    <a:off x="971600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69" name="立方体 168">
                    <a:extLst>
                      <a:ext uri="{FF2B5EF4-FFF2-40B4-BE49-F238E27FC236}">
                        <a16:creationId xmlns:a16="http://schemas.microsoft.com/office/drawing/2014/main" id="{0C6DA474-32C6-4508-AE53-894C10B5F8D4}"/>
                      </a:ext>
                    </a:extLst>
                  </p:cNvPr>
                  <p:cNvSpPr/>
                  <p:nvPr/>
                </p:nvSpPr>
                <p:spPr>
                  <a:xfrm>
                    <a:off x="1475656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70" name="立方体 169">
                    <a:extLst>
                      <a:ext uri="{FF2B5EF4-FFF2-40B4-BE49-F238E27FC236}">
                        <a16:creationId xmlns:a16="http://schemas.microsoft.com/office/drawing/2014/main" id="{D8BF8499-4885-4250-A97B-2EF29667D714}"/>
                      </a:ext>
                    </a:extLst>
                  </p:cNvPr>
                  <p:cNvSpPr/>
                  <p:nvPr/>
                </p:nvSpPr>
                <p:spPr>
                  <a:xfrm>
                    <a:off x="1979712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71" name="立方体 170">
                    <a:extLst>
                      <a:ext uri="{FF2B5EF4-FFF2-40B4-BE49-F238E27FC236}">
                        <a16:creationId xmlns:a16="http://schemas.microsoft.com/office/drawing/2014/main" id="{818B2152-4A8D-4BC0-9409-ABFA2AA07742}"/>
                      </a:ext>
                    </a:extLst>
                  </p:cNvPr>
                  <p:cNvSpPr/>
                  <p:nvPr/>
                </p:nvSpPr>
                <p:spPr>
                  <a:xfrm>
                    <a:off x="2483768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</p:grpSp>
          <p:grpSp>
            <p:nvGrpSpPr>
              <p:cNvPr id="100" name="组合 99">
                <a:extLst>
                  <a:ext uri="{FF2B5EF4-FFF2-40B4-BE49-F238E27FC236}">
                    <a16:creationId xmlns:a16="http://schemas.microsoft.com/office/drawing/2014/main" id="{47CE3195-05F7-41B6-ACBD-D93F19C3F2E9}"/>
                  </a:ext>
                </a:extLst>
              </p:cNvPr>
              <p:cNvGrpSpPr/>
              <p:nvPr/>
            </p:nvGrpSpPr>
            <p:grpSpPr>
              <a:xfrm>
                <a:off x="3253525" y="2890316"/>
                <a:ext cx="2088232" cy="1872208"/>
                <a:chOff x="755576" y="3140968"/>
                <a:chExt cx="2088232" cy="1872208"/>
              </a:xfrm>
            </p:grpSpPr>
            <p:grpSp>
              <p:nvGrpSpPr>
                <p:cNvPr id="143" name="组合 142">
                  <a:extLst>
                    <a:ext uri="{FF2B5EF4-FFF2-40B4-BE49-F238E27FC236}">
                      <a16:creationId xmlns:a16="http://schemas.microsoft.com/office/drawing/2014/main" id="{8537AC6B-7555-4CB8-B7AE-2E95EF60D6F0}"/>
                    </a:ext>
                  </a:extLst>
                </p:cNvPr>
                <p:cNvGrpSpPr/>
                <p:nvPr/>
              </p:nvGrpSpPr>
              <p:grpSpPr>
                <a:xfrm>
                  <a:off x="755576" y="4437112"/>
                  <a:ext cx="2088232" cy="576064"/>
                  <a:chOff x="755576" y="2135317"/>
                  <a:chExt cx="2088232" cy="576064"/>
                </a:xfrm>
              </p:grpSpPr>
              <p:sp>
                <p:nvSpPr>
                  <p:cNvPr id="159" name="立方体 158">
                    <a:extLst>
                      <a:ext uri="{FF2B5EF4-FFF2-40B4-BE49-F238E27FC236}">
                        <a16:creationId xmlns:a16="http://schemas.microsoft.com/office/drawing/2014/main" id="{E816BE9E-CE75-4026-A6C9-0556B54AE839}"/>
                      </a:ext>
                    </a:extLst>
                  </p:cNvPr>
                  <p:cNvSpPr/>
                  <p:nvPr/>
                </p:nvSpPr>
                <p:spPr>
                  <a:xfrm>
                    <a:off x="755576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60" name="立方体 159">
                    <a:extLst>
                      <a:ext uri="{FF2B5EF4-FFF2-40B4-BE49-F238E27FC236}">
                        <a16:creationId xmlns:a16="http://schemas.microsoft.com/office/drawing/2014/main" id="{79A3721F-EA9E-48AA-8148-67716C2CDAF7}"/>
                      </a:ext>
                    </a:extLst>
                  </p:cNvPr>
                  <p:cNvSpPr/>
                  <p:nvPr/>
                </p:nvSpPr>
                <p:spPr>
                  <a:xfrm>
                    <a:off x="1259632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61" name="立方体 160">
                    <a:extLst>
                      <a:ext uri="{FF2B5EF4-FFF2-40B4-BE49-F238E27FC236}">
                        <a16:creationId xmlns:a16="http://schemas.microsoft.com/office/drawing/2014/main" id="{8C322D83-69E7-4A0D-BC7E-CFE6A2762C04}"/>
                      </a:ext>
                    </a:extLst>
                  </p:cNvPr>
                  <p:cNvSpPr/>
                  <p:nvPr/>
                </p:nvSpPr>
                <p:spPr>
                  <a:xfrm>
                    <a:off x="1763688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62" name="立方体 161">
                    <a:extLst>
                      <a:ext uri="{FF2B5EF4-FFF2-40B4-BE49-F238E27FC236}">
                        <a16:creationId xmlns:a16="http://schemas.microsoft.com/office/drawing/2014/main" id="{906FB1F0-DDE2-407A-A6C6-BDE7624726D2}"/>
                      </a:ext>
                    </a:extLst>
                  </p:cNvPr>
                  <p:cNvSpPr/>
                  <p:nvPr/>
                </p:nvSpPr>
                <p:spPr>
                  <a:xfrm>
                    <a:off x="2267744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44" name="组合 143">
                  <a:extLst>
                    <a:ext uri="{FF2B5EF4-FFF2-40B4-BE49-F238E27FC236}">
                      <a16:creationId xmlns:a16="http://schemas.microsoft.com/office/drawing/2014/main" id="{7D2F3344-8363-4A07-A23E-E35F1DF47EEF}"/>
                    </a:ext>
                  </a:extLst>
                </p:cNvPr>
                <p:cNvGrpSpPr/>
                <p:nvPr/>
              </p:nvGrpSpPr>
              <p:grpSpPr>
                <a:xfrm>
                  <a:off x="755576" y="4005064"/>
                  <a:ext cx="2088232" cy="576064"/>
                  <a:chOff x="827584" y="1772816"/>
                  <a:chExt cx="2088232" cy="576064"/>
                </a:xfrm>
              </p:grpSpPr>
              <p:sp>
                <p:nvSpPr>
                  <p:cNvPr id="155" name="立方体 154">
                    <a:extLst>
                      <a:ext uri="{FF2B5EF4-FFF2-40B4-BE49-F238E27FC236}">
                        <a16:creationId xmlns:a16="http://schemas.microsoft.com/office/drawing/2014/main" id="{4EE3F445-D266-41C3-93AC-A20AC8E53183}"/>
                      </a:ext>
                    </a:extLst>
                  </p:cNvPr>
                  <p:cNvSpPr/>
                  <p:nvPr/>
                </p:nvSpPr>
                <p:spPr>
                  <a:xfrm>
                    <a:off x="827584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56" name="立方体 155">
                    <a:extLst>
                      <a:ext uri="{FF2B5EF4-FFF2-40B4-BE49-F238E27FC236}">
                        <a16:creationId xmlns:a16="http://schemas.microsoft.com/office/drawing/2014/main" id="{E247B3BB-36C8-4337-BA1C-1516165579DC}"/>
                      </a:ext>
                    </a:extLst>
                  </p:cNvPr>
                  <p:cNvSpPr/>
                  <p:nvPr/>
                </p:nvSpPr>
                <p:spPr>
                  <a:xfrm>
                    <a:off x="1331640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57" name="立方体 156">
                    <a:extLst>
                      <a:ext uri="{FF2B5EF4-FFF2-40B4-BE49-F238E27FC236}">
                        <a16:creationId xmlns:a16="http://schemas.microsoft.com/office/drawing/2014/main" id="{C0E8035B-4B5A-44C7-889A-ACB774D57E3E}"/>
                      </a:ext>
                    </a:extLst>
                  </p:cNvPr>
                  <p:cNvSpPr/>
                  <p:nvPr/>
                </p:nvSpPr>
                <p:spPr>
                  <a:xfrm>
                    <a:off x="1835696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58" name="立方体 157">
                    <a:extLst>
                      <a:ext uri="{FF2B5EF4-FFF2-40B4-BE49-F238E27FC236}">
                        <a16:creationId xmlns:a16="http://schemas.microsoft.com/office/drawing/2014/main" id="{A6D35041-195D-4E0B-B3E1-1629EB79BF5E}"/>
                      </a:ext>
                    </a:extLst>
                  </p:cNvPr>
                  <p:cNvSpPr/>
                  <p:nvPr/>
                </p:nvSpPr>
                <p:spPr>
                  <a:xfrm>
                    <a:off x="2339752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45" name="组合 144">
                  <a:extLst>
                    <a:ext uri="{FF2B5EF4-FFF2-40B4-BE49-F238E27FC236}">
                      <a16:creationId xmlns:a16="http://schemas.microsoft.com/office/drawing/2014/main" id="{BB67E80B-DBEC-42BC-B0E1-F10FCAEF6748}"/>
                    </a:ext>
                  </a:extLst>
                </p:cNvPr>
                <p:cNvGrpSpPr/>
                <p:nvPr/>
              </p:nvGrpSpPr>
              <p:grpSpPr>
                <a:xfrm>
                  <a:off x="755576" y="3573016"/>
                  <a:ext cx="2088232" cy="576064"/>
                  <a:chOff x="899592" y="1484784"/>
                  <a:chExt cx="2088232" cy="576064"/>
                </a:xfrm>
              </p:grpSpPr>
              <p:sp>
                <p:nvSpPr>
                  <p:cNvPr id="151" name="立方体 150">
                    <a:extLst>
                      <a:ext uri="{FF2B5EF4-FFF2-40B4-BE49-F238E27FC236}">
                        <a16:creationId xmlns:a16="http://schemas.microsoft.com/office/drawing/2014/main" id="{8CF49F97-F328-4415-981F-4A546E6A59FD}"/>
                      </a:ext>
                    </a:extLst>
                  </p:cNvPr>
                  <p:cNvSpPr/>
                  <p:nvPr/>
                </p:nvSpPr>
                <p:spPr>
                  <a:xfrm>
                    <a:off x="899592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52" name="立方体 151">
                    <a:extLst>
                      <a:ext uri="{FF2B5EF4-FFF2-40B4-BE49-F238E27FC236}">
                        <a16:creationId xmlns:a16="http://schemas.microsoft.com/office/drawing/2014/main" id="{BD9EAAFB-F5A1-407B-B5A7-91D5EE2BEA3C}"/>
                      </a:ext>
                    </a:extLst>
                  </p:cNvPr>
                  <p:cNvSpPr/>
                  <p:nvPr/>
                </p:nvSpPr>
                <p:spPr>
                  <a:xfrm>
                    <a:off x="1403648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53" name="立方体 152">
                    <a:extLst>
                      <a:ext uri="{FF2B5EF4-FFF2-40B4-BE49-F238E27FC236}">
                        <a16:creationId xmlns:a16="http://schemas.microsoft.com/office/drawing/2014/main" id="{86C5691C-D966-4A32-AC98-71D5CE5456FB}"/>
                      </a:ext>
                    </a:extLst>
                  </p:cNvPr>
                  <p:cNvSpPr/>
                  <p:nvPr/>
                </p:nvSpPr>
                <p:spPr>
                  <a:xfrm>
                    <a:off x="1907704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54" name="立方体 153">
                    <a:extLst>
                      <a:ext uri="{FF2B5EF4-FFF2-40B4-BE49-F238E27FC236}">
                        <a16:creationId xmlns:a16="http://schemas.microsoft.com/office/drawing/2014/main" id="{C37CDD90-267D-46C9-9A63-1DB3CB606FFF}"/>
                      </a:ext>
                    </a:extLst>
                  </p:cNvPr>
                  <p:cNvSpPr/>
                  <p:nvPr/>
                </p:nvSpPr>
                <p:spPr>
                  <a:xfrm>
                    <a:off x="2411760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46" name="组合 145">
                  <a:extLst>
                    <a:ext uri="{FF2B5EF4-FFF2-40B4-BE49-F238E27FC236}">
                      <a16:creationId xmlns:a16="http://schemas.microsoft.com/office/drawing/2014/main" id="{C301E776-CB0C-419E-924B-78ABBCB0B08D}"/>
                    </a:ext>
                  </a:extLst>
                </p:cNvPr>
                <p:cNvGrpSpPr/>
                <p:nvPr/>
              </p:nvGrpSpPr>
              <p:grpSpPr>
                <a:xfrm>
                  <a:off x="755576" y="3140968"/>
                  <a:ext cx="2088232" cy="576064"/>
                  <a:chOff x="971600" y="1124744"/>
                  <a:chExt cx="2088232" cy="576064"/>
                </a:xfrm>
              </p:grpSpPr>
              <p:sp>
                <p:nvSpPr>
                  <p:cNvPr id="147" name="立方体 146">
                    <a:extLst>
                      <a:ext uri="{FF2B5EF4-FFF2-40B4-BE49-F238E27FC236}">
                        <a16:creationId xmlns:a16="http://schemas.microsoft.com/office/drawing/2014/main" id="{CFD6A411-E46B-48DA-BE60-BDD05A8477B9}"/>
                      </a:ext>
                    </a:extLst>
                  </p:cNvPr>
                  <p:cNvSpPr/>
                  <p:nvPr/>
                </p:nvSpPr>
                <p:spPr>
                  <a:xfrm>
                    <a:off x="971600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48" name="立方体 147">
                    <a:extLst>
                      <a:ext uri="{FF2B5EF4-FFF2-40B4-BE49-F238E27FC236}">
                        <a16:creationId xmlns:a16="http://schemas.microsoft.com/office/drawing/2014/main" id="{48A21BFF-B5A5-4239-B35B-4A4B8A06EA35}"/>
                      </a:ext>
                    </a:extLst>
                  </p:cNvPr>
                  <p:cNvSpPr/>
                  <p:nvPr/>
                </p:nvSpPr>
                <p:spPr>
                  <a:xfrm>
                    <a:off x="1475656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49" name="立方体 148">
                    <a:extLst>
                      <a:ext uri="{FF2B5EF4-FFF2-40B4-BE49-F238E27FC236}">
                        <a16:creationId xmlns:a16="http://schemas.microsoft.com/office/drawing/2014/main" id="{C44B8BDF-5239-446E-B5EA-AA8B4CE939DE}"/>
                      </a:ext>
                    </a:extLst>
                  </p:cNvPr>
                  <p:cNvSpPr/>
                  <p:nvPr/>
                </p:nvSpPr>
                <p:spPr>
                  <a:xfrm>
                    <a:off x="1979712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50" name="立方体 149">
                    <a:extLst>
                      <a:ext uri="{FF2B5EF4-FFF2-40B4-BE49-F238E27FC236}">
                        <a16:creationId xmlns:a16="http://schemas.microsoft.com/office/drawing/2014/main" id="{51A12684-8AC0-4F70-B78D-EC7F0C82A5F7}"/>
                      </a:ext>
                    </a:extLst>
                  </p:cNvPr>
                  <p:cNvSpPr/>
                  <p:nvPr/>
                </p:nvSpPr>
                <p:spPr>
                  <a:xfrm>
                    <a:off x="2483768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</p:grpSp>
          <p:grpSp>
            <p:nvGrpSpPr>
              <p:cNvPr id="101" name="组合 100">
                <a:extLst>
                  <a:ext uri="{FF2B5EF4-FFF2-40B4-BE49-F238E27FC236}">
                    <a16:creationId xmlns:a16="http://schemas.microsoft.com/office/drawing/2014/main" id="{9A6E42E4-E098-40C8-9A57-E02C19F1DC4E}"/>
                  </a:ext>
                </a:extLst>
              </p:cNvPr>
              <p:cNvGrpSpPr/>
              <p:nvPr/>
            </p:nvGrpSpPr>
            <p:grpSpPr>
              <a:xfrm>
                <a:off x="3109509" y="3034332"/>
                <a:ext cx="2088232" cy="1872208"/>
                <a:chOff x="755576" y="3140968"/>
                <a:chExt cx="2088232" cy="1872208"/>
              </a:xfrm>
            </p:grpSpPr>
            <p:grpSp>
              <p:nvGrpSpPr>
                <p:cNvPr id="123" name="组合 122">
                  <a:extLst>
                    <a:ext uri="{FF2B5EF4-FFF2-40B4-BE49-F238E27FC236}">
                      <a16:creationId xmlns:a16="http://schemas.microsoft.com/office/drawing/2014/main" id="{8869C81C-DD33-4796-A118-0778840BBAAC}"/>
                    </a:ext>
                  </a:extLst>
                </p:cNvPr>
                <p:cNvGrpSpPr/>
                <p:nvPr/>
              </p:nvGrpSpPr>
              <p:grpSpPr>
                <a:xfrm>
                  <a:off x="755576" y="4437112"/>
                  <a:ext cx="2088232" cy="576064"/>
                  <a:chOff x="755576" y="2135317"/>
                  <a:chExt cx="2088232" cy="576064"/>
                </a:xfrm>
              </p:grpSpPr>
              <p:sp>
                <p:nvSpPr>
                  <p:cNvPr id="139" name="立方体 138">
                    <a:extLst>
                      <a:ext uri="{FF2B5EF4-FFF2-40B4-BE49-F238E27FC236}">
                        <a16:creationId xmlns:a16="http://schemas.microsoft.com/office/drawing/2014/main" id="{B9EF6CFA-7151-4A67-AE69-D1656048A44D}"/>
                      </a:ext>
                    </a:extLst>
                  </p:cNvPr>
                  <p:cNvSpPr/>
                  <p:nvPr/>
                </p:nvSpPr>
                <p:spPr>
                  <a:xfrm>
                    <a:off x="755576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40" name="立方体 139">
                    <a:extLst>
                      <a:ext uri="{FF2B5EF4-FFF2-40B4-BE49-F238E27FC236}">
                        <a16:creationId xmlns:a16="http://schemas.microsoft.com/office/drawing/2014/main" id="{BAA704FF-EEC2-4C93-A0CA-D6FFFD45D5C7}"/>
                      </a:ext>
                    </a:extLst>
                  </p:cNvPr>
                  <p:cNvSpPr/>
                  <p:nvPr/>
                </p:nvSpPr>
                <p:spPr>
                  <a:xfrm>
                    <a:off x="1259632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41" name="立方体 140">
                    <a:extLst>
                      <a:ext uri="{FF2B5EF4-FFF2-40B4-BE49-F238E27FC236}">
                        <a16:creationId xmlns:a16="http://schemas.microsoft.com/office/drawing/2014/main" id="{0AD2188B-AA03-4F46-A809-36F0C631AEE5}"/>
                      </a:ext>
                    </a:extLst>
                  </p:cNvPr>
                  <p:cNvSpPr/>
                  <p:nvPr/>
                </p:nvSpPr>
                <p:spPr>
                  <a:xfrm>
                    <a:off x="1763688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42" name="立方体 141">
                    <a:extLst>
                      <a:ext uri="{FF2B5EF4-FFF2-40B4-BE49-F238E27FC236}">
                        <a16:creationId xmlns:a16="http://schemas.microsoft.com/office/drawing/2014/main" id="{03080D59-70FE-4713-8A8E-7634876FAAC6}"/>
                      </a:ext>
                    </a:extLst>
                  </p:cNvPr>
                  <p:cNvSpPr/>
                  <p:nvPr/>
                </p:nvSpPr>
                <p:spPr>
                  <a:xfrm>
                    <a:off x="2267744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24" name="组合 123">
                  <a:extLst>
                    <a:ext uri="{FF2B5EF4-FFF2-40B4-BE49-F238E27FC236}">
                      <a16:creationId xmlns:a16="http://schemas.microsoft.com/office/drawing/2014/main" id="{6FB047AC-4498-458F-A38A-CDADD825DDA4}"/>
                    </a:ext>
                  </a:extLst>
                </p:cNvPr>
                <p:cNvGrpSpPr/>
                <p:nvPr/>
              </p:nvGrpSpPr>
              <p:grpSpPr>
                <a:xfrm>
                  <a:off x="755576" y="4005064"/>
                  <a:ext cx="2088232" cy="576064"/>
                  <a:chOff x="827584" y="1772816"/>
                  <a:chExt cx="2088232" cy="576064"/>
                </a:xfrm>
              </p:grpSpPr>
              <p:sp>
                <p:nvSpPr>
                  <p:cNvPr id="135" name="立方体 134">
                    <a:extLst>
                      <a:ext uri="{FF2B5EF4-FFF2-40B4-BE49-F238E27FC236}">
                        <a16:creationId xmlns:a16="http://schemas.microsoft.com/office/drawing/2014/main" id="{C25345EF-49DB-46B9-BABD-549072B3790B}"/>
                      </a:ext>
                    </a:extLst>
                  </p:cNvPr>
                  <p:cNvSpPr/>
                  <p:nvPr/>
                </p:nvSpPr>
                <p:spPr>
                  <a:xfrm>
                    <a:off x="827584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6" name="立方体 135">
                    <a:extLst>
                      <a:ext uri="{FF2B5EF4-FFF2-40B4-BE49-F238E27FC236}">
                        <a16:creationId xmlns:a16="http://schemas.microsoft.com/office/drawing/2014/main" id="{A469CD40-A1FD-4D84-BE75-63C679A52F05}"/>
                      </a:ext>
                    </a:extLst>
                  </p:cNvPr>
                  <p:cNvSpPr/>
                  <p:nvPr/>
                </p:nvSpPr>
                <p:spPr>
                  <a:xfrm>
                    <a:off x="1331640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7" name="立方体 136">
                    <a:extLst>
                      <a:ext uri="{FF2B5EF4-FFF2-40B4-BE49-F238E27FC236}">
                        <a16:creationId xmlns:a16="http://schemas.microsoft.com/office/drawing/2014/main" id="{F4ECFA38-368B-4441-8E66-7DA335947736}"/>
                      </a:ext>
                    </a:extLst>
                  </p:cNvPr>
                  <p:cNvSpPr/>
                  <p:nvPr/>
                </p:nvSpPr>
                <p:spPr>
                  <a:xfrm>
                    <a:off x="1835696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8" name="立方体 137">
                    <a:extLst>
                      <a:ext uri="{FF2B5EF4-FFF2-40B4-BE49-F238E27FC236}">
                        <a16:creationId xmlns:a16="http://schemas.microsoft.com/office/drawing/2014/main" id="{AE4F6927-1E09-4DB9-AD3B-C0C29FE813C2}"/>
                      </a:ext>
                    </a:extLst>
                  </p:cNvPr>
                  <p:cNvSpPr/>
                  <p:nvPr/>
                </p:nvSpPr>
                <p:spPr>
                  <a:xfrm>
                    <a:off x="2339752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25" name="组合 124">
                  <a:extLst>
                    <a:ext uri="{FF2B5EF4-FFF2-40B4-BE49-F238E27FC236}">
                      <a16:creationId xmlns:a16="http://schemas.microsoft.com/office/drawing/2014/main" id="{51261227-8CE7-44CF-9701-A7EA61F6CCB1}"/>
                    </a:ext>
                  </a:extLst>
                </p:cNvPr>
                <p:cNvGrpSpPr/>
                <p:nvPr/>
              </p:nvGrpSpPr>
              <p:grpSpPr>
                <a:xfrm>
                  <a:off x="755576" y="3573016"/>
                  <a:ext cx="2088232" cy="576064"/>
                  <a:chOff x="899592" y="1484784"/>
                  <a:chExt cx="2088232" cy="576064"/>
                </a:xfrm>
              </p:grpSpPr>
              <p:sp>
                <p:nvSpPr>
                  <p:cNvPr id="131" name="立方体 130">
                    <a:extLst>
                      <a:ext uri="{FF2B5EF4-FFF2-40B4-BE49-F238E27FC236}">
                        <a16:creationId xmlns:a16="http://schemas.microsoft.com/office/drawing/2014/main" id="{53067B95-156D-4391-836D-5C6A388A3C16}"/>
                      </a:ext>
                    </a:extLst>
                  </p:cNvPr>
                  <p:cNvSpPr/>
                  <p:nvPr/>
                </p:nvSpPr>
                <p:spPr>
                  <a:xfrm>
                    <a:off x="899592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2" name="立方体 131">
                    <a:extLst>
                      <a:ext uri="{FF2B5EF4-FFF2-40B4-BE49-F238E27FC236}">
                        <a16:creationId xmlns:a16="http://schemas.microsoft.com/office/drawing/2014/main" id="{F68875EA-3FF6-4C27-A146-7C8FA8A4E6BE}"/>
                      </a:ext>
                    </a:extLst>
                  </p:cNvPr>
                  <p:cNvSpPr/>
                  <p:nvPr/>
                </p:nvSpPr>
                <p:spPr>
                  <a:xfrm>
                    <a:off x="1403648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3" name="立方体 132">
                    <a:extLst>
                      <a:ext uri="{FF2B5EF4-FFF2-40B4-BE49-F238E27FC236}">
                        <a16:creationId xmlns:a16="http://schemas.microsoft.com/office/drawing/2014/main" id="{F2A29A46-9B68-47CA-A24C-735DD44FA843}"/>
                      </a:ext>
                    </a:extLst>
                  </p:cNvPr>
                  <p:cNvSpPr/>
                  <p:nvPr/>
                </p:nvSpPr>
                <p:spPr>
                  <a:xfrm>
                    <a:off x="1907704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4" name="立方体 133">
                    <a:extLst>
                      <a:ext uri="{FF2B5EF4-FFF2-40B4-BE49-F238E27FC236}">
                        <a16:creationId xmlns:a16="http://schemas.microsoft.com/office/drawing/2014/main" id="{C9E64FED-26BB-48E8-B01E-C8CAAF454063}"/>
                      </a:ext>
                    </a:extLst>
                  </p:cNvPr>
                  <p:cNvSpPr/>
                  <p:nvPr/>
                </p:nvSpPr>
                <p:spPr>
                  <a:xfrm>
                    <a:off x="2411760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26" name="组合 125">
                  <a:extLst>
                    <a:ext uri="{FF2B5EF4-FFF2-40B4-BE49-F238E27FC236}">
                      <a16:creationId xmlns:a16="http://schemas.microsoft.com/office/drawing/2014/main" id="{136AA77D-28DF-4AFD-AF0B-0462079A965F}"/>
                    </a:ext>
                  </a:extLst>
                </p:cNvPr>
                <p:cNvGrpSpPr/>
                <p:nvPr/>
              </p:nvGrpSpPr>
              <p:grpSpPr>
                <a:xfrm>
                  <a:off x="755576" y="3140968"/>
                  <a:ext cx="2088232" cy="576064"/>
                  <a:chOff x="971600" y="1124744"/>
                  <a:chExt cx="2088232" cy="576064"/>
                </a:xfrm>
              </p:grpSpPr>
              <p:sp>
                <p:nvSpPr>
                  <p:cNvPr id="127" name="立方体 126">
                    <a:extLst>
                      <a:ext uri="{FF2B5EF4-FFF2-40B4-BE49-F238E27FC236}">
                        <a16:creationId xmlns:a16="http://schemas.microsoft.com/office/drawing/2014/main" id="{71BC4071-BE8E-4302-BE46-A4E03C2BAB45}"/>
                      </a:ext>
                    </a:extLst>
                  </p:cNvPr>
                  <p:cNvSpPr/>
                  <p:nvPr/>
                </p:nvSpPr>
                <p:spPr>
                  <a:xfrm>
                    <a:off x="971600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8" name="立方体 127">
                    <a:extLst>
                      <a:ext uri="{FF2B5EF4-FFF2-40B4-BE49-F238E27FC236}">
                        <a16:creationId xmlns:a16="http://schemas.microsoft.com/office/drawing/2014/main" id="{85B2B395-F1EA-4E76-B513-DDEED921E63E}"/>
                      </a:ext>
                    </a:extLst>
                  </p:cNvPr>
                  <p:cNvSpPr/>
                  <p:nvPr/>
                </p:nvSpPr>
                <p:spPr>
                  <a:xfrm>
                    <a:off x="1475656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9" name="立方体 128">
                    <a:extLst>
                      <a:ext uri="{FF2B5EF4-FFF2-40B4-BE49-F238E27FC236}">
                        <a16:creationId xmlns:a16="http://schemas.microsoft.com/office/drawing/2014/main" id="{3208AED1-764C-4F99-A61A-14D370051E1D}"/>
                      </a:ext>
                    </a:extLst>
                  </p:cNvPr>
                  <p:cNvSpPr/>
                  <p:nvPr/>
                </p:nvSpPr>
                <p:spPr>
                  <a:xfrm>
                    <a:off x="1979712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0" name="立方体 129">
                    <a:extLst>
                      <a:ext uri="{FF2B5EF4-FFF2-40B4-BE49-F238E27FC236}">
                        <a16:creationId xmlns:a16="http://schemas.microsoft.com/office/drawing/2014/main" id="{30262B35-0B15-47D9-943F-64E146CED57B}"/>
                      </a:ext>
                    </a:extLst>
                  </p:cNvPr>
                  <p:cNvSpPr/>
                  <p:nvPr/>
                </p:nvSpPr>
                <p:spPr>
                  <a:xfrm>
                    <a:off x="2483768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</p:grpSp>
          <p:grpSp>
            <p:nvGrpSpPr>
              <p:cNvPr id="102" name="组合 101">
                <a:extLst>
                  <a:ext uri="{FF2B5EF4-FFF2-40B4-BE49-F238E27FC236}">
                    <a16:creationId xmlns:a16="http://schemas.microsoft.com/office/drawing/2014/main" id="{5C0AE634-AB9B-4CDD-A85B-16E37AEFBF86}"/>
                  </a:ext>
                </a:extLst>
              </p:cNvPr>
              <p:cNvGrpSpPr/>
              <p:nvPr/>
            </p:nvGrpSpPr>
            <p:grpSpPr>
              <a:xfrm>
                <a:off x="2965493" y="3178348"/>
                <a:ext cx="2088232" cy="1872208"/>
                <a:chOff x="755576" y="3140968"/>
                <a:chExt cx="2088232" cy="1872208"/>
              </a:xfrm>
            </p:grpSpPr>
            <p:grpSp>
              <p:nvGrpSpPr>
                <p:cNvPr id="103" name="组合 102">
                  <a:extLst>
                    <a:ext uri="{FF2B5EF4-FFF2-40B4-BE49-F238E27FC236}">
                      <a16:creationId xmlns:a16="http://schemas.microsoft.com/office/drawing/2014/main" id="{54BA4A5C-B76B-46E2-81E3-DC2FB967207E}"/>
                    </a:ext>
                  </a:extLst>
                </p:cNvPr>
                <p:cNvGrpSpPr/>
                <p:nvPr/>
              </p:nvGrpSpPr>
              <p:grpSpPr>
                <a:xfrm>
                  <a:off x="755576" y="4437112"/>
                  <a:ext cx="2088232" cy="576064"/>
                  <a:chOff x="755576" y="2135317"/>
                  <a:chExt cx="2088232" cy="576064"/>
                </a:xfrm>
              </p:grpSpPr>
              <p:sp>
                <p:nvSpPr>
                  <p:cNvPr id="119" name="立方体 118">
                    <a:extLst>
                      <a:ext uri="{FF2B5EF4-FFF2-40B4-BE49-F238E27FC236}">
                        <a16:creationId xmlns:a16="http://schemas.microsoft.com/office/drawing/2014/main" id="{524B45DA-6218-470D-9FA5-62F7BF0FBD8A}"/>
                      </a:ext>
                    </a:extLst>
                  </p:cNvPr>
                  <p:cNvSpPr/>
                  <p:nvPr/>
                </p:nvSpPr>
                <p:spPr>
                  <a:xfrm>
                    <a:off x="755576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0" name="立方体 119">
                    <a:extLst>
                      <a:ext uri="{FF2B5EF4-FFF2-40B4-BE49-F238E27FC236}">
                        <a16:creationId xmlns:a16="http://schemas.microsoft.com/office/drawing/2014/main" id="{0F7F8182-1B74-40B6-8F32-5B7860945A19}"/>
                      </a:ext>
                    </a:extLst>
                  </p:cNvPr>
                  <p:cNvSpPr/>
                  <p:nvPr/>
                </p:nvSpPr>
                <p:spPr>
                  <a:xfrm>
                    <a:off x="1259632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1" name="立方体 120">
                    <a:extLst>
                      <a:ext uri="{FF2B5EF4-FFF2-40B4-BE49-F238E27FC236}">
                        <a16:creationId xmlns:a16="http://schemas.microsoft.com/office/drawing/2014/main" id="{446BBB9F-4466-4702-B639-12136A471991}"/>
                      </a:ext>
                    </a:extLst>
                  </p:cNvPr>
                  <p:cNvSpPr/>
                  <p:nvPr/>
                </p:nvSpPr>
                <p:spPr>
                  <a:xfrm>
                    <a:off x="1763688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2" name="立方体 121">
                    <a:extLst>
                      <a:ext uri="{FF2B5EF4-FFF2-40B4-BE49-F238E27FC236}">
                        <a16:creationId xmlns:a16="http://schemas.microsoft.com/office/drawing/2014/main" id="{F3E7F964-CC46-4374-BE0B-34BCB150B1A6}"/>
                      </a:ext>
                    </a:extLst>
                  </p:cNvPr>
                  <p:cNvSpPr/>
                  <p:nvPr/>
                </p:nvSpPr>
                <p:spPr>
                  <a:xfrm>
                    <a:off x="2267744" y="2135317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04" name="组合 103">
                  <a:extLst>
                    <a:ext uri="{FF2B5EF4-FFF2-40B4-BE49-F238E27FC236}">
                      <a16:creationId xmlns:a16="http://schemas.microsoft.com/office/drawing/2014/main" id="{D88472D3-CA5B-42F1-834F-C9B457D6BDEC}"/>
                    </a:ext>
                  </a:extLst>
                </p:cNvPr>
                <p:cNvGrpSpPr/>
                <p:nvPr/>
              </p:nvGrpSpPr>
              <p:grpSpPr>
                <a:xfrm>
                  <a:off x="755576" y="4005064"/>
                  <a:ext cx="2088232" cy="576064"/>
                  <a:chOff x="827584" y="1772816"/>
                  <a:chExt cx="2088232" cy="576064"/>
                </a:xfrm>
              </p:grpSpPr>
              <p:sp>
                <p:nvSpPr>
                  <p:cNvPr id="115" name="立方体 114">
                    <a:extLst>
                      <a:ext uri="{FF2B5EF4-FFF2-40B4-BE49-F238E27FC236}">
                        <a16:creationId xmlns:a16="http://schemas.microsoft.com/office/drawing/2014/main" id="{E45DB99A-951F-4834-95FB-5572972C2FAE}"/>
                      </a:ext>
                    </a:extLst>
                  </p:cNvPr>
                  <p:cNvSpPr/>
                  <p:nvPr/>
                </p:nvSpPr>
                <p:spPr>
                  <a:xfrm>
                    <a:off x="827584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6" name="立方体 115">
                    <a:extLst>
                      <a:ext uri="{FF2B5EF4-FFF2-40B4-BE49-F238E27FC236}">
                        <a16:creationId xmlns:a16="http://schemas.microsoft.com/office/drawing/2014/main" id="{692EC7F0-95A3-48D3-8EA1-DAC1D185F21B}"/>
                      </a:ext>
                    </a:extLst>
                  </p:cNvPr>
                  <p:cNvSpPr/>
                  <p:nvPr/>
                </p:nvSpPr>
                <p:spPr>
                  <a:xfrm>
                    <a:off x="1331640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7" name="立方体 116">
                    <a:extLst>
                      <a:ext uri="{FF2B5EF4-FFF2-40B4-BE49-F238E27FC236}">
                        <a16:creationId xmlns:a16="http://schemas.microsoft.com/office/drawing/2014/main" id="{0FEE685A-F7ED-4ED5-9BF8-9BCE0B53E433}"/>
                      </a:ext>
                    </a:extLst>
                  </p:cNvPr>
                  <p:cNvSpPr/>
                  <p:nvPr/>
                </p:nvSpPr>
                <p:spPr>
                  <a:xfrm>
                    <a:off x="1835696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8" name="立方体 117">
                    <a:extLst>
                      <a:ext uri="{FF2B5EF4-FFF2-40B4-BE49-F238E27FC236}">
                        <a16:creationId xmlns:a16="http://schemas.microsoft.com/office/drawing/2014/main" id="{2CBD94FE-4B25-406F-86B8-8F49ED926885}"/>
                      </a:ext>
                    </a:extLst>
                  </p:cNvPr>
                  <p:cNvSpPr/>
                  <p:nvPr/>
                </p:nvSpPr>
                <p:spPr>
                  <a:xfrm>
                    <a:off x="2339752" y="1772816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05" name="组合 104">
                  <a:extLst>
                    <a:ext uri="{FF2B5EF4-FFF2-40B4-BE49-F238E27FC236}">
                      <a16:creationId xmlns:a16="http://schemas.microsoft.com/office/drawing/2014/main" id="{6B49EF72-51A3-4EBC-8679-93285E7A321D}"/>
                    </a:ext>
                  </a:extLst>
                </p:cNvPr>
                <p:cNvGrpSpPr/>
                <p:nvPr/>
              </p:nvGrpSpPr>
              <p:grpSpPr>
                <a:xfrm>
                  <a:off x="755576" y="3573016"/>
                  <a:ext cx="2088232" cy="576064"/>
                  <a:chOff x="899592" y="1484784"/>
                  <a:chExt cx="2088232" cy="576064"/>
                </a:xfrm>
              </p:grpSpPr>
              <p:sp>
                <p:nvSpPr>
                  <p:cNvPr id="111" name="立方体 110">
                    <a:extLst>
                      <a:ext uri="{FF2B5EF4-FFF2-40B4-BE49-F238E27FC236}">
                        <a16:creationId xmlns:a16="http://schemas.microsoft.com/office/drawing/2014/main" id="{BD7ABEBD-22D7-48ED-B559-DF12DE610C7A}"/>
                      </a:ext>
                    </a:extLst>
                  </p:cNvPr>
                  <p:cNvSpPr/>
                  <p:nvPr/>
                </p:nvSpPr>
                <p:spPr>
                  <a:xfrm>
                    <a:off x="899592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2" name="立方体 111">
                    <a:extLst>
                      <a:ext uri="{FF2B5EF4-FFF2-40B4-BE49-F238E27FC236}">
                        <a16:creationId xmlns:a16="http://schemas.microsoft.com/office/drawing/2014/main" id="{10A4430E-6CD4-450E-BAFB-167E82E2AFA2}"/>
                      </a:ext>
                    </a:extLst>
                  </p:cNvPr>
                  <p:cNvSpPr/>
                  <p:nvPr/>
                </p:nvSpPr>
                <p:spPr>
                  <a:xfrm>
                    <a:off x="1403648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3" name="立方体 112">
                    <a:extLst>
                      <a:ext uri="{FF2B5EF4-FFF2-40B4-BE49-F238E27FC236}">
                        <a16:creationId xmlns:a16="http://schemas.microsoft.com/office/drawing/2014/main" id="{A04F9364-12AA-4A27-A907-632590DC564A}"/>
                      </a:ext>
                    </a:extLst>
                  </p:cNvPr>
                  <p:cNvSpPr/>
                  <p:nvPr/>
                </p:nvSpPr>
                <p:spPr>
                  <a:xfrm>
                    <a:off x="1907704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4" name="立方体 113">
                    <a:extLst>
                      <a:ext uri="{FF2B5EF4-FFF2-40B4-BE49-F238E27FC236}">
                        <a16:creationId xmlns:a16="http://schemas.microsoft.com/office/drawing/2014/main" id="{7A797FE4-88EC-469B-B866-8F15A084045D}"/>
                      </a:ext>
                    </a:extLst>
                  </p:cNvPr>
                  <p:cNvSpPr/>
                  <p:nvPr/>
                </p:nvSpPr>
                <p:spPr>
                  <a:xfrm>
                    <a:off x="2411760" y="148478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  <p:grpSp>
              <p:nvGrpSpPr>
                <p:cNvPr id="106" name="组合 105">
                  <a:extLst>
                    <a:ext uri="{FF2B5EF4-FFF2-40B4-BE49-F238E27FC236}">
                      <a16:creationId xmlns:a16="http://schemas.microsoft.com/office/drawing/2014/main" id="{8052E5AD-E510-48F8-BAE6-04FBDBDF8081}"/>
                    </a:ext>
                  </a:extLst>
                </p:cNvPr>
                <p:cNvGrpSpPr/>
                <p:nvPr/>
              </p:nvGrpSpPr>
              <p:grpSpPr>
                <a:xfrm>
                  <a:off x="755576" y="3140968"/>
                  <a:ext cx="2088232" cy="576064"/>
                  <a:chOff x="971600" y="1124744"/>
                  <a:chExt cx="2088232" cy="576064"/>
                </a:xfrm>
              </p:grpSpPr>
              <p:sp>
                <p:nvSpPr>
                  <p:cNvPr id="107" name="立方体 106">
                    <a:extLst>
                      <a:ext uri="{FF2B5EF4-FFF2-40B4-BE49-F238E27FC236}">
                        <a16:creationId xmlns:a16="http://schemas.microsoft.com/office/drawing/2014/main" id="{BB755737-4679-4E9E-9173-463879475BE6}"/>
                      </a:ext>
                    </a:extLst>
                  </p:cNvPr>
                  <p:cNvSpPr/>
                  <p:nvPr/>
                </p:nvSpPr>
                <p:spPr>
                  <a:xfrm>
                    <a:off x="971600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08" name="立方体 107">
                    <a:extLst>
                      <a:ext uri="{FF2B5EF4-FFF2-40B4-BE49-F238E27FC236}">
                        <a16:creationId xmlns:a16="http://schemas.microsoft.com/office/drawing/2014/main" id="{66FB78A3-E5C1-4B9B-A034-62227E740E18}"/>
                      </a:ext>
                    </a:extLst>
                  </p:cNvPr>
                  <p:cNvSpPr/>
                  <p:nvPr/>
                </p:nvSpPr>
                <p:spPr>
                  <a:xfrm>
                    <a:off x="1475656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09" name="立方体 108">
                    <a:extLst>
                      <a:ext uri="{FF2B5EF4-FFF2-40B4-BE49-F238E27FC236}">
                        <a16:creationId xmlns:a16="http://schemas.microsoft.com/office/drawing/2014/main" id="{DFF71F9C-32D9-4780-947E-D18160A65A45}"/>
                      </a:ext>
                    </a:extLst>
                  </p:cNvPr>
                  <p:cNvSpPr/>
                  <p:nvPr/>
                </p:nvSpPr>
                <p:spPr>
                  <a:xfrm>
                    <a:off x="1979712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0" name="立方体 109">
                    <a:extLst>
                      <a:ext uri="{FF2B5EF4-FFF2-40B4-BE49-F238E27FC236}">
                        <a16:creationId xmlns:a16="http://schemas.microsoft.com/office/drawing/2014/main" id="{55D9F25F-12FB-4784-8062-27C8B295CFF3}"/>
                      </a:ext>
                    </a:extLst>
                  </p:cNvPr>
                  <p:cNvSpPr/>
                  <p:nvPr/>
                </p:nvSpPr>
                <p:spPr>
                  <a:xfrm>
                    <a:off x="2483768" y="1124744"/>
                    <a:ext cx="576064" cy="576064"/>
                  </a:xfrm>
                  <a:prstGeom prst="cube">
                    <a:avLst/>
                  </a:prstGeom>
                  <a:solidFill>
                    <a:srgbClr val="990000">
                      <a:lumMod val="20000"/>
                      <a:lumOff val="80000"/>
                    </a:srgbClr>
                  </a:solidFill>
                  <a:ln w="25400" cap="flat" cmpd="sng" algn="ctr">
                    <a:solidFill>
                      <a:srgbClr val="00B05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19307"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zh-CN" altLang="en-US" sz="800" kern="0">
                      <a:solidFill>
                        <a:srgbClr val="06174C"/>
                      </a:solidFill>
                      <a:cs typeface="+mn-ea"/>
                      <a:sym typeface="+mn-lt"/>
                    </a:endParaRPr>
                  </a:p>
                </p:txBody>
              </p:sp>
            </p:grpSp>
          </p:grpSp>
        </p:grpSp>
        <p:sp>
          <p:nvSpPr>
            <p:cNvPr id="95" name="右箭头 219">
              <a:extLst>
                <a:ext uri="{FF2B5EF4-FFF2-40B4-BE49-F238E27FC236}">
                  <a16:creationId xmlns:a16="http://schemas.microsoft.com/office/drawing/2014/main" id="{F44A4948-CBC2-4AD7-B135-1186E610488E}"/>
                </a:ext>
              </a:extLst>
            </p:cNvPr>
            <p:cNvSpPr/>
            <p:nvPr/>
          </p:nvSpPr>
          <p:spPr>
            <a:xfrm rot="12774042">
              <a:off x="6214077" y="1841751"/>
              <a:ext cx="117569" cy="63189"/>
            </a:xfrm>
            <a:prstGeom prst="rightArrow">
              <a:avLst/>
            </a:prstGeom>
            <a:solidFill>
              <a:srgbClr val="FFCC99"/>
            </a:solidFill>
            <a:ln w="25400" cap="flat" cmpd="sng" algn="ctr">
              <a:solidFill>
                <a:srgbClr val="FFCC9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8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96" name="右箭头 220">
              <a:extLst>
                <a:ext uri="{FF2B5EF4-FFF2-40B4-BE49-F238E27FC236}">
                  <a16:creationId xmlns:a16="http://schemas.microsoft.com/office/drawing/2014/main" id="{DD27B802-2429-4405-8CD1-1233B710F224}"/>
                </a:ext>
              </a:extLst>
            </p:cNvPr>
            <p:cNvSpPr/>
            <p:nvPr/>
          </p:nvSpPr>
          <p:spPr>
            <a:xfrm rot="19279442">
              <a:off x="5824361" y="1844020"/>
              <a:ext cx="106706" cy="59252"/>
            </a:xfrm>
            <a:prstGeom prst="rightArrow">
              <a:avLst/>
            </a:prstGeom>
            <a:solidFill>
              <a:srgbClr val="FFCC99"/>
            </a:solidFill>
            <a:ln w="25400" cap="flat" cmpd="sng" algn="ctr">
              <a:solidFill>
                <a:srgbClr val="FFCC9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8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97" name="右箭头 221">
              <a:extLst>
                <a:ext uri="{FF2B5EF4-FFF2-40B4-BE49-F238E27FC236}">
                  <a16:creationId xmlns:a16="http://schemas.microsoft.com/office/drawing/2014/main" id="{607453C2-5730-489C-9756-B6BB8013ABEA}"/>
                </a:ext>
              </a:extLst>
            </p:cNvPr>
            <p:cNvSpPr/>
            <p:nvPr/>
          </p:nvSpPr>
          <p:spPr>
            <a:xfrm rot="18986626">
              <a:off x="6113826" y="1511245"/>
              <a:ext cx="127376" cy="79712"/>
            </a:xfrm>
            <a:prstGeom prst="rightArrow">
              <a:avLst/>
            </a:prstGeom>
            <a:solidFill>
              <a:srgbClr val="FFCC99"/>
            </a:solidFill>
            <a:ln w="25400" cap="flat" cmpd="sng" algn="ctr">
              <a:solidFill>
                <a:srgbClr val="FFCC99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192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sz="800" kern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98" name="TextBox 7">
              <a:extLst>
                <a:ext uri="{FF2B5EF4-FFF2-40B4-BE49-F238E27FC236}">
                  <a16:creationId xmlns:a16="http://schemas.microsoft.com/office/drawing/2014/main" id="{6643642A-4A43-49B3-89F8-40BFFE802DA3}"/>
                </a:ext>
              </a:extLst>
            </p:cNvPr>
            <p:cNvSpPr txBox="1"/>
            <p:nvPr/>
          </p:nvSpPr>
          <p:spPr>
            <a:xfrm>
              <a:off x="5888723" y="1868818"/>
              <a:ext cx="446276" cy="161583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pPr defTabSz="61930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800" b="1" kern="0" dirty="0">
                  <a:solidFill>
                    <a:srgbClr val="06174C"/>
                  </a:solidFill>
                  <a:cs typeface="+mn-ea"/>
                  <a:sym typeface="+mn-lt"/>
                </a:rPr>
                <a:t>四级品类</a:t>
              </a:r>
            </a:p>
          </p:txBody>
        </p:sp>
      </p:grpSp>
      <p:grpSp>
        <p:nvGrpSpPr>
          <p:cNvPr id="189" name="组合 188">
            <a:extLst>
              <a:ext uri="{FF2B5EF4-FFF2-40B4-BE49-F238E27FC236}">
                <a16:creationId xmlns:a16="http://schemas.microsoft.com/office/drawing/2014/main" id="{B455C857-E1F0-413F-A374-14048C2AD00D}"/>
              </a:ext>
            </a:extLst>
          </p:cNvPr>
          <p:cNvGrpSpPr/>
          <p:nvPr/>
        </p:nvGrpSpPr>
        <p:grpSpPr>
          <a:xfrm>
            <a:off x="6973665" y="4345643"/>
            <a:ext cx="4860779" cy="2231664"/>
            <a:chOff x="395536" y="1749868"/>
            <a:chExt cx="5831080" cy="2766098"/>
          </a:xfrm>
        </p:grpSpPr>
        <p:pic>
          <p:nvPicPr>
            <p:cNvPr id="190" name="Picture 2" descr="c:\users\administrator\documents\jddongdong\jimenterprise\bjgpwangcheng\temp\jdonline20160615185551.png">
              <a:extLst>
                <a:ext uri="{FF2B5EF4-FFF2-40B4-BE49-F238E27FC236}">
                  <a16:creationId xmlns:a16="http://schemas.microsoft.com/office/drawing/2014/main" id="{08E3E259-E6EA-41C6-A6CB-F4DF2C75AC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932" y="2828594"/>
              <a:ext cx="864096" cy="52949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1" name="五边形 52">
              <a:extLst>
                <a:ext uri="{FF2B5EF4-FFF2-40B4-BE49-F238E27FC236}">
                  <a16:creationId xmlns:a16="http://schemas.microsoft.com/office/drawing/2014/main" id="{CEBEF19E-B8FE-49C7-804A-176CF4EBBD19}"/>
                </a:ext>
              </a:extLst>
            </p:cNvPr>
            <p:cNvSpPr/>
            <p:nvPr/>
          </p:nvSpPr>
          <p:spPr>
            <a:xfrm>
              <a:off x="395536" y="1771484"/>
              <a:ext cx="4978857" cy="2744482"/>
            </a:xfrm>
            <a:prstGeom prst="homePlate">
              <a:avLst>
                <a:gd name="adj" fmla="val 6354"/>
              </a:avLst>
            </a:prstGeom>
            <a:noFill/>
            <a:ln>
              <a:solidFill>
                <a:schemeClr val="bg1">
                  <a:lumMod val="50000"/>
                </a:schemeClr>
              </a:solidFill>
            </a:ln>
          </p:spPr>
          <p:txBody>
            <a:bodyPr vert="eaVert" wrap="square" lIns="48767" tIns="0" rIns="0" bIns="0" rtlCol="0" anchor="t">
              <a:noAutofit/>
            </a:bodyPr>
            <a:lstStyle/>
            <a:p>
              <a:pPr algn="ctr" defTabSz="619307">
                <a:buClr>
                  <a:srgbClr val="C81423"/>
                </a:buClr>
                <a:buSzPct val="75000"/>
              </a:pPr>
              <a:r>
                <a:rPr lang="zh-CN" altLang="en-US" sz="1100" b="1" dirty="0">
                  <a:solidFill>
                    <a:srgbClr val="06174C"/>
                  </a:solidFill>
                  <a:cs typeface="+mn-ea"/>
                  <a:sym typeface="+mn-lt"/>
                </a:rPr>
                <a:t>规则引擎</a:t>
              </a:r>
            </a:p>
          </p:txBody>
        </p:sp>
        <p:grpSp>
          <p:nvGrpSpPr>
            <p:cNvPr id="192" name="组合 191">
              <a:extLst>
                <a:ext uri="{FF2B5EF4-FFF2-40B4-BE49-F238E27FC236}">
                  <a16:creationId xmlns:a16="http://schemas.microsoft.com/office/drawing/2014/main" id="{A0A9800A-ECC0-42B2-AEEB-64E53ED0239E}"/>
                </a:ext>
              </a:extLst>
            </p:cNvPr>
            <p:cNvGrpSpPr/>
            <p:nvPr/>
          </p:nvGrpSpPr>
          <p:grpSpPr>
            <a:xfrm>
              <a:off x="575512" y="1850640"/>
              <a:ext cx="708936" cy="633776"/>
              <a:chOff x="498543" y="1845642"/>
              <a:chExt cx="708936" cy="633776"/>
            </a:xfrm>
          </p:grpSpPr>
          <p:pic>
            <p:nvPicPr>
              <p:cNvPr id="211" name="图片 210">
                <a:extLst>
                  <a:ext uri="{FF2B5EF4-FFF2-40B4-BE49-F238E27FC236}">
                    <a16:creationId xmlns:a16="http://schemas.microsoft.com/office/drawing/2014/main" id="{46D21AA1-A8E7-467D-BF2C-F8B0E4D746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8543" y="1845642"/>
                <a:ext cx="294060" cy="294060"/>
              </a:xfrm>
              <a:prstGeom prst="rect">
                <a:avLst/>
              </a:prstGeom>
            </p:spPr>
          </p:pic>
          <p:pic>
            <p:nvPicPr>
              <p:cNvPr id="212" name="图片 211">
                <a:extLst>
                  <a:ext uri="{FF2B5EF4-FFF2-40B4-BE49-F238E27FC236}">
                    <a16:creationId xmlns:a16="http://schemas.microsoft.com/office/drawing/2014/main" id="{07980334-A8E6-472E-A679-4938C2D3C3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8543" y="2185358"/>
                <a:ext cx="294060" cy="294060"/>
              </a:xfrm>
              <a:prstGeom prst="rect">
                <a:avLst/>
              </a:prstGeom>
            </p:spPr>
          </p:pic>
          <p:pic>
            <p:nvPicPr>
              <p:cNvPr id="213" name="图片 212">
                <a:extLst>
                  <a:ext uri="{FF2B5EF4-FFF2-40B4-BE49-F238E27FC236}">
                    <a16:creationId xmlns:a16="http://schemas.microsoft.com/office/drawing/2014/main" id="{C03E4A94-84BE-4842-A2B8-8F9D12DE73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3419" y="2015500"/>
                <a:ext cx="294060" cy="294060"/>
              </a:xfrm>
              <a:prstGeom prst="rect">
                <a:avLst/>
              </a:prstGeom>
            </p:spPr>
          </p:pic>
          <p:cxnSp>
            <p:nvCxnSpPr>
              <p:cNvPr id="214" name="肘形连接符 9">
                <a:extLst>
                  <a:ext uri="{FF2B5EF4-FFF2-40B4-BE49-F238E27FC236}">
                    <a16:creationId xmlns:a16="http://schemas.microsoft.com/office/drawing/2014/main" id="{A787BB6D-2111-4A13-91DC-B0306AA390F4}"/>
                  </a:ext>
                </a:extLst>
              </p:cNvPr>
              <p:cNvCxnSpPr>
                <a:stCxn id="211" idx="3"/>
                <a:endCxn id="213" idx="1"/>
              </p:cNvCxnSpPr>
              <p:nvPr/>
            </p:nvCxnSpPr>
            <p:spPr>
              <a:xfrm>
                <a:off x="792603" y="1992672"/>
                <a:ext cx="120816" cy="169858"/>
              </a:xfrm>
              <a:prstGeom prst="bentConnector3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肘形连接符 61">
                <a:extLst>
                  <a:ext uri="{FF2B5EF4-FFF2-40B4-BE49-F238E27FC236}">
                    <a16:creationId xmlns:a16="http://schemas.microsoft.com/office/drawing/2014/main" id="{089A80EF-E4EB-4137-AC4C-110FF66DD138}"/>
                  </a:ext>
                </a:extLst>
              </p:cNvPr>
              <p:cNvCxnSpPr>
                <a:stCxn id="212" idx="3"/>
                <a:endCxn id="213" idx="1"/>
              </p:cNvCxnSpPr>
              <p:nvPr/>
            </p:nvCxnSpPr>
            <p:spPr>
              <a:xfrm flipV="1">
                <a:off x="792603" y="2162530"/>
                <a:ext cx="120816" cy="169858"/>
              </a:xfrm>
              <a:prstGeom prst="bentConnector3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3" name="矩形 192">
              <a:extLst>
                <a:ext uri="{FF2B5EF4-FFF2-40B4-BE49-F238E27FC236}">
                  <a16:creationId xmlns:a16="http://schemas.microsoft.com/office/drawing/2014/main" id="{AD7169D9-0634-4EF6-971D-C5C5D1FB3B60}"/>
                </a:ext>
              </a:extLst>
            </p:cNvPr>
            <p:cNvSpPr/>
            <p:nvPr/>
          </p:nvSpPr>
          <p:spPr>
            <a:xfrm>
              <a:off x="1324135" y="1980498"/>
              <a:ext cx="1040211" cy="45177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 defTabSz="819221">
                <a:spcBef>
                  <a:spcPts val="407"/>
                </a:spcBef>
              </a:pPr>
              <a:r>
                <a:rPr lang="zh-CN" altLang="en-US" sz="1100" b="1" dirty="0">
                  <a:solidFill>
                    <a:srgbClr val="06174C"/>
                  </a:solidFill>
                  <a:cs typeface="+mn-ea"/>
                  <a:sym typeface="+mn-lt"/>
                </a:rPr>
                <a:t>规则建模</a:t>
              </a:r>
            </a:p>
          </p:txBody>
        </p:sp>
        <p:sp>
          <p:nvSpPr>
            <p:cNvPr id="194" name="矩形 193">
              <a:extLst>
                <a:ext uri="{FF2B5EF4-FFF2-40B4-BE49-F238E27FC236}">
                  <a16:creationId xmlns:a16="http://schemas.microsoft.com/office/drawing/2014/main" id="{4AEEC02C-6A61-4886-B7DC-FEDBA66FCA46}"/>
                </a:ext>
              </a:extLst>
            </p:cNvPr>
            <p:cNvSpPr/>
            <p:nvPr/>
          </p:nvSpPr>
          <p:spPr>
            <a:xfrm>
              <a:off x="1324135" y="2956695"/>
              <a:ext cx="1040211" cy="45177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 defTabSz="819221">
                <a:spcBef>
                  <a:spcPts val="407"/>
                </a:spcBef>
              </a:pPr>
              <a:r>
                <a:rPr lang="zh-CN" altLang="en-US" sz="1100" b="1" dirty="0">
                  <a:solidFill>
                    <a:srgbClr val="06174C"/>
                  </a:solidFill>
                  <a:cs typeface="+mn-ea"/>
                  <a:sym typeface="+mn-lt"/>
                </a:rPr>
                <a:t>模拟仿真</a:t>
              </a:r>
            </a:p>
          </p:txBody>
        </p:sp>
        <p:sp>
          <p:nvSpPr>
            <p:cNvPr id="195" name="矩形 194">
              <a:extLst>
                <a:ext uri="{FF2B5EF4-FFF2-40B4-BE49-F238E27FC236}">
                  <a16:creationId xmlns:a16="http://schemas.microsoft.com/office/drawing/2014/main" id="{A7AF2C03-DFBB-4DAE-ADC3-EB4E598ACD93}"/>
                </a:ext>
              </a:extLst>
            </p:cNvPr>
            <p:cNvSpPr/>
            <p:nvPr/>
          </p:nvSpPr>
          <p:spPr>
            <a:xfrm>
              <a:off x="1324135" y="3932891"/>
              <a:ext cx="1040211" cy="451774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 defTabSz="819221">
                <a:spcBef>
                  <a:spcPts val="407"/>
                </a:spcBef>
              </a:pPr>
              <a:r>
                <a:rPr lang="zh-CN" altLang="en-US" sz="1100" b="1" dirty="0">
                  <a:solidFill>
                    <a:srgbClr val="06174C"/>
                  </a:solidFill>
                  <a:cs typeface="+mn-ea"/>
                  <a:sym typeface="+mn-lt"/>
                </a:rPr>
                <a:t>机器学习</a:t>
              </a:r>
            </a:p>
          </p:txBody>
        </p:sp>
        <p:sp>
          <p:nvSpPr>
            <p:cNvPr id="196" name="椭圆 195">
              <a:extLst>
                <a:ext uri="{FF2B5EF4-FFF2-40B4-BE49-F238E27FC236}">
                  <a16:creationId xmlns:a16="http://schemas.microsoft.com/office/drawing/2014/main" id="{AA40FCA3-92D4-4AF2-9619-5FBCD8BAF48D}"/>
                </a:ext>
              </a:extLst>
            </p:cNvPr>
            <p:cNvSpPr/>
            <p:nvPr/>
          </p:nvSpPr>
          <p:spPr>
            <a:xfrm>
              <a:off x="5434528" y="1749868"/>
              <a:ext cx="792088" cy="792088"/>
            </a:xfrm>
            <a:prstGeom prst="ellipse">
              <a:avLst/>
            </a:prstGeom>
            <a:solidFill>
              <a:schemeClr val="bg1">
                <a:alpha val="52000"/>
              </a:schemeClr>
            </a:solidFill>
            <a:ln>
              <a:noFill/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619307">
                <a:buClr>
                  <a:srgbClr val="C81423"/>
                </a:buClr>
                <a:buSzPct val="75000"/>
              </a:pPr>
              <a:r>
                <a:rPr lang="zh-CN" altLang="en-US" sz="1100" b="1" dirty="0">
                  <a:solidFill>
                    <a:srgbClr val="06174C"/>
                  </a:solidFill>
                  <a:cs typeface="+mn-ea"/>
                  <a:sym typeface="+mn-lt"/>
                </a:rPr>
                <a:t>流程可</a:t>
              </a:r>
              <a:endParaRPr lang="en-US" altLang="zh-CN" sz="1100" b="1" dirty="0">
                <a:solidFill>
                  <a:srgbClr val="06174C"/>
                </a:solidFill>
                <a:cs typeface="+mn-ea"/>
                <a:sym typeface="+mn-lt"/>
              </a:endParaRPr>
            </a:p>
            <a:p>
              <a:pPr algn="ctr" defTabSz="619307">
                <a:buClr>
                  <a:srgbClr val="C81423"/>
                </a:buClr>
                <a:buSzPct val="75000"/>
              </a:pPr>
              <a:r>
                <a:rPr lang="zh-CN" altLang="en-US" sz="1100" b="1" dirty="0">
                  <a:solidFill>
                    <a:srgbClr val="06174C"/>
                  </a:solidFill>
                  <a:cs typeface="+mn-ea"/>
                  <a:sym typeface="+mn-lt"/>
                </a:rPr>
                <a:t>配置</a:t>
              </a:r>
            </a:p>
          </p:txBody>
        </p:sp>
        <p:sp>
          <p:nvSpPr>
            <p:cNvPr id="197" name="椭圆 196">
              <a:extLst>
                <a:ext uri="{FF2B5EF4-FFF2-40B4-BE49-F238E27FC236}">
                  <a16:creationId xmlns:a16="http://schemas.microsoft.com/office/drawing/2014/main" id="{1C36D04A-FBA8-4A6E-8A9A-D4B5393A22AD}"/>
                </a:ext>
              </a:extLst>
            </p:cNvPr>
            <p:cNvSpPr/>
            <p:nvPr/>
          </p:nvSpPr>
          <p:spPr>
            <a:xfrm>
              <a:off x="5434528" y="2726066"/>
              <a:ext cx="792088" cy="792088"/>
            </a:xfrm>
            <a:prstGeom prst="ellipse">
              <a:avLst/>
            </a:prstGeom>
            <a:solidFill>
              <a:schemeClr val="bg1">
                <a:alpha val="52000"/>
              </a:schemeClr>
            </a:solidFill>
            <a:ln>
              <a:noFill/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619307">
                <a:buClr>
                  <a:srgbClr val="C81423"/>
                </a:buClr>
                <a:buSzPct val="75000"/>
              </a:pPr>
              <a:r>
                <a:rPr lang="zh-CN" altLang="en-US" sz="1100" b="1" dirty="0">
                  <a:solidFill>
                    <a:srgbClr val="06174C"/>
                  </a:solidFill>
                  <a:cs typeface="+mn-ea"/>
                  <a:sym typeface="+mn-lt"/>
                </a:rPr>
                <a:t>自学习</a:t>
              </a:r>
              <a:endParaRPr lang="en-US" altLang="zh-CN" sz="1100" b="1" dirty="0">
                <a:solidFill>
                  <a:srgbClr val="06174C"/>
                </a:solidFill>
                <a:cs typeface="+mn-ea"/>
                <a:sym typeface="+mn-lt"/>
              </a:endParaRPr>
            </a:p>
            <a:p>
              <a:pPr algn="ctr" defTabSz="619307">
                <a:buClr>
                  <a:srgbClr val="C81423"/>
                </a:buClr>
                <a:buSzPct val="75000"/>
              </a:pPr>
              <a:r>
                <a:rPr lang="zh-CN" altLang="en-US" sz="1100" b="1" dirty="0">
                  <a:solidFill>
                    <a:srgbClr val="06174C"/>
                  </a:solidFill>
                  <a:cs typeface="+mn-ea"/>
                  <a:sym typeface="+mn-lt"/>
                </a:rPr>
                <a:t>自适应</a:t>
              </a:r>
            </a:p>
          </p:txBody>
        </p:sp>
        <p:sp>
          <p:nvSpPr>
            <p:cNvPr id="198" name="椭圆 197">
              <a:extLst>
                <a:ext uri="{FF2B5EF4-FFF2-40B4-BE49-F238E27FC236}">
                  <a16:creationId xmlns:a16="http://schemas.microsoft.com/office/drawing/2014/main" id="{2515AC49-81F5-4681-BB7F-1D99D793A978}"/>
                </a:ext>
              </a:extLst>
            </p:cNvPr>
            <p:cNvSpPr/>
            <p:nvPr/>
          </p:nvSpPr>
          <p:spPr>
            <a:xfrm>
              <a:off x="5434528" y="3702262"/>
              <a:ext cx="792088" cy="792088"/>
            </a:xfrm>
            <a:prstGeom prst="ellipse">
              <a:avLst/>
            </a:prstGeom>
            <a:solidFill>
              <a:schemeClr val="bg1">
                <a:alpha val="52000"/>
              </a:schemeClr>
            </a:solidFill>
            <a:ln>
              <a:noFill/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defTabSz="619307">
                <a:buClr>
                  <a:srgbClr val="C81423"/>
                </a:buClr>
                <a:buSzPct val="75000"/>
              </a:pPr>
              <a:r>
                <a:rPr lang="zh-CN" altLang="en-US" sz="1100" b="1" dirty="0">
                  <a:solidFill>
                    <a:srgbClr val="06174C"/>
                  </a:solidFill>
                  <a:cs typeface="+mn-ea"/>
                  <a:sym typeface="+mn-lt"/>
                </a:rPr>
                <a:t>自决策</a:t>
              </a:r>
            </a:p>
          </p:txBody>
        </p:sp>
        <p:sp>
          <p:nvSpPr>
            <p:cNvPr id="199" name="矩形 198">
              <a:extLst>
                <a:ext uri="{FF2B5EF4-FFF2-40B4-BE49-F238E27FC236}">
                  <a16:creationId xmlns:a16="http://schemas.microsoft.com/office/drawing/2014/main" id="{E426A282-57FC-4BF9-A983-404F9066DE4D}"/>
                </a:ext>
              </a:extLst>
            </p:cNvPr>
            <p:cNvSpPr/>
            <p:nvPr/>
          </p:nvSpPr>
          <p:spPr>
            <a:xfrm>
              <a:off x="2455417" y="1819275"/>
              <a:ext cx="2600230" cy="2657475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vert="horz" wrap="square" lIns="48767" tIns="0" rIns="0" bIns="0" rtlCol="0" anchor="ctr">
              <a:noAutofit/>
            </a:bodyPr>
            <a:lstStyle/>
            <a:p>
              <a:pPr algn="ctr" defTabSz="619307">
                <a:buClr>
                  <a:srgbClr val="C81423"/>
                </a:buClr>
                <a:buSzPct val="75000"/>
              </a:pPr>
              <a:endParaRPr lang="zh-CN" altLang="en-US" sz="700" b="1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200" name="文本框 199">
              <a:extLst>
                <a:ext uri="{FF2B5EF4-FFF2-40B4-BE49-F238E27FC236}">
                  <a16:creationId xmlns:a16="http://schemas.microsoft.com/office/drawing/2014/main" id="{66EBD727-4D52-4477-86E3-9D904E78E19E}"/>
                </a:ext>
              </a:extLst>
            </p:cNvPr>
            <p:cNvSpPr txBox="1"/>
            <p:nvPr/>
          </p:nvSpPr>
          <p:spPr>
            <a:xfrm>
              <a:off x="2553103" y="1843528"/>
              <a:ext cx="1154354" cy="648000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lIns="24383" rIns="24383" rtlCol="0" anchor="ctr">
              <a:noAutofit/>
            </a:bodyPr>
            <a:lstStyle/>
            <a:p>
              <a:pPr algn="ctr" defTabSz="819221">
                <a:spcBef>
                  <a:spcPts val="407"/>
                </a:spcBef>
              </a:pPr>
              <a:r>
                <a:rPr lang="zh-CN" altLang="en-US" sz="700" b="1" dirty="0">
                  <a:solidFill>
                    <a:schemeClr val="bg1"/>
                  </a:solidFill>
                  <a:cs typeface="+mn-ea"/>
                  <a:sym typeface="+mn-lt"/>
                </a:rPr>
                <a:t>定制化时效</a:t>
              </a:r>
              <a:endParaRPr lang="en-US" altLang="zh-CN" sz="700" b="1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 defTabSz="819221">
                <a:spcBef>
                  <a:spcPts val="407"/>
                </a:spcBef>
              </a:pP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正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/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逆向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品类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用户画像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…</a:t>
              </a:r>
            </a:p>
          </p:txBody>
        </p:sp>
        <p:sp>
          <p:nvSpPr>
            <p:cNvPr id="201" name="文本框 200">
              <a:extLst>
                <a:ext uri="{FF2B5EF4-FFF2-40B4-BE49-F238E27FC236}">
                  <a16:creationId xmlns:a16="http://schemas.microsoft.com/office/drawing/2014/main" id="{A533B8E2-FD21-44D9-B278-27B45FE4DCDF}"/>
                </a:ext>
              </a:extLst>
            </p:cNvPr>
            <p:cNvSpPr txBox="1"/>
            <p:nvPr/>
          </p:nvSpPr>
          <p:spPr>
            <a:xfrm>
              <a:off x="3810220" y="1858496"/>
              <a:ext cx="1154354" cy="648000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lIns="24383" rIns="24383" rtlCol="0" anchor="ctr">
              <a:noAutofit/>
            </a:bodyPr>
            <a:lstStyle/>
            <a:p>
              <a:pPr algn="ctr" defTabSz="819221">
                <a:spcBef>
                  <a:spcPts val="407"/>
                </a:spcBef>
              </a:pPr>
              <a:r>
                <a:rPr lang="zh-CN" altLang="en-US" sz="700" b="1" dirty="0">
                  <a:solidFill>
                    <a:schemeClr val="bg1"/>
                  </a:solidFill>
                  <a:cs typeface="+mn-ea"/>
                  <a:sym typeface="+mn-lt"/>
                </a:rPr>
                <a:t>差异化运费</a:t>
              </a:r>
              <a:endParaRPr lang="en-US" altLang="zh-CN" sz="700" b="1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 defTabSz="819221">
                <a:spcBef>
                  <a:spcPts val="407"/>
                </a:spcBef>
              </a:pP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京准达运费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续重运费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…</a:t>
              </a:r>
            </a:p>
          </p:txBody>
        </p:sp>
        <p:sp>
          <p:nvSpPr>
            <p:cNvPr id="202" name="文本框 201">
              <a:extLst>
                <a:ext uri="{FF2B5EF4-FFF2-40B4-BE49-F238E27FC236}">
                  <a16:creationId xmlns:a16="http://schemas.microsoft.com/office/drawing/2014/main" id="{DFAF635D-1101-4A76-8CCF-45F0F94FAC03}"/>
                </a:ext>
              </a:extLst>
            </p:cNvPr>
            <p:cNvSpPr txBox="1"/>
            <p:nvPr/>
          </p:nvSpPr>
          <p:spPr>
            <a:xfrm>
              <a:off x="2553103" y="2755985"/>
              <a:ext cx="1154354" cy="648000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lIns="24383" rIns="24383" rtlCol="0" anchor="ctr">
              <a:noAutofit/>
            </a:bodyPr>
            <a:lstStyle/>
            <a:p>
              <a:pPr algn="ctr" defTabSz="819221">
                <a:spcBef>
                  <a:spcPts val="407"/>
                </a:spcBef>
              </a:pPr>
              <a:r>
                <a:rPr lang="zh-CN" altLang="en-US" sz="700" b="1" dirty="0">
                  <a:solidFill>
                    <a:schemeClr val="bg1"/>
                  </a:solidFill>
                  <a:cs typeface="+mn-ea"/>
                  <a:sym typeface="+mn-lt"/>
                </a:rPr>
                <a:t>订单拆分</a:t>
              </a:r>
              <a:r>
                <a:rPr lang="en-US" altLang="zh-CN" sz="700" b="1" dirty="0">
                  <a:solidFill>
                    <a:schemeClr val="bg1"/>
                  </a:solidFill>
                  <a:cs typeface="+mn-ea"/>
                  <a:sym typeface="+mn-lt"/>
                </a:rPr>
                <a:t>/</a:t>
              </a:r>
              <a:r>
                <a:rPr lang="zh-CN" altLang="en-US" sz="700" b="1" dirty="0">
                  <a:solidFill>
                    <a:schemeClr val="bg1"/>
                  </a:solidFill>
                  <a:cs typeface="+mn-ea"/>
                  <a:sym typeface="+mn-lt"/>
                </a:rPr>
                <a:t>定位</a:t>
              </a:r>
            </a:p>
            <a:p>
              <a:pPr algn="ctr" defTabSz="819221">
                <a:spcBef>
                  <a:spcPts val="407"/>
                </a:spcBef>
              </a:pP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预约订单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先款订单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大宗订单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大促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/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常态切换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…</a:t>
              </a:r>
            </a:p>
          </p:txBody>
        </p:sp>
        <p:sp>
          <p:nvSpPr>
            <p:cNvPr id="203" name="文本框 202">
              <a:extLst>
                <a:ext uri="{FF2B5EF4-FFF2-40B4-BE49-F238E27FC236}">
                  <a16:creationId xmlns:a16="http://schemas.microsoft.com/office/drawing/2014/main" id="{B6CF005B-47A7-49C7-94EB-E5E6F685C500}"/>
                </a:ext>
              </a:extLst>
            </p:cNvPr>
            <p:cNvSpPr txBox="1"/>
            <p:nvPr/>
          </p:nvSpPr>
          <p:spPr>
            <a:xfrm>
              <a:off x="3810220" y="2770953"/>
              <a:ext cx="1154354" cy="648000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lIns="24383" rIns="24383" rtlCol="0" anchor="ctr">
              <a:noAutofit/>
            </a:bodyPr>
            <a:lstStyle/>
            <a:p>
              <a:pPr algn="ctr" defTabSz="819221">
                <a:spcBef>
                  <a:spcPts val="407"/>
                </a:spcBef>
              </a:pPr>
              <a:r>
                <a:rPr lang="zh-CN" altLang="en-US" sz="700" b="1" dirty="0">
                  <a:solidFill>
                    <a:schemeClr val="bg1"/>
                  </a:solidFill>
                  <a:cs typeface="+mn-ea"/>
                  <a:sym typeface="+mn-lt"/>
                </a:rPr>
                <a:t>异常订单处理</a:t>
              </a:r>
              <a:endParaRPr lang="en-US" altLang="zh-CN" sz="700" b="1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 defTabSz="819221">
                <a:spcBef>
                  <a:spcPts val="407"/>
                </a:spcBef>
              </a:pP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QR|FXM|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锁定订单清理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…</a:t>
              </a:r>
            </a:p>
          </p:txBody>
        </p:sp>
        <p:sp>
          <p:nvSpPr>
            <p:cNvPr id="204" name="文本框 203">
              <a:extLst>
                <a:ext uri="{FF2B5EF4-FFF2-40B4-BE49-F238E27FC236}">
                  <a16:creationId xmlns:a16="http://schemas.microsoft.com/office/drawing/2014/main" id="{96E37CB6-1E83-4C38-B7F6-425C44BC69CF}"/>
                </a:ext>
              </a:extLst>
            </p:cNvPr>
            <p:cNvSpPr txBox="1"/>
            <p:nvPr/>
          </p:nvSpPr>
          <p:spPr>
            <a:xfrm>
              <a:off x="2553103" y="3795922"/>
              <a:ext cx="1154354" cy="648000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lIns="24383" rIns="24383" rtlCol="0" anchor="ctr">
              <a:noAutofit/>
            </a:bodyPr>
            <a:lstStyle/>
            <a:p>
              <a:pPr algn="ctr" defTabSz="819221">
                <a:spcBef>
                  <a:spcPts val="407"/>
                </a:spcBef>
              </a:pPr>
              <a:r>
                <a:rPr lang="zh-CN" altLang="en-US" sz="700" b="1" dirty="0">
                  <a:solidFill>
                    <a:schemeClr val="bg1"/>
                  </a:solidFill>
                  <a:cs typeface="+mn-ea"/>
                  <a:sym typeface="+mn-lt"/>
                </a:rPr>
                <a:t>派送</a:t>
              </a:r>
            </a:p>
            <a:p>
              <a:pPr algn="ctr" defTabSz="819221">
                <a:spcBef>
                  <a:spcPts val="407"/>
                </a:spcBef>
              </a:pP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先到先投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周末再投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一单多址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京配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/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三方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/</a:t>
              </a:r>
              <a:r>
                <a:rPr lang="zh-CN" altLang="en-US" sz="700" dirty="0">
                  <a:solidFill>
                    <a:schemeClr val="bg1"/>
                  </a:solidFill>
                  <a:cs typeface="+mn-ea"/>
                  <a:sym typeface="+mn-lt"/>
                </a:rPr>
                <a:t>自提</a:t>
              </a:r>
              <a:r>
                <a:rPr lang="en-US" altLang="zh-CN" sz="700" dirty="0">
                  <a:solidFill>
                    <a:schemeClr val="bg1"/>
                  </a:solidFill>
                  <a:cs typeface="+mn-ea"/>
                  <a:sym typeface="+mn-lt"/>
                </a:rPr>
                <a:t>|…</a:t>
              </a:r>
            </a:p>
          </p:txBody>
        </p:sp>
        <p:sp>
          <p:nvSpPr>
            <p:cNvPr id="205" name="文本框 204">
              <a:extLst>
                <a:ext uri="{FF2B5EF4-FFF2-40B4-BE49-F238E27FC236}">
                  <a16:creationId xmlns:a16="http://schemas.microsoft.com/office/drawing/2014/main" id="{F11D7FCF-E6FB-465F-AE6D-80902DB2FD6C}"/>
                </a:ext>
              </a:extLst>
            </p:cNvPr>
            <p:cNvSpPr txBox="1"/>
            <p:nvPr/>
          </p:nvSpPr>
          <p:spPr>
            <a:xfrm>
              <a:off x="3810220" y="3810890"/>
              <a:ext cx="1154354" cy="648000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lIns="24383" rIns="24383" rtlCol="0" anchor="ctr">
              <a:noAutofit/>
            </a:bodyPr>
            <a:lstStyle/>
            <a:p>
              <a:pPr algn="ctr" defTabSz="819221">
                <a:spcBef>
                  <a:spcPts val="407"/>
                </a:spcBef>
              </a:pPr>
              <a:r>
                <a:rPr lang="en-US" altLang="zh-CN" sz="700" b="1" dirty="0">
                  <a:solidFill>
                    <a:schemeClr val="bg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06" name="下箭头 14">
              <a:extLst>
                <a:ext uri="{FF2B5EF4-FFF2-40B4-BE49-F238E27FC236}">
                  <a16:creationId xmlns:a16="http://schemas.microsoft.com/office/drawing/2014/main" id="{CA555010-DD45-4AF1-AAC5-484502497581}"/>
                </a:ext>
              </a:extLst>
            </p:cNvPr>
            <p:cNvSpPr/>
            <p:nvPr/>
          </p:nvSpPr>
          <p:spPr>
            <a:xfrm>
              <a:off x="5740816" y="2565158"/>
              <a:ext cx="179512" cy="137706"/>
            </a:xfrm>
            <a:prstGeom prst="downArrow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48767" tIns="0" rIns="0" bIns="0" rtlCol="0" anchor="ctr">
              <a:noAutofit/>
            </a:bodyPr>
            <a:lstStyle/>
            <a:p>
              <a:pPr algn="ctr" defTabSz="619307">
                <a:buClr>
                  <a:srgbClr val="C81423"/>
                </a:buClr>
                <a:buSzPct val="75000"/>
              </a:pPr>
              <a:endParaRPr lang="zh-CN" altLang="en-US" sz="700" b="1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sp>
          <p:nvSpPr>
            <p:cNvPr id="207" name="下箭头 82">
              <a:extLst>
                <a:ext uri="{FF2B5EF4-FFF2-40B4-BE49-F238E27FC236}">
                  <a16:creationId xmlns:a16="http://schemas.microsoft.com/office/drawing/2014/main" id="{6CB8C039-80AA-4078-9269-CF903FC6ADAA}"/>
                </a:ext>
              </a:extLst>
            </p:cNvPr>
            <p:cNvSpPr/>
            <p:nvPr/>
          </p:nvSpPr>
          <p:spPr>
            <a:xfrm>
              <a:off x="5740816" y="3541356"/>
              <a:ext cx="179512" cy="137706"/>
            </a:xfrm>
            <a:prstGeom prst="downArrow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vert="horz" wrap="square" lIns="48767" tIns="0" rIns="0" bIns="0" rtlCol="0" anchor="ctr">
              <a:noAutofit/>
            </a:bodyPr>
            <a:lstStyle/>
            <a:p>
              <a:pPr algn="ctr" defTabSz="619307">
                <a:buClr>
                  <a:srgbClr val="C81423"/>
                </a:buClr>
                <a:buSzPct val="75000"/>
              </a:pPr>
              <a:endParaRPr lang="zh-CN" altLang="en-US" sz="700" b="1" dirty="0">
                <a:solidFill>
                  <a:srgbClr val="06174C"/>
                </a:solidFill>
                <a:cs typeface="+mn-ea"/>
                <a:sym typeface="+mn-lt"/>
              </a:endParaRPr>
            </a:p>
          </p:txBody>
        </p:sp>
        <p:pic>
          <p:nvPicPr>
            <p:cNvPr id="208" name="图片 207">
              <a:extLst>
                <a:ext uri="{FF2B5EF4-FFF2-40B4-BE49-F238E27FC236}">
                  <a16:creationId xmlns:a16="http://schemas.microsoft.com/office/drawing/2014/main" id="{0E0F9B92-A2A8-4CA9-95BA-1996D70DAB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497932" y="3702262"/>
              <a:ext cx="903555" cy="682405"/>
            </a:xfrm>
            <a:prstGeom prst="rect">
              <a:avLst/>
            </a:prstGeom>
          </p:spPr>
        </p:pic>
        <p:cxnSp>
          <p:nvCxnSpPr>
            <p:cNvPr id="209" name="直接箭头连接符 208">
              <a:extLst>
                <a:ext uri="{FF2B5EF4-FFF2-40B4-BE49-F238E27FC236}">
                  <a16:creationId xmlns:a16="http://schemas.microsoft.com/office/drawing/2014/main" id="{20F7DFDF-B7A8-42EA-8089-D279947BB08D}"/>
                </a:ext>
              </a:extLst>
            </p:cNvPr>
            <p:cNvCxnSpPr>
              <a:cxnSpLocks/>
              <a:stCxn id="193" idx="2"/>
              <a:endCxn id="194" idx="0"/>
            </p:cNvCxnSpPr>
            <p:nvPr/>
          </p:nvCxnSpPr>
          <p:spPr>
            <a:xfrm>
              <a:off x="1844240" y="2432272"/>
              <a:ext cx="0" cy="524423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直接箭头连接符 209">
              <a:extLst>
                <a:ext uri="{FF2B5EF4-FFF2-40B4-BE49-F238E27FC236}">
                  <a16:creationId xmlns:a16="http://schemas.microsoft.com/office/drawing/2014/main" id="{7FC55AFB-430A-4E95-8722-8D1370427FD4}"/>
                </a:ext>
              </a:extLst>
            </p:cNvPr>
            <p:cNvCxnSpPr>
              <a:cxnSpLocks/>
              <a:stCxn id="194" idx="2"/>
              <a:endCxn id="195" idx="0"/>
            </p:cNvCxnSpPr>
            <p:nvPr/>
          </p:nvCxnSpPr>
          <p:spPr>
            <a:xfrm>
              <a:off x="1844240" y="3408470"/>
              <a:ext cx="0" cy="524421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6" name="文本框 215">
            <a:extLst>
              <a:ext uri="{FF2B5EF4-FFF2-40B4-BE49-F238E27FC236}">
                <a16:creationId xmlns:a16="http://schemas.microsoft.com/office/drawing/2014/main" id="{D933D2C9-0F8F-4B81-AE69-659A56EDD7BD}"/>
              </a:ext>
            </a:extLst>
          </p:cNvPr>
          <p:cNvSpPr txBox="1"/>
          <p:nvPr/>
        </p:nvSpPr>
        <p:spPr>
          <a:xfrm>
            <a:off x="6618530" y="3342809"/>
            <a:ext cx="1641895" cy="480000"/>
          </a:xfrm>
          <a:prstGeom prst="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2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r>
              <a:rPr lang="zh-CN" altLang="en-US" sz="1600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好库存</a:t>
            </a:r>
          </a:p>
        </p:txBody>
      </p:sp>
      <p:sp>
        <p:nvSpPr>
          <p:cNvPr id="217" name="文本框 216">
            <a:extLst>
              <a:ext uri="{FF2B5EF4-FFF2-40B4-BE49-F238E27FC236}">
                <a16:creationId xmlns:a16="http://schemas.microsoft.com/office/drawing/2014/main" id="{AD51724A-CCCC-4542-B9AB-768DCE181585}"/>
              </a:ext>
            </a:extLst>
          </p:cNvPr>
          <p:cNvSpPr txBox="1"/>
          <p:nvPr/>
        </p:nvSpPr>
        <p:spPr>
          <a:xfrm>
            <a:off x="4306450" y="3825523"/>
            <a:ext cx="1582825" cy="480000"/>
          </a:xfrm>
          <a:prstGeom prst="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2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r>
              <a:rPr lang="zh-CN" altLang="en-US" sz="1600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好协同</a:t>
            </a:r>
          </a:p>
        </p:txBody>
      </p:sp>
      <p:sp>
        <p:nvSpPr>
          <p:cNvPr id="218" name="文本框 217">
            <a:extLst>
              <a:ext uri="{FF2B5EF4-FFF2-40B4-BE49-F238E27FC236}">
                <a16:creationId xmlns:a16="http://schemas.microsoft.com/office/drawing/2014/main" id="{AD51724A-CCCC-4542-B9AB-768DCE181585}"/>
              </a:ext>
            </a:extLst>
          </p:cNvPr>
          <p:cNvSpPr txBox="1"/>
          <p:nvPr/>
        </p:nvSpPr>
        <p:spPr>
          <a:xfrm>
            <a:off x="6648065" y="3825523"/>
            <a:ext cx="1582825" cy="480000"/>
          </a:xfrm>
          <a:prstGeom prst="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2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r>
              <a:rPr lang="zh-CN" altLang="en-US" sz="1600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好交付</a:t>
            </a:r>
          </a:p>
        </p:txBody>
      </p:sp>
      <p:cxnSp>
        <p:nvCxnSpPr>
          <p:cNvPr id="219" name="直接连接符 218"/>
          <p:cNvCxnSpPr>
            <a:endCxn id="222" idx="2"/>
          </p:cNvCxnSpPr>
          <p:nvPr/>
        </p:nvCxnSpPr>
        <p:spPr>
          <a:xfrm flipV="1">
            <a:off x="926667" y="3828779"/>
            <a:ext cx="4609552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文本框 219">
            <a:extLst>
              <a:ext uri="{FF2B5EF4-FFF2-40B4-BE49-F238E27FC236}">
                <a16:creationId xmlns:a16="http://schemas.microsoft.com/office/drawing/2014/main" id="{B978839D-F8DB-4D41-BBFA-A721B5FD6EB8}"/>
              </a:ext>
            </a:extLst>
          </p:cNvPr>
          <p:cNvSpPr txBox="1"/>
          <p:nvPr/>
        </p:nvSpPr>
        <p:spPr>
          <a:xfrm>
            <a:off x="4276915" y="3342809"/>
            <a:ext cx="1641895" cy="480000"/>
          </a:xfrm>
          <a:prstGeom prst="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 defTabSz="614461">
              <a:defRPr sz="1422" b="1">
                <a:solidFill>
                  <a:srgbClr val="06174C"/>
                </a:solidFill>
                <a:cs typeface="+mn-ea"/>
              </a:defRPr>
            </a:lvl1pPr>
          </a:lstStyle>
          <a:p>
            <a:r>
              <a:rPr lang="zh-CN" altLang="en-US" sz="1600" dirty="0">
                <a:solidFill>
                  <a:srgbClr val="C00000"/>
                </a:solidFill>
                <a:sym typeface="+mn-lt"/>
              </a:rPr>
              <a:t>好计划</a:t>
            </a:r>
          </a:p>
        </p:txBody>
      </p:sp>
      <p:cxnSp>
        <p:nvCxnSpPr>
          <p:cNvPr id="221" name="直接连接符 220"/>
          <p:cNvCxnSpPr>
            <a:endCxn id="222" idx="0"/>
          </p:cNvCxnSpPr>
          <p:nvPr/>
        </p:nvCxnSpPr>
        <p:spPr>
          <a:xfrm flipH="1">
            <a:off x="6256219" y="1271719"/>
            <a:ext cx="0" cy="183706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椭圆 221"/>
          <p:cNvSpPr/>
          <p:nvPr/>
        </p:nvSpPr>
        <p:spPr>
          <a:xfrm>
            <a:off x="5536219" y="3108779"/>
            <a:ext cx="1440000" cy="1440000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>
              <a:cs typeface="+mn-ea"/>
              <a:sym typeface="+mn-lt"/>
            </a:endParaRPr>
          </a:p>
        </p:txBody>
      </p:sp>
      <p:cxnSp>
        <p:nvCxnSpPr>
          <p:cNvPr id="223" name="直接连接符 222"/>
          <p:cNvCxnSpPr>
            <a:stCxn id="222" idx="4"/>
          </p:cNvCxnSpPr>
          <p:nvPr/>
        </p:nvCxnSpPr>
        <p:spPr>
          <a:xfrm>
            <a:off x="6256219" y="4548779"/>
            <a:ext cx="0" cy="18384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直接连接符 223"/>
          <p:cNvCxnSpPr>
            <a:stCxn id="222" idx="6"/>
          </p:cNvCxnSpPr>
          <p:nvPr/>
        </p:nvCxnSpPr>
        <p:spPr>
          <a:xfrm>
            <a:off x="6976219" y="3828779"/>
            <a:ext cx="460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文本框 224"/>
          <p:cNvSpPr txBox="1"/>
          <p:nvPr/>
        </p:nvSpPr>
        <p:spPr>
          <a:xfrm>
            <a:off x="5731241" y="3472709"/>
            <a:ext cx="1049961" cy="677107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zh-CN" altLang="en-US" b="1" dirty="0">
                <a:cs typeface="+mn-ea"/>
                <a:sym typeface="+mn-lt"/>
              </a:rPr>
              <a:t>决策</a:t>
            </a:r>
            <a:endParaRPr lang="en-US" altLang="zh-CN" b="1" dirty="0">
              <a:cs typeface="+mn-ea"/>
              <a:sym typeface="+mn-lt"/>
            </a:endParaRPr>
          </a:p>
          <a:p>
            <a:pPr algn="ctr"/>
            <a:r>
              <a:rPr lang="zh-CN" altLang="en-US" b="1" dirty="0">
                <a:cs typeface="+mn-ea"/>
                <a:sym typeface="+mn-lt"/>
              </a:rPr>
              <a:t>智慧化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226" name="文本框 225">
            <a:extLst>
              <a:ext uri="{FF2B5EF4-FFF2-40B4-BE49-F238E27FC236}">
                <a16:creationId xmlns:a16="http://schemas.microsoft.com/office/drawing/2014/main" id="{AD51724A-CCCC-4542-B9AB-768DCE181585}"/>
              </a:ext>
            </a:extLst>
          </p:cNvPr>
          <p:cNvSpPr txBox="1"/>
          <p:nvPr/>
        </p:nvSpPr>
        <p:spPr>
          <a:xfrm>
            <a:off x="2637158" y="3809347"/>
            <a:ext cx="1582825" cy="480000"/>
          </a:xfrm>
          <a:prstGeom prst="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2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r>
              <a:rPr lang="zh-CN" altLang="en-US" sz="1600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智慧排产</a:t>
            </a:r>
          </a:p>
        </p:txBody>
      </p:sp>
      <p:sp>
        <p:nvSpPr>
          <p:cNvPr id="227" name="文本框 226">
            <a:extLst>
              <a:ext uri="{FF2B5EF4-FFF2-40B4-BE49-F238E27FC236}">
                <a16:creationId xmlns:a16="http://schemas.microsoft.com/office/drawing/2014/main" id="{B978839D-F8DB-4D41-BBFA-A721B5FD6EB8}"/>
              </a:ext>
            </a:extLst>
          </p:cNvPr>
          <p:cNvSpPr txBox="1"/>
          <p:nvPr/>
        </p:nvSpPr>
        <p:spPr>
          <a:xfrm>
            <a:off x="2637158" y="574125"/>
            <a:ext cx="1641895" cy="480000"/>
          </a:xfrm>
          <a:prstGeom prst="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 defTabSz="614461">
              <a:defRPr sz="1422" b="1">
                <a:solidFill>
                  <a:srgbClr val="06174C"/>
                </a:solidFill>
                <a:cs typeface="+mn-ea"/>
              </a:defRPr>
            </a:lvl1pPr>
          </a:lstStyle>
          <a:p>
            <a:r>
              <a:rPr lang="zh-CN" altLang="en-US" sz="1600" dirty="0">
                <a:solidFill>
                  <a:srgbClr val="C00000"/>
                </a:solidFill>
                <a:sym typeface="+mn-lt"/>
              </a:rPr>
              <a:t>智慧预测</a:t>
            </a:r>
          </a:p>
        </p:txBody>
      </p:sp>
      <p:sp>
        <p:nvSpPr>
          <p:cNvPr id="228" name="文本框 227">
            <a:extLst>
              <a:ext uri="{FF2B5EF4-FFF2-40B4-BE49-F238E27FC236}">
                <a16:creationId xmlns:a16="http://schemas.microsoft.com/office/drawing/2014/main" id="{D933D2C9-0F8F-4B81-AE69-659A56EDD7BD}"/>
              </a:ext>
            </a:extLst>
          </p:cNvPr>
          <p:cNvSpPr txBox="1"/>
          <p:nvPr/>
        </p:nvSpPr>
        <p:spPr>
          <a:xfrm>
            <a:off x="8428895" y="574125"/>
            <a:ext cx="1641895" cy="480000"/>
          </a:xfrm>
          <a:prstGeom prst="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2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r>
              <a:rPr lang="zh-CN" altLang="en-US" sz="1600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智慧库存</a:t>
            </a:r>
          </a:p>
        </p:txBody>
      </p:sp>
      <p:sp>
        <p:nvSpPr>
          <p:cNvPr id="229" name="文本框 228">
            <a:extLst>
              <a:ext uri="{FF2B5EF4-FFF2-40B4-BE49-F238E27FC236}">
                <a16:creationId xmlns:a16="http://schemas.microsoft.com/office/drawing/2014/main" id="{AD51724A-CCCC-4542-B9AB-768DCE181585}"/>
              </a:ext>
            </a:extLst>
          </p:cNvPr>
          <p:cNvSpPr txBox="1"/>
          <p:nvPr/>
        </p:nvSpPr>
        <p:spPr>
          <a:xfrm>
            <a:off x="8428897" y="3809347"/>
            <a:ext cx="1582825" cy="480000"/>
          </a:xfrm>
          <a:prstGeom prst="rect">
            <a:avLst/>
          </a:prstGeom>
          <a:noFill/>
          <a:ln w="38100" cap="sq" cmpd="dbl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2" tIns="45718" rIns="24382" bIns="45718" rtlCol="0" anchor="ctr"/>
          <a:lstStyle>
            <a:defPPr>
              <a:defRPr lang="zh-CN"/>
            </a:defPPr>
            <a:lvl1pPr algn="ctr">
              <a:defRPr sz="24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819221"/>
            <a:r>
              <a:rPr lang="zh-CN" altLang="en-US" sz="1600" dirty="0">
                <a:solidFill>
                  <a:srgbClr val="C00000"/>
                </a:solidFill>
                <a:latin typeface="+mn-lt"/>
                <a:ea typeface="+mn-ea"/>
                <a:cs typeface="+mn-ea"/>
                <a:sym typeface="+mn-lt"/>
              </a:rPr>
              <a:t>智慧运营</a:t>
            </a:r>
          </a:p>
        </p:txBody>
      </p:sp>
    </p:spTree>
    <p:extLst>
      <p:ext uri="{BB962C8B-B14F-4D97-AF65-F5344CB8AC3E}">
        <p14:creationId xmlns:p14="http://schemas.microsoft.com/office/powerpoint/2010/main" val="31399621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标题 1">
            <a:extLst>
              <a:ext uri="{FF2B5EF4-FFF2-40B4-BE49-F238E27FC236}">
                <a16:creationId xmlns:a16="http://schemas.microsoft.com/office/drawing/2014/main" id="{CD2D03AD-43EA-42E7-ACA3-5F2A8D437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新技术应用于物流的不同环节和层面，提升效率和降低成本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31" name="文本框 230">
            <a:extLst>
              <a:ext uri="{FF2B5EF4-FFF2-40B4-BE49-F238E27FC236}">
                <a16:creationId xmlns:a16="http://schemas.microsoft.com/office/drawing/2014/main" id="{D99CA012-25EC-47D4-885D-7C42185214B2}"/>
              </a:ext>
            </a:extLst>
          </p:cNvPr>
          <p:cNvSpPr txBox="1"/>
          <p:nvPr/>
        </p:nvSpPr>
        <p:spPr>
          <a:xfrm>
            <a:off x="1932159" y="864549"/>
            <a:ext cx="9526376" cy="1062267"/>
          </a:xfrm>
          <a:prstGeom prst="rect">
            <a:avLst/>
          </a:prstGeom>
          <a:ln w="12700">
            <a:solidFill>
              <a:srgbClr val="C00000"/>
            </a:solidFill>
          </a:ln>
        </p:spPr>
        <p:txBody>
          <a:bodyPr wrap="square" lIns="0" tIns="0" rIns="0" bIns="0" rtlCol="0"/>
          <a:lstStyle>
            <a:defPPr>
              <a:defRPr lang="zh-CN"/>
            </a:defPPr>
            <a:lvl1pPr>
              <a:defRPr sz="48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endParaRPr lang="zh-CN" altLang="en-US" dirty="0">
              <a:latin typeface="+mn-ea"/>
            </a:endParaRPr>
          </a:p>
        </p:txBody>
      </p:sp>
      <p:sp>
        <p:nvSpPr>
          <p:cNvPr id="232" name="矩形 231">
            <a:extLst>
              <a:ext uri="{FF2B5EF4-FFF2-40B4-BE49-F238E27FC236}">
                <a16:creationId xmlns:a16="http://schemas.microsoft.com/office/drawing/2014/main" id="{169AFDFE-B8AF-4EE6-9879-404885B7F494}"/>
              </a:ext>
            </a:extLst>
          </p:cNvPr>
          <p:cNvSpPr/>
          <p:nvPr/>
        </p:nvSpPr>
        <p:spPr>
          <a:xfrm>
            <a:off x="1932159" y="2029659"/>
            <a:ext cx="9526376" cy="2997244"/>
          </a:xfrm>
          <a:prstGeom prst="rect">
            <a:avLst/>
          </a:prstGeom>
          <a:ln w="127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 lang="zh-CN" altLang="en-US" sz="6400" dirty="0">
              <a:latin typeface="+mn-ea"/>
            </a:endParaRPr>
          </a:p>
        </p:txBody>
      </p:sp>
      <p:pic>
        <p:nvPicPr>
          <p:cNvPr id="233" name="图片 232">
            <a:extLst>
              <a:ext uri="{FF2B5EF4-FFF2-40B4-BE49-F238E27FC236}">
                <a16:creationId xmlns:a16="http://schemas.microsoft.com/office/drawing/2014/main" id="{A62DC5FE-501D-4268-8829-546034DAE1B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7361" t="839" r="6510" b="12"/>
          <a:stretch>
            <a:fillRect/>
          </a:stretch>
        </p:blipFill>
        <p:spPr>
          <a:xfrm>
            <a:off x="3808662" y="1003778"/>
            <a:ext cx="545151" cy="545151"/>
          </a:xfrm>
          <a:custGeom>
            <a:avLst/>
            <a:gdLst>
              <a:gd name="connsiteX0" fmla="*/ 1919161 w 3838322"/>
              <a:gd name="connsiteY0" fmla="*/ 0 h 3838322"/>
              <a:gd name="connsiteX1" fmla="*/ 3838322 w 3838322"/>
              <a:gd name="connsiteY1" fmla="*/ 1919161 h 3838322"/>
              <a:gd name="connsiteX2" fmla="*/ 1919161 w 3838322"/>
              <a:gd name="connsiteY2" fmla="*/ 3838322 h 3838322"/>
              <a:gd name="connsiteX3" fmla="*/ 0 w 3838322"/>
              <a:gd name="connsiteY3" fmla="*/ 1919161 h 3838322"/>
              <a:gd name="connsiteX4" fmla="*/ 1919161 w 3838322"/>
              <a:gd name="connsiteY4" fmla="*/ 0 h 383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38322" h="3838322">
                <a:moveTo>
                  <a:pt x="1919161" y="0"/>
                </a:moveTo>
                <a:cubicBezTo>
                  <a:pt x="2979084" y="0"/>
                  <a:pt x="3838322" y="859238"/>
                  <a:pt x="3838322" y="1919161"/>
                </a:cubicBezTo>
                <a:cubicBezTo>
                  <a:pt x="3838322" y="2979084"/>
                  <a:pt x="2979084" y="3838322"/>
                  <a:pt x="1919161" y="3838322"/>
                </a:cubicBezTo>
                <a:cubicBezTo>
                  <a:pt x="859238" y="3838322"/>
                  <a:pt x="0" y="2979084"/>
                  <a:pt x="0" y="1919161"/>
                </a:cubicBezTo>
                <a:cubicBezTo>
                  <a:pt x="0" y="859238"/>
                  <a:pt x="859238" y="0"/>
                  <a:pt x="1919161" y="0"/>
                </a:cubicBez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  <a:effectLst>
            <a:glow rad="38100">
              <a:schemeClr val="bg1">
                <a:alpha val="60000"/>
              </a:schemeClr>
            </a:glow>
          </a:effectLst>
        </p:spPr>
      </p:pic>
      <p:sp>
        <p:nvSpPr>
          <p:cNvPr id="234" name="矩形 233">
            <a:extLst>
              <a:ext uri="{FF2B5EF4-FFF2-40B4-BE49-F238E27FC236}">
                <a16:creationId xmlns:a16="http://schemas.microsoft.com/office/drawing/2014/main" id="{898526DF-6AEA-480E-8A92-7F3ACD3C6C62}"/>
              </a:ext>
            </a:extLst>
          </p:cNvPr>
          <p:cNvSpPr/>
          <p:nvPr/>
        </p:nvSpPr>
        <p:spPr>
          <a:xfrm>
            <a:off x="956188" y="864549"/>
            <a:ext cx="857189" cy="1062267"/>
          </a:xfrm>
          <a:prstGeom prst="rect">
            <a:avLst/>
          </a:prstGeom>
          <a:ln w="12700">
            <a:solidFill>
              <a:srgbClr val="C00000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b="1" dirty="0">
                <a:latin typeface="+mn-ea"/>
              </a:rPr>
              <a:t>决策层</a:t>
            </a:r>
          </a:p>
        </p:txBody>
      </p:sp>
      <p:sp>
        <p:nvSpPr>
          <p:cNvPr id="235" name="矩形 234">
            <a:extLst>
              <a:ext uri="{FF2B5EF4-FFF2-40B4-BE49-F238E27FC236}">
                <a16:creationId xmlns:a16="http://schemas.microsoft.com/office/drawing/2014/main" id="{B26E3354-4D6F-480B-B2F7-26DBF63BD992}"/>
              </a:ext>
            </a:extLst>
          </p:cNvPr>
          <p:cNvSpPr/>
          <p:nvPr/>
        </p:nvSpPr>
        <p:spPr>
          <a:xfrm>
            <a:off x="956190" y="2029659"/>
            <a:ext cx="846327" cy="2997244"/>
          </a:xfrm>
          <a:prstGeom prst="rect">
            <a:avLst/>
          </a:prstGeom>
          <a:ln w="12700">
            <a:solidFill>
              <a:srgbClr val="C00000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b="1" dirty="0">
                <a:latin typeface="+mn-ea"/>
              </a:rPr>
              <a:t>运营层</a:t>
            </a:r>
          </a:p>
        </p:txBody>
      </p:sp>
      <p:sp>
        <p:nvSpPr>
          <p:cNvPr id="236" name="矩形 235">
            <a:extLst>
              <a:ext uri="{FF2B5EF4-FFF2-40B4-BE49-F238E27FC236}">
                <a16:creationId xmlns:a16="http://schemas.microsoft.com/office/drawing/2014/main" id="{B7D1560A-2960-4E75-9500-9403E715A99C}"/>
              </a:ext>
            </a:extLst>
          </p:cNvPr>
          <p:cNvSpPr/>
          <p:nvPr/>
        </p:nvSpPr>
        <p:spPr>
          <a:xfrm>
            <a:off x="3593471" y="1520947"/>
            <a:ext cx="975528" cy="36536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60957" rIns="0" bIns="609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buClr>
                <a:srgbClr val="C81423"/>
              </a:buClr>
              <a:buSzPct val="75000"/>
            </a:pPr>
            <a:r>
              <a:rPr lang="zh-CN" altLang="en-US" sz="13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网络规划</a:t>
            </a:r>
            <a:endParaRPr lang="en-US" altLang="zh-CN" sz="1300" b="1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7" name="object 19">
            <a:extLst>
              <a:ext uri="{FF2B5EF4-FFF2-40B4-BE49-F238E27FC236}">
                <a16:creationId xmlns:a16="http://schemas.microsoft.com/office/drawing/2014/main" id="{DE6C1427-7277-42C9-B5F3-E20CA33EF933}"/>
              </a:ext>
            </a:extLst>
          </p:cNvPr>
          <p:cNvSpPr txBox="1"/>
          <p:nvPr/>
        </p:nvSpPr>
        <p:spPr>
          <a:xfrm>
            <a:off x="5595175" y="5940680"/>
            <a:ext cx="2117732" cy="222219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defPPr>
              <a:defRPr lang="zh-CN"/>
            </a:defPPr>
            <a:lvl1pPr marL="12700" algn="ctr">
              <a:lnSpc>
                <a:spcPct val="100000"/>
              </a:lnSpc>
              <a:spcBef>
                <a:spcPts val="100"/>
              </a:spcBef>
              <a:defRPr sz="1200" b="1" spc="5">
                <a:latin typeface="+mn-ea"/>
                <a:cs typeface="Droid Sans Fallback"/>
              </a:defRPr>
            </a:lvl1pPr>
          </a:lstStyle>
          <a:p>
            <a:r>
              <a:rPr lang="zh-CN" altLang="en-US" sz="1300" dirty="0"/>
              <a:t>大数据</a:t>
            </a:r>
            <a:endParaRPr sz="1300" dirty="0"/>
          </a:p>
        </p:txBody>
      </p:sp>
      <p:sp>
        <p:nvSpPr>
          <p:cNvPr id="238" name="object 20">
            <a:extLst>
              <a:ext uri="{FF2B5EF4-FFF2-40B4-BE49-F238E27FC236}">
                <a16:creationId xmlns:a16="http://schemas.microsoft.com/office/drawing/2014/main" id="{E3B8411F-22F5-42C6-944A-81C5CD5BE4E3}"/>
              </a:ext>
            </a:extLst>
          </p:cNvPr>
          <p:cNvSpPr txBox="1"/>
          <p:nvPr/>
        </p:nvSpPr>
        <p:spPr>
          <a:xfrm>
            <a:off x="2331031" y="5972236"/>
            <a:ext cx="2055548" cy="222219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defPPr>
              <a:defRPr lang="zh-CN"/>
            </a:defPPr>
            <a:lvl1pPr marL="12700" algn="ctr">
              <a:lnSpc>
                <a:spcPct val="100000"/>
              </a:lnSpc>
              <a:spcBef>
                <a:spcPts val="100"/>
              </a:spcBef>
              <a:defRPr sz="1200" b="1" spc="5">
                <a:latin typeface="+mn-ea"/>
                <a:cs typeface="Droid Sans Fallback"/>
              </a:defRPr>
            </a:lvl1pPr>
          </a:lstStyle>
          <a:p>
            <a:r>
              <a:rPr lang="zh-CN" altLang="en-US" sz="1300" dirty="0"/>
              <a:t>人工智能</a:t>
            </a:r>
            <a:endParaRPr lang="en-US" altLang="zh-CN" sz="1300" dirty="0"/>
          </a:p>
        </p:txBody>
      </p:sp>
      <p:sp>
        <p:nvSpPr>
          <p:cNvPr id="239" name="object 41">
            <a:extLst>
              <a:ext uri="{FF2B5EF4-FFF2-40B4-BE49-F238E27FC236}">
                <a16:creationId xmlns:a16="http://schemas.microsoft.com/office/drawing/2014/main" id="{D85552A6-ABAA-4270-A862-64F8DAEB9889}"/>
              </a:ext>
            </a:extLst>
          </p:cNvPr>
          <p:cNvSpPr/>
          <p:nvPr/>
        </p:nvSpPr>
        <p:spPr>
          <a:xfrm>
            <a:off x="1928748" y="5113072"/>
            <a:ext cx="9515693" cy="1171027"/>
          </a:xfrm>
          <a:custGeom>
            <a:avLst/>
            <a:gdLst/>
            <a:ahLst/>
            <a:cxnLst/>
            <a:rect l="l" t="t" r="r" b="b"/>
            <a:pathLst>
              <a:path w="4406900" h="979170">
                <a:moveTo>
                  <a:pt x="0" y="978636"/>
                </a:moveTo>
                <a:lnTo>
                  <a:pt x="4406303" y="978636"/>
                </a:lnTo>
                <a:lnTo>
                  <a:pt x="4406303" y="0"/>
                </a:lnTo>
                <a:lnTo>
                  <a:pt x="0" y="0"/>
                </a:lnTo>
                <a:lnTo>
                  <a:pt x="0" y="978636"/>
                </a:lnTo>
                <a:close/>
              </a:path>
            </a:pathLst>
          </a:custGeom>
          <a:ln w="127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 sz="6400">
              <a:latin typeface="+mn-ea"/>
            </a:endParaRPr>
          </a:p>
        </p:txBody>
      </p:sp>
      <p:sp>
        <p:nvSpPr>
          <p:cNvPr id="240" name="椭圆 239">
            <a:extLst>
              <a:ext uri="{FF2B5EF4-FFF2-40B4-BE49-F238E27FC236}">
                <a16:creationId xmlns:a16="http://schemas.microsoft.com/office/drawing/2014/main" id="{B5D2A701-7D11-434B-9B40-98BEFBBD954D}"/>
              </a:ext>
            </a:extLst>
          </p:cNvPr>
          <p:cNvSpPr/>
          <p:nvPr/>
        </p:nvSpPr>
        <p:spPr>
          <a:xfrm>
            <a:off x="9430561" y="5200253"/>
            <a:ext cx="675515" cy="675515"/>
          </a:xfrm>
          <a:prstGeom prst="ellipse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>
              <a:latin typeface="+mn-ea"/>
            </a:endParaRPr>
          </a:p>
        </p:txBody>
      </p:sp>
      <p:sp>
        <p:nvSpPr>
          <p:cNvPr id="241" name="椭圆 240">
            <a:extLst>
              <a:ext uri="{FF2B5EF4-FFF2-40B4-BE49-F238E27FC236}">
                <a16:creationId xmlns:a16="http://schemas.microsoft.com/office/drawing/2014/main" id="{622A8D10-F76A-4A23-9385-D1D514E99483}"/>
              </a:ext>
            </a:extLst>
          </p:cNvPr>
          <p:cNvSpPr/>
          <p:nvPr/>
        </p:nvSpPr>
        <p:spPr>
          <a:xfrm>
            <a:off x="6335405" y="5200253"/>
            <a:ext cx="675515" cy="675515"/>
          </a:xfrm>
          <a:prstGeom prst="ellipse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>
              <a:latin typeface="+mn-ea"/>
            </a:endParaRPr>
          </a:p>
        </p:txBody>
      </p:sp>
      <p:sp>
        <p:nvSpPr>
          <p:cNvPr id="242" name="椭圆 241">
            <a:extLst>
              <a:ext uri="{FF2B5EF4-FFF2-40B4-BE49-F238E27FC236}">
                <a16:creationId xmlns:a16="http://schemas.microsoft.com/office/drawing/2014/main" id="{848D1E4F-DDF0-498D-A40E-6C698F1A2374}"/>
              </a:ext>
            </a:extLst>
          </p:cNvPr>
          <p:cNvSpPr/>
          <p:nvPr/>
        </p:nvSpPr>
        <p:spPr>
          <a:xfrm>
            <a:off x="3043077" y="5200253"/>
            <a:ext cx="675515" cy="675515"/>
          </a:xfrm>
          <a:prstGeom prst="ellipse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>
              <a:latin typeface="+mn-ea"/>
            </a:endParaRPr>
          </a:p>
        </p:txBody>
      </p:sp>
      <p:sp>
        <p:nvSpPr>
          <p:cNvPr id="243" name="加号 242">
            <a:extLst>
              <a:ext uri="{FF2B5EF4-FFF2-40B4-BE49-F238E27FC236}">
                <a16:creationId xmlns:a16="http://schemas.microsoft.com/office/drawing/2014/main" id="{2399D6B5-E0E8-4D5B-BE48-CBA2976CD90E}"/>
              </a:ext>
            </a:extLst>
          </p:cNvPr>
          <p:cNvSpPr/>
          <p:nvPr/>
        </p:nvSpPr>
        <p:spPr>
          <a:xfrm>
            <a:off x="4426677" y="5379850"/>
            <a:ext cx="675515" cy="495585"/>
          </a:xfrm>
          <a:prstGeom prst="mathPlus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>
              <a:latin typeface="+mn-ea"/>
            </a:endParaRPr>
          </a:p>
        </p:txBody>
      </p:sp>
      <p:sp>
        <p:nvSpPr>
          <p:cNvPr id="244" name="加号 243">
            <a:extLst>
              <a:ext uri="{FF2B5EF4-FFF2-40B4-BE49-F238E27FC236}">
                <a16:creationId xmlns:a16="http://schemas.microsoft.com/office/drawing/2014/main" id="{40680093-5C8A-4E66-8843-FFF665B55562}"/>
              </a:ext>
            </a:extLst>
          </p:cNvPr>
          <p:cNvSpPr/>
          <p:nvPr/>
        </p:nvSpPr>
        <p:spPr>
          <a:xfrm>
            <a:off x="7888865" y="5379852"/>
            <a:ext cx="675515" cy="495585"/>
          </a:xfrm>
          <a:prstGeom prst="mathPlus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>
              <a:latin typeface="+mn-ea"/>
            </a:endParaRPr>
          </a:p>
        </p:txBody>
      </p:sp>
      <p:pic>
        <p:nvPicPr>
          <p:cNvPr id="245" name="图片 244">
            <a:extLst>
              <a:ext uri="{FF2B5EF4-FFF2-40B4-BE49-F238E27FC236}">
                <a16:creationId xmlns:a16="http://schemas.microsoft.com/office/drawing/2014/main" id="{9E28E481-91E9-4051-BECC-427404EA5E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299" y="5330227"/>
            <a:ext cx="394463" cy="394463"/>
          </a:xfrm>
          <a:prstGeom prst="rect">
            <a:avLst/>
          </a:prstGeom>
        </p:spPr>
      </p:pic>
      <p:pic>
        <p:nvPicPr>
          <p:cNvPr id="246" name="图片 245" descr="图片包含 物体&#10;&#10;已生成高可信度的说明">
            <a:extLst>
              <a:ext uri="{FF2B5EF4-FFF2-40B4-BE49-F238E27FC236}">
                <a16:creationId xmlns:a16="http://schemas.microsoft.com/office/drawing/2014/main" id="{627B645D-C2EA-4E8F-9C80-526334F93C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3933" y="5348749"/>
            <a:ext cx="410035" cy="410035"/>
          </a:xfrm>
          <a:prstGeom prst="rect">
            <a:avLst/>
          </a:prstGeom>
        </p:spPr>
      </p:pic>
      <p:sp>
        <p:nvSpPr>
          <p:cNvPr id="247" name="object 19">
            <a:extLst>
              <a:ext uri="{FF2B5EF4-FFF2-40B4-BE49-F238E27FC236}">
                <a16:creationId xmlns:a16="http://schemas.microsoft.com/office/drawing/2014/main" id="{E9273C44-ECF9-4004-B960-CE29F77549BF}"/>
              </a:ext>
            </a:extLst>
          </p:cNvPr>
          <p:cNvSpPr txBox="1"/>
          <p:nvPr/>
        </p:nvSpPr>
        <p:spPr>
          <a:xfrm>
            <a:off x="8699299" y="5950820"/>
            <a:ext cx="2117732" cy="222219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defPPr>
              <a:defRPr lang="zh-CN"/>
            </a:defPPr>
            <a:lvl1pPr marL="12700" algn="ctr">
              <a:lnSpc>
                <a:spcPct val="100000"/>
              </a:lnSpc>
              <a:spcBef>
                <a:spcPts val="100"/>
              </a:spcBef>
              <a:defRPr sz="1200" b="1" spc="5">
                <a:latin typeface="+mn-ea"/>
                <a:cs typeface="Droid Sans Fallback"/>
              </a:defRPr>
            </a:lvl1pPr>
          </a:lstStyle>
          <a:p>
            <a:r>
              <a:rPr lang="zh-CN" altLang="en-US" sz="1300" dirty="0"/>
              <a:t>云计算</a:t>
            </a:r>
            <a:endParaRPr sz="1300" dirty="0"/>
          </a:p>
        </p:txBody>
      </p:sp>
      <p:pic>
        <p:nvPicPr>
          <p:cNvPr id="248" name="图片 247">
            <a:extLst>
              <a:ext uri="{FF2B5EF4-FFF2-40B4-BE49-F238E27FC236}">
                <a16:creationId xmlns:a16="http://schemas.microsoft.com/office/drawing/2014/main" id="{E52E734C-4271-4A74-AF82-ED6D62000F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9695" y="5283203"/>
            <a:ext cx="470828" cy="470828"/>
          </a:xfrm>
          <a:prstGeom prst="rect">
            <a:avLst/>
          </a:prstGeom>
        </p:spPr>
      </p:pic>
      <p:sp>
        <p:nvSpPr>
          <p:cNvPr id="249" name="矩形 248">
            <a:extLst>
              <a:ext uri="{FF2B5EF4-FFF2-40B4-BE49-F238E27FC236}">
                <a16:creationId xmlns:a16="http://schemas.microsoft.com/office/drawing/2014/main" id="{274E86B4-8565-4241-973F-C8EAE8C44695}"/>
              </a:ext>
            </a:extLst>
          </p:cNvPr>
          <p:cNvSpPr/>
          <p:nvPr/>
        </p:nvSpPr>
        <p:spPr>
          <a:xfrm>
            <a:off x="956190" y="5113072"/>
            <a:ext cx="846327" cy="1171027"/>
          </a:xfrm>
          <a:prstGeom prst="rect">
            <a:avLst/>
          </a:prstGeom>
          <a:ln w="12700">
            <a:solidFill>
              <a:srgbClr val="C00000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zh-CN" altLang="en-US" b="1" dirty="0">
                <a:latin typeface="+mn-ea"/>
              </a:rPr>
              <a:t>技术层</a:t>
            </a:r>
          </a:p>
        </p:txBody>
      </p:sp>
      <p:grpSp>
        <p:nvGrpSpPr>
          <p:cNvPr id="250" name="组合 249">
            <a:extLst>
              <a:ext uri="{FF2B5EF4-FFF2-40B4-BE49-F238E27FC236}">
                <a16:creationId xmlns:a16="http://schemas.microsoft.com/office/drawing/2014/main" id="{D8252C1E-0238-48AA-A108-A8DC6F45B72F}"/>
              </a:ext>
            </a:extLst>
          </p:cNvPr>
          <p:cNvGrpSpPr/>
          <p:nvPr/>
        </p:nvGrpSpPr>
        <p:grpSpPr>
          <a:xfrm>
            <a:off x="4529721" y="2491587"/>
            <a:ext cx="983647" cy="1715448"/>
            <a:chOff x="2397435" y="2546629"/>
            <a:chExt cx="737735" cy="1286586"/>
          </a:xfrm>
        </p:grpSpPr>
        <p:pic>
          <p:nvPicPr>
            <p:cNvPr id="251" name="图片 250">
              <a:extLst>
                <a:ext uri="{FF2B5EF4-FFF2-40B4-BE49-F238E27FC236}">
                  <a16:creationId xmlns:a16="http://schemas.microsoft.com/office/drawing/2014/main" id="{A5DBE93F-A6EB-492E-BE16-F6ECD6D07A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9023" t="5438" r="14853" b="1922"/>
            <a:stretch>
              <a:fillRect/>
            </a:stretch>
          </p:blipFill>
          <p:spPr>
            <a:xfrm>
              <a:off x="2567676" y="3200694"/>
              <a:ext cx="397253" cy="397252"/>
            </a:xfrm>
            <a:custGeom>
              <a:avLst/>
              <a:gdLst>
                <a:gd name="connsiteX0" fmla="*/ 324000 w 648000"/>
                <a:gd name="connsiteY0" fmla="*/ 0 h 648000"/>
                <a:gd name="connsiteX1" fmla="*/ 648000 w 648000"/>
                <a:gd name="connsiteY1" fmla="*/ 324000 h 648000"/>
                <a:gd name="connsiteX2" fmla="*/ 324000 w 648000"/>
                <a:gd name="connsiteY2" fmla="*/ 648000 h 648000"/>
                <a:gd name="connsiteX3" fmla="*/ 0 w 648000"/>
                <a:gd name="connsiteY3" fmla="*/ 324000 h 648000"/>
                <a:gd name="connsiteX4" fmla="*/ 324000 w 648000"/>
                <a:gd name="connsiteY4" fmla="*/ 0 h 6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000" h="648000">
                  <a:moveTo>
                    <a:pt x="324000" y="0"/>
                  </a:moveTo>
                  <a:cubicBezTo>
                    <a:pt x="502940" y="0"/>
                    <a:pt x="648000" y="145060"/>
                    <a:pt x="648000" y="324000"/>
                  </a:cubicBezTo>
                  <a:cubicBezTo>
                    <a:pt x="648000" y="502940"/>
                    <a:pt x="502940" y="648000"/>
                    <a:pt x="324000" y="648000"/>
                  </a:cubicBezTo>
                  <a:cubicBezTo>
                    <a:pt x="145060" y="648000"/>
                    <a:pt x="0" y="502940"/>
                    <a:pt x="0" y="324000"/>
                  </a:cubicBezTo>
                  <a:cubicBezTo>
                    <a:pt x="0" y="145060"/>
                    <a:pt x="145060" y="0"/>
                    <a:pt x="324000" y="0"/>
                  </a:cubicBezTo>
                  <a:close/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</p:spPr>
        </p:pic>
        <p:sp>
          <p:nvSpPr>
            <p:cNvPr id="252" name="矩形 251">
              <a:extLst>
                <a:ext uri="{FF2B5EF4-FFF2-40B4-BE49-F238E27FC236}">
                  <a16:creationId xmlns:a16="http://schemas.microsoft.com/office/drawing/2014/main" id="{FC11C5DE-604B-4807-B13D-0913FF6CEC56}"/>
                </a:ext>
              </a:extLst>
            </p:cNvPr>
            <p:cNvSpPr/>
            <p:nvPr/>
          </p:nvSpPr>
          <p:spPr>
            <a:xfrm>
              <a:off x="2506946" y="2546629"/>
              <a:ext cx="518712" cy="244463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32">
                <a:buClr>
                  <a:srgbClr val="C81423"/>
                </a:buClr>
                <a:buSzPct val="75000"/>
                <a:defRPr/>
              </a:pPr>
              <a:r>
                <a:rPr lang="zh-CN" altLang="en-US" sz="13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拣选</a:t>
              </a:r>
            </a:p>
          </p:txBody>
        </p:sp>
        <p:sp>
          <p:nvSpPr>
            <p:cNvPr id="253" name="矩形 252">
              <a:extLst>
                <a:ext uri="{FF2B5EF4-FFF2-40B4-BE49-F238E27FC236}">
                  <a16:creationId xmlns:a16="http://schemas.microsoft.com/office/drawing/2014/main" id="{114045E2-CC58-4C75-92EC-82E5D0E9914E}"/>
                </a:ext>
              </a:extLst>
            </p:cNvPr>
            <p:cNvSpPr/>
            <p:nvPr/>
          </p:nvSpPr>
          <p:spPr>
            <a:xfrm>
              <a:off x="2397435" y="3706257"/>
              <a:ext cx="737735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拣货机器人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254" name="组合 253">
            <a:extLst>
              <a:ext uri="{FF2B5EF4-FFF2-40B4-BE49-F238E27FC236}">
                <a16:creationId xmlns:a16="http://schemas.microsoft.com/office/drawing/2014/main" id="{40950A41-06FC-4A54-BFE6-7982B9C4A914}"/>
              </a:ext>
            </a:extLst>
          </p:cNvPr>
          <p:cNvGrpSpPr/>
          <p:nvPr/>
        </p:nvGrpSpPr>
        <p:grpSpPr>
          <a:xfrm>
            <a:off x="5522079" y="2506108"/>
            <a:ext cx="983647" cy="2370477"/>
            <a:chOff x="3244005" y="2546629"/>
            <a:chExt cx="737735" cy="1777858"/>
          </a:xfrm>
        </p:grpSpPr>
        <p:sp>
          <p:nvSpPr>
            <p:cNvPr id="255" name="椭圆 254">
              <a:extLst>
                <a:ext uri="{FF2B5EF4-FFF2-40B4-BE49-F238E27FC236}">
                  <a16:creationId xmlns:a16="http://schemas.microsoft.com/office/drawing/2014/main" id="{D710AA46-663D-438D-88F6-61EA251DB349}"/>
                </a:ext>
              </a:extLst>
            </p:cNvPr>
            <p:cNvSpPr/>
            <p:nvPr/>
          </p:nvSpPr>
          <p:spPr>
            <a:xfrm>
              <a:off x="3414246" y="2859808"/>
              <a:ext cx="397253" cy="397252"/>
            </a:xfrm>
            <a:prstGeom prst="ellipse">
              <a:avLst/>
            </a:prstGeom>
            <a:solidFill>
              <a:srgbClr val="FFF3F3"/>
            </a:solidFill>
            <a:ln w="12700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47632" indent="-247632" algn="ctr" defTabSz="1219110">
                <a:buClr>
                  <a:srgbClr val="C81423"/>
                </a:buClr>
                <a:buSzPct val="75000"/>
                <a:buFont typeface="Wingdings" panose="05000000000000000000" pitchFamily="2" charset="2"/>
                <a:buChar char="n"/>
                <a:defRPr/>
              </a:pPr>
              <a:endParaRPr lang="zh-CN" altLang="en-US" sz="1100" kern="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pic>
          <p:nvPicPr>
            <p:cNvPr id="256" name="图片 255" descr="打包台.png">
              <a:extLst>
                <a:ext uri="{FF2B5EF4-FFF2-40B4-BE49-F238E27FC236}">
                  <a16:creationId xmlns:a16="http://schemas.microsoft.com/office/drawing/2014/main" id="{C6AEE67D-594C-4E08-A326-0CCDF64C60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/>
            <a:srcRect l="26519" t="230" r="20532" b="1012"/>
            <a:stretch>
              <a:fillRect/>
            </a:stretch>
          </p:blipFill>
          <p:spPr bwMode="auto">
            <a:xfrm>
              <a:off x="3414246" y="3703689"/>
              <a:ext cx="397253" cy="397252"/>
            </a:xfrm>
            <a:custGeom>
              <a:avLst/>
              <a:gdLst>
                <a:gd name="connsiteX0" fmla="*/ 1315770 w 2631540"/>
                <a:gd name="connsiteY0" fmla="*/ 0 h 2631540"/>
                <a:gd name="connsiteX1" fmla="*/ 2631540 w 2631540"/>
                <a:gd name="connsiteY1" fmla="*/ 1315770 h 2631540"/>
                <a:gd name="connsiteX2" fmla="*/ 1315770 w 2631540"/>
                <a:gd name="connsiteY2" fmla="*/ 2631540 h 2631540"/>
                <a:gd name="connsiteX3" fmla="*/ 0 w 2631540"/>
                <a:gd name="connsiteY3" fmla="*/ 1315770 h 2631540"/>
                <a:gd name="connsiteX4" fmla="*/ 1315770 w 2631540"/>
                <a:gd name="connsiteY4" fmla="*/ 0 h 263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31540" h="2631540">
                  <a:moveTo>
                    <a:pt x="1315770" y="0"/>
                  </a:moveTo>
                  <a:cubicBezTo>
                    <a:pt x="2042450" y="0"/>
                    <a:pt x="2631540" y="589090"/>
                    <a:pt x="2631540" y="1315770"/>
                  </a:cubicBezTo>
                  <a:cubicBezTo>
                    <a:pt x="2631540" y="2042450"/>
                    <a:pt x="2042450" y="2631540"/>
                    <a:pt x="1315770" y="2631540"/>
                  </a:cubicBezTo>
                  <a:cubicBezTo>
                    <a:pt x="589090" y="2631540"/>
                    <a:pt x="0" y="2042450"/>
                    <a:pt x="0" y="1315770"/>
                  </a:cubicBezTo>
                  <a:cubicBezTo>
                    <a:pt x="0" y="589090"/>
                    <a:pt x="589090" y="0"/>
                    <a:pt x="1315770" y="0"/>
                  </a:cubicBezTo>
                  <a:close/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</p:pic>
        <p:sp>
          <p:nvSpPr>
            <p:cNvPr id="257" name="矩形 256">
              <a:extLst>
                <a:ext uri="{FF2B5EF4-FFF2-40B4-BE49-F238E27FC236}">
                  <a16:creationId xmlns:a16="http://schemas.microsoft.com/office/drawing/2014/main" id="{C9AB06E3-103D-4FB4-AD73-9CE39C75B7FF}"/>
                </a:ext>
              </a:extLst>
            </p:cNvPr>
            <p:cNvSpPr/>
            <p:nvPr/>
          </p:nvSpPr>
          <p:spPr>
            <a:xfrm>
              <a:off x="3353516" y="2546629"/>
              <a:ext cx="518712" cy="244463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32">
                <a:buClr>
                  <a:srgbClr val="C81423"/>
                </a:buClr>
                <a:buSzPct val="75000"/>
                <a:defRPr/>
              </a:pPr>
              <a:r>
                <a:rPr lang="zh-CN" altLang="en-US" sz="13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包装</a:t>
              </a:r>
            </a:p>
          </p:txBody>
        </p:sp>
        <p:sp>
          <p:nvSpPr>
            <p:cNvPr id="258" name="矩形 257">
              <a:extLst>
                <a:ext uri="{FF2B5EF4-FFF2-40B4-BE49-F238E27FC236}">
                  <a16:creationId xmlns:a16="http://schemas.microsoft.com/office/drawing/2014/main" id="{A9941113-6409-4D9F-B240-49CF050D6440}"/>
                </a:ext>
              </a:extLst>
            </p:cNvPr>
            <p:cNvSpPr/>
            <p:nvPr/>
          </p:nvSpPr>
          <p:spPr>
            <a:xfrm>
              <a:off x="3267247" y="3346438"/>
              <a:ext cx="691251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>
                <a:spcBef>
                  <a:spcPts val="800"/>
                </a:spcBef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自动包装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59" name="矩形 258">
              <a:extLst>
                <a:ext uri="{FF2B5EF4-FFF2-40B4-BE49-F238E27FC236}">
                  <a16:creationId xmlns:a16="http://schemas.microsoft.com/office/drawing/2014/main" id="{7C40BD5D-BB80-489F-BDB0-BADA86602126}"/>
                </a:ext>
              </a:extLst>
            </p:cNvPr>
            <p:cNvSpPr/>
            <p:nvPr/>
          </p:nvSpPr>
          <p:spPr>
            <a:xfrm>
              <a:off x="3244005" y="4197529"/>
              <a:ext cx="737735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复核包装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pic>
          <p:nvPicPr>
            <p:cNvPr id="260" name="图片 259">
              <a:extLst>
                <a:ext uri="{FF2B5EF4-FFF2-40B4-BE49-F238E27FC236}">
                  <a16:creationId xmlns:a16="http://schemas.microsoft.com/office/drawing/2014/main" id="{BA14E155-64BF-402E-988F-0DBCCDE71C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44111" y="2915219"/>
              <a:ext cx="337522" cy="286429"/>
            </a:xfrm>
            <a:custGeom>
              <a:avLst/>
              <a:gdLst>
                <a:gd name="connsiteX0" fmla="*/ 163499 w 804742"/>
                <a:gd name="connsiteY0" fmla="*/ 0 h 682923"/>
                <a:gd name="connsiteX1" fmla="*/ 641243 w 804742"/>
                <a:gd name="connsiteY1" fmla="*/ 0 h 682923"/>
                <a:gd name="connsiteX2" fmla="*/ 697454 w 804742"/>
                <a:gd name="connsiteY2" fmla="*/ 46378 h 682923"/>
                <a:gd name="connsiteX3" fmla="*/ 786887 w 804742"/>
                <a:gd name="connsiteY3" fmla="*/ 179025 h 682923"/>
                <a:gd name="connsiteX4" fmla="*/ 804742 w 804742"/>
                <a:gd name="connsiteY4" fmla="*/ 236546 h 682923"/>
                <a:gd name="connsiteX5" fmla="*/ 804742 w 804742"/>
                <a:gd name="connsiteY5" fmla="*/ 446377 h 682923"/>
                <a:gd name="connsiteX6" fmla="*/ 786887 w 804742"/>
                <a:gd name="connsiteY6" fmla="*/ 503897 h 682923"/>
                <a:gd name="connsiteX7" fmla="*/ 697454 w 804742"/>
                <a:gd name="connsiteY7" fmla="*/ 636544 h 682923"/>
                <a:gd name="connsiteX8" fmla="*/ 641242 w 804742"/>
                <a:gd name="connsiteY8" fmla="*/ 682923 h 682923"/>
                <a:gd name="connsiteX9" fmla="*/ 163501 w 804742"/>
                <a:gd name="connsiteY9" fmla="*/ 682923 h 682923"/>
                <a:gd name="connsiteX10" fmla="*/ 107288 w 804742"/>
                <a:gd name="connsiteY10" fmla="*/ 636544 h 682923"/>
                <a:gd name="connsiteX11" fmla="*/ 17855 w 804742"/>
                <a:gd name="connsiteY11" fmla="*/ 503897 h 682923"/>
                <a:gd name="connsiteX12" fmla="*/ 0 w 804742"/>
                <a:gd name="connsiteY12" fmla="*/ 446377 h 682923"/>
                <a:gd name="connsiteX13" fmla="*/ 0 w 804742"/>
                <a:gd name="connsiteY13" fmla="*/ 236545 h 682923"/>
                <a:gd name="connsiteX14" fmla="*/ 17855 w 804742"/>
                <a:gd name="connsiteY14" fmla="*/ 179025 h 682923"/>
                <a:gd name="connsiteX15" fmla="*/ 107288 w 804742"/>
                <a:gd name="connsiteY15" fmla="*/ 46378 h 682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04742" h="682923">
                  <a:moveTo>
                    <a:pt x="163499" y="0"/>
                  </a:moveTo>
                  <a:lnTo>
                    <a:pt x="641243" y="0"/>
                  </a:lnTo>
                  <a:lnTo>
                    <a:pt x="697454" y="46378"/>
                  </a:lnTo>
                  <a:cubicBezTo>
                    <a:pt x="735213" y="84138"/>
                    <a:pt x="765770" y="129099"/>
                    <a:pt x="786887" y="179025"/>
                  </a:cubicBezTo>
                  <a:lnTo>
                    <a:pt x="804742" y="236546"/>
                  </a:lnTo>
                  <a:lnTo>
                    <a:pt x="804742" y="446377"/>
                  </a:lnTo>
                  <a:lnTo>
                    <a:pt x="786887" y="503897"/>
                  </a:lnTo>
                  <a:cubicBezTo>
                    <a:pt x="765770" y="553823"/>
                    <a:pt x="735213" y="598785"/>
                    <a:pt x="697454" y="636544"/>
                  </a:cubicBezTo>
                  <a:lnTo>
                    <a:pt x="641242" y="682923"/>
                  </a:lnTo>
                  <a:lnTo>
                    <a:pt x="163501" y="682923"/>
                  </a:lnTo>
                  <a:lnTo>
                    <a:pt x="107288" y="636544"/>
                  </a:lnTo>
                  <a:cubicBezTo>
                    <a:pt x="69529" y="598785"/>
                    <a:pt x="38972" y="553823"/>
                    <a:pt x="17855" y="503897"/>
                  </a:cubicBezTo>
                  <a:lnTo>
                    <a:pt x="0" y="446377"/>
                  </a:lnTo>
                  <a:lnTo>
                    <a:pt x="0" y="236545"/>
                  </a:lnTo>
                  <a:lnTo>
                    <a:pt x="17855" y="179025"/>
                  </a:lnTo>
                  <a:cubicBezTo>
                    <a:pt x="38972" y="129099"/>
                    <a:pt x="69529" y="84138"/>
                    <a:pt x="107288" y="46378"/>
                  </a:cubicBezTo>
                  <a:close/>
                </a:path>
              </a:pathLst>
            </a:custGeom>
            <a:noFill/>
            <a:ln w="9525">
              <a:noFill/>
              <a:bevel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1" name="组合 260">
            <a:extLst>
              <a:ext uri="{FF2B5EF4-FFF2-40B4-BE49-F238E27FC236}">
                <a16:creationId xmlns:a16="http://schemas.microsoft.com/office/drawing/2014/main" id="{8EC4B1CE-FDF2-4B82-A5FC-61C863EA3E1F}"/>
              </a:ext>
            </a:extLst>
          </p:cNvPr>
          <p:cNvGrpSpPr/>
          <p:nvPr/>
        </p:nvGrpSpPr>
        <p:grpSpPr>
          <a:xfrm>
            <a:off x="6514438" y="2472184"/>
            <a:ext cx="983647" cy="2370477"/>
            <a:chOff x="4139952" y="2546629"/>
            <a:chExt cx="737735" cy="1777858"/>
          </a:xfrm>
        </p:grpSpPr>
        <p:pic>
          <p:nvPicPr>
            <p:cNvPr id="262" name="Picture 2">
              <a:extLst>
                <a:ext uri="{FF2B5EF4-FFF2-40B4-BE49-F238E27FC236}">
                  <a16:creationId xmlns:a16="http://schemas.microsoft.com/office/drawing/2014/main" id="{1971596C-779E-4315-8CEC-B91B58410B1D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0193" y="2859809"/>
              <a:ext cx="397253" cy="397252"/>
            </a:xfrm>
            <a:prstGeom prst="ellipse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263" name="矩形 262">
              <a:extLst>
                <a:ext uri="{FF2B5EF4-FFF2-40B4-BE49-F238E27FC236}">
                  <a16:creationId xmlns:a16="http://schemas.microsoft.com/office/drawing/2014/main" id="{9D300F68-1A3E-4A55-B517-39F5A279ADC7}"/>
                </a:ext>
              </a:extLst>
            </p:cNvPr>
            <p:cNvSpPr/>
            <p:nvPr/>
          </p:nvSpPr>
          <p:spPr>
            <a:xfrm>
              <a:off x="4249463" y="2546629"/>
              <a:ext cx="518712" cy="244463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32">
                <a:buClr>
                  <a:srgbClr val="C81423"/>
                </a:buClr>
                <a:buSzPct val="75000"/>
                <a:defRPr/>
              </a:pPr>
              <a:r>
                <a:rPr lang="zh-CN" altLang="en-US" sz="13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出库</a:t>
              </a:r>
            </a:p>
          </p:txBody>
        </p:sp>
        <p:sp>
          <p:nvSpPr>
            <p:cNvPr id="264" name="矩形 263">
              <a:extLst>
                <a:ext uri="{FF2B5EF4-FFF2-40B4-BE49-F238E27FC236}">
                  <a16:creationId xmlns:a16="http://schemas.microsoft.com/office/drawing/2014/main" id="{021A61CB-96B7-43FA-AE9E-B50679414B6F}"/>
                </a:ext>
              </a:extLst>
            </p:cNvPr>
            <p:cNvSpPr/>
            <p:nvPr/>
          </p:nvSpPr>
          <p:spPr>
            <a:xfrm>
              <a:off x="4232172" y="3346438"/>
              <a:ext cx="553293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>
                <a:spcBef>
                  <a:spcPts val="800"/>
                </a:spcBef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分合流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pic>
          <p:nvPicPr>
            <p:cNvPr id="265" name="图片 264">
              <a:extLst>
                <a:ext uri="{FF2B5EF4-FFF2-40B4-BE49-F238E27FC236}">
                  <a16:creationId xmlns:a16="http://schemas.microsoft.com/office/drawing/2014/main" id="{771F4625-22AD-4D14-B895-3DD5A4ED0C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l="1237" t="6151" r="12466" b="9086"/>
            <a:stretch>
              <a:fillRect/>
            </a:stretch>
          </p:blipFill>
          <p:spPr>
            <a:xfrm>
              <a:off x="4310193" y="3703689"/>
              <a:ext cx="397253" cy="397252"/>
            </a:xfrm>
            <a:custGeom>
              <a:avLst/>
              <a:gdLst>
                <a:gd name="connsiteX0" fmla="*/ 866231 w 1732462"/>
                <a:gd name="connsiteY0" fmla="*/ 0 h 1732462"/>
                <a:gd name="connsiteX1" fmla="*/ 1732462 w 1732462"/>
                <a:gd name="connsiteY1" fmla="*/ 866231 h 1732462"/>
                <a:gd name="connsiteX2" fmla="*/ 866231 w 1732462"/>
                <a:gd name="connsiteY2" fmla="*/ 1732462 h 1732462"/>
                <a:gd name="connsiteX3" fmla="*/ 0 w 1732462"/>
                <a:gd name="connsiteY3" fmla="*/ 866231 h 1732462"/>
                <a:gd name="connsiteX4" fmla="*/ 866231 w 1732462"/>
                <a:gd name="connsiteY4" fmla="*/ 0 h 1732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2462" h="1732462">
                  <a:moveTo>
                    <a:pt x="866231" y="0"/>
                  </a:moveTo>
                  <a:cubicBezTo>
                    <a:pt x="1344637" y="0"/>
                    <a:pt x="1732462" y="387825"/>
                    <a:pt x="1732462" y="866231"/>
                  </a:cubicBezTo>
                  <a:cubicBezTo>
                    <a:pt x="1732462" y="1344637"/>
                    <a:pt x="1344637" y="1732462"/>
                    <a:pt x="866231" y="1732462"/>
                  </a:cubicBezTo>
                  <a:cubicBezTo>
                    <a:pt x="387825" y="1732462"/>
                    <a:pt x="0" y="1344637"/>
                    <a:pt x="0" y="866231"/>
                  </a:cubicBezTo>
                  <a:cubicBezTo>
                    <a:pt x="0" y="387825"/>
                    <a:pt x="387825" y="0"/>
                    <a:pt x="866231" y="0"/>
                  </a:cubicBezTo>
                  <a:close/>
                </a:path>
              </a:pathLst>
            </a:cu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</p:pic>
        <p:sp>
          <p:nvSpPr>
            <p:cNvPr id="266" name="矩形 265">
              <a:extLst>
                <a:ext uri="{FF2B5EF4-FFF2-40B4-BE49-F238E27FC236}">
                  <a16:creationId xmlns:a16="http://schemas.microsoft.com/office/drawing/2014/main" id="{CC03F3A6-00DF-4222-BFC0-81B03DC977F3}"/>
                </a:ext>
              </a:extLst>
            </p:cNvPr>
            <p:cNvSpPr/>
            <p:nvPr/>
          </p:nvSpPr>
          <p:spPr>
            <a:xfrm>
              <a:off x="4139952" y="4197529"/>
              <a:ext cx="737735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>
                <a:buClr>
                  <a:srgbClr val="C00000"/>
                </a:buClr>
                <a:buSzPct val="125000"/>
                <a:defRPr/>
              </a:pP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AGV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搬运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267" name="组合 266">
            <a:extLst>
              <a:ext uri="{FF2B5EF4-FFF2-40B4-BE49-F238E27FC236}">
                <a16:creationId xmlns:a16="http://schemas.microsoft.com/office/drawing/2014/main" id="{EEF6E24B-332A-48E4-8C77-FB2EB7511A06}"/>
              </a:ext>
            </a:extLst>
          </p:cNvPr>
          <p:cNvGrpSpPr/>
          <p:nvPr/>
        </p:nvGrpSpPr>
        <p:grpSpPr>
          <a:xfrm>
            <a:off x="1863731" y="2491586"/>
            <a:ext cx="1307804" cy="2370477"/>
            <a:chOff x="546142" y="2546629"/>
            <a:chExt cx="980853" cy="1777858"/>
          </a:xfrm>
        </p:grpSpPr>
        <p:pic>
          <p:nvPicPr>
            <p:cNvPr id="268" name="图片 267">
              <a:extLst>
                <a:ext uri="{FF2B5EF4-FFF2-40B4-BE49-F238E27FC236}">
                  <a16:creationId xmlns:a16="http://schemas.microsoft.com/office/drawing/2014/main" id="{4849C175-058A-4ACE-A43D-41EDA80632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 l="18303" t="2655" r="18303" b="2655"/>
            <a:stretch>
              <a:fillRect/>
            </a:stretch>
          </p:blipFill>
          <p:spPr>
            <a:xfrm>
              <a:off x="837942" y="3703689"/>
              <a:ext cx="397253" cy="397252"/>
            </a:xfrm>
            <a:custGeom>
              <a:avLst/>
              <a:gdLst>
                <a:gd name="connsiteX0" fmla="*/ 324000 w 648000"/>
                <a:gd name="connsiteY0" fmla="*/ 0 h 648000"/>
                <a:gd name="connsiteX1" fmla="*/ 648000 w 648000"/>
                <a:gd name="connsiteY1" fmla="*/ 324000 h 648000"/>
                <a:gd name="connsiteX2" fmla="*/ 324000 w 648000"/>
                <a:gd name="connsiteY2" fmla="*/ 648000 h 648000"/>
                <a:gd name="connsiteX3" fmla="*/ 0 w 648000"/>
                <a:gd name="connsiteY3" fmla="*/ 324000 h 648000"/>
                <a:gd name="connsiteX4" fmla="*/ 324000 w 648000"/>
                <a:gd name="connsiteY4" fmla="*/ 0 h 6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000" h="648000">
                  <a:moveTo>
                    <a:pt x="324000" y="0"/>
                  </a:moveTo>
                  <a:cubicBezTo>
                    <a:pt x="502940" y="0"/>
                    <a:pt x="648000" y="145060"/>
                    <a:pt x="648000" y="324000"/>
                  </a:cubicBezTo>
                  <a:cubicBezTo>
                    <a:pt x="648000" y="502940"/>
                    <a:pt x="502940" y="648000"/>
                    <a:pt x="324000" y="648000"/>
                  </a:cubicBezTo>
                  <a:cubicBezTo>
                    <a:pt x="145060" y="648000"/>
                    <a:pt x="0" y="502940"/>
                    <a:pt x="0" y="324000"/>
                  </a:cubicBezTo>
                  <a:cubicBezTo>
                    <a:pt x="0" y="145060"/>
                    <a:pt x="145060" y="0"/>
                    <a:pt x="324000" y="0"/>
                  </a:cubicBezTo>
                  <a:close/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</p:spPr>
        </p:pic>
        <p:sp>
          <p:nvSpPr>
            <p:cNvPr id="269" name="矩形 268">
              <a:extLst>
                <a:ext uri="{FF2B5EF4-FFF2-40B4-BE49-F238E27FC236}">
                  <a16:creationId xmlns:a16="http://schemas.microsoft.com/office/drawing/2014/main" id="{D8287FF6-08A3-4F4E-944A-670C87FE1C43}"/>
                </a:ext>
              </a:extLst>
            </p:cNvPr>
            <p:cNvSpPr/>
            <p:nvPr/>
          </p:nvSpPr>
          <p:spPr>
            <a:xfrm>
              <a:off x="777212" y="2546629"/>
              <a:ext cx="518712" cy="244463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32">
                <a:buClr>
                  <a:srgbClr val="C81423"/>
                </a:buClr>
                <a:buSzPct val="75000"/>
                <a:defRPr/>
              </a:pPr>
              <a:r>
                <a:rPr lang="zh-CN" altLang="en-US" sz="13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入库</a:t>
              </a:r>
            </a:p>
          </p:txBody>
        </p:sp>
        <p:sp>
          <p:nvSpPr>
            <p:cNvPr id="270" name="矩形 269">
              <a:extLst>
                <a:ext uri="{FF2B5EF4-FFF2-40B4-BE49-F238E27FC236}">
                  <a16:creationId xmlns:a16="http://schemas.microsoft.com/office/drawing/2014/main" id="{0EC596CA-8F6E-4D77-BE40-2BA4E4209F14}"/>
                </a:ext>
              </a:extLst>
            </p:cNvPr>
            <p:cNvSpPr/>
            <p:nvPr/>
          </p:nvSpPr>
          <p:spPr>
            <a:xfrm>
              <a:off x="702644" y="3346438"/>
              <a:ext cx="667849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>
                <a:spcBef>
                  <a:spcPts val="800"/>
                </a:spcBef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视觉验收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71" name="矩形 270">
              <a:extLst>
                <a:ext uri="{FF2B5EF4-FFF2-40B4-BE49-F238E27FC236}">
                  <a16:creationId xmlns:a16="http://schemas.microsoft.com/office/drawing/2014/main" id="{988A58A6-AF1F-4B5F-8AC3-73B1D65DC531}"/>
                </a:ext>
              </a:extLst>
            </p:cNvPr>
            <p:cNvSpPr/>
            <p:nvPr/>
          </p:nvSpPr>
          <p:spPr>
            <a:xfrm>
              <a:off x="546142" y="4197529"/>
              <a:ext cx="980853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码垛机器人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pic>
          <p:nvPicPr>
            <p:cNvPr id="272" name="图片 271">
              <a:extLst>
                <a:ext uri="{FF2B5EF4-FFF2-40B4-BE49-F238E27FC236}">
                  <a16:creationId xmlns:a16="http://schemas.microsoft.com/office/drawing/2014/main" id="{8CF0CBBD-CA00-4542-8CFE-33C0A388D0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504" t="2417" r="32242" b="8055"/>
            <a:stretch>
              <a:fillRect/>
            </a:stretch>
          </p:blipFill>
          <p:spPr bwMode="auto">
            <a:xfrm>
              <a:off x="837942" y="2859808"/>
              <a:ext cx="397253" cy="397253"/>
            </a:xfrm>
            <a:custGeom>
              <a:avLst/>
              <a:gdLst>
                <a:gd name="connsiteX0" fmla="*/ 324000 w 648000"/>
                <a:gd name="connsiteY0" fmla="*/ 0 h 648000"/>
                <a:gd name="connsiteX1" fmla="*/ 648000 w 648000"/>
                <a:gd name="connsiteY1" fmla="*/ 324000 h 648000"/>
                <a:gd name="connsiteX2" fmla="*/ 324000 w 648000"/>
                <a:gd name="connsiteY2" fmla="*/ 648000 h 648000"/>
                <a:gd name="connsiteX3" fmla="*/ 0 w 648000"/>
                <a:gd name="connsiteY3" fmla="*/ 324000 h 648000"/>
                <a:gd name="connsiteX4" fmla="*/ 324000 w 648000"/>
                <a:gd name="connsiteY4" fmla="*/ 0 h 6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000" h="648000">
                  <a:moveTo>
                    <a:pt x="324000" y="0"/>
                  </a:moveTo>
                  <a:cubicBezTo>
                    <a:pt x="502940" y="0"/>
                    <a:pt x="648000" y="145060"/>
                    <a:pt x="648000" y="324000"/>
                  </a:cubicBezTo>
                  <a:cubicBezTo>
                    <a:pt x="648000" y="502940"/>
                    <a:pt x="502940" y="648000"/>
                    <a:pt x="324000" y="648000"/>
                  </a:cubicBezTo>
                  <a:cubicBezTo>
                    <a:pt x="145060" y="648000"/>
                    <a:pt x="0" y="502940"/>
                    <a:pt x="0" y="324000"/>
                  </a:cubicBezTo>
                  <a:cubicBezTo>
                    <a:pt x="0" y="145060"/>
                    <a:pt x="145060" y="0"/>
                    <a:pt x="324000" y="0"/>
                  </a:cubicBezTo>
                  <a:close/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grpSp>
        <p:nvGrpSpPr>
          <p:cNvPr id="273" name="组合 272">
            <a:extLst>
              <a:ext uri="{FF2B5EF4-FFF2-40B4-BE49-F238E27FC236}">
                <a16:creationId xmlns:a16="http://schemas.microsoft.com/office/drawing/2014/main" id="{86421970-A6F6-4989-BD7F-46DF073B41E0}"/>
              </a:ext>
            </a:extLst>
          </p:cNvPr>
          <p:cNvGrpSpPr/>
          <p:nvPr/>
        </p:nvGrpSpPr>
        <p:grpSpPr>
          <a:xfrm>
            <a:off x="3180245" y="2491586"/>
            <a:ext cx="1340760" cy="2370477"/>
            <a:chOff x="1403875" y="2546629"/>
            <a:chExt cx="1005570" cy="1777858"/>
          </a:xfrm>
        </p:grpSpPr>
        <p:sp>
          <p:nvSpPr>
            <p:cNvPr id="274" name="矩形 273">
              <a:extLst>
                <a:ext uri="{FF2B5EF4-FFF2-40B4-BE49-F238E27FC236}">
                  <a16:creationId xmlns:a16="http://schemas.microsoft.com/office/drawing/2014/main" id="{DA9320E1-F93B-41EC-AC93-880EDA99A9CA}"/>
                </a:ext>
              </a:extLst>
            </p:cNvPr>
            <p:cNvSpPr/>
            <p:nvPr/>
          </p:nvSpPr>
          <p:spPr>
            <a:xfrm>
              <a:off x="1403875" y="3346438"/>
              <a:ext cx="1005570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>
                <a:spcBef>
                  <a:spcPts val="800"/>
                </a:spcBef>
                <a:buClr>
                  <a:srgbClr val="C00000"/>
                </a:buClr>
                <a:buSzPct val="125000"/>
                <a:defRPr/>
              </a:pP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AS/</a:t>
              </a:r>
              <a:r>
                <a:rPr lang="en-US" altLang="zh-CN" sz="1100" dirty="0" err="1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RS+Shuttle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pic>
          <p:nvPicPr>
            <p:cNvPr id="275" name="图片 274">
              <a:extLst>
                <a:ext uri="{FF2B5EF4-FFF2-40B4-BE49-F238E27FC236}">
                  <a16:creationId xmlns:a16="http://schemas.microsoft.com/office/drawing/2014/main" id="{15A27ACD-74D3-4C25-A716-1C86810491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l="56735" t="57237" r="11504" b="1303"/>
            <a:stretch/>
          </p:blipFill>
          <p:spPr>
            <a:xfrm>
              <a:off x="1708034" y="3703689"/>
              <a:ext cx="397253" cy="397252"/>
            </a:xfrm>
            <a:custGeom>
              <a:avLst/>
              <a:gdLst>
                <a:gd name="connsiteX0" fmla="*/ 324000 w 648000"/>
                <a:gd name="connsiteY0" fmla="*/ 0 h 648000"/>
                <a:gd name="connsiteX1" fmla="*/ 648000 w 648000"/>
                <a:gd name="connsiteY1" fmla="*/ 324000 h 648000"/>
                <a:gd name="connsiteX2" fmla="*/ 324000 w 648000"/>
                <a:gd name="connsiteY2" fmla="*/ 648000 h 648000"/>
                <a:gd name="connsiteX3" fmla="*/ 0 w 648000"/>
                <a:gd name="connsiteY3" fmla="*/ 324000 h 648000"/>
                <a:gd name="connsiteX4" fmla="*/ 324000 w 648000"/>
                <a:gd name="connsiteY4" fmla="*/ 0 h 6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000" h="648000">
                  <a:moveTo>
                    <a:pt x="324000" y="0"/>
                  </a:moveTo>
                  <a:cubicBezTo>
                    <a:pt x="502940" y="0"/>
                    <a:pt x="648000" y="145060"/>
                    <a:pt x="648000" y="324000"/>
                  </a:cubicBezTo>
                  <a:cubicBezTo>
                    <a:pt x="648000" y="502940"/>
                    <a:pt x="502940" y="648000"/>
                    <a:pt x="324000" y="648000"/>
                  </a:cubicBezTo>
                  <a:cubicBezTo>
                    <a:pt x="145060" y="648000"/>
                    <a:pt x="0" y="502940"/>
                    <a:pt x="0" y="324000"/>
                  </a:cubicBezTo>
                  <a:cubicBezTo>
                    <a:pt x="0" y="145060"/>
                    <a:pt x="145060" y="0"/>
                    <a:pt x="324000" y="0"/>
                  </a:cubicBezTo>
                  <a:close/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</p:spPr>
        </p:pic>
        <p:pic>
          <p:nvPicPr>
            <p:cNvPr id="276" name="图片 275" descr="立体库货架5">
              <a:extLst>
                <a:ext uri="{FF2B5EF4-FFF2-40B4-BE49-F238E27FC236}">
                  <a16:creationId xmlns:a16="http://schemas.microsoft.com/office/drawing/2014/main" id="{A3F609CC-680A-4810-8E42-99A6349BD2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81" t="2472" r="20381" b="2472"/>
            <a:stretch>
              <a:fillRect/>
            </a:stretch>
          </p:blipFill>
          <p:spPr bwMode="auto">
            <a:xfrm>
              <a:off x="1708034" y="2859809"/>
              <a:ext cx="397253" cy="397252"/>
            </a:xfrm>
            <a:custGeom>
              <a:avLst/>
              <a:gdLst>
                <a:gd name="connsiteX0" fmla="*/ 324000 w 648000"/>
                <a:gd name="connsiteY0" fmla="*/ 0 h 648000"/>
                <a:gd name="connsiteX1" fmla="*/ 648000 w 648000"/>
                <a:gd name="connsiteY1" fmla="*/ 324000 h 648000"/>
                <a:gd name="connsiteX2" fmla="*/ 324000 w 648000"/>
                <a:gd name="connsiteY2" fmla="*/ 648000 h 648000"/>
                <a:gd name="connsiteX3" fmla="*/ 0 w 648000"/>
                <a:gd name="connsiteY3" fmla="*/ 324000 h 648000"/>
                <a:gd name="connsiteX4" fmla="*/ 324000 w 648000"/>
                <a:gd name="connsiteY4" fmla="*/ 0 h 6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000" h="648000">
                  <a:moveTo>
                    <a:pt x="324000" y="0"/>
                  </a:moveTo>
                  <a:cubicBezTo>
                    <a:pt x="502940" y="0"/>
                    <a:pt x="648000" y="145060"/>
                    <a:pt x="648000" y="324000"/>
                  </a:cubicBezTo>
                  <a:cubicBezTo>
                    <a:pt x="648000" y="502940"/>
                    <a:pt x="502940" y="648000"/>
                    <a:pt x="324000" y="648000"/>
                  </a:cubicBezTo>
                  <a:cubicBezTo>
                    <a:pt x="145060" y="648000"/>
                    <a:pt x="0" y="502940"/>
                    <a:pt x="0" y="324000"/>
                  </a:cubicBezTo>
                  <a:cubicBezTo>
                    <a:pt x="0" y="145060"/>
                    <a:pt x="145060" y="0"/>
                    <a:pt x="324000" y="0"/>
                  </a:cubicBezTo>
                  <a:close/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7" name="矩形 276">
              <a:extLst>
                <a:ext uri="{FF2B5EF4-FFF2-40B4-BE49-F238E27FC236}">
                  <a16:creationId xmlns:a16="http://schemas.microsoft.com/office/drawing/2014/main" id="{AAA31E11-8BF5-44BD-BA4B-37631F038D00}"/>
                </a:ext>
              </a:extLst>
            </p:cNvPr>
            <p:cNvSpPr/>
            <p:nvPr/>
          </p:nvSpPr>
          <p:spPr>
            <a:xfrm>
              <a:off x="1647304" y="2546629"/>
              <a:ext cx="518712" cy="244463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32">
                <a:buClr>
                  <a:srgbClr val="C81423"/>
                </a:buClr>
                <a:buSzPct val="75000"/>
                <a:defRPr/>
              </a:pPr>
              <a:r>
                <a:rPr lang="zh-CN" altLang="en-US" sz="13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存取</a:t>
              </a:r>
            </a:p>
          </p:txBody>
        </p:sp>
        <p:sp>
          <p:nvSpPr>
            <p:cNvPr id="278" name="矩形 277">
              <a:extLst>
                <a:ext uri="{FF2B5EF4-FFF2-40B4-BE49-F238E27FC236}">
                  <a16:creationId xmlns:a16="http://schemas.microsoft.com/office/drawing/2014/main" id="{7A7AC185-6D74-4BC6-9F59-655AC268092F}"/>
                </a:ext>
              </a:extLst>
            </p:cNvPr>
            <p:cNvSpPr/>
            <p:nvPr/>
          </p:nvSpPr>
          <p:spPr>
            <a:xfrm>
              <a:off x="1537793" y="4197529"/>
              <a:ext cx="737735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搬运机器人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pic>
          <p:nvPicPr>
            <p:cNvPr id="279" name="Picture 2" descr="C:\Users\lili25\Desktop\TimLine图片20161025182053.png">
              <a:extLst>
                <a:ext uri="{FF2B5EF4-FFF2-40B4-BE49-F238E27FC236}">
                  <a16:creationId xmlns:a16="http://schemas.microsoft.com/office/drawing/2014/main" id="{DE7FA357-E13E-45ED-A6A0-A7344962B8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615" t="16919" r="7031" b="9782"/>
            <a:stretch/>
          </p:blipFill>
          <p:spPr bwMode="auto">
            <a:xfrm>
              <a:off x="1826858" y="3070821"/>
              <a:ext cx="159605" cy="93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80" name="矩形 279">
            <a:extLst>
              <a:ext uri="{FF2B5EF4-FFF2-40B4-BE49-F238E27FC236}">
                <a16:creationId xmlns:a16="http://schemas.microsoft.com/office/drawing/2014/main" id="{2EA28E03-FDB1-4636-AAD7-9987CE93E48A}"/>
              </a:ext>
            </a:extLst>
          </p:cNvPr>
          <p:cNvSpPr/>
          <p:nvPr/>
        </p:nvSpPr>
        <p:spPr>
          <a:xfrm>
            <a:off x="2953802" y="2546469"/>
            <a:ext cx="356188" cy="2974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32">
              <a:defRPr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→</a:t>
            </a:r>
          </a:p>
        </p:txBody>
      </p:sp>
      <p:sp>
        <p:nvSpPr>
          <p:cNvPr id="281" name="矩形 280">
            <a:extLst>
              <a:ext uri="{FF2B5EF4-FFF2-40B4-BE49-F238E27FC236}">
                <a16:creationId xmlns:a16="http://schemas.microsoft.com/office/drawing/2014/main" id="{666AE68E-AA01-42B8-A04F-D2D3FEF0742C}"/>
              </a:ext>
            </a:extLst>
          </p:cNvPr>
          <p:cNvSpPr/>
          <p:nvPr/>
        </p:nvSpPr>
        <p:spPr>
          <a:xfrm>
            <a:off x="4182859" y="2491586"/>
            <a:ext cx="356188" cy="2974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32">
              <a:defRPr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→</a:t>
            </a:r>
          </a:p>
        </p:txBody>
      </p:sp>
      <p:sp>
        <p:nvSpPr>
          <p:cNvPr id="282" name="矩形 281">
            <a:extLst>
              <a:ext uri="{FF2B5EF4-FFF2-40B4-BE49-F238E27FC236}">
                <a16:creationId xmlns:a16="http://schemas.microsoft.com/office/drawing/2014/main" id="{20F6B43E-7D75-4EA6-A5C2-610838A185A1}"/>
              </a:ext>
            </a:extLst>
          </p:cNvPr>
          <p:cNvSpPr/>
          <p:nvPr/>
        </p:nvSpPr>
        <p:spPr>
          <a:xfrm>
            <a:off x="5263739" y="2472183"/>
            <a:ext cx="356188" cy="2974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32">
              <a:defRPr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→</a:t>
            </a:r>
          </a:p>
        </p:txBody>
      </p:sp>
      <p:sp>
        <p:nvSpPr>
          <p:cNvPr id="283" name="矩形 282">
            <a:extLst>
              <a:ext uri="{FF2B5EF4-FFF2-40B4-BE49-F238E27FC236}">
                <a16:creationId xmlns:a16="http://schemas.microsoft.com/office/drawing/2014/main" id="{78DD1602-6568-430A-A541-4EDB9F11FF31}"/>
              </a:ext>
            </a:extLst>
          </p:cNvPr>
          <p:cNvSpPr/>
          <p:nvPr/>
        </p:nvSpPr>
        <p:spPr>
          <a:xfrm>
            <a:off x="6407742" y="2472183"/>
            <a:ext cx="356188" cy="2974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32">
              <a:defRPr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→</a:t>
            </a:r>
          </a:p>
        </p:txBody>
      </p:sp>
      <p:grpSp>
        <p:nvGrpSpPr>
          <p:cNvPr id="284" name="组合 283">
            <a:extLst>
              <a:ext uri="{FF2B5EF4-FFF2-40B4-BE49-F238E27FC236}">
                <a16:creationId xmlns:a16="http://schemas.microsoft.com/office/drawing/2014/main" id="{3E5A3C8A-005B-46DA-BA47-52167CBBAF07}"/>
              </a:ext>
            </a:extLst>
          </p:cNvPr>
          <p:cNvGrpSpPr/>
          <p:nvPr/>
        </p:nvGrpSpPr>
        <p:grpSpPr>
          <a:xfrm>
            <a:off x="7628713" y="2481751"/>
            <a:ext cx="1124840" cy="1715448"/>
            <a:chOff x="4978720" y="2546629"/>
            <a:chExt cx="843630" cy="1286586"/>
          </a:xfrm>
        </p:grpSpPr>
        <p:pic>
          <p:nvPicPr>
            <p:cNvPr id="285" name="图片 284">
              <a:extLst>
                <a:ext uri="{FF2B5EF4-FFF2-40B4-BE49-F238E27FC236}">
                  <a16:creationId xmlns:a16="http://schemas.microsoft.com/office/drawing/2014/main" id="{9ED75075-35EB-4142-B4E4-C1EC92D48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rcRect l="7656" t="33809" r="65013" b="15582"/>
            <a:stretch>
              <a:fillRect/>
            </a:stretch>
          </p:blipFill>
          <p:spPr>
            <a:xfrm>
              <a:off x="5181139" y="3195923"/>
              <a:ext cx="395984" cy="395984"/>
            </a:xfrm>
            <a:custGeom>
              <a:avLst/>
              <a:gdLst>
                <a:gd name="connsiteX0" fmla="*/ 324000 w 648000"/>
                <a:gd name="connsiteY0" fmla="*/ 0 h 648000"/>
                <a:gd name="connsiteX1" fmla="*/ 648000 w 648000"/>
                <a:gd name="connsiteY1" fmla="*/ 324000 h 648000"/>
                <a:gd name="connsiteX2" fmla="*/ 324000 w 648000"/>
                <a:gd name="connsiteY2" fmla="*/ 648000 h 648000"/>
                <a:gd name="connsiteX3" fmla="*/ 0 w 648000"/>
                <a:gd name="connsiteY3" fmla="*/ 324000 h 648000"/>
                <a:gd name="connsiteX4" fmla="*/ 324000 w 648000"/>
                <a:gd name="connsiteY4" fmla="*/ 0 h 6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000" h="648000">
                  <a:moveTo>
                    <a:pt x="324000" y="0"/>
                  </a:moveTo>
                  <a:cubicBezTo>
                    <a:pt x="502940" y="0"/>
                    <a:pt x="648000" y="145060"/>
                    <a:pt x="648000" y="324000"/>
                  </a:cubicBezTo>
                  <a:cubicBezTo>
                    <a:pt x="648000" y="502940"/>
                    <a:pt x="502940" y="648000"/>
                    <a:pt x="324000" y="648000"/>
                  </a:cubicBezTo>
                  <a:cubicBezTo>
                    <a:pt x="145060" y="648000"/>
                    <a:pt x="0" y="502940"/>
                    <a:pt x="0" y="324000"/>
                  </a:cubicBezTo>
                  <a:cubicBezTo>
                    <a:pt x="0" y="145060"/>
                    <a:pt x="145060" y="0"/>
                    <a:pt x="324000" y="0"/>
                  </a:cubicBezTo>
                  <a:close/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</p:spPr>
        </p:pic>
        <p:sp>
          <p:nvSpPr>
            <p:cNvPr id="286" name="矩形 285">
              <a:extLst>
                <a:ext uri="{FF2B5EF4-FFF2-40B4-BE49-F238E27FC236}">
                  <a16:creationId xmlns:a16="http://schemas.microsoft.com/office/drawing/2014/main" id="{46767D6D-EEA3-4ECA-9A8A-F3CE46852BAF}"/>
                </a:ext>
              </a:extLst>
            </p:cNvPr>
            <p:cNvSpPr/>
            <p:nvPr/>
          </p:nvSpPr>
          <p:spPr>
            <a:xfrm>
              <a:off x="4978720" y="3706257"/>
              <a:ext cx="843630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 fontAlgn="base">
                <a:spcBef>
                  <a:spcPts val="800"/>
                </a:spcBef>
                <a:spcAft>
                  <a:spcPct val="0"/>
                </a:spcAft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无人货车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87" name="矩形 286">
              <a:extLst>
                <a:ext uri="{FF2B5EF4-FFF2-40B4-BE49-F238E27FC236}">
                  <a16:creationId xmlns:a16="http://schemas.microsoft.com/office/drawing/2014/main" id="{96534192-59D9-460A-8EA6-475763A5B5D4}"/>
                </a:ext>
              </a:extLst>
            </p:cNvPr>
            <p:cNvSpPr/>
            <p:nvPr/>
          </p:nvSpPr>
          <p:spPr>
            <a:xfrm>
              <a:off x="5114153" y="2546629"/>
              <a:ext cx="518712" cy="244463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32">
                <a:buClr>
                  <a:srgbClr val="C81423"/>
                </a:buClr>
                <a:buSzPct val="75000"/>
                <a:defRPr/>
              </a:pPr>
              <a:r>
                <a:rPr lang="zh-CN" altLang="en-US" sz="13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运输</a:t>
              </a:r>
            </a:p>
          </p:txBody>
        </p:sp>
      </p:grpSp>
      <p:grpSp>
        <p:nvGrpSpPr>
          <p:cNvPr id="288" name="组合 287">
            <a:extLst>
              <a:ext uri="{FF2B5EF4-FFF2-40B4-BE49-F238E27FC236}">
                <a16:creationId xmlns:a16="http://schemas.microsoft.com/office/drawing/2014/main" id="{C568F58E-1B4C-4857-967E-945D0DCD075A}"/>
              </a:ext>
            </a:extLst>
          </p:cNvPr>
          <p:cNvGrpSpPr/>
          <p:nvPr/>
        </p:nvGrpSpPr>
        <p:grpSpPr>
          <a:xfrm>
            <a:off x="8559068" y="2458680"/>
            <a:ext cx="1365701" cy="2370477"/>
            <a:chOff x="5678136" y="2546629"/>
            <a:chExt cx="1024276" cy="1777858"/>
          </a:xfrm>
        </p:grpSpPr>
        <p:pic>
          <p:nvPicPr>
            <p:cNvPr id="289" name="图片 288">
              <a:extLst>
                <a:ext uri="{FF2B5EF4-FFF2-40B4-BE49-F238E27FC236}">
                  <a16:creationId xmlns:a16="http://schemas.microsoft.com/office/drawing/2014/main" id="{65C4451F-2573-4ABD-8C36-90EB21EC9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71" t="230" r="9956" b="230"/>
            <a:stretch>
              <a:fillRect/>
            </a:stretch>
          </p:blipFill>
          <p:spPr>
            <a:xfrm>
              <a:off x="5992282" y="3704323"/>
              <a:ext cx="395984" cy="395984"/>
            </a:xfrm>
            <a:custGeom>
              <a:avLst/>
              <a:gdLst>
                <a:gd name="connsiteX0" fmla="*/ 324000 w 648000"/>
                <a:gd name="connsiteY0" fmla="*/ 0 h 648000"/>
                <a:gd name="connsiteX1" fmla="*/ 648000 w 648000"/>
                <a:gd name="connsiteY1" fmla="*/ 324000 h 648000"/>
                <a:gd name="connsiteX2" fmla="*/ 324000 w 648000"/>
                <a:gd name="connsiteY2" fmla="*/ 648000 h 648000"/>
                <a:gd name="connsiteX3" fmla="*/ 0 w 648000"/>
                <a:gd name="connsiteY3" fmla="*/ 324000 h 648000"/>
                <a:gd name="connsiteX4" fmla="*/ 324000 w 648000"/>
                <a:gd name="connsiteY4" fmla="*/ 0 h 6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000" h="648000">
                  <a:moveTo>
                    <a:pt x="324000" y="0"/>
                  </a:moveTo>
                  <a:cubicBezTo>
                    <a:pt x="502940" y="0"/>
                    <a:pt x="648000" y="145060"/>
                    <a:pt x="648000" y="324000"/>
                  </a:cubicBezTo>
                  <a:cubicBezTo>
                    <a:pt x="648000" y="502940"/>
                    <a:pt x="502940" y="648000"/>
                    <a:pt x="324000" y="648000"/>
                  </a:cubicBezTo>
                  <a:cubicBezTo>
                    <a:pt x="145060" y="648000"/>
                    <a:pt x="0" y="502940"/>
                    <a:pt x="0" y="324000"/>
                  </a:cubicBezTo>
                  <a:cubicBezTo>
                    <a:pt x="0" y="145060"/>
                    <a:pt x="145060" y="0"/>
                    <a:pt x="324000" y="0"/>
                  </a:cubicBezTo>
                  <a:close/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</p:spPr>
        </p:pic>
        <p:pic>
          <p:nvPicPr>
            <p:cNvPr id="290" name="图片 289">
              <a:extLst>
                <a:ext uri="{FF2B5EF4-FFF2-40B4-BE49-F238E27FC236}">
                  <a16:creationId xmlns:a16="http://schemas.microsoft.com/office/drawing/2014/main" id="{FB705C89-74B3-4FE4-A3F5-1F0CAB3317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rcRect l="7638" t="8000" r="7638" b="8000"/>
            <a:stretch>
              <a:fillRect/>
            </a:stretch>
          </p:blipFill>
          <p:spPr>
            <a:xfrm>
              <a:off x="5992282" y="2860443"/>
              <a:ext cx="395984" cy="395984"/>
            </a:xfrm>
            <a:custGeom>
              <a:avLst/>
              <a:gdLst>
                <a:gd name="connsiteX0" fmla="*/ 324000 w 648000"/>
                <a:gd name="connsiteY0" fmla="*/ 0 h 648000"/>
                <a:gd name="connsiteX1" fmla="*/ 648000 w 648000"/>
                <a:gd name="connsiteY1" fmla="*/ 324000 h 648000"/>
                <a:gd name="connsiteX2" fmla="*/ 324000 w 648000"/>
                <a:gd name="connsiteY2" fmla="*/ 648000 h 648000"/>
                <a:gd name="connsiteX3" fmla="*/ 0 w 648000"/>
                <a:gd name="connsiteY3" fmla="*/ 324000 h 648000"/>
                <a:gd name="connsiteX4" fmla="*/ 324000 w 648000"/>
                <a:gd name="connsiteY4" fmla="*/ 0 h 6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000" h="648000">
                  <a:moveTo>
                    <a:pt x="324000" y="0"/>
                  </a:moveTo>
                  <a:cubicBezTo>
                    <a:pt x="502940" y="0"/>
                    <a:pt x="648000" y="145060"/>
                    <a:pt x="648000" y="324000"/>
                  </a:cubicBezTo>
                  <a:cubicBezTo>
                    <a:pt x="648000" y="502940"/>
                    <a:pt x="502940" y="648000"/>
                    <a:pt x="324000" y="648000"/>
                  </a:cubicBezTo>
                  <a:cubicBezTo>
                    <a:pt x="145060" y="648000"/>
                    <a:pt x="0" y="502940"/>
                    <a:pt x="0" y="324000"/>
                  </a:cubicBezTo>
                  <a:cubicBezTo>
                    <a:pt x="0" y="145060"/>
                    <a:pt x="145060" y="0"/>
                    <a:pt x="324000" y="0"/>
                  </a:cubicBezTo>
                  <a:close/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</p:spPr>
        </p:pic>
        <p:sp>
          <p:nvSpPr>
            <p:cNvPr id="291" name="矩形 290">
              <a:extLst>
                <a:ext uri="{FF2B5EF4-FFF2-40B4-BE49-F238E27FC236}">
                  <a16:creationId xmlns:a16="http://schemas.microsoft.com/office/drawing/2014/main" id="{E23289CB-5107-45FC-8078-FD1943C986CF}"/>
                </a:ext>
              </a:extLst>
            </p:cNvPr>
            <p:cNvSpPr/>
            <p:nvPr/>
          </p:nvSpPr>
          <p:spPr>
            <a:xfrm>
              <a:off x="5678136" y="4197529"/>
              <a:ext cx="1024276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 fontAlgn="base">
                <a:spcAft>
                  <a:spcPct val="0"/>
                </a:spcAft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机器人分拣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92" name="矩形 291">
              <a:extLst>
                <a:ext uri="{FF2B5EF4-FFF2-40B4-BE49-F238E27FC236}">
                  <a16:creationId xmlns:a16="http://schemas.microsoft.com/office/drawing/2014/main" id="{8902EAC0-305B-44ED-9514-A7A306CC5BF8}"/>
                </a:ext>
              </a:extLst>
            </p:cNvPr>
            <p:cNvSpPr/>
            <p:nvPr/>
          </p:nvSpPr>
          <p:spPr>
            <a:xfrm>
              <a:off x="5768459" y="3346438"/>
              <a:ext cx="843630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 fontAlgn="base">
                <a:spcAft>
                  <a:spcPct val="0"/>
                </a:spcAft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自动化分拣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93" name="矩形 292">
              <a:extLst>
                <a:ext uri="{FF2B5EF4-FFF2-40B4-BE49-F238E27FC236}">
                  <a16:creationId xmlns:a16="http://schemas.microsoft.com/office/drawing/2014/main" id="{CDE699F2-040F-402E-A612-8A38E0A4B0F0}"/>
                </a:ext>
              </a:extLst>
            </p:cNvPr>
            <p:cNvSpPr/>
            <p:nvPr/>
          </p:nvSpPr>
          <p:spPr>
            <a:xfrm>
              <a:off x="5930917" y="2546629"/>
              <a:ext cx="518712" cy="244463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32">
                <a:buClr>
                  <a:srgbClr val="C81423"/>
                </a:buClr>
                <a:buSzPct val="75000"/>
                <a:defRPr/>
              </a:pPr>
              <a:r>
                <a:rPr lang="zh-CN" altLang="en-US" sz="13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分拣</a:t>
              </a:r>
            </a:p>
          </p:txBody>
        </p:sp>
      </p:grpSp>
      <p:grpSp>
        <p:nvGrpSpPr>
          <p:cNvPr id="294" name="组合 293">
            <a:extLst>
              <a:ext uri="{FF2B5EF4-FFF2-40B4-BE49-F238E27FC236}">
                <a16:creationId xmlns:a16="http://schemas.microsoft.com/office/drawing/2014/main" id="{D180E7B4-C700-4D2B-A8B5-49999066C730}"/>
              </a:ext>
            </a:extLst>
          </p:cNvPr>
          <p:cNvGrpSpPr/>
          <p:nvPr/>
        </p:nvGrpSpPr>
        <p:grpSpPr>
          <a:xfrm>
            <a:off x="10014765" y="2491586"/>
            <a:ext cx="1414515" cy="2370477"/>
            <a:chOff x="6648668" y="2546629"/>
            <a:chExt cx="1060886" cy="1777858"/>
          </a:xfrm>
        </p:grpSpPr>
        <p:pic>
          <p:nvPicPr>
            <p:cNvPr id="295" name="图片 294">
              <a:extLst>
                <a:ext uri="{FF2B5EF4-FFF2-40B4-BE49-F238E27FC236}">
                  <a16:creationId xmlns:a16="http://schemas.microsoft.com/office/drawing/2014/main" id="{5E152F5E-8904-434A-9CFC-271F1B735E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691" t="40609" r="46230" b="32305"/>
            <a:stretch>
              <a:fillRect/>
            </a:stretch>
          </p:blipFill>
          <p:spPr>
            <a:xfrm>
              <a:off x="6987802" y="3704323"/>
              <a:ext cx="395984" cy="395984"/>
            </a:xfrm>
            <a:custGeom>
              <a:avLst/>
              <a:gdLst>
                <a:gd name="connsiteX0" fmla="*/ 324000 w 648000"/>
                <a:gd name="connsiteY0" fmla="*/ 0 h 648000"/>
                <a:gd name="connsiteX1" fmla="*/ 648000 w 648000"/>
                <a:gd name="connsiteY1" fmla="*/ 324000 h 648000"/>
                <a:gd name="connsiteX2" fmla="*/ 324000 w 648000"/>
                <a:gd name="connsiteY2" fmla="*/ 648000 h 648000"/>
                <a:gd name="connsiteX3" fmla="*/ 0 w 648000"/>
                <a:gd name="connsiteY3" fmla="*/ 324000 h 648000"/>
                <a:gd name="connsiteX4" fmla="*/ 324000 w 648000"/>
                <a:gd name="connsiteY4" fmla="*/ 0 h 6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000" h="648000">
                  <a:moveTo>
                    <a:pt x="324000" y="0"/>
                  </a:moveTo>
                  <a:cubicBezTo>
                    <a:pt x="502940" y="0"/>
                    <a:pt x="648000" y="145060"/>
                    <a:pt x="648000" y="324000"/>
                  </a:cubicBezTo>
                  <a:cubicBezTo>
                    <a:pt x="648000" y="502940"/>
                    <a:pt x="502940" y="648000"/>
                    <a:pt x="324000" y="648000"/>
                  </a:cubicBezTo>
                  <a:cubicBezTo>
                    <a:pt x="145060" y="648000"/>
                    <a:pt x="0" y="502940"/>
                    <a:pt x="0" y="324000"/>
                  </a:cubicBezTo>
                  <a:cubicBezTo>
                    <a:pt x="0" y="145060"/>
                    <a:pt x="145060" y="0"/>
                    <a:pt x="324000" y="0"/>
                  </a:cubicBezTo>
                  <a:close/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</p:spPr>
        </p:pic>
        <p:pic>
          <p:nvPicPr>
            <p:cNvPr id="296" name="图片 295">
              <a:extLst>
                <a:ext uri="{FF2B5EF4-FFF2-40B4-BE49-F238E27FC236}">
                  <a16:creationId xmlns:a16="http://schemas.microsoft.com/office/drawing/2014/main" id="{6945EFEC-D71E-4FA9-8EB9-F726754BB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rcRect l="20253" t="14713" r="22320" b="10820"/>
            <a:stretch>
              <a:fillRect/>
            </a:stretch>
          </p:blipFill>
          <p:spPr>
            <a:xfrm>
              <a:off x="6987802" y="2860443"/>
              <a:ext cx="395984" cy="395984"/>
            </a:xfrm>
            <a:custGeom>
              <a:avLst/>
              <a:gdLst>
                <a:gd name="connsiteX0" fmla="*/ 324000 w 648000"/>
                <a:gd name="connsiteY0" fmla="*/ 0 h 648000"/>
                <a:gd name="connsiteX1" fmla="*/ 648000 w 648000"/>
                <a:gd name="connsiteY1" fmla="*/ 324000 h 648000"/>
                <a:gd name="connsiteX2" fmla="*/ 324000 w 648000"/>
                <a:gd name="connsiteY2" fmla="*/ 648000 h 648000"/>
                <a:gd name="connsiteX3" fmla="*/ 0 w 648000"/>
                <a:gd name="connsiteY3" fmla="*/ 324000 h 648000"/>
                <a:gd name="connsiteX4" fmla="*/ 324000 w 648000"/>
                <a:gd name="connsiteY4" fmla="*/ 0 h 6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8000" h="648000">
                  <a:moveTo>
                    <a:pt x="324000" y="0"/>
                  </a:moveTo>
                  <a:cubicBezTo>
                    <a:pt x="502940" y="0"/>
                    <a:pt x="648000" y="145060"/>
                    <a:pt x="648000" y="324000"/>
                  </a:cubicBezTo>
                  <a:cubicBezTo>
                    <a:pt x="648000" y="502940"/>
                    <a:pt x="502940" y="648000"/>
                    <a:pt x="324000" y="648000"/>
                  </a:cubicBezTo>
                  <a:cubicBezTo>
                    <a:pt x="145060" y="648000"/>
                    <a:pt x="0" y="502940"/>
                    <a:pt x="0" y="324000"/>
                  </a:cubicBezTo>
                  <a:cubicBezTo>
                    <a:pt x="0" y="145060"/>
                    <a:pt x="145060" y="0"/>
                    <a:pt x="324000" y="0"/>
                  </a:cubicBezTo>
                  <a:close/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</p:spPr>
        </p:pic>
        <p:sp>
          <p:nvSpPr>
            <p:cNvPr id="297" name="矩形 296">
              <a:extLst>
                <a:ext uri="{FF2B5EF4-FFF2-40B4-BE49-F238E27FC236}">
                  <a16:creationId xmlns:a16="http://schemas.microsoft.com/office/drawing/2014/main" id="{7795B8A2-ADD9-4E11-8011-FE3CF6380BBF}"/>
                </a:ext>
              </a:extLst>
            </p:cNvPr>
            <p:cNvSpPr/>
            <p:nvPr/>
          </p:nvSpPr>
          <p:spPr>
            <a:xfrm>
              <a:off x="6648668" y="4197529"/>
              <a:ext cx="1060886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 fontAlgn="base">
                <a:spcAft>
                  <a:spcPct val="0"/>
                </a:spcAft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无人配送车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98" name="矩形 297">
              <a:extLst>
                <a:ext uri="{FF2B5EF4-FFF2-40B4-BE49-F238E27FC236}">
                  <a16:creationId xmlns:a16="http://schemas.microsoft.com/office/drawing/2014/main" id="{9D25155E-79DE-49F2-A75C-D561219B4849}"/>
                </a:ext>
              </a:extLst>
            </p:cNvPr>
            <p:cNvSpPr/>
            <p:nvPr/>
          </p:nvSpPr>
          <p:spPr>
            <a:xfrm>
              <a:off x="6648668" y="3346438"/>
              <a:ext cx="1060886" cy="12695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>
              <a:spAutoFit/>
            </a:bodyPr>
            <a:lstStyle/>
            <a:p>
              <a:pPr marL="2116" lvl="1" algn="ctr" defTabSz="1193711" fontAlgn="base">
                <a:spcAft>
                  <a:spcPct val="0"/>
                </a:spcAft>
                <a:buClr>
                  <a:srgbClr val="C00000"/>
                </a:buClr>
                <a:buSzPct val="125000"/>
                <a:defRPr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无人机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99" name="矩形 298">
              <a:extLst>
                <a:ext uri="{FF2B5EF4-FFF2-40B4-BE49-F238E27FC236}">
                  <a16:creationId xmlns:a16="http://schemas.microsoft.com/office/drawing/2014/main" id="{A0E40E69-AB85-44CA-A2A3-8648789F5795}"/>
                </a:ext>
              </a:extLst>
            </p:cNvPr>
            <p:cNvSpPr/>
            <p:nvPr/>
          </p:nvSpPr>
          <p:spPr>
            <a:xfrm>
              <a:off x="6926438" y="2546629"/>
              <a:ext cx="518712" cy="244463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32">
                <a:buClr>
                  <a:srgbClr val="C81423"/>
                </a:buClr>
                <a:buSzPct val="75000"/>
                <a:defRPr/>
              </a:pPr>
              <a:r>
                <a:rPr lang="zh-CN" altLang="en-US" sz="1300" b="1" kern="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配送</a:t>
              </a:r>
            </a:p>
          </p:txBody>
        </p:sp>
      </p:grpSp>
      <p:sp>
        <p:nvSpPr>
          <p:cNvPr id="300" name="矩形 299">
            <a:extLst>
              <a:ext uri="{FF2B5EF4-FFF2-40B4-BE49-F238E27FC236}">
                <a16:creationId xmlns:a16="http://schemas.microsoft.com/office/drawing/2014/main" id="{2B74F9B4-7E3F-44E1-A1F4-2693BF6E1D09}"/>
              </a:ext>
            </a:extLst>
          </p:cNvPr>
          <p:cNvSpPr/>
          <p:nvPr/>
        </p:nvSpPr>
        <p:spPr>
          <a:xfrm>
            <a:off x="9946438" y="2472183"/>
            <a:ext cx="356188" cy="2974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32">
              <a:defRPr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→</a:t>
            </a:r>
          </a:p>
        </p:txBody>
      </p:sp>
      <p:sp>
        <p:nvSpPr>
          <p:cNvPr id="301" name="矩形 300">
            <a:extLst>
              <a:ext uri="{FF2B5EF4-FFF2-40B4-BE49-F238E27FC236}">
                <a16:creationId xmlns:a16="http://schemas.microsoft.com/office/drawing/2014/main" id="{CD83B783-E189-4B30-BAF1-B7633D1E7F8A}"/>
              </a:ext>
            </a:extLst>
          </p:cNvPr>
          <p:cNvSpPr/>
          <p:nvPr/>
        </p:nvSpPr>
        <p:spPr>
          <a:xfrm>
            <a:off x="7490783" y="2472183"/>
            <a:ext cx="356188" cy="2974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32">
              <a:defRPr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→</a:t>
            </a:r>
          </a:p>
        </p:txBody>
      </p:sp>
      <p:sp>
        <p:nvSpPr>
          <p:cNvPr id="302" name="矩形 301">
            <a:extLst>
              <a:ext uri="{FF2B5EF4-FFF2-40B4-BE49-F238E27FC236}">
                <a16:creationId xmlns:a16="http://schemas.microsoft.com/office/drawing/2014/main" id="{9E0FC9E3-580A-4F70-9731-0E458B90B78F}"/>
              </a:ext>
            </a:extLst>
          </p:cNvPr>
          <p:cNvSpPr/>
          <p:nvPr/>
        </p:nvSpPr>
        <p:spPr>
          <a:xfrm>
            <a:off x="8491499" y="2472183"/>
            <a:ext cx="356188" cy="2974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32">
              <a:defRPr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→</a:t>
            </a:r>
          </a:p>
        </p:txBody>
      </p:sp>
      <p:sp>
        <p:nvSpPr>
          <p:cNvPr id="303" name="矩形 302">
            <a:extLst>
              <a:ext uri="{FF2B5EF4-FFF2-40B4-BE49-F238E27FC236}">
                <a16:creationId xmlns:a16="http://schemas.microsoft.com/office/drawing/2014/main" id="{B8B9C9DA-0A32-4A7D-A664-D71A8C708C7C}"/>
              </a:ext>
            </a:extLst>
          </p:cNvPr>
          <p:cNvSpPr/>
          <p:nvPr/>
        </p:nvSpPr>
        <p:spPr>
          <a:xfrm>
            <a:off x="2099047" y="2368691"/>
            <a:ext cx="5320616" cy="2576596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/>
          </a:p>
        </p:txBody>
      </p:sp>
      <p:sp>
        <p:nvSpPr>
          <p:cNvPr id="304" name="矩形 303">
            <a:extLst>
              <a:ext uri="{FF2B5EF4-FFF2-40B4-BE49-F238E27FC236}">
                <a16:creationId xmlns:a16="http://schemas.microsoft.com/office/drawing/2014/main" id="{83F257ED-CA60-4F24-B589-E69DDDBDC2E7}"/>
              </a:ext>
            </a:extLst>
          </p:cNvPr>
          <p:cNvSpPr/>
          <p:nvPr/>
        </p:nvSpPr>
        <p:spPr>
          <a:xfrm>
            <a:off x="7586924" y="2361107"/>
            <a:ext cx="2205285" cy="2576596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/>
          </a:p>
        </p:txBody>
      </p:sp>
      <p:sp>
        <p:nvSpPr>
          <p:cNvPr id="305" name="矩形 304">
            <a:extLst>
              <a:ext uri="{FF2B5EF4-FFF2-40B4-BE49-F238E27FC236}">
                <a16:creationId xmlns:a16="http://schemas.microsoft.com/office/drawing/2014/main" id="{C947B107-E4B8-4FB1-9D53-F9A0DB887EBE}"/>
              </a:ext>
            </a:extLst>
          </p:cNvPr>
          <p:cNvSpPr/>
          <p:nvPr/>
        </p:nvSpPr>
        <p:spPr>
          <a:xfrm>
            <a:off x="9931292" y="2394747"/>
            <a:ext cx="1365701" cy="2576596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/>
          </a:p>
        </p:txBody>
      </p:sp>
      <p:sp>
        <p:nvSpPr>
          <p:cNvPr id="306" name="矩形 305">
            <a:extLst>
              <a:ext uri="{FF2B5EF4-FFF2-40B4-BE49-F238E27FC236}">
                <a16:creationId xmlns:a16="http://schemas.microsoft.com/office/drawing/2014/main" id="{D68FE29C-5152-4CD7-8A87-B99F9AB6500D}"/>
              </a:ext>
            </a:extLst>
          </p:cNvPr>
          <p:cNvSpPr/>
          <p:nvPr/>
        </p:nvSpPr>
        <p:spPr>
          <a:xfrm>
            <a:off x="4566109" y="2142985"/>
            <a:ext cx="595035" cy="33855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lIns="91436" tIns="45718" rIns="91436" bIns="45718">
            <a:spAutoFit/>
          </a:bodyPr>
          <a:lstStyle/>
          <a:p>
            <a:pPr algn="ctr" defTabSz="914332">
              <a:buClr>
                <a:srgbClr val="C81423"/>
              </a:buClr>
              <a:buSzPct val="75000"/>
              <a:defRPr/>
            </a:pP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仓储</a:t>
            </a:r>
          </a:p>
        </p:txBody>
      </p:sp>
      <p:sp>
        <p:nvSpPr>
          <p:cNvPr id="307" name="矩形 306">
            <a:extLst>
              <a:ext uri="{FF2B5EF4-FFF2-40B4-BE49-F238E27FC236}">
                <a16:creationId xmlns:a16="http://schemas.microsoft.com/office/drawing/2014/main" id="{33AF0F36-F495-4C81-A706-5F719F73529A}"/>
              </a:ext>
            </a:extLst>
          </p:cNvPr>
          <p:cNvSpPr/>
          <p:nvPr/>
        </p:nvSpPr>
        <p:spPr>
          <a:xfrm>
            <a:off x="8275037" y="2142985"/>
            <a:ext cx="800219" cy="33855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lIns="91436" tIns="45718" rIns="91436" bIns="45718">
            <a:spAutoFit/>
          </a:bodyPr>
          <a:lstStyle/>
          <a:p>
            <a:pPr algn="ctr" defTabSz="914332">
              <a:buClr>
                <a:srgbClr val="C81423"/>
              </a:buClr>
              <a:buSzPct val="75000"/>
              <a:defRPr/>
            </a:pP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干支线</a:t>
            </a:r>
          </a:p>
        </p:txBody>
      </p:sp>
      <p:sp>
        <p:nvSpPr>
          <p:cNvPr id="308" name="矩形 307">
            <a:extLst>
              <a:ext uri="{FF2B5EF4-FFF2-40B4-BE49-F238E27FC236}">
                <a16:creationId xmlns:a16="http://schemas.microsoft.com/office/drawing/2014/main" id="{3F4FB24A-F53B-4470-BC0F-E77CE2CCBE3D}"/>
              </a:ext>
            </a:extLst>
          </p:cNvPr>
          <p:cNvSpPr/>
          <p:nvPr/>
        </p:nvSpPr>
        <p:spPr>
          <a:xfrm>
            <a:off x="10316625" y="2142429"/>
            <a:ext cx="595035" cy="33855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lIns="91436" tIns="45718" rIns="91436" bIns="45718">
            <a:spAutoFit/>
          </a:bodyPr>
          <a:lstStyle/>
          <a:p>
            <a:pPr algn="ctr" defTabSz="914332">
              <a:buClr>
                <a:srgbClr val="C81423"/>
              </a:buClr>
              <a:buSzPct val="75000"/>
              <a:defRPr/>
            </a:pPr>
            <a:r>
              <a:rPr lang="zh-CN" altLang="en-US" sz="1600" b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末端</a:t>
            </a:r>
          </a:p>
        </p:txBody>
      </p:sp>
      <p:grpSp>
        <p:nvGrpSpPr>
          <p:cNvPr id="309" name="组合 308">
            <a:extLst>
              <a:ext uri="{FF2B5EF4-FFF2-40B4-BE49-F238E27FC236}">
                <a16:creationId xmlns:a16="http://schemas.microsoft.com/office/drawing/2014/main" id="{972A4154-F2E5-48B1-958F-D8B8DF23FE2F}"/>
              </a:ext>
            </a:extLst>
          </p:cNvPr>
          <p:cNvGrpSpPr/>
          <p:nvPr/>
        </p:nvGrpSpPr>
        <p:grpSpPr>
          <a:xfrm>
            <a:off x="6606665" y="978040"/>
            <a:ext cx="547200" cy="547200"/>
            <a:chOff x="1904125" y="1678094"/>
            <a:chExt cx="410400" cy="410400"/>
          </a:xfrm>
        </p:grpSpPr>
        <p:sp>
          <p:nvSpPr>
            <p:cNvPr id="310" name="椭圆 309">
              <a:extLst>
                <a:ext uri="{FF2B5EF4-FFF2-40B4-BE49-F238E27FC236}">
                  <a16:creationId xmlns:a16="http://schemas.microsoft.com/office/drawing/2014/main" id="{F215692F-D94D-4946-A1BE-81A53036E1E3}"/>
                </a:ext>
              </a:extLst>
            </p:cNvPr>
            <p:cNvSpPr/>
            <p:nvPr/>
          </p:nvSpPr>
          <p:spPr>
            <a:xfrm>
              <a:off x="1904125" y="1678094"/>
              <a:ext cx="410400" cy="410400"/>
            </a:xfrm>
            <a:prstGeom prst="ellipse">
              <a:avLst/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>
              <a:glow rad="38100">
                <a:sysClr val="window" lastClr="FFFFFF">
                  <a:alpha val="60000"/>
                </a:sysClr>
              </a:glow>
            </a:effectLst>
          </p:spPr>
          <p:txBody>
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47632" indent="-247632" algn="ctr" defTabSz="1219110">
                <a:buClr>
                  <a:srgbClr val="C81423"/>
                </a:buClr>
                <a:buSzPct val="75000"/>
                <a:buFont typeface="Wingdings" panose="05000000000000000000" pitchFamily="2" charset="2"/>
                <a:buChar char="n"/>
                <a:defRPr/>
              </a:pPr>
              <a:endParaRPr lang="zh-CN" altLang="en-US" sz="2500" kern="0" dirty="0">
                <a:solidFill>
                  <a:prstClr val="black"/>
                </a:solidFill>
                <a:latin typeface="Arial" panose="020B0604020202020204" pitchFamily="34" charset="0"/>
                <a:ea typeface="楷体" panose="02010609060101010101" pitchFamily="49" charset="-122"/>
              </a:endParaRPr>
            </a:p>
          </p:txBody>
        </p:sp>
        <p:pic>
          <p:nvPicPr>
            <p:cNvPr id="311" name="图片 310">
              <a:extLst>
                <a:ext uri="{FF2B5EF4-FFF2-40B4-BE49-F238E27FC236}">
                  <a16:creationId xmlns:a16="http://schemas.microsoft.com/office/drawing/2014/main" id="{92A46D48-C212-4379-A06B-0B1F15168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51948" y="1704965"/>
              <a:ext cx="355716" cy="355716"/>
            </a:xfrm>
            <a:prstGeom prst="rect">
              <a:avLst/>
            </a:prstGeom>
          </p:spPr>
        </p:pic>
      </p:grpSp>
      <p:sp>
        <p:nvSpPr>
          <p:cNvPr id="312" name="矩形 311">
            <a:extLst>
              <a:ext uri="{FF2B5EF4-FFF2-40B4-BE49-F238E27FC236}">
                <a16:creationId xmlns:a16="http://schemas.microsoft.com/office/drawing/2014/main" id="{51B89342-CF78-475C-B797-61FFAEA8F2B1}"/>
              </a:ext>
            </a:extLst>
          </p:cNvPr>
          <p:cNvSpPr/>
          <p:nvPr/>
        </p:nvSpPr>
        <p:spPr>
          <a:xfrm>
            <a:off x="2204717" y="1509245"/>
            <a:ext cx="975528" cy="36536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60957" rIns="0" bIns="609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buClr>
                <a:srgbClr val="C81423"/>
              </a:buClr>
              <a:buSzPct val="75000"/>
            </a:pPr>
            <a:r>
              <a:rPr lang="zh-CN" altLang="en-US" sz="13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智慧分仓</a:t>
            </a:r>
            <a:endParaRPr lang="en-US" altLang="zh-CN" sz="1300" b="1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13" name="图片 312">
            <a:extLst>
              <a:ext uri="{FF2B5EF4-FFF2-40B4-BE49-F238E27FC236}">
                <a16:creationId xmlns:a16="http://schemas.microsoft.com/office/drawing/2014/main" id="{70D878CF-B03A-4626-959A-5FE6CC179095}"/>
              </a:ext>
            </a:extLst>
          </p:cNvPr>
          <p:cNvPicPr>
            <a:picLocks noChangeAspect="1"/>
          </p:cNvPicPr>
          <p:nvPr/>
        </p:nvPicPr>
        <p:blipFill>
          <a:blip r:embed="rId22"/>
          <a:srcRect l="18421" t="14505" r="18957" b="19539"/>
          <a:stretch>
            <a:fillRect/>
          </a:stretch>
        </p:blipFill>
        <p:spPr>
          <a:xfrm>
            <a:off x="9360363" y="983385"/>
            <a:ext cx="547200" cy="547200"/>
          </a:xfrm>
          <a:custGeom>
            <a:avLst/>
            <a:gdLst>
              <a:gd name="connsiteX0" fmla="*/ 679557 w 1359114"/>
              <a:gd name="connsiteY0" fmla="*/ 0 h 1359114"/>
              <a:gd name="connsiteX1" fmla="*/ 1359114 w 1359114"/>
              <a:gd name="connsiteY1" fmla="*/ 679557 h 1359114"/>
              <a:gd name="connsiteX2" fmla="*/ 679557 w 1359114"/>
              <a:gd name="connsiteY2" fmla="*/ 1359114 h 1359114"/>
              <a:gd name="connsiteX3" fmla="*/ 0 w 1359114"/>
              <a:gd name="connsiteY3" fmla="*/ 679557 h 1359114"/>
              <a:gd name="connsiteX4" fmla="*/ 679557 w 1359114"/>
              <a:gd name="connsiteY4" fmla="*/ 0 h 135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9114" h="1359114">
                <a:moveTo>
                  <a:pt x="679557" y="0"/>
                </a:moveTo>
                <a:cubicBezTo>
                  <a:pt x="1054866" y="0"/>
                  <a:pt x="1359114" y="304248"/>
                  <a:pt x="1359114" y="679557"/>
                </a:cubicBezTo>
                <a:cubicBezTo>
                  <a:pt x="1359114" y="1054866"/>
                  <a:pt x="1054866" y="1359114"/>
                  <a:pt x="679557" y="1359114"/>
                </a:cubicBezTo>
                <a:cubicBezTo>
                  <a:pt x="304248" y="1359114"/>
                  <a:pt x="0" y="1054866"/>
                  <a:pt x="0" y="679557"/>
                </a:cubicBezTo>
                <a:cubicBezTo>
                  <a:pt x="0" y="304248"/>
                  <a:pt x="304248" y="0"/>
                  <a:pt x="679557" y="0"/>
                </a:cubicBez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  <a:effectLst>
            <a:glow rad="38100">
              <a:sysClr val="window" lastClr="FFFFFF">
                <a:alpha val="60000"/>
              </a:sysClr>
            </a:glow>
          </a:effectLst>
        </p:spPr>
      </p:pic>
      <p:sp>
        <p:nvSpPr>
          <p:cNvPr id="314" name="矩形 313">
            <a:extLst>
              <a:ext uri="{FF2B5EF4-FFF2-40B4-BE49-F238E27FC236}">
                <a16:creationId xmlns:a16="http://schemas.microsoft.com/office/drawing/2014/main" id="{ED2AE308-D336-4A84-A940-89FE10C9DCCF}"/>
              </a:ext>
            </a:extLst>
          </p:cNvPr>
          <p:cNvSpPr/>
          <p:nvPr/>
        </p:nvSpPr>
        <p:spPr>
          <a:xfrm>
            <a:off x="9148660" y="1548387"/>
            <a:ext cx="975528" cy="36536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60957" rIns="0" bIns="609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buClr>
                <a:srgbClr val="C81423"/>
              </a:buClr>
              <a:buSzPct val="75000"/>
            </a:pPr>
            <a:r>
              <a:rPr lang="zh-CN" altLang="en-US" sz="13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业洞察</a:t>
            </a:r>
            <a:endParaRPr lang="en-US" altLang="zh-CN" sz="1300" b="1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5" name="矩形 314">
            <a:extLst>
              <a:ext uri="{FF2B5EF4-FFF2-40B4-BE49-F238E27FC236}">
                <a16:creationId xmlns:a16="http://schemas.microsoft.com/office/drawing/2014/main" id="{F98817CF-95EF-4F17-94B8-C9C180DF6698}"/>
              </a:ext>
            </a:extLst>
          </p:cNvPr>
          <p:cNvSpPr/>
          <p:nvPr/>
        </p:nvSpPr>
        <p:spPr>
          <a:xfrm>
            <a:off x="4936223" y="1536833"/>
            <a:ext cx="975528" cy="36536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60957" rIns="0" bIns="609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buClr>
                <a:srgbClr val="C81423"/>
              </a:buClr>
              <a:buSzPct val="75000"/>
            </a:pPr>
            <a:r>
              <a:rPr lang="zh-CN" altLang="en-US" sz="13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路径规划</a:t>
            </a:r>
            <a:endParaRPr lang="en-US" altLang="zh-CN" sz="1300" b="1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16" name="组合 315">
            <a:extLst>
              <a:ext uri="{FF2B5EF4-FFF2-40B4-BE49-F238E27FC236}">
                <a16:creationId xmlns:a16="http://schemas.microsoft.com/office/drawing/2014/main" id="{71AF73B4-EA1C-4A7E-BCCA-1D4424E193F3}"/>
              </a:ext>
            </a:extLst>
          </p:cNvPr>
          <p:cNvGrpSpPr/>
          <p:nvPr/>
        </p:nvGrpSpPr>
        <p:grpSpPr>
          <a:xfrm>
            <a:off x="5160316" y="974567"/>
            <a:ext cx="547200" cy="547200"/>
            <a:chOff x="3613062" y="673775"/>
            <a:chExt cx="410400" cy="410400"/>
          </a:xfrm>
        </p:grpSpPr>
        <p:sp>
          <p:nvSpPr>
            <p:cNvPr id="317" name="椭圆 316">
              <a:extLst>
                <a:ext uri="{FF2B5EF4-FFF2-40B4-BE49-F238E27FC236}">
                  <a16:creationId xmlns:a16="http://schemas.microsoft.com/office/drawing/2014/main" id="{7FD38D23-0542-46D8-9ACF-C4ABAE787E27}"/>
                </a:ext>
              </a:extLst>
            </p:cNvPr>
            <p:cNvSpPr/>
            <p:nvPr/>
          </p:nvSpPr>
          <p:spPr>
            <a:xfrm>
              <a:off x="3613062" y="673775"/>
              <a:ext cx="410400" cy="410400"/>
            </a:xfrm>
            <a:prstGeom prst="ellipse">
              <a:avLst/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>
              <a:glow rad="38100">
                <a:sysClr val="window" lastClr="FFFFFF">
                  <a:alpha val="60000"/>
                </a:sysClr>
              </a:glow>
            </a:effectLst>
          </p:spPr>
          <p:txBody>
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47632" indent="-247632" algn="ctr" defTabSz="1219110">
                <a:buClr>
                  <a:srgbClr val="C81423"/>
                </a:buClr>
                <a:buSzPct val="75000"/>
                <a:buFont typeface="Wingdings" panose="05000000000000000000" pitchFamily="2" charset="2"/>
                <a:buChar char="n"/>
                <a:defRPr/>
              </a:pPr>
              <a:endParaRPr lang="zh-CN" altLang="en-US" sz="2500" kern="0" dirty="0">
                <a:solidFill>
                  <a:prstClr val="black"/>
                </a:solidFill>
                <a:latin typeface="Arial" panose="020B0604020202020204" pitchFamily="34" charset="0"/>
                <a:ea typeface="楷体" panose="02010609060101010101" pitchFamily="49" charset="-122"/>
              </a:endParaRPr>
            </a:p>
          </p:txBody>
        </p:sp>
        <p:pic>
          <p:nvPicPr>
            <p:cNvPr id="318" name="图片 317">
              <a:extLst>
                <a:ext uri="{FF2B5EF4-FFF2-40B4-BE49-F238E27FC236}">
                  <a16:creationId xmlns:a16="http://schemas.microsoft.com/office/drawing/2014/main" id="{D300627A-D75A-4E05-9483-5D5D2BD16BA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43210" y="735499"/>
              <a:ext cx="313985" cy="313985"/>
            </a:xfrm>
            <a:prstGeom prst="rect">
              <a:avLst/>
            </a:prstGeom>
          </p:spPr>
        </p:pic>
      </p:grpSp>
      <p:sp>
        <p:nvSpPr>
          <p:cNvPr id="319" name="矩形 318">
            <a:extLst>
              <a:ext uri="{FF2B5EF4-FFF2-40B4-BE49-F238E27FC236}">
                <a16:creationId xmlns:a16="http://schemas.microsoft.com/office/drawing/2014/main" id="{B5BD10B5-0DAD-4C0C-B714-69B6311C9E03}"/>
              </a:ext>
            </a:extLst>
          </p:cNvPr>
          <p:cNvSpPr/>
          <p:nvPr/>
        </p:nvSpPr>
        <p:spPr>
          <a:xfrm>
            <a:off x="6392501" y="1547178"/>
            <a:ext cx="975528" cy="36536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60957" rIns="0" bIns="609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buClr>
                <a:srgbClr val="C81423"/>
              </a:buClr>
              <a:buSzPct val="75000"/>
            </a:pPr>
            <a:r>
              <a:rPr lang="zh-CN" altLang="en-US" sz="13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链路协同</a:t>
            </a:r>
            <a:endParaRPr lang="en-US" altLang="zh-CN" sz="1300" b="1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20" name="组合 319">
            <a:extLst>
              <a:ext uri="{FF2B5EF4-FFF2-40B4-BE49-F238E27FC236}">
                <a16:creationId xmlns:a16="http://schemas.microsoft.com/office/drawing/2014/main" id="{AA73A2F1-6074-4837-B8E5-E8DB3EDEB38E}"/>
              </a:ext>
            </a:extLst>
          </p:cNvPr>
          <p:cNvGrpSpPr/>
          <p:nvPr/>
        </p:nvGrpSpPr>
        <p:grpSpPr>
          <a:xfrm>
            <a:off x="2407753" y="1008991"/>
            <a:ext cx="547200" cy="547200"/>
            <a:chOff x="1685683" y="713240"/>
            <a:chExt cx="410400" cy="410400"/>
          </a:xfrm>
        </p:grpSpPr>
        <p:pic>
          <p:nvPicPr>
            <p:cNvPr id="321" name="图片 320">
              <a:extLst>
                <a:ext uri="{FF2B5EF4-FFF2-40B4-BE49-F238E27FC236}">
                  <a16:creationId xmlns:a16="http://schemas.microsoft.com/office/drawing/2014/main" id="{7D36A7CF-13DF-4973-BC16-8385F1185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0484" y="803790"/>
              <a:ext cx="240798" cy="240798"/>
            </a:xfrm>
            <a:prstGeom prst="rect">
              <a:avLst/>
            </a:prstGeom>
          </p:spPr>
        </p:pic>
        <p:sp>
          <p:nvSpPr>
            <p:cNvPr id="322" name="椭圆 321">
              <a:extLst>
                <a:ext uri="{FF2B5EF4-FFF2-40B4-BE49-F238E27FC236}">
                  <a16:creationId xmlns:a16="http://schemas.microsoft.com/office/drawing/2014/main" id="{905B7599-382A-4B46-BB9B-8B9BF8187C8A}"/>
                </a:ext>
              </a:extLst>
            </p:cNvPr>
            <p:cNvSpPr/>
            <p:nvPr/>
          </p:nvSpPr>
          <p:spPr>
            <a:xfrm>
              <a:off x="1685683" y="713240"/>
              <a:ext cx="410400" cy="410400"/>
            </a:xfrm>
            <a:prstGeom prst="ellipse">
              <a:avLst/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>
              <a:glow rad="38100">
                <a:sysClr val="window" lastClr="FFFFFF">
                  <a:alpha val="60000"/>
                </a:sysClr>
              </a:glow>
            </a:effectLst>
          </p:spPr>
          <p:txBody>
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47632" indent="-247632" algn="ctr" defTabSz="1219110">
                <a:buClr>
                  <a:srgbClr val="C81423"/>
                </a:buClr>
                <a:buSzPct val="75000"/>
                <a:buFont typeface="Wingdings" panose="05000000000000000000" pitchFamily="2" charset="2"/>
                <a:buChar char="n"/>
                <a:defRPr/>
              </a:pPr>
              <a:endParaRPr lang="zh-CN" altLang="en-US" sz="2500" kern="0" dirty="0">
                <a:solidFill>
                  <a:prstClr val="black"/>
                </a:solidFill>
                <a:latin typeface="Arial" panose="020B0604020202020204" pitchFamily="34" charset="0"/>
                <a:ea typeface="楷体" panose="02010609060101010101" pitchFamily="49" charset="-122"/>
              </a:endParaRPr>
            </a:p>
          </p:txBody>
        </p:sp>
      </p:grpSp>
      <p:sp>
        <p:nvSpPr>
          <p:cNvPr id="323" name="椭圆 322">
            <a:extLst>
              <a:ext uri="{FF2B5EF4-FFF2-40B4-BE49-F238E27FC236}">
                <a16:creationId xmlns:a16="http://schemas.microsoft.com/office/drawing/2014/main" id="{948D556E-049E-4A22-A659-D92C05AE742B}"/>
              </a:ext>
            </a:extLst>
          </p:cNvPr>
          <p:cNvSpPr/>
          <p:nvPr/>
        </p:nvSpPr>
        <p:spPr>
          <a:xfrm>
            <a:off x="7929671" y="957425"/>
            <a:ext cx="547200" cy="547200"/>
          </a:xfrm>
          <a:prstGeom prst="ellips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>
            <a:glow rad="38100">
              <a:sysClr val="window" lastClr="FFFFFF">
                <a:alpha val="60000"/>
              </a:sysClr>
            </a:glow>
          </a:effectLst>
        </p:spPr>
        <p:txBody>
          <a:bodyPr rot="0" spcFirstLastPara="0" vertOverflow="overflow" horzOverflow="overflow" vert="horz" wrap="square" lIns="121914" tIns="60957" rIns="121914" bIns="6095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47632" indent="-247632" algn="ctr" defTabSz="1219110">
              <a:buClr>
                <a:srgbClr val="C81423"/>
              </a:buClr>
              <a:buSzPct val="75000"/>
              <a:buFont typeface="Wingdings" panose="05000000000000000000" pitchFamily="2" charset="2"/>
              <a:buChar char="n"/>
              <a:defRPr/>
            </a:pPr>
            <a:endParaRPr lang="zh-CN" altLang="en-US" sz="2500" kern="0" dirty="0">
              <a:solidFill>
                <a:prstClr val="black"/>
              </a:solidFill>
              <a:latin typeface="Arial" panose="020B0604020202020204" pitchFamily="34" charset="0"/>
              <a:ea typeface="楷体" panose="02010609060101010101" pitchFamily="49" charset="-122"/>
            </a:endParaRPr>
          </a:p>
        </p:txBody>
      </p:sp>
      <p:sp>
        <p:nvSpPr>
          <p:cNvPr id="324" name="矩形 323">
            <a:extLst>
              <a:ext uri="{FF2B5EF4-FFF2-40B4-BE49-F238E27FC236}">
                <a16:creationId xmlns:a16="http://schemas.microsoft.com/office/drawing/2014/main" id="{BB14CB1D-74F9-4B70-8F28-F68328A9FC47}"/>
              </a:ext>
            </a:extLst>
          </p:cNvPr>
          <p:cNvSpPr/>
          <p:nvPr/>
        </p:nvSpPr>
        <p:spPr>
          <a:xfrm>
            <a:off x="7749739" y="1536833"/>
            <a:ext cx="975528" cy="36536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60957" rIns="0" bIns="609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buClr>
                <a:srgbClr val="C81423"/>
              </a:buClr>
              <a:buSzPct val="75000"/>
            </a:pPr>
            <a:r>
              <a:rPr lang="zh-CN" altLang="en-US" sz="13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智能调度</a:t>
            </a:r>
            <a:endParaRPr lang="en-US" altLang="zh-CN" sz="1300" b="1" kern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25" name="图片 324" descr="图片包含 物体&#10;&#10;已生成极高可信度的说明">
            <a:extLst>
              <a:ext uri="{FF2B5EF4-FFF2-40B4-BE49-F238E27FC236}">
                <a16:creationId xmlns:a16="http://schemas.microsoft.com/office/drawing/2014/main" id="{7A091650-9AD2-47A2-94A7-1EBA2BC2D21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015" y="1088095"/>
            <a:ext cx="373740" cy="373740"/>
          </a:xfrm>
          <a:prstGeom prst="rect">
            <a:avLst/>
          </a:prstGeom>
        </p:spPr>
      </p:pic>
      <p:sp>
        <p:nvSpPr>
          <p:cNvPr id="326" name="矩形 325">
            <a:extLst>
              <a:ext uri="{FF2B5EF4-FFF2-40B4-BE49-F238E27FC236}">
                <a16:creationId xmlns:a16="http://schemas.microsoft.com/office/drawing/2014/main" id="{7CBC5227-55EE-44CB-9D53-99C1B0E4F58B}"/>
              </a:ext>
            </a:extLst>
          </p:cNvPr>
          <p:cNvSpPr/>
          <p:nvPr/>
        </p:nvSpPr>
        <p:spPr>
          <a:xfrm>
            <a:off x="10267861" y="1263931"/>
            <a:ext cx="975528" cy="36536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60957" rIns="0" bIns="609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buClr>
                <a:srgbClr val="C81423"/>
              </a:buClr>
              <a:buSzPct val="75000"/>
            </a:pPr>
            <a:r>
              <a:rPr lang="en-US" altLang="zh-CN" sz="13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26130949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无界</a:t>
            </a:r>
            <a:r>
              <a:rPr lang="zh-CN" altLang="en-US" dirty="0" smtClean="0">
                <a:latin typeface="+mn-lt"/>
                <a:ea typeface="+mn-ea"/>
                <a:cs typeface="+mn-ea"/>
                <a:sym typeface="+mn-lt"/>
              </a:rPr>
              <a:t>物流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技术市场情况及典型企业</a:t>
            </a:r>
          </a:p>
        </p:txBody>
      </p:sp>
      <p:sp>
        <p:nvSpPr>
          <p:cNvPr id="29" name="文本占位符 2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0" name="文本占位符 2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689267" y="936136"/>
            <a:ext cx="11083636" cy="5398840"/>
            <a:chOff x="430796" y="696813"/>
            <a:chExt cx="8312727" cy="4049130"/>
          </a:xfrm>
        </p:grpSpPr>
        <p:grpSp>
          <p:nvGrpSpPr>
            <p:cNvPr id="4" name="组合 3"/>
            <p:cNvGrpSpPr/>
            <p:nvPr/>
          </p:nvGrpSpPr>
          <p:grpSpPr>
            <a:xfrm>
              <a:off x="430796" y="696813"/>
              <a:ext cx="8312727" cy="4049130"/>
              <a:chOff x="430796" y="696813"/>
              <a:chExt cx="8312727" cy="4049130"/>
            </a:xfrm>
          </p:grpSpPr>
          <p:grpSp>
            <p:nvGrpSpPr>
              <p:cNvPr id="7" name="组合 6"/>
              <p:cNvGrpSpPr/>
              <p:nvPr/>
            </p:nvGrpSpPr>
            <p:grpSpPr>
              <a:xfrm>
                <a:off x="430796" y="696813"/>
                <a:ext cx="8312727" cy="4049130"/>
                <a:chOff x="430796" y="696813"/>
                <a:chExt cx="8312727" cy="4049130"/>
              </a:xfrm>
            </p:grpSpPr>
            <p:pic>
              <p:nvPicPr>
                <p:cNvPr id="14" name="图片 13"/>
                <p:cNvPicPr>
                  <a:picLocks noChangeAspect="1"/>
                </p:cNvPicPr>
                <p:nvPr/>
              </p:nvPicPr>
              <p:blipFill>
                <a:blip r:embed="rId2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430796" y="696813"/>
                  <a:ext cx="8312727" cy="4049130"/>
                </a:xfrm>
                <a:prstGeom prst="rect">
                  <a:avLst/>
                </a:prstGeom>
              </p:spPr>
            </p:pic>
            <p:pic>
              <p:nvPicPr>
                <p:cNvPr id="15" name="图片 14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5938939" y="4620638"/>
                  <a:ext cx="252000" cy="55440"/>
                </a:xfrm>
                <a:prstGeom prst="rect">
                  <a:avLst/>
                </a:prstGeom>
              </p:spPr>
            </p:pic>
            <p:pic>
              <p:nvPicPr>
                <p:cNvPr id="16" name="图片 15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4878623" y="3331954"/>
                  <a:ext cx="45719" cy="1288683"/>
                </a:xfrm>
                <a:prstGeom prst="rect">
                  <a:avLst/>
                </a:prstGeom>
              </p:spPr>
            </p:pic>
            <p:pic>
              <p:nvPicPr>
                <p:cNvPr id="17" name="图片 16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 flipH="1">
                  <a:off x="7382426" y="4073575"/>
                  <a:ext cx="19158" cy="540000"/>
                </a:xfrm>
                <a:prstGeom prst="rect">
                  <a:avLst/>
                </a:prstGeom>
              </p:spPr>
            </p:pic>
            <p:pic>
              <p:nvPicPr>
                <p:cNvPr id="18" name="图片 17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 flipH="1">
                  <a:off x="7359235" y="3331954"/>
                  <a:ext cx="64569" cy="567893"/>
                </a:xfrm>
                <a:prstGeom prst="rect">
                  <a:avLst/>
                </a:prstGeom>
              </p:spPr>
            </p:pic>
            <p:pic>
              <p:nvPicPr>
                <p:cNvPr id="19" name="图片 18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328216" y="3326879"/>
                  <a:ext cx="577660" cy="46972"/>
                </a:xfrm>
                <a:prstGeom prst="rect">
                  <a:avLst/>
                </a:prstGeom>
              </p:spPr>
            </p:pic>
            <p:pic>
              <p:nvPicPr>
                <p:cNvPr id="20" name="图片 19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6256762" y="3334030"/>
                  <a:ext cx="1047691" cy="45719"/>
                </a:xfrm>
                <a:prstGeom prst="rect">
                  <a:avLst/>
                </a:prstGeom>
              </p:spPr>
            </p:pic>
            <p:pic>
              <p:nvPicPr>
                <p:cNvPr id="21" name="图片 20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894958" y="3209649"/>
                  <a:ext cx="425637" cy="178570"/>
                </a:xfrm>
                <a:prstGeom prst="rect">
                  <a:avLst/>
                </a:prstGeom>
              </p:spPr>
            </p:pic>
            <p:pic>
              <p:nvPicPr>
                <p:cNvPr id="22" name="图片 21"/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5912498" y="3280830"/>
                  <a:ext cx="314609" cy="102248"/>
                </a:xfrm>
                <a:prstGeom prst="rect">
                  <a:avLst/>
                </a:prstGeom>
              </p:spPr>
            </p:pic>
            <p:sp>
              <p:nvSpPr>
                <p:cNvPr id="23" name="矩形 22"/>
                <p:cNvSpPr/>
                <p:nvPr/>
              </p:nvSpPr>
              <p:spPr>
                <a:xfrm>
                  <a:off x="512461" y="969016"/>
                  <a:ext cx="277402" cy="2410733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2500" b="1" dirty="0">
                      <a:cs typeface="+mn-ea"/>
                      <a:sym typeface="+mn-lt"/>
                    </a:rPr>
                    <a:t>智能技术</a:t>
                  </a:r>
                </a:p>
              </p:txBody>
            </p:sp>
            <p:sp>
              <p:nvSpPr>
                <p:cNvPr id="24" name="矩形 23"/>
                <p:cNvSpPr/>
                <p:nvPr/>
              </p:nvSpPr>
              <p:spPr>
                <a:xfrm>
                  <a:off x="521859" y="3388218"/>
                  <a:ext cx="268004" cy="1232419"/>
                </a:xfrm>
                <a:prstGeom prst="rect">
                  <a:avLst/>
                </a:prstGeom>
                <a:solidFill>
                  <a:srgbClr val="ECB326"/>
                </a:solidFill>
                <a:ln>
                  <a:solidFill>
                    <a:srgbClr val="ECB32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rIns="0" rtlCol="0" anchor="ctr"/>
                <a:lstStyle/>
                <a:p>
                  <a:pPr algn="ctr"/>
                  <a:r>
                    <a:rPr lang="en-US" altLang="zh-CN" b="1" dirty="0">
                      <a:cs typeface="+mn-ea"/>
                      <a:sym typeface="+mn-lt"/>
                    </a:rPr>
                    <a:t>AI</a:t>
                  </a:r>
                </a:p>
                <a:p>
                  <a:pPr algn="ctr"/>
                  <a:r>
                    <a:rPr lang="zh-CN" altLang="en-US" sz="2500" b="1" dirty="0">
                      <a:cs typeface="+mn-ea"/>
                      <a:sym typeface="+mn-lt"/>
                    </a:rPr>
                    <a:t>算</a:t>
                  </a:r>
                  <a:endParaRPr lang="en-US" altLang="zh-CN" sz="2500" b="1" dirty="0">
                    <a:cs typeface="+mn-ea"/>
                    <a:sym typeface="+mn-lt"/>
                  </a:endParaRPr>
                </a:p>
                <a:p>
                  <a:pPr algn="ctr"/>
                  <a:r>
                    <a:rPr lang="zh-CN" altLang="en-US" sz="2500" b="1" dirty="0">
                      <a:cs typeface="+mn-ea"/>
                      <a:sym typeface="+mn-lt"/>
                    </a:rPr>
                    <a:t>法</a:t>
                  </a:r>
                </a:p>
              </p:txBody>
            </p:sp>
            <p:pic>
              <p:nvPicPr>
                <p:cNvPr id="25" name="图片 24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3233738" y="2238098"/>
                  <a:ext cx="299134" cy="1080000"/>
                </a:xfrm>
                <a:prstGeom prst="rect">
                  <a:avLst/>
                </a:prstGeom>
              </p:spPr>
            </p:pic>
            <p:pic>
              <p:nvPicPr>
                <p:cNvPr id="26" name="图片 25"/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938939" y="2276889"/>
                  <a:ext cx="288168" cy="1121058"/>
                </a:xfrm>
                <a:prstGeom prst="rect">
                  <a:avLst/>
                </a:prstGeom>
              </p:spPr>
            </p:pic>
          </p:grpSp>
          <p:pic>
            <p:nvPicPr>
              <p:cNvPr id="8" name="图片 7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648960" y="2390775"/>
                <a:ext cx="1304415" cy="590273"/>
              </a:xfrm>
              <a:prstGeom prst="rect">
                <a:avLst/>
              </a:prstGeom>
            </p:spPr>
          </p:pic>
          <p:pic>
            <p:nvPicPr>
              <p:cNvPr id="9" name="图片 8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117214" y="1589753"/>
                <a:ext cx="733809" cy="799128"/>
              </a:xfrm>
              <a:prstGeom prst="rect">
                <a:avLst/>
              </a:prstGeom>
            </p:spPr>
          </p:pic>
          <p:pic>
            <p:nvPicPr>
              <p:cNvPr id="10" name="图片 9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117214" y="1773005"/>
                <a:ext cx="671003" cy="432171"/>
              </a:xfrm>
              <a:prstGeom prst="rect">
                <a:avLst/>
              </a:prstGeom>
            </p:spPr>
          </p:pic>
          <p:pic>
            <p:nvPicPr>
              <p:cNvPr id="11" name="图片 10"/>
              <p:cNvPicPr>
                <a:picLocks noChangeAspect="1"/>
              </p:cNvPicPr>
              <p:nvPr/>
            </p:nvPicPr>
            <p:blipFill>
              <a:blip r:embed="rId11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6684423" y="2388881"/>
                <a:ext cx="1041116" cy="416447"/>
              </a:xfrm>
              <a:prstGeom prst="rect">
                <a:avLst/>
              </a:prstGeom>
            </p:spPr>
          </p:pic>
          <p:pic>
            <p:nvPicPr>
              <p:cNvPr id="12" name="图片 1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flipV="1">
                <a:off x="4904483" y="4592604"/>
                <a:ext cx="968230" cy="45719"/>
              </a:xfrm>
              <a:prstGeom prst="rect">
                <a:avLst/>
              </a:prstGeom>
            </p:spPr>
          </p:pic>
          <p:pic>
            <p:nvPicPr>
              <p:cNvPr id="13" name="图片 12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flipV="1">
                <a:off x="4944268" y="4654033"/>
                <a:ext cx="968230" cy="45719"/>
              </a:xfrm>
              <a:prstGeom prst="rect">
                <a:avLst/>
              </a:prstGeom>
            </p:spPr>
          </p:pic>
        </p:grpSp>
        <p:cxnSp>
          <p:nvCxnSpPr>
            <p:cNvPr id="5" name="直接连接符 4"/>
            <p:cNvCxnSpPr/>
            <p:nvPr/>
          </p:nvCxnSpPr>
          <p:spPr>
            <a:xfrm>
              <a:off x="5923064" y="3257550"/>
              <a:ext cx="0" cy="140397"/>
            </a:xfrm>
            <a:prstGeom prst="line">
              <a:avLst/>
            </a:prstGeom>
            <a:ln>
              <a:solidFill>
                <a:srgbClr val="DC1727"/>
              </a:solidFill>
              <a:prstDash val="sysDash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6" name="直接连接符 5"/>
            <p:cNvCxnSpPr/>
            <p:nvPr/>
          </p:nvCxnSpPr>
          <p:spPr>
            <a:xfrm>
              <a:off x="8616473" y="3787845"/>
              <a:ext cx="0" cy="288000"/>
            </a:xfrm>
            <a:prstGeom prst="line">
              <a:avLst/>
            </a:prstGeom>
            <a:ln>
              <a:solidFill>
                <a:srgbClr val="DC1727"/>
              </a:solidFill>
              <a:prstDash val="sysDash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510616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EF498A9-D094-42DF-AD17-8076E5869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传统公司、科技公司及物流公司均对物流技术公司进行频繁投资</a:t>
            </a:r>
          </a:p>
        </p:txBody>
      </p:sp>
      <p:sp>
        <p:nvSpPr>
          <p:cNvPr id="17" name="文本占位符 1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8" name="文本占位符 1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graphicFrame>
        <p:nvGraphicFramePr>
          <p:cNvPr id="3" name="表格 2">
            <a:extLst>
              <a:ext uri="{FF2B5EF4-FFF2-40B4-BE49-F238E27FC236}">
                <a16:creationId xmlns:a16="http://schemas.microsoft.com/office/drawing/2014/main" id="{DA1E61FE-0555-4961-8377-81DC791D40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9991778"/>
              </p:ext>
            </p:extLst>
          </p:nvPr>
        </p:nvGraphicFramePr>
        <p:xfrm>
          <a:off x="1041401" y="1855046"/>
          <a:ext cx="10426699" cy="3972138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4229099">
                  <a:extLst>
                    <a:ext uri="{9D8B030D-6E8A-4147-A177-3AD203B41FA5}">
                      <a16:colId xmlns:a16="http://schemas.microsoft.com/office/drawing/2014/main" val="4055860250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val="4053426866"/>
                    </a:ext>
                  </a:extLst>
                </a:gridCol>
                <a:gridCol w="4622800">
                  <a:extLst>
                    <a:ext uri="{9D8B030D-6E8A-4147-A177-3AD203B41FA5}">
                      <a16:colId xmlns:a16="http://schemas.microsoft.com/office/drawing/2014/main" val="1119290890"/>
                    </a:ext>
                  </a:extLst>
                </a:gridCol>
              </a:tblGrid>
              <a:tr h="5643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900" dirty="0"/>
                        <a:t>公司</a:t>
                      </a:r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900" dirty="0"/>
                        <a:t>公司类型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900" dirty="0"/>
                        <a:t>投资项目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0430337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endParaRPr lang="zh-CN" altLang="en-US" sz="2100" dirty="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科技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Curbside,</a:t>
                      </a:r>
                      <a:r>
                        <a:rPr lang="en-US" altLang="zh-CN" sz="16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600" dirty="0" err="1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Flirtey</a:t>
                      </a:r>
                      <a:r>
                        <a:rPr lang="zh-CN" altLang="en-US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（无人机）</a:t>
                      </a:r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,</a:t>
                      </a:r>
                      <a:r>
                        <a:rPr lang="en-US" altLang="zh-CN" sz="16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600" dirty="0" err="1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Loggi</a:t>
                      </a:r>
                      <a:endParaRPr lang="zh-CN" altLang="en-US" sz="1600" dirty="0"/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28447229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endParaRPr lang="zh-CN" altLang="en-US" sz="21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物流</a:t>
                      </a:r>
                      <a:endParaRPr lang="en-US" altLang="zh-CN" sz="1600" dirty="0">
                        <a:solidFill>
                          <a:srgbClr val="404040"/>
                        </a:solidFill>
                        <a:latin typeface="微软雅黑" pitchFamily="18" charset="0"/>
                        <a:cs typeface="微软雅黑" pitchFamily="18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 err="1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Deliv</a:t>
                      </a:r>
                      <a:r>
                        <a:rPr lang="zh-CN" altLang="en-US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（众包）</a:t>
                      </a:r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,</a:t>
                      </a:r>
                      <a:r>
                        <a:rPr lang="en-US" altLang="zh-CN" sz="16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600" dirty="0" err="1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Deposco</a:t>
                      </a:r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,</a:t>
                      </a:r>
                      <a:r>
                        <a:rPr lang="en-US" altLang="zh-CN" sz="16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Peloton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86709399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endParaRPr lang="zh-CN" altLang="en-US" sz="21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科技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dirty="0" err="1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Flexport</a:t>
                      </a:r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,</a:t>
                      </a:r>
                      <a:r>
                        <a:rPr lang="en-US" altLang="zh-CN" sz="16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600" dirty="0" err="1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KeepTruckin</a:t>
                      </a:r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,</a:t>
                      </a:r>
                      <a:r>
                        <a:rPr lang="en-US" altLang="zh-CN" sz="16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Zipline</a:t>
                      </a:r>
                      <a:r>
                        <a:rPr lang="zh-CN" altLang="en-US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（无人机）</a:t>
                      </a:r>
                      <a:endParaRPr lang="zh-CN" altLang="en-US" sz="1600" dirty="0"/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957847465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endParaRPr lang="zh-CN" altLang="en-US" sz="21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科技</a:t>
                      </a:r>
                      <a:endParaRPr lang="en-US" altLang="zh-CN" sz="1600" dirty="0">
                        <a:solidFill>
                          <a:srgbClr val="404040"/>
                        </a:solidFill>
                        <a:latin typeface="微软雅黑" pitchFamily="18" charset="0"/>
                        <a:cs typeface="微软雅黑" pitchFamily="18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G7</a:t>
                      </a:r>
                      <a:r>
                        <a:rPr lang="zh-CN" altLang="en-US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汇通天下</a:t>
                      </a:r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,</a:t>
                      </a:r>
                      <a:r>
                        <a:rPr lang="en-US" altLang="zh-CN" sz="16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zh-CN" altLang="en-US" sz="1600" dirty="0">
                          <a:latin typeface="Times New Roman" pitchFamily="18" charset="0"/>
                          <a:cs typeface="Times New Roman" pitchFamily="18" charset="0"/>
                        </a:rPr>
                        <a:t>货车帮</a:t>
                      </a:r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,</a:t>
                      </a:r>
                      <a:r>
                        <a:rPr lang="en-US" altLang="zh-CN" sz="16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zh-CN" altLang="en-US" sz="1600" dirty="0">
                          <a:latin typeface="Times New Roman" pitchFamily="18" charset="0"/>
                          <a:cs typeface="Times New Roman" pitchFamily="18" charset="0"/>
                        </a:rPr>
                        <a:t>人人快递</a:t>
                      </a:r>
                      <a:endParaRPr lang="en-US" altLang="zh-CN" sz="1600" dirty="0">
                        <a:solidFill>
                          <a:srgbClr val="404040"/>
                        </a:solidFill>
                        <a:latin typeface="微软雅黑" pitchFamily="18" charset="0"/>
                        <a:cs typeface="微软雅黑" pitchFamily="18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707954518"/>
                  </a:ext>
                </a:extLst>
              </a:tr>
              <a:tr h="681567">
                <a:tc>
                  <a:txBody>
                    <a:bodyPr/>
                    <a:lstStyle/>
                    <a:p>
                      <a:endParaRPr lang="zh-CN" altLang="en-US" sz="2100" dirty="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/>
                        <a:t>传统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600" dirty="0" err="1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Matternet</a:t>
                      </a:r>
                      <a:r>
                        <a:rPr lang="zh-CN" altLang="en-US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（无人机）</a:t>
                      </a:r>
                      <a:r>
                        <a:rPr lang="en-US" altLang="zh-CN" sz="1600" dirty="0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,</a:t>
                      </a:r>
                      <a:r>
                        <a:rPr lang="en-US" altLang="zh-CN" sz="16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600" dirty="0" err="1">
                          <a:solidFill>
                            <a:srgbClr val="404040"/>
                          </a:solidFill>
                          <a:latin typeface="微软雅黑" pitchFamily="18" charset="0"/>
                          <a:cs typeface="微软雅黑" pitchFamily="18" charset="0"/>
                        </a:rPr>
                        <a:t>Zonar</a:t>
                      </a:r>
                      <a:endParaRPr lang="zh-CN" altLang="en-US" sz="1600" dirty="0"/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37254824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2BEEBB5-B7A6-4CDD-9345-F21A874BF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09325" y="2494696"/>
            <a:ext cx="1481411" cy="497331"/>
          </a:xfrm>
          <a:prstGeom prst="rect">
            <a:avLst/>
          </a:prstGeom>
          <a:noFill/>
        </p:spPr>
      </p:pic>
      <p:pic>
        <p:nvPicPr>
          <p:cNvPr id="5" name="Picture 3">
            <a:extLst>
              <a:ext uri="{FF2B5EF4-FFF2-40B4-BE49-F238E27FC236}">
                <a16:creationId xmlns:a16="http://schemas.microsoft.com/office/drawing/2014/main" id="{9BE6D926-0D4E-4AD9-B17E-452AB2F8C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48429" y="3200189"/>
            <a:ext cx="2003200" cy="567573"/>
          </a:xfrm>
          <a:prstGeom prst="rect">
            <a:avLst/>
          </a:prstGeom>
          <a:noFill/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id="{3200CFB4-526B-4B36-8B82-4EE400A874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73389" y="3925835"/>
            <a:ext cx="753280" cy="499456"/>
          </a:xfrm>
          <a:prstGeom prst="rect">
            <a:avLst/>
          </a:prstGeom>
          <a:noFill/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74D6354A-E942-4277-BD90-AA24CB483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9103" y="4608765"/>
            <a:ext cx="2448532" cy="442672"/>
          </a:xfrm>
          <a:prstGeom prst="rect">
            <a:avLst/>
          </a:prstGeom>
          <a:noFill/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CC2DE099-AE7B-4052-9651-7E0A933921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46836" y="5285712"/>
            <a:ext cx="2531533" cy="415005"/>
          </a:xfrm>
          <a:prstGeom prst="rect">
            <a:avLst/>
          </a:prstGeom>
          <a:noFill/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6117D36C-4C8C-49BB-9C10-7EB321E848FA}"/>
              </a:ext>
            </a:extLst>
          </p:cNvPr>
          <p:cNvSpPr/>
          <p:nvPr/>
        </p:nvSpPr>
        <p:spPr>
          <a:xfrm>
            <a:off x="3491285" y="2505109"/>
            <a:ext cx="595035" cy="3385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r>
              <a:rPr lang="zh-CN" altLang="en-US" sz="1600" dirty="0"/>
              <a:t>高通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C16F2F0-0700-44A6-908E-7C8FCFB9E38A}"/>
              </a:ext>
            </a:extLst>
          </p:cNvPr>
          <p:cNvSpPr/>
          <p:nvPr/>
        </p:nvSpPr>
        <p:spPr>
          <a:xfrm>
            <a:off x="3651632" y="3222129"/>
            <a:ext cx="604653" cy="3385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r>
              <a:rPr lang="en-US" altLang="zh-CN" sz="1600" dirty="0"/>
              <a:t>UPS</a:t>
            </a:r>
            <a:endParaRPr lang="zh-CN" altLang="en-US" sz="1600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1269F8FD-612D-4FDB-A011-344FC83177DB}"/>
              </a:ext>
            </a:extLst>
          </p:cNvPr>
          <p:cNvSpPr/>
          <p:nvPr/>
        </p:nvSpPr>
        <p:spPr>
          <a:xfrm>
            <a:off x="4147873" y="959796"/>
            <a:ext cx="4220856" cy="677107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algn="ctr"/>
            <a:r>
              <a:rPr lang="zh-CN" altLang="en-US" b="1" dirty="0">
                <a:cs typeface="+mn-ea"/>
                <a:sym typeface="+mn-lt"/>
              </a:rPr>
              <a:t>供应链</a:t>
            </a:r>
            <a:r>
              <a:rPr lang="en-US" altLang="zh-CN" b="1" dirty="0">
                <a:cs typeface="+mn-ea"/>
                <a:sym typeface="+mn-lt"/>
              </a:rPr>
              <a:t>&amp;</a:t>
            </a:r>
            <a:r>
              <a:rPr lang="zh-CN" altLang="en-US" b="1" dirty="0">
                <a:cs typeface="+mn-ea"/>
                <a:sym typeface="+mn-lt"/>
              </a:rPr>
              <a:t>物流</a:t>
            </a:r>
            <a:r>
              <a:rPr lang="en-US" altLang="zh-CN" b="1" dirty="0">
                <a:cs typeface="+mn-ea"/>
                <a:sym typeface="+mn-lt"/>
              </a:rPr>
              <a:t>: </a:t>
            </a:r>
            <a:r>
              <a:rPr lang="zh-CN" altLang="en-US" b="1" dirty="0">
                <a:cs typeface="+mn-ea"/>
                <a:sym typeface="+mn-lt"/>
              </a:rPr>
              <a:t>最活跃的投资公司</a:t>
            </a:r>
          </a:p>
          <a:p>
            <a:pPr algn="ctr"/>
            <a:r>
              <a:rPr lang="en-US" altLang="zh-CN" b="1" dirty="0">
                <a:cs typeface="+mn-ea"/>
                <a:sym typeface="+mn-lt"/>
              </a:rPr>
              <a:t>2012–2016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527699CA-4A92-4F62-B519-13D589F57876}"/>
              </a:ext>
            </a:extLst>
          </p:cNvPr>
          <p:cNvSpPr/>
          <p:nvPr/>
        </p:nvSpPr>
        <p:spPr>
          <a:xfrm>
            <a:off x="4061145" y="4600033"/>
            <a:ext cx="595035" cy="3385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r>
              <a:rPr lang="zh-CN" altLang="en-US" sz="1600" dirty="0"/>
              <a:t>腾讯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0E9775A2-8FAB-4533-B63C-9CA2A81FA28E}"/>
              </a:ext>
            </a:extLst>
          </p:cNvPr>
          <p:cNvSpPr/>
          <p:nvPr/>
        </p:nvSpPr>
        <p:spPr>
          <a:xfrm>
            <a:off x="3311953" y="3935237"/>
            <a:ext cx="595035" cy="3385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r>
              <a:rPr lang="zh-CN" altLang="en-US" sz="1600" dirty="0"/>
              <a:t>谷歌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BBE0D8D4-84B6-4A4A-9F77-CEF10DBA122D}"/>
              </a:ext>
            </a:extLst>
          </p:cNvPr>
          <p:cNvSpPr/>
          <p:nvPr/>
        </p:nvSpPr>
        <p:spPr>
          <a:xfrm>
            <a:off x="4105333" y="5257145"/>
            <a:ext cx="800219" cy="338555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r>
              <a:rPr lang="zh-CN" altLang="en-US" sz="1600" dirty="0"/>
              <a:t>戴姆勒</a:t>
            </a:r>
          </a:p>
        </p:txBody>
      </p:sp>
    </p:spTree>
    <p:extLst>
      <p:ext uri="{BB962C8B-B14F-4D97-AF65-F5344CB8AC3E}">
        <p14:creationId xmlns:p14="http://schemas.microsoft.com/office/powerpoint/2010/main" val="38796483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创业公司瞄准</a:t>
            </a:r>
            <a:r>
              <a:rPr lang="en-US" altLang="zh-CN" dirty="0"/>
              <a:t>FedEx</a:t>
            </a:r>
            <a:r>
              <a:rPr lang="zh-CN" altLang="en-US" dirty="0"/>
              <a:t>等国际大型物流公司，提供技术解决方案</a:t>
            </a:r>
          </a:p>
        </p:txBody>
      </p:sp>
      <p:sp>
        <p:nvSpPr>
          <p:cNvPr id="101" name="文本占位符 10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2" name="文本占位符 10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TextBox 1"/>
          <p:cNvSpPr txBox="1"/>
          <p:nvPr/>
        </p:nvSpPr>
        <p:spPr>
          <a:xfrm>
            <a:off x="9130740" y="2162110"/>
            <a:ext cx="2297587" cy="3159839"/>
          </a:xfrm>
          <a:prstGeom prst="rect">
            <a:avLst/>
          </a:prstGeom>
          <a:noFill/>
        </p:spPr>
        <p:txBody>
          <a:bodyPr wrap="square" lIns="0" tIns="0" rIns="0" bIns="45718" rtlCol="0">
            <a:spAutoFit/>
          </a:bodyPr>
          <a:lstStyle/>
          <a:p>
            <a:pPr>
              <a:lnSpc>
                <a:spcPts val="3067"/>
              </a:lnSpc>
            </a:pPr>
            <a:r>
              <a:rPr lang="zh-CN" altLang="en-US" b="1" dirty="0">
                <a:latin typeface="微软雅黑" pitchFamily="18" charset="0"/>
                <a:cs typeface="微软雅黑" pitchFamily="18" charset="0"/>
              </a:rPr>
              <a:t>创业者瞄准物流公司</a:t>
            </a:r>
            <a:endParaRPr lang="en-US" altLang="zh-CN" b="1" dirty="0">
              <a:latin typeface="微软雅黑" pitchFamily="18" charset="0"/>
              <a:cs typeface="微软雅黑" pitchFamily="18" charset="0"/>
            </a:endParaRPr>
          </a:p>
          <a:p>
            <a:pPr>
              <a:lnSpc>
                <a:spcPts val="1333"/>
              </a:lnSpc>
            </a:pPr>
            <a:endParaRPr lang="en-US" altLang="zh-CN" dirty="0"/>
          </a:p>
          <a:p>
            <a:pPr>
              <a:lnSpc>
                <a:spcPts val="1333"/>
              </a:lnSpc>
            </a:pPr>
            <a:endParaRPr lang="en-US" altLang="zh-CN" dirty="0"/>
          </a:p>
          <a:p>
            <a:pPr>
              <a:lnSpc>
                <a:spcPts val="1333"/>
              </a:lnSpc>
            </a:pPr>
            <a:endParaRPr lang="en-US" altLang="zh-CN" dirty="0"/>
          </a:p>
          <a:p>
            <a:r>
              <a:rPr lang="zh-CN" altLang="en-US" sz="1600" dirty="0"/>
              <a:t>这个领域的许多创业公司</a:t>
            </a:r>
            <a:endParaRPr lang="en-US" altLang="zh-CN" sz="1600" dirty="0"/>
          </a:p>
          <a:p>
            <a:r>
              <a:rPr lang="zh-CN" altLang="en-US" sz="1600" dirty="0"/>
              <a:t>都精确定位了传统上与</a:t>
            </a:r>
            <a:r>
              <a:rPr lang="en-US" altLang="zh-CN" sz="1600" dirty="0"/>
              <a:t>FedEx</a:t>
            </a:r>
            <a:r>
              <a:rPr lang="zh-CN" altLang="en-US" sz="1600" dirty="0"/>
              <a:t>和</a:t>
            </a:r>
            <a:r>
              <a:rPr lang="en-US" altLang="zh-CN" sz="1600" dirty="0"/>
              <a:t>UPS</a:t>
            </a:r>
            <a:r>
              <a:rPr lang="zh-CN" altLang="en-US" sz="1600" dirty="0"/>
              <a:t>等物流巨头相关的一系列服务。</a:t>
            </a:r>
          </a:p>
          <a:p>
            <a:endParaRPr lang="zh-CN" altLang="en-US" sz="1600" dirty="0"/>
          </a:p>
          <a:p>
            <a:r>
              <a:rPr lang="zh-CN" altLang="en-US" sz="1600" dirty="0"/>
              <a:t>这些公司正通过应用技术、移动平台和解决即时需求概念，来降低成本、提高灵活性并简化运营。</a:t>
            </a:r>
            <a:endParaRPr lang="en-US" altLang="zh-CN" sz="2100" dirty="0">
              <a:latin typeface="微软雅黑" pitchFamily="18" charset="0"/>
              <a:cs typeface="微软雅黑" pitchFamily="18" charset="0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8909054" y="1574720"/>
            <a:ext cx="2707255" cy="4737389"/>
          </a:xfrm>
          <a:prstGeom prst="roundRect">
            <a:avLst>
              <a:gd name="adj" fmla="val 2077"/>
            </a:avLst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C2821191-B5C6-4F5C-82C7-C3DA6AE0CA69}"/>
              </a:ext>
            </a:extLst>
          </p:cNvPr>
          <p:cNvGrpSpPr/>
          <p:nvPr/>
        </p:nvGrpSpPr>
        <p:grpSpPr>
          <a:xfrm>
            <a:off x="2064779" y="3385710"/>
            <a:ext cx="6234228" cy="615553"/>
            <a:chOff x="974272" y="1475105"/>
            <a:chExt cx="6839748" cy="675343"/>
          </a:xfrm>
        </p:grpSpPr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23F0F69C-C16B-433A-8B48-BF6A677403E5}"/>
                </a:ext>
              </a:extLst>
            </p:cNvPr>
            <p:cNvSpPr txBox="1"/>
            <p:nvPr/>
          </p:nvSpPr>
          <p:spPr>
            <a:xfrm>
              <a:off x="974272" y="1475105"/>
              <a:ext cx="1584000" cy="4727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b="1" dirty="0">
                  <a:latin typeface="+mj-ea"/>
                  <a:ea typeface="+mj-ea"/>
                </a:rPr>
                <a:t>Package, envelop </a:t>
              </a:r>
            </a:p>
            <a:p>
              <a:r>
                <a:rPr lang="en-US" altLang="zh-CN" sz="1100" b="1" dirty="0">
                  <a:latin typeface="+mj-ea"/>
                  <a:ea typeface="+mj-ea"/>
                </a:rPr>
                <a:t>or express freight </a:t>
              </a:r>
              <a:endParaRPr lang="zh-CN" altLang="en-US" sz="1100" b="1" dirty="0">
                <a:latin typeface="+mj-ea"/>
                <a:ea typeface="+mj-ea"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5C1F8297-6781-4AF0-A222-406403C280B2}"/>
                </a:ext>
              </a:extLst>
            </p:cNvPr>
            <p:cNvSpPr txBox="1"/>
            <p:nvPr/>
          </p:nvSpPr>
          <p:spPr>
            <a:xfrm>
              <a:off x="2726188" y="1475105"/>
              <a:ext cx="1584000" cy="2870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b="1" dirty="0">
                  <a:latin typeface="+mj-ea"/>
                  <a:ea typeface="+mj-ea"/>
                </a:rPr>
                <a:t>Freight shipment </a:t>
              </a:r>
              <a:endParaRPr lang="zh-CN" altLang="en-US" sz="1100" b="1" dirty="0">
                <a:latin typeface="+mj-ea"/>
                <a:ea typeface="+mj-ea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921EDCA5-748C-47F5-8637-21D77E7D73F1}"/>
                </a:ext>
              </a:extLst>
            </p:cNvPr>
            <p:cNvSpPr txBox="1"/>
            <p:nvPr/>
          </p:nvSpPr>
          <p:spPr>
            <a:xfrm>
              <a:off x="4478103" y="1475105"/>
              <a:ext cx="1584000" cy="4727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b="1" dirty="0">
                  <a:latin typeface="+mj-ea"/>
                  <a:ea typeface="+mj-ea"/>
                </a:rPr>
                <a:t>Expedited &amp; extra care</a:t>
              </a:r>
              <a:endParaRPr lang="zh-CN" altLang="en-US" sz="1100" b="1" dirty="0">
                <a:latin typeface="+mj-ea"/>
                <a:ea typeface="+mj-ea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A0116633-7988-48D9-9ED7-3C4C9AB4CF04}"/>
                </a:ext>
              </a:extLst>
            </p:cNvPr>
            <p:cNvSpPr txBox="1"/>
            <p:nvPr/>
          </p:nvSpPr>
          <p:spPr>
            <a:xfrm>
              <a:off x="6230020" y="1475105"/>
              <a:ext cx="1584000" cy="6753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b="1" dirty="0">
                  <a:latin typeface="+mj-ea"/>
                  <a:ea typeface="+mj-ea"/>
                </a:rPr>
                <a:t>Air&amp; Ocean freight</a:t>
              </a:r>
            </a:p>
            <a:p>
              <a:r>
                <a:rPr lang="en-US" altLang="zh-CN" sz="1100" b="1" dirty="0">
                  <a:latin typeface="+mj-ea"/>
                  <a:ea typeface="+mj-ea"/>
                </a:rPr>
                <a:t> forwarding</a:t>
              </a:r>
              <a:endParaRPr lang="zh-CN" altLang="en-US" sz="1100" b="1" dirty="0">
                <a:latin typeface="+mj-ea"/>
                <a:ea typeface="+mj-ea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68871DC9-E7E5-4981-A3A6-48AC649FA24C}"/>
              </a:ext>
            </a:extLst>
          </p:cNvPr>
          <p:cNvGrpSpPr/>
          <p:nvPr/>
        </p:nvGrpSpPr>
        <p:grpSpPr>
          <a:xfrm>
            <a:off x="2353204" y="2777099"/>
            <a:ext cx="5426819" cy="576376"/>
            <a:chOff x="1290712" y="2102781"/>
            <a:chExt cx="5953917" cy="632358"/>
          </a:xfrm>
        </p:grpSpPr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6DD6DB9F-56C3-48C7-9A8E-B4BD179912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877505" y="2136789"/>
              <a:ext cx="792740" cy="598350"/>
            </a:xfrm>
            <a:prstGeom prst="rect">
              <a:avLst/>
            </a:prstGeom>
          </p:spPr>
        </p:pic>
        <p:pic>
          <p:nvPicPr>
            <p:cNvPr id="12" name="图片 11">
              <a:extLst>
                <a:ext uri="{FF2B5EF4-FFF2-40B4-BE49-F238E27FC236}">
                  <a16:creationId xmlns:a16="http://schemas.microsoft.com/office/drawing/2014/main" id="{476A4763-5460-49CF-8D9C-0082CC71CB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503784" y="2155435"/>
              <a:ext cx="852895" cy="561059"/>
            </a:xfrm>
            <a:prstGeom prst="rect">
              <a:avLst/>
            </a:prstGeom>
          </p:spPr>
        </p:pic>
        <p:pic>
          <p:nvPicPr>
            <p:cNvPr id="13" name="图片 12">
              <a:extLst>
                <a:ext uri="{FF2B5EF4-FFF2-40B4-BE49-F238E27FC236}">
                  <a16:creationId xmlns:a16="http://schemas.microsoft.com/office/drawing/2014/main" id="{F30D4BBB-E8A2-49CB-99DF-280BC9A4D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AFAFA"/>
                </a:clrFrom>
                <a:clrTo>
                  <a:srgbClr val="FAFA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398654" y="2102781"/>
              <a:ext cx="845975" cy="570568"/>
            </a:xfrm>
            <a:prstGeom prst="rect">
              <a:avLst/>
            </a:prstGeom>
          </p:spPr>
        </p:pic>
        <p:pic>
          <p:nvPicPr>
            <p:cNvPr id="14" name="图片 13">
              <a:extLst>
                <a:ext uri="{FF2B5EF4-FFF2-40B4-BE49-F238E27FC236}">
                  <a16:creationId xmlns:a16="http://schemas.microsoft.com/office/drawing/2014/main" id="{8C5E2B59-C187-4EDC-A642-D427789449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290712" y="2259217"/>
              <a:ext cx="598035" cy="353495"/>
            </a:xfrm>
            <a:prstGeom prst="rect">
              <a:avLst/>
            </a:prstGeom>
          </p:spPr>
        </p:pic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E40991E0-AED5-4339-9661-F954EA108A22}"/>
              </a:ext>
            </a:extLst>
          </p:cNvPr>
          <p:cNvSpPr txBox="1"/>
          <p:nvPr/>
        </p:nvSpPr>
        <p:spPr>
          <a:xfrm>
            <a:off x="1925945" y="3955811"/>
            <a:ext cx="1571376" cy="154657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Create shipment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Get rates </a:t>
            </a:r>
            <a:endParaRPr lang="en-US" altLang="zh-CN" sz="700" dirty="0">
              <a:latin typeface="+mj-ea"/>
              <a:ea typeface="+mj-ea"/>
            </a:endParaRP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Packing &amp; supplies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Find FedEx locations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Service guide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</a:rPr>
              <a:t>Schedule a pickup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900" dirty="0">
              <a:latin typeface="+mj-ea"/>
              <a:ea typeface="+mj-ea"/>
            </a:endParaRP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3BB5136B-94A1-42E4-8BC4-8430FCF3263B}"/>
              </a:ext>
            </a:extLst>
          </p:cNvPr>
          <p:cNvGrpSpPr/>
          <p:nvPr/>
        </p:nvGrpSpPr>
        <p:grpSpPr>
          <a:xfrm>
            <a:off x="1028249" y="3679108"/>
            <a:ext cx="826827" cy="1070949"/>
            <a:chOff x="279190" y="2663190"/>
            <a:chExt cx="749698" cy="971049"/>
          </a:xfrm>
        </p:grpSpPr>
        <p:sp>
          <p:nvSpPr>
            <p:cNvPr id="17" name="圆角矩形 120">
              <a:extLst>
                <a:ext uri="{FF2B5EF4-FFF2-40B4-BE49-F238E27FC236}">
                  <a16:creationId xmlns:a16="http://schemas.microsoft.com/office/drawing/2014/main" id="{F0F07E00-81D9-4546-A009-36AB3B311C65}"/>
                </a:ext>
              </a:extLst>
            </p:cNvPr>
            <p:cNvSpPr/>
            <p:nvPr/>
          </p:nvSpPr>
          <p:spPr>
            <a:xfrm>
              <a:off x="279190" y="2663190"/>
              <a:ext cx="749698" cy="971049"/>
            </a:xfrm>
            <a:prstGeom prst="round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42568915-3EA7-4041-B215-D4FA156A9C51}"/>
                </a:ext>
              </a:extLst>
            </p:cNvPr>
            <p:cNvGrpSpPr/>
            <p:nvPr/>
          </p:nvGrpSpPr>
          <p:grpSpPr>
            <a:xfrm>
              <a:off x="430080" y="2747628"/>
              <a:ext cx="557980" cy="752197"/>
              <a:chOff x="131200" y="2814117"/>
              <a:chExt cx="808349" cy="1005110"/>
            </a:xfrm>
          </p:grpSpPr>
          <p:pic>
            <p:nvPicPr>
              <p:cNvPr id="19" name="图片 18">
                <a:extLst>
                  <a:ext uri="{FF2B5EF4-FFF2-40B4-BE49-F238E27FC236}">
                    <a16:creationId xmlns:a16="http://schemas.microsoft.com/office/drawing/2014/main" id="{AC4A5657-CB71-40B8-BBB4-3836AFAC1E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31200" y="2814117"/>
                <a:ext cx="808349" cy="246279"/>
              </a:xfrm>
              <a:prstGeom prst="rect">
                <a:avLst/>
              </a:prstGeom>
            </p:spPr>
          </p:pic>
          <p:pic>
            <p:nvPicPr>
              <p:cNvPr id="20" name="图片 19">
                <a:extLst>
                  <a:ext uri="{FF2B5EF4-FFF2-40B4-BE49-F238E27FC236}">
                    <a16:creationId xmlns:a16="http://schemas.microsoft.com/office/drawing/2014/main" id="{BBD60EEF-D13C-4CAA-9BF0-AB141F4603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31200" y="3125754"/>
                <a:ext cx="601543" cy="362020"/>
              </a:xfrm>
              <a:prstGeom prst="rect">
                <a:avLst/>
              </a:prstGeom>
            </p:spPr>
          </p:pic>
          <p:pic>
            <p:nvPicPr>
              <p:cNvPr id="21" name="图片 20">
                <a:extLst>
                  <a:ext uri="{FF2B5EF4-FFF2-40B4-BE49-F238E27FC236}">
                    <a16:creationId xmlns:a16="http://schemas.microsoft.com/office/drawing/2014/main" id="{DEEE934C-D309-4E7A-AF1E-86BCA2F8D7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31200" y="3621776"/>
                <a:ext cx="692466" cy="197451"/>
              </a:xfrm>
              <a:prstGeom prst="rect">
                <a:avLst/>
              </a:prstGeom>
            </p:spPr>
          </p:pic>
        </p:grp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640D86AB-B2FB-445E-A03F-CCD8F058C908}"/>
              </a:ext>
            </a:extLst>
          </p:cNvPr>
          <p:cNvGrpSpPr/>
          <p:nvPr/>
        </p:nvGrpSpPr>
        <p:grpSpPr>
          <a:xfrm>
            <a:off x="1028251" y="5795308"/>
            <a:ext cx="2205455" cy="338888"/>
            <a:chOff x="177420" y="4596047"/>
            <a:chExt cx="2419667" cy="371804"/>
          </a:xfrm>
        </p:grpSpPr>
        <p:sp>
          <p:nvSpPr>
            <p:cNvPr id="23" name="圆角矩形 123">
              <a:extLst>
                <a:ext uri="{FF2B5EF4-FFF2-40B4-BE49-F238E27FC236}">
                  <a16:creationId xmlns:a16="http://schemas.microsoft.com/office/drawing/2014/main" id="{3B9AF1AC-2D7B-4E77-86EA-AEF4395D59E2}"/>
                </a:ext>
              </a:extLst>
            </p:cNvPr>
            <p:cNvSpPr/>
            <p:nvPr/>
          </p:nvSpPr>
          <p:spPr>
            <a:xfrm>
              <a:off x="177420" y="4596047"/>
              <a:ext cx="2419667" cy="371804"/>
            </a:xfrm>
            <a:prstGeom prst="round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pic>
          <p:nvPicPr>
            <p:cNvPr id="24" name="图片 23">
              <a:extLst>
                <a:ext uri="{FF2B5EF4-FFF2-40B4-BE49-F238E27FC236}">
                  <a16:creationId xmlns:a16="http://schemas.microsoft.com/office/drawing/2014/main" id="{FB99FB2A-724B-446F-A6BF-744E98532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74966" y="4680329"/>
              <a:ext cx="565129" cy="225339"/>
            </a:xfrm>
            <a:prstGeom prst="rect">
              <a:avLst/>
            </a:prstGeom>
          </p:spPr>
        </p:pic>
        <p:pic>
          <p:nvPicPr>
            <p:cNvPr id="25" name="图片 24">
              <a:extLst>
                <a:ext uri="{FF2B5EF4-FFF2-40B4-BE49-F238E27FC236}">
                  <a16:creationId xmlns:a16="http://schemas.microsoft.com/office/drawing/2014/main" id="{A725E943-E2A4-48C0-AE03-6AF688200E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07579" y="4680329"/>
              <a:ext cx="808349" cy="224436"/>
            </a:xfrm>
            <a:prstGeom prst="rect">
              <a:avLst/>
            </a:prstGeom>
          </p:spPr>
        </p:pic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DC90B36D-554D-4B76-8417-8C9D5823BD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643735" y="4650701"/>
              <a:ext cx="915081" cy="278796"/>
            </a:xfrm>
            <a:prstGeom prst="rect">
              <a:avLst/>
            </a:prstGeom>
          </p:spPr>
        </p:pic>
      </p:grp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E56D2C43-C3E4-4F79-B1FD-1848621882D2}"/>
              </a:ext>
            </a:extLst>
          </p:cNvPr>
          <p:cNvCxnSpPr>
            <a:stCxn id="23" idx="0"/>
          </p:cNvCxnSpPr>
          <p:nvPr/>
        </p:nvCxnSpPr>
        <p:spPr>
          <a:xfrm flipV="1">
            <a:off x="2130981" y="5500601"/>
            <a:ext cx="299577" cy="29470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86FFEB41-BBCB-4926-863A-105CF94C5EE7}"/>
              </a:ext>
            </a:extLst>
          </p:cNvPr>
          <p:cNvGrpSpPr/>
          <p:nvPr/>
        </p:nvGrpSpPr>
        <p:grpSpPr>
          <a:xfrm>
            <a:off x="1028251" y="1057077"/>
            <a:ext cx="1623159" cy="619377"/>
            <a:chOff x="163205" y="854930"/>
            <a:chExt cx="1471747" cy="617019"/>
          </a:xfrm>
        </p:grpSpPr>
        <p:pic>
          <p:nvPicPr>
            <p:cNvPr id="29" name="图片 28">
              <a:extLst>
                <a:ext uri="{FF2B5EF4-FFF2-40B4-BE49-F238E27FC236}">
                  <a16:creationId xmlns:a16="http://schemas.microsoft.com/office/drawing/2014/main" id="{52CF02BE-5695-4EEF-B538-4FD2707AB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65439" y="1263919"/>
              <a:ext cx="482311" cy="178888"/>
            </a:xfrm>
            <a:prstGeom prst="rect">
              <a:avLst/>
            </a:prstGeom>
          </p:spPr>
        </p:pic>
        <p:grpSp>
          <p:nvGrpSpPr>
            <p:cNvPr id="30" name="组合 29">
              <a:extLst>
                <a:ext uri="{FF2B5EF4-FFF2-40B4-BE49-F238E27FC236}">
                  <a16:creationId xmlns:a16="http://schemas.microsoft.com/office/drawing/2014/main" id="{6CE83E22-1EBB-43C4-B670-0B47D565886D}"/>
                </a:ext>
              </a:extLst>
            </p:cNvPr>
            <p:cNvGrpSpPr/>
            <p:nvPr/>
          </p:nvGrpSpPr>
          <p:grpSpPr>
            <a:xfrm>
              <a:off x="163205" y="854930"/>
              <a:ext cx="1471747" cy="617019"/>
              <a:chOff x="1589729" y="541172"/>
              <a:chExt cx="1780814" cy="746593"/>
            </a:xfrm>
          </p:grpSpPr>
          <p:sp>
            <p:nvSpPr>
              <p:cNvPr id="31" name="圆角矩形 118">
                <a:extLst>
                  <a:ext uri="{FF2B5EF4-FFF2-40B4-BE49-F238E27FC236}">
                    <a16:creationId xmlns:a16="http://schemas.microsoft.com/office/drawing/2014/main" id="{EA4B2E16-A054-4698-A945-8B4F08EFCC74}"/>
                  </a:ext>
                </a:extLst>
              </p:cNvPr>
              <p:cNvSpPr/>
              <p:nvPr/>
            </p:nvSpPr>
            <p:spPr>
              <a:xfrm>
                <a:off x="1589729" y="541172"/>
                <a:ext cx="1780814" cy="746593"/>
              </a:xfrm>
              <a:prstGeom prst="roundRect">
                <a:avLst/>
              </a:prstGeom>
              <a:noFill/>
              <a:ln w="1905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  <p:pic>
            <p:nvPicPr>
              <p:cNvPr id="32" name="图片 31">
                <a:extLst>
                  <a:ext uri="{FF2B5EF4-FFF2-40B4-BE49-F238E27FC236}">
                    <a16:creationId xmlns:a16="http://schemas.microsoft.com/office/drawing/2014/main" id="{C3D6BD64-D871-4CD4-A4FF-AD4BE0C13B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2385374" y="574094"/>
                <a:ext cx="743095" cy="306527"/>
              </a:xfrm>
              <a:prstGeom prst="rect">
                <a:avLst/>
              </a:prstGeom>
            </p:spPr>
          </p:pic>
          <p:pic>
            <p:nvPicPr>
              <p:cNvPr id="33" name="图片 32">
                <a:extLst>
                  <a:ext uri="{FF2B5EF4-FFF2-40B4-BE49-F238E27FC236}">
                    <a16:creationId xmlns:a16="http://schemas.microsoft.com/office/drawing/2014/main" id="{63E4093C-ED81-4E78-90B4-FF27E69B4B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2443483" y="879683"/>
                <a:ext cx="830392" cy="145629"/>
              </a:xfrm>
              <a:prstGeom prst="rect">
                <a:avLst/>
              </a:prstGeom>
            </p:spPr>
          </p:pic>
          <p:pic>
            <p:nvPicPr>
              <p:cNvPr id="34" name="图片 33">
                <a:extLst>
                  <a:ext uri="{FF2B5EF4-FFF2-40B4-BE49-F238E27FC236}">
                    <a16:creationId xmlns:a16="http://schemas.microsoft.com/office/drawing/2014/main" id="{3FD79867-213D-4B04-979E-9CD33E4DDE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866686" y="608780"/>
                <a:ext cx="495930" cy="305187"/>
              </a:xfrm>
              <a:prstGeom prst="rect">
                <a:avLst/>
              </a:prstGeom>
            </p:spPr>
          </p:pic>
          <p:pic>
            <p:nvPicPr>
              <p:cNvPr id="35" name="图片 34">
                <a:extLst>
                  <a:ext uri="{FF2B5EF4-FFF2-40B4-BE49-F238E27FC236}">
                    <a16:creationId xmlns:a16="http://schemas.microsoft.com/office/drawing/2014/main" id="{28B83041-0A88-4736-9959-89AB86652A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636796" y="936712"/>
                <a:ext cx="737967" cy="240969"/>
              </a:xfrm>
              <a:prstGeom prst="rect">
                <a:avLst/>
              </a:prstGeom>
            </p:spPr>
          </p:pic>
        </p:grpSp>
      </p:grpSp>
      <p:sp>
        <p:nvSpPr>
          <p:cNvPr id="36" name="文本框 35">
            <a:extLst>
              <a:ext uri="{FF2B5EF4-FFF2-40B4-BE49-F238E27FC236}">
                <a16:creationId xmlns:a16="http://schemas.microsoft.com/office/drawing/2014/main" id="{0E668DD5-50AC-4BB8-A6A2-F356C89CB8B6}"/>
              </a:ext>
            </a:extLst>
          </p:cNvPr>
          <p:cNvSpPr txBox="1"/>
          <p:nvPr/>
        </p:nvSpPr>
        <p:spPr>
          <a:xfrm>
            <a:off x="3490159" y="3955811"/>
            <a:ext cx="1798860" cy="159999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Go to shipping desk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FedEx freight service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</a:rPr>
              <a:t>Get rates &amp; transit fare</a:t>
            </a:r>
            <a:endParaRPr lang="en-US" altLang="zh-CN" sz="900" dirty="0">
              <a:latin typeface="+mj-ea"/>
              <a:ea typeface="+mj-ea"/>
            </a:endParaRP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Create a shipment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View transit maps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Scheduled &amp; manage pick</a:t>
            </a:r>
          </a:p>
        </p:txBody>
      </p: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5CD1FE0E-36B9-410E-B82C-81EBFF84FB97}"/>
              </a:ext>
            </a:extLst>
          </p:cNvPr>
          <p:cNvCxnSpPr>
            <a:stCxn id="95" idx="2"/>
          </p:cNvCxnSpPr>
          <p:nvPr/>
        </p:nvCxnSpPr>
        <p:spPr>
          <a:xfrm>
            <a:off x="4414163" y="5491052"/>
            <a:ext cx="32624" cy="30425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图片 37">
            <a:extLst>
              <a:ext uri="{FF2B5EF4-FFF2-40B4-BE49-F238E27FC236}">
                <a16:creationId xmlns:a16="http://schemas.microsoft.com/office/drawing/2014/main" id="{9A5C5755-8C61-40DF-8407-2EE3CDA4BDF4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90574" y="5819541"/>
            <a:ext cx="1769585" cy="272131"/>
          </a:xfrm>
          <a:prstGeom prst="rect">
            <a:avLst/>
          </a:prstGeom>
        </p:spPr>
      </p:pic>
      <p:sp>
        <p:nvSpPr>
          <p:cNvPr id="39" name="圆角矩形 127">
            <a:extLst>
              <a:ext uri="{FF2B5EF4-FFF2-40B4-BE49-F238E27FC236}">
                <a16:creationId xmlns:a16="http://schemas.microsoft.com/office/drawing/2014/main" id="{0376E415-A233-4374-A045-F8F16FD95C12}"/>
              </a:ext>
            </a:extLst>
          </p:cNvPr>
          <p:cNvSpPr/>
          <p:nvPr/>
        </p:nvSpPr>
        <p:spPr>
          <a:xfrm flipH="1">
            <a:off x="3948709" y="5795305"/>
            <a:ext cx="1927048" cy="338891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1600"/>
          </a:p>
        </p:txBody>
      </p: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A5C93ADB-4529-4543-8FEB-453F15BD6F80}"/>
              </a:ext>
            </a:extLst>
          </p:cNvPr>
          <p:cNvGrpSpPr/>
          <p:nvPr/>
        </p:nvGrpSpPr>
        <p:grpSpPr>
          <a:xfrm>
            <a:off x="2832523" y="1057075"/>
            <a:ext cx="1623159" cy="618756"/>
            <a:chOff x="3823211" y="485979"/>
            <a:chExt cx="1780814" cy="678855"/>
          </a:xfrm>
        </p:grpSpPr>
        <p:pic>
          <p:nvPicPr>
            <p:cNvPr id="41" name="图片 40">
              <a:extLst>
                <a:ext uri="{FF2B5EF4-FFF2-40B4-BE49-F238E27FC236}">
                  <a16:creationId xmlns:a16="http://schemas.microsoft.com/office/drawing/2014/main" id="{DE4386A7-C3CC-4B0C-9DAC-7AD63621C0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803956" y="551272"/>
              <a:ext cx="790313" cy="281879"/>
            </a:xfrm>
            <a:prstGeom prst="rect">
              <a:avLst/>
            </a:prstGeom>
          </p:spPr>
        </p:pic>
        <p:pic>
          <p:nvPicPr>
            <p:cNvPr id="42" name="图片 41">
              <a:extLst>
                <a:ext uri="{FF2B5EF4-FFF2-40B4-BE49-F238E27FC236}">
                  <a16:creationId xmlns:a16="http://schemas.microsoft.com/office/drawing/2014/main" id="{939DB886-B9F9-4520-BE03-AECD518A4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883579" y="785378"/>
              <a:ext cx="614590" cy="331683"/>
            </a:xfrm>
            <a:prstGeom prst="rect">
              <a:avLst/>
            </a:prstGeom>
          </p:spPr>
        </p:pic>
        <p:pic>
          <p:nvPicPr>
            <p:cNvPr id="43" name="图片 42">
              <a:extLst>
                <a:ext uri="{FF2B5EF4-FFF2-40B4-BE49-F238E27FC236}">
                  <a16:creationId xmlns:a16="http://schemas.microsoft.com/office/drawing/2014/main" id="{AD62362C-42E0-488F-A6C3-08B306144A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317530" y="559916"/>
              <a:ext cx="464529" cy="481344"/>
            </a:xfrm>
            <a:prstGeom prst="rect">
              <a:avLst/>
            </a:prstGeom>
          </p:spPr>
        </p:pic>
        <p:pic>
          <p:nvPicPr>
            <p:cNvPr id="44" name="图片 43">
              <a:extLst>
                <a:ext uri="{FF2B5EF4-FFF2-40B4-BE49-F238E27FC236}">
                  <a16:creationId xmlns:a16="http://schemas.microsoft.com/office/drawing/2014/main" id="{6188910D-4B18-4F93-B658-CAE8F2EA32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856969" y="578533"/>
              <a:ext cx="460561" cy="421364"/>
            </a:xfrm>
            <a:prstGeom prst="rect">
              <a:avLst/>
            </a:prstGeom>
          </p:spPr>
        </p:pic>
        <p:sp>
          <p:nvSpPr>
            <p:cNvPr id="45" name="圆角矩形 130">
              <a:extLst>
                <a:ext uri="{FF2B5EF4-FFF2-40B4-BE49-F238E27FC236}">
                  <a16:creationId xmlns:a16="http://schemas.microsoft.com/office/drawing/2014/main" id="{7008AA9E-E217-46EE-9270-E8002F2B5837}"/>
                </a:ext>
              </a:extLst>
            </p:cNvPr>
            <p:cNvSpPr/>
            <p:nvPr/>
          </p:nvSpPr>
          <p:spPr>
            <a:xfrm>
              <a:off x="3823211" y="485979"/>
              <a:ext cx="1780814" cy="678855"/>
            </a:xfrm>
            <a:prstGeom prst="round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E929CB22-E53B-4929-8E35-911295295C3F}"/>
              </a:ext>
            </a:extLst>
          </p:cNvPr>
          <p:cNvGrpSpPr/>
          <p:nvPr/>
        </p:nvGrpSpPr>
        <p:grpSpPr>
          <a:xfrm>
            <a:off x="4636791" y="1057075"/>
            <a:ext cx="1761368" cy="618756"/>
            <a:chOff x="5933073" y="650647"/>
            <a:chExt cx="2156823" cy="678855"/>
          </a:xfrm>
        </p:grpSpPr>
        <p:pic>
          <p:nvPicPr>
            <p:cNvPr id="47" name="图片 46">
              <a:extLst>
                <a:ext uri="{FF2B5EF4-FFF2-40B4-BE49-F238E27FC236}">
                  <a16:creationId xmlns:a16="http://schemas.microsoft.com/office/drawing/2014/main" id="{0D61F586-B234-4331-BC6A-2CA1AE09D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002054" y="687303"/>
              <a:ext cx="840548" cy="501431"/>
            </a:xfrm>
            <a:prstGeom prst="rect">
              <a:avLst/>
            </a:prstGeom>
          </p:spPr>
        </p:pic>
        <p:pic>
          <p:nvPicPr>
            <p:cNvPr id="48" name="图片 47">
              <a:extLst>
                <a:ext uri="{FF2B5EF4-FFF2-40B4-BE49-F238E27FC236}">
                  <a16:creationId xmlns:a16="http://schemas.microsoft.com/office/drawing/2014/main" id="{08B09ED6-EB2E-480C-BECC-AFEA2A86A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824020" y="652898"/>
              <a:ext cx="1086294" cy="379178"/>
            </a:xfrm>
            <a:prstGeom prst="rect">
              <a:avLst/>
            </a:prstGeom>
          </p:spPr>
        </p:pic>
        <p:sp>
          <p:nvSpPr>
            <p:cNvPr id="49" name="圆角矩形 143">
              <a:extLst>
                <a:ext uri="{FF2B5EF4-FFF2-40B4-BE49-F238E27FC236}">
                  <a16:creationId xmlns:a16="http://schemas.microsoft.com/office/drawing/2014/main" id="{8EC02D2F-9EAB-4924-A03A-F055B4D9CB41}"/>
                </a:ext>
              </a:extLst>
            </p:cNvPr>
            <p:cNvSpPr/>
            <p:nvPr/>
          </p:nvSpPr>
          <p:spPr>
            <a:xfrm>
              <a:off x="5933073" y="650647"/>
              <a:ext cx="2156823" cy="678855"/>
            </a:xfrm>
            <a:prstGeom prst="round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pic>
          <p:nvPicPr>
            <p:cNvPr id="50" name="图片 49">
              <a:extLst>
                <a:ext uri="{FF2B5EF4-FFF2-40B4-BE49-F238E27FC236}">
                  <a16:creationId xmlns:a16="http://schemas.microsoft.com/office/drawing/2014/main" id="{D50BA124-202F-42A8-A3A5-66DD50E23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949736" y="987201"/>
              <a:ext cx="974731" cy="259374"/>
            </a:xfrm>
            <a:prstGeom prst="rect">
              <a:avLst/>
            </a:prstGeom>
          </p:spPr>
        </p:pic>
      </p:grpSp>
      <p:grpSp>
        <p:nvGrpSpPr>
          <p:cNvPr id="51" name="组合 50"/>
          <p:cNvGrpSpPr/>
          <p:nvPr/>
        </p:nvGrpSpPr>
        <p:grpSpPr>
          <a:xfrm>
            <a:off x="6579275" y="1057077"/>
            <a:ext cx="2133960" cy="623311"/>
            <a:chOff x="4805868" y="1201828"/>
            <a:chExt cx="1600470" cy="467483"/>
          </a:xfrm>
        </p:grpSpPr>
        <p:pic>
          <p:nvPicPr>
            <p:cNvPr id="52" name="图片 51">
              <a:extLst>
                <a:ext uri="{FF2B5EF4-FFF2-40B4-BE49-F238E27FC236}">
                  <a16:creationId xmlns:a16="http://schemas.microsoft.com/office/drawing/2014/main" id="{26396B97-57D4-45D2-95FE-F8ADF4ABCD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892941" y="1224212"/>
              <a:ext cx="333670" cy="220308"/>
            </a:xfrm>
            <a:prstGeom prst="rect">
              <a:avLst/>
            </a:prstGeom>
          </p:spPr>
        </p:pic>
        <p:grpSp>
          <p:nvGrpSpPr>
            <p:cNvPr id="53" name="组合 52">
              <a:extLst>
                <a:ext uri="{FF2B5EF4-FFF2-40B4-BE49-F238E27FC236}">
                  <a16:creationId xmlns:a16="http://schemas.microsoft.com/office/drawing/2014/main" id="{19C9C32E-78BD-4CA4-BFAE-9D6D41F392A1}"/>
                </a:ext>
              </a:extLst>
            </p:cNvPr>
            <p:cNvGrpSpPr/>
            <p:nvPr/>
          </p:nvGrpSpPr>
          <p:grpSpPr>
            <a:xfrm>
              <a:off x="4805868" y="1201828"/>
              <a:ext cx="1600470" cy="467483"/>
              <a:chOff x="6726340" y="570146"/>
              <a:chExt cx="2341227" cy="683852"/>
            </a:xfrm>
          </p:grpSpPr>
          <p:grpSp>
            <p:nvGrpSpPr>
              <p:cNvPr id="54" name="组合 53">
                <a:extLst>
                  <a:ext uri="{FF2B5EF4-FFF2-40B4-BE49-F238E27FC236}">
                    <a16:creationId xmlns:a16="http://schemas.microsoft.com/office/drawing/2014/main" id="{79681180-BD72-4002-8862-A7416D331EDE}"/>
                  </a:ext>
                </a:extLst>
              </p:cNvPr>
              <p:cNvGrpSpPr/>
              <p:nvPr/>
            </p:nvGrpSpPr>
            <p:grpSpPr>
              <a:xfrm>
                <a:off x="6849503" y="673209"/>
                <a:ext cx="1355333" cy="421730"/>
                <a:chOff x="6818291" y="3472862"/>
                <a:chExt cx="2215451" cy="649534"/>
              </a:xfrm>
            </p:grpSpPr>
            <p:pic>
              <p:nvPicPr>
                <p:cNvPr id="59" name="图片 58">
                  <a:extLst>
                    <a:ext uri="{FF2B5EF4-FFF2-40B4-BE49-F238E27FC236}">
                      <a16:creationId xmlns:a16="http://schemas.microsoft.com/office/drawing/2014/main" id="{C4C7559E-EA79-47A8-910A-3DCCEDA096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6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7719454" y="3472862"/>
                  <a:ext cx="1314288" cy="244695"/>
                </a:xfrm>
                <a:prstGeom prst="rect">
                  <a:avLst/>
                </a:prstGeom>
              </p:spPr>
            </p:pic>
            <p:pic>
              <p:nvPicPr>
                <p:cNvPr id="60" name="图片 59">
                  <a:extLst>
                    <a:ext uri="{FF2B5EF4-FFF2-40B4-BE49-F238E27FC236}">
                      <a16:creationId xmlns:a16="http://schemas.microsoft.com/office/drawing/2014/main" id="{8AEBE46E-5F1A-4212-8C04-12956CEDA7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6818291" y="3886358"/>
                  <a:ext cx="829174" cy="212116"/>
                </a:xfrm>
                <a:prstGeom prst="rect">
                  <a:avLst/>
                </a:prstGeom>
              </p:spPr>
            </p:pic>
            <p:pic>
              <p:nvPicPr>
                <p:cNvPr id="61" name="图片 60">
                  <a:extLst>
                    <a:ext uri="{FF2B5EF4-FFF2-40B4-BE49-F238E27FC236}">
                      <a16:creationId xmlns:a16="http://schemas.microsoft.com/office/drawing/2014/main" id="{C5810283-C5C0-4C4C-ADBB-0A9EF05F786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8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7747154" y="3939238"/>
                  <a:ext cx="1277782" cy="183158"/>
                </a:xfrm>
                <a:prstGeom prst="rect">
                  <a:avLst/>
                </a:prstGeom>
              </p:spPr>
            </p:pic>
          </p:grpSp>
          <p:grpSp>
            <p:nvGrpSpPr>
              <p:cNvPr id="55" name="组合 54">
                <a:extLst>
                  <a:ext uri="{FF2B5EF4-FFF2-40B4-BE49-F238E27FC236}">
                    <a16:creationId xmlns:a16="http://schemas.microsoft.com/office/drawing/2014/main" id="{21E706D6-8C8A-4B83-833E-5B34C7A8AEE2}"/>
                  </a:ext>
                </a:extLst>
              </p:cNvPr>
              <p:cNvGrpSpPr/>
              <p:nvPr/>
            </p:nvGrpSpPr>
            <p:grpSpPr>
              <a:xfrm>
                <a:off x="8235544" y="570146"/>
                <a:ext cx="832023" cy="609019"/>
                <a:chOff x="5873734" y="3127847"/>
                <a:chExt cx="1171575" cy="899829"/>
              </a:xfrm>
            </p:grpSpPr>
            <p:pic>
              <p:nvPicPr>
                <p:cNvPr id="57" name="图片 56">
                  <a:extLst>
                    <a:ext uri="{FF2B5EF4-FFF2-40B4-BE49-F238E27FC236}">
                      <a16:creationId xmlns:a16="http://schemas.microsoft.com/office/drawing/2014/main" id="{A6191D44-B789-4FA0-99C8-7F7C238E1E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9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5873734" y="3127847"/>
                  <a:ext cx="1171575" cy="552450"/>
                </a:xfrm>
                <a:prstGeom prst="rect">
                  <a:avLst/>
                </a:prstGeom>
              </p:spPr>
            </p:pic>
            <p:pic>
              <p:nvPicPr>
                <p:cNvPr id="58" name="图片 57">
                  <a:extLst>
                    <a:ext uri="{FF2B5EF4-FFF2-40B4-BE49-F238E27FC236}">
                      <a16:creationId xmlns:a16="http://schemas.microsoft.com/office/drawing/2014/main" id="{1DEC47A4-6D88-4E7C-A499-EE6869105DE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0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6011562" y="3607388"/>
                  <a:ext cx="767153" cy="420288"/>
                </a:xfrm>
                <a:prstGeom prst="rect">
                  <a:avLst/>
                </a:prstGeom>
              </p:spPr>
            </p:pic>
          </p:grpSp>
          <p:sp>
            <p:nvSpPr>
              <p:cNvPr id="56" name="圆角矩形 156">
                <a:extLst>
                  <a:ext uri="{FF2B5EF4-FFF2-40B4-BE49-F238E27FC236}">
                    <a16:creationId xmlns:a16="http://schemas.microsoft.com/office/drawing/2014/main" id="{C19BB2BB-5AF3-4831-B587-16D540633437}"/>
                  </a:ext>
                </a:extLst>
              </p:cNvPr>
              <p:cNvSpPr/>
              <p:nvPr/>
            </p:nvSpPr>
            <p:spPr>
              <a:xfrm>
                <a:off x="6726340" y="575143"/>
                <a:ext cx="2341227" cy="678855"/>
              </a:xfrm>
              <a:prstGeom prst="roundRect">
                <a:avLst/>
              </a:prstGeom>
              <a:noFill/>
              <a:ln w="1905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600"/>
              </a:p>
            </p:txBody>
          </p:sp>
        </p:grpSp>
      </p:grpSp>
      <p:sp>
        <p:nvSpPr>
          <p:cNvPr id="62" name="文本框 61">
            <a:extLst>
              <a:ext uri="{FF2B5EF4-FFF2-40B4-BE49-F238E27FC236}">
                <a16:creationId xmlns:a16="http://schemas.microsoft.com/office/drawing/2014/main" id="{BC31C1A4-C8A2-405E-A3BA-B34782B20094}"/>
              </a:ext>
            </a:extLst>
          </p:cNvPr>
          <p:cNvSpPr txBox="1"/>
          <p:nvPr/>
        </p:nvSpPr>
        <p:spPr>
          <a:xfrm>
            <a:off x="5145848" y="3955811"/>
            <a:ext cx="1727531" cy="159999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ship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Fast ship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Temperature-control options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Truckload solutions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Secure transportation services</a:t>
            </a: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34E0859A-FA83-463C-AA11-9440D67FCB0B}"/>
              </a:ext>
            </a:extLst>
          </p:cNvPr>
          <p:cNvSpPr txBox="1"/>
          <p:nvPr/>
        </p:nvSpPr>
        <p:spPr>
          <a:xfrm>
            <a:off x="6759526" y="3965132"/>
            <a:ext cx="1934793" cy="95385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Get forms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My forms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latin typeface="+mj-ea"/>
                <a:ea typeface="+mj-ea"/>
              </a:rPr>
              <a:t>Importer security filing </a:t>
            </a:r>
          </a:p>
          <a:p>
            <a:pPr marL="228584" indent="-22858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900" dirty="0" err="1">
                <a:latin typeface="+mj-ea"/>
                <a:ea typeface="+mj-ea"/>
              </a:rPr>
              <a:t>eManifest</a:t>
            </a:r>
            <a:r>
              <a:rPr lang="en-US" altLang="zh-CN" sz="900" dirty="0">
                <a:latin typeface="+mj-ea"/>
                <a:ea typeface="+mj-ea"/>
              </a:rPr>
              <a:t> </a:t>
            </a:r>
          </a:p>
        </p:txBody>
      </p: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40C3E819-F13D-4FA5-B184-077F81965150}"/>
              </a:ext>
            </a:extLst>
          </p:cNvPr>
          <p:cNvGrpSpPr/>
          <p:nvPr/>
        </p:nvGrpSpPr>
        <p:grpSpPr>
          <a:xfrm>
            <a:off x="6787135" y="5047247"/>
            <a:ext cx="1966836" cy="1144496"/>
            <a:chOff x="5191482" y="4001619"/>
            <a:chExt cx="1783365" cy="1037735"/>
          </a:xfrm>
        </p:grpSpPr>
        <p:pic>
          <p:nvPicPr>
            <p:cNvPr id="65" name="图片 64">
              <a:extLst>
                <a:ext uri="{FF2B5EF4-FFF2-40B4-BE49-F238E27FC236}">
                  <a16:creationId xmlns:a16="http://schemas.microsoft.com/office/drawing/2014/main" id="{75C9628B-E4C0-4FA8-BE3C-26EF12C55C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319860" y="4598024"/>
              <a:ext cx="587726" cy="279411"/>
            </a:xfrm>
            <a:prstGeom prst="rect">
              <a:avLst/>
            </a:prstGeom>
          </p:spPr>
        </p:pic>
        <p:grpSp>
          <p:nvGrpSpPr>
            <p:cNvPr id="66" name="组合 65">
              <a:extLst>
                <a:ext uri="{FF2B5EF4-FFF2-40B4-BE49-F238E27FC236}">
                  <a16:creationId xmlns:a16="http://schemas.microsoft.com/office/drawing/2014/main" id="{BC0872DE-9529-4A97-8FC8-F317F8AEC70C}"/>
                </a:ext>
              </a:extLst>
            </p:cNvPr>
            <p:cNvGrpSpPr/>
            <p:nvPr/>
          </p:nvGrpSpPr>
          <p:grpSpPr>
            <a:xfrm>
              <a:off x="5206918" y="4089270"/>
              <a:ext cx="1744577" cy="950084"/>
              <a:chOff x="5017160" y="4191771"/>
              <a:chExt cx="1744577" cy="950084"/>
            </a:xfrm>
          </p:grpSpPr>
          <p:pic>
            <p:nvPicPr>
              <p:cNvPr id="68" name="图片 67">
                <a:extLst>
                  <a:ext uri="{FF2B5EF4-FFF2-40B4-BE49-F238E27FC236}">
                    <a16:creationId xmlns:a16="http://schemas.microsoft.com/office/drawing/2014/main" id="{0E48576E-07EF-48A4-B7A9-7DAD10304E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5604886" y="4552428"/>
                <a:ext cx="542615" cy="310588"/>
              </a:xfrm>
              <a:prstGeom prst="rect">
                <a:avLst/>
              </a:prstGeom>
            </p:spPr>
          </p:pic>
          <p:pic>
            <p:nvPicPr>
              <p:cNvPr id="69" name="图片 68">
                <a:extLst>
                  <a:ext uri="{FF2B5EF4-FFF2-40B4-BE49-F238E27FC236}">
                    <a16:creationId xmlns:a16="http://schemas.microsoft.com/office/drawing/2014/main" id="{55DB5A5C-D2C0-463F-8544-962C4E8F35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5624928" y="4191771"/>
                <a:ext cx="560545" cy="218428"/>
              </a:xfrm>
              <a:prstGeom prst="rect">
                <a:avLst/>
              </a:prstGeom>
            </p:spPr>
          </p:pic>
          <p:pic>
            <p:nvPicPr>
              <p:cNvPr id="70" name="图片 69">
                <a:extLst>
                  <a:ext uri="{FF2B5EF4-FFF2-40B4-BE49-F238E27FC236}">
                    <a16:creationId xmlns:a16="http://schemas.microsoft.com/office/drawing/2014/main" id="{DF8F8582-89AA-4164-84DC-F7AA190966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5611701" y="4406565"/>
                <a:ext cx="541562" cy="109835"/>
              </a:xfrm>
              <a:prstGeom prst="rect">
                <a:avLst/>
              </a:prstGeom>
            </p:spPr>
          </p:pic>
          <p:pic>
            <p:nvPicPr>
              <p:cNvPr id="71" name="图片 70">
                <a:extLst>
                  <a:ext uri="{FF2B5EF4-FFF2-40B4-BE49-F238E27FC236}">
                    <a16:creationId xmlns:a16="http://schemas.microsoft.com/office/drawing/2014/main" id="{8C300FFA-4823-426F-B35B-1D61177C6F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5617607" y="4831838"/>
                <a:ext cx="537290" cy="268645"/>
              </a:xfrm>
              <a:prstGeom prst="rect">
                <a:avLst/>
              </a:prstGeom>
            </p:spPr>
          </p:pic>
          <p:grpSp>
            <p:nvGrpSpPr>
              <p:cNvPr id="72" name="组合 71">
                <a:extLst>
                  <a:ext uri="{FF2B5EF4-FFF2-40B4-BE49-F238E27FC236}">
                    <a16:creationId xmlns:a16="http://schemas.microsoft.com/office/drawing/2014/main" id="{DD3F071F-E84D-415C-9907-BAF34CA13EAD}"/>
                  </a:ext>
                </a:extLst>
              </p:cNvPr>
              <p:cNvGrpSpPr/>
              <p:nvPr/>
            </p:nvGrpSpPr>
            <p:grpSpPr>
              <a:xfrm>
                <a:off x="5017160" y="4198591"/>
                <a:ext cx="1744577" cy="943264"/>
                <a:chOff x="5017160" y="4198591"/>
                <a:chExt cx="1744577" cy="943264"/>
              </a:xfrm>
            </p:grpSpPr>
            <p:pic>
              <p:nvPicPr>
                <p:cNvPr id="73" name="图片 72">
                  <a:extLst>
                    <a:ext uri="{FF2B5EF4-FFF2-40B4-BE49-F238E27FC236}">
                      <a16:creationId xmlns:a16="http://schemas.microsoft.com/office/drawing/2014/main" id="{98CCB803-F566-4A45-B637-95DD4F2C54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6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5017160" y="4626860"/>
                  <a:ext cx="575850" cy="258478"/>
                </a:xfrm>
                <a:prstGeom prst="rect">
                  <a:avLst/>
                </a:prstGeom>
              </p:spPr>
            </p:pic>
            <p:pic>
              <p:nvPicPr>
                <p:cNvPr id="74" name="图片 73">
                  <a:extLst>
                    <a:ext uri="{FF2B5EF4-FFF2-40B4-BE49-F238E27FC236}">
                      <a16:creationId xmlns:a16="http://schemas.microsoft.com/office/drawing/2014/main" id="{D35E3B95-D32A-459B-A7F5-0B9CDB45E6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5111546" y="4375787"/>
                  <a:ext cx="442675" cy="297270"/>
                </a:xfrm>
                <a:prstGeom prst="rect">
                  <a:avLst/>
                </a:prstGeom>
              </p:spPr>
            </p:pic>
            <p:pic>
              <p:nvPicPr>
                <p:cNvPr id="75" name="图片 74">
                  <a:extLst>
                    <a:ext uri="{FF2B5EF4-FFF2-40B4-BE49-F238E27FC236}">
                      <a16:creationId xmlns:a16="http://schemas.microsoft.com/office/drawing/2014/main" id="{768DC732-8DA0-4BAF-877A-3BB20E008F2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8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5064785" y="4892817"/>
                  <a:ext cx="525925" cy="142000"/>
                </a:xfrm>
                <a:prstGeom prst="rect">
                  <a:avLst/>
                </a:prstGeom>
              </p:spPr>
            </p:pic>
            <p:grpSp>
              <p:nvGrpSpPr>
                <p:cNvPr id="76" name="组合 75">
                  <a:extLst>
                    <a:ext uri="{FF2B5EF4-FFF2-40B4-BE49-F238E27FC236}">
                      <a16:creationId xmlns:a16="http://schemas.microsoft.com/office/drawing/2014/main" id="{486534C3-22F5-44D0-88CF-B2C29324C7B0}"/>
                    </a:ext>
                  </a:extLst>
                </p:cNvPr>
                <p:cNvGrpSpPr/>
                <p:nvPr/>
              </p:nvGrpSpPr>
              <p:grpSpPr>
                <a:xfrm>
                  <a:off x="5121652" y="4198591"/>
                  <a:ext cx="1640085" cy="943264"/>
                  <a:chOff x="3965646" y="4977743"/>
                  <a:chExt cx="1640085" cy="943264"/>
                </a:xfrm>
              </p:grpSpPr>
              <p:pic>
                <p:nvPicPr>
                  <p:cNvPr id="77" name="图片 76">
                    <a:extLst>
                      <a:ext uri="{FF2B5EF4-FFF2-40B4-BE49-F238E27FC236}">
                        <a16:creationId xmlns:a16="http://schemas.microsoft.com/office/drawing/2014/main" id="{BD8FF1E9-8DC9-412B-BAC5-C9B30417592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9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tretch>
                    <a:fillRect/>
                  </a:stretch>
                </p:blipFill>
                <p:spPr>
                  <a:xfrm>
                    <a:off x="5030164" y="4977743"/>
                    <a:ext cx="575567" cy="405028"/>
                  </a:xfrm>
                  <a:prstGeom prst="rect">
                    <a:avLst/>
                  </a:prstGeom>
                </p:spPr>
              </p:pic>
              <p:pic>
                <p:nvPicPr>
                  <p:cNvPr id="78" name="图片 77">
                    <a:extLst>
                      <a:ext uri="{FF2B5EF4-FFF2-40B4-BE49-F238E27FC236}">
                        <a16:creationId xmlns:a16="http://schemas.microsoft.com/office/drawing/2014/main" id="{9EE0A8A8-7B6F-4777-BA0F-7016C9F1035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0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tretch>
                    <a:fillRect/>
                  </a:stretch>
                </p:blipFill>
                <p:spPr>
                  <a:xfrm>
                    <a:off x="5044122" y="5305852"/>
                    <a:ext cx="540947" cy="194740"/>
                  </a:xfrm>
                  <a:prstGeom prst="rect">
                    <a:avLst/>
                  </a:prstGeom>
                </p:spPr>
              </p:pic>
              <p:pic>
                <p:nvPicPr>
                  <p:cNvPr id="79" name="图片 78">
                    <a:extLst>
                      <a:ext uri="{FF2B5EF4-FFF2-40B4-BE49-F238E27FC236}">
                        <a16:creationId xmlns:a16="http://schemas.microsoft.com/office/drawing/2014/main" id="{C0206DA9-F8A7-48AA-A205-85102B1670E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1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tretch>
                    <a:fillRect/>
                  </a:stretch>
                </p:blipFill>
                <p:spPr>
                  <a:xfrm>
                    <a:off x="5034915" y="5660194"/>
                    <a:ext cx="540947" cy="260813"/>
                  </a:xfrm>
                  <a:prstGeom prst="rect">
                    <a:avLst/>
                  </a:prstGeom>
                </p:spPr>
              </p:pic>
              <p:pic>
                <p:nvPicPr>
                  <p:cNvPr id="80" name="图片 79">
                    <a:extLst>
                      <a:ext uri="{FF2B5EF4-FFF2-40B4-BE49-F238E27FC236}">
                        <a16:creationId xmlns:a16="http://schemas.microsoft.com/office/drawing/2014/main" id="{A797876E-413E-4EE8-A7B2-E0658AD0B92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2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tretch>
                    <a:fillRect/>
                  </a:stretch>
                </p:blipFill>
                <p:spPr>
                  <a:xfrm>
                    <a:off x="3965646" y="4990967"/>
                    <a:ext cx="465692" cy="160919"/>
                  </a:xfrm>
                  <a:prstGeom prst="rect">
                    <a:avLst/>
                  </a:prstGeom>
                </p:spPr>
              </p:pic>
            </p:grpSp>
          </p:grpSp>
        </p:grpSp>
        <p:sp>
          <p:nvSpPr>
            <p:cNvPr id="67" name="圆角矩形 191">
              <a:extLst>
                <a:ext uri="{FF2B5EF4-FFF2-40B4-BE49-F238E27FC236}">
                  <a16:creationId xmlns:a16="http://schemas.microsoft.com/office/drawing/2014/main" id="{79C96C1F-345B-4C97-AB08-C653B2F05AFE}"/>
                </a:ext>
              </a:extLst>
            </p:cNvPr>
            <p:cNvSpPr/>
            <p:nvPr/>
          </p:nvSpPr>
          <p:spPr>
            <a:xfrm>
              <a:off x="5191482" y="4001619"/>
              <a:ext cx="1783365" cy="1037735"/>
            </a:xfrm>
            <a:prstGeom prst="round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</p:grp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D6AD5F89-D6CB-4C44-B035-7ECC3B6B53F8}"/>
              </a:ext>
            </a:extLst>
          </p:cNvPr>
          <p:cNvCxnSpPr>
            <a:stCxn id="97" idx="3"/>
          </p:cNvCxnSpPr>
          <p:nvPr/>
        </p:nvCxnSpPr>
        <p:spPr>
          <a:xfrm>
            <a:off x="6072125" y="4341639"/>
            <a:ext cx="836128" cy="7056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组合 81"/>
          <p:cNvGrpSpPr/>
          <p:nvPr/>
        </p:nvGrpSpPr>
        <p:grpSpPr>
          <a:xfrm>
            <a:off x="1204399" y="1925181"/>
            <a:ext cx="7336269" cy="700800"/>
            <a:chOff x="774710" y="1446225"/>
            <a:chExt cx="5502202" cy="525600"/>
          </a:xfrm>
        </p:grpSpPr>
        <p:pic>
          <p:nvPicPr>
            <p:cNvPr id="83" name="图片 82"/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774710" y="1447798"/>
              <a:ext cx="1019175" cy="523875"/>
            </a:xfrm>
            <a:prstGeom prst="rect">
              <a:avLst/>
            </a:prstGeom>
          </p:spPr>
        </p:pic>
        <p:sp>
          <p:nvSpPr>
            <p:cNvPr id="84" name="矩形 83"/>
            <p:cNvSpPr/>
            <p:nvPr/>
          </p:nvSpPr>
          <p:spPr>
            <a:xfrm>
              <a:off x="1786588" y="1446225"/>
              <a:ext cx="4490324" cy="525600"/>
            </a:xfrm>
            <a:prstGeom prst="rect">
              <a:avLst/>
            </a:prstGeom>
            <a:solidFill>
              <a:srgbClr val="4D148C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500"/>
            </a:p>
          </p:txBody>
        </p:sp>
        <p:sp>
          <p:nvSpPr>
            <p:cNvPr id="85" name="文本框 84">
              <a:extLst>
                <a:ext uri="{FF2B5EF4-FFF2-40B4-BE49-F238E27FC236}">
                  <a16:creationId xmlns:a16="http://schemas.microsoft.com/office/drawing/2014/main" id="{2F05D98F-B158-4A6C-AD4E-963BC5AB2AAA}"/>
                </a:ext>
              </a:extLst>
            </p:cNvPr>
            <p:cNvSpPr txBox="1"/>
            <p:nvPr/>
          </p:nvSpPr>
          <p:spPr>
            <a:xfrm>
              <a:off x="4889115" y="1554085"/>
              <a:ext cx="817313" cy="2423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500" b="1" dirty="0">
                  <a:solidFill>
                    <a:schemeClr val="bg1"/>
                  </a:solidFill>
                  <a:latin typeface="+mj-ea"/>
                  <a:ea typeface="+mj-ea"/>
                </a:rPr>
                <a:t>Manage</a:t>
              </a:r>
              <a:endParaRPr lang="zh-CN" altLang="en-US" sz="1500" b="1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C07F8948-D195-47FA-9801-68C6668DF8DC}"/>
                </a:ext>
              </a:extLst>
            </p:cNvPr>
            <p:cNvSpPr/>
            <p:nvPr/>
          </p:nvSpPr>
          <p:spPr>
            <a:xfrm>
              <a:off x="2263121" y="1569409"/>
              <a:ext cx="829795" cy="2423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500" b="1" dirty="0">
                  <a:solidFill>
                    <a:schemeClr val="bg1"/>
                  </a:solidFill>
                  <a:latin typeface="+mj-ea"/>
                  <a:ea typeface="+mj-ea"/>
                </a:rPr>
                <a:t>Shipping </a:t>
              </a:r>
              <a:endParaRPr lang="zh-CN" altLang="en-US" sz="1500" b="1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  <p:sp>
          <p:nvSpPr>
            <p:cNvPr id="87" name="矩形 86"/>
            <p:cNvSpPr/>
            <p:nvPr/>
          </p:nvSpPr>
          <p:spPr>
            <a:xfrm>
              <a:off x="3638711" y="1554085"/>
              <a:ext cx="769443" cy="2423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500" b="1" dirty="0">
                  <a:solidFill>
                    <a:schemeClr val="bg1"/>
                  </a:solidFill>
                  <a:latin typeface="+mj-ea"/>
                  <a:ea typeface="+mj-ea"/>
                </a:rPr>
                <a:t>Tracking</a:t>
              </a:r>
              <a:endParaRPr lang="zh-CN" altLang="en-US" sz="1500" b="1" dirty="0">
                <a:solidFill>
                  <a:schemeClr val="bg1"/>
                </a:solidFill>
                <a:latin typeface="+mj-ea"/>
                <a:ea typeface="+mj-ea"/>
              </a:endParaRPr>
            </a:p>
          </p:txBody>
        </p:sp>
      </p:grpSp>
      <p:sp>
        <p:nvSpPr>
          <p:cNvPr id="88" name="等腰三角形 87"/>
          <p:cNvSpPr/>
          <p:nvPr/>
        </p:nvSpPr>
        <p:spPr>
          <a:xfrm flipV="1">
            <a:off x="4156095" y="2202336"/>
            <a:ext cx="113607" cy="172677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/>
          </a:p>
        </p:txBody>
      </p: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D6AD5F89-D6CB-4C44-B035-7ECC3B6B53F8}"/>
              </a:ext>
            </a:extLst>
          </p:cNvPr>
          <p:cNvCxnSpPr/>
          <p:nvPr/>
        </p:nvCxnSpPr>
        <p:spPr>
          <a:xfrm>
            <a:off x="2210091" y="1674016"/>
            <a:ext cx="1588924" cy="171169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直接连接符 89">
            <a:extLst>
              <a:ext uri="{FF2B5EF4-FFF2-40B4-BE49-F238E27FC236}">
                <a16:creationId xmlns:a16="http://schemas.microsoft.com/office/drawing/2014/main" id="{D6AD5F89-D6CB-4C44-B035-7ECC3B6B53F8}"/>
              </a:ext>
            </a:extLst>
          </p:cNvPr>
          <p:cNvCxnSpPr/>
          <p:nvPr/>
        </p:nvCxnSpPr>
        <p:spPr>
          <a:xfrm>
            <a:off x="4383395" y="1635881"/>
            <a:ext cx="992772" cy="52622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直接连接符 90">
            <a:extLst>
              <a:ext uri="{FF2B5EF4-FFF2-40B4-BE49-F238E27FC236}">
                <a16:creationId xmlns:a16="http://schemas.microsoft.com/office/drawing/2014/main" id="{D6AD5F89-D6CB-4C44-B035-7ECC3B6B53F8}"/>
              </a:ext>
            </a:extLst>
          </p:cNvPr>
          <p:cNvCxnSpPr/>
          <p:nvPr/>
        </p:nvCxnSpPr>
        <p:spPr>
          <a:xfrm>
            <a:off x="5996139" y="1660648"/>
            <a:ext cx="982639" cy="4371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直接连接符 91">
            <a:extLst>
              <a:ext uri="{FF2B5EF4-FFF2-40B4-BE49-F238E27FC236}">
                <a16:creationId xmlns:a16="http://schemas.microsoft.com/office/drawing/2014/main" id="{D6AD5F89-D6CB-4C44-B035-7ECC3B6B53F8}"/>
              </a:ext>
            </a:extLst>
          </p:cNvPr>
          <p:cNvCxnSpPr/>
          <p:nvPr/>
        </p:nvCxnSpPr>
        <p:spPr>
          <a:xfrm flipH="1">
            <a:off x="7780025" y="1686529"/>
            <a:ext cx="818417" cy="195913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接连接符 92">
            <a:extLst>
              <a:ext uri="{FF2B5EF4-FFF2-40B4-BE49-F238E27FC236}">
                <a16:creationId xmlns:a16="http://schemas.microsoft.com/office/drawing/2014/main" id="{D6AD5F89-D6CB-4C44-B035-7ECC3B6B53F8}"/>
              </a:ext>
            </a:extLst>
          </p:cNvPr>
          <p:cNvCxnSpPr>
            <a:stCxn id="17" idx="3"/>
          </p:cNvCxnSpPr>
          <p:nvPr/>
        </p:nvCxnSpPr>
        <p:spPr>
          <a:xfrm>
            <a:off x="1855076" y="4214585"/>
            <a:ext cx="386285" cy="1456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圆角矩形 93"/>
          <p:cNvSpPr/>
          <p:nvPr/>
        </p:nvSpPr>
        <p:spPr>
          <a:xfrm>
            <a:off x="2241363" y="4029448"/>
            <a:ext cx="992343" cy="412669"/>
          </a:xfrm>
          <a:prstGeom prst="round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/>
          </a:p>
        </p:txBody>
      </p:sp>
      <p:sp>
        <p:nvSpPr>
          <p:cNvPr id="95" name="圆角矩形 94"/>
          <p:cNvSpPr/>
          <p:nvPr/>
        </p:nvSpPr>
        <p:spPr>
          <a:xfrm>
            <a:off x="3719011" y="5105817"/>
            <a:ext cx="1390308" cy="385239"/>
          </a:xfrm>
          <a:prstGeom prst="round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/>
          </a:p>
        </p:txBody>
      </p:sp>
      <p:sp>
        <p:nvSpPr>
          <p:cNvPr id="96" name="圆角矩形 95"/>
          <p:cNvSpPr/>
          <p:nvPr/>
        </p:nvSpPr>
        <p:spPr>
          <a:xfrm>
            <a:off x="2215798" y="5319526"/>
            <a:ext cx="1119281" cy="181076"/>
          </a:xfrm>
          <a:prstGeom prst="round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/>
          </a:p>
        </p:txBody>
      </p:sp>
      <p:sp>
        <p:nvSpPr>
          <p:cNvPr id="97" name="圆角矩形 96"/>
          <p:cNvSpPr/>
          <p:nvPr/>
        </p:nvSpPr>
        <p:spPr>
          <a:xfrm>
            <a:off x="5415195" y="4253529"/>
            <a:ext cx="656932" cy="176225"/>
          </a:xfrm>
          <a:prstGeom prst="roundRect">
            <a:avLst/>
          </a:prstGeom>
          <a:noFill/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zh-CN" altLang="en-US" sz="2500"/>
          </a:p>
        </p:txBody>
      </p:sp>
      <p:pic>
        <p:nvPicPr>
          <p:cNvPr id="98" name="图片 97"/>
          <p:cNvPicPr>
            <a:picLocks noChangeAspect="1"/>
          </p:cNvPicPr>
          <p:nvPr/>
        </p:nvPicPr>
        <p:blipFill>
          <a:blip r:embed="rId4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94907" y="5806112"/>
            <a:ext cx="639596" cy="267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4057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596" y="2616739"/>
            <a:ext cx="12191405" cy="969408"/>
          </a:xfrm>
          <a:prstGeom prst="rect">
            <a:avLst/>
          </a:prstGeom>
          <a:solidFill>
            <a:srgbClr val="DB3D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4" rIns="91424" bIns="45714" rtlCol="0" anchor="ctr"/>
          <a:lstStyle/>
          <a:p>
            <a:pPr algn="ctr"/>
            <a:endParaRPr lang="zh-CN" altLang="en-US"/>
          </a:p>
        </p:txBody>
      </p:sp>
      <p:sp>
        <p:nvSpPr>
          <p:cNvPr id="8" name="文本框 17"/>
          <p:cNvSpPr txBox="1"/>
          <p:nvPr/>
        </p:nvSpPr>
        <p:spPr>
          <a:xfrm>
            <a:off x="2897816" y="2809062"/>
            <a:ext cx="5392719" cy="584775"/>
          </a:xfrm>
          <a:prstGeom prst="rect">
            <a:avLst/>
          </a:prstGeom>
          <a:noFill/>
        </p:spPr>
        <p:txBody>
          <a:bodyPr wrap="square" lIns="91424" tIns="45714" rIns="91424" bIns="45714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京东物流介绍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845585" y="2314317"/>
            <a:ext cx="1585851" cy="1586243"/>
            <a:chOff x="1041891" y="2887277"/>
            <a:chExt cx="1036261" cy="1036518"/>
          </a:xfrm>
          <a:solidFill>
            <a:srgbClr val="DB3D33"/>
          </a:solidFill>
        </p:grpSpPr>
        <p:sp>
          <p:nvSpPr>
            <p:cNvPr id="10" name="Oval 53"/>
            <p:cNvSpPr>
              <a:spLocks noChangeArrowheads="1"/>
            </p:cNvSpPr>
            <p:nvPr/>
          </p:nvSpPr>
          <p:spPr bwMode="auto">
            <a:xfrm>
              <a:off x="1041891" y="2887277"/>
              <a:ext cx="1036261" cy="1036518"/>
            </a:xfrm>
            <a:prstGeom prst="ellipse">
              <a:avLst/>
            </a:prstGeom>
            <a:grpFill/>
            <a:ln w="88900">
              <a:gradFill flip="none" rotWithShape="1">
                <a:gsLst>
                  <a:gs pos="0">
                    <a:srgbClr val="FFFFFF"/>
                  </a:gs>
                  <a:gs pos="100000">
                    <a:srgbClr val="D9D9DA"/>
                  </a:gs>
                </a:gsLst>
                <a:lin ang="2700000" scaled="0"/>
                <a:tileRect/>
              </a:gradFill>
            </a:ln>
            <a:effectLst>
              <a:outerShdw blurRad="279400" dist="76200" dir="2700000" sx="101000" sy="101000" algn="tl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1" tIns="34286" rIns="68571" bIns="34286" anchor="ctr"/>
            <a:lstStyle/>
            <a:p>
              <a:pPr algn="ctr">
                <a:defRPr/>
              </a:pPr>
              <a:endParaRPr lang="zh-CN" altLang="en-US" sz="440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1" name="Text Box 58"/>
            <p:cNvSpPr txBox="1">
              <a:spLocks noChangeArrowheads="1"/>
            </p:cNvSpPr>
            <p:nvPr/>
          </p:nvSpPr>
          <p:spPr bwMode="auto">
            <a:xfrm>
              <a:off x="1159958" y="3077737"/>
              <a:ext cx="782803" cy="7307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68571" tIns="34286" rIns="68571" bIns="34286">
              <a:spAutoFit/>
            </a:bodyPr>
            <a:lstStyle/>
            <a:p>
              <a:pPr algn="ctr"/>
              <a:r>
                <a:rPr lang="en-US" altLang="zh-CN" sz="6700" dirty="0" smtClean="0">
                  <a:solidFill>
                    <a:schemeClr val="bg1"/>
                  </a:solidFill>
                  <a:latin typeface="Impact" panose="020B0806030902050204" pitchFamily="34" charset="0"/>
                  <a:ea typeface="微软雅黑" panose="020B0503020204020204" charset="-122"/>
                </a:rPr>
                <a:t>03</a:t>
              </a:r>
              <a:endParaRPr lang="en-US" altLang="zh-CN" sz="6700" dirty="0">
                <a:solidFill>
                  <a:schemeClr val="bg1"/>
                </a:solidFill>
                <a:latin typeface="Impact" panose="020B0806030902050204" pitchFamily="34" charset="0"/>
                <a:ea typeface="微软雅黑" panose="020B050302020402020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043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0" y="2167150"/>
            <a:ext cx="12192000" cy="4690857"/>
            <a:chOff x="0" y="-1"/>
            <a:chExt cx="12192000" cy="4690857"/>
          </a:xfrm>
        </p:grpSpPr>
        <p:pic>
          <p:nvPicPr>
            <p:cNvPr id="29699" name="Picture 3" descr="C:\Users\lirui10\Pictures\业务图\世界地图.jp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88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7" t="17701" b="14253"/>
            <a:stretch/>
          </p:blipFill>
          <p:spPr bwMode="auto">
            <a:xfrm>
              <a:off x="0" y="-1"/>
              <a:ext cx="12192000" cy="46908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02" name="Picture 6" descr="D:\物流规划发展部\4 公共事务\奖项申报-临时\服务设计奖-京交会\一线配送图片\838A1099.jpg"/>
            <p:cNvPicPr>
              <a:picLocks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915" r="22645"/>
            <a:stretch/>
          </p:blipFill>
          <p:spPr bwMode="auto">
            <a:xfrm>
              <a:off x="4193627" y="157660"/>
              <a:ext cx="900000" cy="900000"/>
            </a:xfrm>
            <a:prstGeom prst="ellipse">
              <a:avLst/>
            </a:prstGeom>
            <a:noFill/>
            <a:ln w="19050">
              <a:solidFill>
                <a:schemeClr val="accent2">
                  <a:lumMod val="40000"/>
                  <a:lumOff val="6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04" name="Picture 8" descr="https://timgsa.baidu.com/timg?image&amp;quality=80&amp;size=b9999_10000&amp;sec=1532516773647&amp;di=6549658653a77af4ffcabe9a88b993e4&amp;imgtype=0&amp;src=http%3A%2F%2Fimage0.lietou-static.com%2Fimg%2F58d11e177032f1a833d5834105a.jpg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188" r="3515"/>
            <a:stretch/>
          </p:blipFill>
          <p:spPr bwMode="auto">
            <a:xfrm>
              <a:off x="8324192" y="1754024"/>
              <a:ext cx="900000" cy="900000"/>
            </a:xfrm>
            <a:prstGeom prst="ellipse">
              <a:avLst/>
            </a:prstGeom>
            <a:noFill/>
            <a:ln w="19050">
              <a:solidFill>
                <a:schemeClr val="accent2">
                  <a:lumMod val="40000"/>
                  <a:lumOff val="6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06" name="Picture 10" descr="https://timgsa.baidu.com/timg?image&amp;quality=80&amp;size=b9999_10000&amp;sec=1532517144398&amp;di=d9cda030e8a8301aded428184e44d1db&amp;imgtype=0&amp;src=http%3A%2F%2Fphotocdn.sohu.com%2F20160306%2Fmp62056208_1457195372811_1_th.jpeg"/>
            <p:cNvPicPr>
              <a:picLocks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406" r="17241" b="14417"/>
            <a:stretch/>
          </p:blipFill>
          <p:spPr bwMode="auto">
            <a:xfrm>
              <a:off x="2144113" y="1177320"/>
              <a:ext cx="900000" cy="900000"/>
            </a:xfrm>
            <a:prstGeom prst="ellipse">
              <a:avLst/>
            </a:prstGeom>
            <a:noFill/>
            <a:ln w="19050">
              <a:solidFill>
                <a:schemeClr val="accent2">
                  <a:lumMod val="40000"/>
                  <a:lumOff val="6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10" name="Picture 14" descr="https://timgsa.baidu.com/timg?image&amp;quality=80&amp;size=b9999_10000&amp;sec=1532517532583&amp;di=d796c60e80aa104b0637c77cee98816b&amp;imgtype=0&amp;src=http%3A%2F%2F5b0988e595225.cdn.sohucs.com%2Fimages%2F20171215%2F5f276c9148e042899b5179b07774d70c.jpeg"/>
            <p:cNvPicPr>
              <a:picLocks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24" r="16402"/>
            <a:stretch/>
          </p:blipFill>
          <p:spPr bwMode="auto">
            <a:xfrm>
              <a:off x="6589986" y="906518"/>
              <a:ext cx="900000" cy="900000"/>
            </a:xfrm>
            <a:prstGeom prst="ellipse">
              <a:avLst/>
            </a:prstGeom>
            <a:noFill/>
            <a:ln w="19050">
              <a:solidFill>
                <a:schemeClr val="accent2">
                  <a:lumMod val="40000"/>
                  <a:lumOff val="6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12" name="Picture 16" descr="C:\Users\lirui10\Pictures\业务图\京东仓库1.jpg"/>
            <p:cNvPicPr>
              <a:picLocks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13" r="28545"/>
            <a:stretch/>
          </p:blipFill>
          <p:spPr bwMode="auto">
            <a:xfrm>
              <a:off x="9396250" y="3229962"/>
              <a:ext cx="900000" cy="900000"/>
            </a:xfrm>
            <a:prstGeom prst="ellipse">
              <a:avLst/>
            </a:prstGeom>
            <a:noFill/>
            <a:ln w="19050">
              <a:solidFill>
                <a:schemeClr val="accent2">
                  <a:lumMod val="40000"/>
                  <a:lumOff val="6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14" name="Picture 18" descr="https://ss1.bdstatic.com/70cFvXSh_Q1YnxGkpoWK1HF6hhy/it/u=3670408971,881022650&amp;fm=11&amp;gp=0.jpg"/>
            <p:cNvPicPr>
              <a:picLocks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520" r="3294"/>
            <a:stretch/>
          </p:blipFill>
          <p:spPr bwMode="auto">
            <a:xfrm>
              <a:off x="3657600" y="2977108"/>
              <a:ext cx="900000" cy="900000"/>
            </a:xfrm>
            <a:prstGeom prst="ellipse">
              <a:avLst/>
            </a:prstGeom>
            <a:noFill/>
            <a:ln w="19050">
              <a:solidFill>
                <a:schemeClr val="accent2">
                  <a:lumMod val="40000"/>
                  <a:lumOff val="6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16" name="Picture 20" descr="https://timgsa.baidu.com/timg?image&amp;quality=80&amp;size=b9999_10000&amp;sec=1532518097469&amp;di=e342716aa15a9e542189ea49842fe90b&amp;imgtype=jpg&amp;src=http%3A%2F%2Fimg.mp.itc.cn%2Fupload%2F20161113%2Fdb5f6e4748eb4a8a9f9f01f40f7906ca_th.jpeg"/>
            <p:cNvPicPr>
              <a:picLocks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42" r="28618" b="4519"/>
            <a:stretch/>
          </p:blipFill>
          <p:spPr bwMode="auto">
            <a:xfrm>
              <a:off x="6132785" y="2638042"/>
              <a:ext cx="900000" cy="900000"/>
            </a:xfrm>
            <a:prstGeom prst="ellipse">
              <a:avLst/>
            </a:prstGeom>
            <a:noFill/>
            <a:ln w="19050">
              <a:solidFill>
                <a:schemeClr val="accent2">
                  <a:lumMod val="40000"/>
                  <a:lumOff val="6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18" name="Picture 22" descr="https://timgsa.baidu.com/timg?image&amp;quality=80&amp;size=b9999_10000&amp;sec=1532518252076&amp;di=a637a8210704aad86c1d5e182e7940c5&amp;imgtype=0&amp;src=http%3A%2F%2F5b0988e595225.cdn.sohucs.com%2Fq_70%2Cc_zoom%2Cw_640%2Fimages%2F20180621%2Ff5998276436742f4be53afd5cd96bc7a.jpg"/>
            <p:cNvPicPr>
              <a:picLocks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056" r="14484"/>
            <a:stretch/>
          </p:blipFill>
          <p:spPr bwMode="auto">
            <a:xfrm>
              <a:off x="8844455" y="491359"/>
              <a:ext cx="900000" cy="900000"/>
            </a:xfrm>
            <a:prstGeom prst="ellipse">
              <a:avLst/>
            </a:prstGeom>
            <a:noFill/>
            <a:ln w="19050">
              <a:solidFill>
                <a:schemeClr val="accent2">
                  <a:lumMod val="40000"/>
                  <a:lumOff val="6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我们是谁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1237200" y="956606"/>
            <a:ext cx="9717605" cy="1119625"/>
            <a:chOff x="1315231" y="956603"/>
            <a:chExt cx="9717605" cy="1119625"/>
          </a:xfrm>
        </p:grpSpPr>
        <p:sp>
          <p:nvSpPr>
            <p:cNvPr id="15" name="圆角矩形 14"/>
            <p:cNvSpPr/>
            <p:nvPr/>
          </p:nvSpPr>
          <p:spPr>
            <a:xfrm>
              <a:off x="1315231" y="1197103"/>
              <a:ext cx="4608000" cy="879125"/>
            </a:xfrm>
            <a:prstGeom prst="roundRect">
              <a:avLst/>
            </a:prstGeom>
            <a:noFill/>
          </p:spPr>
          <p:txBody>
            <a:bodyPr wrap="square" lIns="90000" tIns="45718" rIns="90000" bIns="45718" rtlCol="0" anchor="ctr">
              <a:noAutofit/>
            </a:bodyPr>
            <a:lstStyle/>
            <a:p>
              <a:pPr algn="ctr" defTabSz="914354"/>
              <a:r>
                <a:rPr lang="zh-CN" altLang="en-US" sz="2800" b="1" dirty="0">
                  <a:solidFill>
                    <a:srgbClr val="DA0B1C"/>
                  </a:solidFill>
                  <a:latin typeface="微软雅黑"/>
                </a:rPr>
                <a:t>降低社会物流成本</a:t>
              </a: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3181596" y="956603"/>
              <a:ext cx="875270" cy="338554"/>
              <a:chOff x="3325714" y="956603"/>
              <a:chExt cx="875270" cy="338554"/>
            </a:xfrm>
          </p:grpSpPr>
          <p:sp>
            <p:nvSpPr>
              <p:cNvPr id="3" name="文本框 2"/>
              <p:cNvSpPr txBox="1"/>
              <p:nvPr/>
            </p:nvSpPr>
            <p:spPr>
              <a:xfrm>
                <a:off x="3605949" y="956603"/>
                <a:ext cx="595035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354"/>
                <a:r>
                  <a:rPr lang="zh-CN" altLang="en-US" sz="1600" dirty="0">
                    <a:solidFill>
                      <a:srgbClr val="777777"/>
                    </a:solidFill>
                    <a:latin typeface="微软雅黑" panose="020B0503020204020204" pitchFamily="34" charset="-122"/>
                  </a:rPr>
                  <a:t>使命</a:t>
                </a:r>
              </a:p>
            </p:txBody>
          </p:sp>
          <p:grpSp>
            <p:nvGrpSpPr>
              <p:cNvPr id="4" name="组合 3"/>
              <p:cNvGrpSpPr/>
              <p:nvPr/>
            </p:nvGrpSpPr>
            <p:grpSpPr>
              <a:xfrm>
                <a:off x="3325714" y="985355"/>
                <a:ext cx="280236" cy="281050"/>
                <a:chOff x="5566203" y="1215708"/>
                <a:chExt cx="546100" cy="547688"/>
              </a:xfrm>
            </p:grpSpPr>
            <p:sp>
              <p:nvSpPr>
                <p:cNvPr id="19" name="Oval 84"/>
                <p:cNvSpPr>
                  <a:spLocks noChangeArrowheads="1"/>
                </p:cNvSpPr>
                <p:nvPr/>
              </p:nvSpPr>
              <p:spPr bwMode="auto">
                <a:xfrm>
                  <a:off x="5566203" y="1215708"/>
                  <a:ext cx="546100" cy="547688"/>
                </a:xfrm>
                <a:prstGeom prst="ellipse">
                  <a:avLst/>
                </a:prstGeom>
                <a:noFill/>
                <a:ln w="38100" cap="flat">
                  <a:solidFill>
                    <a:srgbClr val="C0000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/>
                  <a:endParaRPr lang="zh-CN" altLang="en-US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20" name="Line 85"/>
                <p:cNvSpPr>
                  <a:spLocks noChangeShapeType="1"/>
                </p:cNvSpPr>
                <p:nvPr/>
              </p:nvSpPr>
              <p:spPr bwMode="auto">
                <a:xfrm flipH="1">
                  <a:off x="5767181" y="1428751"/>
                  <a:ext cx="174625" cy="174625"/>
                </a:xfrm>
                <a:prstGeom prst="line">
                  <a:avLst/>
                </a:prstGeom>
                <a:noFill/>
                <a:ln w="23813" cap="flat">
                  <a:solidFill>
                    <a:srgbClr val="C0000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/>
                  <a:endParaRPr lang="zh-CN" altLang="en-US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21" name="Line 86"/>
                <p:cNvSpPr>
                  <a:spLocks noChangeShapeType="1"/>
                </p:cNvSpPr>
                <p:nvPr/>
              </p:nvSpPr>
              <p:spPr bwMode="auto">
                <a:xfrm>
                  <a:off x="5700823" y="1539876"/>
                  <a:ext cx="63500" cy="63500"/>
                </a:xfrm>
                <a:prstGeom prst="line">
                  <a:avLst/>
                </a:prstGeom>
                <a:noFill/>
                <a:ln w="23813" cap="flat">
                  <a:solidFill>
                    <a:srgbClr val="C0000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/>
                  <a:endParaRPr lang="zh-CN" altLang="en-US">
                    <a:solidFill>
                      <a:srgbClr val="777777"/>
                    </a:solidFill>
                  </a:endParaRPr>
                </a:p>
              </p:txBody>
            </p:sp>
          </p:grpSp>
        </p:grpSp>
        <p:sp>
          <p:nvSpPr>
            <p:cNvPr id="18" name="圆角矩形 17"/>
            <p:cNvSpPr/>
            <p:nvPr/>
          </p:nvSpPr>
          <p:spPr>
            <a:xfrm>
              <a:off x="6424836" y="1197103"/>
              <a:ext cx="4608000" cy="879125"/>
            </a:xfrm>
            <a:prstGeom prst="roundRect">
              <a:avLst/>
            </a:prstGeom>
            <a:noFill/>
          </p:spPr>
          <p:txBody>
            <a:bodyPr wrap="square" lIns="90000" tIns="45718" rIns="90000" bIns="45718" rtlCol="0" anchor="ctr">
              <a:noAutofit/>
            </a:bodyPr>
            <a:lstStyle/>
            <a:p>
              <a:pPr defTabSz="914354"/>
              <a:r>
                <a:rPr lang="zh-CN" altLang="en-US" sz="2800" b="1" dirty="0">
                  <a:solidFill>
                    <a:srgbClr val="DA0B1C"/>
                  </a:solidFill>
                  <a:latin typeface="微软雅黑"/>
                </a:rPr>
                <a:t>全球供应链基础设施服务商</a:t>
              </a: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8290919" y="974170"/>
              <a:ext cx="875835" cy="338554"/>
              <a:chOff x="9115450" y="974170"/>
              <a:chExt cx="875835" cy="338554"/>
            </a:xfrm>
          </p:grpSpPr>
          <p:sp>
            <p:nvSpPr>
              <p:cNvPr id="17" name="文本框 16"/>
              <p:cNvSpPr txBox="1"/>
              <p:nvPr/>
            </p:nvSpPr>
            <p:spPr>
              <a:xfrm>
                <a:off x="9396250" y="974170"/>
                <a:ext cx="595035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54"/>
                <a:r>
                  <a:rPr lang="zh-CN" altLang="en-US" sz="1600" dirty="0">
                    <a:solidFill>
                      <a:srgbClr val="777777"/>
                    </a:solidFill>
                    <a:latin typeface="微软雅黑" panose="020B0503020204020204" pitchFamily="34" charset="-122"/>
                  </a:rPr>
                  <a:t>愿景</a:t>
                </a:r>
              </a:p>
            </p:txBody>
          </p:sp>
          <p:grpSp>
            <p:nvGrpSpPr>
              <p:cNvPr id="23" name="组合 22"/>
              <p:cNvGrpSpPr/>
              <p:nvPr/>
            </p:nvGrpSpPr>
            <p:grpSpPr>
              <a:xfrm>
                <a:off x="9115450" y="1003047"/>
                <a:ext cx="280800" cy="280800"/>
                <a:chOff x="486383" y="5830667"/>
                <a:chExt cx="546988" cy="546988"/>
              </a:xfrm>
              <a:noFill/>
            </p:grpSpPr>
            <p:sp>
              <p:nvSpPr>
                <p:cNvPr id="24" name="Oval 154"/>
                <p:cNvSpPr>
                  <a:spLocks noChangeArrowheads="1"/>
                </p:cNvSpPr>
                <p:nvPr/>
              </p:nvSpPr>
              <p:spPr bwMode="auto">
                <a:xfrm>
                  <a:off x="486383" y="5830667"/>
                  <a:ext cx="546988" cy="546988"/>
                </a:xfrm>
                <a:prstGeom prst="ellipse">
                  <a:avLst/>
                </a:prstGeom>
                <a:grpFill/>
                <a:ln w="23813" cap="rnd">
                  <a:solidFill>
                    <a:srgbClr val="C00000"/>
                  </a:solidFill>
                  <a:prstDash val="solid"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/>
                  <a:endParaRPr lang="zh-CN" altLang="en-US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25" name="Oval 155"/>
                <p:cNvSpPr>
                  <a:spLocks noChangeArrowheads="1"/>
                </p:cNvSpPr>
                <p:nvPr/>
              </p:nvSpPr>
              <p:spPr bwMode="auto">
                <a:xfrm>
                  <a:off x="610426" y="5830667"/>
                  <a:ext cx="297406" cy="546988"/>
                </a:xfrm>
                <a:prstGeom prst="ellipse">
                  <a:avLst/>
                </a:prstGeom>
                <a:grpFill/>
                <a:ln w="23813" cap="rnd">
                  <a:solidFill>
                    <a:srgbClr val="C00000"/>
                  </a:solidFill>
                  <a:prstDash val="solid"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/>
                  <a:endParaRPr lang="zh-CN" altLang="en-US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26" name="Line 156"/>
                <p:cNvSpPr>
                  <a:spLocks noChangeShapeType="1"/>
                </p:cNvSpPr>
                <p:nvPr/>
              </p:nvSpPr>
              <p:spPr bwMode="auto">
                <a:xfrm>
                  <a:off x="759877" y="5841128"/>
                  <a:ext cx="0" cy="526065"/>
                </a:xfrm>
                <a:prstGeom prst="line">
                  <a:avLst/>
                </a:prstGeom>
                <a:grpFill/>
                <a:ln w="23813" cap="rnd">
                  <a:solidFill>
                    <a:srgbClr val="C00000"/>
                  </a:solidFill>
                  <a:prstDash val="solid"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/>
                  <a:endParaRPr lang="zh-CN" altLang="en-US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27" name="Line 157"/>
                <p:cNvSpPr>
                  <a:spLocks noChangeShapeType="1"/>
                </p:cNvSpPr>
                <p:nvPr/>
              </p:nvSpPr>
              <p:spPr bwMode="auto">
                <a:xfrm flipH="1">
                  <a:off x="486383" y="6104160"/>
                  <a:ext cx="546988" cy="0"/>
                </a:xfrm>
                <a:prstGeom prst="line">
                  <a:avLst/>
                </a:prstGeom>
                <a:grpFill/>
                <a:ln w="23813" cap="rnd">
                  <a:solidFill>
                    <a:srgbClr val="C00000"/>
                  </a:solidFill>
                  <a:prstDash val="solid"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/>
                  <a:endParaRPr lang="zh-CN" altLang="en-US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28" name="Line 158"/>
                <p:cNvSpPr>
                  <a:spLocks noChangeShapeType="1"/>
                </p:cNvSpPr>
                <p:nvPr/>
              </p:nvSpPr>
              <p:spPr bwMode="auto">
                <a:xfrm flipH="1">
                  <a:off x="519262" y="5972644"/>
                  <a:ext cx="479735" cy="0"/>
                </a:xfrm>
                <a:prstGeom prst="line">
                  <a:avLst/>
                </a:prstGeom>
                <a:grpFill/>
                <a:ln w="23813" cap="rnd">
                  <a:solidFill>
                    <a:srgbClr val="C00000"/>
                  </a:solidFill>
                  <a:prstDash val="solid"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/>
                  <a:endParaRPr lang="zh-CN" altLang="en-US"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29" name="Line 159"/>
                <p:cNvSpPr>
                  <a:spLocks noChangeShapeType="1"/>
                </p:cNvSpPr>
                <p:nvPr/>
              </p:nvSpPr>
              <p:spPr bwMode="auto">
                <a:xfrm flipH="1">
                  <a:off x="519262" y="6238666"/>
                  <a:ext cx="479735" cy="0"/>
                </a:xfrm>
                <a:prstGeom prst="line">
                  <a:avLst/>
                </a:prstGeom>
                <a:grpFill/>
                <a:ln w="23813" cap="rnd">
                  <a:solidFill>
                    <a:srgbClr val="C00000"/>
                  </a:solidFill>
                  <a:prstDash val="solid"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/>
                  <a:endParaRPr lang="zh-CN" altLang="en-US">
                    <a:solidFill>
                      <a:srgbClr val="777777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03824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矩形 198"/>
          <p:cNvSpPr/>
          <p:nvPr/>
        </p:nvSpPr>
        <p:spPr>
          <a:xfrm>
            <a:off x="511164" y="1506808"/>
            <a:ext cx="5465273" cy="46115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9404" y="35201"/>
            <a:ext cx="9025003" cy="816000"/>
          </a:xfrm>
        </p:spPr>
        <p:txBody>
          <a:bodyPr/>
          <a:lstStyle/>
          <a:p>
            <a:r>
              <a:rPr lang="zh-CN" altLang="en-US" dirty="0"/>
              <a:t>十年磨一剑，从电</a:t>
            </a:r>
            <a:r>
              <a:rPr lang="zh-CN" altLang="en-US" dirty="0" smtClean="0"/>
              <a:t>商物流到</a:t>
            </a:r>
            <a:r>
              <a:rPr lang="zh-CN" altLang="en-US" dirty="0"/>
              <a:t>物流企业</a:t>
            </a:r>
            <a:r>
              <a:rPr lang="zh-CN" altLang="en-US" dirty="0" smtClean="0"/>
              <a:t>，已</a:t>
            </a:r>
            <a:r>
              <a:rPr lang="zh-CN" altLang="en-US" dirty="0"/>
              <a:t>具备全面核心能力</a:t>
            </a:r>
          </a:p>
        </p:txBody>
      </p:sp>
      <p:sp>
        <p:nvSpPr>
          <p:cNvPr id="154" name="矩形 18"/>
          <p:cNvSpPr/>
          <p:nvPr/>
        </p:nvSpPr>
        <p:spPr>
          <a:xfrm>
            <a:off x="7251702" y="1033141"/>
            <a:ext cx="4194689" cy="319857"/>
          </a:xfrm>
          <a:prstGeom prst="rect">
            <a:avLst/>
          </a:prstGeom>
          <a:noFill/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zh-CN" altLang="en-US" sz="1600" b="1" dirty="0">
                <a:solidFill>
                  <a:srgbClr val="DA0B1C"/>
                </a:solidFill>
                <a:latin typeface="微软雅黑"/>
              </a:rPr>
              <a:t>京东物流具备最全面的核心能力</a:t>
            </a:r>
          </a:p>
        </p:txBody>
      </p:sp>
      <p:sp>
        <p:nvSpPr>
          <p:cNvPr id="177" name="矩形 18"/>
          <p:cNvSpPr/>
          <p:nvPr/>
        </p:nvSpPr>
        <p:spPr>
          <a:xfrm>
            <a:off x="770584" y="1033141"/>
            <a:ext cx="4194689" cy="319857"/>
          </a:xfrm>
          <a:prstGeom prst="rect">
            <a:avLst/>
          </a:prstGeom>
          <a:noFill/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zh-CN" altLang="en-US" sz="1600" b="1" dirty="0">
                <a:solidFill>
                  <a:srgbClr val="DA0B1C"/>
                </a:solidFill>
                <a:latin typeface="微软雅黑"/>
              </a:rPr>
              <a:t>发展历程</a:t>
            </a:r>
          </a:p>
        </p:txBody>
      </p:sp>
      <p:sp>
        <p:nvSpPr>
          <p:cNvPr id="4" name="椭圆 3"/>
          <p:cNvSpPr/>
          <p:nvPr/>
        </p:nvSpPr>
        <p:spPr>
          <a:xfrm>
            <a:off x="2257527" y="5492848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椭圆 22"/>
          <p:cNvSpPr/>
          <p:nvPr/>
        </p:nvSpPr>
        <p:spPr>
          <a:xfrm>
            <a:off x="2109249" y="5552025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5" name="椭圆 24"/>
          <p:cNvSpPr/>
          <p:nvPr/>
        </p:nvSpPr>
        <p:spPr>
          <a:xfrm>
            <a:off x="1958183" y="5602418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椭圆 26"/>
          <p:cNvSpPr/>
          <p:nvPr/>
        </p:nvSpPr>
        <p:spPr>
          <a:xfrm>
            <a:off x="1804887" y="5643564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椭圆 28"/>
          <p:cNvSpPr/>
          <p:nvPr/>
        </p:nvSpPr>
        <p:spPr>
          <a:xfrm>
            <a:off x="1649919" y="5675464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1" name="椭圆 30"/>
          <p:cNvSpPr/>
          <p:nvPr/>
        </p:nvSpPr>
        <p:spPr>
          <a:xfrm>
            <a:off x="3099258" y="4938526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3" name="椭圆 32"/>
          <p:cNvSpPr/>
          <p:nvPr/>
        </p:nvSpPr>
        <p:spPr>
          <a:xfrm>
            <a:off x="2975507" y="5048558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5" name="椭圆 34"/>
          <p:cNvSpPr/>
          <p:nvPr/>
        </p:nvSpPr>
        <p:spPr>
          <a:xfrm>
            <a:off x="3636629" y="4285269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椭圆 35"/>
          <p:cNvSpPr/>
          <p:nvPr/>
        </p:nvSpPr>
        <p:spPr>
          <a:xfrm>
            <a:off x="4000635" y="3512733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椭圆 37"/>
          <p:cNvSpPr/>
          <p:nvPr/>
        </p:nvSpPr>
        <p:spPr>
          <a:xfrm>
            <a:off x="4173999" y="2708297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9" name="椭圆 38"/>
          <p:cNvSpPr/>
          <p:nvPr/>
        </p:nvSpPr>
        <p:spPr>
          <a:xfrm>
            <a:off x="4022933" y="1752220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椭圆 39"/>
          <p:cNvSpPr/>
          <p:nvPr/>
        </p:nvSpPr>
        <p:spPr>
          <a:xfrm>
            <a:off x="4126059" y="1675013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1" name="椭圆 40"/>
          <p:cNvSpPr/>
          <p:nvPr/>
        </p:nvSpPr>
        <p:spPr>
          <a:xfrm>
            <a:off x="4229742" y="1597805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2" name="椭圆 41"/>
          <p:cNvSpPr/>
          <p:nvPr/>
        </p:nvSpPr>
        <p:spPr>
          <a:xfrm>
            <a:off x="4332869" y="1675013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3" name="椭圆 42"/>
          <p:cNvSpPr/>
          <p:nvPr/>
        </p:nvSpPr>
        <p:spPr>
          <a:xfrm>
            <a:off x="4435995" y="1752220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椭圆 43"/>
          <p:cNvSpPr/>
          <p:nvPr/>
        </p:nvSpPr>
        <p:spPr>
          <a:xfrm>
            <a:off x="4229742" y="1760542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5" name="椭圆 44"/>
          <p:cNvSpPr/>
          <p:nvPr/>
        </p:nvSpPr>
        <p:spPr>
          <a:xfrm>
            <a:off x="4229742" y="1923278"/>
            <a:ext cx="69679" cy="64857"/>
          </a:xfrm>
          <a:prstGeom prst="ellipse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7" name="椭圆 46"/>
          <p:cNvSpPr/>
          <p:nvPr/>
        </p:nvSpPr>
        <p:spPr>
          <a:xfrm>
            <a:off x="1036227" y="5424257"/>
            <a:ext cx="648000" cy="648635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9" name="椭圆 48"/>
          <p:cNvSpPr/>
          <p:nvPr/>
        </p:nvSpPr>
        <p:spPr>
          <a:xfrm>
            <a:off x="2314661" y="4978117"/>
            <a:ext cx="648000" cy="648635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1" name="椭圆 50"/>
          <p:cNvSpPr/>
          <p:nvPr/>
        </p:nvSpPr>
        <p:spPr>
          <a:xfrm>
            <a:off x="3025395" y="4310068"/>
            <a:ext cx="648000" cy="648635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3" name="椭圆 52"/>
          <p:cNvSpPr/>
          <p:nvPr/>
        </p:nvSpPr>
        <p:spPr>
          <a:xfrm>
            <a:off x="3459083" y="3578677"/>
            <a:ext cx="648000" cy="648635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5" name="椭圆 54"/>
          <p:cNvSpPr/>
          <p:nvPr/>
        </p:nvSpPr>
        <p:spPr>
          <a:xfrm>
            <a:off x="3730555" y="2790885"/>
            <a:ext cx="648000" cy="648635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9" name="椭圆 58"/>
          <p:cNvSpPr/>
          <p:nvPr/>
        </p:nvSpPr>
        <p:spPr>
          <a:xfrm>
            <a:off x="3881063" y="2016037"/>
            <a:ext cx="648000" cy="648635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9" name="矩形 178"/>
          <p:cNvSpPr/>
          <p:nvPr/>
        </p:nvSpPr>
        <p:spPr>
          <a:xfrm>
            <a:off x="1046682" y="5594688"/>
            <a:ext cx="659151" cy="323163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500" b="1" dirty="0">
                <a:solidFill>
                  <a:srgbClr val="777777"/>
                </a:solidFill>
                <a:latin typeface="微软雅黑"/>
              </a:rPr>
              <a:t>2007</a:t>
            </a:r>
            <a:endParaRPr lang="zh-CN" altLang="en-US" sz="1500" b="1" dirty="0">
              <a:solidFill>
                <a:srgbClr val="777777">
                  <a:lumMod val="75000"/>
                </a:srgbClr>
              </a:solidFill>
              <a:latin typeface="微软雅黑"/>
            </a:endParaRPr>
          </a:p>
        </p:txBody>
      </p:sp>
      <p:sp>
        <p:nvSpPr>
          <p:cNvPr id="185" name="矩形 184"/>
          <p:cNvSpPr/>
          <p:nvPr/>
        </p:nvSpPr>
        <p:spPr>
          <a:xfrm>
            <a:off x="2325117" y="5148549"/>
            <a:ext cx="659151" cy="323163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500" b="1" dirty="0">
                <a:solidFill>
                  <a:srgbClr val="777777"/>
                </a:solidFill>
                <a:latin typeface="微软雅黑"/>
              </a:rPr>
              <a:t>2011</a:t>
            </a:r>
            <a:endParaRPr lang="zh-CN" altLang="en-US" sz="1500" b="1" dirty="0">
              <a:solidFill>
                <a:srgbClr val="777777">
                  <a:lumMod val="75000"/>
                </a:srgbClr>
              </a:solidFill>
              <a:latin typeface="微软雅黑"/>
            </a:endParaRPr>
          </a:p>
        </p:txBody>
      </p:sp>
      <p:sp>
        <p:nvSpPr>
          <p:cNvPr id="189" name="矩形 188"/>
          <p:cNvSpPr/>
          <p:nvPr/>
        </p:nvSpPr>
        <p:spPr>
          <a:xfrm>
            <a:off x="3035850" y="4480497"/>
            <a:ext cx="659151" cy="323163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500" b="1" dirty="0">
                <a:solidFill>
                  <a:srgbClr val="777777"/>
                </a:solidFill>
                <a:latin typeface="微软雅黑"/>
              </a:rPr>
              <a:t>2014</a:t>
            </a:r>
            <a:endParaRPr lang="zh-CN" altLang="en-US" sz="1500" b="1" dirty="0">
              <a:solidFill>
                <a:srgbClr val="777777">
                  <a:lumMod val="75000"/>
                </a:srgbClr>
              </a:solidFill>
              <a:latin typeface="微软雅黑"/>
            </a:endParaRPr>
          </a:p>
        </p:txBody>
      </p:sp>
      <p:sp>
        <p:nvSpPr>
          <p:cNvPr id="190" name="矩形 189"/>
          <p:cNvSpPr/>
          <p:nvPr/>
        </p:nvSpPr>
        <p:spPr>
          <a:xfrm>
            <a:off x="3469538" y="3749108"/>
            <a:ext cx="659151" cy="323163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500" b="1" dirty="0">
                <a:solidFill>
                  <a:srgbClr val="777777"/>
                </a:solidFill>
                <a:latin typeface="微软雅黑"/>
              </a:rPr>
              <a:t>2016</a:t>
            </a:r>
            <a:endParaRPr lang="zh-CN" altLang="en-US" sz="1500" b="1" dirty="0">
              <a:solidFill>
                <a:srgbClr val="777777">
                  <a:lumMod val="75000"/>
                </a:srgbClr>
              </a:solidFill>
              <a:latin typeface="微软雅黑"/>
            </a:endParaRPr>
          </a:p>
        </p:txBody>
      </p:sp>
      <p:sp>
        <p:nvSpPr>
          <p:cNvPr id="191" name="矩形 190"/>
          <p:cNvSpPr/>
          <p:nvPr/>
        </p:nvSpPr>
        <p:spPr>
          <a:xfrm>
            <a:off x="3741010" y="2961315"/>
            <a:ext cx="659151" cy="323163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500" b="1" dirty="0">
                <a:solidFill>
                  <a:srgbClr val="777777"/>
                </a:solidFill>
                <a:latin typeface="微软雅黑"/>
              </a:rPr>
              <a:t>2017</a:t>
            </a:r>
            <a:endParaRPr lang="zh-CN" altLang="en-US" sz="1500" b="1" dirty="0">
              <a:solidFill>
                <a:srgbClr val="777777">
                  <a:lumMod val="75000"/>
                </a:srgbClr>
              </a:solidFill>
              <a:latin typeface="微软雅黑"/>
            </a:endParaRPr>
          </a:p>
        </p:txBody>
      </p:sp>
      <p:sp>
        <p:nvSpPr>
          <p:cNvPr id="192" name="矩形 191"/>
          <p:cNvSpPr/>
          <p:nvPr/>
        </p:nvSpPr>
        <p:spPr>
          <a:xfrm>
            <a:off x="3891518" y="2186468"/>
            <a:ext cx="659151" cy="323163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500" b="1" dirty="0">
                <a:solidFill>
                  <a:srgbClr val="777777"/>
                </a:solidFill>
                <a:latin typeface="微软雅黑"/>
              </a:rPr>
              <a:t>2018</a:t>
            </a:r>
            <a:endParaRPr lang="zh-CN" altLang="en-US" sz="1500" b="1" dirty="0">
              <a:solidFill>
                <a:srgbClr val="777777">
                  <a:lumMod val="75000"/>
                </a:srgbClr>
              </a:solidFill>
              <a:latin typeface="微软雅黑"/>
            </a:endParaRPr>
          </a:p>
        </p:txBody>
      </p:sp>
      <p:sp>
        <p:nvSpPr>
          <p:cNvPr id="193" name="矩形 192"/>
          <p:cNvSpPr/>
          <p:nvPr/>
        </p:nvSpPr>
        <p:spPr>
          <a:xfrm>
            <a:off x="602056" y="4716967"/>
            <a:ext cx="1211985" cy="663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7" rIns="68572" bIns="34287"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dirty="0">
                <a:solidFill>
                  <a:srgbClr val="777777"/>
                </a:solidFill>
              </a:rPr>
              <a:t>建成上广三大物流体系，</a:t>
            </a:r>
            <a:r>
              <a:rPr lang="zh-CN" altLang="en-US" sz="1200" dirty="0">
                <a:solidFill>
                  <a:srgbClr val="C00000"/>
                </a:solidFill>
              </a:rPr>
              <a:t>京东物流正式起航</a:t>
            </a:r>
          </a:p>
        </p:txBody>
      </p:sp>
      <p:sp>
        <p:nvSpPr>
          <p:cNvPr id="194" name="矩形 193"/>
          <p:cNvSpPr/>
          <p:nvPr/>
        </p:nvSpPr>
        <p:spPr>
          <a:xfrm>
            <a:off x="2892537" y="5409711"/>
            <a:ext cx="1026616" cy="663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7" rIns="68572" bIns="34287"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dirty="0">
                <a:solidFill>
                  <a:srgbClr val="777777"/>
                </a:solidFill>
              </a:rPr>
              <a:t>履约</a:t>
            </a:r>
            <a:r>
              <a:rPr lang="zh-CN" altLang="en-US" sz="1200" dirty="0">
                <a:solidFill>
                  <a:srgbClr val="C00000"/>
                </a:solidFill>
              </a:rPr>
              <a:t>订单量突破</a:t>
            </a:r>
            <a:r>
              <a:rPr lang="en-US" altLang="zh-CN" sz="1200" dirty="0">
                <a:solidFill>
                  <a:srgbClr val="C00000"/>
                </a:solidFill>
              </a:rPr>
              <a:t>1</a:t>
            </a:r>
            <a:r>
              <a:rPr lang="zh-CN" altLang="en-US" sz="1200" dirty="0">
                <a:solidFill>
                  <a:srgbClr val="C00000"/>
                </a:solidFill>
              </a:rPr>
              <a:t>亿</a:t>
            </a:r>
          </a:p>
        </p:txBody>
      </p:sp>
      <p:sp>
        <p:nvSpPr>
          <p:cNvPr id="195" name="矩形 194"/>
          <p:cNvSpPr/>
          <p:nvPr/>
        </p:nvSpPr>
        <p:spPr>
          <a:xfrm>
            <a:off x="1840892" y="3969134"/>
            <a:ext cx="1332739" cy="663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7" rIns="68572" bIns="34287"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dirty="0">
                <a:solidFill>
                  <a:srgbClr val="777777"/>
                </a:solidFill>
              </a:rPr>
              <a:t>上海</a:t>
            </a:r>
            <a:r>
              <a:rPr lang="zh-CN" altLang="en-US" sz="1200" dirty="0">
                <a:solidFill>
                  <a:srgbClr val="C00000"/>
                </a:solidFill>
              </a:rPr>
              <a:t>“亚洲一号”</a:t>
            </a:r>
            <a:r>
              <a:rPr lang="zh-CN" altLang="en-US" sz="1200" dirty="0">
                <a:solidFill>
                  <a:srgbClr val="777777"/>
                </a:solidFill>
              </a:rPr>
              <a:t>正式投入运营</a:t>
            </a:r>
          </a:p>
        </p:txBody>
      </p:sp>
      <p:sp>
        <p:nvSpPr>
          <p:cNvPr id="196" name="矩形 195"/>
          <p:cNvSpPr/>
          <p:nvPr/>
        </p:nvSpPr>
        <p:spPr>
          <a:xfrm>
            <a:off x="4243623" y="3805239"/>
            <a:ext cx="1090148" cy="663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7" rIns="68572" bIns="34287"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dirty="0">
                <a:solidFill>
                  <a:srgbClr val="777777"/>
                </a:solidFill>
              </a:rPr>
              <a:t>以品牌化运营的方式</a:t>
            </a:r>
            <a:r>
              <a:rPr lang="zh-CN" altLang="en-US" sz="1200" dirty="0">
                <a:solidFill>
                  <a:srgbClr val="C00000"/>
                </a:solidFill>
              </a:rPr>
              <a:t>全面对社会开放</a:t>
            </a:r>
          </a:p>
        </p:txBody>
      </p:sp>
      <p:sp>
        <p:nvSpPr>
          <p:cNvPr id="197" name="矩形 196"/>
          <p:cNvSpPr/>
          <p:nvPr/>
        </p:nvSpPr>
        <p:spPr>
          <a:xfrm>
            <a:off x="2640665" y="2701847"/>
            <a:ext cx="922576" cy="663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7" rIns="68572" bIns="34287"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dirty="0">
                <a:solidFill>
                  <a:srgbClr val="C00000"/>
                </a:solidFill>
              </a:rPr>
              <a:t>京东物流集团成立</a:t>
            </a:r>
          </a:p>
        </p:txBody>
      </p:sp>
      <p:sp>
        <p:nvSpPr>
          <p:cNvPr id="198" name="矩形 197"/>
          <p:cNvSpPr/>
          <p:nvPr/>
        </p:nvSpPr>
        <p:spPr>
          <a:xfrm>
            <a:off x="4615171" y="2001491"/>
            <a:ext cx="1090148" cy="663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7" rIns="68572" bIns="34287"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dirty="0">
                <a:solidFill>
                  <a:srgbClr val="777777"/>
                </a:solidFill>
              </a:rPr>
              <a:t>完成</a:t>
            </a:r>
            <a:r>
              <a:rPr lang="en-US" altLang="zh-CN" sz="1200" dirty="0">
                <a:solidFill>
                  <a:srgbClr val="777777"/>
                </a:solidFill>
              </a:rPr>
              <a:t>25.5</a:t>
            </a:r>
            <a:r>
              <a:rPr lang="zh-CN" altLang="en-US" sz="1200" dirty="0">
                <a:solidFill>
                  <a:srgbClr val="777777"/>
                </a:solidFill>
              </a:rPr>
              <a:t>亿美元</a:t>
            </a:r>
            <a:r>
              <a:rPr lang="en-US" altLang="zh-CN" sz="1200" dirty="0">
                <a:solidFill>
                  <a:srgbClr val="C00000"/>
                </a:solidFill>
              </a:rPr>
              <a:t>A</a:t>
            </a:r>
            <a:r>
              <a:rPr lang="zh-CN" altLang="en-US" sz="1200" dirty="0">
                <a:solidFill>
                  <a:srgbClr val="C00000"/>
                </a:solidFill>
              </a:rPr>
              <a:t>轮融资</a:t>
            </a:r>
          </a:p>
        </p:txBody>
      </p:sp>
      <p:graphicFrame>
        <p:nvGraphicFramePr>
          <p:cNvPr id="151" name="Table 13"/>
          <p:cNvGraphicFramePr>
            <a:graphicFrameLocks noGrp="1"/>
          </p:cNvGraphicFramePr>
          <p:nvPr>
            <p:extLst/>
          </p:nvPr>
        </p:nvGraphicFramePr>
        <p:xfrm>
          <a:off x="6301844" y="2145988"/>
          <a:ext cx="5122749" cy="396396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1415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68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68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68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268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662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777777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j-lt"/>
                          <a:ea typeface="微软雅黑" panose="020B0503020204020204" pitchFamily="34" charset="-122"/>
                          <a:cs typeface="+mn-cs"/>
                        </a:rPr>
                        <a:t>物流网络能力</a:t>
                      </a: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2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高品质服务</a:t>
                      </a: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CN" altLang="en-US" sz="19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62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777777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j-lt"/>
                          <a:ea typeface="微软雅黑" panose="020B0503020204020204" pitchFamily="34" charset="-122"/>
                          <a:cs typeface="+mn-cs"/>
                        </a:rPr>
                        <a:t>供应链能力</a:t>
                      </a: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777777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2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777777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物流商流融合</a:t>
                      </a: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ja-JP" alt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777777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2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+mj-lt"/>
                        </a:rPr>
                        <a:t> </a:t>
                      </a:r>
                      <a:r>
                        <a:rPr kumimoji="0" lang="en-US" altLang="zh-CN" sz="12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+mj-lt"/>
                        </a:rPr>
                        <a:t>AI+</a:t>
                      </a:r>
                      <a:r>
                        <a:rPr kumimoji="0" lang="zh-CN" altLang="en-US" sz="12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+mj-lt"/>
                        </a:rPr>
                        <a:t>大数据</a:t>
                      </a:r>
                      <a:r>
                        <a:rPr kumimoji="0" lang="en-US" altLang="zh-CN" sz="12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+mj-lt"/>
                        </a:rPr>
                        <a:t>+</a:t>
                      </a:r>
                      <a:r>
                        <a:rPr kumimoji="0" lang="zh-CN" altLang="en-US" sz="12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+mj-lt"/>
                        </a:rPr>
                        <a:t>云</a:t>
                      </a:r>
                      <a:endParaRPr kumimoji="0" lang="zh-CN" altLang="en-US" sz="1200" u="none" strike="noStrike" kern="1200" cap="none" spc="0" normalizeH="0" baseline="0" dirty="0">
                        <a:ln>
                          <a:noFill/>
                        </a:ln>
                        <a:effectLst/>
                        <a:uLnTx/>
                        <a:uFillTx/>
                        <a:latin typeface="+mj-lt"/>
                      </a:endParaRP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777777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62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777777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j-lt"/>
                          <a:ea typeface="微软雅黑" panose="020B0503020204020204" pitchFamily="34" charset="-122"/>
                          <a:cs typeface="+mn-cs"/>
                        </a:rPr>
                        <a:t>物流科技</a:t>
                      </a: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777777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62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777777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j-lt"/>
                          <a:ea typeface="微软雅黑" panose="020B0503020204020204" pitchFamily="34" charset="-122"/>
                          <a:cs typeface="+mn-cs"/>
                        </a:rPr>
                        <a:t>国际化能力</a:t>
                      </a: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777777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52" name="Picture 770" descr="C:\Users\lirui10\Desktop\logo\LOGO-02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8915" y="1648516"/>
            <a:ext cx="1083791" cy="373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3" name="组合 124"/>
          <p:cNvGrpSpPr>
            <a:grpSpLocks noChangeAspect="1"/>
          </p:cNvGrpSpPr>
          <p:nvPr/>
        </p:nvGrpSpPr>
        <p:grpSpPr>
          <a:xfrm>
            <a:off x="8024037" y="2861767"/>
            <a:ext cx="240000" cy="240000"/>
            <a:chOff x="3371525" y="4331407"/>
            <a:chExt cx="360362" cy="362116"/>
          </a:xfrm>
          <a:solidFill>
            <a:schemeClr val="accent1"/>
          </a:solidFill>
        </p:grpSpPr>
        <p:sp>
          <p:nvSpPr>
            <p:cNvPr id="156" name="Oval 90"/>
            <p:cNvSpPr>
              <a:spLocks noChangeAspect="1"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57" name="Arc 91"/>
            <p:cNvSpPr>
              <a:spLocks noChangeAspect="1"/>
            </p:cNvSpPr>
            <p:nvPr>
              <p:custDataLst>
                <p:tags r:id="rId56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58" name="组合 124"/>
          <p:cNvGrpSpPr>
            <a:grpSpLocks noChangeAspect="1"/>
          </p:cNvGrpSpPr>
          <p:nvPr/>
        </p:nvGrpSpPr>
        <p:grpSpPr>
          <a:xfrm>
            <a:off x="8024037" y="2307135"/>
            <a:ext cx="240000" cy="240000"/>
            <a:chOff x="3371525" y="4331407"/>
            <a:chExt cx="360362" cy="362116"/>
          </a:xfrm>
          <a:solidFill>
            <a:schemeClr val="accent1"/>
          </a:solidFill>
        </p:grpSpPr>
        <p:sp>
          <p:nvSpPr>
            <p:cNvPr id="186" name="Oval 90"/>
            <p:cNvSpPr>
              <a:spLocks noChangeAspect="1"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87" name="Arc 91"/>
            <p:cNvSpPr>
              <a:spLocks noChangeAspect="1"/>
            </p:cNvSpPr>
            <p:nvPr>
              <p:custDataLst>
                <p:tags r:id="rId54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88" name="组合 124"/>
          <p:cNvGrpSpPr>
            <a:grpSpLocks noChangeAspect="1"/>
          </p:cNvGrpSpPr>
          <p:nvPr/>
        </p:nvGrpSpPr>
        <p:grpSpPr>
          <a:xfrm>
            <a:off x="8024037" y="3996851"/>
            <a:ext cx="240000" cy="240000"/>
            <a:chOff x="3371525" y="4331407"/>
            <a:chExt cx="360362" cy="362116"/>
          </a:xfrm>
          <a:solidFill>
            <a:schemeClr val="accent1"/>
          </a:solidFill>
        </p:grpSpPr>
        <p:sp>
          <p:nvSpPr>
            <p:cNvPr id="200" name="Oval 90"/>
            <p:cNvSpPr>
              <a:spLocks noChangeAspect="1"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1" name="Arc 91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02" name="组合 124"/>
          <p:cNvGrpSpPr>
            <a:grpSpLocks noChangeAspect="1"/>
          </p:cNvGrpSpPr>
          <p:nvPr/>
        </p:nvGrpSpPr>
        <p:grpSpPr>
          <a:xfrm>
            <a:off x="8024037" y="4576127"/>
            <a:ext cx="240000" cy="240000"/>
            <a:chOff x="3371525" y="4331407"/>
            <a:chExt cx="360362" cy="362116"/>
          </a:xfrm>
        </p:grpSpPr>
        <p:sp>
          <p:nvSpPr>
            <p:cNvPr id="203" name="Oval 90"/>
            <p:cNvSpPr>
              <a:spLocks noChangeAspect="1"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4" name="Arc 91"/>
            <p:cNvSpPr>
              <a:spLocks noChangeAspect="1"/>
            </p:cNvSpPr>
            <p:nvPr>
              <p:custDataLst>
                <p:tags r:id="rId50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05" name="组合 124"/>
          <p:cNvGrpSpPr>
            <a:grpSpLocks noChangeAspect="1"/>
          </p:cNvGrpSpPr>
          <p:nvPr/>
        </p:nvGrpSpPr>
        <p:grpSpPr>
          <a:xfrm>
            <a:off x="10836999" y="2861767"/>
            <a:ext cx="240000" cy="240000"/>
            <a:chOff x="3371525" y="4331407"/>
            <a:chExt cx="360362" cy="362116"/>
          </a:xfrm>
          <a:solidFill>
            <a:schemeClr val="bg2"/>
          </a:solidFill>
        </p:grpSpPr>
        <p:sp>
          <p:nvSpPr>
            <p:cNvPr id="206" name="Oval 90"/>
            <p:cNvSpPr>
              <a:spLocks noChangeAspect="1"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 w="9525">
              <a:solidFill>
                <a:schemeClr val="tx1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07" name="Arc 91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solidFill>
              <a:schemeClr val="tx1">
                <a:lumMod val="60000"/>
                <a:lumOff val="40000"/>
              </a:schemeClr>
            </a:solidFill>
            <a:ln w="9525">
              <a:solidFill>
                <a:schemeClr val="tx1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08" name="组合 124"/>
          <p:cNvGrpSpPr>
            <a:grpSpLocks noChangeAspect="1"/>
          </p:cNvGrpSpPr>
          <p:nvPr/>
        </p:nvGrpSpPr>
        <p:grpSpPr>
          <a:xfrm>
            <a:off x="10837003" y="3996851"/>
            <a:ext cx="239996" cy="240000"/>
            <a:chOff x="3371525" y="4331407"/>
            <a:chExt cx="360362" cy="362122"/>
          </a:xfrm>
          <a:noFill/>
        </p:grpSpPr>
        <p:sp>
          <p:nvSpPr>
            <p:cNvPr id="209" name="Oval 90"/>
            <p:cNvSpPr>
              <a:spLocks noChangeAspect="1"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grpFill/>
            <a:ln w="9525">
              <a:solidFill>
                <a:schemeClr val="tx1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0" name="Arc 91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 bwMode="black">
            <a:xfrm>
              <a:off x="3371525" y="4333166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grpFill/>
            <a:ln w="9525">
              <a:solidFill>
                <a:schemeClr val="tx1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11" name="组合 73"/>
          <p:cNvGrpSpPr>
            <a:grpSpLocks noChangeAspect="1"/>
          </p:cNvGrpSpPr>
          <p:nvPr/>
        </p:nvGrpSpPr>
        <p:grpSpPr>
          <a:xfrm>
            <a:off x="10843975" y="3460856"/>
            <a:ext cx="226048" cy="240000"/>
            <a:chOff x="8282125" y="3130792"/>
            <a:chExt cx="361650" cy="360363"/>
          </a:xfrm>
        </p:grpSpPr>
        <p:sp>
          <p:nvSpPr>
            <p:cNvPr id="212" name="Oval 90"/>
            <p:cNvSpPr>
              <a:spLocks noChangeAspect="1"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8282125" y="3130792"/>
              <a:ext cx="360362" cy="360363"/>
            </a:xfrm>
            <a:prstGeom prst="ellipse">
              <a:avLst/>
            </a:prstGeom>
            <a:noFill/>
            <a:ln w="9525">
              <a:solidFill>
                <a:schemeClr val="tx1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3" name="Arc 91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 bwMode="black">
            <a:xfrm>
              <a:off x="8283413" y="3130792"/>
              <a:ext cx="360362" cy="360363"/>
            </a:xfrm>
            <a:prstGeom prst="arc">
              <a:avLst>
                <a:gd name="adj1" fmla="val 16200000"/>
                <a:gd name="adj2" fmla="val 14150"/>
              </a:avLst>
            </a:prstGeom>
            <a:solidFill>
              <a:schemeClr val="tx1">
                <a:lumMod val="60000"/>
                <a:lumOff val="40000"/>
              </a:schemeClr>
            </a:solidFill>
            <a:ln w="9525">
              <a:solidFill>
                <a:schemeClr val="tx1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14" name="组合 124"/>
          <p:cNvGrpSpPr>
            <a:grpSpLocks noChangeAspect="1"/>
          </p:cNvGrpSpPr>
          <p:nvPr/>
        </p:nvGrpSpPr>
        <p:grpSpPr>
          <a:xfrm>
            <a:off x="10837003" y="4576127"/>
            <a:ext cx="239996" cy="240000"/>
            <a:chOff x="3371525" y="4331407"/>
            <a:chExt cx="360362" cy="362122"/>
          </a:xfrm>
          <a:noFill/>
        </p:grpSpPr>
        <p:sp>
          <p:nvSpPr>
            <p:cNvPr id="215" name="Oval 90"/>
            <p:cNvSpPr>
              <a:spLocks noChangeAspect="1"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grpFill/>
            <a:ln w="9525">
              <a:solidFill>
                <a:schemeClr val="tx1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6" name="Arc 91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 bwMode="black">
            <a:xfrm>
              <a:off x="3371525" y="4333166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grpFill/>
            <a:ln w="9525">
              <a:solidFill>
                <a:schemeClr val="tx1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17" name="组合 118"/>
          <p:cNvGrpSpPr>
            <a:grpSpLocks noChangeAspect="1"/>
          </p:cNvGrpSpPr>
          <p:nvPr/>
        </p:nvGrpSpPr>
        <p:grpSpPr>
          <a:xfrm>
            <a:off x="10836999" y="5130983"/>
            <a:ext cx="240000" cy="240000"/>
            <a:chOff x="8282125" y="3130792"/>
            <a:chExt cx="376404" cy="360363"/>
          </a:xfrm>
        </p:grpSpPr>
        <p:sp>
          <p:nvSpPr>
            <p:cNvPr id="218" name="Oval 90"/>
            <p:cNvSpPr>
              <a:spLocks noChangeAspect="1"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8282125" y="3130792"/>
              <a:ext cx="360362" cy="360363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19" name="Arc 91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black">
            <a:xfrm>
              <a:off x="8298167" y="3130792"/>
              <a:ext cx="360362" cy="360363"/>
            </a:xfrm>
            <a:prstGeom prst="arc">
              <a:avLst>
                <a:gd name="adj1" fmla="val 16200000"/>
                <a:gd name="adj2" fmla="val 5418042"/>
              </a:avLst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20" name="组合 118"/>
          <p:cNvGrpSpPr>
            <a:grpSpLocks noChangeAspect="1"/>
          </p:cNvGrpSpPr>
          <p:nvPr/>
        </p:nvGrpSpPr>
        <p:grpSpPr>
          <a:xfrm>
            <a:off x="9939239" y="2861767"/>
            <a:ext cx="240000" cy="240000"/>
            <a:chOff x="8282125" y="3130792"/>
            <a:chExt cx="376404" cy="360363"/>
          </a:xfrm>
        </p:grpSpPr>
        <p:sp>
          <p:nvSpPr>
            <p:cNvPr id="221" name="Oval 90"/>
            <p:cNvSpPr>
              <a:spLocks noChangeAspect="1"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8282125" y="3130792"/>
              <a:ext cx="360362" cy="360363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2" name="Arc 91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 bwMode="black">
            <a:xfrm>
              <a:off x="8298167" y="3130792"/>
              <a:ext cx="360362" cy="360363"/>
            </a:xfrm>
            <a:prstGeom prst="arc">
              <a:avLst>
                <a:gd name="adj1" fmla="val 16200000"/>
                <a:gd name="adj2" fmla="val 5418042"/>
              </a:avLst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23" name="组合 73"/>
          <p:cNvGrpSpPr>
            <a:grpSpLocks noChangeAspect="1"/>
          </p:cNvGrpSpPr>
          <p:nvPr/>
        </p:nvGrpSpPr>
        <p:grpSpPr>
          <a:xfrm>
            <a:off x="9938236" y="5671793"/>
            <a:ext cx="242005" cy="257003"/>
            <a:chOff x="8282123" y="3130792"/>
            <a:chExt cx="387179" cy="385892"/>
          </a:xfrm>
        </p:grpSpPr>
        <p:sp>
          <p:nvSpPr>
            <p:cNvPr id="224" name="Oval 90"/>
            <p:cNvSpPr>
              <a:spLocks noChangeAspect="1"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8282123" y="3130792"/>
              <a:ext cx="385891" cy="385892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5" name="Arc 91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 bwMode="black">
            <a:xfrm>
              <a:off x="8283411" y="3130792"/>
              <a:ext cx="385891" cy="385892"/>
            </a:xfrm>
            <a:prstGeom prst="arc">
              <a:avLst>
                <a:gd name="adj1" fmla="val 16200000"/>
                <a:gd name="adj2" fmla="val 14150"/>
              </a:avLst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26" name="组合 73"/>
          <p:cNvGrpSpPr>
            <a:grpSpLocks noChangeAspect="1"/>
          </p:cNvGrpSpPr>
          <p:nvPr/>
        </p:nvGrpSpPr>
        <p:grpSpPr>
          <a:xfrm>
            <a:off x="9946215" y="3460856"/>
            <a:ext cx="226048" cy="240000"/>
            <a:chOff x="8282125" y="3130792"/>
            <a:chExt cx="361650" cy="360363"/>
          </a:xfrm>
        </p:grpSpPr>
        <p:sp>
          <p:nvSpPr>
            <p:cNvPr id="227" name="Oval 90"/>
            <p:cNvSpPr>
              <a:spLocks noChangeAspect="1"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8282125" y="3130792"/>
              <a:ext cx="360362" cy="360363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28" name="Arc 91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black">
            <a:xfrm>
              <a:off x="8283413" y="3130792"/>
              <a:ext cx="360362" cy="360363"/>
            </a:xfrm>
            <a:prstGeom prst="arc">
              <a:avLst>
                <a:gd name="adj1" fmla="val 16200000"/>
                <a:gd name="adj2" fmla="val 14150"/>
              </a:avLst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29" name="组合 73"/>
          <p:cNvGrpSpPr>
            <a:grpSpLocks noChangeAspect="1"/>
          </p:cNvGrpSpPr>
          <p:nvPr/>
        </p:nvGrpSpPr>
        <p:grpSpPr>
          <a:xfrm>
            <a:off x="9946215" y="5130983"/>
            <a:ext cx="226048" cy="240000"/>
            <a:chOff x="8282125" y="3130792"/>
            <a:chExt cx="361650" cy="360363"/>
          </a:xfrm>
        </p:grpSpPr>
        <p:sp>
          <p:nvSpPr>
            <p:cNvPr id="230" name="Oval 90"/>
            <p:cNvSpPr>
              <a:spLocks noChangeAspect="1"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8282125" y="3130792"/>
              <a:ext cx="360362" cy="360363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1" name="Arc 91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black">
            <a:xfrm>
              <a:off x="8283413" y="3130792"/>
              <a:ext cx="360362" cy="360363"/>
            </a:xfrm>
            <a:prstGeom prst="arc">
              <a:avLst>
                <a:gd name="adj1" fmla="val 16200000"/>
                <a:gd name="adj2" fmla="val 14150"/>
              </a:avLst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32" name="组合 124"/>
          <p:cNvGrpSpPr>
            <a:grpSpLocks noChangeAspect="1"/>
          </p:cNvGrpSpPr>
          <p:nvPr/>
        </p:nvGrpSpPr>
        <p:grpSpPr>
          <a:xfrm>
            <a:off x="9939239" y="4576127"/>
            <a:ext cx="240000" cy="240000"/>
            <a:chOff x="3371525" y="4331407"/>
            <a:chExt cx="360362" cy="362116"/>
          </a:xfrm>
        </p:grpSpPr>
        <p:sp>
          <p:nvSpPr>
            <p:cNvPr id="233" name="Oval 90"/>
            <p:cNvSpPr>
              <a:spLocks noChangeAspect="1"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4" name="Arc 91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35" name="组合 118"/>
          <p:cNvGrpSpPr>
            <a:grpSpLocks noChangeAspect="1"/>
          </p:cNvGrpSpPr>
          <p:nvPr/>
        </p:nvGrpSpPr>
        <p:grpSpPr>
          <a:xfrm>
            <a:off x="9939239" y="3996851"/>
            <a:ext cx="240000" cy="240000"/>
            <a:chOff x="8282125" y="3130792"/>
            <a:chExt cx="376404" cy="360363"/>
          </a:xfrm>
        </p:grpSpPr>
        <p:sp>
          <p:nvSpPr>
            <p:cNvPr id="236" name="Oval 90"/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8282125" y="3130792"/>
              <a:ext cx="360362" cy="360363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37" name="Arc 91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black">
            <a:xfrm>
              <a:off x="8298167" y="3130792"/>
              <a:ext cx="360362" cy="360363"/>
            </a:xfrm>
            <a:prstGeom prst="arc">
              <a:avLst>
                <a:gd name="adj1" fmla="val 16200000"/>
                <a:gd name="adj2" fmla="val 5418042"/>
              </a:avLst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38" name="组合 118"/>
          <p:cNvGrpSpPr>
            <a:grpSpLocks noChangeAspect="1"/>
          </p:cNvGrpSpPr>
          <p:nvPr/>
        </p:nvGrpSpPr>
        <p:grpSpPr>
          <a:xfrm>
            <a:off x="9939239" y="2307135"/>
            <a:ext cx="240000" cy="240000"/>
            <a:chOff x="8282125" y="3130792"/>
            <a:chExt cx="376404" cy="360363"/>
          </a:xfrm>
        </p:grpSpPr>
        <p:sp>
          <p:nvSpPr>
            <p:cNvPr id="239" name="Oval 90"/>
            <p:cNvSpPr>
              <a:spLocks noChangeAspect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8282125" y="3130792"/>
              <a:ext cx="360362" cy="360363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0" name="Arc 91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black">
            <a:xfrm>
              <a:off x="8298167" y="3130792"/>
              <a:ext cx="360362" cy="360363"/>
            </a:xfrm>
            <a:prstGeom prst="arc">
              <a:avLst>
                <a:gd name="adj1" fmla="val 16200000"/>
                <a:gd name="adj2" fmla="val 5418042"/>
              </a:avLst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41" name="组合 124"/>
          <p:cNvGrpSpPr>
            <a:grpSpLocks noChangeAspect="1"/>
          </p:cNvGrpSpPr>
          <p:nvPr/>
        </p:nvGrpSpPr>
        <p:grpSpPr>
          <a:xfrm>
            <a:off x="8975971" y="3460856"/>
            <a:ext cx="240000" cy="240000"/>
            <a:chOff x="3371525" y="4331407"/>
            <a:chExt cx="360362" cy="362116"/>
          </a:xfrm>
          <a:solidFill>
            <a:schemeClr val="bg1">
              <a:lumMod val="65000"/>
            </a:schemeClr>
          </a:solidFill>
        </p:grpSpPr>
        <p:sp>
          <p:nvSpPr>
            <p:cNvPr id="242" name="Oval 90"/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3" name="Arc 91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92792"/>
              </a:avLst>
            </a:prstGeom>
            <a:grp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44" name="组合 124"/>
          <p:cNvGrpSpPr>
            <a:grpSpLocks noChangeAspect="1"/>
          </p:cNvGrpSpPr>
          <p:nvPr/>
        </p:nvGrpSpPr>
        <p:grpSpPr>
          <a:xfrm>
            <a:off x="8975971" y="5130983"/>
            <a:ext cx="240000" cy="240000"/>
            <a:chOff x="3371525" y="4331407"/>
            <a:chExt cx="360362" cy="362116"/>
          </a:xfrm>
          <a:solidFill>
            <a:schemeClr val="bg1">
              <a:lumMod val="65000"/>
            </a:schemeClr>
          </a:solidFill>
        </p:grpSpPr>
        <p:sp>
          <p:nvSpPr>
            <p:cNvPr id="245" name="Oval 90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grp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6" name="Arc 91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grp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47" name="组合 124"/>
          <p:cNvGrpSpPr>
            <a:grpSpLocks noChangeAspect="1"/>
          </p:cNvGrpSpPr>
          <p:nvPr/>
        </p:nvGrpSpPr>
        <p:grpSpPr>
          <a:xfrm>
            <a:off x="8975971" y="4576127"/>
            <a:ext cx="240000" cy="240000"/>
            <a:chOff x="3371525" y="4331407"/>
            <a:chExt cx="360362" cy="362116"/>
          </a:xfrm>
          <a:solidFill>
            <a:schemeClr val="bg1">
              <a:lumMod val="65000"/>
            </a:schemeClr>
          </a:solidFill>
        </p:grpSpPr>
        <p:sp>
          <p:nvSpPr>
            <p:cNvPr id="248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grp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49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grp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50" name="组合 124"/>
          <p:cNvGrpSpPr>
            <a:grpSpLocks noChangeAspect="1"/>
          </p:cNvGrpSpPr>
          <p:nvPr/>
        </p:nvGrpSpPr>
        <p:grpSpPr>
          <a:xfrm>
            <a:off x="8977161" y="2861767"/>
            <a:ext cx="237625" cy="240000"/>
            <a:chOff x="3371525" y="4331407"/>
            <a:chExt cx="360362" cy="362116"/>
          </a:xfrm>
        </p:grpSpPr>
        <p:sp>
          <p:nvSpPr>
            <p:cNvPr id="251" name="Oval 90"/>
            <p:cNvSpPr>
              <a:spLocks noChangeAspect="1"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52" name="Arc 91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sp>
        <p:nvSpPr>
          <p:cNvPr id="253" name="矩形 268"/>
          <p:cNvSpPr/>
          <p:nvPr/>
        </p:nvSpPr>
        <p:spPr>
          <a:xfrm>
            <a:off x="7612553" y="1506808"/>
            <a:ext cx="1073437" cy="4611541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grpSp>
        <p:nvGrpSpPr>
          <p:cNvPr id="254" name="组合 124"/>
          <p:cNvGrpSpPr>
            <a:grpSpLocks noChangeAspect="1"/>
          </p:cNvGrpSpPr>
          <p:nvPr/>
        </p:nvGrpSpPr>
        <p:grpSpPr>
          <a:xfrm>
            <a:off x="10836999" y="2328460"/>
            <a:ext cx="240000" cy="240000"/>
            <a:chOff x="3371525" y="4331407"/>
            <a:chExt cx="360362" cy="362116"/>
          </a:xfrm>
        </p:grpSpPr>
        <p:sp>
          <p:nvSpPr>
            <p:cNvPr id="255" name="Oval 90"/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56" name="Arc 91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57" name="组合 73"/>
          <p:cNvGrpSpPr>
            <a:grpSpLocks noChangeAspect="1"/>
          </p:cNvGrpSpPr>
          <p:nvPr/>
        </p:nvGrpSpPr>
        <p:grpSpPr>
          <a:xfrm>
            <a:off x="8023036" y="5671793"/>
            <a:ext cx="242005" cy="257003"/>
            <a:chOff x="8282123" y="3130792"/>
            <a:chExt cx="387179" cy="385892"/>
          </a:xfrm>
        </p:grpSpPr>
        <p:sp>
          <p:nvSpPr>
            <p:cNvPr id="258" name="Oval 90"/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8282123" y="3130792"/>
              <a:ext cx="385891" cy="385892"/>
            </a:xfrm>
            <a:prstGeom prst="ellipse">
              <a:avLst/>
            </a:prstGeom>
            <a:noFill/>
            <a:ln w="9525">
              <a:solidFill>
                <a:srgbClr val="DA0B1C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59" name="Arc 91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black">
            <a:xfrm>
              <a:off x="8283411" y="3130792"/>
              <a:ext cx="385891" cy="385892"/>
            </a:xfrm>
            <a:prstGeom prst="arc">
              <a:avLst>
                <a:gd name="adj1" fmla="val 16200000"/>
                <a:gd name="adj2" fmla="val 14150"/>
              </a:avLst>
            </a:prstGeom>
            <a:solidFill>
              <a:srgbClr val="DA0B1C"/>
            </a:solidFill>
            <a:ln w="9525">
              <a:solidFill>
                <a:srgbClr val="DA0B1C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60" name="组合 124"/>
          <p:cNvGrpSpPr>
            <a:grpSpLocks noChangeAspect="1"/>
          </p:cNvGrpSpPr>
          <p:nvPr/>
        </p:nvGrpSpPr>
        <p:grpSpPr>
          <a:xfrm>
            <a:off x="8975971" y="5680293"/>
            <a:ext cx="240000" cy="240000"/>
            <a:chOff x="3371525" y="4331407"/>
            <a:chExt cx="360362" cy="362116"/>
          </a:xfrm>
          <a:solidFill>
            <a:schemeClr val="bg1">
              <a:lumMod val="65000"/>
            </a:schemeClr>
          </a:solidFill>
        </p:grpSpPr>
        <p:sp>
          <p:nvSpPr>
            <p:cNvPr id="261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62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92792"/>
              </a:avLst>
            </a:prstGeom>
            <a:grp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63" name="组合 73"/>
          <p:cNvGrpSpPr>
            <a:grpSpLocks noChangeAspect="1"/>
          </p:cNvGrpSpPr>
          <p:nvPr/>
        </p:nvGrpSpPr>
        <p:grpSpPr>
          <a:xfrm>
            <a:off x="10843975" y="5680293"/>
            <a:ext cx="226048" cy="240000"/>
            <a:chOff x="8282125" y="3130792"/>
            <a:chExt cx="361650" cy="360363"/>
          </a:xfrm>
        </p:grpSpPr>
        <p:sp>
          <p:nvSpPr>
            <p:cNvPr id="264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8282125" y="3130792"/>
              <a:ext cx="360362" cy="360363"/>
            </a:xfrm>
            <a:prstGeom prst="ellipse">
              <a:avLst/>
            </a:prstGeom>
            <a:noFill/>
            <a:ln w="9525">
              <a:solidFill>
                <a:schemeClr val="tx1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65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black">
            <a:xfrm>
              <a:off x="8283413" y="3130792"/>
              <a:ext cx="360362" cy="360363"/>
            </a:xfrm>
            <a:prstGeom prst="arc">
              <a:avLst>
                <a:gd name="adj1" fmla="val 16200000"/>
                <a:gd name="adj2" fmla="val 14150"/>
              </a:avLst>
            </a:prstGeom>
            <a:solidFill>
              <a:schemeClr val="tx1">
                <a:lumMod val="60000"/>
                <a:lumOff val="40000"/>
              </a:schemeClr>
            </a:solidFill>
            <a:ln w="9525">
              <a:solidFill>
                <a:schemeClr val="tx1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66" name="组合 124"/>
          <p:cNvGrpSpPr>
            <a:grpSpLocks noChangeAspect="1"/>
          </p:cNvGrpSpPr>
          <p:nvPr/>
        </p:nvGrpSpPr>
        <p:grpSpPr>
          <a:xfrm>
            <a:off x="8024037" y="3465175"/>
            <a:ext cx="240000" cy="240000"/>
            <a:chOff x="3371525" y="4331407"/>
            <a:chExt cx="360362" cy="362116"/>
          </a:xfrm>
        </p:grpSpPr>
        <p:sp>
          <p:nvSpPr>
            <p:cNvPr id="267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68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69" name="组合 124"/>
          <p:cNvGrpSpPr>
            <a:grpSpLocks noChangeAspect="1"/>
          </p:cNvGrpSpPr>
          <p:nvPr/>
        </p:nvGrpSpPr>
        <p:grpSpPr>
          <a:xfrm>
            <a:off x="8024037" y="5127772"/>
            <a:ext cx="240000" cy="240000"/>
            <a:chOff x="3371525" y="4331407"/>
            <a:chExt cx="360362" cy="362116"/>
          </a:xfrm>
        </p:grpSpPr>
        <p:sp>
          <p:nvSpPr>
            <p:cNvPr id="270" name="Oval 90"/>
            <p:cNvSpPr>
              <a:spLocks noChangeAspect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71" name="Arc 9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72" name="组合 118"/>
          <p:cNvGrpSpPr>
            <a:grpSpLocks noChangeAspect="1"/>
          </p:cNvGrpSpPr>
          <p:nvPr/>
        </p:nvGrpSpPr>
        <p:grpSpPr>
          <a:xfrm>
            <a:off x="8975971" y="2306555"/>
            <a:ext cx="240000" cy="240000"/>
            <a:chOff x="8282125" y="3130792"/>
            <a:chExt cx="376404" cy="360363"/>
          </a:xfrm>
        </p:grpSpPr>
        <p:sp>
          <p:nvSpPr>
            <p:cNvPr id="273" name="Oval 90"/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8282125" y="3130792"/>
              <a:ext cx="360362" cy="360363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74" name="Arc 91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black">
            <a:xfrm>
              <a:off x="8298167" y="3130792"/>
              <a:ext cx="360362" cy="360363"/>
            </a:xfrm>
            <a:prstGeom prst="arc">
              <a:avLst>
                <a:gd name="adj1" fmla="val 16200000"/>
                <a:gd name="adj2" fmla="val 5418042"/>
              </a:avLst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275" name="组合 124"/>
          <p:cNvGrpSpPr>
            <a:grpSpLocks noChangeAspect="1"/>
          </p:cNvGrpSpPr>
          <p:nvPr/>
        </p:nvGrpSpPr>
        <p:grpSpPr>
          <a:xfrm>
            <a:off x="8977159" y="3996851"/>
            <a:ext cx="240000" cy="240000"/>
            <a:chOff x="3371525" y="4331407"/>
            <a:chExt cx="360362" cy="362116"/>
          </a:xfrm>
          <a:solidFill>
            <a:schemeClr val="bg1">
              <a:lumMod val="65000"/>
            </a:schemeClr>
          </a:solidFill>
        </p:grpSpPr>
        <p:sp>
          <p:nvSpPr>
            <p:cNvPr id="276" name="Oval 90"/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371525" y="4331407"/>
              <a:ext cx="360362" cy="360363"/>
            </a:xfrm>
            <a:prstGeom prst="ellipse">
              <a:avLst/>
            </a:prstGeom>
            <a:grp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277" name="Arc 91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black">
            <a:xfrm>
              <a:off x="3371525" y="4333160"/>
              <a:ext cx="360362" cy="360363"/>
            </a:xfrm>
            <a:prstGeom prst="arc">
              <a:avLst>
                <a:gd name="adj1" fmla="val 16200000"/>
                <a:gd name="adj2" fmla="val 10740437"/>
              </a:avLst>
            </a:prstGeom>
            <a:grpFill/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54">
                <a:defRPr/>
              </a:pPr>
              <a:endParaRPr lang="en-US" sz="1300" dirty="0">
                <a:solidFill>
                  <a:srgbClr val="767171"/>
                </a:solidFill>
                <a:ea typeface="宋体" pitchFamily="2" charset="-122"/>
                <a:cs typeface="Arial" panose="020B0604020202020204" pitchFamily="34" charset="0"/>
              </a:endParaRPr>
            </a:p>
          </p:txBody>
        </p:sp>
      </p:grpSp>
      <p:sp>
        <p:nvSpPr>
          <p:cNvPr id="131" name="矩形 130"/>
          <p:cNvSpPr/>
          <p:nvPr/>
        </p:nvSpPr>
        <p:spPr>
          <a:xfrm>
            <a:off x="8707676" y="1512663"/>
            <a:ext cx="883653" cy="663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7" rIns="68572" bIns="3428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50000"/>
                  </a:schemeClr>
                </a:solidFill>
              </a:rPr>
              <a:t>公司</a:t>
            </a:r>
            <a:r>
              <a:rPr lang="en-US" altLang="zh-CN" sz="1200" dirty="0">
                <a:solidFill>
                  <a:schemeClr val="tx1">
                    <a:lumMod val="50000"/>
                  </a:schemeClr>
                </a:solidFill>
              </a:rPr>
              <a:t/>
            </a:r>
            <a:br>
              <a:rPr lang="en-US" altLang="zh-CN" sz="12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altLang="zh-CN" sz="1200" dirty="0">
                <a:solidFill>
                  <a:schemeClr val="tx1">
                    <a:lumMod val="50000"/>
                  </a:schemeClr>
                </a:solidFill>
              </a:rPr>
              <a:t> A</a:t>
            </a:r>
            <a:endParaRPr lang="zh-CN" altLang="en-US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32" name="矩形 131"/>
          <p:cNvSpPr/>
          <p:nvPr/>
        </p:nvSpPr>
        <p:spPr>
          <a:xfrm>
            <a:off x="9551588" y="1512663"/>
            <a:ext cx="883653" cy="663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7" rIns="68572" bIns="3428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50000"/>
                  </a:schemeClr>
                </a:solidFill>
              </a:rPr>
              <a:t>公司</a:t>
            </a:r>
            <a:r>
              <a:rPr lang="en-US" altLang="zh-CN" sz="1200" dirty="0">
                <a:solidFill>
                  <a:schemeClr val="tx1">
                    <a:lumMod val="50000"/>
                  </a:schemeClr>
                </a:solidFill>
              </a:rPr>
              <a:t/>
            </a:r>
            <a:br>
              <a:rPr lang="en-US" altLang="zh-CN" sz="12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altLang="zh-CN" sz="1200" dirty="0">
                <a:solidFill>
                  <a:schemeClr val="tx1">
                    <a:lumMod val="50000"/>
                  </a:schemeClr>
                </a:solidFill>
              </a:rPr>
              <a:t> B</a:t>
            </a:r>
            <a:endParaRPr lang="zh-CN" altLang="en-US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33" name="矩形 132"/>
          <p:cNvSpPr/>
          <p:nvPr/>
        </p:nvSpPr>
        <p:spPr>
          <a:xfrm>
            <a:off x="10542584" y="1512663"/>
            <a:ext cx="883653" cy="663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7" rIns="68572" bIns="3428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dirty="0">
                <a:solidFill>
                  <a:schemeClr val="tx1">
                    <a:lumMod val="50000"/>
                  </a:schemeClr>
                </a:solidFill>
              </a:rPr>
              <a:t>公司</a:t>
            </a:r>
            <a:r>
              <a:rPr lang="en-US" altLang="zh-CN" sz="1200" dirty="0">
                <a:solidFill>
                  <a:schemeClr val="tx1">
                    <a:lumMod val="50000"/>
                  </a:schemeClr>
                </a:solidFill>
              </a:rPr>
              <a:t/>
            </a:r>
            <a:br>
              <a:rPr lang="en-US" altLang="zh-CN" sz="12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altLang="zh-CN" sz="1200" dirty="0">
                <a:solidFill>
                  <a:schemeClr val="tx1">
                    <a:lumMod val="50000"/>
                  </a:schemeClr>
                </a:solidFill>
              </a:rPr>
              <a:t>C</a:t>
            </a:r>
            <a:endParaRPr lang="zh-CN" altLang="en-US" sz="1200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594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dirty="0" smtClean="0">
                <a:latin typeface="+mn-ea"/>
                <a:ea typeface="+mn-ea"/>
              </a:rPr>
              <a:t>数字化时代，供应链在发生什么变化？</a:t>
            </a:r>
            <a:endParaRPr lang="zh-CN" altLang="en-US" dirty="0">
              <a:latin typeface="+mn-ea"/>
              <a:ea typeface="+mn-ea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66" name="组合 65"/>
          <p:cNvGrpSpPr/>
          <p:nvPr/>
        </p:nvGrpSpPr>
        <p:grpSpPr>
          <a:xfrm>
            <a:off x="4021834" y="1253764"/>
            <a:ext cx="7062528" cy="4608430"/>
            <a:chOff x="3246439" y="1092315"/>
            <a:chExt cx="5296896" cy="3456323"/>
          </a:xfrm>
        </p:grpSpPr>
        <p:grpSp>
          <p:nvGrpSpPr>
            <p:cNvPr id="65" name="组合 64"/>
            <p:cNvGrpSpPr/>
            <p:nvPr/>
          </p:nvGrpSpPr>
          <p:grpSpPr>
            <a:xfrm>
              <a:off x="3260470" y="1092315"/>
              <a:ext cx="5282865" cy="1328156"/>
              <a:chOff x="3245293" y="1092315"/>
              <a:chExt cx="5282865" cy="1328156"/>
            </a:xfrm>
          </p:grpSpPr>
          <p:cxnSp>
            <p:nvCxnSpPr>
              <p:cNvPr id="49" name="直线箭头连接符 34"/>
              <p:cNvCxnSpPr>
                <a:cxnSpLocks/>
              </p:cNvCxnSpPr>
              <p:nvPr/>
            </p:nvCxnSpPr>
            <p:spPr>
              <a:xfrm flipH="1" flipV="1">
                <a:off x="6309850" y="1239872"/>
                <a:ext cx="452119" cy="7277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  <a:headEnd type="triangle" w="med" len="med"/>
                <a:tailEnd type="triangle" w="med" len="med"/>
              </a:ln>
              <a:effectLst/>
            </p:spPr>
          </p:cxnSp>
          <p:cxnSp>
            <p:nvCxnSpPr>
              <p:cNvPr id="50" name="直线箭头连接符 35"/>
              <p:cNvCxnSpPr/>
              <p:nvPr/>
            </p:nvCxnSpPr>
            <p:spPr>
              <a:xfrm>
                <a:off x="7431010" y="1243510"/>
                <a:ext cx="441419" cy="0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  <a:headEnd type="triangle" w="med" len="med"/>
                <a:tailEnd type="triangle" w="med" len="med"/>
              </a:ln>
              <a:effectLst/>
            </p:spPr>
          </p:cxnSp>
          <p:cxnSp>
            <p:nvCxnSpPr>
              <p:cNvPr id="51" name="直线箭头连接符 117"/>
              <p:cNvCxnSpPr/>
              <p:nvPr/>
            </p:nvCxnSpPr>
            <p:spPr>
              <a:xfrm>
                <a:off x="3878159" y="1243510"/>
                <a:ext cx="513924" cy="0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  <a:headEnd type="triangle" w="med" len="med"/>
                <a:tailEnd type="triangle" w="med" len="med"/>
              </a:ln>
              <a:effectLst/>
            </p:spPr>
          </p:cxnSp>
          <p:cxnSp>
            <p:nvCxnSpPr>
              <p:cNvPr id="52" name="直线箭头连接符 122"/>
              <p:cNvCxnSpPr/>
              <p:nvPr/>
            </p:nvCxnSpPr>
            <p:spPr>
              <a:xfrm>
                <a:off x="4980707" y="1243510"/>
                <a:ext cx="446598" cy="0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  <a:headEnd type="triangle" w="med" len="med"/>
                <a:tailEnd type="triangle" w="med" len="med"/>
              </a:ln>
              <a:effectLst/>
            </p:spPr>
          </p:cxnSp>
          <p:sp>
            <p:nvSpPr>
              <p:cNvPr id="55" name="文本框 54"/>
              <p:cNvSpPr txBox="1"/>
              <p:nvPr/>
            </p:nvSpPr>
            <p:spPr>
              <a:xfrm>
                <a:off x="5450388" y="1092315"/>
                <a:ext cx="811761" cy="2793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766">
                  <a:lnSpc>
                    <a:spcPct val="13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b="1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</a:rPr>
                  <a:t>多级经销商</a:t>
                </a:r>
              </a:p>
            </p:txBody>
          </p:sp>
          <p:sp>
            <p:nvSpPr>
              <p:cNvPr id="9" name="文本框 8"/>
              <p:cNvSpPr txBox="1"/>
              <p:nvPr/>
            </p:nvSpPr>
            <p:spPr>
              <a:xfrm>
                <a:off x="5508697" y="1634871"/>
                <a:ext cx="695143" cy="7856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14308" indent="-214308" algn="ctr">
                  <a:lnSpc>
                    <a:spcPct val="120000"/>
                  </a:lnSpc>
                  <a:spcAft>
                    <a:spcPts val="900"/>
                  </a:spcAft>
                  <a:defRPr/>
                </a:pPr>
                <a:r>
                  <a:rPr kumimoji="1" lang="zh-CN" altLang="en-US" sz="1400" b="1" kern="0" dirty="0">
                    <a:solidFill>
                      <a:srgbClr val="CA352D"/>
                    </a:solidFill>
                    <a:latin typeface="+mn-ea"/>
                  </a:rPr>
                  <a:t>扁平化</a:t>
                </a:r>
                <a:endParaRPr kumimoji="1" lang="en-US" altLang="zh-CN" sz="1400" b="1" kern="0" dirty="0">
                  <a:solidFill>
                    <a:srgbClr val="CA352D"/>
                  </a:solidFill>
                  <a:latin typeface="+mn-ea"/>
                </a:endParaRPr>
              </a:p>
              <a:p>
                <a:pPr algn="ctr">
                  <a:lnSpc>
                    <a:spcPct val="120000"/>
                  </a:lnSpc>
                  <a:spcAft>
                    <a:spcPts val="451"/>
                  </a:spcAft>
                  <a:defRPr/>
                </a:pPr>
                <a:r>
                  <a:rPr kumimoji="1" lang="en-US" altLang="zh-CN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B2B</a:t>
                </a:r>
                <a:r>
                  <a:rPr kumimoji="1" lang="zh-CN" alt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 电商</a:t>
                </a:r>
                <a:endParaRPr kumimoji="1" lang="en-US" altLang="zh-CN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ea"/>
                </a:endParaRPr>
              </a:p>
              <a:p>
                <a:pPr algn="ctr">
                  <a:lnSpc>
                    <a:spcPct val="12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统仓共配</a:t>
                </a:r>
                <a:endParaRPr kumimoji="1" lang="en-US" altLang="zh-CN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ea"/>
                </a:endParaRPr>
              </a:p>
            </p:txBody>
          </p:sp>
          <p:sp>
            <p:nvSpPr>
              <p:cNvPr id="43" name="下箭头 42"/>
              <p:cNvSpPr/>
              <p:nvPr/>
            </p:nvSpPr>
            <p:spPr>
              <a:xfrm>
                <a:off x="5756223" y="1422015"/>
                <a:ext cx="200091" cy="171244"/>
              </a:xfrm>
              <a:prstGeom prst="downArrow">
                <a:avLst/>
              </a:prstGeom>
              <a:solidFill>
                <a:srgbClr val="FFFFFF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766">
                  <a:defRPr/>
                </a:pPr>
                <a:endParaRPr kumimoji="1" lang="zh-CN" altLang="en-US" sz="1351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56" name="文本框 55"/>
              <p:cNvSpPr txBox="1"/>
              <p:nvPr/>
            </p:nvSpPr>
            <p:spPr>
              <a:xfrm>
                <a:off x="6804607" y="1092315"/>
                <a:ext cx="542456" cy="2793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766">
                  <a:lnSpc>
                    <a:spcPct val="13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b="1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</a:rPr>
                  <a:t>零售商</a:t>
                </a:r>
              </a:p>
            </p:txBody>
          </p:sp>
          <p:sp>
            <p:nvSpPr>
              <p:cNvPr id="11" name="文本框 10"/>
              <p:cNvSpPr txBox="1"/>
              <p:nvPr/>
            </p:nvSpPr>
            <p:spPr>
              <a:xfrm>
                <a:off x="6552735" y="1634871"/>
                <a:ext cx="1046201" cy="7856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14308" indent="-214308" algn="ctr">
                  <a:lnSpc>
                    <a:spcPct val="120000"/>
                  </a:lnSpc>
                  <a:spcAft>
                    <a:spcPts val="900"/>
                  </a:spcAft>
                  <a:defRPr/>
                </a:pPr>
                <a:r>
                  <a:rPr kumimoji="1" lang="zh-CN" altLang="en-US" sz="1400" b="1" kern="0" dirty="0">
                    <a:solidFill>
                      <a:srgbClr val="CA352D"/>
                    </a:solidFill>
                    <a:latin typeface="+mn-ea"/>
                  </a:rPr>
                  <a:t>线上化</a:t>
                </a:r>
                <a:endParaRPr kumimoji="1" lang="en-US" altLang="zh-CN" sz="1400" b="1" kern="0" dirty="0">
                  <a:solidFill>
                    <a:srgbClr val="CA352D"/>
                  </a:solidFill>
                  <a:latin typeface="+mn-ea"/>
                </a:endParaRPr>
              </a:p>
              <a:p>
                <a:pPr algn="ctr">
                  <a:lnSpc>
                    <a:spcPct val="12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门店</a:t>
                </a:r>
                <a:r>
                  <a:rPr kumimoji="1" lang="en-US" altLang="zh-CN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+</a:t>
                </a:r>
                <a:r>
                  <a:rPr kumimoji="1" lang="zh-CN" alt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移动终端</a:t>
                </a:r>
                <a:endParaRPr kumimoji="1" lang="en-US" altLang="zh-CN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ea"/>
                </a:endParaRPr>
              </a:p>
              <a:p>
                <a:pPr algn="ctr">
                  <a:lnSpc>
                    <a:spcPct val="12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仓</a:t>
                </a:r>
                <a:r>
                  <a:rPr kumimoji="1" lang="en-US" altLang="zh-CN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+</a:t>
                </a:r>
                <a:r>
                  <a:rPr kumimoji="1" lang="zh-CN" alt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店</a:t>
                </a:r>
                <a:endParaRPr kumimoji="1" lang="en-US" altLang="zh-CN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ea"/>
                </a:endParaRPr>
              </a:p>
            </p:txBody>
          </p:sp>
          <p:sp>
            <p:nvSpPr>
              <p:cNvPr id="44" name="下箭头 43"/>
              <p:cNvSpPr/>
              <p:nvPr/>
            </p:nvSpPr>
            <p:spPr>
              <a:xfrm>
                <a:off x="6975790" y="1422015"/>
                <a:ext cx="200091" cy="171244"/>
              </a:xfrm>
              <a:prstGeom prst="downArrow">
                <a:avLst/>
              </a:prstGeom>
              <a:solidFill>
                <a:srgbClr val="FFFFFF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766">
                  <a:defRPr/>
                </a:pPr>
                <a:endParaRPr kumimoji="1" lang="zh-CN" altLang="en-US" sz="1351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54" name="文本框 53"/>
              <p:cNvSpPr txBox="1"/>
              <p:nvPr/>
            </p:nvSpPr>
            <p:spPr>
              <a:xfrm>
                <a:off x="4415168" y="1092315"/>
                <a:ext cx="542456" cy="2793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766">
                  <a:lnSpc>
                    <a:spcPct val="13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b="1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</a:rPr>
                  <a:t>品牌商</a:t>
                </a:r>
              </a:p>
            </p:txBody>
          </p:sp>
          <p:sp>
            <p:nvSpPr>
              <p:cNvPr id="12" name="文本框 11"/>
              <p:cNvSpPr txBox="1"/>
              <p:nvPr/>
            </p:nvSpPr>
            <p:spPr>
              <a:xfrm>
                <a:off x="4213188" y="1634871"/>
                <a:ext cx="946413" cy="7856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14308" indent="-214308" algn="ctr">
                  <a:lnSpc>
                    <a:spcPct val="120000"/>
                  </a:lnSpc>
                  <a:spcAft>
                    <a:spcPts val="900"/>
                  </a:spcAft>
                  <a:defRPr/>
                </a:pPr>
                <a:r>
                  <a:rPr kumimoji="1" lang="zh-CN" altLang="en-US" sz="1400" b="1" kern="0" dirty="0">
                    <a:solidFill>
                      <a:srgbClr val="CA352D"/>
                    </a:solidFill>
                    <a:latin typeface="+mn-ea"/>
                  </a:rPr>
                  <a:t>全渠道</a:t>
                </a:r>
              </a:p>
              <a:p>
                <a:pPr algn="ctr">
                  <a:lnSpc>
                    <a:spcPct val="12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线上线下一体</a:t>
                </a:r>
                <a:endParaRPr kumimoji="1" lang="en-US" altLang="zh-CN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ea"/>
                </a:endParaRPr>
              </a:p>
              <a:p>
                <a:pPr algn="ctr">
                  <a:lnSpc>
                    <a:spcPct val="12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库存一盘货</a:t>
                </a:r>
                <a:endParaRPr kumimoji="1" lang="en-US" altLang="zh-CN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ea"/>
                </a:endParaRPr>
              </a:p>
            </p:txBody>
          </p:sp>
          <p:sp>
            <p:nvSpPr>
              <p:cNvPr id="45" name="下箭头 44"/>
              <p:cNvSpPr/>
              <p:nvPr/>
            </p:nvSpPr>
            <p:spPr>
              <a:xfrm>
                <a:off x="4586350" y="1422015"/>
                <a:ext cx="200091" cy="171244"/>
              </a:xfrm>
              <a:prstGeom prst="downArrow">
                <a:avLst/>
              </a:prstGeom>
              <a:solidFill>
                <a:srgbClr val="FFFFFF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766">
                  <a:defRPr/>
                </a:pPr>
                <a:endParaRPr kumimoji="1" lang="zh-CN" altLang="en-US" sz="1351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53" name="文本框 52"/>
              <p:cNvSpPr txBox="1"/>
              <p:nvPr/>
            </p:nvSpPr>
            <p:spPr>
              <a:xfrm>
                <a:off x="3312620" y="1092315"/>
                <a:ext cx="542456" cy="2793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766">
                  <a:lnSpc>
                    <a:spcPct val="13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b="1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</a:rPr>
                  <a:t>生产商</a:t>
                </a:r>
              </a:p>
            </p:txBody>
          </p:sp>
          <p:sp>
            <p:nvSpPr>
              <p:cNvPr id="13" name="文本框 12"/>
              <p:cNvSpPr txBox="1"/>
              <p:nvPr/>
            </p:nvSpPr>
            <p:spPr>
              <a:xfrm>
                <a:off x="3245293" y="1634871"/>
                <a:ext cx="677108" cy="7856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14308" indent="-214308" algn="ctr">
                  <a:lnSpc>
                    <a:spcPct val="120000"/>
                  </a:lnSpc>
                  <a:spcAft>
                    <a:spcPts val="900"/>
                  </a:spcAft>
                  <a:defRPr/>
                </a:pPr>
                <a:r>
                  <a:rPr kumimoji="1" lang="zh-CN" altLang="en-US" sz="1400" b="1" kern="0" dirty="0">
                    <a:solidFill>
                      <a:srgbClr val="CA352D"/>
                    </a:solidFill>
                    <a:latin typeface="+mn-ea"/>
                  </a:rPr>
                  <a:t>敏捷化</a:t>
                </a:r>
              </a:p>
              <a:p>
                <a:pPr algn="ctr">
                  <a:lnSpc>
                    <a:spcPct val="120000"/>
                  </a:lnSpc>
                  <a:spcAft>
                    <a:spcPts val="451"/>
                  </a:spcAft>
                  <a:defRPr/>
                </a:pPr>
                <a:r>
                  <a:rPr kumimoji="1" lang="en-US" altLang="zh-CN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C2F</a:t>
                </a:r>
              </a:p>
              <a:p>
                <a:pPr algn="ctr">
                  <a:lnSpc>
                    <a:spcPct val="12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产销协同</a:t>
                </a:r>
                <a:endParaRPr kumimoji="1" lang="en-US" altLang="zh-CN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ea"/>
                </a:endParaRPr>
              </a:p>
            </p:txBody>
          </p:sp>
          <p:sp>
            <p:nvSpPr>
              <p:cNvPr id="46" name="下箭头 45"/>
              <p:cNvSpPr/>
              <p:nvPr/>
            </p:nvSpPr>
            <p:spPr>
              <a:xfrm>
                <a:off x="3483802" y="1422015"/>
                <a:ext cx="200091" cy="171244"/>
              </a:xfrm>
              <a:prstGeom prst="downArrow">
                <a:avLst/>
              </a:prstGeom>
              <a:solidFill>
                <a:srgbClr val="FFFFFF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766">
                  <a:defRPr/>
                </a:pPr>
                <a:endParaRPr kumimoji="1" lang="zh-CN" altLang="en-US" sz="1351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57" name="文本框 56"/>
              <p:cNvSpPr txBox="1"/>
              <p:nvPr/>
            </p:nvSpPr>
            <p:spPr>
              <a:xfrm>
                <a:off x="7918377" y="1092315"/>
                <a:ext cx="542456" cy="2793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766">
                  <a:lnSpc>
                    <a:spcPct val="13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b="1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</a:rPr>
                  <a:t>消费者</a:t>
                </a:r>
              </a:p>
            </p:txBody>
          </p:sp>
          <p:sp>
            <p:nvSpPr>
              <p:cNvPr id="47" name="下箭头 46"/>
              <p:cNvSpPr/>
              <p:nvPr/>
            </p:nvSpPr>
            <p:spPr>
              <a:xfrm>
                <a:off x="8089559" y="1422015"/>
                <a:ext cx="200091" cy="171244"/>
              </a:xfrm>
              <a:prstGeom prst="downArrow">
                <a:avLst/>
              </a:prstGeom>
              <a:solidFill>
                <a:srgbClr val="FFFFFF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766">
                  <a:defRPr/>
                </a:pPr>
                <a:endParaRPr kumimoji="1" lang="zh-CN" altLang="en-US" sz="1351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5" name="文本框 14"/>
              <p:cNvSpPr txBox="1"/>
              <p:nvPr/>
            </p:nvSpPr>
            <p:spPr>
              <a:xfrm>
                <a:off x="7851050" y="1634871"/>
                <a:ext cx="677108" cy="7856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14308" indent="-214308" algn="ctr">
                  <a:lnSpc>
                    <a:spcPct val="120000"/>
                  </a:lnSpc>
                  <a:spcAft>
                    <a:spcPts val="900"/>
                  </a:spcAft>
                  <a:defRPr/>
                </a:pPr>
                <a:r>
                  <a:rPr kumimoji="1" lang="zh-CN" altLang="en-US" sz="1400" b="1" kern="0" dirty="0">
                    <a:solidFill>
                      <a:srgbClr val="CA352D"/>
                    </a:solidFill>
                    <a:latin typeface="+mn-ea"/>
                  </a:rPr>
                  <a:t>场景化</a:t>
                </a:r>
                <a:endParaRPr kumimoji="1" lang="en-US" altLang="zh-CN" sz="1400" b="1" kern="0" dirty="0">
                  <a:solidFill>
                    <a:srgbClr val="CA352D"/>
                  </a:solidFill>
                  <a:latin typeface="+mn-ea"/>
                </a:endParaRPr>
              </a:p>
              <a:p>
                <a:pPr algn="ctr">
                  <a:lnSpc>
                    <a:spcPct val="12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多渠道</a:t>
                </a:r>
                <a:endParaRPr kumimoji="1" lang="en-US" altLang="zh-CN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ea"/>
                </a:endParaRPr>
              </a:p>
              <a:p>
                <a:pPr algn="ctr">
                  <a:lnSpc>
                    <a:spcPct val="12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4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rPr>
                  <a:t>即时获得</a:t>
                </a:r>
                <a:endParaRPr kumimoji="1" lang="en-US" altLang="zh-CN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ea"/>
                </a:endParaRPr>
              </a:p>
            </p:txBody>
          </p:sp>
        </p:grpSp>
        <p:grpSp>
          <p:nvGrpSpPr>
            <p:cNvPr id="64" name="组合 63"/>
            <p:cNvGrpSpPr/>
            <p:nvPr/>
          </p:nvGrpSpPr>
          <p:grpSpPr>
            <a:xfrm>
              <a:off x="3246439" y="2547813"/>
              <a:ext cx="5272454" cy="2000825"/>
              <a:chOff x="3270670" y="2547813"/>
              <a:chExt cx="5272454" cy="2000825"/>
            </a:xfrm>
          </p:grpSpPr>
          <p:sp>
            <p:nvSpPr>
              <p:cNvPr id="16" name="任意形状 163"/>
              <p:cNvSpPr/>
              <p:nvPr/>
            </p:nvSpPr>
            <p:spPr>
              <a:xfrm>
                <a:off x="4095674" y="2926974"/>
                <a:ext cx="567473" cy="1263994"/>
              </a:xfrm>
              <a:custGeom>
                <a:avLst/>
                <a:gdLst>
                  <a:gd name="connsiteX0" fmla="*/ 0 w 1754659"/>
                  <a:gd name="connsiteY0" fmla="*/ 0 h 3237470"/>
                  <a:gd name="connsiteX1" fmla="*/ 0 w 1754659"/>
                  <a:gd name="connsiteY1" fmla="*/ 3237470 h 3237470"/>
                  <a:gd name="connsiteX2" fmla="*/ 1754659 w 1754659"/>
                  <a:gd name="connsiteY2" fmla="*/ 2718486 h 3237470"/>
                  <a:gd name="connsiteX3" fmla="*/ 1754659 w 1754659"/>
                  <a:gd name="connsiteY3" fmla="*/ 494270 h 3237470"/>
                  <a:gd name="connsiteX4" fmla="*/ 0 w 1754659"/>
                  <a:gd name="connsiteY4" fmla="*/ 0 h 3237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4659" h="3237470">
                    <a:moveTo>
                      <a:pt x="0" y="0"/>
                    </a:moveTo>
                    <a:lnTo>
                      <a:pt x="0" y="3237470"/>
                    </a:lnTo>
                    <a:lnTo>
                      <a:pt x="1754659" y="2718486"/>
                    </a:lnTo>
                    <a:lnTo>
                      <a:pt x="1754659" y="4942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12700" cap="flat" cmpd="sng" algn="ctr">
                <a:noFill/>
                <a:prstDash val="solid"/>
                <a:miter lim="800000"/>
                <a:headEnd type="none" w="med" len="med"/>
                <a:tailEnd type="triangle" w="med" len="med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none" lIns="51435" tIns="25719" rIns="51435" bIns="257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66">
                  <a:defRPr/>
                </a:pPr>
                <a:r>
                  <a:rPr kumimoji="1" lang="zh-CN" altLang="en-US" sz="1200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  <a:cs typeface="Microsoft YaHei" charset="-122"/>
                  </a:rPr>
                  <a:t>品牌商</a:t>
                </a:r>
              </a:p>
            </p:txBody>
          </p:sp>
          <p:sp>
            <p:nvSpPr>
              <p:cNvPr id="17" name="任意形状 164"/>
              <p:cNvSpPr/>
              <p:nvPr/>
            </p:nvSpPr>
            <p:spPr>
              <a:xfrm>
                <a:off x="4910578" y="3064784"/>
                <a:ext cx="788005" cy="988374"/>
              </a:xfrm>
              <a:custGeom>
                <a:avLst/>
                <a:gdLst>
                  <a:gd name="connsiteX0" fmla="*/ 0 w 1754659"/>
                  <a:gd name="connsiteY0" fmla="*/ 0 h 3237470"/>
                  <a:gd name="connsiteX1" fmla="*/ 0 w 1754659"/>
                  <a:gd name="connsiteY1" fmla="*/ 3237470 h 3237470"/>
                  <a:gd name="connsiteX2" fmla="*/ 1754659 w 1754659"/>
                  <a:gd name="connsiteY2" fmla="*/ 2718486 h 3237470"/>
                  <a:gd name="connsiteX3" fmla="*/ 1754659 w 1754659"/>
                  <a:gd name="connsiteY3" fmla="*/ 494270 h 3237470"/>
                  <a:gd name="connsiteX4" fmla="*/ 0 w 1754659"/>
                  <a:gd name="connsiteY4" fmla="*/ 0 h 3237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4659" h="3237470">
                    <a:moveTo>
                      <a:pt x="0" y="0"/>
                    </a:moveTo>
                    <a:lnTo>
                      <a:pt x="0" y="3237470"/>
                    </a:lnTo>
                    <a:lnTo>
                      <a:pt x="1754659" y="2718486"/>
                    </a:lnTo>
                    <a:lnTo>
                      <a:pt x="1754659" y="4942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0AD47">
                  <a:lumMod val="20000"/>
                  <a:lumOff val="80000"/>
                </a:srgbClr>
              </a:solidFill>
              <a:ln w="12700" cap="flat" cmpd="sng" algn="ctr">
                <a:noFill/>
                <a:prstDash val="solid"/>
                <a:miter lim="800000"/>
                <a:headEnd type="none" w="med" len="med"/>
                <a:tailEnd type="triangle" w="med" len="med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none" lIns="51435" tIns="25719" rIns="51435" bIns="257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66">
                  <a:defRPr/>
                </a:pPr>
                <a:r>
                  <a:rPr kumimoji="1" lang="zh-CN" altLang="en-US" sz="1200" b="1" kern="0" dirty="0">
                    <a:solidFill>
                      <a:srgbClr val="CA352D"/>
                    </a:solidFill>
                    <a:latin typeface="+mn-ea"/>
                    <a:cs typeface="Microsoft YaHei" charset="-122"/>
                  </a:rPr>
                  <a:t>供应链</a:t>
                </a:r>
                <a:endParaRPr kumimoji="1" lang="en-US" altLang="zh-CN" sz="1200" b="1" kern="0" dirty="0">
                  <a:solidFill>
                    <a:srgbClr val="CA352D"/>
                  </a:solidFill>
                  <a:latin typeface="+mn-ea"/>
                  <a:cs typeface="Microsoft YaHei" charset="-122"/>
                </a:endParaRPr>
              </a:p>
              <a:p>
                <a:pPr algn="ctr" defTabSz="685766">
                  <a:defRPr/>
                </a:pPr>
                <a:r>
                  <a:rPr kumimoji="1" lang="zh-CN" altLang="en-US" sz="1200" b="1" kern="0" dirty="0">
                    <a:solidFill>
                      <a:srgbClr val="CA352D"/>
                    </a:solidFill>
                    <a:latin typeface="+mn-ea"/>
                    <a:cs typeface="Microsoft YaHei" charset="-122"/>
                  </a:rPr>
                  <a:t>运营平台</a:t>
                </a:r>
              </a:p>
            </p:txBody>
          </p:sp>
          <p:sp>
            <p:nvSpPr>
              <p:cNvPr id="18" name="右箭头 17"/>
              <p:cNvSpPr/>
              <p:nvPr/>
            </p:nvSpPr>
            <p:spPr>
              <a:xfrm>
                <a:off x="4412568" y="4057594"/>
                <a:ext cx="1523256" cy="140499"/>
              </a:xfrm>
              <a:prstGeom prst="rightArrow">
                <a:avLst>
                  <a:gd name="adj1" fmla="val 25758"/>
                  <a:gd name="adj2" fmla="val 50000"/>
                </a:avLst>
              </a:prstGeom>
              <a:solidFill>
                <a:srgbClr val="ED7D31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  <a:headEnd type="none" w="med" len="med"/>
                <a:tailEnd type="triangle" w="med" len="med"/>
              </a:ln>
              <a:effectLst/>
            </p:spPr>
            <p:txBody>
              <a:bodyPr rot="0" spcFirstLastPara="0" vertOverflow="overflow" horzOverflow="overflow" vert="horz" wrap="none" lIns="51435" tIns="25719" rIns="51435" bIns="257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66">
                  <a:defRPr/>
                </a:pPr>
                <a:endParaRPr kumimoji="1" lang="zh-CN" altLang="en-US" sz="1051" kern="0">
                  <a:solidFill>
                    <a:srgbClr val="FFFFFF"/>
                  </a:solidFill>
                  <a:latin typeface="+mn-ea"/>
                  <a:cs typeface="Microsoft YaHei" charset="-122"/>
                </a:endParaRPr>
              </a:p>
            </p:txBody>
          </p:sp>
          <p:sp>
            <p:nvSpPr>
              <p:cNvPr id="19" name="右箭头 18"/>
              <p:cNvSpPr/>
              <p:nvPr/>
            </p:nvSpPr>
            <p:spPr>
              <a:xfrm>
                <a:off x="5746123" y="3361849"/>
                <a:ext cx="173455" cy="394244"/>
              </a:xfrm>
              <a:prstGeom prst="rightArrow">
                <a:avLst>
                  <a:gd name="adj1" fmla="val 47516"/>
                  <a:gd name="adj2" fmla="val 50000"/>
                </a:avLst>
              </a:prstGeom>
              <a:solidFill>
                <a:srgbClr val="CA352D">
                  <a:lumMod val="40000"/>
                  <a:lumOff val="60000"/>
                  <a:alpha val="71000"/>
                </a:srgbClr>
              </a:solidFill>
              <a:ln w="12700" cap="flat" cmpd="sng" algn="ctr">
                <a:noFill/>
                <a:prstDash val="solid"/>
                <a:miter lim="800000"/>
                <a:headEnd type="none" w="med" len="med"/>
                <a:tailEnd type="triangle" w="med" len="med"/>
              </a:ln>
              <a:effectLst/>
            </p:spPr>
            <p:txBody>
              <a:bodyPr rot="0" spcFirstLastPara="0" vertOverflow="overflow" horzOverflow="overflow" vert="horz" wrap="none" lIns="51435" tIns="25719" rIns="51435" bIns="257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66">
                  <a:defRPr/>
                </a:pPr>
                <a:endParaRPr kumimoji="1" lang="zh-CN" altLang="en-US" sz="1051" kern="0">
                  <a:solidFill>
                    <a:srgbClr val="FFFFFF"/>
                  </a:solidFill>
                  <a:latin typeface="+mn-ea"/>
                  <a:cs typeface="Microsoft YaHei" charset="-122"/>
                </a:endParaRPr>
              </a:p>
            </p:txBody>
          </p:sp>
          <p:grpSp>
            <p:nvGrpSpPr>
              <p:cNvPr id="62" name="组合 61"/>
              <p:cNvGrpSpPr/>
              <p:nvPr/>
            </p:nvGrpSpPr>
            <p:grpSpPr>
              <a:xfrm>
                <a:off x="6122119" y="2547813"/>
                <a:ext cx="2421005" cy="2000825"/>
                <a:chOff x="6122119" y="2547813"/>
                <a:chExt cx="2421005" cy="2000825"/>
              </a:xfrm>
            </p:grpSpPr>
            <p:sp>
              <p:nvSpPr>
                <p:cNvPr id="30" name="文本框 29"/>
                <p:cNvSpPr txBox="1"/>
                <p:nvPr/>
              </p:nvSpPr>
              <p:spPr>
                <a:xfrm>
                  <a:off x="7432545" y="3482205"/>
                  <a:ext cx="365726" cy="17836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685766">
                    <a:lnSpc>
                      <a:spcPct val="120000"/>
                    </a:lnSpc>
                    <a:spcAft>
                      <a:spcPts val="525"/>
                    </a:spcAft>
                    <a:defRPr/>
                  </a:pPr>
                  <a:r>
                    <a:rPr kumimoji="1" lang="zh-CN" altLang="en-US" sz="788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消费者</a:t>
                  </a:r>
                </a:p>
              </p:txBody>
            </p:sp>
            <p:sp>
              <p:nvSpPr>
                <p:cNvPr id="31" name="左箭头 30"/>
                <p:cNvSpPr/>
                <p:nvPr/>
              </p:nvSpPr>
              <p:spPr>
                <a:xfrm rot="18811936" flipH="1">
                  <a:off x="6942982" y="3743608"/>
                  <a:ext cx="299144" cy="99590"/>
                </a:xfrm>
                <a:prstGeom prst="leftArrow">
                  <a:avLst>
                    <a:gd name="adj1" fmla="val 31504"/>
                    <a:gd name="adj2" fmla="val 50000"/>
                  </a:avLst>
                </a:prstGeom>
                <a:solidFill>
                  <a:srgbClr val="CA352D">
                    <a:lumMod val="40000"/>
                    <a:lumOff val="60000"/>
                    <a:alpha val="69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766">
                    <a:defRPr/>
                  </a:pPr>
                  <a:endParaRPr kumimoji="1" lang="zh-CN" altLang="en-US" sz="105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endParaRPr>
                </a:p>
              </p:txBody>
            </p:sp>
            <p:sp>
              <p:nvSpPr>
                <p:cNvPr id="32" name="左箭头 31"/>
                <p:cNvSpPr/>
                <p:nvPr/>
              </p:nvSpPr>
              <p:spPr>
                <a:xfrm rot="19866131" flipH="1">
                  <a:off x="6494009" y="3665585"/>
                  <a:ext cx="677939" cy="82567"/>
                </a:xfrm>
                <a:prstGeom prst="leftArrow">
                  <a:avLst>
                    <a:gd name="adj1" fmla="val 35010"/>
                    <a:gd name="adj2" fmla="val 50000"/>
                  </a:avLst>
                </a:prstGeom>
                <a:solidFill>
                  <a:srgbClr val="CA352D">
                    <a:lumMod val="40000"/>
                    <a:lumOff val="60000"/>
                    <a:alpha val="69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766">
                    <a:defRPr/>
                  </a:pPr>
                  <a:endParaRPr kumimoji="1" lang="zh-CN" altLang="en-US" sz="105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endParaRPr>
                </a:p>
              </p:txBody>
            </p:sp>
            <p:sp>
              <p:nvSpPr>
                <p:cNvPr id="33" name="左箭头 32"/>
                <p:cNvSpPr/>
                <p:nvPr/>
              </p:nvSpPr>
              <p:spPr>
                <a:xfrm rot="1768764" flipH="1">
                  <a:off x="6264076" y="3195377"/>
                  <a:ext cx="972000" cy="82568"/>
                </a:xfrm>
                <a:prstGeom prst="leftArrow">
                  <a:avLst>
                    <a:gd name="adj1" fmla="val 34769"/>
                    <a:gd name="adj2" fmla="val 50000"/>
                  </a:avLst>
                </a:prstGeom>
                <a:solidFill>
                  <a:srgbClr val="CA352D">
                    <a:lumMod val="40000"/>
                    <a:lumOff val="60000"/>
                    <a:alpha val="69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766">
                    <a:defRPr/>
                  </a:pPr>
                  <a:endParaRPr kumimoji="1" lang="zh-CN" altLang="en-US" sz="105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endParaRPr>
                </a:p>
              </p:txBody>
            </p:sp>
            <p:sp>
              <p:nvSpPr>
                <p:cNvPr id="34" name="弧 181"/>
                <p:cNvSpPr/>
                <p:nvPr/>
              </p:nvSpPr>
              <p:spPr>
                <a:xfrm flipH="1">
                  <a:off x="6751927" y="3064435"/>
                  <a:ext cx="1161389" cy="959823"/>
                </a:xfrm>
                <a:prstGeom prst="arc">
                  <a:avLst>
                    <a:gd name="adj1" fmla="val 18341329"/>
                    <a:gd name="adj2" fmla="val 3488408"/>
                  </a:avLst>
                </a:prstGeom>
                <a:noFill/>
                <a:ln w="6350" cap="flat" cmpd="sng" algn="ctr">
                  <a:solidFill>
                    <a:srgbClr val="000000">
                      <a:lumMod val="75000"/>
                      <a:lumOff val="25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 defTabSz="685766">
                    <a:defRPr/>
                  </a:pPr>
                  <a:endParaRPr kumimoji="1" lang="zh-CN" altLang="en-US" sz="105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endParaRPr>
                </a:p>
              </p:txBody>
            </p:sp>
            <p:sp>
              <p:nvSpPr>
                <p:cNvPr id="35" name="文本框 34"/>
                <p:cNvSpPr txBox="1"/>
                <p:nvPr/>
              </p:nvSpPr>
              <p:spPr>
                <a:xfrm>
                  <a:off x="7011253" y="3059961"/>
                  <a:ext cx="1194077" cy="1731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766">
                    <a:spcAft>
                      <a:spcPts val="525"/>
                    </a:spcAft>
                    <a:defRPr/>
                  </a:pPr>
                  <a:r>
                    <a:rPr kumimoji="1" lang="en-US" altLang="zh-CN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0~1</a:t>
                  </a:r>
                  <a:r>
                    <a:rPr kumimoji="1" lang="zh-CN" altLang="en-US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 </a:t>
                  </a:r>
                  <a:r>
                    <a:rPr kumimoji="1" lang="en-US" altLang="zh-CN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Km</a:t>
                  </a:r>
                  <a:r>
                    <a:rPr kumimoji="1" lang="zh-CN" altLang="en-US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（便利店</a:t>
                  </a:r>
                  <a:r>
                    <a:rPr kumimoji="1" lang="en-US" altLang="zh-CN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/</a:t>
                  </a:r>
                  <a:r>
                    <a:rPr kumimoji="1" lang="zh-CN" altLang="en-US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社区店）</a:t>
                  </a:r>
                </a:p>
              </p:txBody>
            </p:sp>
            <p:sp>
              <p:nvSpPr>
                <p:cNvPr id="36" name="文本框 35"/>
                <p:cNvSpPr txBox="1"/>
                <p:nvPr/>
              </p:nvSpPr>
              <p:spPr>
                <a:xfrm>
                  <a:off x="6873934" y="2831534"/>
                  <a:ext cx="1250583" cy="1938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766">
                    <a:lnSpc>
                      <a:spcPct val="120000"/>
                    </a:lnSpc>
                    <a:spcAft>
                      <a:spcPts val="525"/>
                    </a:spcAft>
                    <a:defRPr/>
                  </a:pPr>
                  <a:r>
                    <a:rPr kumimoji="1" lang="en-US" altLang="zh-CN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1~3</a:t>
                  </a:r>
                  <a:r>
                    <a:rPr kumimoji="1" lang="zh-CN" altLang="en-US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 </a:t>
                  </a:r>
                  <a:r>
                    <a:rPr kumimoji="1" lang="en-US" altLang="zh-CN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Km</a:t>
                  </a:r>
                  <a:r>
                    <a:rPr kumimoji="1" lang="zh-CN" altLang="en-US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（商超</a:t>
                  </a:r>
                  <a:r>
                    <a:rPr kumimoji="1" lang="en-US" altLang="zh-CN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/</a:t>
                  </a:r>
                  <a:r>
                    <a:rPr kumimoji="1" lang="zh-CN" altLang="en-US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卖场</a:t>
                  </a:r>
                  <a:r>
                    <a:rPr kumimoji="1" lang="en-US" altLang="zh-CN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/O2O</a:t>
                  </a:r>
                  <a:r>
                    <a:rPr kumimoji="1" lang="zh-CN" altLang="en-US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）</a:t>
                  </a:r>
                </a:p>
              </p:txBody>
            </p:sp>
            <p:sp>
              <p:nvSpPr>
                <p:cNvPr id="37" name="文本框 36"/>
                <p:cNvSpPr txBox="1"/>
                <p:nvPr/>
              </p:nvSpPr>
              <p:spPr>
                <a:xfrm>
                  <a:off x="6694502" y="2589467"/>
                  <a:ext cx="760064" cy="1938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766">
                    <a:lnSpc>
                      <a:spcPct val="120000"/>
                    </a:lnSpc>
                    <a:spcAft>
                      <a:spcPts val="525"/>
                    </a:spcAft>
                    <a:defRPr/>
                  </a:pPr>
                  <a:r>
                    <a:rPr kumimoji="1" lang="en-US" altLang="zh-CN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3~</a:t>
                  </a:r>
                  <a:r>
                    <a:rPr kumimoji="1" lang="zh-CN" altLang="en-US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 </a:t>
                  </a:r>
                  <a:r>
                    <a:rPr kumimoji="1" lang="en-US" altLang="zh-CN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Km</a:t>
                  </a:r>
                  <a:r>
                    <a:rPr kumimoji="1" lang="zh-CN" altLang="en-US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（电商）</a:t>
                  </a:r>
                  <a:endParaRPr kumimoji="1" lang="en-US" altLang="zh-CN" sz="9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  <a:cs typeface="Microsoft YaHei Light" charset="-122"/>
                  </a:endParaRPr>
                </a:p>
              </p:txBody>
            </p:sp>
            <p:sp>
              <p:nvSpPr>
                <p:cNvPr id="38" name="文本框 37"/>
                <p:cNvSpPr txBox="1"/>
                <p:nvPr/>
              </p:nvSpPr>
              <p:spPr>
                <a:xfrm>
                  <a:off x="6754791" y="4353147"/>
                  <a:ext cx="744434" cy="1938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766">
                    <a:lnSpc>
                      <a:spcPct val="120000"/>
                    </a:lnSpc>
                    <a:spcAft>
                      <a:spcPts val="525"/>
                    </a:spcAft>
                    <a:defRPr/>
                  </a:pPr>
                  <a:r>
                    <a:rPr kumimoji="1" lang="zh-CN" altLang="en-US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当日达、隔日达</a:t>
                  </a:r>
                  <a:endParaRPr kumimoji="1" lang="en-US" altLang="zh-CN" sz="900" kern="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  <a:cs typeface="Microsoft YaHei Light" charset="-122"/>
                  </a:endParaRPr>
                </a:p>
              </p:txBody>
            </p:sp>
            <p:sp>
              <p:nvSpPr>
                <p:cNvPr id="39" name="文本框 38"/>
                <p:cNvSpPr txBox="1"/>
                <p:nvPr/>
              </p:nvSpPr>
              <p:spPr>
                <a:xfrm>
                  <a:off x="6905405" y="4092377"/>
                  <a:ext cx="241893" cy="1938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766">
                    <a:lnSpc>
                      <a:spcPct val="120000"/>
                    </a:lnSpc>
                    <a:spcAft>
                      <a:spcPts val="525"/>
                    </a:spcAft>
                    <a:defRPr/>
                  </a:pPr>
                  <a:r>
                    <a:rPr kumimoji="1" lang="en-US" altLang="zh-CN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1h</a:t>
                  </a:r>
                </a:p>
              </p:txBody>
            </p:sp>
            <p:sp>
              <p:nvSpPr>
                <p:cNvPr id="40" name="文本框 39"/>
                <p:cNvSpPr txBox="1"/>
                <p:nvPr/>
              </p:nvSpPr>
              <p:spPr>
                <a:xfrm>
                  <a:off x="7028335" y="3889752"/>
                  <a:ext cx="395782" cy="1938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85766">
                    <a:lnSpc>
                      <a:spcPct val="120000"/>
                    </a:lnSpc>
                    <a:spcAft>
                      <a:spcPts val="525"/>
                    </a:spcAft>
                    <a:defRPr/>
                  </a:pPr>
                  <a:r>
                    <a:rPr kumimoji="1" lang="en-US" altLang="zh-CN" sz="900" kern="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ea"/>
                      <a:cs typeface="Microsoft YaHei Light" charset="-122"/>
                    </a:rPr>
                    <a:t>30min</a:t>
                  </a:r>
                </a:p>
              </p:txBody>
            </p:sp>
            <p:sp>
              <p:nvSpPr>
                <p:cNvPr id="41" name="弧 188"/>
                <p:cNvSpPr/>
                <p:nvPr/>
              </p:nvSpPr>
              <p:spPr>
                <a:xfrm flipH="1">
                  <a:off x="6459911" y="2825040"/>
                  <a:ext cx="1745420" cy="1442492"/>
                </a:xfrm>
                <a:prstGeom prst="arc">
                  <a:avLst>
                    <a:gd name="adj1" fmla="val 18341329"/>
                    <a:gd name="adj2" fmla="val 3488408"/>
                  </a:avLst>
                </a:prstGeom>
                <a:noFill/>
                <a:ln w="6350" cap="flat" cmpd="sng" algn="ctr">
                  <a:solidFill>
                    <a:srgbClr val="000000">
                      <a:lumMod val="75000"/>
                      <a:lumOff val="25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 defTabSz="685766">
                    <a:defRPr/>
                  </a:pPr>
                  <a:endParaRPr kumimoji="1" lang="zh-CN" altLang="en-US" sz="105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endParaRPr>
                </a:p>
              </p:txBody>
            </p:sp>
            <p:sp>
              <p:nvSpPr>
                <p:cNvPr id="42" name="弧 189"/>
                <p:cNvSpPr/>
                <p:nvPr/>
              </p:nvSpPr>
              <p:spPr>
                <a:xfrm flipH="1">
                  <a:off x="6122119" y="2547813"/>
                  <a:ext cx="2421005" cy="2000825"/>
                </a:xfrm>
                <a:prstGeom prst="arc">
                  <a:avLst>
                    <a:gd name="adj1" fmla="val 18341329"/>
                    <a:gd name="adj2" fmla="val 3488408"/>
                  </a:avLst>
                </a:prstGeom>
                <a:noFill/>
                <a:ln w="6350" cap="flat" cmpd="sng" algn="ctr">
                  <a:solidFill>
                    <a:srgbClr val="000000">
                      <a:lumMod val="75000"/>
                      <a:lumOff val="25000"/>
                    </a:srgb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 defTabSz="685766">
                    <a:defRPr/>
                  </a:pPr>
                  <a:endParaRPr kumimoji="1" lang="zh-CN" altLang="en-US" sz="105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n-ea"/>
                  </a:endParaRPr>
                </a:p>
              </p:txBody>
            </p:sp>
            <p:sp>
              <p:nvSpPr>
                <p:cNvPr id="29" name="Freeform 22"/>
                <p:cNvSpPr>
                  <a:spLocks noEditPoints="1"/>
                </p:cNvSpPr>
                <p:nvPr/>
              </p:nvSpPr>
              <p:spPr bwMode="auto">
                <a:xfrm>
                  <a:off x="7180335" y="3445486"/>
                  <a:ext cx="243782" cy="201027"/>
                </a:xfrm>
                <a:custGeom>
                  <a:avLst/>
                  <a:gdLst>
                    <a:gd name="T0" fmla="*/ 118 w 191"/>
                    <a:gd name="T1" fmla="*/ 93 h 191"/>
                    <a:gd name="T2" fmla="*/ 61 w 191"/>
                    <a:gd name="T3" fmla="*/ 93 h 191"/>
                    <a:gd name="T4" fmla="*/ 0 w 191"/>
                    <a:gd name="T5" fmla="*/ 151 h 191"/>
                    <a:gd name="T6" fmla="*/ 0 w 191"/>
                    <a:gd name="T7" fmla="*/ 156 h 191"/>
                    <a:gd name="T8" fmla="*/ 14 w 191"/>
                    <a:gd name="T9" fmla="*/ 170 h 191"/>
                    <a:gd name="T10" fmla="*/ 113 w 191"/>
                    <a:gd name="T11" fmla="*/ 170 h 191"/>
                    <a:gd name="T12" fmla="*/ 111 w 191"/>
                    <a:gd name="T13" fmla="*/ 155 h 191"/>
                    <a:gd name="T14" fmla="*/ 155 w 191"/>
                    <a:gd name="T15" fmla="*/ 110 h 191"/>
                    <a:gd name="T16" fmla="*/ 160 w 191"/>
                    <a:gd name="T17" fmla="*/ 110 h 191"/>
                    <a:gd name="T18" fmla="*/ 118 w 191"/>
                    <a:gd name="T19" fmla="*/ 93 h 191"/>
                    <a:gd name="T20" fmla="*/ 89 w 191"/>
                    <a:gd name="T21" fmla="*/ 0 h 191"/>
                    <a:gd name="T22" fmla="*/ 47 w 191"/>
                    <a:gd name="T23" fmla="*/ 42 h 191"/>
                    <a:gd name="T24" fmla="*/ 89 w 191"/>
                    <a:gd name="T25" fmla="*/ 85 h 191"/>
                    <a:gd name="T26" fmla="*/ 132 w 191"/>
                    <a:gd name="T27" fmla="*/ 42 h 191"/>
                    <a:gd name="T28" fmla="*/ 89 w 191"/>
                    <a:gd name="T29" fmla="*/ 0 h 191"/>
                    <a:gd name="T30" fmla="*/ 155 w 191"/>
                    <a:gd name="T31" fmla="*/ 119 h 191"/>
                    <a:gd name="T32" fmla="*/ 119 w 191"/>
                    <a:gd name="T33" fmla="*/ 155 h 191"/>
                    <a:gd name="T34" fmla="*/ 155 w 191"/>
                    <a:gd name="T35" fmla="*/ 191 h 191"/>
                    <a:gd name="T36" fmla="*/ 191 w 191"/>
                    <a:gd name="T37" fmla="*/ 155 h 191"/>
                    <a:gd name="T38" fmla="*/ 155 w 191"/>
                    <a:gd name="T39" fmla="*/ 119 h 191"/>
                    <a:gd name="T40" fmla="*/ 176 w 191"/>
                    <a:gd name="T41" fmla="*/ 148 h 191"/>
                    <a:gd name="T42" fmla="*/ 152 w 191"/>
                    <a:gd name="T43" fmla="*/ 171 h 191"/>
                    <a:gd name="T44" fmla="*/ 146 w 191"/>
                    <a:gd name="T45" fmla="*/ 171 h 191"/>
                    <a:gd name="T46" fmla="*/ 135 w 191"/>
                    <a:gd name="T47" fmla="*/ 159 h 191"/>
                    <a:gd name="T48" fmla="*/ 135 w 191"/>
                    <a:gd name="T49" fmla="*/ 153 h 191"/>
                    <a:gd name="T50" fmla="*/ 138 w 191"/>
                    <a:gd name="T51" fmla="*/ 150 h 191"/>
                    <a:gd name="T52" fmla="*/ 144 w 191"/>
                    <a:gd name="T53" fmla="*/ 150 h 191"/>
                    <a:gd name="T54" fmla="*/ 149 w 191"/>
                    <a:gd name="T55" fmla="*/ 156 h 191"/>
                    <a:gd name="T56" fmla="*/ 167 w 191"/>
                    <a:gd name="T57" fmla="*/ 139 h 191"/>
                    <a:gd name="T58" fmla="*/ 173 w 191"/>
                    <a:gd name="T59" fmla="*/ 139 h 191"/>
                    <a:gd name="T60" fmla="*/ 176 w 191"/>
                    <a:gd name="T61" fmla="*/ 142 h 191"/>
                    <a:gd name="T62" fmla="*/ 176 w 191"/>
                    <a:gd name="T63" fmla="*/ 148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91" h="191">
                      <a:moveTo>
                        <a:pt x="118" y="93"/>
                      </a:moveTo>
                      <a:cubicBezTo>
                        <a:pt x="61" y="93"/>
                        <a:pt x="61" y="93"/>
                        <a:pt x="61" y="93"/>
                      </a:cubicBezTo>
                      <a:cubicBezTo>
                        <a:pt x="30" y="93"/>
                        <a:pt x="0" y="120"/>
                        <a:pt x="0" y="151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0" y="163"/>
                        <a:pt x="6" y="170"/>
                        <a:pt x="14" y="170"/>
                      </a:cubicBezTo>
                      <a:cubicBezTo>
                        <a:pt x="113" y="170"/>
                        <a:pt x="113" y="170"/>
                        <a:pt x="113" y="170"/>
                      </a:cubicBezTo>
                      <a:cubicBezTo>
                        <a:pt x="111" y="165"/>
                        <a:pt x="111" y="160"/>
                        <a:pt x="111" y="155"/>
                      </a:cubicBezTo>
                      <a:cubicBezTo>
                        <a:pt x="111" y="130"/>
                        <a:pt x="131" y="110"/>
                        <a:pt x="155" y="110"/>
                      </a:cubicBezTo>
                      <a:cubicBezTo>
                        <a:pt x="157" y="110"/>
                        <a:pt x="158" y="110"/>
                        <a:pt x="160" y="110"/>
                      </a:cubicBezTo>
                      <a:cubicBezTo>
                        <a:pt x="149" y="100"/>
                        <a:pt x="133" y="93"/>
                        <a:pt x="118" y="93"/>
                      </a:cubicBezTo>
                      <a:close/>
                      <a:moveTo>
                        <a:pt x="89" y="0"/>
                      </a:moveTo>
                      <a:cubicBezTo>
                        <a:pt x="66" y="0"/>
                        <a:pt x="47" y="19"/>
                        <a:pt x="47" y="42"/>
                      </a:cubicBezTo>
                      <a:cubicBezTo>
                        <a:pt x="47" y="66"/>
                        <a:pt x="66" y="85"/>
                        <a:pt x="89" y="85"/>
                      </a:cubicBezTo>
                      <a:cubicBezTo>
                        <a:pt x="113" y="85"/>
                        <a:pt x="132" y="66"/>
                        <a:pt x="132" y="42"/>
                      </a:cubicBezTo>
                      <a:cubicBezTo>
                        <a:pt x="132" y="19"/>
                        <a:pt x="113" y="0"/>
                        <a:pt x="89" y="0"/>
                      </a:cubicBezTo>
                      <a:close/>
                      <a:moveTo>
                        <a:pt x="155" y="119"/>
                      </a:moveTo>
                      <a:cubicBezTo>
                        <a:pt x="135" y="119"/>
                        <a:pt x="119" y="135"/>
                        <a:pt x="119" y="155"/>
                      </a:cubicBezTo>
                      <a:cubicBezTo>
                        <a:pt x="119" y="175"/>
                        <a:pt x="135" y="191"/>
                        <a:pt x="155" y="191"/>
                      </a:cubicBezTo>
                      <a:cubicBezTo>
                        <a:pt x="175" y="191"/>
                        <a:pt x="191" y="175"/>
                        <a:pt x="191" y="155"/>
                      </a:cubicBezTo>
                      <a:cubicBezTo>
                        <a:pt x="191" y="135"/>
                        <a:pt x="175" y="119"/>
                        <a:pt x="155" y="119"/>
                      </a:cubicBezTo>
                      <a:close/>
                      <a:moveTo>
                        <a:pt x="176" y="148"/>
                      </a:moveTo>
                      <a:cubicBezTo>
                        <a:pt x="152" y="171"/>
                        <a:pt x="152" y="171"/>
                        <a:pt x="152" y="171"/>
                      </a:cubicBezTo>
                      <a:cubicBezTo>
                        <a:pt x="151" y="173"/>
                        <a:pt x="148" y="173"/>
                        <a:pt x="146" y="171"/>
                      </a:cubicBezTo>
                      <a:cubicBezTo>
                        <a:pt x="135" y="159"/>
                        <a:pt x="135" y="159"/>
                        <a:pt x="135" y="159"/>
                      </a:cubicBezTo>
                      <a:cubicBezTo>
                        <a:pt x="133" y="158"/>
                        <a:pt x="133" y="155"/>
                        <a:pt x="135" y="153"/>
                      </a:cubicBezTo>
                      <a:cubicBezTo>
                        <a:pt x="138" y="150"/>
                        <a:pt x="138" y="150"/>
                        <a:pt x="138" y="150"/>
                      </a:cubicBezTo>
                      <a:cubicBezTo>
                        <a:pt x="139" y="149"/>
                        <a:pt x="142" y="149"/>
                        <a:pt x="144" y="150"/>
                      </a:cubicBezTo>
                      <a:cubicBezTo>
                        <a:pt x="149" y="156"/>
                        <a:pt x="149" y="156"/>
                        <a:pt x="149" y="156"/>
                      </a:cubicBezTo>
                      <a:cubicBezTo>
                        <a:pt x="167" y="139"/>
                        <a:pt x="167" y="139"/>
                        <a:pt x="167" y="139"/>
                      </a:cubicBezTo>
                      <a:cubicBezTo>
                        <a:pt x="168" y="137"/>
                        <a:pt x="171" y="137"/>
                        <a:pt x="173" y="139"/>
                      </a:cubicBezTo>
                      <a:cubicBezTo>
                        <a:pt x="176" y="142"/>
                        <a:pt x="176" y="142"/>
                        <a:pt x="176" y="142"/>
                      </a:cubicBezTo>
                      <a:cubicBezTo>
                        <a:pt x="177" y="143"/>
                        <a:pt x="177" y="146"/>
                        <a:pt x="176" y="148"/>
                      </a:cubicBezTo>
                      <a:close/>
                    </a:path>
                  </a:pathLst>
                </a:custGeom>
                <a:solidFill>
                  <a:srgbClr val="CA352D"/>
                </a:solidFill>
                <a:ln>
                  <a:noFill/>
                </a:ln>
                <a:extLst/>
              </p:spPr>
              <p:txBody>
                <a:bodyPr vert="horz" wrap="square" lIns="51435" tIns="25719" rIns="51435" bIns="25719" numCol="1" anchor="ctr" anchorCtr="0" compatLnSpc="1">
                  <a:prstTxWarp prst="textNoShape">
                    <a:avLst/>
                  </a:prstTxWarp>
                </a:bodyPr>
                <a:lstStyle/>
                <a:p>
                  <a:pPr defTabSz="685766">
                    <a:defRPr/>
                  </a:pPr>
                  <a:endParaRPr lang="zh-CN" altLang="en-US" sz="525" kern="0">
                    <a:solidFill>
                      <a:srgbClr val="000000"/>
                    </a:solidFill>
                    <a:latin typeface="+mn-ea"/>
                    <a:cs typeface="Microsoft YaHei" charset="-122"/>
                  </a:endParaRPr>
                </a:p>
              </p:txBody>
            </p:sp>
          </p:grpSp>
          <p:sp>
            <p:nvSpPr>
              <p:cNvPr id="21" name="任意形状 168"/>
              <p:cNvSpPr/>
              <p:nvPr/>
            </p:nvSpPr>
            <p:spPr>
              <a:xfrm>
                <a:off x="3270670" y="2926974"/>
                <a:ext cx="567473" cy="1263994"/>
              </a:xfrm>
              <a:custGeom>
                <a:avLst/>
                <a:gdLst>
                  <a:gd name="connsiteX0" fmla="*/ 0 w 1754659"/>
                  <a:gd name="connsiteY0" fmla="*/ 0 h 3237470"/>
                  <a:gd name="connsiteX1" fmla="*/ 0 w 1754659"/>
                  <a:gd name="connsiteY1" fmla="*/ 3237470 h 3237470"/>
                  <a:gd name="connsiteX2" fmla="*/ 1754659 w 1754659"/>
                  <a:gd name="connsiteY2" fmla="*/ 2718486 h 3237470"/>
                  <a:gd name="connsiteX3" fmla="*/ 1754659 w 1754659"/>
                  <a:gd name="connsiteY3" fmla="*/ 494270 h 3237470"/>
                  <a:gd name="connsiteX4" fmla="*/ 0 w 1754659"/>
                  <a:gd name="connsiteY4" fmla="*/ 0 h 3237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4659" h="3237470">
                    <a:moveTo>
                      <a:pt x="0" y="0"/>
                    </a:moveTo>
                    <a:lnTo>
                      <a:pt x="0" y="3237470"/>
                    </a:lnTo>
                    <a:lnTo>
                      <a:pt x="1754659" y="2718486"/>
                    </a:lnTo>
                    <a:lnTo>
                      <a:pt x="1754659" y="4942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12700" cap="flat" cmpd="sng" algn="ctr">
                <a:noFill/>
                <a:prstDash val="solid"/>
                <a:miter lim="800000"/>
                <a:headEnd type="none" w="med" len="med"/>
                <a:tailEnd type="triangle" w="med" len="med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none" lIns="51435" tIns="25719" rIns="51435" bIns="257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66">
                  <a:defRPr/>
                </a:pPr>
                <a:r>
                  <a:rPr kumimoji="1" lang="zh-CN" altLang="en-US" sz="1200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  <a:cs typeface="Microsoft YaHei" charset="-122"/>
                  </a:rPr>
                  <a:t>生产商</a:t>
                </a:r>
              </a:p>
            </p:txBody>
          </p:sp>
          <p:sp>
            <p:nvSpPr>
              <p:cNvPr id="22" name="右箭头 21"/>
              <p:cNvSpPr/>
              <p:nvPr/>
            </p:nvSpPr>
            <p:spPr>
              <a:xfrm>
                <a:off x="3781340" y="3466278"/>
                <a:ext cx="229961" cy="185386"/>
              </a:xfrm>
              <a:prstGeom prst="rightArrow">
                <a:avLst>
                  <a:gd name="adj1" fmla="val 25758"/>
                  <a:gd name="adj2" fmla="val 50000"/>
                </a:avLst>
              </a:prstGeom>
              <a:solidFill>
                <a:srgbClr val="ED7D31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  <a:headEnd type="none" w="med" len="med"/>
                <a:tailEnd type="triangle" w="med" len="med"/>
              </a:ln>
              <a:effectLst/>
            </p:spPr>
            <p:txBody>
              <a:bodyPr rot="0" spcFirstLastPara="0" vertOverflow="overflow" horzOverflow="overflow" vert="horz" wrap="none" lIns="51435" tIns="25719" rIns="51435" bIns="257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766">
                  <a:defRPr/>
                </a:pPr>
                <a:endParaRPr kumimoji="1" lang="zh-CN" altLang="en-US" sz="1051" kern="0">
                  <a:solidFill>
                    <a:srgbClr val="FFFFFF"/>
                  </a:solidFill>
                  <a:latin typeface="+mn-ea"/>
                  <a:cs typeface="Microsoft YaHei" charset="-122"/>
                </a:endParaRPr>
              </a:p>
            </p:txBody>
          </p:sp>
          <p:grpSp>
            <p:nvGrpSpPr>
              <p:cNvPr id="63" name="组合 62"/>
              <p:cNvGrpSpPr/>
              <p:nvPr/>
            </p:nvGrpSpPr>
            <p:grpSpPr>
              <a:xfrm>
                <a:off x="4610004" y="3291472"/>
                <a:ext cx="252643" cy="534999"/>
                <a:chOff x="4610004" y="3286099"/>
                <a:chExt cx="252643" cy="534999"/>
              </a:xfrm>
            </p:grpSpPr>
            <p:sp>
              <p:nvSpPr>
                <p:cNvPr id="25" name="右箭头 24"/>
                <p:cNvSpPr/>
                <p:nvPr/>
              </p:nvSpPr>
              <p:spPr>
                <a:xfrm>
                  <a:off x="4610004" y="3286099"/>
                  <a:ext cx="252643" cy="140388"/>
                </a:xfrm>
                <a:prstGeom prst="rightArrow">
                  <a:avLst>
                    <a:gd name="adj1" fmla="val 25758"/>
                    <a:gd name="adj2" fmla="val 50000"/>
                  </a:avLst>
                </a:prstGeom>
                <a:solidFill>
                  <a:srgbClr val="ED7D31">
                    <a:lumMod val="40000"/>
                    <a:lumOff val="60000"/>
                  </a:srgbClr>
                </a:solidFill>
                <a:ln w="12700" cap="flat" cmpd="sng" algn="ctr">
                  <a:noFill/>
                  <a:prstDash val="solid"/>
                  <a:miter lim="800000"/>
                  <a:headEnd type="none" w="med" len="med"/>
                  <a:tailEnd type="triangle" w="med" len="med"/>
                </a:ln>
                <a:effectLst/>
              </p:spPr>
              <p:txBody>
                <a:bodyPr rot="0" spcFirstLastPara="0" vertOverflow="overflow" horzOverflow="overflow" vert="horz" wrap="none" lIns="51435" tIns="25719" rIns="51435" bIns="2571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766">
                    <a:defRPr/>
                  </a:pPr>
                  <a:endParaRPr kumimoji="1" lang="zh-CN" altLang="en-US" sz="1051" kern="0">
                    <a:solidFill>
                      <a:srgbClr val="FFFFFF"/>
                    </a:solidFill>
                    <a:latin typeface="+mn-ea"/>
                    <a:cs typeface="Microsoft YaHei" charset="-122"/>
                  </a:endParaRPr>
                </a:p>
              </p:txBody>
            </p:sp>
            <p:sp>
              <p:nvSpPr>
                <p:cNvPr id="26" name="右箭头 25"/>
                <p:cNvSpPr/>
                <p:nvPr/>
              </p:nvSpPr>
              <p:spPr>
                <a:xfrm>
                  <a:off x="4610004" y="3483404"/>
                  <a:ext cx="252643" cy="140388"/>
                </a:xfrm>
                <a:prstGeom prst="rightArrow">
                  <a:avLst>
                    <a:gd name="adj1" fmla="val 25758"/>
                    <a:gd name="adj2" fmla="val 50000"/>
                  </a:avLst>
                </a:prstGeom>
                <a:solidFill>
                  <a:srgbClr val="ED7D31">
                    <a:lumMod val="40000"/>
                    <a:lumOff val="60000"/>
                  </a:srgbClr>
                </a:solidFill>
                <a:ln w="12700" cap="flat" cmpd="sng" algn="ctr">
                  <a:noFill/>
                  <a:prstDash val="solid"/>
                  <a:miter lim="800000"/>
                  <a:headEnd type="none" w="med" len="med"/>
                  <a:tailEnd type="triangle" w="med" len="med"/>
                </a:ln>
                <a:effectLst/>
              </p:spPr>
              <p:txBody>
                <a:bodyPr rot="0" spcFirstLastPara="0" vertOverflow="overflow" horzOverflow="overflow" vert="horz" wrap="none" lIns="51435" tIns="25719" rIns="51435" bIns="2571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766">
                    <a:defRPr/>
                  </a:pPr>
                  <a:endParaRPr kumimoji="1" lang="zh-CN" altLang="en-US" sz="1051" kern="0">
                    <a:solidFill>
                      <a:srgbClr val="FFFFFF"/>
                    </a:solidFill>
                    <a:latin typeface="+mn-ea"/>
                    <a:cs typeface="Microsoft YaHei" charset="-122"/>
                  </a:endParaRPr>
                </a:p>
              </p:txBody>
            </p:sp>
            <p:sp>
              <p:nvSpPr>
                <p:cNvPr id="27" name="右箭头 26"/>
                <p:cNvSpPr/>
                <p:nvPr/>
              </p:nvSpPr>
              <p:spPr>
                <a:xfrm>
                  <a:off x="4610004" y="3680710"/>
                  <a:ext cx="252643" cy="140388"/>
                </a:xfrm>
                <a:prstGeom prst="rightArrow">
                  <a:avLst>
                    <a:gd name="adj1" fmla="val 25758"/>
                    <a:gd name="adj2" fmla="val 50000"/>
                  </a:avLst>
                </a:prstGeom>
                <a:solidFill>
                  <a:srgbClr val="ED7D31">
                    <a:lumMod val="40000"/>
                    <a:lumOff val="60000"/>
                  </a:srgbClr>
                </a:solidFill>
                <a:ln w="12700" cap="flat" cmpd="sng" algn="ctr">
                  <a:noFill/>
                  <a:prstDash val="solid"/>
                  <a:miter lim="800000"/>
                  <a:headEnd type="none" w="med" len="med"/>
                  <a:tailEnd type="triangle" w="med" len="med"/>
                </a:ln>
                <a:effectLst/>
              </p:spPr>
              <p:txBody>
                <a:bodyPr rot="0" spcFirstLastPara="0" vertOverflow="overflow" horzOverflow="overflow" vert="horz" wrap="none" lIns="51435" tIns="25719" rIns="51435" bIns="2571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766">
                    <a:defRPr/>
                  </a:pPr>
                  <a:endParaRPr kumimoji="1" lang="zh-CN" altLang="en-US" sz="1051" kern="0">
                    <a:solidFill>
                      <a:srgbClr val="FFFFFF"/>
                    </a:solidFill>
                    <a:latin typeface="+mn-ea"/>
                    <a:cs typeface="Microsoft YaHei" charset="-122"/>
                  </a:endParaRPr>
                </a:p>
              </p:txBody>
            </p:sp>
          </p:grpSp>
          <p:sp>
            <p:nvSpPr>
              <p:cNvPr id="24" name="文本框 23"/>
              <p:cNvSpPr txBox="1"/>
              <p:nvPr/>
            </p:nvSpPr>
            <p:spPr>
              <a:xfrm>
                <a:off x="5879678" y="3238627"/>
                <a:ext cx="304699" cy="617477"/>
              </a:xfrm>
              <a:prstGeom prst="rect">
                <a:avLst/>
              </a:prstGeom>
              <a:noFill/>
            </p:spPr>
            <p:txBody>
              <a:bodyPr vert="eaVert" wrap="none" rtlCol="0">
                <a:spAutoFit/>
              </a:bodyPr>
              <a:lstStyle/>
              <a:p>
                <a:pPr defTabSz="685766">
                  <a:lnSpc>
                    <a:spcPct val="120000"/>
                  </a:lnSpc>
                  <a:spcAft>
                    <a:spcPts val="451"/>
                  </a:spcAft>
                  <a:defRPr/>
                </a:pPr>
                <a:r>
                  <a:rPr kumimoji="1" lang="zh-CN" altLang="en-US" sz="1200" kern="0" spc="225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</a:rPr>
                  <a:t>零售体系</a:t>
                </a:r>
              </a:p>
            </p:txBody>
          </p:sp>
        </p:grpSp>
      </p:grpSp>
      <p:grpSp>
        <p:nvGrpSpPr>
          <p:cNvPr id="67" name="组合 66"/>
          <p:cNvGrpSpPr/>
          <p:nvPr/>
        </p:nvGrpSpPr>
        <p:grpSpPr>
          <a:xfrm>
            <a:off x="-1872885" y="1232307"/>
            <a:ext cx="5400000" cy="4680000"/>
            <a:chOff x="-1174600" y="1038638"/>
            <a:chExt cx="4050000" cy="3510000"/>
          </a:xfrm>
        </p:grpSpPr>
        <p:sp>
          <p:nvSpPr>
            <p:cNvPr id="5" name="饼形 4"/>
            <p:cNvSpPr/>
            <p:nvPr/>
          </p:nvSpPr>
          <p:spPr>
            <a:xfrm flipH="1">
              <a:off x="-1174600" y="1038638"/>
              <a:ext cx="4050000" cy="3510000"/>
            </a:xfrm>
            <a:prstGeom prst="pie">
              <a:avLst>
                <a:gd name="adj1" fmla="val 5415768"/>
                <a:gd name="adj2" fmla="val 1620000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64"/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96CB9967-BAD7-432D-B4F4-60915854E1AD}"/>
                </a:ext>
              </a:extLst>
            </p:cNvPr>
            <p:cNvSpPr/>
            <p:nvPr/>
          </p:nvSpPr>
          <p:spPr>
            <a:xfrm>
              <a:off x="359337" y="1985725"/>
              <a:ext cx="2257960" cy="15927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914264">
                <a:lnSpc>
                  <a:spcPct val="150000"/>
                </a:lnSpc>
              </a:pPr>
              <a:r>
                <a:rPr kumimoji="1" lang="zh-CN" altLang="en-US" sz="2400" dirty="0">
                  <a:solidFill>
                    <a:prstClr val="white"/>
                  </a:solidFill>
                  <a:latin typeface="+mn-ea"/>
                </a:rPr>
                <a:t>数字化时代</a:t>
              </a:r>
              <a:endParaRPr kumimoji="1" lang="en-US" altLang="zh-CN" sz="2400" dirty="0">
                <a:solidFill>
                  <a:prstClr val="white"/>
                </a:solidFill>
                <a:latin typeface="+mn-ea"/>
              </a:endParaRPr>
            </a:p>
            <a:p>
              <a:pPr algn="r" defTabSz="914264">
                <a:lnSpc>
                  <a:spcPct val="150000"/>
                </a:lnSpc>
              </a:pPr>
              <a:r>
                <a:rPr kumimoji="1" lang="zh-CN" altLang="en-US" sz="2800" b="1" dirty="0">
                  <a:solidFill>
                    <a:prstClr val="white"/>
                  </a:solidFill>
                  <a:latin typeface="+mn-ea"/>
                </a:rPr>
                <a:t>供应链</a:t>
              </a:r>
              <a:r>
                <a:rPr kumimoji="1" lang="zh-CN" altLang="en-US" sz="2400" dirty="0">
                  <a:solidFill>
                    <a:prstClr val="white"/>
                  </a:solidFill>
                  <a:latin typeface="+mn-ea"/>
                </a:rPr>
                <a:t>在发生</a:t>
              </a:r>
              <a:endParaRPr kumimoji="1" lang="en-US" altLang="zh-CN" sz="2400" dirty="0">
                <a:solidFill>
                  <a:prstClr val="white"/>
                </a:solidFill>
                <a:latin typeface="+mn-ea"/>
              </a:endParaRPr>
            </a:p>
            <a:p>
              <a:pPr algn="r" defTabSz="914264">
                <a:lnSpc>
                  <a:spcPct val="150000"/>
                </a:lnSpc>
              </a:pPr>
              <a:r>
                <a:rPr kumimoji="1" lang="zh-CN" altLang="en-US" sz="2400" dirty="0">
                  <a:solidFill>
                    <a:prstClr val="white"/>
                  </a:solidFill>
                  <a:latin typeface="+mn-ea"/>
                </a:rPr>
                <a:t>什么</a:t>
              </a:r>
              <a:r>
                <a:rPr kumimoji="1" lang="zh-CN" altLang="en-US" sz="3600" b="1" dirty="0">
                  <a:solidFill>
                    <a:prstClr val="white"/>
                  </a:solidFill>
                  <a:latin typeface="+mn-ea"/>
                </a:rPr>
                <a:t>变化</a:t>
              </a:r>
              <a:r>
                <a:rPr kumimoji="1" lang="zh-CN" altLang="en-US" sz="2000" dirty="0">
                  <a:solidFill>
                    <a:prstClr val="white"/>
                  </a:solidFill>
                  <a:latin typeface="+mn-ea"/>
                </a:rPr>
                <a:t>？</a:t>
              </a:r>
              <a:endParaRPr kumimoji="1" lang="en-US" altLang="zh-CN" sz="2000" dirty="0">
                <a:solidFill>
                  <a:prstClr val="white"/>
                </a:solidFill>
                <a:latin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382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9405" y="35201"/>
            <a:ext cx="9889099" cy="816000"/>
          </a:xfrm>
        </p:spPr>
        <p:txBody>
          <a:bodyPr/>
          <a:lstStyle/>
          <a:p>
            <a:r>
              <a:rPr lang="zh-CN" altLang="en-US" dirty="0">
                <a:latin typeface="+mn-lt"/>
              </a:rPr>
              <a:t>拥有全球唯一高效协同的六大物流网络</a:t>
            </a:r>
          </a:p>
        </p:txBody>
      </p:sp>
      <p:pic>
        <p:nvPicPr>
          <p:cNvPr id="1621" name="图片 1528">
            <a:extLst>
              <a:ext uri="{FF2B5EF4-FFF2-40B4-BE49-F238E27FC236}">
                <a16:creationId xmlns:a16="http://schemas.microsoft.com/office/drawing/2014/main" id="{5C3611C4-20CE-46E9-93A7-71A4B8743DB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639" y="1823560"/>
            <a:ext cx="576000" cy="502865"/>
          </a:xfrm>
          <a:prstGeom prst="rect">
            <a:avLst/>
          </a:prstGeom>
          <a:ln>
            <a:noFill/>
          </a:ln>
        </p:spPr>
      </p:pic>
      <p:grpSp>
        <p:nvGrpSpPr>
          <p:cNvPr id="6" name="组合 5"/>
          <p:cNvGrpSpPr/>
          <p:nvPr/>
        </p:nvGrpSpPr>
        <p:grpSpPr>
          <a:xfrm>
            <a:off x="6405979" y="1809623"/>
            <a:ext cx="884655" cy="828000"/>
            <a:chOff x="6271149" y="1780508"/>
            <a:chExt cx="884655" cy="828000"/>
          </a:xfrm>
        </p:grpSpPr>
        <p:sp>
          <p:nvSpPr>
            <p:cNvPr id="1622" name="Oval 2323">
              <a:extLst>
                <a:ext uri="{FF2B5EF4-FFF2-40B4-BE49-F238E27FC236}">
                  <a16:creationId xmlns:a16="http://schemas.microsoft.com/office/drawing/2014/main" id="{9CACC0FD-3C6F-476A-82C7-DA89C73FAF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2717" y="1780508"/>
              <a:ext cx="828000" cy="828000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prstDash val="solid"/>
            </a:ln>
          </p:spPr>
          <p:txBody>
            <a:bodyPr wrap="none" anchor="ctr"/>
            <a:lstStyle>
              <a:lvl1pPr eaLnBrk="0" hangingPunct="0"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1pPr>
              <a:lvl2pPr marL="742950" indent="-285750" eaLnBrk="0" hangingPunct="0"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2pPr>
              <a:lvl3pPr marL="1143000" indent="-228600" eaLnBrk="0" hangingPunct="0"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3pPr>
              <a:lvl4pPr marL="1600200" indent="-228600" eaLnBrk="0" hangingPunct="0"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4pPr>
              <a:lvl5pPr marL="2057400" indent="-228600" eaLnBrk="0" hangingPunct="0"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5pPr>
              <a:lvl6pPr marL="25146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6pPr>
              <a:lvl7pPr marL="29718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7pPr>
              <a:lvl8pPr marL="34290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8pPr>
              <a:lvl9pPr marL="38862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9pPr>
            </a:lstStyle>
            <a:p>
              <a:pPr defTabSz="914354" eaLnBrk="1" hangingPunct="1"/>
              <a:endParaRPr lang="zh-CN" altLang="en-US" sz="700">
                <a:solidFill>
                  <a:srgbClr val="777777"/>
                </a:solidFill>
                <a:latin typeface="Arial"/>
              </a:endParaRPr>
            </a:p>
          </p:txBody>
        </p:sp>
        <p:sp>
          <p:nvSpPr>
            <p:cNvPr id="1623" name="Oval 2323">
              <a:extLst>
                <a:ext uri="{FF2B5EF4-FFF2-40B4-BE49-F238E27FC236}">
                  <a16:creationId xmlns:a16="http://schemas.microsoft.com/office/drawing/2014/main" id="{BED4677C-B7ED-49AA-BA6F-A8394DAD33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2780" y="2150770"/>
              <a:ext cx="360933" cy="368427"/>
            </a:xfrm>
            <a:prstGeom prst="ellipse">
              <a:avLst/>
            </a:prstGeom>
            <a:solidFill>
              <a:srgbClr val="DA0B1C"/>
            </a:solidFill>
            <a:ln w="12700">
              <a:noFill/>
              <a:prstDash val="dash"/>
            </a:ln>
          </p:spPr>
          <p:txBody>
            <a:bodyPr wrap="none" anchor="ctr"/>
            <a:lstStyle>
              <a:lvl1pPr eaLnBrk="0" hangingPunct="0"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1pPr>
              <a:lvl2pPr marL="742950" indent="-285750" eaLnBrk="0" hangingPunct="0"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2pPr>
              <a:lvl3pPr marL="1143000" indent="-228600" eaLnBrk="0" hangingPunct="0"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3pPr>
              <a:lvl4pPr marL="1600200" indent="-228600" eaLnBrk="0" hangingPunct="0"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4pPr>
              <a:lvl5pPr marL="2057400" indent="-228600" eaLnBrk="0" hangingPunct="0"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5pPr>
              <a:lvl6pPr marL="25146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6pPr>
              <a:lvl7pPr marL="29718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7pPr>
              <a:lvl8pPr marL="34290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8pPr>
              <a:lvl9pPr marL="38862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kumimoji="1" sz="800">
                  <a:solidFill>
                    <a:schemeClr val="tx1"/>
                  </a:solidFill>
                  <a:latin typeface="굴림" panose="020B0600000101010101" pitchFamily="34" charset="-127"/>
                  <a:ea typeface="굴림" panose="020B0600000101010101" pitchFamily="34" charset="-127"/>
                </a:defRPr>
              </a:lvl9pPr>
            </a:lstStyle>
            <a:p>
              <a:pPr algn="ctr" defTabSz="914354" eaLnBrk="1" hangingPunct="1"/>
              <a:r>
                <a:rPr lang="zh-CN" altLang="en-US" sz="900" dirty="0">
                  <a:solidFill>
                    <a:srgbClr val="FFFFFF"/>
                  </a:solidFill>
                  <a:latin typeface="Arial"/>
                  <a:ea typeface="微软雅黑" panose="020B0503020204020204" pitchFamily="34" charset="-122"/>
                </a:rPr>
                <a:t>物流</a:t>
              </a:r>
              <a:endParaRPr lang="en-US" altLang="zh-CN" sz="900" dirty="0">
                <a:solidFill>
                  <a:srgbClr val="FFFFFF"/>
                </a:solidFill>
                <a:latin typeface="Arial"/>
                <a:ea typeface="微软雅黑" panose="020B0503020204020204" pitchFamily="34" charset="-122"/>
              </a:endParaRPr>
            </a:p>
            <a:p>
              <a:pPr algn="ctr" defTabSz="914354" eaLnBrk="1" hangingPunct="1"/>
              <a:r>
                <a:rPr lang="zh-CN" altLang="en-US" sz="900" dirty="0">
                  <a:solidFill>
                    <a:srgbClr val="FFFFFF"/>
                  </a:solidFill>
                  <a:latin typeface="Arial"/>
                  <a:ea typeface="微软雅黑" panose="020B0503020204020204" pitchFamily="34" charset="-122"/>
                </a:rPr>
                <a:t>中心</a:t>
              </a:r>
            </a:p>
          </p:txBody>
        </p:sp>
        <p:sp>
          <p:nvSpPr>
            <p:cNvPr id="1624" name="文本框 10">
              <a:extLst>
                <a:ext uri="{FF2B5EF4-FFF2-40B4-BE49-F238E27FC236}">
                  <a16:creationId xmlns:a16="http://schemas.microsoft.com/office/drawing/2014/main" id="{B952F589-CB94-4183-9B26-46194C55C1A0}"/>
                </a:ext>
              </a:extLst>
            </p:cNvPr>
            <p:cNvSpPr txBox="1"/>
            <p:nvPr/>
          </p:nvSpPr>
          <p:spPr>
            <a:xfrm>
              <a:off x="6271149" y="1826821"/>
              <a:ext cx="8846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54"/>
              <a:r>
                <a:rPr lang="en-US" altLang="zh-CN" sz="800" dirty="0">
                  <a:solidFill>
                    <a:srgbClr val="777777">
                      <a:lumMod val="50000"/>
                    </a:srgbClr>
                  </a:solidFill>
                </a:rPr>
                <a:t>20</a:t>
              </a:r>
              <a:r>
                <a:rPr lang="zh-CN" altLang="en-US" sz="800" dirty="0">
                  <a:solidFill>
                    <a:srgbClr val="777777">
                      <a:lumMod val="50000"/>
                    </a:srgbClr>
                  </a:solidFill>
                </a:rPr>
                <a:t>英里</a:t>
              </a:r>
              <a:endParaRPr lang="en-US" altLang="zh-CN" sz="800" dirty="0">
                <a:solidFill>
                  <a:srgbClr val="777777">
                    <a:lumMod val="50000"/>
                  </a:srgbClr>
                </a:solidFill>
              </a:endParaRPr>
            </a:p>
            <a:p>
              <a:pPr algn="ctr" defTabSz="914354"/>
              <a:r>
                <a:rPr lang="zh-CN" altLang="en-US" sz="800" dirty="0">
                  <a:solidFill>
                    <a:srgbClr val="777777">
                      <a:lumMod val="50000"/>
                    </a:srgbClr>
                  </a:solidFill>
                </a:rPr>
                <a:t>（约</a:t>
              </a:r>
              <a:r>
                <a:rPr lang="en-US" altLang="zh-CN" sz="800" dirty="0">
                  <a:solidFill>
                    <a:srgbClr val="777777">
                      <a:lumMod val="50000"/>
                    </a:srgbClr>
                  </a:solidFill>
                </a:rPr>
                <a:t>30</a:t>
              </a:r>
              <a:r>
                <a:rPr lang="zh-CN" altLang="en-US" sz="800" dirty="0">
                  <a:solidFill>
                    <a:srgbClr val="777777">
                      <a:lumMod val="50000"/>
                    </a:srgbClr>
                  </a:solidFill>
                </a:rPr>
                <a:t>公里）</a:t>
              </a:r>
            </a:p>
          </p:txBody>
        </p:sp>
      </p:grpSp>
      <p:sp>
        <p:nvSpPr>
          <p:cNvPr id="1625" name="矩形: 圆角 11">
            <a:extLst>
              <a:ext uri="{FF2B5EF4-FFF2-40B4-BE49-F238E27FC236}">
                <a16:creationId xmlns:a16="http://schemas.microsoft.com/office/drawing/2014/main" id="{819D9DC1-82E0-463F-96AF-78B6145CCDB5}"/>
              </a:ext>
            </a:extLst>
          </p:cNvPr>
          <p:cNvSpPr/>
          <p:nvPr/>
        </p:nvSpPr>
        <p:spPr>
          <a:xfrm>
            <a:off x="8211295" y="2393854"/>
            <a:ext cx="3312951" cy="346247"/>
          </a:xfrm>
          <a:prstGeom prst="rect">
            <a:avLst/>
          </a:prstGeom>
          <a:solidFill>
            <a:srgbClr val="DA0B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8" rIns="91430" bIns="45718" rtlCol="0" anchor="t">
            <a:spAutoFit/>
          </a:bodyPr>
          <a:lstStyle/>
          <a:p>
            <a:pPr algn="ctr" defTabSz="914354">
              <a:lnSpc>
                <a:spcPct val="150000"/>
              </a:lnSpc>
            </a:pPr>
            <a:r>
              <a:rPr lang="en-US" altLang="zh-CN" sz="1100" b="1" dirty="0">
                <a:solidFill>
                  <a:srgbClr val="FFFFFF"/>
                </a:solidFill>
              </a:rPr>
              <a:t>55%</a:t>
            </a:r>
            <a:r>
              <a:rPr lang="zh-CN" altLang="en-US" sz="1100" b="1" dirty="0">
                <a:solidFill>
                  <a:srgbClr val="FFFFFF"/>
                </a:solidFill>
              </a:rPr>
              <a:t>*</a:t>
            </a:r>
            <a:r>
              <a:rPr lang="zh-CN" altLang="en-US" sz="900" dirty="0">
                <a:solidFill>
                  <a:srgbClr val="FFFFFF"/>
                </a:solidFill>
              </a:rPr>
              <a:t>中国大陆人口居住在距离京东物流中心</a:t>
            </a:r>
            <a:r>
              <a:rPr lang="en-US" altLang="zh-CN" sz="900" dirty="0">
                <a:solidFill>
                  <a:srgbClr val="FFFFFF"/>
                </a:solidFill>
              </a:rPr>
              <a:t>20</a:t>
            </a:r>
            <a:r>
              <a:rPr lang="zh-CN" altLang="en-US" sz="900" dirty="0">
                <a:solidFill>
                  <a:srgbClr val="FFFFFF"/>
                </a:solidFill>
              </a:rPr>
              <a:t>英里范围内</a:t>
            </a:r>
          </a:p>
        </p:txBody>
      </p:sp>
      <p:cxnSp>
        <p:nvCxnSpPr>
          <p:cNvPr id="1627" name="连接符: 肘形 17">
            <a:extLst>
              <a:ext uri="{FF2B5EF4-FFF2-40B4-BE49-F238E27FC236}">
                <a16:creationId xmlns:a16="http://schemas.microsoft.com/office/drawing/2014/main" id="{90F60A9D-F27E-4BFA-9026-D7CB16CFC6AD}"/>
              </a:ext>
            </a:extLst>
          </p:cNvPr>
          <p:cNvCxnSpPr>
            <a:cxnSpLocks/>
          </p:cNvCxnSpPr>
          <p:nvPr/>
        </p:nvCxnSpPr>
        <p:spPr>
          <a:xfrm>
            <a:off x="7203289" y="2422979"/>
            <a:ext cx="1008000" cy="149536"/>
          </a:xfrm>
          <a:prstGeom prst="bentConnector3">
            <a:avLst>
              <a:gd name="adj1" fmla="val -1223"/>
            </a:avLst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6" name="矩形: 圆角 16">
            <a:extLst>
              <a:ext uri="{FF2B5EF4-FFF2-40B4-BE49-F238E27FC236}">
                <a16:creationId xmlns:a16="http://schemas.microsoft.com/office/drawing/2014/main" id="{6DB2A615-C6CD-45F7-B3F9-515CB6986FCB}"/>
              </a:ext>
            </a:extLst>
          </p:cNvPr>
          <p:cNvSpPr/>
          <p:nvPr/>
        </p:nvSpPr>
        <p:spPr>
          <a:xfrm>
            <a:off x="8212240" y="1712381"/>
            <a:ext cx="3312000" cy="346247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0" tIns="45718" rIns="91430" bIns="45718" rtlCol="0" anchor="t">
            <a:spAutoFit/>
          </a:bodyPr>
          <a:lstStyle/>
          <a:p>
            <a:pPr algn="ctr" defTabSz="914354">
              <a:lnSpc>
                <a:spcPct val="150000"/>
              </a:lnSpc>
            </a:pPr>
            <a:r>
              <a:rPr lang="en-US" altLang="zh-CN" sz="1100" b="1" dirty="0">
                <a:solidFill>
                  <a:srgbClr val="FFFFFF"/>
                </a:solidFill>
              </a:rPr>
              <a:t>50%</a:t>
            </a:r>
            <a:r>
              <a:rPr lang="zh-CN" altLang="en-US" sz="1100" b="1" dirty="0">
                <a:solidFill>
                  <a:srgbClr val="FFFFFF"/>
                </a:solidFill>
              </a:rPr>
              <a:t>*</a:t>
            </a:r>
            <a:r>
              <a:rPr lang="zh-CN" altLang="en-US" sz="900" dirty="0">
                <a:solidFill>
                  <a:srgbClr val="FFFFFF"/>
                </a:solidFill>
              </a:rPr>
              <a:t>美国人口居住在距离亚马逊物流中心</a:t>
            </a:r>
            <a:r>
              <a:rPr lang="en-US" altLang="zh-CN" sz="900" dirty="0">
                <a:solidFill>
                  <a:srgbClr val="FFFFFF"/>
                </a:solidFill>
              </a:rPr>
              <a:t>20</a:t>
            </a:r>
            <a:r>
              <a:rPr lang="zh-CN" altLang="en-US" sz="900" dirty="0">
                <a:solidFill>
                  <a:srgbClr val="FFFFFF"/>
                </a:solidFill>
              </a:rPr>
              <a:t>英里范围内</a:t>
            </a:r>
            <a:endParaRPr lang="zh-CN" altLang="en-US" sz="1100" dirty="0">
              <a:solidFill>
                <a:srgbClr val="FFFFFF"/>
              </a:solidFill>
            </a:endParaRPr>
          </a:p>
        </p:txBody>
      </p:sp>
      <p:cxnSp>
        <p:nvCxnSpPr>
          <p:cNvPr id="1628" name="连接符: 肘形 22">
            <a:extLst>
              <a:ext uri="{FF2B5EF4-FFF2-40B4-BE49-F238E27FC236}">
                <a16:creationId xmlns:a16="http://schemas.microsoft.com/office/drawing/2014/main" id="{EE72A7FC-ADBF-4AD8-A1E5-5C6C75C508FB}"/>
              </a:ext>
            </a:extLst>
          </p:cNvPr>
          <p:cNvCxnSpPr>
            <a:cxnSpLocks/>
          </p:cNvCxnSpPr>
          <p:nvPr/>
        </p:nvCxnSpPr>
        <p:spPr>
          <a:xfrm flipV="1">
            <a:off x="7203289" y="1880267"/>
            <a:ext cx="1008000" cy="144000"/>
          </a:xfrm>
          <a:prstGeom prst="bentConnector3">
            <a:avLst>
              <a:gd name="adj1" fmla="val 902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9" name="TextBox 5">
            <a:extLst>
              <a:ext uri="{FF2B5EF4-FFF2-40B4-BE49-F238E27FC236}">
                <a16:creationId xmlns:a16="http://schemas.microsoft.com/office/drawing/2014/main" id="{3A95B786-2225-4D5D-B99C-C6B416A18A75}"/>
              </a:ext>
            </a:extLst>
          </p:cNvPr>
          <p:cNvSpPr txBox="1"/>
          <p:nvPr/>
        </p:nvSpPr>
        <p:spPr>
          <a:xfrm>
            <a:off x="6411291" y="1185399"/>
            <a:ext cx="5172329" cy="524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8" rIns="91430" bIns="45718" numCol="1" anchor="ctr" anchorCtr="0" compatLnSpc="1">
            <a:prstTxWarp prst="textNoShape">
              <a:avLst/>
            </a:prstTxWarp>
          </a:bodyPr>
          <a:lstStyle>
            <a:defPPr>
              <a:defRPr lang="zh-HK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latin typeface="Arial" panose="020B0604020202020204" pitchFamily="34" charset="0"/>
                <a:ea typeface="楷体" panose="02010609060101010101" pitchFamily="49" charset="-122"/>
                <a:cs typeface="Arial"/>
              </a:defRPr>
            </a:lvl1pPr>
            <a:lvl2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2pPr>
            <a:lvl3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3pPr>
            <a:lvl4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4pPr>
            <a:lvl5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defTabSz="914354"/>
            <a:r>
              <a:rPr lang="zh-CN" altLang="en-US" sz="1500" dirty="0">
                <a:solidFill>
                  <a:srgbClr val="C00000"/>
                </a:solidFill>
                <a:latin typeface="Arial"/>
                <a:ea typeface="微软雅黑" panose="020B0503020204020204" pitchFamily="34" charset="-122"/>
              </a:rPr>
              <a:t>优化网络覆盖，减少货物搬运次数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374673" y="2821675"/>
            <a:ext cx="4610545" cy="215440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/>
            <a:r>
              <a:rPr lang="zh-CN" altLang="en-US" sz="800" i="1" dirty="0">
                <a:solidFill>
                  <a:srgbClr val="777777"/>
                </a:solidFill>
              </a:rPr>
              <a:t>*数据：</a:t>
            </a:r>
            <a:r>
              <a:rPr lang="en-US" altLang="zh-CN" sz="800" i="1" dirty="0">
                <a:solidFill>
                  <a:srgbClr val="777777"/>
                </a:solidFill>
              </a:rPr>
              <a:t>Amazon</a:t>
            </a:r>
            <a:r>
              <a:rPr lang="zh-CN" altLang="en-US" sz="800" i="1" dirty="0">
                <a:solidFill>
                  <a:srgbClr val="777777"/>
                </a:solidFill>
              </a:rPr>
              <a:t>数据来自</a:t>
            </a:r>
            <a:r>
              <a:rPr lang="en-US" altLang="zh-CN" sz="800" i="1" dirty="0">
                <a:solidFill>
                  <a:srgbClr val="777777"/>
                </a:solidFill>
              </a:rPr>
              <a:t>L2 Inc.</a:t>
            </a:r>
            <a:r>
              <a:rPr lang="zh-CN" altLang="en-US" sz="800" i="1" dirty="0">
                <a:solidFill>
                  <a:srgbClr val="777777"/>
                </a:solidFill>
              </a:rPr>
              <a:t>截至</a:t>
            </a:r>
            <a:r>
              <a:rPr lang="en-US" altLang="zh-CN" sz="800" i="1" dirty="0">
                <a:solidFill>
                  <a:srgbClr val="777777"/>
                </a:solidFill>
              </a:rPr>
              <a:t>2017</a:t>
            </a:r>
            <a:r>
              <a:rPr lang="zh-CN" altLang="en-US" sz="800" i="1" dirty="0">
                <a:solidFill>
                  <a:srgbClr val="777777"/>
                </a:solidFill>
              </a:rPr>
              <a:t>年，京东数据来自内部分析截至</a:t>
            </a:r>
            <a:r>
              <a:rPr lang="en-US" altLang="zh-CN" sz="800" i="1" dirty="0">
                <a:solidFill>
                  <a:srgbClr val="777777"/>
                </a:solidFill>
              </a:rPr>
              <a:t>2017</a:t>
            </a:r>
            <a:r>
              <a:rPr lang="zh-CN" altLang="en-US" sz="800" i="1" dirty="0">
                <a:solidFill>
                  <a:srgbClr val="777777"/>
                </a:solidFill>
              </a:rPr>
              <a:t>年</a:t>
            </a:r>
            <a:r>
              <a:rPr lang="en-US" altLang="zh-CN" sz="800" i="1" dirty="0">
                <a:solidFill>
                  <a:srgbClr val="777777"/>
                </a:solidFill>
              </a:rPr>
              <a:t>10</a:t>
            </a:r>
            <a:r>
              <a:rPr lang="zh-CN" altLang="en-US" sz="800" i="1" dirty="0">
                <a:solidFill>
                  <a:srgbClr val="777777"/>
                </a:solidFill>
              </a:rPr>
              <a:t>月</a:t>
            </a:r>
            <a:r>
              <a:rPr lang="en-US" altLang="zh-CN" sz="800" i="1" dirty="0">
                <a:solidFill>
                  <a:srgbClr val="777777"/>
                </a:solidFill>
              </a:rPr>
              <a:t>31</a:t>
            </a:r>
            <a:r>
              <a:rPr lang="zh-CN" altLang="en-US" sz="800" i="1" dirty="0">
                <a:solidFill>
                  <a:srgbClr val="777777"/>
                </a:solidFill>
              </a:rPr>
              <a:t>日统计</a:t>
            </a:r>
          </a:p>
        </p:txBody>
      </p:sp>
      <p:sp>
        <p:nvSpPr>
          <p:cNvPr id="1540" name="文本占位符 2"/>
          <p:cNvSpPr>
            <a:spLocks noGrp="1"/>
          </p:cNvSpPr>
          <p:nvPr>
            <p:ph type="body" sz="quarter" idx="10"/>
          </p:nvPr>
        </p:nvSpPr>
        <p:spPr>
          <a:xfrm>
            <a:off x="6374673" y="6508911"/>
            <a:ext cx="3661503" cy="336000"/>
          </a:xfrm>
        </p:spPr>
        <p:txBody>
          <a:bodyPr/>
          <a:lstStyle/>
          <a:p>
            <a:r>
              <a:rPr lang="zh-CN" altLang="en-US" sz="900" i="1" dirty="0"/>
              <a:t>京东物流网络情况：截止</a:t>
            </a:r>
            <a:r>
              <a:rPr lang="en-US" altLang="zh-CN" sz="900" i="1" dirty="0"/>
              <a:t>2018</a:t>
            </a:r>
            <a:r>
              <a:rPr lang="zh-CN" altLang="en-US" sz="900" i="1" dirty="0"/>
              <a:t>年</a:t>
            </a:r>
            <a:r>
              <a:rPr lang="en-US" altLang="zh-CN" sz="900" i="1" dirty="0"/>
              <a:t>6</a:t>
            </a:r>
            <a:r>
              <a:rPr lang="zh-CN" altLang="en-US" sz="900" i="1" dirty="0"/>
              <a:t>月数据</a:t>
            </a:r>
          </a:p>
        </p:txBody>
      </p:sp>
      <p:pic>
        <p:nvPicPr>
          <p:cNvPr id="522" name="Picture 770" descr="C:\Users\lirui10\Desktop\logo\LOGO-0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639" y="2318585"/>
            <a:ext cx="720000" cy="248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2" name="文本框 235"/>
          <p:cNvSpPr txBox="1"/>
          <p:nvPr/>
        </p:nvSpPr>
        <p:spPr>
          <a:xfrm>
            <a:off x="10316520" y="3860455"/>
            <a:ext cx="1331123" cy="5078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1,160</a:t>
            </a:r>
            <a:r>
              <a:rPr lang="zh-CN" altLang="en-US" sz="1600" b="1" dirty="0">
                <a:solidFill>
                  <a:srgbClr val="C00000"/>
                </a:solidFill>
                <a:cs typeface="Arial" panose="020B0604020202020204" pitchFamily="34" charset="0"/>
              </a:rPr>
              <a:t>万</a:t>
            </a: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m</a:t>
            </a:r>
            <a:r>
              <a:rPr lang="en-US" altLang="zh-CN" sz="1600" b="1" baseline="30000" dirty="0">
                <a:solidFill>
                  <a:srgbClr val="C00000"/>
                </a:solidFill>
                <a:cs typeface="Arial" panose="020B0604020202020204" pitchFamily="34" charset="0"/>
              </a:rPr>
              <a:t>2</a:t>
            </a: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FFFFFF">
                    <a:lumMod val="50000"/>
                  </a:srgbClr>
                </a:solidFill>
              </a:rPr>
              <a:t>物流中心面积</a:t>
            </a:r>
          </a:p>
        </p:txBody>
      </p:sp>
      <p:sp>
        <p:nvSpPr>
          <p:cNvPr id="533" name="文本框 235"/>
          <p:cNvSpPr txBox="1"/>
          <p:nvPr/>
        </p:nvSpPr>
        <p:spPr>
          <a:xfrm>
            <a:off x="9072612" y="4617575"/>
            <a:ext cx="1356139" cy="5078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15</a:t>
            </a:r>
            <a:r>
              <a:rPr lang="zh-CN" altLang="en-US" sz="1600" b="1" dirty="0">
                <a:solidFill>
                  <a:srgbClr val="C00000"/>
                </a:solidFill>
                <a:cs typeface="Arial" panose="020B0604020202020204" pitchFamily="34" charset="0"/>
              </a:rPr>
              <a:t>个</a:t>
            </a:r>
            <a:endParaRPr lang="en-US" altLang="zh-CN" sz="1600" b="1" dirty="0">
              <a:solidFill>
                <a:srgbClr val="C00000"/>
              </a:solidFill>
              <a:cs typeface="Arial" panose="020B0604020202020204" pitchFamily="34" charset="0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FFFFFF">
                    <a:lumMod val="50000"/>
                  </a:srgbClr>
                </a:solidFill>
              </a:rPr>
              <a:t>亚洲一号物流中心</a:t>
            </a:r>
          </a:p>
        </p:txBody>
      </p:sp>
      <p:sp>
        <p:nvSpPr>
          <p:cNvPr id="534" name="文本框 235"/>
          <p:cNvSpPr txBox="1"/>
          <p:nvPr/>
        </p:nvSpPr>
        <p:spPr>
          <a:xfrm>
            <a:off x="9072613" y="3876540"/>
            <a:ext cx="884867" cy="5078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521</a:t>
            </a:r>
            <a:r>
              <a:rPr lang="zh-CN" altLang="en-US" sz="1600" b="1" dirty="0">
                <a:solidFill>
                  <a:srgbClr val="C00000"/>
                </a:solidFill>
                <a:cs typeface="Arial" panose="020B0604020202020204" pitchFamily="34" charset="0"/>
              </a:rPr>
              <a:t>个</a:t>
            </a:r>
            <a:endParaRPr lang="en-US" altLang="zh-CN" sz="1600" b="1" dirty="0">
              <a:solidFill>
                <a:srgbClr val="C00000"/>
              </a:solidFill>
              <a:cs typeface="Arial" panose="020B0604020202020204" pitchFamily="34" charset="0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FFFFFF">
                    <a:lumMod val="50000"/>
                  </a:srgbClr>
                </a:solidFill>
              </a:rPr>
              <a:t>物流中心</a:t>
            </a:r>
          </a:p>
        </p:txBody>
      </p:sp>
      <p:sp>
        <p:nvSpPr>
          <p:cNvPr id="9" name="矩形 8"/>
          <p:cNvSpPr/>
          <p:nvPr/>
        </p:nvSpPr>
        <p:spPr>
          <a:xfrm>
            <a:off x="6286255" y="3519053"/>
            <a:ext cx="2520000" cy="173181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sp>
        <p:nvSpPr>
          <p:cNvPr id="527" name="文本框 222"/>
          <p:cNvSpPr txBox="1"/>
          <p:nvPr/>
        </p:nvSpPr>
        <p:spPr>
          <a:xfrm>
            <a:off x="6313964" y="3876540"/>
            <a:ext cx="1372429" cy="5078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100%</a:t>
            </a: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FFFFFF">
                    <a:lumMod val="50000"/>
                  </a:srgbClr>
                </a:solidFill>
              </a:rPr>
              <a:t>中国大陆区县覆盖</a:t>
            </a:r>
          </a:p>
        </p:txBody>
      </p:sp>
      <p:sp>
        <p:nvSpPr>
          <p:cNvPr id="528" name="文本框 218"/>
          <p:cNvSpPr txBox="1"/>
          <p:nvPr/>
        </p:nvSpPr>
        <p:spPr>
          <a:xfrm>
            <a:off x="7779633" y="3876540"/>
            <a:ext cx="1042003" cy="5078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99%</a:t>
            </a:r>
            <a:endParaRPr lang="en-US" altLang="zh-CN" sz="1600" b="1" dirty="0">
              <a:solidFill>
                <a:srgbClr val="C00000"/>
              </a:solidFill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FFFFFF">
                    <a:lumMod val="50000"/>
                  </a:srgbClr>
                </a:solidFill>
              </a:rPr>
              <a:t>全国人口覆盖</a:t>
            </a:r>
          </a:p>
        </p:txBody>
      </p:sp>
      <p:sp>
        <p:nvSpPr>
          <p:cNvPr id="529" name="文本框 215"/>
          <p:cNvSpPr txBox="1"/>
          <p:nvPr/>
        </p:nvSpPr>
        <p:spPr>
          <a:xfrm>
            <a:off x="6313964" y="4617575"/>
            <a:ext cx="1372429" cy="5078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30</a:t>
            </a:r>
            <a:r>
              <a:rPr lang="zh-CN" altLang="en-US" sz="1600" b="1" dirty="0">
                <a:solidFill>
                  <a:srgbClr val="C00000"/>
                </a:solidFill>
                <a:cs typeface="Arial" panose="020B0604020202020204" pitchFamily="34" charset="0"/>
              </a:rPr>
              <a:t>万</a:t>
            </a:r>
            <a:endParaRPr lang="en-US" altLang="zh-CN" sz="1600" b="1" dirty="0">
              <a:solidFill>
                <a:srgbClr val="C00000"/>
              </a:solidFill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FFFFFF">
                    <a:lumMod val="50000"/>
                  </a:srgbClr>
                </a:solidFill>
              </a:rPr>
              <a:t>末端服务网点</a:t>
            </a:r>
          </a:p>
        </p:txBody>
      </p:sp>
      <p:sp>
        <p:nvSpPr>
          <p:cNvPr id="530" name="文本框 218"/>
          <p:cNvSpPr txBox="1"/>
          <p:nvPr/>
        </p:nvSpPr>
        <p:spPr>
          <a:xfrm>
            <a:off x="7335991" y="4617575"/>
            <a:ext cx="1069711" cy="5078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10</a:t>
            </a:r>
            <a:r>
              <a:rPr lang="zh-CN" altLang="en-US" sz="1600" b="1" dirty="0">
                <a:solidFill>
                  <a:srgbClr val="C00000"/>
                </a:solidFill>
                <a:cs typeface="Arial" panose="020B0604020202020204" pitchFamily="34" charset="0"/>
              </a:rPr>
              <a:t>个</a:t>
            </a:r>
            <a:endParaRPr lang="en-US" altLang="zh-CN" sz="1600" b="1" dirty="0">
              <a:solidFill>
                <a:srgbClr val="C00000"/>
              </a:solidFill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FFFFFF">
                    <a:lumMod val="50000"/>
                  </a:srgbClr>
                </a:solidFill>
              </a:rPr>
              <a:t>保税口岸</a:t>
            </a:r>
          </a:p>
        </p:txBody>
      </p:sp>
      <p:grpSp>
        <p:nvGrpSpPr>
          <p:cNvPr id="13" name="组合 12"/>
          <p:cNvGrpSpPr/>
          <p:nvPr/>
        </p:nvGrpSpPr>
        <p:grpSpPr>
          <a:xfrm>
            <a:off x="7015717" y="3385331"/>
            <a:ext cx="1130355" cy="324000"/>
            <a:chOff x="6803754" y="3420605"/>
            <a:chExt cx="1130355" cy="324000"/>
          </a:xfrm>
        </p:grpSpPr>
        <p:sp>
          <p:nvSpPr>
            <p:cNvPr id="1692" name="文本框 24"/>
            <p:cNvSpPr txBox="1"/>
            <p:nvPr/>
          </p:nvSpPr>
          <p:spPr>
            <a:xfrm>
              <a:off x="7133890" y="3442492"/>
              <a:ext cx="800219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defTabSz="914354"/>
              <a:r>
                <a:rPr lang="zh-CN" altLang="en-US" sz="1200" dirty="0">
                  <a:solidFill>
                    <a:srgbClr val="DA0B1C"/>
                  </a:solidFill>
                </a:rPr>
                <a:t>网络覆盖</a:t>
              </a:r>
            </a:p>
          </p:txBody>
        </p:sp>
        <p:sp>
          <p:nvSpPr>
            <p:cNvPr id="1650" name="Rectangle 13"/>
            <p:cNvSpPr>
              <a:spLocks noChangeAspect="1"/>
            </p:cNvSpPr>
            <p:nvPr/>
          </p:nvSpPr>
          <p:spPr>
            <a:xfrm>
              <a:off x="6803754" y="3420605"/>
              <a:ext cx="324000" cy="32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en-US">
                <a:solidFill>
                  <a:srgbClr val="FFFFFF"/>
                </a:solidFill>
              </a:endParaRPr>
            </a:p>
          </p:txBody>
        </p:sp>
        <p:grpSp>
          <p:nvGrpSpPr>
            <p:cNvPr id="1651" name="组合 1657"/>
            <p:cNvGrpSpPr/>
            <p:nvPr/>
          </p:nvGrpSpPr>
          <p:grpSpPr>
            <a:xfrm>
              <a:off x="6810184" y="3469326"/>
              <a:ext cx="277449" cy="223328"/>
              <a:chOff x="1197960" y="1763811"/>
              <a:chExt cx="5256213" cy="4319588"/>
            </a:xfrm>
            <a:solidFill>
              <a:schemeClr val="bg1"/>
            </a:solidFill>
          </p:grpSpPr>
          <p:sp>
            <p:nvSpPr>
              <p:cNvPr id="1652" name="Freeform 4"/>
              <p:cNvSpPr>
                <a:spLocks/>
              </p:cNvSpPr>
              <p:nvPr/>
            </p:nvSpPr>
            <p:spPr bwMode="auto">
              <a:xfrm>
                <a:off x="5263548" y="1763811"/>
                <a:ext cx="1190625" cy="1057275"/>
              </a:xfrm>
              <a:custGeom>
                <a:avLst/>
                <a:gdLst>
                  <a:gd name="T0" fmla="*/ 332 w 1088"/>
                  <a:gd name="T1" fmla="*/ 807 h 988"/>
                  <a:gd name="T2" fmla="*/ 394 w 1088"/>
                  <a:gd name="T3" fmla="*/ 879 h 988"/>
                  <a:gd name="T4" fmla="*/ 441 w 1088"/>
                  <a:gd name="T5" fmla="*/ 869 h 988"/>
                  <a:gd name="T6" fmla="*/ 502 w 1088"/>
                  <a:gd name="T7" fmla="*/ 874 h 988"/>
                  <a:gd name="T8" fmla="*/ 567 w 1088"/>
                  <a:gd name="T9" fmla="*/ 859 h 988"/>
                  <a:gd name="T10" fmla="*/ 614 w 1088"/>
                  <a:gd name="T11" fmla="*/ 915 h 988"/>
                  <a:gd name="T12" fmla="*/ 651 w 1088"/>
                  <a:gd name="T13" fmla="*/ 929 h 988"/>
                  <a:gd name="T14" fmla="*/ 695 w 1088"/>
                  <a:gd name="T15" fmla="*/ 957 h 988"/>
                  <a:gd name="T16" fmla="*/ 707 w 1088"/>
                  <a:gd name="T17" fmla="*/ 903 h 988"/>
                  <a:gd name="T18" fmla="*/ 754 w 1088"/>
                  <a:gd name="T19" fmla="*/ 959 h 988"/>
                  <a:gd name="T20" fmla="*/ 797 w 1088"/>
                  <a:gd name="T21" fmla="*/ 984 h 988"/>
                  <a:gd name="T22" fmla="*/ 843 w 1088"/>
                  <a:gd name="T23" fmla="*/ 927 h 988"/>
                  <a:gd name="T24" fmla="*/ 873 w 1088"/>
                  <a:gd name="T25" fmla="*/ 922 h 988"/>
                  <a:gd name="T26" fmla="*/ 922 w 1088"/>
                  <a:gd name="T27" fmla="*/ 957 h 988"/>
                  <a:gd name="T28" fmla="*/ 964 w 1088"/>
                  <a:gd name="T29" fmla="*/ 959 h 988"/>
                  <a:gd name="T30" fmla="*/ 950 w 1088"/>
                  <a:gd name="T31" fmla="*/ 881 h 988"/>
                  <a:gd name="T32" fmla="*/ 929 w 1088"/>
                  <a:gd name="T33" fmla="*/ 786 h 988"/>
                  <a:gd name="T34" fmla="*/ 1035 w 1088"/>
                  <a:gd name="T35" fmla="*/ 744 h 988"/>
                  <a:gd name="T36" fmla="*/ 1045 w 1088"/>
                  <a:gd name="T37" fmla="*/ 697 h 988"/>
                  <a:gd name="T38" fmla="*/ 1058 w 1088"/>
                  <a:gd name="T39" fmla="*/ 651 h 988"/>
                  <a:gd name="T40" fmla="*/ 1063 w 1088"/>
                  <a:gd name="T41" fmla="*/ 468 h 988"/>
                  <a:gd name="T42" fmla="*/ 1059 w 1088"/>
                  <a:gd name="T43" fmla="*/ 388 h 988"/>
                  <a:gd name="T44" fmla="*/ 1053 w 1088"/>
                  <a:gd name="T45" fmla="*/ 352 h 988"/>
                  <a:gd name="T46" fmla="*/ 983 w 1088"/>
                  <a:gd name="T47" fmla="*/ 406 h 988"/>
                  <a:gd name="T48" fmla="*/ 909 w 1088"/>
                  <a:gd name="T49" fmla="*/ 473 h 988"/>
                  <a:gd name="T50" fmla="*/ 777 w 1088"/>
                  <a:gd name="T51" fmla="*/ 473 h 988"/>
                  <a:gd name="T52" fmla="*/ 761 w 1088"/>
                  <a:gd name="T53" fmla="*/ 422 h 988"/>
                  <a:gd name="T54" fmla="*/ 715 w 1088"/>
                  <a:gd name="T55" fmla="*/ 388 h 988"/>
                  <a:gd name="T56" fmla="*/ 629 w 1088"/>
                  <a:gd name="T57" fmla="*/ 366 h 988"/>
                  <a:gd name="T58" fmla="*/ 559 w 1088"/>
                  <a:gd name="T59" fmla="*/ 358 h 988"/>
                  <a:gd name="T60" fmla="*/ 497 w 1088"/>
                  <a:gd name="T61" fmla="*/ 314 h 988"/>
                  <a:gd name="T62" fmla="*/ 467 w 1088"/>
                  <a:gd name="T63" fmla="*/ 263 h 988"/>
                  <a:gd name="T64" fmla="*/ 424 w 1088"/>
                  <a:gd name="T65" fmla="*/ 208 h 988"/>
                  <a:gd name="T66" fmla="*/ 370 w 1088"/>
                  <a:gd name="T67" fmla="*/ 122 h 988"/>
                  <a:gd name="T68" fmla="*/ 313 w 1088"/>
                  <a:gd name="T69" fmla="*/ 35 h 988"/>
                  <a:gd name="T70" fmla="*/ 221 w 1088"/>
                  <a:gd name="T71" fmla="*/ 21 h 988"/>
                  <a:gd name="T72" fmla="*/ 118 w 1088"/>
                  <a:gd name="T73" fmla="*/ 0 h 988"/>
                  <a:gd name="T74" fmla="*/ 4 w 1088"/>
                  <a:gd name="T75" fmla="*/ 49 h 988"/>
                  <a:gd name="T76" fmla="*/ 0 w 1088"/>
                  <a:gd name="T77" fmla="*/ 139 h 988"/>
                  <a:gd name="T78" fmla="*/ 50 w 1088"/>
                  <a:gd name="T79" fmla="*/ 173 h 988"/>
                  <a:gd name="T80" fmla="*/ 110 w 1088"/>
                  <a:gd name="T81" fmla="*/ 161 h 988"/>
                  <a:gd name="T82" fmla="*/ 123 w 1088"/>
                  <a:gd name="T83" fmla="*/ 223 h 988"/>
                  <a:gd name="T84" fmla="*/ 197 w 1088"/>
                  <a:gd name="T85" fmla="*/ 257 h 988"/>
                  <a:gd name="T86" fmla="*/ 242 w 1088"/>
                  <a:gd name="T87" fmla="*/ 238 h 988"/>
                  <a:gd name="T88" fmla="*/ 370 w 1088"/>
                  <a:gd name="T89" fmla="*/ 245 h 988"/>
                  <a:gd name="T90" fmla="*/ 350 w 1088"/>
                  <a:gd name="T91" fmla="*/ 417 h 988"/>
                  <a:gd name="T92" fmla="*/ 332 w 1088"/>
                  <a:gd name="T93" fmla="*/ 471 h 988"/>
                  <a:gd name="T94" fmla="*/ 325 w 1088"/>
                  <a:gd name="T95" fmla="*/ 582 h 988"/>
                  <a:gd name="T96" fmla="*/ 295 w 1088"/>
                  <a:gd name="T97" fmla="*/ 558 h 988"/>
                  <a:gd name="T98" fmla="*/ 229 w 1088"/>
                  <a:gd name="T99" fmla="*/ 659 h 988"/>
                  <a:gd name="T100" fmla="*/ 202 w 1088"/>
                  <a:gd name="T101" fmla="*/ 708 h 988"/>
                  <a:gd name="T102" fmla="*/ 295 w 1088"/>
                  <a:gd name="T103" fmla="*/ 742 h 988"/>
                  <a:gd name="T104" fmla="*/ 295 w 1088"/>
                  <a:gd name="T105" fmla="*/ 762 h 988"/>
                  <a:gd name="T106" fmla="*/ 262 w 1088"/>
                  <a:gd name="T107" fmla="*/ 804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8" h="988">
                    <a:moveTo>
                      <a:pt x="275" y="816"/>
                    </a:moveTo>
                    <a:lnTo>
                      <a:pt x="332" y="807"/>
                    </a:lnTo>
                    <a:lnTo>
                      <a:pt x="357" y="853"/>
                    </a:lnTo>
                    <a:lnTo>
                      <a:pt x="394" y="879"/>
                    </a:lnTo>
                    <a:lnTo>
                      <a:pt x="419" y="869"/>
                    </a:lnTo>
                    <a:lnTo>
                      <a:pt x="441" y="869"/>
                    </a:lnTo>
                    <a:lnTo>
                      <a:pt x="478" y="846"/>
                    </a:lnTo>
                    <a:lnTo>
                      <a:pt x="502" y="874"/>
                    </a:lnTo>
                    <a:lnTo>
                      <a:pt x="520" y="879"/>
                    </a:lnTo>
                    <a:lnTo>
                      <a:pt x="567" y="859"/>
                    </a:lnTo>
                    <a:lnTo>
                      <a:pt x="602" y="879"/>
                    </a:lnTo>
                    <a:lnTo>
                      <a:pt x="614" y="915"/>
                    </a:lnTo>
                    <a:lnTo>
                      <a:pt x="638" y="915"/>
                    </a:lnTo>
                    <a:lnTo>
                      <a:pt x="651" y="929"/>
                    </a:lnTo>
                    <a:lnTo>
                      <a:pt x="682" y="964"/>
                    </a:lnTo>
                    <a:lnTo>
                      <a:pt x="695" y="957"/>
                    </a:lnTo>
                    <a:lnTo>
                      <a:pt x="689" y="915"/>
                    </a:lnTo>
                    <a:lnTo>
                      <a:pt x="707" y="903"/>
                    </a:lnTo>
                    <a:lnTo>
                      <a:pt x="733" y="952"/>
                    </a:lnTo>
                    <a:lnTo>
                      <a:pt x="754" y="959"/>
                    </a:lnTo>
                    <a:lnTo>
                      <a:pt x="779" y="987"/>
                    </a:lnTo>
                    <a:lnTo>
                      <a:pt x="797" y="984"/>
                    </a:lnTo>
                    <a:lnTo>
                      <a:pt x="805" y="971"/>
                    </a:lnTo>
                    <a:lnTo>
                      <a:pt x="843" y="927"/>
                    </a:lnTo>
                    <a:lnTo>
                      <a:pt x="860" y="940"/>
                    </a:lnTo>
                    <a:lnTo>
                      <a:pt x="873" y="922"/>
                    </a:lnTo>
                    <a:lnTo>
                      <a:pt x="884" y="945"/>
                    </a:lnTo>
                    <a:lnTo>
                      <a:pt x="922" y="957"/>
                    </a:lnTo>
                    <a:lnTo>
                      <a:pt x="947" y="957"/>
                    </a:lnTo>
                    <a:lnTo>
                      <a:pt x="964" y="959"/>
                    </a:lnTo>
                    <a:lnTo>
                      <a:pt x="955" y="940"/>
                    </a:lnTo>
                    <a:lnTo>
                      <a:pt x="950" y="881"/>
                    </a:lnTo>
                    <a:lnTo>
                      <a:pt x="904" y="811"/>
                    </a:lnTo>
                    <a:lnTo>
                      <a:pt x="929" y="786"/>
                    </a:lnTo>
                    <a:lnTo>
                      <a:pt x="952" y="744"/>
                    </a:lnTo>
                    <a:lnTo>
                      <a:pt x="1035" y="744"/>
                    </a:lnTo>
                    <a:lnTo>
                      <a:pt x="1049" y="733"/>
                    </a:lnTo>
                    <a:lnTo>
                      <a:pt x="1045" y="697"/>
                    </a:lnTo>
                    <a:lnTo>
                      <a:pt x="1063" y="669"/>
                    </a:lnTo>
                    <a:lnTo>
                      <a:pt x="1058" y="651"/>
                    </a:lnTo>
                    <a:lnTo>
                      <a:pt x="1064" y="622"/>
                    </a:lnTo>
                    <a:lnTo>
                      <a:pt x="1063" y="468"/>
                    </a:lnTo>
                    <a:lnTo>
                      <a:pt x="1087" y="419"/>
                    </a:lnTo>
                    <a:lnTo>
                      <a:pt x="1059" y="388"/>
                    </a:lnTo>
                    <a:lnTo>
                      <a:pt x="1064" y="368"/>
                    </a:lnTo>
                    <a:lnTo>
                      <a:pt x="1053" y="352"/>
                    </a:lnTo>
                    <a:lnTo>
                      <a:pt x="1021" y="363"/>
                    </a:lnTo>
                    <a:lnTo>
                      <a:pt x="983" y="406"/>
                    </a:lnTo>
                    <a:lnTo>
                      <a:pt x="947" y="422"/>
                    </a:lnTo>
                    <a:lnTo>
                      <a:pt x="909" y="473"/>
                    </a:lnTo>
                    <a:lnTo>
                      <a:pt x="818" y="503"/>
                    </a:lnTo>
                    <a:lnTo>
                      <a:pt x="777" y="473"/>
                    </a:lnTo>
                    <a:lnTo>
                      <a:pt x="782" y="454"/>
                    </a:lnTo>
                    <a:lnTo>
                      <a:pt x="761" y="422"/>
                    </a:lnTo>
                    <a:lnTo>
                      <a:pt x="749" y="388"/>
                    </a:lnTo>
                    <a:lnTo>
                      <a:pt x="715" y="388"/>
                    </a:lnTo>
                    <a:lnTo>
                      <a:pt x="652" y="357"/>
                    </a:lnTo>
                    <a:lnTo>
                      <a:pt x="629" y="366"/>
                    </a:lnTo>
                    <a:lnTo>
                      <a:pt x="602" y="352"/>
                    </a:lnTo>
                    <a:lnTo>
                      <a:pt x="559" y="358"/>
                    </a:lnTo>
                    <a:lnTo>
                      <a:pt x="520" y="345"/>
                    </a:lnTo>
                    <a:lnTo>
                      <a:pt x="497" y="314"/>
                    </a:lnTo>
                    <a:lnTo>
                      <a:pt x="478" y="290"/>
                    </a:lnTo>
                    <a:lnTo>
                      <a:pt x="467" y="263"/>
                    </a:lnTo>
                    <a:lnTo>
                      <a:pt x="441" y="236"/>
                    </a:lnTo>
                    <a:lnTo>
                      <a:pt x="424" y="208"/>
                    </a:lnTo>
                    <a:lnTo>
                      <a:pt x="382" y="154"/>
                    </a:lnTo>
                    <a:lnTo>
                      <a:pt x="370" y="122"/>
                    </a:lnTo>
                    <a:lnTo>
                      <a:pt x="325" y="65"/>
                    </a:lnTo>
                    <a:lnTo>
                      <a:pt x="313" y="35"/>
                    </a:lnTo>
                    <a:lnTo>
                      <a:pt x="259" y="9"/>
                    </a:lnTo>
                    <a:lnTo>
                      <a:pt x="221" y="21"/>
                    </a:lnTo>
                    <a:lnTo>
                      <a:pt x="190" y="14"/>
                    </a:lnTo>
                    <a:lnTo>
                      <a:pt x="118" y="0"/>
                    </a:lnTo>
                    <a:lnTo>
                      <a:pt x="22" y="33"/>
                    </a:lnTo>
                    <a:lnTo>
                      <a:pt x="4" y="49"/>
                    </a:lnTo>
                    <a:lnTo>
                      <a:pt x="25" y="76"/>
                    </a:lnTo>
                    <a:lnTo>
                      <a:pt x="0" y="139"/>
                    </a:lnTo>
                    <a:lnTo>
                      <a:pt x="7" y="146"/>
                    </a:lnTo>
                    <a:lnTo>
                      <a:pt x="50" y="173"/>
                    </a:lnTo>
                    <a:lnTo>
                      <a:pt x="71" y="136"/>
                    </a:lnTo>
                    <a:lnTo>
                      <a:pt x="110" y="161"/>
                    </a:lnTo>
                    <a:lnTo>
                      <a:pt x="107" y="179"/>
                    </a:lnTo>
                    <a:lnTo>
                      <a:pt x="123" y="223"/>
                    </a:lnTo>
                    <a:lnTo>
                      <a:pt x="147" y="249"/>
                    </a:lnTo>
                    <a:lnTo>
                      <a:pt x="197" y="257"/>
                    </a:lnTo>
                    <a:lnTo>
                      <a:pt x="212" y="243"/>
                    </a:lnTo>
                    <a:lnTo>
                      <a:pt x="242" y="238"/>
                    </a:lnTo>
                    <a:lnTo>
                      <a:pt x="295" y="190"/>
                    </a:lnTo>
                    <a:lnTo>
                      <a:pt x="370" y="245"/>
                    </a:lnTo>
                    <a:lnTo>
                      <a:pt x="345" y="345"/>
                    </a:lnTo>
                    <a:lnTo>
                      <a:pt x="350" y="417"/>
                    </a:lnTo>
                    <a:lnTo>
                      <a:pt x="350" y="461"/>
                    </a:lnTo>
                    <a:lnTo>
                      <a:pt x="332" y="471"/>
                    </a:lnTo>
                    <a:lnTo>
                      <a:pt x="329" y="585"/>
                    </a:lnTo>
                    <a:lnTo>
                      <a:pt x="325" y="582"/>
                    </a:lnTo>
                    <a:lnTo>
                      <a:pt x="304" y="558"/>
                    </a:lnTo>
                    <a:lnTo>
                      <a:pt x="295" y="558"/>
                    </a:lnTo>
                    <a:lnTo>
                      <a:pt x="289" y="566"/>
                    </a:lnTo>
                    <a:lnTo>
                      <a:pt x="229" y="659"/>
                    </a:lnTo>
                    <a:lnTo>
                      <a:pt x="197" y="696"/>
                    </a:lnTo>
                    <a:lnTo>
                      <a:pt x="202" y="708"/>
                    </a:lnTo>
                    <a:lnTo>
                      <a:pt x="265" y="749"/>
                    </a:lnTo>
                    <a:lnTo>
                      <a:pt x="295" y="742"/>
                    </a:lnTo>
                    <a:lnTo>
                      <a:pt x="299" y="749"/>
                    </a:lnTo>
                    <a:lnTo>
                      <a:pt x="295" y="762"/>
                    </a:lnTo>
                    <a:lnTo>
                      <a:pt x="265" y="774"/>
                    </a:lnTo>
                    <a:lnTo>
                      <a:pt x="262" y="804"/>
                    </a:lnTo>
                    <a:lnTo>
                      <a:pt x="275" y="816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53" name="Freeform 5"/>
              <p:cNvSpPr>
                <a:spLocks/>
              </p:cNvSpPr>
              <p:nvPr/>
            </p:nvSpPr>
            <p:spPr bwMode="auto">
              <a:xfrm>
                <a:off x="3374423" y="1816199"/>
                <a:ext cx="2314575" cy="2038350"/>
              </a:xfrm>
              <a:custGeom>
                <a:avLst/>
                <a:gdLst>
                  <a:gd name="T0" fmla="*/ 690 w 2117"/>
                  <a:gd name="T1" fmla="*/ 1843 h 1903"/>
                  <a:gd name="T2" fmla="*/ 782 w 2117"/>
                  <a:gd name="T3" fmla="*/ 1683 h 1903"/>
                  <a:gd name="T4" fmla="*/ 849 w 2117"/>
                  <a:gd name="T5" fmla="*/ 1833 h 1903"/>
                  <a:gd name="T6" fmla="*/ 932 w 2117"/>
                  <a:gd name="T7" fmla="*/ 1866 h 1903"/>
                  <a:gd name="T8" fmla="*/ 1039 w 2117"/>
                  <a:gd name="T9" fmla="*/ 1706 h 1903"/>
                  <a:gd name="T10" fmla="*/ 1151 w 2117"/>
                  <a:gd name="T11" fmla="*/ 1652 h 1903"/>
                  <a:gd name="T12" fmla="*/ 1279 w 2117"/>
                  <a:gd name="T13" fmla="*/ 1550 h 1903"/>
                  <a:gd name="T14" fmla="*/ 1356 w 2117"/>
                  <a:gd name="T15" fmla="*/ 1448 h 1903"/>
                  <a:gd name="T16" fmla="*/ 1430 w 2117"/>
                  <a:gd name="T17" fmla="*/ 1334 h 1903"/>
                  <a:gd name="T18" fmla="*/ 1505 w 2117"/>
                  <a:gd name="T19" fmla="*/ 1339 h 1903"/>
                  <a:gd name="T20" fmla="*/ 1591 w 2117"/>
                  <a:gd name="T21" fmla="*/ 1312 h 1903"/>
                  <a:gd name="T22" fmla="*/ 1700 w 2117"/>
                  <a:gd name="T23" fmla="*/ 1303 h 1903"/>
                  <a:gd name="T24" fmla="*/ 1803 w 2117"/>
                  <a:gd name="T25" fmla="*/ 1342 h 1903"/>
                  <a:gd name="T26" fmla="*/ 1859 w 2117"/>
                  <a:gd name="T27" fmla="*/ 1300 h 1903"/>
                  <a:gd name="T28" fmla="*/ 1967 w 2117"/>
                  <a:gd name="T29" fmla="*/ 1198 h 1903"/>
                  <a:gd name="T30" fmla="*/ 2060 w 2117"/>
                  <a:gd name="T31" fmla="*/ 1146 h 1903"/>
                  <a:gd name="T32" fmla="*/ 2085 w 2117"/>
                  <a:gd name="T33" fmla="*/ 1060 h 1903"/>
                  <a:gd name="T34" fmla="*/ 1971 w 2117"/>
                  <a:gd name="T35" fmla="*/ 996 h 1903"/>
                  <a:gd name="T36" fmla="*/ 1944 w 2117"/>
                  <a:gd name="T37" fmla="*/ 870 h 1903"/>
                  <a:gd name="T38" fmla="*/ 1979 w 2117"/>
                  <a:gd name="T39" fmla="*/ 828 h 1903"/>
                  <a:gd name="T40" fmla="*/ 1992 w 2117"/>
                  <a:gd name="T41" fmla="*/ 729 h 1903"/>
                  <a:gd name="T42" fmla="*/ 1992 w 2117"/>
                  <a:gd name="T43" fmla="*/ 704 h 1903"/>
                  <a:gd name="T44" fmla="*/ 2017 w 2117"/>
                  <a:gd name="T45" fmla="*/ 518 h 1903"/>
                  <a:gd name="T46" fmla="*/ 2058 w 2117"/>
                  <a:gd name="T47" fmla="*/ 538 h 1903"/>
                  <a:gd name="T48" fmla="*/ 2073 w 2117"/>
                  <a:gd name="T49" fmla="*/ 297 h 1903"/>
                  <a:gd name="T50" fmla="*/ 1939 w 2117"/>
                  <a:gd name="T51" fmla="*/ 194 h 1903"/>
                  <a:gd name="T52" fmla="*/ 1836 w 2117"/>
                  <a:gd name="T53" fmla="*/ 132 h 1903"/>
                  <a:gd name="T54" fmla="*/ 1734 w 2117"/>
                  <a:gd name="T55" fmla="*/ 98 h 1903"/>
                  <a:gd name="T56" fmla="*/ 1715 w 2117"/>
                  <a:gd name="T57" fmla="*/ 0 h 1903"/>
                  <a:gd name="T58" fmla="*/ 1674 w 2117"/>
                  <a:gd name="T59" fmla="*/ 98 h 1903"/>
                  <a:gd name="T60" fmla="*/ 1622 w 2117"/>
                  <a:gd name="T61" fmla="*/ 358 h 1903"/>
                  <a:gd name="T62" fmla="*/ 1485 w 2117"/>
                  <a:gd name="T63" fmla="*/ 463 h 1903"/>
                  <a:gd name="T64" fmla="*/ 1393 w 2117"/>
                  <a:gd name="T65" fmla="*/ 646 h 1903"/>
                  <a:gd name="T66" fmla="*/ 1537 w 2117"/>
                  <a:gd name="T67" fmla="*/ 679 h 1903"/>
                  <a:gd name="T68" fmla="*/ 1739 w 2117"/>
                  <a:gd name="T69" fmla="*/ 746 h 1903"/>
                  <a:gd name="T70" fmla="*/ 1596 w 2117"/>
                  <a:gd name="T71" fmla="*/ 807 h 1903"/>
                  <a:gd name="T72" fmla="*/ 1479 w 2117"/>
                  <a:gd name="T73" fmla="*/ 884 h 1903"/>
                  <a:gd name="T74" fmla="*/ 1326 w 2117"/>
                  <a:gd name="T75" fmla="*/ 1023 h 1903"/>
                  <a:gd name="T76" fmla="*/ 1143 w 2117"/>
                  <a:gd name="T77" fmla="*/ 1051 h 1903"/>
                  <a:gd name="T78" fmla="*/ 1104 w 2117"/>
                  <a:gd name="T79" fmla="*/ 1226 h 1903"/>
                  <a:gd name="T80" fmla="*/ 825 w 2117"/>
                  <a:gd name="T81" fmla="*/ 1345 h 1903"/>
                  <a:gd name="T82" fmla="*/ 583 w 2117"/>
                  <a:gd name="T83" fmla="*/ 1420 h 1903"/>
                  <a:gd name="T84" fmla="*/ 212 w 2117"/>
                  <a:gd name="T85" fmla="*/ 1332 h 1903"/>
                  <a:gd name="T86" fmla="*/ 12 w 2117"/>
                  <a:gd name="T87" fmla="*/ 1398 h 1903"/>
                  <a:gd name="T88" fmla="*/ 127 w 2117"/>
                  <a:gd name="T89" fmla="*/ 1527 h 1903"/>
                  <a:gd name="T90" fmla="*/ 240 w 2117"/>
                  <a:gd name="T91" fmla="*/ 1576 h 1903"/>
                  <a:gd name="T92" fmla="*/ 274 w 2117"/>
                  <a:gd name="T93" fmla="*/ 1678 h 1903"/>
                  <a:gd name="T94" fmla="*/ 394 w 2117"/>
                  <a:gd name="T95" fmla="*/ 1744 h 1903"/>
                  <a:gd name="T96" fmla="*/ 566 w 2117"/>
                  <a:gd name="T97" fmla="*/ 1729 h 1903"/>
                  <a:gd name="T98" fmla="*/ 510 w 2117"/>
                  <a:gd name="T99" fmla="*/ 1819 h 19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117" h="1903">
                    <a:moveTo>
                      <a:pt x="596" y="1893"/>
                    </a:moveTo>
                    <a:lnTo>
                      <a:pt x="626" y="1888"/>
                    </a:lnTo>
                    <a:lnTo>
                      <a:pt x="650" y="1879"/>
                    </a:lnTo>
                    <a:lnTo>
                      <a:pt x="690" y="1843"/>
                    </a:lnTo>
                    <a:lnTo>
                      <a:pt x="700" y="1789"/>
                    </a:lnTo>
                    <a:lnTo>
                      <a:pt x="724" y="1711"/>
                    </a:lnTo>
                    <a:lnTo>
                      <a:pt x="775" y="1676"/>
                    </a:lnTo>
                    <a:lnTo>
                      <a:pt x="782" y="1683"/>
                    </a:lnTo>
                    <a:lnTo>
                      <a:pt x="799" y="1738"/>
                    </a:lnTo>
                    <a:lnTo>
                      <a:pt x="775" y="1772"/>
                    </a:lnTo>
                    <a:lnTo>
                      <a:pt x="766" y="1804"/>
                    </a:lnTo>
                    <a:lnTo>
                      <a:pt x="849" y="1833"/>
                    </a:lnTo>
                    <a:lnTo>
                      <a:pt x="854" y="1856"/>
                    </a:lnTo>
                    <a:lnTo>
                      <a:pt x="901" y="1854"/>
                    </a:lnTo>
                    <a:lnTo>
                      <a:pt x="921" y="1860"/>
                    </a:lnTo>
                    <a:lnTo>
                      <a:pt x="932" y="1866"/>
                    </a:lnTo>
                    <a:lnTo>
                      <a:pt x="1014" y="1750"/>
                    </a:lnTo>
                    <a:lnTo>
                      <a:pt x="1036" y="1743"/>
                    </a:lnTo>
                    <a:lnTo>
                      <a:pt x="1041" y="1729"/>
                    </a:lnTo>
                    <a:lnTo>
                      <a:pt x="1039" y="1706"/>
                    </a:lnTo>
                    <a:lnTo>
                      <a:pt x="1067" y="1666"/>
                    </a:lnTo>
                    <a:lnTo>
                      <a:pt x="1119" y="1664"/>
                    </a:lnTo>
                    <a:lnTo>
                      <a:pt x="1139" y="1641"/>
                    </a:lnTo>
                    <a:lnTo>
                      <a:pt x="1151" y="1652"/>
                    </a:lnTo>
                    <a:lnTo>
                      <a:pt x="1181" y="1627"/>
                    </a:lnTo>
                    <a:lnTo>
                      <a:pt x="1197" y="1627"/>
                    </a:lnTo>
                    <a:lnTo>
                      <a:pt x="1251" y="1548"/>
                    </a:lnTo>
                    <a:lnTo>
                      <a:pt x="1279" y="1550"/>
                    </a:lnTo>
                    <a:lnTo>
                      <a:pt x="1314" y="1525"/>
                    </a:lnTo>
                    <a:lnTo>
                      <a:pt x="1323" y="1534"/>
                    </a:lnTo>
                    <a:lnTo>
                      <a:pt x="1388" y="1502"/>
                    </a:lnTo>
                    <a:lnTo>
                      <a:pt x="1356" y="1448"/>
                    </a:lnTo>
                    <a:lnTo>
                      <a:pt x="1365" y="1394"/>
                    </a:lnTo>
                    <a:lnTo>
                      <a:pt x="1393" y="1336"/>
                    </a:lnTo>
                    <a:lnTo>
                      <a:pt x="1416" y="1327"/>
                    </a:lnTo>
                    <a:lnTo>
                      <a:pt x="1430" y="1334"/>
                    </a:lnTo>
                    <a:lnTo>
                      <a:pt x="1430" y="1375"/>
                    </a:lnTo>
                    <a:lnTo>
                      <a:pt x="1447" y="1387"/>
                    </a:lnTo>
                    <a:lnTo>
                      <a:pt x="1488" y="1357"/>
                    </a:lnTo>
                    <a:lnTo>
                      <a:pt x="1505" y="1339"/>
                    </a:lnTo>
                    <a:lnTo>
                      <a:pt x="1521" y="1347"/>
                    </a:lnTo>
                    <a:lnTo>
                      <a:pt x="1542" y="1329"/>
                    </a:lnTo>
                    <a:lnTo>
                      <a:pt x="1584" y="1327"/>
                    </a:lnTo>
                    <a:lnTo>
                      <a:pt x="1591" y="1312"/>
                    </a:lnTo>
                    <a:lnTo>
                      <a:pt x="1581" y="1290"/>
                    </a:lnTo>
                    <a:lnTo>
                      <a:pt x="1610" y="1261"/>
                    </a:lnTo>
                    <a:lnTo>
                      <a:pt x="1645" y="1243"/>
                    </a:lnTo>
                    <a:lnTo>
                      <a:pt x="1700" y="1303"/>
                    </a:lnTo>
                    <a:lnTo>
                      <a:pt x="1697" y="1324"/>
                    </a:lnTo>
                    <a:lnTo>
                      <a:pt x="1724" y="1368"/>
                    </a:lnTo>
                    <a:lnTo>
                      <a:pt x="1789" y="1372"/>
                    </a:lnTo>
                    <a:lnTo>
                      <a:pt x="1803" y="1342"/>
                    </a:lnTo>
                    <a:lnTo>
                      <a:pt x="1787" y="1255"/>
                    </a:lnTo>
                    <a:lnTo>
                      <a:pt x="1801" y="1240"/>
                    </a:lnTo>
                    <a:lnTo>
                      <a:pt x="1831" y="1261"/>
                    </a:lnTo>
                    <a:lnTo>
                      <a:pt x="1859" y="1300"/>
                    </a:lnTo>
                    <a:lnTo>
                      <a:pt x="1901" y="1236"/>
                    </a:lnTo>
                    <a:lnTo>
                      <a:pt x="1921" y="1231"/>
                    </a:lnTo>
                    <a:lnTo>
                      <a:pt x="1951" y="1198"/>
                    </a:lnTo>
                    <a:lnTo>
                      <a:pt x="1967" y="1198"/>
                    </a:lnTo>
                    <a:lnTo>
                      <a:pt x="1994" y="1171"/>
                    </a:lnTo>
                    <a:lnTo>
                      <a:pt x="2009" y="1171"/>
                    </a:lnTo>
                    <a:lnTo>
                      <a:pt x="2023" y="1146"/>
                    </a:lnTo>
                    <a:lnTo>
                      <a:pt x="2060" y="1146"/>
                    </a:lnTo>
                    <a:lnTo>
                      <a:pt x="2099" y="1111"/>
                    </a:lnTo>
                    <a:lnTo>
                      <a:pt x="2116" y="1095"/>
                    </a:lnTo>
                    <a:lnTo>
                      <a:pt x="2116" y="1076"/>
                    </a:lnTo>
                    <a:lnTo>
                      <a:pt x="2085" y="1060"/>
                    </a:lnTo>
                    <a:lnTo>
                      <a:pt x="2085" y="1023"/>
                    </a:lnTo>
                    <a:lnTo>
                      <a:pt x="2036" y="958"/>
                    </a:lnTo>
                    <a:lnTo>
                      <a:pt x="1986" y="1005"/>
                    </a:lnTo>
                    <a:lnTo>
                      <a:pt x="1971" y="996"/>
                    </a:lnTo>
                    <a:lnTo>
                      <a:pt x="1969" y="969"/>
                    </a:lnTo>
                    <a:lnTo>
                      <a:pt x="1949" y="939"/>
                    </a:lnTo>
                    <a:lnTo>
                      <a:pt x="1944" y="907"/>
                    </a:lnTo>
                    <a:lnTo>
                      <a:pt x="1944" y="870"/>
                    </a:lnTo>
                    <a:lnTo>
                      <a:pt x="1910" y="844"/>
                    </a:lnTo>
                    <a:lnTo>
                      <a:pt x="1905" y="832"/>
                    </a:lnTo>
                    <a:lnTo>
                      <a:pt x="1913" y="810"/>
                    </a:lnTo>
                    <a:lnTo>
                      <a:pt x="1979" y="828"/>
                    </a:lnTo>
                    <a:lnTo>
                      <a:pt x="1981" y="798"/>
                    </a:lnTo>
                    <a:lnTo>
                      <a:pt x="2004" y="771"/>
                    </a:lnTo>
                    <a:lnTo>
                      <a:pt x="1989" y="759"/>
                    </a:lnTo>
                    <a:lnTo>
                      <a:pt x="1992" y="729"/>
                    </a:lnTo>
                    <a:lnTo>
                      <a:pt x="2023" y="717"/>
                    </a:lnTo>
                    <a:lnTo>
                      <a:pt x="2028" y="704"/>
                    </a:lnTo>
                    <a:lnTo>
                      <a:pt x="2023" y="697"/>
                    </a:lnTo>
                    <a:lnTo>
                      <a:pt x="1992" y="704"/>
                    </a:lnTo>
                    <a:lnTo>
                      <a:pt x="1931" y="662"/>
                    </a:lnTo>
                    <a:lnTo>
                      <a:pt x="1926" y="650"/>
                    </a:lnTo>
                    <a:lnTo>
                      <a:pt x="1956" y="613"/>
                    </a:lnTo>
                    <a:lnTo>
                      <a:pt x="2017" y="518"/>
                    </a:lnTo>
                    <a:lnTo>
                      <a:pt x="2023" y="511"/>
                    </a:lnTo>
                    <a:lnTo>
                      <a:pt x="2033" y="511"/>
                    </a:lnTo>
                    <a:lnTo>
                      <a:pt x="2053" y="536"/>
                    </a:lnTo>
                    <a:lnTo>
                      <a:pt x="2058" y="538"/>
                    </a:lnTo>
                    <a:lnTo>
                      <a:pt x="2060" y="424"/>
                    </a:lnTo>
                    <a:lnTo>
                      <a:pt x="2078" y="415"/>
                    </a:lnTo>
                    <a:lnTo>
                      <a:pt x="2078" y="370"/>
                    </a:lnTo>
                    <a:lnTo>
                      <a:pt x="2073" y="297"/>
                    </a:lnTo>
                    <a:lnTo>
                      <a:pt x="2099" y="196"/>
                    </a:lnTo>
                    <a:lnTo>
                      <a:pt x="2023" y="142"/>
                    </a:lnTo>
                    <a:lnTo>
                      <a:pt x="1969" y="189"/>
                    </a:lnTo>
                    <a:lnTo>
                      <a:pt x="1939" y="194"/>
                    </a:lnTo>
                    <a:lnTo>
                      <a:pt x="1926" y="210"/>
                    </a:lnTo>
                    <a:lnTo>
                      <a:pt x="1875" y="201"/>
                    </a:lnTo>
                    <a:lnTo>
                      <a:pt x="1851" y="174"/>
                    </a:lnTo>
                    <a:lnTo>
                      <a:pt x="1836" y="132"/>
                    </a:lnTo>
                    <a:lnTo>
                      <a:pt x="1838" y="114"/>
                    </a:lnTo>
                    <a:lnTo>
                      <a:pt x="1799" y="88"/>
                    </a:lnTo>
                    <a:lnTo>
                      <a:pt x="1777" y="126"/>
                    </a:lnTo>
                    <a:lnTo>
                      <a:pt x="1734" y="98"/>
                    </a:lnTo>
                    <a:lnTo>
                      <a:pt x="1727" y="91"/>
                    </a:lnTo>
                    <a:lnTo>
                      <a:pt x="1752" y="27"/>
                    </a:lnTo>
                    <a:lnTo>
                      <a:pt x="1731" y="0"/>
                    </a:lnTo>
                    <a:lnTo>
                      <a:pt x="1715" y="0"/>
                    </a:lnTo>
                    <a:lnTo>
                      <a:pt x="1669" y="32"/>
                    </a:lnTo>
                    <a:lnTo>
                      <a:pt x="1633" y="86"/>
                    </a:lnTo>
                    <a:lnTo>
                      <a:pt x="1647" y="96"/>
                    </a:lnTo>
                    <a:lnTo>
                      <a:pt x="1674" y="98"/>
                    </a:lnTo>
                    <a:lnTo>
                      <a:pt x="1697" y="156"/>
                    </a:lnTo>
                    <a:lnTo>
                      <a:pt x="1685" y="177"/>
                    </a:lnTo>
                    <a:lnTo>
                      <a:pt x="1663" y="210"/>
                    </a:lnTo>
                    <a:lnTo>
                      <a:pt x="1622" y="358"/>
                    </a:lnTo>
                    <a:lnTo>
                      <a:pt x="1638" y="384"/>
                    </a:lnTo>
                    <a:lnTo>
                      <a:pt x="1625" y="405"/>
                    </a:lnTo>
                    <a:lnTo>
                      <a:pt x="1535" y="470"/>
                    </a:lnTo>
                    <a:lnTo>
                      <a:pt x="1485" y="463"/>
                    </a:lnTo>
                    <a:lnTo>
                      <a:pt x="1458" y="452"/>
                    </a:lnTo>
                    <a:lnTo>
                      <a:pt x="1452" y="465"/>
                    </a:lnTo>
                    <a:lnTo>
                      <a:pt x="1412" y="625"/>
                    </a:lnTo>
                    <a:lnTo>
                      <a:pt x="1393" y="646"/>
                    </a:lnTo>
                    <a:lnTo>
                      <a:pt x="1403" y="674"/>
                    </a:lnTo>
                    <a:lnTo>
                      <a:pt x="1428" y="697"/>
                    </a:lnTo>
                    <a:lnTo>
                      <a:pt x="1470" y="672"/>
                    </a:lnTo>
                    <a:lnTo>
                      <a:pt x="1537" y="679"/>
                    </a:lnTo>
                    <a:lnTo>
                      <a:pt x="1556" y="646"/>
                    </a:lnTo>
                    <a:lnTo>
                      <a:pt x="1591" y="637"/>
                    </a:lnTo>
                    <a:lnTo>
                      <a:pt x="1657" y="662"/>
                    </a:lnTo>
                    <a:lnTo>
                      <a:pt x="1739" y="746"/>
                    </a:lnTo>
                    <a:lnTo>
                      <a:pt x="1739" y="764"/>
                    </a:lnTo>
                    <a:lnTo>
                      <a:pt x="1722" y="776"/>
                    </a:lnTo>
                    <a:lnTo>
                      <a:pt x="1627" y="783"/>
                    </a:lnTo>
                    <a:lnTo>
                      <a:pt x="1596" y="807"/>
                    </a:lnTo>
                    <a:lnTo>
                      <a:pt x="1572" y="802"/>
                    </a:lnTo>
                    <a:lnTo>
                      <a:pt x="1554" y="832"/>
                    </a:lnTo>
                    <a:lnTo>
                      <a:pt x="1509" y="840"/>
                    </a:lnTo>
                    <a:lnTo>
                      <a:pt x="1479" y="884"/>
                    </a:lnTo>
                    <a:lnTo>
                      <a:pt x="1475" y="916"/>
                    </a:lnTo>
                    <a:lnTo>
                      <a:pt x="1411" y="958"/>
                    </a:lnTo>
                    <a:lnTo>
                      <a:pt x="1370" y="964"/>
                    </a:lnTo>
                    <a:lnTo>
                      <a:pt x="1326" y="1023"/>
                    </a:lnTo>
                    <a:lnTo>
                      <a:pt x="1284" y="1048"/>
                    </a:lnTo>
                    <a:lnTo>
                      <a:pt x="1202" y="1030"/>
                    </a:lnTo>
                    <a:lnTo>
                      <a:pt x="1176" y="1018"/>
                    </a:lnTo>
                    <a:lnTo>
                      <a:pt x="1143" y="1051"/>
                    </a:lnTo>
                    <a:lnTo>
                      <a:pt x="1129" y="1107"/>
                    </a:lnTo>
                    <a:lnTo>
                      <a:pt x="1172" y="1171"/>
                    </a:lnTo>
                    <a:lnTo>
                      <a:pt x="1143" y="1201"/>
                    </a:lnTo>
                    <a:lnTo>
                      <a:pt x="1104" y="1226"/>
                    </a:lnTo>
                    <a:lnTo>
                      <a:pt x="1044" y="1300"/>
                    </a:lnTo>
                    <a:lnTo>
                      <a:pt x="967" y="1334"/>
                    </a:lnTo>
                    <a:lnTo>
                      <a:pt x="841" y="1347"/>
                    </a:lnTo>
                    <a:lnTo>
                      <a:pt x="825" y="1345"/>
                    </a:lnTo>
                    <a:lnTo>
                      <a:pt x="679" y="1407"/>
                    </a:lnTo>
                    <a:lnTo>
                      <a:pt x="608" y="1448"/>
                    </a:lnTo>
                    <a:lnTo>
                      <a:pt x="590" y="1438"/>
                    </a:lnTo>
                    <a:lnTo>
                      <a:pt x="583" y="1420"/>
                    </a:lnTo>
                    <a:lnTo>
                      <a:pt x="492" y="1414"/>
                    </a:lnTo>
                    <a:lnTo>
                      <a:pt x="391" y="1382"/>
                    </a:lnTo>
                    <a:lnTo>
                      <a:pt x="363" y="1350"/>
                    </a:lnTo>
                    <a:lnTo>
                      <a:pt x="212" y="1332"/>
                    </a:lnTo>
                    <a:lnTo>
                      <a:pt x="184" y="1345"/>
                    </a:lnTo>
                    <a:lnTo>
                      <a:pt x="2" y="1327"/>
                    </a:lnTo>
                    <a:lnTo>
                      <a:pt x="0" y="1354"/>
                    </a:lnTo>
                    <a:lnTo>
                      <a:pt x="12" y="1398"/>
                    </a:lnTo>
                    <a:lnTo>
                      <a:pt x="4" y="1465"/>
                    </a:lnTo>
                    <a:lnTo>
                      <a:pt x="56" y="1542"/>
                    </a:lnTo>
                    <a:lnTo>
                      <a:pt x="85" y="1560"/>
                    </a:lnTo>
                    <a:lnTo>
                      <a:pt x="127" y="1527"/>
                    </a:lnTo>
                    <a:lnTo>
                      <a:pt x="214" y="1527"/>
                    </a:lnTo>
                    <a:lnTo>
                      <a:pt x="236" y="1534"/>
                    </a:lnTo>
                    <a:lnTo>
                      <a:pt x="249" y="1555"/>
                    </a:lnTo>
                    <a:lnTo>
                      <a:pt x="240" y="1576"/>
                    </a:lnTo>
                    <a:lnTo>
                      <a:pt x="190" y="1616"/>
                    </a:lnTo>
                    <a:lnTo>
                      <a:pt x="195" y="1636"/>
                    </a:lnTo>
                    <a:lnTo>
                      <a:pt x="253" y="1678"/>
                    </a:lnTo>
                    <a:lnTo>
                      <a:pt x="274" y="1678"/>
                    </a:lnTo>
                    <a:lnTo>
                      <a:pt x="282" y="1688"/>
                    </a:lnTo>
                    <a:lnTo>
                      <a:pt x="277" y="1706"/>
                    </a:lnTo>
                    <a:lnTo>
                      <a:pt x="312" y="1734"/>
                    </a:lnTo>
                    <a:lnTo>
                      <a:pt x="394" y="1744"/>
                    </a:lnTo>
                    <a:lnTo>
                      <a:pt x="430" y="1736"/>
                    </a:lnTo>
                    <a:lnTo>
                      <a:pt x="481" y="1686"/>
                    </a:lnTo>
                    <a:lnTo>
                      <a:pt x="541" y="1690"/>
                    </a:lnTo>
                    <a:lnTo>
                      <a:pt x="566" y="1729"/>
                    </a:lnTo>
                    <a:lnTo>
                      <a:pt x="552" y="1761"/>
                    </a:lnTo>
                    <a:lnTo>
                      <a:pt x="554" y="1782"/>
                    </a:lnTo>
                    <a:lnTo>
                      <a:pt x="523" y="1802"/>
                    </a:lnTo>
                    <a:lnTo>
                      <a:pt x="510" y="1819"/>
                    </a:lnTo>
                    <a:lnTo>
                      <a:pt x="514" y="1860"/>
                    </a:lnTo>
                    <a:lnTo>
                      <a:pt x="571" y="1902"/>
                    </a:lnTo>
                    <a:lnTo>
                      <a:pt x="596" y="1893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54" name="Freeform 6"/>
              <p:cNvSpPr>
                <a:spLocks/>
              </p:cNvSpPr>
              <p:nvPr/>
            </p:nvSpPr>
            <p:spPr bwMode="auto">
              <a:xfrm>
                <a:off x="1197960" y="2381349"/>
                <a:ext cx="2101850" cy="1558925"/>
              </a:xfrm>
              <a:custGeom>
                <a:avLst/>
                <a:gdLst>
                  <a:gd name="T0" fmla="*/ 1318 w 1922"/>
                  <a:gd name="T1" fmla="*/ 50 h 1456"/>
                  <a:gd name="T2" fmla="*/ 1377 w 1922"/>
                  <a:gd name="T3" fmla="*/ 123 h 1456"/>
                  <a:gd name="T4" fmla="*/ 1460 w 1922"/>
                  <a:gd name="T5" fmla="*/ 177 h 1456"/>
                  <a:gd name="T6" fmla="*/ 1532 w 1922"/>
                  <a:gd name="T7" fmla="*/ 319 h 1456"/>
                  <a:gd name="T8" fmla="*/ 1492 w 1922"/>
                  <a:gd name="T9" fmla="*/ 427 h 1456"/>
                  <a:gd name="T10" fmla="*/ 1701 w 1922"/>
                  <a:gd name="T11" fmla="*/ 521 h 1456"/>
                  <a:gd name="T12" fmla="*/ 1846 w 1922"/>
                  <a:gd name="T13" fmla="*/ 627 h 1456"/>
                  <a:gd name="T14" fmla="*/ 1921 w 1922"/>
                  <a:gd name="T15" fmla="*/ 788 h 1456"/>
                  <a:gd name="T16" fmla="*/ 1867 w 1922"/>
                  <a:gd name="T17" fmla="*/ 858 h 1456"/>
                  <a:gd name="T18" fmla="*/ 1673 w 1922"/>
                  <a:gd name="T19" fmla="*/ 965 h 1456"/>
                  <a:gd name="T20" fmla="*/ 1645 w 1922"/>
                  <a:gd name="T21" fmla="*/ 1133 h 1456"/>
                  <a:gd name="T22" fmla="*/ 1370 w 1922"/>
                  <a:gd name="T23" fmla="*/ 1215 h 1456"/>
                  <a:gd name="T24" fmla="*/ 1419 w 1922"/>
                  <a:gd name="T25" fmla="*/ 1367 h 1456"/>
                  <a:gd name="T26" fmla="*/ 1389 w 1922"/>
                  <a:gd name="T27" fmla="*/ 1416 h 1456"/>
                  <a:gd name="T28" fmla="*/ 1349 w 1922"/>
                  <a:gd name="T29" fmla="*/ 1455 h 1456"/>
                  <a:gd name="T30" fmla="*/ 1240 w 1922"/>
                  <a:gd name="T31" fmla="*/ 1427 h 1456"/>
                  <a:gd name="T32" fmla="*/ 1053 w 1922"/>
                  <a:gd name="T33" fmla="*/ 1401 h 1456"/>
                  <a:gd name="T34" fmla="*/ 865 w 1922"/>
                  <a:gd name="T35" fmla="*/ 1434 h 1456"/>
                  <a:gd name="T36" fmla="*/ 719 w 1922"/>
                  <a:gd name="T37" fmla="*/ 1411 h 1456"/>
                  <a:gd name="T38" fmla="*/ 553 w 1922"/>
                  <a:gd name="T39" fmla="*/ 1425 h 1456"/>
                  <a:gd name="T40" fmla="*/ 459 w 1922"/>
                  <a:gd name="T41" fmla="*/ 1379 h 1456"/>
                  <a:gd name="T42" fmla="*/ 359 w 1922"/>
                  <a:gd name="T43" fmla="*/ 1311 h 1456"/>
                  <a:gd name="T44" fmla="*/ 146 w 1922"/>
                  <a:gd name="T45" fmla="*/ 1272 h 1456"/>
                  <a:gd name="T46" fmla="*/ 118 w 1922"/>
                  <a:gd name="T47" fmla="*/ 1189 h 1456"/>
                  <a:gd name="T48" fmla="*/ 74 w 1922"/>
                  <a:gd name="T49" fmla="*/ 1131 h 1456"/>
                  <a:gd name="T50" fmla="*/ 41 w 1922"/>
                  <a:gd name="T51" fmla="*/ 1074 h 1456"/>
                  <a:gd name="T52" fmla="*/ 71 w 1922"/>
                  <a:gd name="T53" fmla="*/ 1007 h 1456"/>
                  <a:gd name="T54" fmla="*/ 9 w 1922"/>
                  <a:gd name="T55" fmla="*/ 926 h 1456"/>
                  <a:gd name="T56" fmla="*/ 7 w 1922"/>
                  <a:gd name="T57" fmla="*/ 840 h 1456"/>
                  <a:gd name="T58" fmla="*/ 44 w 1922"/>
                  <a:gd name="T59" fmla="*/ 783 h 1456"/>
                  <a:gd name="T60" fmla="*/ 151 w 1922"/>
                  <a:gd name="T61" fmla="*/ 746 h 1456"/>
                  <a:gd name="T62" fmla="*/ 203 w 1922"/>
                  <a:gd name="T63" fmla="*/ 750 h 1456"/>
                  <a:gd name="T64" fmla="*/ 267 w 1922"/>
                  <a:gd name="T65" fmla="*/ 780 h 1456"/>
                  <a:gd name="T66" fmla="*/ 459 w 1922"/>
                  <a:gd name="T67" fmla="*/ 713 h 1456"/>
                  <a:gd name="T68" fmla="*/ 625 w 1922"/>
                  <a:gd name="T69" fmla="*/ 606 h 1456"/>
                  <a:gd name="T70" fmla="*/ 676 w 1922"/>
                  <a:gd name="T71" fmla="*/ 560 h 1456"/>
                  <a:gd name="T72" fmla="*/ 647 w 1922"/>
                  <a:gd name="T73" fmla="*/ 380 h 1456"/>
                  <a:gd name="T74" fmla="*/ 794 w 1922"/>
                  <a:gd name="T75" fmla="*/ 349 h 1456"/>
                  <a:gd name="T76" fmla="*/ 857 w 1922"/>
                  <a:gd name="T77" fmla="*/ 380 h 1456"/>
                  <a:gd name="T78" fmla="*/ 932 w 1922"/>
                  <a:gd name="T79" fmla="*/ 183 h 1456"/>
                  <a:gd name="T80" fmla="*/ 1048 w 1922"/>
                  <a:gd name="T81" fmla="*/ 207 h 1456"/>
                  <a:gd name="T82" fmla="*/ 1147 w 1922"/>
                  <a:gd name="T83" fmla="*/ 92 h 1456"/>
                  <a:gd name="T84" fmla="*/ 1238 w 1922"/>
                  <a:gd name="T85" fmla="*/ 41 h 1456"/>
                  <a:gd name="T86" fmla="*/ 1310 w 1922"/>
                  <a:gd name="T87" fmla="*/ 13 h 1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922" h="1456">
                    <a:moveTo>
                      <a:pt x="1310" y="13"/>
                    </a:moveTo>
                    <a:lnTo>
                      <a:pt x="1333" y="13"/>
                    </a:lnTo>
                    <a:lnTo>
                      <a:pt x="1318" y="50"/>
                    </a:lnTo>
                    <a:lnTo>
                      <a:pt x="1337" y="71"/>
                    </a:lnTo>
                    <a:lnTo>
                      <a:pt x="1337" y="87"/>
                    </a:lnTo>
                    <a:lnTo>
                      <a:pt x="1377" y="123"/>
                    </a:lnTo>
                    <a:lnTo>
                      <a:pt x="1387" y="152"/>
                    </a:lnTo>
                    <a:lnTo>
                      <a:pt x="1439" y="158"/>
                    </a:lnTo>
                    <a:lnTo>
                      <a:pt x="1460" y="177"/>
                    </a:lnTo>
                    <a:lnTo>
                      <a:pt x="1473" y="177"/>
                    </a:lnTo>
                    <a:lnTo>
                      <a:pt x="1503" y="239"/>
                    </a:lnTo>
                    <a:lnTo>
                      <a:pt x="1532" y="319"/>
                    </a:lnTo>
                    <a:lnTo>
                      <a:pt x="1517" y="363"/>
                    </a:lnTo>
                    <a:lnTo>
                      <a:pt x="1520" y="380"/>
                    </a:lnTo>
                    <a:lnTo>
                      <a:pt x="1492" y="427"/>
                    </a:lnTo>
                    <a:lnTo>
                      <a:pt x="1499" y="467"/>
                    </a:lnTo>
                    <a:lnTo>
                      <a:pt x="1597" y="506"/>
                    </a:lnTo>
                    <a:lnTo>
                      <a:pt x="1701" y="521"/>
                    </a:lnTo>
                    <a:lnTo>
                      <a:pt x="1809" y="596"/>
                    </a:lnTo>
                    <a:lnTo>
                      <a:pt x="1844" y="606"/>
                    </a:lnTo>
                    <a:lnTo>
                      <a:pt x="1846" y="627"/>
                    </a:lnTo>
                    <a:lnTo>
                      <a:pt x="1869" y="674"/>
                    </a:lnTo>
                    <a:lnTo>
                      <a:pt x="1891" y="735"/>
                    </a:lnTo>
                    <a:lnTo>
                      <a:pt x="1921" y="788"/>
                    </a:lnTo>
                    <a:lnTo>
                      <a:pt x="1904" y="807"/>
                    </a:lnTo>
                    <a:lnTo>
                      <a:pt x="1904" y="843"/>
                    </a:lnTo>
                    <a:lnTo>
                      <a:pt x="1867" y="858"/>
                    </a:lnTo>
                    <a:lnTo>
                      <a:pt x="1774" y="897"/>
                    </a:lnTo>
                    <a:lnTo>
                      <a:pt x="1715" y="945"/>
                    </a:lnTo>
                    <a:lnTo>
                      <a:pt x="1673" y="965"/>
                    </a:lnTo>
                    <a:lnTo>
                      <a:pt x="1666" y="995"/>
                    </a:lnTo>
                    <a:lnTo>
                      <a:pt x="1678" y="1138"/>
                    </a:lnTo>
                    <a:lnTo>
                      <a:pt x="1645" y="1133"/>
                    </a:lnTo>
                    <a:lnTo>
                      <a:pt x="1629" y="1145"/>
                    </a:lnTo>
                    <a:lnTo>
                      <a:pt x="1402" y="1189"/>
                    </a:lnTo>
                    <a:lnTo>
                      <a:pt x="1370" y="1215"/>
                    </a:lnTo>
                    <a:lnTo>
                      <a:pt x="1375" y="1275"/>
                    </a:lnTo>
                    <a:lnTo>
                      <a:pt x="1441" y="1332"/>
                    </a:lnTo>
                    <a:lnTo>
                      <a:pt x="1419" y="1367"/>
                    </a:lnTo>
                    <a:lnTo>
                      <a:pt x="1387" y="1383"/>
                    </a:lnTo>
                    <a:lnTo>
                      <a:pt x="1382" y="1401"/>
                    </a:lnTo>
                    <a:lnTo>
                      <a:pt x="1389" y="1416"/>
                    </a:lnTo>
                    <a:lnTo>
                      <a:pt x="1407" y="1416"/>
                    </a:lnTo>
                    <a:lnTo>
                      <a:pt x="1417" y="1429"/>
                    </a:lnTo>
                    <a:lnTo>
                      <a:pt x="1349" y="1455"/>
                    </a:lnTo>
                    <a:lnTo>
                      <a:pt x="1310" y="1439"/>
                    </a:lnTo>
                    <a:lnTo>
                      <a:pt x="1291" y="1427"/>
                    </a:lnTo>
                    <a:lnTo>
                      <a:pt x="1240" y="1427"/>
                    </a:lnTo>
                    <a:lnTo>
                      <a:pt x="1151" y="1387"/>
                    </a:lnTo>
                    <a:lnTo>
                      <a:pt x="1097" y="1387"/>
                    </a:lnTo>
                    <a:lnTo>
                      <a:pt x="1053" y="1401"/>
                    </a:lnTo>
                    <a:lnTo>
                      <a:pt x="1004" y="1401"/>
                    </a:lnTo>
                    <a:lnTo>
                      <a:pt x="927" y="1441"/>
                    </a:lnTo>
                    <a:lnTo>
                      <a:pt x="865" y="1434"/>
                    </a:lnTo>
                    <a:lnTo>
                      <a:pt x="802" y="1455"/>
                    </a:lnTo>
                    <a:lnTo>
                      <a:pt x="752" y="1439"/>
                    </a:lnTo>
                    <a:lnTo>
                      <a:pt x="719" y="1411"/>
                    </a:lnTo>
                    <a:lnTo>
                      <a:pt x="638" y="1401"/>
                    </a:lnTo>
                    <a:lnTo>
                      <a:pt x="583" y="1437"/>
                    </a:lnTo>
                    <a:lnTo>
                      <a:pt x="553" y="1425"/>
                    </a:lnTo>
                    <a:lnTo>
                      <a:pt x="529" y="1405"/>
                    </a:lnTo>
                    <a:lnTo>
                      <a:pt x="470" y="1389"/>
                    </a:lnTo>
                    <a:lnTo>
                      <a:pt x="459" y="1379"/>
                    </a:lnTo>
                    <a:lnTo>
                      <a:pt x="435" y="1378"/>
                    </a:lnTo>
                    <a:lnTo>
                      <a:pt x="398" y="1319"/>
                    </a:lnTo>
                    <a:lnTo>
                      <a:pt x="359" y="1311"/>
                    </a:lnTo>
                    <a:lnTo>
                      <a:pt x="267" y="1341"/>
                    </a:lnTo>
                    <a:lnTo>
                      <a:pt x="226" y="1332"/>
                    </a:lnTo>
                    <a:lnTo>
                      <a:pt x="146" y="1272"/>
                    </a:lnTo>
                    <a:lnTo>
                      <a:pt x="123" y="1270"/>
                    </a:lnTo>
                    <a:lnTo>
                      <a:pt x="105" y="1229"/>
                    </a:lnTo>
                    <a:lnTo>
                      <a:pt x="118" y="1189"/>
                    </a:lnTo>
                    <a:lnTo>
                      <a:pt x="113" y="1170"/>
                    </a:lnTo>
                    <a:lnTo>
                      <a:pt x="83" y="1150"/>
                    </a:lnTo>
                    <a:lnTo>
                      <a:pt x="74" y="1131"/>
                    </a:lnTo>
                    <a:lnTo>
                      <a:pt x="11" y="1096"/>
                    </a:lnTo>
                    <a:lnTo>
                      <a:pt x="11" y="1086"/>
                    </a:lnTo>
                    <a:lnTo>
                      <a:pt x="41" y="1074"/>
                    </a:lnTo>
                    <a:lnTo>
                      <a:pt x="58" y="1084"/>
                    </a:lnTo>
                    <a:lnTo>
                      <a:pt x="76" y="1067"/>
                    </a:lnTo>
                    <a:lnTo>
                      <a:pt x="71" y="1007"/>
                    </a:lnTo>
                    <a:lnTo>
                      <a:pt x="76" y="958"/>
                    </a:lnTo>
                    <a:lnTo>
                      <a:pt x="37" y="918"/>
                    </a:lnTo>
                    <a:lnTo>
                      <a:pt x="9" y="926"/>
                    </a:lnTo>
                    <a:lnTo>
                      <a:pt x="0" y="897"/>
                    </a:lnTo>
                    <a:lnTo>
                      <a:pt x="14" y="866"/>
                    </a:lnTo>
                    <a:lnTo>
                      <a:pt x="7" y="840"/>
                    </a:lnTo>
                    <a:lnTo>
                      <a:pt x="34" y="815"/>
                    </a:lnTo>
                    <a:lnTo>
                      <a:pt x="44" y="804"/>
                    </a:lnTo>
                    <a:lnTo>
                      <a:pt x="44" y="783"/>
                    </a:lnTo>
                    <a:lnTo>
                      <a:pt x="81" y="766"/>
                    </a:lnTo>
                    <a:lnTo>
                      <a:pt x="118" y="758"/>
                    </a:lnTo>
                    <a:lnTo>
                      <a:pt x="151" y="746"/>
                    </a:lnTo>
                    <a:lnTo>
                      <a:pt x="177" y="753"/>
                    </a:lnTo>
                    <a:lnTo>
                      <a:pt x="197" y="746"/>
                    </a:lnTo>
                    <a:lnTo>
                      <a:pt x="203" y="750"/>
                    </a:lnTo>
                    <a:lnTo>
                      <a:pt x="207" y="776"/>
                    </a:lnTo>
                    <a:lnTo>
                      <a:pt x="224" y="783"/>
                    </a:lnTo>
                    <a:lnTo>
                      <a:pt x="267" y="780"/>
                    </a:lnTo>
                    <a:lnTo>
                      <a:pt x="314" y="728"/>
                    </a:lnTo>
                    <a:lnTo>
                      <a:pt x="410" y="748"/>
                    </a:lnTo>
                    <a:lnTo>
                      <a:pt x="459" y="713"/>
                    </a:lnTo>
                    <a:lnTo>
                      <a:pt x="602" y="681"/>
                    </a:lnTo>
                    <a:lnTo>
                      <a:pt x="611" y="660"/>
                    </a:lnTo>
                    <a:lnTo>
                      <a:pt x="625" y="606"/>
                    </a:lnTo>
                    <a:lnTo>
                      <a:pt x="664" y="575"/>
                    </a:lnTo>
                    <a:lnTo>
                      <a:pt x="676" y="575"/>
                    </a:lnTo>
                    <a:lnTo>
                      <a:pt x="676" y="560"/>
                    </a:lnTo>
                    <a:lnTo>
                      <a:pt x="680" y="422"/>
                    </a:lnTo>
                    <a:lnTo>
                      <a:pt x="686" y="394"/>
                    </a:lnTo>
                    <a:lnTo>
                      <a:pt x="647" y="380"/>
                    </a:lnTo>
                    <a:lnTo>
                      <a:pt x="645" y="370"/>
                    </a:lnTo>
                    <a:lnTo>
                      <a:pt x="686" y="358"/>
                    </a:lnTo>
                    <a:lnTo>
                      <a:pt x="794" y="349"/>
                    </a:lnTo>
                    <a:lnTo>
                      <a:pt x="807" y="370"/>
                    </a:lnTo>
                    <a:lnTo>
                      <a:pt x="848" y="380"/>
                    </a:lnTo>
                    <a:lnTo>
                      <a:pt x="857" y="380"/>
                    </a:lnTo>
                    <a:lnTo>
                      <a:pt x="872" y="362"/>
                    </a:lnTo>
                    <a:lnTo>
                      <a:pt x="853" y="344"/>
                    </a:lnTo>
                    <a:lnTo>
                      <a:pt x="932" y="183"/>
                    </a:lnTo>
                    <a:lnTo>
                      <a:pt x="944" y="172"/>
                    </a:lnTo>
                    <a:lnTo>
                      <a:pt x="1016" y="207"/>
                    </a:lnTo>
                    <a:lnTo>
                      <a:pt x="1048" y="207"/>
                    </a:lnTo>
                    <a:lnTo>
                      <a:pt x="1063" y="227"/>
                    </a:lnTo>
                    <a:lnTo>
                      <a:pt x="1129" y="207"/>
                    </a:lnTo>
                    <a:lnTo>
                      <a:pt x="1147" y="92"/>
                    </a:lnTo>
                    <a:lnTo>
                      <a:pt x="1175" y="74"/>
                    </a:lnTo>
                    <a:lnTo>
                      <a:pt x="1214" y="71"/>
                    </a:lnTo>
                    <a:lnTo>
                      <a:pt x="1238" y="41"/>
                    </a:lnTo>
                    <a:lnTo>
                      <a:pt x="1245" y="13"/>
                    </a:lnTo>
                    <a:lnTo>
                      <a:pt x="1265" y="0"/>
                    </a:lnTo>
                    <a:lnTo>
                      <a:pt x="1310" y="13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55" name="Freeform 7"/>
              <p:cNvSpPr>
                <a:spLocks/>
              </p:cNvSpPr>
              <p:nvPr/>
            </p:nvSpPr>
            <p:spPr bwMode="auto">
              <a:xfrm>
                <a:off x="5314348" y="2951261"/>
                <a:ext cx="596900" cy="568325"/>
              </a:xfrm>
              <a:custGeom>
                <a:avLst/>
                <a:gdLst>
                  <a:gd name="T0" fmla="*/ 453 w 548"/>
                  <a:gd name="T1" fmla="*/ 368 h 530"/>
                  <a:gd name="T2" fmla="*/ 508 w 548"/>
                  <a:gd name="T3" fmla="*/ 281 h 530"/>
                  <a:gd name="T4" fmla="*/ 547 w 548"/>
                  <a:gd name="T5" fmla="*/ 239 h 530"/>
                  <a:gd name="T6" fmla="*/ 542 w 548"/>
                  <a:gd name="T7" fmla="*/ 197 h 530"/>
                  <a:gd name="T8" fmla="*/ 503 w 548"/>
                  <a:gd name="T9" fmla="*/ 153 h 530"/>
                  <a:gd name="T10" fmla="*/ 497 w 548"/>
                  <a:gd name="T11" fmla="*/ 117 h 530"/>
                  <a:gd name="T12" fmla="*/ 429 w 548"/>
                  <a:gd name="T13" fmla="*/ 22 h 530"/>
                  <a:gd name="T14" fmla="*/ 423 w 548"/>
                  <a:gd name="T15" fmla="*/ 32 h 530"/>
                  <a:gd name="T16" fmla="*/ 411 w 548"/>
                  <a:gd name="T17" fmla="*/ 45 h 530"/>
                  <a:gd name="T18" fmla="*/ 382 w 548"/>
                  <a:gd name="T19" fmla="*/ 13 h 530"/>
                  <a:gd name="T20" fmla="*/ 337 w 548"/>
                  <a:gd name="T21" fmla="*/ 0 h 530"/>
                  <a:gd name="T22" fmla="*/ 337 w 548"/>
                  <a:gd name="T23" fmla="*/ 13 h 530"/>
                  <a:gd name="T24" fmla="*/ 337 w 548"/>
                  <a:gd name="T25" fmla="*/ 32 h 530"/>
                  <a:gd name="T26" fmla="*/ 320 w 548"/>
                  <a:gd name="T27" fmla="*/ 47 h 530"/>
                  <a:gd name="T28" fmla="*/ 283 w 548"/>
                  <a:gd name="T29" fmla="*/ 82 h 530"/>
                  <a:gd name="T30" fmla="*/ 246 w 548"/>
                  <a:gd name="T31" fmla="*/ 82 h 530"/>
                  <a:gd name="T32" fmla="*/ 232 w 548"/>
                  <a:gd name="T33" fmla="*/ 107 h 530"/>
                  <a:gd name="T34" fmla="*/ 218 w 548"/>
                  <a:gd name="T35" fmla="*/ 107 h 530"/>
                  <a:gd name="T36" fmla="*/ 191 w 548"/>
                  <a:gd name="T37" fmla="*/ 134 h 530"/>
                  <a:gd name="T38" fmla="*/ 175 w 548"/>
                  <a:gd name="T39" fmla="*/ 134 h 530"/>
                  <a:gd name="T40" fmla="*/ 144 w 548"/>
                  <a:gd name="T41" fmla="*/ 166 h 530"/>
                  <a:gd name="T42" fmla="*/ 125 w 548"/>
                  <a:gd name="T43" fmla="*/ 171 h 530"/>
                  <a:gd name="T44" fmla="*/ 82 w 548"/>
                  <a:gd name="T45" fmla="*/ 235 h 530"/>
                  <a:gd name="T46" fmla="*/ 55 w 548"/>
                  <a:gd name="T47" fmla="*/ 196 h 530"/>
                  <a:gd name="T48" fmla="*/ 26 w 548"/>
                  <a:gd name="T49" fmla="*/ 176 h 530"/>
                  <a:gd name="T50" fmla="*/ 12 w 548"/>
                  <a:gd name="T51" fmla="*/ 190 h 530"/>
                  <a:gd name="T52" fmla="*/ 28 w 548"/>
                  <a:gd name="T53" fmla="*/ 277 h 530"/>
                  <a:gd name="T54" fmla="*/ 14 w 548"/>
                  <a:gd name="T55" fmla="*/ 307 h 530"/>
                  <a:gd name="T56" fmla="*/ 0 w 548"/>
                  <a:gd name="T57" fmla="*/ 350 h 530"/>
                  <a:gd name="T58" fmla="*/ 42 w 548"/>
                  <a:gd name="T59" fmla="*/ 377 h 530"/>
                  <a:gd name="T60" fmla="*/ 62 w 548"/>
                  <a:gd name="T61" fmla="*/ 380 h 530"/>
                  <a:gd name="T62" fmla="*/ 92 w 548"/>
                  <a:gd name="T63" fmla="*/ 421 h 530"/>
                  <a:gd name="T64" fmla="*/ 115 w 548"/>
                  <a:gd name="T65" fmla="*/ 409 h 530"/>
                  <a:gd name="T66" fmla="*/ 149 w 548"/>
                  <a:gd name="T67" fmla="*/ 368 h 530"/>
                  <a:gd name="T68" fmla="*/ 182 w 548"/>
                  <a:gd name="T69" fmla="*/ 308 h 530"/>
                  <a:gd name="T70" fmla="*/ 240 w 548"/>
                  <a:gd name="T71" fmla="*/ 296 h 530"/>
                  <a:gd name="T72" fmla="*/ 276 w 548"/>
                  <a:gd name="T73" fmla="*/ 332 h 530"/>
                  <a:gd name="T74" fmla="*/ 251 w 548"/>
                  <a:gd name="T75" fmla="*/ 392 h 530"/>
                  <a:gd name="T76" fmla="*/ 218 w 548"/>
                  <a:gd name="T77" fmla="*/ 445 h 530"/>
                  <a:gd name="T78" fmla="*/ 246 w 548"/>
                  <a:gd name="T79" fmla="*/ 467 h 530"/>
                  <a:gd name="T80" fmla="*/ 246 w 548"/>
                  <a:gd name="T81" fmla="*/ 494 h 530"/>
                  <a:gd name="T82" fmla="*/ 223 w 548"/>
                  <a:gd name="T83" fmla="*/ 518 h 530"/>
                  <a:gd name="T84" fmla="*/ 228 w 548"/>
                  <a:gd name="T85" fmla="*/ 529 h 530"/>
                  <a:gd name="T86" fmla="*/ 269 w 548"/>
                  <a:gd name="T87" fmla="*/ 507 h 530"/>
                  <a:gd name="T88" fmla="*/ 330 w 548"/>
                  <a:gd name="T89" fmla="*/ 425 h 530"/>
                  <a:gd name="T90" fmla="*/ 423 w 548"/>
                  <a:gd name="T91" fmla="*/ 374 h 530"/>
                  <a:gd name="T92" fmla="*/ 453 w 548"/>
                  <a:gd name="T93" fmla="*/ 368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48" h="530">
                    <a:moveTo>
                      <a:pt x="453" y="368"/>
                    </a:moveTo>
                    <a:lnTo>
                      <a:pt x="508" y="281"/>
                    </a:lnTo>
                    <a:lnTo>
                      <a:pt x="547" y="239"/>
                    </a:lnTo>
                    <a:lnTo>
                      <a:pt x="542" y="197"/>
                    </a:lnTo>
                    <a:lnTo>
                      <a:pt x="503" y="153"/>
                    </a:lnTo>
                    <a:lnTo>
                      <a:pt x="497" y="117"/>
                    </a:lnTo>
                    <a:lnTo>
                      <a:pt x="429" y="22"/>
                    </a:lnTo>
                    <a:lnTo>
                      <a:pt x="423" y="32"/>
                    </a:lnTo>
                    <a:lnTo>
                      <a:pt x="411" y="45"/>
                    </a:lnTo>
                    <a:lnTo>
                      <a:pt x="382" y="13"/>
                    </a:lnTo>
                    <a:lnTo>
                      <a:pt x="337" y="0"/>
                    </a:lnTo>
                    <a:lnTo>
                      <a:pt x="337" y="13"/>
                    </a:lnTo>
                    <a:lnTo>
                      <a:pt x="337" y="32"/>
                    </a:lnTo>
                    <a:lnTo>
                      <a:pt x="320" y="47"/>
                    </a:lnTo>
                    <a:lnTo>
                      <a:pt x="283" y="82"/>
                    </a:lnTo>
                    <a:lnTo>
                      <a:pt x="246" y="82"/>
                    </a:lnTo>
                    <a:lnTo>
                      <a:pt x="232" y="107"/>
                    </a:lnTo>
                    <a:lnTo>
                      <a:pt x="218" y="107"/>
                    </a:lnTo>
                    <a:lnTo>
                      <a:pt x="191" y="134"/>
                    </a:lnTo>
                    <a:lnTo>
                      <a:pt x="175" y="134"/>
                    </a:lnTo>
                    <a:lnTo>
                      <a:pt x="144" y="166"/>
                    </a:lnTo>
                    <a:lnTo>
                      <a:pt x="125" y="171"/>
                    </a:lnTo>
                    <a:lnTo>
                      <a:pt x="82" y="235"/>
                    </a:lnTo>
                    <a:lnTo>
                      <a:pt x="55" y="196"/>
                    </a:lnTo>
                    <a:lnTo>
                      <a:pt x="26" y="176"/>
                    </a:lnTo>
                    <a:lnTo>
                      <a:pt x="12" y="190"/>
                    </a:lnTo>
                    <a:lnTo>
                      <a:pt x="28" y="277"/>
                    </a:lnTo>
                    <a:lnTo>
                      <a:pt x="14" y="307"/>
                    </a:lnTo>
                    <a:lnTo>
                      <a:pt x="0" y="350"/>
                    </a:lnTo>
                    <a:lnTo>
                      <a:pt x="42" y="377"/>
                    </a:lnTo>
                    <a:lnTo>
                      <a:pt x="62" y="380"/>
                    </a:lnTo>
                    <a:lnTo>
                      <a:pt x="92" y="421"/>
                    </a:lnTo>
                    <a:lnTo>
                      <a:pt x="115" y="409"/>
                    </a:lnTo>
                    <a:lnTo>
                      <a:pt x="149" y="368"/>
                    </a:lnTo>
                    <a:lnTo>
                      <a:pt x="182" y="308"/>
                    </a:lnTo>
                    <a:lnTo>
                      <a:pt x="240" y="296"/>
                    </a:lnTo>
                    <a:lnTo>
                      <a:pt x="276" y="332"/>
                    </a:lnTo>
                    <a:lnTo>
                      <a:pt x="251" y="392"/>
                    </a:lnTo>
                    <a:lnTo>
                      <a:pt x="218" y="445"/>
                    </a:lnTo>
                    <a:lnTo>
                      <a:pt x="246" y="467"/>
                    </a:lnTo>
                    <a:lnTo>
                      <a:pt x="246" y="494"/>
                    </a:lnTo>
                    <a:lnTo>
                      <a:pt x="223" y="518"/>
                    </a:lnTo>
                    <a:lnTo>
                      <a:pt x="228" y="529"/>
                    </a:lnTo>
                    <a:lnTo>
                      <a:pt x="269" y="507"/>
                    </a:lnTo>
                    <a:lnTo>
                      <a:pt x="330" y="425"/>
                    </a:lnTo>
                    <a:lnTo>
                      <a:pt x="423" y="374"/>
                    </a:lnTo>
                    <a:lnTo>
                      <a:pt x="453" y="368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56" name="Freeform 8"/>
              <p:cNvSpPr>
                <a:spLocks/>
              </p:cNvSpPr>
              <p:nvPr/>
            </p:nvSpPr>
            <p:spPr bwMode="auto">
              <a:xfrm>
                <a:off x="5458810" y="2630586"/>
                <a:ext cx="869950" cy="579438"/>
              </a:xfrm>
              <a:custGeom>
                <a:avLst/>
                <a:gdLst>
                  <a:gd name="T0" fmla="*/ 768 w 793"/>
                  <a:gd name="T1" fmla="*/ 148 h 540"/>
                  <a:gd name="T2" fmla="*/ 705 w 793"/>
                  <a:gd name="T3" fmla="*/ 136 h 540"/>
                  <a:gd name="T4" fmla="*/ 681 w 793"/>
                  <a:gd name="T5" fmla="*/ 133 h 540"/>
                  <a:gd name="T6" fmla="*/ 625 w 793"/>
                  <a:gd name="T7" fmla="*/ 163 h 540"/>
                  <a:gd name="T8" fmla="*/ 600 w 793"/>
                  <a:gd name="T9" fmla="*/ 178 h 540"/>
                  <a:gd name="T10" fmla="*/ 554 w 793"/>
                  <a:gd name="T11" fmla="*/ 144 h 540"/>
                  <a:gd name="T12" fmla="*/ 511 w 793"/>
                  <a:gd name="T13" fmla="*/ 108 h 540"/>
                  <a:gd name="T14" fmla="*/ 504 w 793"/>
                  <a:gd name="T15" fmla="*/ 156 h 540"/>
                  <a:gd name="T16" fmla="*/ 460 w 793"/>
                  <a:gd name="T17" fmla="*/ 108 h 540"/>
                  <a:gd name="T18" fmla="*/ 423 w 793"/>
                  <a:gd name="T19" fmla="*/ 70 h 540"/>
                  <a:gd name="T20" fmla="*/ 342 w 793"/>
                  <a:gd name="T21" fmla="*/ 70 h 540"/>
                  <a:gd name="T22" fmla="*/ 301 w 793"/>
                  <a:gd name="T23" fmla="*/ 39 h 540"/>
                  <a:gd name="T24" fmla="*/ 241 w 793"/>
                  <a:gd name="T25" fmla="*/ 61 h 540"/>
                  <a:gd name="T26" fmla="*/ 180 w 793"/>
                  <a:gd name="T27" fmla="*/ 45 h 540"/>
                  <a:gd name="T28" fmla="*/ 98 w 793"/>
                  <a:gd name="T29" fmla="*/ 9 h 540"/>
                  <a:gd name="T30" fmla="*/ 73 w 793"/>
                  <a:gd name="T31" fmla="*/ 66 h 540"/>
                  <a:gd name="T32" fmla="*/ 0 w 793"/>
                  <a:gd name="T33" fmla="*/ 70 h 540"/>
                  <a:gd name="T34" fmla="*/ 39 w 793"/>
                  <a:gd name="T35" fmla="*/ 108 h 540"/>
                  <a:gd name="T36" fmla="*/ 44 w 793"/>
                  <a:gd name="T37" fmla="*/ 176 h 540"/>
                  <a:gd name="T38" fmla="*/ 66 w 793"/>
                  <a:gd name="T39" fmla="*/ 231 h 540"/>
                  <a:gd name="T40" fmla="*/ 130 w 793"/>
                  <a:gd name="T41" fmla="*/ 195 h 540"/>
                  <a:gd name="T42" fmla="*/ 180 w 793"/>
                  <a:gd name="T43" fmla="*/ 296 h 540"/>
                  <a:gd name="T44" fmla="*/ 208 w 793"/>
                  <a:gd name="T45" fmla="*/ 298 h 540"/>
                  <a:gd name="T46" fmla="*/ 283 w 793"/>
                  <a:gd name="T47" fmla="*/ 344 h 540"/>
                  <a:gd name="T48" fmla="*/ 301 w 793"/>
                  <a:gd name="T49" fmla="*/ 320 h 540"/>
                  <a:gd name="T50" fmla="*/ 375 w 793"/>
                  <a:gd name="T51" fmla="*/ 452 h 540"/>
                  <a:gd name="T52" fmla="*/ 418 w 793"/>
                  <a:gd name="T53" fmla="*/ 539 h 540"/>
                  <a:gd name="T54" fmla="*/ 483 w 793"/>
                  <a:gd name="T55" fmla="*/ 426 h 540"/>
                  <a:gd name="T56" fmla="*/ 534 w 793"/>
                  <a:gd name="T57" fmla="*/ 440 h 540"/>
                  <a:gd name="T58" fmla="*/ 609 w 793"/>
                  <a:gd name="T59" fmla="*/ 415 h 540"/>
                  <a:gd name="T60" fmla="*/ 591 w 793"/>
                  <a:gd name="T61" fmla="*/ 364 h 540"/>
                  <a:gd name="T62" fmla="*/ 664 w 793"/>
                  <a:gd name="T63" fmla="*/ 307 h 540"/>
                  <a:gd name="T64" fmla="*/ 694 w 793"/>
                  <a:gd name="T65" fmla="*/ 252 h 540"/>
                  <a:gd name="T66" fmla="*/ 716 w 793"/>
                  <a:gd name="T67" fmla="*/ 220 h 540"/>
                  <a:gd name="T68" fmla="*/ 745 w 793"/>
                  <a:gd name="T69" fmla="*/ 246 h 540"/>
                  <a:gd name="T70" fmla="*/ 792 w 793"/>
                  <a:gd name="T71" fmla="*/ 16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93" h="540">
                    <a:moveTo>
                      <a:pt x="784" y="151"/>
                    </a:moveTo>
                    <a:lnTo>
                      <a:pt x="768" y="148"/>
                    </a:lnTo>
                    <a:lnTo>
                      <a:pt x="742" y="148"/>
                    </a:lnTo>
                    <a:lnTo>
                      <a:pt x="705" y="136"/>
                    </a:lnTo>
                    <a:lnTo>
                      <a:pt x="694" y="115"/>
                    </a:lnTo>
                    <a:lnTo>
                      <a:pt x="681" y="133"/>
                    </a:lnTo>
                    <a:lnTo>
                      <a:pt x="664" y="120"/>
                    </a:lnTo>
                    <a:lnTo>
                      <a:pt x="625" y="163"/>
                    </a:lnTo>
                    <a:lnTo>
                      <a:pt x="618" y="176"/>
                    </a:lnTo>
                    <a:lnTo>
                      <a:pt x="600" y="178"/>
                    </a:lnTo>
                    <a:lnTo>
                      <a:pt x="576" y="151"/>
                    </a:lnTo>
                    <a:lnTo>
                      <a:pt x="554" y="144"/>
                    </a:lnTo>
                    <a:lnTo>
                      <a:pt x="529" y="94"/>
                    </a:lnTo>
                    <a:lnTo>
                      <a:pt x="511" y="108"/>
                    </a:lnTo>
                    <a:lnTo>
                      <a:pt x="517" y="148"/>
                    </a:lnTo>
                    <a:lnTo>
                      <a:pt x="504" y="156"/>
                    </a:lnTo>
                    <a:lnTo>
                      <a:pt x="472" y="122"/>
                    </a:lnTo>
                    <a:lnTo>
                      <a:pt x="460" y="108"/>
                    </a:lnTo>
                    <a:lnTo>
                      <a:pt x="435" y="108"/>
                    </a:lnTo>
                    <a:lnTo>
                      <a:pt x="423" y="70"/>
                    </a:lnTo>
                    <a:lnTo>
                      <a:pt x="388" y="51"/>
                    </a:lnTo>
                    <a:lnTo>
                      <a:pt x="342" y="70"/>
                    </a:lnTo>
                    <a:lnTo>
                      <a:pt x="325" y="66"/>
                    </a:lnTo>
                    <a:lnTo>
                      <a:pt x="301" y="39"/>
                    </a:lnTo>
                    <a:lnTo>
                      <a:pt x="262" y="61"/>
                    </a:lnTo>
                    <a:lnTo>
                      <a:pt x="241" y="61"/>
                    </a:lnTo>
                    <a:lnTo>
                      <a:pt x="216" y="70"/>
                    </a:lnTo>
                    <a:lnTo>
                      <a:pt x="180" y="45"/>
                    </a:lnTo>
                    <a:lnTo>
                      <a:pt x="154" y="0"/>
                    </a:lnTo>
                    <a:lnTo>
                      <a:pt x="98" y="9"/>
                    </a:lnTo>
                    <a:lnTo>
                      <a:pt x="75" y="37"/>
                    </a:lnTo>
                    <a:lnTo>
                      <a:pt x="73" y="66"/>
                    </a:lnTo>
                    <a:lnTo>
                      <a:pt x="7" y="48"/>
                    </a:lnTo>
                    <a:lnTo>
                      <a:pt x="0" y="70"/>
                    </a:lnTo>
                    <a:lnTo>
                      <a:pt x="4" y="82"/>
                    </a:lnTo>
                    <a:lnTo>
                      <a:pt x="39" y="108"/>
                    </a:lnTo>
                    <a:lnTo>
                      <a:pt x="39" y="144"/>
                    </a:lnTo>
                    <a:lnTo>
                      <a:pt x="44" y="176"/>
                    </a:lnTo>
                    <a:lnTo>
                      <a:pt x="64" y="206"/>
                    </a:lnTo>
                    <a:lnTo>
                      <a:pt x="66" y="231"/>
                    </a:lnTo>
                    <a:lnTo>
                      <a:pt x="80" y="241"/>
                    </a:lnTo>
                    <a:lnTo>
                      <a:pt x="130" y="195"/>
                    </a:lnTo>
                    <a:lnTo>
                      <a:pt x="180" y="259"/>
                    </a:lnTo>
                    <a:lnTo>
                      <a:pt x="180" y="296"/>
                    </a:lnTo>
                    <a:lnTo>
                      <a:pt x="208" y="312"/>
                    </a:lnTo>
                    <a:lnTo>
                      <a:pt x="208" y="298"/>
                    </a:lnTo>
                    <a:lnTo>
                      <a:pt x="253" y="312"/>
                    </a:lnTo>
                    <a:lnTo>
                      <a:pt x="283" y="344"/>
                    </a:lnTo>
                    <a:lnTo>
                      <a:pt x="295" y="330"/>
                    </a:lnTo>
                    <a:lnTo>
                      <a:pt x="301" y="320"/>
                    </a:lnTo>
                    <a:lnTo>
                      <a:pt x="368" y="415"/>
                    </a:lnTo>
                    <a:lnTo>
                      <a:pt x="375" y="452"/>
                    </a:lnTo>
                    <a:lnTo>
                      <a:pt x="414" y="495"/>
                    </a:lnTo>
                    <a:lnTo>
                      <a:pt x="418" y="539"/>
                    </a:lnTo>
                    <a:lnTo>
                      <a:pt x="452" y="517"/>
                    </a:lnTo>
                    <a:lnTo>
                      <a:pt x="483" y="426"/>
                    </a:lnTo>
                    <a:lnTo>
                      <a:pt x="499" y="420"/>
                    </a:lnTo>
                    <a:lnTo>
                      <a:pt x="534" y="440"/>
                    </a:lnTo>
                    <a:lnTo>
                      <a:pt x="591" y="433"/>
                    </a:lnTo>
                    <a:lnTo>
                      <a:pt x="609" y="415"/>
                    </a:lnTo>
                    <a:lnTo>
                      <a:pt x="583" y="375"/>
                    </a:lnTo>
                    <a:lnTo>
                      <a:pt x="591" y="364"/>
                    </a:lnTo>
                    <a:lnTo>
                      <a:pt x="642" y="346"/>
                    </a:lnTo>
                    <a:lnTo>
                      <a:pt x="664" y="307"/>
                    </a:lnTo>
                    <a:lnTo>
                      <a:pt x="691" y="294"/>
                    </a:lnTo>
                    <a:lnTo>
                      <a:pt x="694" y="252"/>
                    </a:lnTo>
                    <a:lnTo>
                      <a:pt x="700" y="225"/>
                    </a:lnTo>
                    <a:lnTo>
                      <a:pt x="716" y="220"/>
                    </a:lnTo>
                    <a:lnTo>
                      <a:pt x="729" y="235"/>
                    </a:lnTo>
                    <a:lnTo>
                      <a:pt x="745" y="246"/>
                    </a:lnTo>
                    <a:lnTo>
                      <a:pt x="782" y="199"/>
                    </a:lnTo>
                    <a:lnTo>
                      <a:pt x="792" y="160"/>
                    </a:lnTo>
                    <a:lnTo>
                      <a:pt x="784" y="151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57" name="Freeform 9"/>
              <p:cNvSpPr>
                <a:spLocks/>
              </p:cNvSpPr>
              <p:nvPr/>
            </p:nvSpPr>
            <p:spPr bwMode="auto">
              <a:xfrm>
                <a:off x="3299810" y="4803874"/>
                <a:ext cx="947738" cy="962025"/>
              </a:xfrm>
              <a:custGeom>
                <a:avLst/>
                <a:gdLst>
                  <a:gd name="T0" fmla="*/ 756 w 867"/>
                  <a:gd name="T1" fmla="*/ 139 h 900"/>
                  <a:gd name="T2" fmla="*/ 695 w 867"/>
                  <a:gd name="T3" fmla="*/ 156 h 900"/>
                  <a:gd name="T4" fmla="*/ 671 w 867"/>
                  <a:gd name="T5" fmla="*/ 110 h 900"/>
                  <a:gd name="T6" fmla="*/ 658 w 867"/>
                  <a:gd name="T7" fmla="*/ 78 h 900"/>
                  <a:gd name="T8" fmla="*/ 616 w 867"/>
                  <a:gd name="T9" fmla="*/ 80 h 900"/>
                  <a:gd name="T10" fmla="*/ 591 w 867"/>
                  <a:gd name="T11" fmla="*/ 117 h 900"/>
                  <a:gd name="T12" fmla="*/ 591 w 867"/>
                  <a:gd name="T13" fmla="*/ 157 h 900"/>
                  <a:gd name="T14" fmla="*/ 540 w 867"/>
                  <a:gd name="T15" fmla="*/ 313 h 900"/>
                  <a:gd name="T16" fmla="*/ 497 w 867"/>
                  <a:gd name="T17" fmla="*/ 322 h 900"/>
                  <a:gd name="T18" fmla="*/ 416 w 867"/>
                  <a:gd name="T19" fmla="*/ 345 h 900"/>
                  <a:gd name="T20" fmla="*/ 296 w 867"/>
                  <a:gd name="T21" fmla="*/ 156 h 900"/>
                  <a:gd name="T22" fmla="*/ 255 w 867"/>
                  <a:gd name="T23" fmla="*/ 124 h 900"/>
                  <a:gd name="T24" fmla="*/ 245 w 867"/>
                  <a:gd name="T25" fmla="*/ 80 h 900"/>
                  <a:gd name="T26" fmla="*/ 188 w 867"/>
                  <a:gd name="T27" fmla="*/ 110 h 900"/>
                  <a:gd name="T28" fmla="*/ 163 w 867"/>
                  <a:gd name="T29" fmla="*/ 0 h 900"/>
                  <a:gd name="T30" fmla="*/ 121 w 867"/>
                  <a:gd name="T31" fmla="*/ 44 h 900"/>
                  <a:gd name="T32" fmla="*/ 116 w 867"/>
                  <a:gd name="T33" fmla="*/ 112 h 900"/>
                  <a:gd name="T34" fmla="*/ 88 w 867"/>
                  <a:gd name="T35" fmla="*/ 100 h 900"/>
                  <a:gd name="T36" fmla="*/ 88 w 867"/>
                  <a:gd name="T37" fmla="*/ 182 h 900"/>
                  <a:gd name="T38" fmla="*/ 121 w 867"/>
                  <a:gd name="T39" fmla="*/ 192 h 900"/>
                  <a:gd name="T40" fmla="*/ 117 w 867"/>
                  <a:gd name="T41" fmla="*/ 367 h 900"/>
                  <a:gd name="T42" fmla="*/ 20 w 867"/>
                  <a:gd name="T43" fmla="*/ 482 h 900"/>
                  <a:gd name="T44" fmla="*/ 0 w 867"/>
                  <a:gd name="T45" fmla="*/ 514 h 900"/>
                  <a:gd name="T46" fmla="*/ 2 w 867"/>
                  <a:gd name="T47" fmla="*/ 583 h 900"/>
                  <a:gd name="T48" fmla="*/ 57 w 867"/>
                  <a:gd name="T49" fmla="*/ 572 h 900"/>
                  <a:gd name="T50" fmla="*/ 116 w 867"/>
                  <a:gd name="T51" fmla="*/ 597 h 900"/>
                  <a:gd name="T52" fmla="*/ 133 w 867"/>
                  <a:gd name="T53" fmla="*/ 660 h 900"/>
                  <a:gd name="T54" fmla="*/ 179 w 867"/>
                  <a:gd name="T55" fmla="*/ 672 h 900"/>
                  <a:gd name="T56" fmla="*/ 177 w 867"/>
                  <a:gd name="T57" fmla="*/ 709 h 900"/>
                  <a:gd name="T58" fmla="*/ 160 w 867"/>
                  <a:gd name="T59" fmla="*/ 775 h 900"/>
                  <a:gd name="T60" fmla="*/ 195 w 867"/>
                  <a:gd name="T61" fmla="*/ 790 h 900"/>
                  <a:gd name="T62" fmla="*/ 230 w 867"/>
                  <a:gd name="T63" fmla="*/ 820 h 900"/>
                  <a:gd name="T64" fmla="*/ 297 w 867"/>
                  <a:gd name="T65" fmla="*/ 861 h 900"/>
                  <a:gd name="T66" fmla="*/ 361 w 867"/>
                  <a:gd name="T67" fmla="*/ 841 h 900"/>
                  <a:gd name="T68" fmla="*/ 368 w 867"/>
                  <a:gd name="T69" fmla="*/ 882 h 900"/>
                  <a:gd name="T70" fmla="*/ 409 w 867"/>
                  <a:gd name="T71" fmla="*/ 891 h 900"/>
                  <a:gd name="T72" fmla="*/ 428 w 867"/>
                  <a:gd name="T73" fmla="*/ 886 h 900"/>
                  <a:gd name="T74" fmla="*/ 410 w 867"/>
                  <a:gd name="T75" fmla="*/ 775 h 900"/>
                  <a:gd name="T76" fmla="*/ 465 w 867"/>
                  <a:gd name="T77" fmla="*/ 756 h 900"/>
                  <a:gd name="T78" fmla="*/ 497 w 867"/>
                  <a:gd name="T79" fmla="*/ 728 h 900"/>
                  <a:gd name="T80" fmla="*/ 578 w 867"/>
                  <a:gd name="T81" fmla="*/ 726 h 900"/>
                  <a:gd name="T82" fmla="*/ 616 w 867"/>
                  <a:gd name="T83" fmla="*/ 721 h 900"/>
                  <a:gd name="T84" fmla="*/ 647 w 867"/>
                  <a:gd name="T85" fmla="*/ 745 h 900"/>
                  <a:gd name="T86" fmla="*/ 676 w 867"/>
                  <a:gd name="T87" fmla="*/ 714 h 900"/>
                  <a:gd name="T88" fmla="*/ 713 w 867"/>
                  <a:gd name="T89" fmla="*/ 716 h 900"/>
                  <a:gd name="T90" fmla="*/ 762 w 867"/>
                  <a:gd name="T91" fmla="*/ 660 h 900"/>
                  <a:gd name="T92" fmla="*/ 809 w 867"/>
                  <a:gd name="T93" fmla="*/ 672 h 900"/>
                  <a:gd name="T94" fmla="*/ 846 w 867"/>
                  <a:gd name="T95" fmla="*/ 636 h 900"/>
                  <a:gd name="T96" fmla="*/ 866 w 867"/>
                  <a:gd name="T97" fmla="*/ 595 h 900"/>
                  <a:gd name="T98" fmla="*/ 771 w 867"/>
                  <a:gd name="T99" fmla="*/ 561 h 900"/>
                  <a:gd name="T100" fmla="*/ 734 w 867"/>
                  <a:gd name="T101" fmla="*/ 538 h 900"/>
                  <a:gd name="T102" fmla="*/ 694 w 867"/>
                  <a:gd name="T103" fmla="*/ 512 h 900"/>
                  <a:gd name="T104" fmla="*/ 706 w 867"/>
                  <a:gd name="T105" fmla="*/ 438 h 900"/>
                  <a:gd name="T106" fmla="*/ 695 w 867"/>
                  <a:gd name="T107" fmla="*/ 302 h 900"/>
                  <a:gd name="T108" fmla="*/ 628 w 867"/>
                  <a:gd name="T109" fmla="*/ 306 h 900"/>
                  <a:gd name="T110" fmla="*/ 616 w 867"/>
                  <a:gd name="T111" fmla="*/ 258 h 900"/>
                  <a:gd name="T112" fmla="*/ 630 w 867"/>
                  <a:gd name="T113" fmla="*/ 210 h 900"/>
                  <a:gd name="T114" fmla="*/ 671 w 867"/>
                  <a:gd name="T115" fmla="*/ 207 h 900"/>
                  <a:gd name="T116" fmla="*/ 752 w 867"/>
                  <a:gd name="T117" fmla="*/ 207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67" h="900">
                    <a:moveTo>
                      <a:pt x="762" y="165"/>
                    </a:moveTo>
                    <a:lnTo>
                      <a:pt x="756" y="139"/>
                    </a:lnTo>
                    <a:lnTo>
                      <a:pt x="734" y="133"/>
                    </a:lnTo>
                    <a:lnTo>
                      <a:pt x="695" y="156"/>
                    </a:lnTo>
                    <a:lnTo>
                      <a:pt x="671" y="142"/>
                    </a:lnTo>
                    <a:lnTo>
                      <a:pt x="671" y="110"/>
                    </a:lnTo>
                    <a:lnTo>
                      <a:pt x="658" y="96"/>
                    </a:lnTo>
                    <a:lnTo>
                      <a:pt x="658" y="78"/>
                    </a:lnTo>
                    <a:lnTo>
                      <a:pt x="623" y="72"/>
                    </a:lnTo>
                    <a:lnTo>
                      <a:pt x="616" y="80"/>
                    </a:lnTo>
                    <a:lnTo>
                      <a:pt x="621" y="105"/>
                    </a:lnTo>
                    <a:lnTo>
                      <a:pt x="591" y="117"/>
                    </a:lnTo>
                    <a:lnTo>
                      <a:pt x="585" y="134"/>
                    </a:lnTo>
                    <a:lnTo>
                      <a:pt x="591" y="157"/>
                    </a:lnTo>
                    <a:lnTo>
                      <a:pt x="528" y="229"/>
                    </a:lnTo>
                    <a:lnTo>
                      <a:pt x="540" y="313"/>
                    </a:lnTo>
                    <a:lnTo>
                      <a:pt x="510" y="337"/>
                    </a:lnTo>
                    <a:lnTo>
                      <a:pt x="497" y="322"/>
                    </a:lnTo>
                    <a:lnTo>
                      <a:pt x="437" y="357"/>
                    </a:lnTo>
                    <a:lnTo>
                      <a:pt x="416" y="345"/>
                    </a:lnTo>
                    <a:lnTo>
                      <a:pt x="329" y="180"/>
                    </a:lnTo>
                    <a:lnTo>
                      <a:pt x="296" y="156"/>
                    </a:lnTo>
                    <a:lnTo>
                      <a:pt x="268" y="147"/>
                    </a:lnTo>
                    <a:lnTo>
                      <a:pt x="255" y="124"/>
                    </a:lnTo>
                    <a:lnTo>
                      <a:pt x="271" y="100"/>
                    </a:lnTo>
                    <a:lnTo>
                      <a:pt x="245" y="80"/>
                    </a:lnTo>
                    <a:lnTo>
                      <a:pt x="217" y="105"/>
                    </a:lnTo>
                    <a:lnTo>
                      <a:pt x="188" y="110"/>
                    </a:lnTo>
                    <a:lnTo>
                      <a:pt x="167" y="22"/>
                    </a:lnTo>
                    <a:lnTo>
                      <a:pt x="163" y="0"/>
                    </a:lnTo>
                    <a:lnTo>
                      <a:pt x="133" y="37"/>
                    </a:lnTo>
                    <a:lnTo>
                      <a:pt x="121" y="44"/>
                    </a:lnTo>
                    <a:lnTo>
                      <a:pt x="122" y="100"/>
                    </a:lnTo>
                    <a:lnTo>
                      <a:pt x="116" y="112"/>
                    </a:lnTo>
                    <a:lnTo>
                      <a:pt x="100" y="112"/>
                    </a:lnTo>
                    <a:lnTo>
                      <a:pt x="88" y="100"/>
                    </a:lnTo>
                    <a:lnTo>
                      <a:pt x="73" y="117"/>
                    </a:lnTo>
                    <a:lnTo>
                      <a:pt x="88" y="182"/>
                    </a:lnTo>
                    <a:lnTo>
                      <a:pt x="105" y="182"/>
                    </a:lnTo>
                    <a:lnTo>
                      <a:pt x="121" y="192"/>
                    </a:lnTo>
                    <a:lnTo>
                      <a:pt x="125" y="231"/>
                    </a:lnTo>
                    <a:lnTo>
                      <a:pt x="117" y="367"/>
                    </a:lnTo>
                    <a:lnTo>
                      <a:pt x="25" y="451"/>
                    </a:lnTo>
                    <a:lnTo>
                      <a:pt x="20" y="482"/>
                    </a:lnTo>
                    <a:lnTo>
                      <a:pt x="2" y="496"/>
                    </a:lnTo>
                    <a:lnTo>
                      <a:pt x="0" y="514"/>
                    </a:lnTo>
                    <a:lnTo>
                      <a:pt x="15" y="553"/>
                    </a:lnTo>
                    <a:lnTo>
                      <a:pt x="2" y="583"/>
                    </a:lnTo>
                    <a:lnTo>
                      <a:pt x="10" y="585"/>
                    </a:lnTo>
                    <a:lnTo>
                      <a:pt x="57" y="572"/>
                    </a:lnTo>
                    <a:lnTo>
                      <a:pt x="122" y="571"/>
                    </a:lnTo>
                    <a:lnTo>
                      <a:pt x="116" y="597"/>
                    </a:lnTo>
                    <a:lnTo>
                      <a:pt x="127" y="622"/>
                    </a:lnTo>
                    <a:lnTo>
                      <a:pt x="133" y="660"/>
                    </a:lnTo>
                    <a:lnTo>
                      <a:pt x="140" y="672"/>
                    </a:lnTo>
                    <a:lnTo>
                      <a:pt x="179" y="672"/>
                    </a:lnTo>
                    <a:lnTo>
                      <a:pt x="197" y="684"/>
                    </a:lnTo>
                    <a:lnTo>
                      <a:pt x="177" y="709"/>
                    </a:lnTo>
                    <a:lnTo>
                      <a:pt x="175" y="740"/>
                    </a:lnTo>
                    <a:lnTo>
                      <a:pt x="160" y="775"/>
                    </a:lnTo>
                    <a:lnTo>
                      <a:pt x="170" y="788"/>
                    </a:lnTo>
                    <a:lnTo>
                      <a:pt x="195" y="790"/>
                    </a:lnTo>
                    <a:lnTo>
                      <a:pt x="236" y="806"/>
                    </a:lnTo>
                    <a:lnTo>
                      <a:pt x="230" y="820"/>
                    </a:lnTo>
                    <a:lnTo>
                      <a:pt x="257" y="861"/>
                    </a:lnTo>
                    <a:lnTo>
                      <a:pt x="297" y="861"/>
                    </a:lnTo>
                    <a:lnTo>
                      <a:pt x="347" y="831"/>
                    </a:lnTo>
                    <a:lnTo>
                      <a:pt x="361" y="841"/>
                    </a:lnTo>
                    <a:lnTo>
                      <a:pt x="361" y="856"/>
                    </a:lnTo>
                    <a:lnTo>
                      <a:pt x="368" y="882"/>
                    </a:lnTo>
                    <a:lnTo>
                      <a:pt x="381" y="894"/>
                    </a:lnTo>
                    <a:lnTo>
                      <a:pt x="409" y="891"/>
                    </a:lnTo>
                    <a:lnTo>
                      <a:pt x="418" y="899"/>
                    </a:lnTo>
                    <a:lnTo>
                      <a:pt x="428" y="886"/>
                    </a:lnTo>
                    <a:lnTo>
                      <a:pt x="428" y="848"/>
                    </a:lnTo>
                    <a:lnTo>
                      <a:pt x="410" y="775"/>
                    </a:lnTo>
                    <a:lnTo>
                      <a:pt x="423" y="756"/>
                    </a:lnTo>
                    <a:lnTo>
                      <a:pt x="465" y="756"/>
                    </a:lnTo>
                    <a:lnTo>
                      <a:pt x="474" y="756"/>
                    </a:lnTo>
                    <a:lnTo>
                      <a:pt x="497" y="728"/>
                    </a:lnTo>
                    <a:lnTo>
                      <a:pt x="555" y="745"/>
                    </a:lnTo>
                    <a:lnTo>
                      <a:pt x="578" y="726"/>
                    </a:lnTo>
                    <a:lnTo>
                      <a:pt x="591" y="738"/>
                    </a:lnTo>
                    <a:lnTo>
                      <a:pt x="616" y="721"/>
                    </a:lnTo>
                    <a:lnTo>
                      <a:pt x="640" y="745"/>
                    </a:lnTo>
                    <a:lnTo>
                      <a:pt x="647" y="745"/>
                    </a:lnTo>
                    <a:lnTo>
                      <a:pt x="656" y="733"/>
                    </a:lnTo>
                    <a:lnTo>
                      <a:pt x="676" y="714"/>
                    </a:lnTo>
                    <a:lnTo>
                      <a:pt x="683" y="721"/>
                    </a:lnTo>
                    <a:lnTo>
                      <a:pt x="713" y="716"/>
                    </a:lnTo>
                    <a:lnTo>
                      <a:pt x="738" y="693"/>
                    </a:lnTo>
                    <a:lnTo>
                      <a:pt x="762" y="660"/>
                    </a:lnTo>
                    <a:lnTo>
                      <a:pt x="792" y="655"/>
                    </a:lnTo>
                    <a:lnTo>
                      <a:pt x="809" y="672"/>
                    </a:lnTo>
                    <a:lnTo>
                      <a:pt x="821" y="637"/>
                    </a:lnTo>
                    <a:lnTo>
                      <a:pt x="846" y="636"/>
                    </a:lnTo>
                    <a:lnTo>
                      <a:pt x="856" y="627"/>
                    </a:lnTo>
                    <a:lnTo>
                      <a:pt x="866" y="595"/>
                    </a:lnTo>
                    <a:lnTo>
                      <a:pt x="854" y="578"/>
                    </a:lnTo>
                    <a:lnTo>
                      <a:pt x="771" y="561"/>
                    </a:lnTo>
                    <a:lnTo>
                      <a:pt x="756" y="538"/>
                    </a:lnTo>
                    <a:lnTo>
                      <a:pt x="734" y="538"/>
                    </a:lnTo>
                    <a:lnTo>
                      <a:pt x="708" y="538"/>
                    </a:lnTo>
                    <a:lnTo>
                      <a:pt x="694" y="512"/>
                    </a:lnTo>
                    <a:lnTo>
                      <a:pt x="694" y="496"/>
                    </a:lnTo>
                    <a:lnTo>
                      <a:pt x="706" y="438"/>
                    </a:lnTo>
                    <a:lnTo>
                      <a:pt x="671" y="405"/>
                    </a:lnTo>
                    <a:lnTo>
                      <a:pt x="695" y="302"/>
                    </a:lnTo>
                    <a:lnTo>
                      <a:pt x="681" y="288"/>
                    </a:lnTo>
                    <a:lnTo>
                      <a:pt x="628" y="306"/>
                    </a:lnTo>
                    <a:lnTo>
                      <a:pt x="616" y="283"/>
                    </a:lnTo>
                    <a:lnTo>
                      <a:pt x="616" y="258"/>
                    </a:lnTo>
                    <a:lnTo>
                      <a:pt x="603" y="246"/>
                    </a:lnTo>
                    <a:lnTo>
                      <a:pt x="630" y="210"/>
                    </a:lnTo>
                    <a:lnTo>
                      <a:pt x="658" y="219"/>
                    </a:lnTo>
                    <a:lnTo>
                      <a:pt x="671" y="207"/>
                    </a:lnTo>
                    <a:lnTo>
                      <a:pt x="725" y="214"/>
                    </a:lnTo>
                    <a:lnTo>
                      <a:pt x="752" y="207"/>
                    </a:lnTo>
                    <a:lnTo>
                      <a:pt x="762" y="165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58" name="Freeform 10"/>
              <p:cNvSpPr>
                <a:spLocks/>
              </p:cNvSpPr>
              <p:nvPr/>
            </p:nvSpPr>
            <p:spPr bwMode="auto">
              <a:xfrm>
                <a:off x="5031773" y="4603849"/>
                <a:ext cx="493712" cy="673100"/>
              </a:xfrm>
              <a:custGeom>
                <a:avLst/>
                <a:gdLst>
                  <a:gd name="T0" fmla="*/ 9 w 449"/>
                  <a:gd name="T1" fmla="*/ 138 h 630"/>
                  <a:gd name="T2" fmla="*/ 38 w 449"/>
                  <a:gd name="T3" fmla="*/ 194 h 630"/>
                  <a:gd name="T4" fmla="*/ 40 w 449"/>
                  <a:gd name="T5" fmla="*/ 223 h 630"/>
                  <a:gd name="T6" fmla="*/ 27 w 449"/>
                  <a:gd name="T7" fmla="*/ 253 h 630"/>
                  <a:gd name="T8" fmla="*/ 4 w 449"/>
                  <a:gd name="T9" fmla="*/ 270 h 630"/>
                  <a:gd name="T10" fmla="*/ 0 w 449"/>
                  <a:gd name="T11" fmla="*/ 322 h 630"/>
                  <a:gd name="T12" fmla="*/ 7 w 449"/>
                  <a:gd name="T13" fmla="*/ 331 h 630"/>
                  <a:gd name="T14" fmla="*/ 19 w 449"/>
                  <a:gd name="T15" fmla="*/ 326 h 630"/>
                  <a:gd name="T16" fmla="*/ 27 w 449"/>
                  <a:gd name="T17" fmla="*/ 331 h 630"/>
                  <a:gd name="T18" fmla="*/ 27 w 449"/>
                  <a:gd name="T19" fmla="*/ 366 h 630"/>
                  <a:gd name="T20" fmla="*/ 40 w 449"/>
                  <a:gd name="T21" fmla="*/ 405 h 630"/>
                  <a:gd name="T22" fmla="*/ 58 w 449"/>
                  <a:gd name="T23" fmla="*/ 412 h 630"/>
                  <a:gd name="T24" fmla="*/ 61 w 449"/>
                  <a:gd name="T25" fmla="*/ 471 h 630"/>
                  <a:gd name="T26" fmla="*/ 50 w 449"/>
                  <a:gd name="T27" fmla="*/ 510 h 630"/>
                  <a:gd name="T28" fmla="*/ 61 w 449"/>
                  <a:gd name="T29" fmla="*/ 528 h 630"/>
                  <a:gd name="T30" fmla="*/ 81 w 449"/>
                  <a:gd name="T31" fmla="*/ 547 h 630"/>
                  <a:gd name="T32" fmla="*/ 126 w 449"/>
                  <a:gd name="T33" fmla="*/ 535 h 630"/>
                  <a:gd name="T34" fmla="*/ 136 w 449"/>
                  <a:gd name="T35" fmla="*/ 553 h 630"/>
                  <a:gd name="T36" fmla="*/ 120 w 449"/>
                  <a:gd name="T37" fmla="*/ 572 h 630"/>
                  <a:gd name="T38" fmla="*/ 97 w 449"/>
                  <a:gd name="T39" fmla="*/ 608 h 630"/>
                  <a:gd name="T40" fmla="*/ 97 w 449"/>
                  <a:gd name="T41" fmla="*/ 618 h 630"/>
                  <a:gd name="T42" fmla="*/ 112 w 449"/>
                  <a:gd name="T43" fmla="*/ 629 h 630"/>
                  <a:gd name="T44" fmla="*/ 209 w 449"/>
                  <a:gd name="T45" fmla="*/ 588 h 630"/>
                  <a:gd name="T46" fmla="*/ 244 w 449"/>
                  <a:gd name="T47" fmla="*/ 608 h 630"/>
                  <a:gd name="T48" fmla="*/ 253 w 449"/>
                  <a:gd name="T49" fmla="*/ 598 h 630"/>
                  <a:gd name="T50" fmla="*/ 244 w 449"/>
                  <a:gd name="T51" fmla="*/ 576 h 630"/>
                  <a:gd name="T52" fmla="*/ 246 w 449"/>
                  <a:gd name="T53" fmla="*/ 562 h 630"/>
                  <a:gd name="T54" fmla="*/ 261 w 449"/>
                  <a:gd name="T55" fmla="*/ 472 h 630"/>
                  <a:gd name="T56" fmla="*/ 275 w 449"/>
                  <a:gd name="T57" fmla="*/ 452 h 630"/>
                  <a:gd name="T58" fmla="*/ 282 w 449"/>
                  <a:gd name="T59" fmla="*/ 427 h 630"/>
                  <a:gd name="T60" fmla="*/ 299 w 449"/>
                  <a:gd name="T61" fmla="*/ 390 h 630"/>
                  <a:gd name="T62" fmla="*/ 289 w 449"/>
                  <a:gd name="T63" fmla="*/ 375 h 630"/>
                  <a:gd name="T64" fmla="*/ 292 w 449"/>
                  <a:gd name="T65" fmla="*/ 344 h 630"/>
                  <a:gd name="T66" fmla="*/ 334 w 449"/>
                  <a:gd name="T67" fmla="*/ 296 h 630"/>
                  <a:gd name="T68" fmla="*/ 333 w 449"/>
                  <a:gd name="T69" fmla="*/ 264 h 630"/>
                  <a:gd name="T70" fmla="*/ 358 w 449"/>
                  <a:gd name="T71" fmla="*/ 218 h 630"/>
                  <a:gd name="T72" fmla="*/ 385 w 449"/>
                  <a:gd name="T73" fmla="*/ 226 h 630"/>
                  <a:gd name="T74" fmla="*/ 438 w 449"/>
                  <a:gd name="T75" fmla="*/ 186 h 630"/>
                  <a:gd name="T76" fmla="*/ 448 w 449"/>
                  <a:gd name="T77" fmla="*/ 166 h 630"/>
                  <a:gd name="T78" fmla="*/ 414 w 449"/>
                  <a:gd name="T79" fmla="*/ 103 h 630"/>
                  <a:gd name="T80" fmla="*/ 392 w 449"/>
                  <a:gd name="T81" fmla="*/ 70 h 630"/>
                  <a:gd name="T82" fmla="*/ 408 w 449"/>
                  <a:gd name="T83" fmla="*/ 56 h 630"/>
                  <a:gd name="T84" fmla="*/ 388 w 449"/>
                  <a:gd name="T85" fmla="*/ 37 h 630"/>
                  <a:gd name="T86" fmla="*/ 336 w 449"/>
                  <a:gd name="T87" fmla="*/ 37 h 630"/>
                  <a:gd name="T88" fmla="*/ 315 w 449"/>
                  <a:gd name="T89" fmla="*/ 12 h 630"/>
                  <a:gd name="T90" fmla="*/ 273 w 449"/>
                  <a:gd name="T91" fmla="*/ 54 h 630"/>
                  <a:gd name="T92" fmla="*/ 258 w 449"/>
                  <a:gd name="T93" fmla="*/ 46 h 630"/>
                  <a:gd name="T94" fmla="*/ 275 w 449"/>
                  <a:gd name="T95" fmla="*/ 14 h 630"/>
                  <a:gd name="T96" fmla="*/ 273 w 449"/>
                  <a:gd name="T97" fmla="*/ 4 h 630"/>
                  <a:gd name="T98" fmla="*/ 258 w 449"/>
                  <a:gd name="T99" fmla="*/ 0 h 630"/>
                  <a:gd name="T100" fmla="*/ 209 w 449"/>
                  <a:gd name="T101" fmla="*/ 27 h 630"/>
                  <a:gd name="T102" fmla="*/ 171 w 449"/>
                  <a:gd name="T103" fmla="*/ 39 h 630"/>
                  <a:gd name="T104" fmla="*/ 138 w 449"/>
                  <a:gd name="T105" fmla="*/ 37 h 630"/>
                  <a:gd name="T106" fmla="*/ 70 w 449"/>
                  <a:gd name="T107" fmla="*/ 100 h 630"/>
                  <a:gd name="T108" fmla="*/ 34 w 449"/>
                  <a:gd name="T109" fmla="*/ 112 h 630"/>
                  <a:gd name="T110" fmla="*/ 9 w 449"/>
                  <a:gd name="T111" fmla="*/ 138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49" h="630">
                    <a:moveTo>
                      <a:pt x="9" y="138"/>
                    </a:moveTo>
                    <a:lnTo>
                      <a:pt x="38" y="194"/>
                    </a:lnTo>
                    <a:lnTo>
                      <a:pt x="40" y="223"/>
                    </a:lnTo>
                    <a:lnTo>
                      <a:pt x="27" y="253"/>
                    </a:lnTo>
                    <a:lnTo>
                      <a:pt x="4" y="270"/>
                    </a:lnTo>
                    <a:lnTo>
                      <a:pt x="0" y="322"/>
                    </a:lnTo>
                    <a:lnTo>
                      <a:pt x="7" y="331"/>
                    </a:lnTo>
                    <a:lnTo>
                      <a:pt x="19" y="326"/>
                    </a:lnTo>
                    <a:lnTo>
                      <a:pt x="27" y="331"/>
                    </a:lnTo>
                    <a:lnTo>
                      <a:pt x="27" y="366"/>
                    </a:lnTo>
                    <a:lnTo>
                      <a:pt x="40" y="405"/>
                    </a:lnTo>
                    <a:lnTo>
                      <a:pt x="58" y="412"/>
                    </a:lnTo>
                    <a:lnTo>
                      <a:pt x="61" y="471"/>
                    </a:lnTo>
                    <a:lnTo>
                      <a:pt x="50" y="510"/>
                    </a:lnTo>
                    <a:lnTo>
                      <a:pt x="61" y="528"/>
                    </a:lnTo>
                    <a:lnTo>
                      <a:pt x="81" y="547"/>
                    </a:lnTo>
                    <a:lnTo>
                      <a:pt x="126" y="535"/>
                    </a:lnTo>
                    <a:lnTo>
                      <a:pt x="136" y="553"/>
                    </a:lnTo>
                    <a:lnTo>
                      <a:pt x="120" y="572"/>
                    </a:lnTo>
                    <a:lnTo>
                      <a:pt x="97" y="608"/>
                    </a:lnTo>
                    <a:lnTo>
                      <a:pt x="97" y="618"/>
                    </a:lnTo>
                    <a:lnTo>
                      <a:pt x="112" y="629"/>
                    </a:lnTo>
                    <a:lnTo>
                      <a:pt x="209" y="588"/>
                    </a:lnTo>
                    <a:lnTo>
                      <a:pt x="244" y="608"/>
                    </a:lnTo>
                    <a:lnTo>
                      <a:pt x="253" y="598"/>
                    </a:lnTo>
                    <a:lnTo>
                      <a:pt x="244" y="576"/>
                    </a:lnTo>
                    <a:lnTo>
                      <a:pt x="246" y="562"/>
                    </a:lnTo>
                    <a:lnTo>
                      <a:pt x="261" y="472"/>
                    </a:lnTo>
                    <a:lnTo>
                      <a:pt x="275" y="452"/>
                    </a:lnTo>
                    <a:lnTo>
                      <a:pt x="282" y="427"/>
                    </a:lnTo>
                    <a:lnTo>
                      <a:pt x="299" y="390"/>
                    </a:lnTo>
                    <a:lnTo>
                      <a:pt x="289" y="375"/>
                    </a:lnTo>
                    <a:lnTo>
                      <a:pt x="292" y="344"/>
                    </a:lnTo>
                    <a:lnTo>
                      <a:pt x="334" y="296"/>
                    </a:lnTo>
                    <a:lnTo>
                      <a:pt x="333" y="264"/>
                    </a:lnTo>
                    <a:lnTo>
                      <a:pt x="358" y="218"/>
                    </a:lnTo>
                    <a:lnTo>
                      <a:pt x="385" y="226"/>
                    </a:lnTo>
                    <a:lnTo>
                      <a:pt x="438" y="186"/>
                    </a:lnTo>
                    <a:lnTo>
                      <a:pt x="448" y="166"/>
                    </a:lnTo>
                    <a:lnTo>
                      <a:pt x="414" y="103"/>
                    </a:lnTo>
                    <a:lnTo>
                      <a:pt x="392" y="70"/>
                    </a:lnTo>
                    <a:lnTo>
                      <a:pt x="408" y="56"/>
                    </a:lnTo>
                    <a:lnTo>
                      <a:pt x="388" y="37"/>
                    </a:lnTo>
                    <a:lnTo>
                      <a:pt x="336" y="37"/>
                    </a:lnTo>
                    <a:lnTo>
                      <a:pt x="315" y="12"/>
                    </a:lnTo>
                    <a:lnTo>
                      <a:pt x="273" y="54"/>
                    </a:lnTo>
                    <a:lnTo>
                      <a:pt x="258" y="46"/>
                    </a:lnTo>
                    <a:lnTo>
                      <a:pt x="275" y="14"/>
                    </a:lnTo>
                    <a:lnTo>
                      <a:pt x="273" y="4"/>
                    </a:lnTo>
                    <a:lnTo>
                      <a:pt x="258" y="0"/>
                    </a:lnTo>
                    <a:lnTo>
                      <a:pt x="209" y="27"/>
                    </a:lnTo>
                    <a:lnTo>
                      <a:pt x="171" y="39"/>
                    </a:lnTo>
                    <a:lnTo>
                      <a:pt x="138" y="37"/>
                    </a:lnTo>
                    <a:lnTo>
                      <a:pt x="70" y="100"/>
                    </a:lnTo>
                    <a:lnTo>
                      <a:pt x="34" y="112"/>
                    </a:lnTo>
                    <a:lnTo>
                      <a:pt x="9" y="138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59" name="Freeform 11"/>
              <p:cNvSpPr>
                <a:spLocks/>
              </p:cNvSpPr>
              <p:nvPr/>
            </p:nvSpPr>
            <p:spPr bwMode="auto">
              <a:xfrm>
                <a:off x="3960210" y="4800699"/>
                <a:ext cx="657225" cy="541337"/>
              </a:xfrm>
              <a:custGeom>
                <a:avLst/>
                <a:gdLst>
                  <a:gd name="T0" fmla="*/ 163 w 600"/>
                  <a:gd name="T1" fmla="*/ 169 h 506"/>
                  <a:gd name="T2" fmla="*/ 152 w 600"/>
                  <a:gd name="T3" fmla="*/ 210 h 506"/>
                  <a:gd name="T4" fmla="*/ 126 w 600"/>
                  <a:gd name="T5" fmla="*/ 217 h 506"/>
                  <a:gd name="T6" fmla="*/ 70 w 600"/>
                  <a:gd name="T7" fmla="*/ 210 h 506"/>
                  <a:gd name="T8" fmla="*/ 57 w 600"/>
                  <a:gd name="T9" fmla="*/ 222 h 506"/>
                  <a:gd name="T10" fmla="*/ 28 w 600"/>
                  <a:gd name="T11" fmla="*/ 212 h 506"/>
                  <a:gd name="T12" fmla="*/ 0 w 600"/>
                  <a:gd name="T13" fmla="*/ 249 h 506"/>
                  <a:gd name="T14" fmla="*/ 13 w 600"/>
                  <a:gd name="T15" fmla="*/ 261 h 506"/>
                  <a:gd name="T16" fmla="*/ 13 w 600"/>
                  <a:gd name="T17" fmla="*/ 286 h 506"/>
                  <a:gd name="T18" fmla="*/ 26 w 600"/>
                  <a:gd name="T19" fmla="*/ 308 h 506"/>
                  <a:gd name="T20" fmla="*/ 80 w 600"/>
                  <a:gd name="T21" fmla="*/ 291 h 506"/>
                  <a:gd name="T22" fmla="*/ 95 w 600"/>
                  <a:gd name="T23" fmla="*/ 304 h 506"/>
                  <a:gd name="T24" fmla="*/ 70 w 600"/>
                  <a:gd name="T25" fmla="*/ 407 h 506"/>
                  <a:gd name="T26" fmla="*/ 106 w 600"/>
                  <a:gd name="T27" fmla="*/ 439 h 506"/>
                  <a:gd name="T28" fmla="*/ 94 w 600"/>
                  <a:gd name="T29" fmla="*/ 496 h 506"/>
                  <a:gd name="T30" fmla="*/ 130 w 600"/>
                  <a:gd name="T31" fmla="*/ 500 h 506"/>
                  <a:gd name="T32" fmla="*/ 163 w 600"/>
                  <a:gd name="T33" fmla="*/ 467 h 506"/>
                  <a:gd name="T34" fmla="*/ 177 w 600"/>
                  <a:gd name="T35" fmla="*/ 476 h 506"/>
                  <a:gd name="T36" fmla="*/ 246 w 600"/>
                  <a:gd name="T37" fmla="*/ 505 h 506"/>
                  <a:gd name="T38" fmla="*/ 257 w 600"/>
                  <a:gd name="T39" fmla="*/ 496 h 506"/>
                  <a:gd name="T40" fmla="*/ 260 w 600"/>
                  <a:gd name="T41" fmla="*/ 476 h 506"/>
                  <a:gd name="T42" fmla="*/ 274 w 600"/>
                  <a:gd name="T43" fmla="*/ 463 h 506"/>
                  <a:gd name="T44" fmla="*/ 372 w 600"/>
                  <a:gd name="T45" fmla="*/ 402 h 506"/>
                  <a:gd name="T46" fmla="*/ 386 w 600"/>
                  <a:gd name="T47" fmla="*/ 422 h 506"/>
                  <a:gd name="T48" fmla="*/ 448 w 600"/>
                  <a:gd name="T49" fmla="*/ 439 h 506"/>
                  <a:gd name="T50" fmla="*/ 478 w 600"/>
                  <a:gd name="T51" fmla="*/ 397 h 506"/>
                  <a:gd name="T52" fmla="*/ 493 w 600"/>
                  <a:gd name="T53" fmla="*/ 407 h 506"/>
                  <a:gd name="T54" fmla="*/ 517 w 600"/>
                  <a:gd name="T55" fmla="*/ 407 h 506"/>
                  <a:gd name="T56" fmla="*/ 517 w 600"/>
                  <a:gd name="T57" fmla="*/ 395 h 506"/>
                  <a:gd name="T58" fmla="*/ 548 w 600"/>
                  <a:gd name="T59" fmla="*/ 385 h 506"/>
                  <a:gd name="T60" fmla="*/ 548 w 600"/>
                  <a:gd name="T61" fmla="*/ 377 h 506"/>
                  <a:gd name="T62" fmla="*/ 559 w 600"/>
                  <a:gd name="T63" fmla="*/ 364 h 506"/>
                  <a:gd name="T64" fmla="*/ 566 w 600"/>
                  <a:gd name="T65" fmla="*/ 366 h 506"/>
                  <a:gd name="T66" fmla="*/ 599 w 600"/>
                  <a:gd name="T67" fmla="*/ 337 h 506"/>
                  <a:gd name="T68" fmla="*/ 571 w 600"/>
                  <a:gd name="T69" fmla="*/ 293 h 506"/>
                  <a:gd name="T70" fmla="*/ 585 w 600"/>
                  <a:gd name="T71" fmla="*/ 232 h 506"/>
                  <a:gd name="T72" fmla="*/ 570 w 600"/>
                  <a:gd name="T73" fmla="*/ 212 h 506"/>
                  <a:gd name="T74" fmla="*/ 524 w 600"/>
                  <a:gd name="T75" fmla="*/ 224 h 506"/>
                  <a:gd name="T76" fmla="*/ 519 w 600"/>
                  <a:gd name="T77" fmla="*/ 217 h 506"/>
                  <a:gd name="T78" fmla="*/ 570 w 600"/>
                  <a:gd name="T79" fmla="*/ 164 h 506"/>
                  <a:gd name="T80" fmla="*/ 548 w 600"/>
                  <a:gd name="T81" fmla="*/ 78 h 506"/>
                  <a:gd name="T82" fmla="*/ 514 w 600"/>
                  <a:gd name="T83" fmla="*/ 103 h 506"/>
                  <a:gd name="T84" fmla="*/ 483 w 600"/>
                  <a:gd name="T85" fmla="*/ 74 h 506"/>
                  <a:gd name="T86" fmla="*/ 456 w 600"/>
                  <a:gd name="T87" fmla="*/ 38 h 506"/>
                  <a:gd name="T88" fmla="*/ 452 w 600"/>
                  <a:gd name="T89" fmla="*/ 15 h 506"/>
                  <a:gd name="T90" fmla="*/ 436 w 600"/>
                  <a:gd name="T91" fmla="*/ 10 h 506"/>
                  <a:gd name="T92" fmla="*/ 410 w 600"/>
                  <a:gd name="T93" fmla="*/ 17 h 506"/>
                  <a:gd name="T94" fmla="*/ 372 w 600"/>
                  <a:gd name="T95" fmla="*/ 0 h 506"/>
                  <a:gd name="T96" fmla="*/ 354 w 600"/>
                  <a:gd name="T97" fmla="*/ 41 h 506"/>
                  <a:gd name="T98" fmla="*/ 322 w 600"/>
                  <a:gd name="T99" fmla="*/ 44 h 506"/>
                  <a:gd name="T100" fmla="*/ 298 w 600"/>
                  <a:gd name="T101" fmla="*/ 78 h 506"/>
                  <a:gd name="T102" fmla="*/ 283 w 600"/>
                  <a:gd name="T103" fmla="*/ 71 h 506"/>
                  <a:gd name="T104" fmla="*/ 260 w 600"/>
                  <a:gd name="T105" fmla="*/ 78 h 506"/>
                  <a:gd name="T106" fmla="*/ 225 w 600"/>
                  <a:gd name="T107" fmla="*/ 58 h 506"/>
                  <a:gd name="T108" fmla="*/ 197 w 600"/>
                  <a:gd name="T109" fmla="*/ 90 h 506"/>
                  <a:gd name="T110" fmla="*/ 197 w 600"/>
                  <a:gd name="T111" fmla="*/ 106 h 506"/>
                  <a:gd name="T112" fmla="*/ 252 w 600"/>
                  <a:gd name="T113" fmla="*/ 133 h 506"/>
                  <a:gd name="T114" fmla="*/ 265 w 600"/>
                  <a:gd name="T115" fmla="*/ 156 h 506"/>
                  <a:gd name="T116" fmla="*/ 225 w 600"/>
                  <a:gd name="T117" fmla="*/ 170 h 506"/>
                  <a:gd name="T118" fmla="*/ 163 w 600"/>
                  <a:gd name="T119" fmla="*/ 169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0" h="506">
                    <a:moveTo>
                      <a:pt x="163" y="169"/>
                    </a:moveTo>
                    <a:lnTo>
                      <a:pt x="152" y="210"/>
                    </a:lnTo>
                    <a:lnTo>
                      <a:pt x="126" y="217"/>
                    </a:lnTo>
                    <a:lnTo>
                      <a:pt x="70" y="210"/>
                    </a:lnTo>
                    <a:lnTo>
                      <a:pt x="57" y="222"/>
                    </a:lnTo>
                    <a:lnTo>
                      <a:pt x="28" y="212"/>
                    </a:lnTo>
                    <a:lnTo>
                      <a:pt x="0" y="249"/>
                    </a:lnTo>
                    <a:lnTo>
                      <a:pt x="13" y="261"/>
                    </a:lnTo>
                    <a:lnTo>
                      <a:pt x="13" y="286"/>
                    </a:lnTo>
                    <a:lnTo>
                      <a:pt x="26" y="308"/>
                    </a:lnTo>
                    <a:lnTo>
                      <a:pt x="80" y="291"/>
                    </a:lnTo>
                    <a:lnTo>
                      <a:pt x="95" y="304"/>
                    </a:lnTo>
                    <a:lnTo>
                      <a:pt x="70" y="407"/>
                    </a:lnTo>
                    <a:lnTo>
                      <a:pt x="106" y="439"/>
                    </a:lnTo>
                    <a:lnTo>
                      <a:pt x="94" y="496"/>
                    </a:lnTo>
                    <a:lnTo>
                      <a:pt x="130" y="500"/>
                    </a:lnTo>
                    <a:lnTo>
                      <a:pt x="163" y="467"/>
                    </a:lnTo>
                    <a:lnTo>
                      <a:pt x="177" y="476"/>
                    </a:lnTo>
                    <a:lnTo>
                      <a:pt x="246" y="505"/>
                    </a:lnTo>
                    <a:lnTo>
                      <a:pt x="257" y="496"/>
                    </a:lnTo>
                    <a:lnTo>
                      <a:pt x="260" y="476"/>
                    </a:lnTo>
                    <a:lnTo>
                      <a:pt x="274" y="463"/>
                    </a:lnTo>
                    <a:lnTo>
                      <a:pt x="372" y="402"/>
                    </a:lnTo>
                    <a:lnTo>
                      <a:pt x="386" y="422"/>
                    </a:lnTo>
                    <a:lnTo>
                      <a:pt x="448" y="439"/>
                    </a:lnTo>
                    <a:lnTo>
                      <a:pt x="478" y="397"/>
                    </a:lnTo>
                    <a:lnTo>
                      <a:pt x="493" y="407"/>
                    </a:lnTo>
                    <a:lnTo>
                      <a:pt x="517" y="407"/>
                    </a:lnTo>
                    <a:lnTo>
                      <a:pt x="517" y="395"/>
                    </a:lnTo>
                    <a:lnTo>
                      <a:pt x="548" y="385"/>
                    </a:lnTo>
                    <a:lnTo>
                      <a:pt x="548" y="377"/>
                    </a:lnTo>
                    <a:lnTo>
                      <a:pt x="559" y="364"/>
                    </a:lnTo>
                    <a:lnTo>
                      <a:pt x="566" y="366"/>
                    </a:lnTo>
                    <a:lnTo>
                      <a:pt x="599" y="337"/>
                    </a:lnTo>
                    <a:lnTo>
                      <a:pt x="571" y="293"/>
                    </a:lnTo>
                    <a:lnTo>
                      <a:pt x="585" y="232"/>
                    </a:lnTo>
                    <a:lnTo>
                      <a:pt x="570" y="212"/>
                    </a:lnTo>
                    <a:lnTo>
                      <a:pt x="524" y="224"/>
                    </a:lnTo>
                    <a:lnTo>
                      <a:pt x="519" y="217"/>
                    </a:lnTo>
                    <a:lnTo>
                      <a:pt x="570" y="164"/>
                    </a:lnTo>
                    <a:lnTo>
                      <a:pt x="548" y="78"/>
                    </a:lnTo>
                    <a:lnTo>
                      <a:pt x="514" y="103"/>
                    </a:lnTo>
                    <a:lnTo>
                      <a:pt x="483" y="74"/>
                    </a:lnTo>
                    <a:lnTo>
                      <a:pt x="456" y="38"/>
                    </a:lnTo>
                    <a:lnTo>
                      <a:pt x="452" y="15"/>
                    </a:lnTo>
                    <a:lnTo>
                      <a:pt x="436" y="10"/>
                    </a:lnTo>
                    <a:lnTo>
                      <a:pt x="410" y="17"/>
                    </a:lnTo>
                    <a:lnTo>
                      <a:pt x="372" y="0"/>
                    </a:lnTo>
                    <a:lnTo>
                      <a:pt x="354" y="41"/>
                    </a:lnTo>
                    <a:lnTo>
                      <a:pt x="322" y="44"/>
                    </a:lnTo>
                    <a:lnTo>
                      <a:pt x="298" y="78"/>
                    </a:lnTo>
                    <a:lnTo>
                      <a:pt x="283" y="71"/>
                    </a:lnTo>
                    <a:lnTo>
                      <a:pt x="260" y="78"/>
                    </a:lnTo>
                    <a:lnTo>
                      <a:pt x="225" y="58"/>
                    </a:lnTo>
                    <a:lnTo>
                      <a:pt x="197" y="90"/>
                    </a:lnTo>
                    <a:lnTo>
                      <a:pt x="197" y="106"/>
                    </a:lnTo>
                    <a:lnTo>
                      <a:pt x="252" y="133"/>
                    </a:lnTo>
                    <a:lnTo>
                      <a:pt x="265" y="156"/>
                    </a:lnTo>
                    <a:lnTo>
                      <a:pt x="225" y="170"/>
                    </a:lnTo>
                    <a:lnTo>
                      <a:pt x="163" y="169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61" name="Freeform 12"/>
              <p:cNvSpPr>
                <a:spLocks/>
              </p:cNvSpPr>
              <p:nvPr/>
            </p:nvSpPr>
            <p:spPr bwMode="auto">
              <a:xfrm>
                <a:off x="3329973" y="4229199"/>
                <a:ext cx="1290637" cy="954087"/>
              </a:xfrm>
              <a:custGeom>
                <a:avLst/>
                <a:gdLst>
                  <a:gd name="T0" fmla="*/ 462 w 1181"/>
                  <a:gd name="T1" fmla="*/ 75 h 893"/>
                  <a:gd name="T2" fmla="*/ 441 w 1181"/>
                  <a:gd name="T3" fmla="*/ 27 h 893"/>
                  <a:gd name="T4" fmla="*/ 517 w 1181"/>
                  <a:gd name="T5" fmla="*/ 0 h 893"/>
                  <a:gd name="T6" fmla="*/ 530 w 1181"/>
                  <a:gd name="T7" fmla="*/ 52 h 893"/>
                  <a:gd name="T8" fmla="*/ 600 w 1181"/>
                  <a:gd name="T9" fmla="*/ 111 h 893"/>
                  <a:gd name="T10" fmla="*/ 636 w 1181"/>
                  <a:gd name="T11" fmla="*/ 111 h 893"/>
                  <a:gd name="T12" fmla="*/ 667 w 1181"/>
                  <a:gd name="T13" fmla="*/ 166 h 893"/>
                  <a:gd name="T14" fmla="*/ 739 w 1181"/>
                  <a:gd name="T15" fmla="*/ 160 h 893"/>
                  <a:gd name="T16" fmla="*/ 771 w 1181"/>
                  <a:gd name="T17" fmla="*/ 135 h 893"/>
                  <a:gd name="T18" fmla="*/ 794 w 1181"/>
                  <a:gd name="T19" fmla="*/ 160 h 893"/>
                  <a:gd name="T20" fmla="*/ 876 w 1181"/>
                  <a:gd name="T21" fmla="*/ 150 h 893"/>
                  <a:gd name="T22" fmla="*/ 893 w 1181"/>
                  <a:gd name="T23" fmla="*/ 171 h 893"/>
                  <a:gd name="T24" fmla="*/ 974 w 1181"/>
                  <a:gd name="T25" fmla="*/ 207 h 893"/>
                  <a:gd name="T26" fmla="*/ 1076 w 1181"/>
                  <a:gd name="T27" fmla="*/ 219 h 893"/>
                  <a:gd name="T28" fmla="*/ 1124 w 1181"/>
                  <a:gd name="T29" fmla="*/ 230 h 893"/>
                  <a:gd name="T30" fmla="*/ 1169 w 1181"/>
                  <a:gd name="T31" fmla="*/ 262 h 893"/>
                  <a:gd name="T32" fmla="*/ 1172 w 1181"/>
                  <a:gd name="T33" fmla="*/ 339 h 893"/>
                  <a:gd name="T34" fmla="*/ 1115 w 1181"/>
                  <a:gd name="T35" fmla="*/ 367 h 893"/>
                  <a:gd name="T36" fmla="*/ 1025 w 1181"/>
                  <a:gd name="T37" fmla="*/ 398 h 893"/>
                  <a:gd name="T38" fmla="*/ 1041 w 1181"/>
                  <a:gd name="T39" fmla="*/ 461 h 893"/>
                  <a:gd name="T40" fmla="*/ 1110 w 1181"/>
                  <a:gd name="T41" fmla="*/ 527 h 893"/>
                  <a:gd name="T42" fmla="*/ 1081 w 1181"/>
                  <a:gd name="T43" fmla="*/ 633 h 893"/>
                  <a:gd name="T44" fmla="*/ 1025 w 1181"/>
                  <a:gd name="T45" fmla="*/ 566 h 893"/>
                  <a:gd name="T46" fmla="*/ 1004 w 1181"/>
                  <a:gd name="T47" fmla="*/ 539 h 893"/>
                  <a:gd name="T48" fmla="*/ 942 w 1181"/>
                  <a:gd name="T49" fmla="*/ 528 h 893"/>
                  <a:gd name="T50" fmla="*/ 893 w 1181"/>
                  <a:gd name="T51" fmla="*/ 573 h 893"/>
                  <a:gd name="T52" fmla="*/ 857 w 1181"/>
                  <a:gd name="T53" fmla="*/ 601 h 893"/>
                  <a:gd name="T54" fmla="*/ 799 w 1181"/>
                  <a:gd name="T55" fmla="*/ 588 h 893"/>
                  <a:gd name="T56" fmla="*/ 771 w 1181"/>
                  <a:gd name="T57" fmla="*/ 636 h 893"/>
                  <a:gd name="T58" fmla="*/ 839 w 1181"/>
                  <a:gd name="T59" fmla="*/ 686 h 893"/>
                  <a:gd name="T60" fmla="*/ 739 w 1181"/>
                  <a:gd name="T61" fmla="*/ 699 h 893"/>
                  <a:gd name="T62" fmla="*/ 710 w 1181"/>
                  <a:gd name="T63" fmla="*/ 668 h 893"/>
                  <a:gd name="T64" fmla="*/ 649 w 1181"/>
                  <a:gd name="T65" fmla="*/ 677 h 893"/>
                  <a:gd name="T66" fmla="*/ 636 w 1181"/>
                  <a:gd name="T67" fmla="*/ 631 h 893"/>
                  <a:gd name="T68" fmla="*/ 600 w 1181"/>
                  <a:gd name="T69" fmla="*/ 606 h 893"/>
                  <a:gd name="T70" fmla="*/ 597 w 1181"/>
                  <a:gd name="T71" fmla="*/ 641 h 893"/>
                  <a:gd name="T72" fmla="*/ 561 w 1181"/>
                  <a:gd name="T73" fmla="*/ 668 h 893"/>
                  <a:gd name="T74" fmla="*/ 505 w 1181"/>
                  <a:gd name="T75" fmla="*/ 764 h 893"/>
                  <a:gd name="T76" fmla="*/ 488 w 1181"/>
                  <a:gd name="T77" fmla="*/ 871 h 893"/>
                  <a:gd name="T78" fmla="*/ 414 w 1181"/>
                  <a:gd name="T79" fmla="*/ 892 h 893"/>
                  <a:gd name="T80" fmla="*/ 304 w 1181"/>
                  <a:gd name="T81" fmla="*/ 714 h 893"/>
                  <a:gd name="T82" fmla="*/ 244 w 1181"/>
                  <a:gd name="T83" fmla="*/ 681 h 893"/>
                  <a:gd name="T84" fmla="*/ 247 w 1181"/>
                  <a:gd name="T85" fmla="*/ 636 h 893"/>
                  <a:gd name="T86" fmla="*/ 192 w 1181"/>
                  <a:gd name="T87" fmla="*/ 641 h 893"/>
                  <a:gd name="T88" fmla="*/ 142 w 1181"/>
                  <a:gd name="T89" fmla="*/ 557 h 893"/>
                  <a:gd name="T90" fmla="*/ 132 w 1181"/>
                  <a:gd name="T91" fmla="*/ 391 h 893"/>
                  <a:gd name="T92" fmla="*/ 124 w 1181"/>
                  <a:gd name="T93" fmla="*/ 306 h 893"/>
                  <a:gd name="T94" fmla="*/ 0 w 1181"/>
                  <a:gd name="T95" fmla="*/ 147 h 893"/>
                  <a:gd name="T96" fmla="*/ 16 w 1181"/>
                  <a:gd name="T97" fmla="*/ 106 h 893"/>
                  <a:gd name="T98" fmla="*/ 184 w 1181"/>
                  <a:gd name="T99" fmla="*/ 111 h 893"/>
                  <a:gd name="T100" fmla="*/ 240 w 1181"/>
                  <a:gd name="T101" fmla="*/ 122 h 893"/>
                  <a:gd name="T102" fmla="*/ 327 w 1181"/>
                  <a:gd name="T103" fmla="*/ 165 h 893"/>
                  <a:gd name="T104" fmla="*/ 337 w 1181"/>
                  <a:gd name="T105" fmla="*/ 116 h 893"/>
                  <a:gd name="T106" fmla="*/ 392 w 1181"/>
                  <a:gd name="T107" fmla="*/ 126 h 893"/>
                  <a:gd name="T108" fmla="*/ 446 w 1181"/>
                  <a:gd name="T109" fmla="*/ 112 h 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1" h="893">
                    <a:moveTo>
                      <a:pt x="446" y="111"/>
                    </a:moveTo>
                    <a:lnTo>
                      <a:pt x="462" y="75"/>
                    </a:lnTo>
                    <a:lnTo>
                      <a:pt x="445" y="57"/>
                    </a:lnTo>
                    <a:lnTo>
                      <a:pt x="441" y="27"/>
                    </a:lnTo>
                    <a:lnTo>
                      <a:pt x="500" y="0"/>
                    </a:lnTo>
                    <a:lnTo>
                      <a:pt x="517" y="0"/>
                    </a:lnTo>
                    <a:lnTo>
                      <a:pt x="525" y="24"/>
                    </a:lnTo>
                    <a:lnTo>
                      <a:pt x="530" y="52"/>
                    </a:lnTo>
                    <a:lnTo>
                      <a:pt x="559" y="74"/>
                    </a:lnTo>
                    <a:lnTo>
                      <a:pt x="600" y="111"/>
                    </a:lnTo>
                    <a:lnTo>
                      <a:pt x="621" y="94"/>
                    </a:lnTo>
                    <a:lnTo>
                      <a:pt x="636" y="111"/>
                    </a:lnTo>
                    <a:lnTo>
                      <a:pt x="642" y="150"/>
                    </a:lnTo>
                    <a:lnTo>
                      <a:pt x="667" y="166"/>
                    </a:lnTo>
                    <a:lnTo>
                      <a:pt x="728" y="171"/>
                    </a:lnTo>
                    <a:lnTo>
                      <a:pt x="739" y="160"/>
                    </a:lnTo>
                    <a:lnTo>
                      <a:pt x="734" y="142"/>
                    </a:lnTo>
                    <a:lnTo>
                      <a:pt x="771" y="135"/>
                    </a:lnTo>
                    <a:lnTo>
                      <a:pt x="794" y="138"/>
                    </a:lnTo>
                    <a:lnTo>
                      <a:pt x="794" y="160"/>
                    </a:lnTo>
                    <a:lnTo>
                      <a:pt x="811" y="162"/>
                    </a:lnTo>
                    <a:lnTo>
                      <a:pt x="876" y="150"/>
                    </a:lnTo>
                    <a:lnTo>
                      <a:pt x="888" y="154"/>
                    </a:lnTo>
                    <a:lnTo>
                      <a:pt x="893" y="171"/>
                    </a:lnTo>
                    <a:lnTo>
                      <a:pt x="917" y="180"/>
                    </a:lnTo>
                    <a:lnTo>
                      <a:pt x="974" y="207"/>
                    </a:lnTo>
                    <a:lnTo>
                      <a:pt x="1007" y="194"/>
                    </a:lnTo>
                    <a:lnTo>
                      <a:pt x="1076" y="219"/>
                    </a:lnTo>
                    <a:lnTo>
                      <a:pt x="1089" y="238"/>
                    </a:lnTo>
                    <a:lnTo>
                      <a:pt x="1124" y="230"/>
                    </a:lnTo>
                    <a:lnTo>
                      <a:pt x="1147" y="234"/>
                    </a:lnTo>
                    <a:lnTo>
                      <a:pt x="1169" y="262"/>
                    </a:lnTo>
                    <a:lnTo>
                      <a:pt x="1180" y="320"/>
                    </a:lnTo>
                    <a:lnTo>
                      <a:pt x="1172" y="339"/>
                    </a:lnTo>
                    <a:lnTo>
                      <a:pt x="1158" y="334"/>
                    </a:lnTo>
                    <a:lnTo>
                      <a:pt x="1115" y="367"/>
                    </a:lnTo>
                    <a:lnTo>
                      <a:pt x="1044" y="379"/>
                    </a:lnTo>
                    <a:lnTo>
                      <a:pt x="1025" y="398"/>
                    </a:lnTo>
                    <a:lnTo>
                      <a:pt x="1039" y="418"/>
                    </a:lnTo>
                    <a:lnTo>
                      <a:pt x="1041" y="461"/>
                    </a:lnTo>
                    <a:lnTo>
                      <a:pt x="1061" y="465"/>
                    </a:lnTo>
                    <a:lnTo>
                      <a:pt x="1110" y="527"/>
                    </a:lnTo>
                    <a:lnTo>
                      <a:pt x="1112" y="608"/>
                    </a:lnTo>
                    <a:lnTo>
                      <a:pt x="1081" y="633"/>
                    </a:lnTo>
                    <a:lnTo>
                      <a:pt x="1051" y="603"/>
                    </a:lnTo>
                    <a:lnTo>
                      <a:pt x="1025" y="566"/>
                    </a:lnTo>
                    <a:lnTo>
                      <a:pt x="1021" y="543"/>
                    </a:lnTo>
                    <a:lnTo>
                      <a:pt x="1004" y="539"/>
                    </a:lnTo>
                    <a:lnTo>
                      <a:pt x="979" y="546"/>
                    </a:lnTo>
                    <a:lnTo>
                      <a:pt x="942" y="528"/>
                    </a:lnTo>
                    <a:lnTo>
                      <a:pt x="925" y="571"/>
                    </a:lnTo>
                    <a:lnTo>
                      <a:pt x="893" y="573"/>
                    </a:lnTo>
                    <a:lnTo>
                      <a:pt x="871" y="608"/>
                    </a:lnTo>
                    <a:lnTo>
                      <a:pt x="857" y="601"/>
                    </a:lnTo>
                    <a:lnTo>
                      <a:pt x="834" y="608"/>
                    </a:lnTo>
                    <a:lnTo>
                      <a:pt x="799" y="588"/>
                    </a:lnTo>
                    <a:lnTo>
                      <a:pt x="771" y="620"/>
                    </a:lnTo>
                    <a:lnTo>
                      <a:pt x="771" y="636"/>
                    </a:lnTo>
                    <a:lnTo>
                      <a:pt x="827" y="665"/>
                    </a:lnTo>
                    <a:lnTo>
                      <a:pt x="839" y="686"/>
                    </a:lnTo>
                    <a:lnTo>
                      <a:pt x="799" y="701"/>
                    </a:lnTo>
                    <a:lnTo>
                      <a:pt x="739" y="699"/>
                    </a:lnTo>
                    <a:lnTo>
                      <a:pt x="733" y="673"/>
                    </a:lnTo>
                    <a:lnTo>
                      <a:pt x="710" y="668"/>
                    </a:lnTo>
                    <a:lnTo>
                      <a:pt x="673" y="690"/>
                    </a:lnTo>
                    <a:lnTo>
                      <a:pt x="649" y="677"/>
                    </a:lnTo>
                    <a:lnTo>
                      <a:pt x="649" y="645"/>
                    </a:lnTo>
                    <a:lnTo>
                      <a:pt x="636" y="631"/>
                    </a:lnTo>
                    <a:lnTo>
                      <a:pt x="636" y="613"/>
                    </a:lnTo>
                    <a:lnTo>
                      <a:pt x="600" y="606"/>
                    </a:lnTo>
                    <a:lnTo>
                      <a:pt x="593" y="615"/>
                    </a:lnTo>
                    <a:lnTo>
                      <a:pt x="597" y="641"/>
                    </a:lnTo>
                    <a:lnTo>
                      <a:pt x="567" y="653"/>
                    </a:lnTo>
                    <a:lnTo>
                      <a:pt x="561" y="668"/>
                    </a:lnTo>
                    <a:lnTo>
                      <a:pt x="567" y="691"/>
                    </a:lnTo>
                    <a:lnTo>
                      <a:pt x="505" y="764"/>
                    </a:lnTo>
                    <a:lnTo>
                      <a:pt x="517" y="847"/>
                    </a:lnTo>
                    <a:lnTo>
                      <a:pt x="488" y="871"/>
                    </a:lnTo>
                    <a:lnTo>
                      <a:pt x="474" y="857"/>
                    </a:lnTo>
                    <a:lnTo>
                      <a:pt x="414" y="892"/>
                    </a:lnTo>
                    <a:lnTo>
                      <a:pt x="392" y="879"/>
                    </a:lnTo>
                    <a:lnTo>
                      <a:pt x="304" y="714"/>
                    </a:lnTo>
                    <a:lnTo>
                      <a:pt x="272" y="690"/>
                    </a:lnTo>
                    <a:lnTo>
                      <a:pt x="244" y="681"/>
                    </a:lnTo>
                    <a:lnTo>
                      <a:pt x="231" y="660"/>
                    </a:lnTo>
                    <a:lnTo>
                      <a:pt x="247" y="636"/>
                    </a:lnTo>
                    <a:lnTo>
                      <a:pt x="222" y="615"/>
                    </a:lnTo>
                    <a:lnTo>
                      <a:pt x="192" y="641"/>
                    </a:lnTo>
                    <a:lnTo>
                      <a:pt x="163" y="645"/>
                    </a:lnTo>
                    <a:lnTo>
                      <a:pt x="142" y="557"/>
                    </a:lnTo>
                    <a:lnTo>
                      <a:pt x="138" y="534"/>
                    </a:lnTo>
                    <a:lnTo>
                      <a:pt x="132" y="391"/>
                    </a:lnTo>
                    <a:lnTo>
                      <a:pt x="105" y="320"/>
                    </a:lnTo>
                    <a:lnTo>
                      <a:pt x="124" y="306"/>
                    </a:lnTo>
                    <a:lnTo>
                      <a:pt x="69" y="202"/>
                    </a:lnTo>
                    <a:lnTo>
                      <a:pt x="0" y="147"/>
                    </a:lnTo>
                    <a:lnTo>
                      <a:pt x="10" y="116"/>
                    </a:lnTo>
                    <a:lnTo>
                      <a:pt x="16" y="106"/>
                    </a:lnTo>
                    <a:lnTo>
                      <a:pt x="117" y="90"/>
                    </a:lnTo>
                    <a:lnTo>
                      <a:pt x="184" y="111"/>
                    </a:lnTo>
                    <a:lnTo>
                      <a:pt x="224" y="98"/>
                    </a:lnTo>
                    <a:lnTo>
                      <a:pt x="240" y="122"/>
                    </a:lnTo>
                    <a:lnTo>
                      <a:pt x="290" y="171"/>
                    </a:lnTo>
                    <a:lnTo>
                      <a:pt x="327" y="165"/>
                    </a:lnTo>
                    <a:lnTo>
                      <a:pt x="327" y="135"/>
                    </a:lnTo>
                    <a:lnTo>
                      <a:pt x="337" y="116"/>
                    </a:lnTo>
                    <a:lnTo>
                      <a:pt x="376" y="99"/>
                    </a:lnTo>
                    <a:lnTo>
                      <a:pt x="392" y="126"/>
                    </a:lnTo>
                    <a:lnTo>
                      <a:pt x="414" y="111"/>
                    </a:lnTo>
                    <a:lnTo>
                      <a:pt x="446" y="112"/>
                    </a:lnTo>
                    <a:lnTo>
                      <a:pt x="446" y="111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62" name="Freeform 13"/>
              <p:cNvSpPr>
                <a:spLocks/>
              </p:cNvSpPr>
              <p:nvPr/>
            </p:nvSpPr>
            <p:spPr bwMode="auto">
              <a:xfrm>
                <a:off x="1445610" y="3865661"/>
                <a:ext cx="2035175" cy="1076325"/>
              </a:xfrm>
              <a:custGeom>
                <a:avLst/>
                <a:gdLst>
                  <a:gd name="T0" fmla="*/ 1132 w 1863"/>
                  <a:gd name="T1" fmla="*/ 958 h 1005"/>
                  <a:gd name="T2" fmla="*/ 1161 w 1863"/>
                  <a:gd name="T3" fmla="*/ 990 h 1005"/>
                  <a:gd name="T4" fmla="*/ 1256 w 1863"/>
                  <a:gd name="T5" fmla="*/ 958 h 1005"/>
                  <a:gd name="T6" fmla="*/ 1316 w 1863"/>
                  <a:gd name="T7" fmla="*/ 915 h 1005"/>
                  <a:gd name="T8" fmla="*/ 1386 w 1863"/>
                  <a:gd name="T9" fmla="*/ 887 h 1005"/>
                  <a:gd name="T10" fmla="*/ 1461 w 1863"/>
                  <a:gd name="T11" fmla="*/ 863 h 1005"/>
                  <a:gd name="T12" fmla="*/ 1582 w 1863"/>
                  <a:gd name="T13" fmla="*/ 843 h 1005"/>
                  <a:gd name="T14" fmla="*/ 1584 w 1863"/>
                  <a:gd name="T15" fmla="*/ 887 h 1005"/>
                  <a:gd name="T16" fmla="*/ 1622 w 1863"/>
                  <a:gd name="T17" fmla="*/ 895 h 1005"/>
                  <a:gd name="T18" fmla="*/ 1599 w 1863"/>
                  <a:gd name="T19" fmla="*/ 951 h 1005"/>
                  <a:gd name="T20" fmla="*/ 1622 w 1863"/>
                  <a:gd name="T21" fmla="*/ 958 h 1005"/>
                  <a:gd name="T22" fmla="*/ 1725 w 1863"/>
                  <a:gd name="T23" fmla="*/ 951 h 1005"/>
                  <a:gd name="T24" fmla="*/ 1787 w 1863"/>
                  <a:gd name="T25" fmla="*/ 971 h 1005"/>
                  <a:gd name="T26" fmla="*/ 1815 w 1863"/>
                  <a:gd name="T27" fmla="*/ 983 h 1005"/>
                  <a:gd name="T28" fmla="*/ 1820 w 1863"/>
                  <a:gd name="T29" fmla="*/ 915 h 1005"/>
                  <a:gd name="T30" fmla="*/ 1862 w 1863"/>
                  <a:gd name="T31" fmla="*/ 870 h 1005"/>
                  <a:gd name="T32" fmla="*/ 1829 w 1863"/>
                  <a:gd name="T33" fmla="*/ 655 h 1005"/>
                  <a:gd name="T34" fmla="*/ 1792 w 1863"/>
                  <a:gd name="T35" fmla="*/ 538 h 1005"/>
                  <a:gd name="T36" fmla="*/ 1703 w 1863"/>
                  <a:gd name="T37" fmla="*/ 495 h 1005"/>
                  <a:gd name="T38" fmla="*/ 1647 w 1863"/>
                  <a:gd name="T39" fmla="*/ 602 h 1005"/>
                  <a:gd name="T40" fmla="*/ 1540 w 1863"/>
                  <a:gd name="T41" fmla="*/ 547 h 1005"/>
                  <a:gd name="T42" fmla="*/ 1342 w 1863"/>
                  <a:gd name="T43" fmla="*/ 475 h 1005"/>
                  <a:gd name="T44" fmla="*/ 1260 w 1863"/>
                  <a:gd name="T45" fmla="*/ 463 h 1005"/>
                  <a:gd name="T46" fmla="*/ 1102 w 1863"/>
                  <a:gd name="T47" fmla="*/ 397 h 1005"/>
                  <a:gd name="T48" fmla="*/ 1026 w 1863"/>
                  <a:gd name="T49" fmla="*/ 214 h 1005"/>
                  <a:gd name="T50" fmla="*/ 1055 w 1863"/>
                  <a:gd name="T51" fmla="*/ 157 h 1005"/>
                  <a:gd name="T52" fmla="*/ 1054 w 1863"/>
                  <a:gd name="T53" fmla="*/ 78 h 1005"/>
                  <a:gd name="T54" fmla="*/ 1066 w 1863"/>
                  <a:gd name="T55" fmla="*/ 39 h 1005"/>
                  <a:gd name="T56" fmla="*/ 927 w 1863"/>
                  <a:gd name="T57" fmla="*/ 0 h 1005"/>
                  <a:gd name="T58" fmla="*/ 827 w 1863"/>
                  <a:gd name="T59" fmla="*/ 13 h 1005"/>
                  <a:gd name="T60" fmla="*/ 703 w 1863"/>
                  <a:gd name="T61" fmla="*/ 54 h 1005"/>
                  <a:gd name="T62" fmla="*/ 578 w 1863"/>
                  <a:gd name="T63" fmla="*/ 67 h 1005"/>
                  <a:gd name="T64" fmla="*/ 494 w 1863"/>
                  <a:gd name="T65" fmla="*/ 24 h 1005"/>
                  <a:gd name="T66" fmla="*/ 358 w 1863"/>
                  <a:gd name="T67" fmla="*/ 49 h 1005"/>
                  <a:gd name="T68" fmla="*/ 304 w 1863"/>
                  <a:gd name="T69" fmla="*/ 18 h 1005"/>
                  <a:gd name="T70" fmla="*/ 202 w 1863"/>
                  <a:gd name="T71" fmla="*/ 28 h 1005"/>
                  <a:gd name="T72" fmla="*/ 153 w 1863"/>
                  <a:gd name="T73" fmla="*/ 94 h 1005"/>
                  <a:gd name="T74" fmla="*/ 124 w 1863"/>
                  <a:gd name="T75" fmla="*/ 127 h 1005"/>
                  <a:gd name="T76" fmla="*/ 89 w 1863"/>
                  <a:gd name="T77" fmla="*/ 147 h 1005"/>
                  <a:gd name="T78" fmla="*/ 74 w 1863"/>
                  <a:gd name="T79" fmla="*/ 172 h 1005"/>
                  <a:gd name="T80" fmla="*/ 101 w 1863"/>
                  <a:gd name="T81" fmla="*/ 231 h 1005"/>
                  <a:gd name="T82" fmla="*/ 94 w 1863"/>
                  <a:gd name="T83" fmla="*/ 288 h 1005"/>
                  <a:gd name="T84" fmla="*/ 27 w 1863"/>
                  <a:gd name="T85" fmla="*/ 267 h 1005"/>
                  <a:gd name="T86" fmla="*/ 0 w 1863"/>
                  <a:gd name="T87" fmla="*/ 293 h 1005"/>
                  <a:gd name="T88" fmla="*/ 17 w 1863"/>
                  <a:gd name="T89" fmla="*/ 347 h 1005"/>
                  <a:gd name="T90" fmla="*/ 9 w 1863"/>
                  <a:gd name="T91" fmla="*/ 397 h 1005"/>
                  <a:gd name="T92" fmla="*/ 43 w 1863"/>
                  <a:gd name="T93" fmla="*/ 415 h 1005"/>
                  <a:gd name="T94" fmla="*/ 124 w 1863"/>
                  <a:gd name="T95" fmla="*/ 495 h 1005"/>
                  <a:gd name="T96" fmla="*/ 172 w 1863"/>
                  <a:gd name="T97" fmla="*/ 565 h 1005"/>
                  <a:gd name="T98" fmla="*/ 205 w 1863"/>
                  <a:gd name="T99" fmla="*/ 588 h 1005"/>
                  <a:gd name="T100" fmla="*/ 261 w 1863"/>
                  <a:gd name="T101" fmla="*/ 584 h 1005"/>
                  <a:gd name="T102" fmla="*/ 395 w 1863"/>
                  <a:gd name="T103" fmla="*/ 730 h 1005"/>
                  <a:gd name="T104" fmla="*/ 435 w 1863"/>
                  <a:gd name="T105" fmla="*/ 715 h 1005"/>
                  <a:gd name="T106" fmla="*/ 447 w 1863"/>
                  <a:gd name="T107" fmla="*/ 771 h 1005"/>
                  <a:gd name="T108" fmla="*/ 529 w 1863"/>
                  <a:gd name="T109" fmla="*/ 805 h 1005"/>
                  <a:gd name="T110" fmla="*/ 596 w 1863"/>
                  <a:gd name="T111" fmla="*/ 875 h 1005"/>
                  <a:gd name="T112" fmla="*/ 608 w 1863"/>
                  <a:gd name="T113" fmla="*/ 905 h 1005"/>
                  <a:gd name="T114" fmla="*/ 682 w 1863"/>
                  <a:gd name="T115" fmla="*/ 903 h 1005"/>
                  <a:gd name="T116" fmla="*/ 813 w 1863"/>
                  <a:gd name="T117" fmla="*/ 928 h 1005"/>
                  <a:gd name="T118" fmla="*/ 872 w 1863"/>
                  <a:gd name="T119" fmla="*/ 946 h 1005"/>
                  <a:gd name="T120" fmla="*/ 872 w 1863"/>
                  <a:gd name="T121" fmla="*/ 1004 h 1005"/>
                  <a:gd name="T122" fmla="*/ 984 w 1863"/>
                  <a:gd name="T123" fmla="*/ 918 h 1005"/>
                  <a:gd name="T124" fmla="*/ 1073 w 1863"/>
                  <a:gd name="T125" fmla="*/ 951 h 10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63" h="1005">
                    <a:moveTo>
                      <a:pt x="1073" y="951"/>
                    </a:moveTo>
                    <a:lnTo>
                      <a:pt x="1132" y="958"/>
                    </a:lnTo>
                    <a:lnTo>
                      <a:pt x="1151" y="985"/>
                    </a:lnTo>
                    <a:lnTo>
                      <a:pt x="1161" y="990"/>
                    </a:lnTo>
                    <a:lnTo>
                      <a:pt x="1250" y="973"/>
                    </a:lnTo>
                    <a:lnTo>
                      <a:pt x="1256" y="958"/>
                    </a:lnTo>
                    <a:lnTo>
                      <a:pt x="1272" y="948"/>
                    </a:lnTo>
                    <a:lnTo>
                      <a:pt x="1316" y="915"/>
                    </a:lnTo>
                    <a:lnTo>
                      <a:pt x="1353" y="910"/>
                    </a:lnTo>
                    <a:lnTo>
                      <a:pt x="1386" y="887"/>
                    </a:lnTo>
                    <a:lnTo>
                      <a:pt x="1452" y="850"/>
                    </a:lnTo>
                    <a:lnTo>
                      <a:pt x="1461" y="863"/>
                    </a:lnTo>
                    <a:lnTo>
                      <a:pt x="1510" y="880"/>
                    </a:lnTo>
                    <a:lnTo>
                      <a:pt x="1582" y="843"/>
                    </a:lnTo>
                    <a:lnTo>
                      <a:pt x="1604" y="858"/>
                    </a:lnTo>
                    <a:lnTo>
                      <a:pt x="1584" y="887"/>
                    </a:lnTo>
                    <a:lnTo>
                      <a:pt x="1592" y="895"/>
                    </a:lnTo>
                    <a:lnTo>
                      <a:pt x="1622" y="895"/>
                    </a:lnTo>
                    <a:lnTo>
                      <a:pt x="1624" y="907"/>
                    </a:lnTo>
                    <a:lnTo>
                      <a:pt x="1599" y="951"/>
                    </a:lnTo>
                    <a:lnTo>
                      <a:pt x="1607" y="958"/>
                    </a:lnTo>
                    <a:lnTo>
                      <a:pt x="1622" y="958"/>
                    </a:lnTo>
                    <a:lnTo>
                      <a:pt x="1694" y="978"/>
                    </a:lnTo>
                    <a:lnTo>
                      <a:pt x="1725" y="951"/>
                    </a:lnTo>
                    <a:lnTo>
                      <a:pt x="1772" y="988"/>
                    </a:lnTo>
                    <a:lnTo>
                      <a:pt x="1787" y="971"/>
                    </a:lnTo>
                    <a:lnTo>
                      <a:pt x="1799" y="983"/>
                    </a:lnTo>
                    <a:lnTo>
                      <a:pt x="1815" y="983"/>
                    </a:lnTo>
                    <a:lnTo>
                      <a:pt x="1821" y="971"/>
                    </a:lnTo>
                    <a:lnTo>
                      <a:pt x="1820" y="915"/>
                    </a:lnTo>
                    <a:lnTo>
                      <a:pt x="1832" y="907"/>
                    </a:lnTo>
                    <a:lnTo>
                      <a:pt x="1862" y="870"/>
                    </a:lnTo>
                    <a:lnTo>
                      <a:pt x="1856" y="727"/>
                    </a:lnTo>
                    <a:lnTo>
                      <a:pt x="1829" y="655"/>
                    </a:lnTo>
                    <a:lnTo>
                      <a:pt x="1848" y="641"/>
                    </a:lnTo>
                    <a:lnTo>
                      <a:pt x="1792" y="538"/>
                    </a:lnTo>
                    <a:lnTo>
                      <a:pt x="1722" y="482"/>
                    </a:lnTo>
                    <a:lnTo>
                      <a:pt x="1703" y="495"/>
                    </a:lnTo>
                    <a:lnTo>
                      <a:pt x="1706" y="528"/>
                    </a:lnTo>
                    <a:lnTo>
                      <a:pt x="1647" y="602"/>
                    </a:lnTo>
                    <a:lnTo>
                      <a:pt x="1547" y="584"/>
                    </a:lnTo>
                    <a:lnTo>
                      <a:pt x="1540" y="547"/>
                    </a:lnTo>
                    <a:lnTo>
                      <a:pt x="1478" y="497"/>
                    </a:lnTo>
                    <a:lnTo>
                      <a:pt x="1342" y="475"/>
                    </a:lnTo>
                    <a:lnTo>
                      <a:pt x="1283" y="465"/>
                    </a:lnTo>
                    <a:lnTo>
                      <a:pt x="1260" y="463"/>
                    </a:lnTo>
                    <a:lnTo>
                      <a:pt x="1209" y="420"/>
                    </a:lnTo>
                    <a:lnTo>
                      <a:pt x="1102" y="397"/>
                    </a:lnTo>
                    <a:lnTo>
                      <a:pt x="1028" y="253"/>
                    </a:lnTo>
                    <a:lnTo>
                      <a:pt x="1026" y="214"/>
                    </a:lnTo>
                    <a:lnTo>
                      <a:pt x="1055" y="201"/>
                    </a:lnTo>
                    <a:lnTo>
                      <a:pt x="1055" y="157"/>
                    </a:lnTo>
                    <a:lnTo>
                      <a:pt x="1078" y="103"/>
                    </a:lnTo>
                    <a:lnTo>
                      <a:pt x="1054" y="78"/>
                    </a:lnTo>
                    <a:lnTo>
                      <a:pt x="1085" y="51"/>
                    </a:lnTo>
                    <a:lnTo>
                      <a:pt x="1066" y="39"/>
                    </a:lnTo>
                    <a:lnTo>
                      <a:pt x="1016" y="39"/>
                    </a:lnTo>
                    <a:lnTo>
                      <a:pt x="927" y="0"/>
                    </a:lnTo>
                    <a:lnTo>
                      <a:pt x="872" y="0"/>
                    </a:lnTo>
                    <a:lnTo>
                      <a:pt x="827" y="13"/>
                    </a:lnTo>
                    <a:lnTo>
                      <a:pt x="778" y="13"/>
                    </a:lnTo>
                    <a:lnTo>
                      <a:pt x="703" y="54"/>
                    </a:lnTo>
                    <a:lnTo>
                      <a:pt x="640" y="46"/>
                    </a:lnTo>
                    <a:lnTo>
                      <a:pt x="578" y="67"/>
                    </a:lnTo>
                    <a:lnTo>
                      <a:pt x="526" y="51"/>
                    </a:lnTo>
                    <a:lnTo>
                      <a:pt x="494" y="24"/>
                    </a:lnTo>
                    <a:lnTo>
                      <a:pt x="413" y="13"/>
                    </a:lnTo>
                    <a:lnTo>
                      <a:pt x="358" y="49"/>
                    </a:lnTo>
                    <a:lnTo>
                      <a:pt x="328" y="37"/>
                    </a:lnTo>
                    <a:lnTo>
                      <a:pt x="304" y="18"/>
                    </a:lnTo>
                    <a:lnTo>
                      <a:pt x="244" y="1"/>
                    </a:lnTo>
                    <a:lnTo>
                      <a:pt x="202" y="28"/>
                    </a:lnTo>
                    <a:lnTo>
                      <a:pt x="184" y="76"/>
                    </a:lnTo>
                    <a:lnTo>
                      <a:pt x="153" y="94"/>
                    </a:lnTo>
                    <a:lnTo>
                      <a:pt x="146" y="120"/>
                    </a:lnTo>
                    <a:lnTo>
                      <a:pt x="124" y="127"/>
                    </a:lnTo>
                    <a:lnTo>
                      <a:pt x="99" y="124"/>
                    </a:lnTo>
                    <a:lnTo>
                      <a:pt x="89" y="147"/>
                    </a:lnTo>
                    <a:lnTo>
                      <a:pt x="83" y="175"/>
                    </a:lnTo>
                    <a:lnTo>
                      <a:pt x="74" y="172"/>
                    </a:lnTo>
                    <a:lnTo>
                      <a:pt x="71" y="201"/>
                    </a:lnTo>
                    <a:lnTo>
                      <a:pt x="101" y="231"/>
                    </a:lnTo>
                    <a:lnTo>
                      <a:pt x="104" y="273"/>
                    </a:lnTo>
                    <a:lnTo>
                      <a:pt x="94" y="288"/>
                    </a:lnTo>
                    <a:lnTo>
                      <a:pt x="49" y="293"/>
                    </a:lnTo>
                    <a:lnTo>
                      <a:pt x="27" y="267"/>
                    </a:lnTo>
                    <a:lnTo>
                      <a:pt x="4" y="273"/>
                    </a:lnTo>
                    <a:lnTo>
                      <a:pt x="0" y="293"/>
                    </a:lnTo>
                    <a:lnTo>
                      <a:pt x="11" y="323"/>
                    </a:lnTo>
                    <a:lnTo>
                      <a:pt x="17" y="347"/>
                    </a:lnTo>
                    <a:lnTo>
                      <a:pt x="17" y="374"/>
                    </a:lnTo>
                    <a:lnTo>
                      <a:pt x="9" y="397"/>
                    </a:lnTo>
                    <a:lnTo>
                      <a:pt x="11" y="411"/>
                    </a:lnTo>
                    <a:lnTo>
                      <a:pt x="43" y="415"/>
                    </a:lnTo>
                    <a:lnTo>
                      <a:pt x="57" y="441"/>
                    </a:lnTo>
                    <a:lnTo>
                      <a:pt x="124" y="495"/>
                    </a:lnTo>
                    <a:lnTo>
                      <a:pt x="124" y="510"/>
                    </a:lnTo>
                    <a:lnTo>
                      <a:pt x="172" y="565"/>
                    </a:lnTo>
                    <a:lnTo>
                      <a:pt x="189" y="584"/>
                    </a:lnTo>
                    <a:lnTo>
                      <a:pt x="205" y="588"/>
                    </a:lnTo>
                    <a:lnTo>
                      <a:pt x="233" y="559"/>
                    </a:lnTo>
                    <a:lnTo>
                      <a:pt x="261" y="584"/>
                    </a:lnTo>
                    <a:lnTo>
                      <a:pt x="375" y="679"/>
                    </a:lnTo>
                    <a:lnTo>
                      <a:pt x="395" y="730"/>
                    </a:lnTo>
                    <a:lnTo>
                      <a:pt x="421" y="730"/>
                    </a:lnTo>
                    <a:lnTo>
                      <a:pt x="435" y="715"/>
                    </a:lnTo>
                    <a:lnTo>
                      <a:pt x="447" y="727"/>
                    </a:lnTo>
                    <a:lnTo>
                      <a:pt x="447" y="771"/>
                    </a:lnTo>
                    <a:lnTo>
                      <a:pt x="513" y="808"/>
                    </a:lnTo>
                    <a:lnTo>
                      <a:pt x="529" y="805"/>
                    </a:lnTo>
                    <a:lnTo>
                      <a:pt x="538" y="843"/>
                    </a:lnTo>
                    <a:lnTo>
                      <a:pt x="596" y="875"/>
                    </a:lnTo>
                    <a:lnTo>
                      <a:pt x="596" y="898"/>
                    </a:lnTo>
                    <a:lnTo>
                      <a:pt x="608" y="905"/>
                    </a:lnTo>
                    <a:lnTo>
                      <a:pt x="657" y="903"/>
                    </a:lnTo>
                    <a:lnTo>
                      <a:pt x="682" y="903"/>
                    </a:lnTo>
                    <a:lnTo>
                      <a:pt x="724" y="931"/>
                    </a:lnTo>
                    <a:lnTo>
                      <a:pt x="813" y="928"/>
                    </a:lnTo>
                    <a:lnTo>
                      <a:pt x="860" y="927"/>
                    </a:lnTo>
                    <a:lnTo>
                      <a:pt x="872" y="946"/>
                    </a:lnTo>
                    <a:lnTo>
                      <a:pt x="860" y="988"/>
                    </a:lnTo>
                    <a:lnTo>
                      <a:pt x="872" y="1004"/>
                    </a:lnTo>
                    <a:lnTo>
                      <a:pt x="922" y="961"/>
                    </a:lnTo>
                    <a:lnTo>
                      <a:pt x="984" y="918"/>
                    </a:lnTo>
                    <a:lnTo>
                      <a:pt x="1028" y="923"/>
                    </a:lnTo>
                    <a:lnTo>
                      <a:pt x="1073" y="951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63" name="Freeform 14"/>
              <p:cNvSpPr>
                <a:spLocks/>
              </p:cNvSpPr>
              <p:nvPr/>
            </p:nvSpPr>
            <p:spPr bwMode="auto">
              <a:xfrm>
                <a:off x="4607910" y="3921224"/>
                <a:ext cx="633413" cy="542925"/>
              </a:xfrm>
              <a:custGeom>
                <a:avLst/>
                <a:gdLst>
                  <a:gd name="T0" fmla="*/ 67 w 580"/>
                  <a:gd name="T1" fmla="*/ 352 h 507"/>
                  <a:gd name="T2" fmla="*/ 151 w 580"/>
                  <a:gd name="T3" fmla="*/ 423 h 507"/>
                  <a:gd name="T4" fmla="*/ 220 w 580"/>
                  <a:gd name="T5" fmla="*/ 437 h 507"/>
                  <a:gd name="T6" fmla="*/ 282 w 580"/>
                  <a:gd name="T7" fmla="*/ 430 h 507"/>
                  <a:gd name="T8" fmla="*/ 303 w 580"/>
                  <a:gd name="T9" fmla="*/ 437 h 507"/>
                  <a:gd name="T10" fmla="*/ 326 w 580"/>
                  <a:gd name="T11" fmla="*/ 425 h 507"/>
                  <a:gd name="T12" fmla="*/ 340 w 580"/>
                  <a:gd name="T13" fmla="*/ 443 h 507"/>
                  <a:gd name="T14" fmla="*/ 347 w 580"/>
                  <a:gd name="T15" fmla="*/ 465 h 507"/>
                  <a:gd name="T16" fmla="*/ 378 w 580"/>
                  <a:gd name="T17" fmla="*/ 480 h 507"/>
                  <a:gd name="T18" fmla="*/ 418 w 580"/>
                  <a:gd name="T19" fmla="*/ 480 h 507"/>
                  <a:gd name="T20" fmla="*/ 448 w 580"/>
                  <a:gd name="T21" fmla="*/ 506 h 507"/>
                  <a:gd name="T22" fmla="*/ 475 w 580"/>
                  <a:gd name="T23" fmla="*/ 494 h 507"/>
                  <a:gd name="T24" fmla="*/ 496 w 580"/>
                  <a:gd name="T25" fmla="*/ 506 h 507"/>
                  <a:gd name="T26" fmla="*/ 513 w 580"/>
                  <a:gd name="T27" fmla="*/ 471 h 507"/>
                  <a:gd name="T28" fmla="*/ 538 w 580"/>
                  <a:gd name="T29" fmla="*/ 460 h 507"/>
                  <a:gd name="T30" fmla="*/ 543 w 580"/>
                  <a:gd name="T31" fmla="*/ 432 h 507"/>
                  <a:gd name="T32" fmla="*/ 533 w 580"/>
                  <a:gd name="T33" fmla="*/ 382 h 507"/>
                  <a:gd name="T34" fmla="*/ 529 w 580"/>
                  <a:gd name="T35" fmla="*/ 378 h 507"/>
                  <a:gd name="T36" fmla="*/ 503 w 580"/>
                  <a:gd name="T37" fmla="*/ 405 h 507"/>
                  <a:gd name="T38" fmla="*/ 465 w 580"/>
                  <a:gd name="T39" fmla="*/ 374 h 507"/>
                  <a:gd name="T40" fmla="*/ 437 w 580"/>
                  <a:gd name="T41" fmla="*/ 340 h 507"/>
                  <a:gd name="T42" fmla="*/ 465 w 580"/>
                  <a:gd name="T43" fmla="*/ 320 h 507"/>
                  <a:gd name="T44" fmla="*/ 474 w 580"/>
                  <a:gd name="T45" fmla="*/ 286 h 507"/>
                  <a:gd name="T46" fmla="*/ 490 w 580"/>
                  <a:gd name="T47" fmla="*/ 274 h 507"/>
                  <a:gd name="T48" fmla="*/ 489 w 580"/>
                  <a:gd name="T49" fmla="*/ 227 h 507"/>
                  <a:gd name="T50" fmla="*/ 501 w 580"/>
                  <a:gd name="T51" fmla="*/ 217 h 507"/>
                  <a:gd name="T52" fmla="*/ 524 w 580"/>
                  <a:gd name="T53" fmla="*/ 235 h 507"/>
                  <a:gd name="T54" fmla="*/ 538 w 580"/>
                  <a:gd name="T55" fmla="*/ 254 h 507"/>
                  <a:gd name="T56" fmla="*/ 569 w 580"/>
                  <a:gd name="T57" fmla="*/ 235 h 507"/>
                  <a:gd name="T58" fmla="*/ 579 w 580"/>
                  <a:gd name="T59" fmla="*/ 223 h 507"/>
                  <a:gd name="T60" fmla="*/ 574 w 580"/>
                  <a:gd name="T61" fmla="*/ 199 h 507"/>
                  <a:gd name="T62" fmla="*/ 538 w 580"/>
                  <a:gd name="T63" fmla="*/ 181 h 507"/>
                  <a:gd name="T64" fmla="*/ 530 w 580"/>
                  <a:gd name="T65" fmla="*/ 155 h 507"/>
                  <a:gd name="T66" fmla="*/ 469 w 580"/>
                  <a:gd name="T67" fmla="*/ 164 h 507"/>
                  <a:gd name="T68" fmla="*/ 428 w 580"/>
                  <a:gd name="T69" fmla="*/ 131 h 507"/>
                  <a:gd name="T70" fmla="*/ 410 w 580"/>
                  <a:gd name="T71" fmla="*/ 127 h 507"/>
                  <a:gd name="T72" fmla="*/ 410 w 580"/>
                  <a:gd name="T73" fmla="*/ 103 h 507"/>
                  <a:gd name="T74" fmla="*/ 498 w 580"/>
                  <a:gd name="T75" fmla="*/ 9 h 507"/>
                  <a:gd name="T76" fmla="*/ 465 w 580"/>
                  <a:gd name="T77" fmla="*/ 17 h 507"/>
                  <a:gd name="T78" fmla="*/ 445 w 580"/>
                  <a:gd name="T79" fmla="*/ 28 h 507"/>
                  <a:gd name="T80" fmla="*/ 437 w 580"/>
                  <a:gd name="T81" fmla="*/ 17 h 507"/>
                  <a:gd name="T82" fmla="*/ 437 w 580"/>
                  <a:gd name="T83" fmla="*/ 4 h 507"/>
                  <a:gd name="T84" fmla="*/ 423 w 580"/>
                  <a:gd name="T85" fmla="*/ 0 h 507"/>
                  <a:gd name="T86" fmla="*/ 383 w 580"/>
                  <a:gd name="T87" fmla="*/ 14 h 507"/>
                  <a:gd name="T88" fmla="*/ 282 w 580"/>
                  <a:gd name="T89" fmla="*/ 2 h 507"/>
                  <a:gd name="T90" fmla="*/ 277 w 580"/>
                  <a:gd name="T91" fmla="*/ 82 h 507"/>
                  <a:gd name="T92" fmla="*/ 230 w 580"/>
                  <a:gd name="T93" fmla="*/ 121 h 507"/>
                  <a:gd name="T94" fmla="*/ 163 w 580"/>
                  <a:gd name="T95" fmla="*/ 131 h 507"/>
                  <a:gd name="T96" fmla="*/ 72 w 580"/>
                  <a:gd name="T97" fmla="*/ 190 h 507"/>
                  <a:gd name="T98" fmla="*/ 0 w 580"/>
                  <a:gd name="T99" fmla="*/ 211 h 507"/>
                  <a:gd name="T100" fmla="*/ 0 w 580"/>
                  <a:gd name="T101" fmla="*/ 223 h 507"/>
                  <a:gd name="T102" fmla="*/ 67 w 580"/>
                  <a:gd name="T103" fmla="*/ 322 h 507"/>
                  <a:gd name="T104" fmla="*/ 67 w 580"/>
                  <a:gd name="T105" fmla="*/ 352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80" h="507">
                    <a:moveTo>
                      <a:pt x="67" y="352"/>
                    </a:moveTo>
                    <a:lnTo>
                      <a:pt x="151" y="423"/>
                    </a:lnTo>
                    <a:lnTo>
                      <a:pt x="220" y="437"/>
                    </a:lnTo>
                    <a:lnTo>
                      <a:pt x="282" y="430"/>
                    </a:lnTo>
                    <a:lnTo>
                      <a:pt x="303" y="437"/>
                    </a:lnTo>
                    <a:lnTo>
                      <a:pt x="326" y="425"/>
                    </a:lnTo>
                    <a:lnTo>
                      <a:pt x="340" y="443"/>
                    </a:lnTo>
                    <a:lnTo>
                      <a:pt x="347" y="465"/>
                    </a:lnTo>
                    <a:lnTo>
                      <a:pt x="378" y="480"/>
                    </a:lnTo>
                    <a:lnTo>
                      <a:pt x="418" y="480"/>
                    </a:lnTo>
                    <a:lnTo>
                      <a:pt x="448" y="506"/>
                    </a:lnTo>
                    <a:lnTo>
                      <a:pt x="475" y="494"/>
                    </a:lnTo>
                    <a:lnTo>
                      <a:pt x="496" y="506"/>
                    </a:lnTo>
                    <a:lnTo>
                      <a:pt x="513" y="471"/>
                    </a:lnTo>
                    <a:lnTo>
                      <a:pt x="538" y="460"/>
                    </a:lnTo>
                    <a:lnTo>
                      <a:pt x="543" y="432"/>
                    </a:lnTo>
                    <a:lnTo>
                      <a:pt x="533" y="382"/>
                    </a:lnTo>
                    <a:lnTo>
                      <a:pt x="529" y="378"/>
                    </a:lnTo>
                    <a:lnTo>
                      <a:pt x="503" y="405"/>
                    </a:lnTo>
                    <a:lnTo>
                      <a:pt x="465" y="374"/>
                    </a:lnTo>
                    <a:lnTo>
                      <a:pt x="437" y="340"/>
                    </a:lnTo>
                    <a:lnTo>
                      <a:pt x="465" y="320"/>
                    </a:lnTo>
                    <a:lnTo>
                      <a:pt x="474" y="286"/>
                    </a:lnTo>
                    <a:lnTo>
                      <a:pt x="490" y="274"/>
                    </a:lnTo>
                    <a:lnTo>
                      <a:pt x="489" y="227"/>
                    </a:lnTo>
                    <a:lnTo>
                      <a:pt x="501" y="217"/>
                    </a:lnTo>
                    <a:lnTo>
                      <a:pt x="524" y="235"/>
                    </a:lnTo>
                    <a:lnTo>
                      <a:pt x="538" y="254"/>
                    </a:lnTo>
                    <a:lnTo>
                      <a:pt x="569" y="235"/>
                    </a:lnTo>
                    <a:lnTo>
                      <a:pt x="579" y="223"/>
                    </a:lnTo>
                    <a:lnTo>
                      <a:pt x="574" y="199"/>
                    </a:lnTo>
                    <a:lnTo>
                      <a:pt x="538" y="181"/>
                    </a:lnTo>
                    <a:lnTo>
                      <a:pt x="530" y="155"/>
                    </a:lnTo>
                    <a:lnTo>
                      <a:pt x="469" y="164"/>
                    </a:lnTo>
                    <a:lnTo>
                      <a:pt x="428" y="131"/>
                    </a:lnTo>
                    <a:lnTo>
                      <a:pt x="410" y="127"/>
                    </a:lnTo>
                    <a:lnTo>
                      <a:pt x="410" y="103"/>
                    </a:lnTo>
                    <a:lnTo>
                      <a:pt x="498" y="9"/>
                    </a:lnTo>
                    <a:lnTo>
                      <a:pt x="465" y="17"/>
                    </a:lnTo>
                    <a:lnTo>
                      <a:pt x="445" y="28"/>
                    </a:lnTo>
                    <a:lnTo>
                      <a:pt x="437" y="17"/>
                    </a:lnTo>
                    <a:lnTo>
                      <a:pt x="437" y="4"/>
                    </a:lnTo>
                    <a:lnTo>
                      <a:pt x="423" y="0"/>
                    </a:lnTo>
                    <a:lnTo>
                      <a:pt x="383" y="14"/>
                    </a:lnTo>
                    <a:lnTo>
                      <a:pt x="282" y="2"/>
                    </a:lnTo>
                    <a:lnTo>
                      <a:pt x="277" y="82"/>
                    </a:lnTo>
                    <a:lnTo>
                      <a:pt x="230" y="121"/>
                    </a:lnTo>
                    <a:lnTo>
                      <a:pt x="163" y="131"/>
                    </a:lnTo>
                    <a:lnTo>
                      <a:pt x="72" y="190"/>
                    </a:lnTo>
                    <a:lnTo>
                      <a:pt x="0" y="211"/>
                    </a:lnTo>
                    <a:lnTo>
                      <a:pt x="0" y="223"/>
                    </a:lnTo>
                    <a:lnTo>
                      <a:pt x="67" y="322"/>
                    </a:lnTo>
                    <a:lnTo>
                      <a:pt x="67" y="352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64" name="Freeform 15"/>
              <p:cNvSpPr>
                <a:spLocks/>
              </p:cNvSpPr>
              <p:nvPr/>
            </p:nvSpPr>
            <p:spPr bwMode="auto">
              <a:xfrm>
                <a:off x="2571148" y="3594199"/>
                <a:ext cx="1317625" cy="915987"/>
              </a:xfrm>
              <a:custGeom>
                <a:avLst/>
                <a:gdLst>
                  <a:gd name="T0" fmla="*/ 98 w 1202"/>
                  <a:gd name="T1" fmla="*/ 320 h 856"/>
                  <a:gd name="T2" fmla="*/ 154 w 1202"/>
                  <a:gd name="T3" fmla="*/ 281 h 856"/>
                  <a:gd name="T4" fmla="*/ 129 w 1202"/>
                  <a:gd name="T5" fmla="*/ 266 h 856"/>
                  <a:gd name="T6" fmla="*/ 166 w 1202"/>
                  <a:gd name="T7" fmla="*/ 232 h 856"/>
                  <a:gd name="T8" fmla="*/ 122 w 1202"/>
                  <a:gd name="T9" fmla="*/ 140 h 856"/>
                  <a:gd name="T10" fmla="*/ 149 w 1202"/>
                  <a:gd name="T11" fmla="*/ 56 h 856"/>
                  <a:gd name="T12" fmla="*/ 392 w 1202"/>
                  <a:gd name="T13" fmla="*/ 0 h 856"/>
                  <a:gd name="T14" fmla="*/ 539 w 1202"/>
                  <a:gd name="T15" fmla="*/ 31 h 856"/>
                  <a:gd name="T16" fmla="*/ 623 w 1202"/>
                  <a:gd name="T17" fmla="*/ 80 h 856"/>
                  <a:gd name="T18" fmla="*/ 705 w 1202"/>
                  <a:gd name="T19" fmla="*/ 49 h 856"/>
                  <a:gd name="T20" fmla="*/ 811 w 1202"/>
                  <a:gd name="T21" fmla="*/ 37 h 856"/>
                  <a:gd name="T22" fmla="*/ 944 w 1202"/>
                  <a:gd name="T23" fmla="*/ 73 h 856"/>
                  <a:gd name="T24" fmla="*/ 1028 w 1202"/>
                  <a:gd name="T25" fmla="*/ 169 h 856"/>
                  <a:gd name="T26" fmla="*/ 1103 w 1202"/>
                  <a:gd name="T27" fmla="*/ 197 h 856"/>
                  <a:gd name="T28" fmla="*/ 1175 w 1202"/>
                  <a:gd name="T29" fmla="*/ 329 h 856"/>
                  <a:gd name="T30" fmla="*/ 1193 w 1202"/>
                  <a:gd name="T31" fmla="*/ 423 h 856"/>
                  <a:gd name="T32" fmla="*/ 1154 w 1202"/>
                  <a:gd name="T33" fmla="*/ 484 h 856"/>
                  <a:gd name="T34" fmla="*/ 1108 w 1202"/>
                  <a:gd name="T35" fmla="*/ 526 h 856"/>
                  <a:gd name="T36" fmla="*/ 1088 w 1202"/>
                  <a:gd name="T37" fmla="*/ 587 h 856"/>
                  <a:gd name="T38" fmla="*/ 1037 w 1202"/>
                  <a:gd name="T39" fmla="*/ 557 h 856"/>
                  <a:gd name="T40" fmla="*/ 1040 w 1202"/>
                  <a:gd name="T41" fmla="*/ 601 h 856"/>
                  <a:gd name="T42" fmla="*/ 1117 w 1202"/>
                  <a:gd name="T43" fmla="*/ 643 h 856"/>
                  <a:gd name="T44" fmla="*/ 1156 w 1202"/>
                  <a:gd name="T45" fmla="*/ 663 h 856"/>
                  <a:gd name="T46" fmla="*/ 1141 w 1202"/>
                  <a:gd name="T47" fmla="*/ 700 h 856"/>
                  <a:gd name="T48" fmla="*/ 1088 w 1202"/>
                  <a:gd name="T49" fmla="*/ 713 h 856"/>
                  <a:gd name="T50" fmla="*/ 1033 w 1202"/>
                  <a:gd name="T51" fmla="*/ 703 h 856"/>
                  <a:gd name="T52" fmla="*/ 1023 w 1202"/>
                  <a:gd name="T53" fmla="*/ 753 h 856"/>
                  <a:gd name="T54" fmla="*/ 934 w 1202"/>
                  <a:gd name="T55" fmla="*/ 709 h 856"/>
                  <a:gd name="T56" fmla="*/ 880 w 1202"/>
                  <a:gd name="T57" fmla="*/ 699 h 856"/>
                  <a:gd name="T58" fmla="*/ 711 w 1202"/>
                  <a:gd name="T59" fmla="*/ 694 h 856"/>
                  <a:gd name="T60" fmla="*/ 695 w 1202"/>
                  <a:gd name="T61" fmla="*/ 735 h 856"/>
                  <a:gd name="T62" fmla="*/ 677 w 1202"/>
                  <a:gd name="T63" fmla="*/ 780 h 856"/>
                  <a:gd name="T64" fmla="*/ 519 w 1202"/>
                  <a:gd name="T65" fmla="*/ 835 h 856"/>
                  <a:gd name="T66" fmla="*/ 451 w 1202"/>
                  <a:gd name="T67" fmla="*/ 749 h 856"/>
                  <a:gd name="T68" fmla="*/ 256 w 1202"/>
                  <a:gd name="T69" fmla="*/ 718 h 856"/>
                  <a:gd name="T70" fmla="*/ 182 w 1202"/>
                  <a:gd name="T71" fmla="*/ 672 h 856"/>
                  <a:gd name="T72" fmla="*/ 1 w 1202"/>
                  <a:gd name="T73" fmla="*/ 506 h 856"/>
                  <a:gd name="T74" fmla="*/ 28 w 1202"/>
                  <a:gd name="T75" fmla="*/ 454 h 856"/>
                  <a:gd name="T76" fmla="*/ 51 w 1202"/>
                  <a:gd name="T77" fmla="*/ 356 h 856"/>
                  <a:gd name="T78" fmla="*/ 58 w 1202"/>
                  <a:gd name="T79" fmla="*/ 30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02" h="856">
                    <a:moveTo>
                      <a:pt x="58" y="304"/>
                    </a:moveTo>
                    <a:lnTo>
                      <a:pt x="98" y="320"/>
                    </a:lnTo>
                    <a:lnTo>
                      <a:pt x="164" y="294"/>
                    </a:lnTo>
                    <a:lnTo>
                      <a:pt x="154" y="281"/>
                    </a:lnTo>
                    <a:lnTo>
                      <a:pt x="136" y="281"/>
                    </a:lnTo>
                    <a:lnTo>
                      <a:pt x="129" y="266"/>
                    </a:lnTo>
                    <a:lnTo>
                      <a:pt x="134" y="248"/>
                    </a:lnTo>
                    <a:lnTo>
                      <a:pt x="166" y="232"/>
                    </a:lnTo>
                    <a:lnTo>
                      <a:pt x="189" y="197"/>
                    </a:lnTo>
                    <a:lnTo>
                      <a:pt x="122" y="140"/>
                    </a:lnTo>
                    <a:lnTo>
                      <a:pt x="117" y="80"/>
                    </a:lnTo>
                    <a:lnTo>
                      <a:pt x="149" y="56"/>
                    </a:lnTo>
                    <a:lnTo>
                      <a:pt x="376" y="11"/>
                    </a:lnTo>
                    <a:lnTo>
                      <a:pt x="392" y="0"/>
                    </a:lnTo>
                    <a:lnTo>
                      <a:pt x="425" y="4"/>
                    </a:lnTo>
                    <a:lnTo>
                      <a:pt x="539" y="31"/>
                    </a:lnTo>
                    <a:lnTo>
                      <a:pt x="573" y="51"/>
                    </a:lnTo>
                    <a:lnTo>
                      <a:pt x="623" y="80"/>
                    </a:lnTo>
                    <a:lnTo>
                      <a:pt x="656" y="77"/>
                    </a:lnTo>
                    <a:lnTo>
                      <a:pt x="705" y="49"/>
                    </a:lnTo>
                    <a:lnTo>
                      <a:pt x="769" y="58"/>
                    </a:lnTo>
                    <a:lnTo>
                      <a:pt x="811" y="37"/>
                    </a:lnTo>
                    <a:lnTo>
                      <a:pt x="897" y="89"/>
                    </a:lnTo>
                    <a:lnTo>
                      <a:pt x="944" y="73"/>
                    </a:lnTo>
                    <a:lnTo>
                      <a:pt x="968" y="131"/>
                    </a:lnTo>
                    <a:lnTo>
                      <a:pt x="1028" y="169"/>
                    </a:lnTo>
                    <a:lnTo>
                      <a:pt x="1072" y="208"/>
                    </a:lnTo>
                    <a:lnTo>
                      <a:pt x="1103" y="197"/>
                    </a:lnTo>
                    <a:lnTo>
                      <a:pt x="1163" y="277"/>
                    </a:lnTo>
                    <a:lnTo>
                      <a:pt x="1175" y="329"/>
                    </a:lnTo>
                    <a:lnTo>
                      <a:pt x="1201" y="360"/>
                    </a:lnTo>
                    <a:lnTo>
                      <a:pt x="1193" y="423"/>
                    </a:lnTo>
                    <a:lnTo>
                      <a:pt x="1144" y="459"/>
                    </a:lnTo>
                    <a:lnTo>
                      <a:pt x="1154" y="484"/>
                    </a:lnTo>
                    <a:lnTo>
                      <a:pt x="1135" y="503"/>
                    </a:lnTo>
                    <a:lnTo>
                      <a:pt x="1108" y="526"/>
                    </a:lnTo>
                    <a:lnTo>
                      <a:pt x="1108" y="568"/>
                    </a:lnTo>
                    <a:lnTo>
                      <a:pt x="1088" y="587"/>
                    </a:lnTo>
                    <a:lnTo>
                      <a:pt x="1060" y="577"/>
                    </a:lnTo>
                    <a:lnTo>
                      <a:pt x="1037" y="557"/>
                    </a:lnTo>
                    <a:lnTo>
                      <a:pt x="1025" y="580"/>
                    </a:lnTo>
                    <a:lnTo>
                      <a:pt x="1040" y="601"/>
                    </a:lnTo>
                    <a:lnTo>
                      <a:pt x="1081" y="606"/>
                    </a:lnTo>
                    <a:lnTo>
                      <a:pt x="1117" y="643"/>
                    </a:lnTo>
                    <a:lnTo>
                      <a:pt x="1139" y="643"/>
                    </a:lnTo>
                    <a:lnTo>
                      <a:pt x="1156" y="663"/>
                    </a:lnTo>
                    <a:lnTo>
                      <a:pt x="1141" y="699"/>
                    </a:lnTo>
                    <a:lnTo>
                      <a:pt x="1141" y="700"/>
                    </a:lnTo>
                    <a:lnTo>
                      <a:pt x="1108" y="699"/>
                    </a:lnTo>
                    <a:lnTo>
                      <a:pt x="1088" y="713"/>
                    </a:lnTo>
                    <a:lnTo>
                      <a:pt x="1072" y="687"/>
                    </a:lnTo>
                    <a:lnTo>
                      <a:pt x="1033" y="703"/>
                    </a:lnTo>
                    <a:lnTo>
                      <a:pt x="1023" y="723"/>
                    </a:lnTo>
                    <a:lnTo>
                      <a:pt x="1023" y="753"/>
                    </a:lnTo>
                    <a:lnTo>
                      <a:pt x="985" y="759"/>
                    </a:lnTo>
                    <a:lnTo>
                      <a:pt x="934" y="709"/>
                    </a:lnTo>
                    <a:lnTo>
                      <a:pt x="919" y="685"/>
                    </a:lnTo>
                    <a:lnTo>
                      <a:pt x="880" y="699"/>
                    </a:lnTo>
                    <a:lnTo>
                      <a:pt x="813" y="677"/>
                    </a:lnTo>
                    <a:lnTo>
                      <a:pt x="711" y="694"/>
                    </a:lnTo>
                    <a:lnTo>
                      <a:pt x="705" y="703"/>
                    </a:lnTo>
                    <a:lnTo>
                      <a:pt x="695" y="735"/>
                    </a:lnTo>
                    <a:lnTo>
                      <a:pt x="675" y="748"/>
                    </a:lnTo>
                    <a:lnTo>
                      <a:pt x="677" y="780"/>
                    </a:lnTo>
                    <a:lnTo>
                      <a:pt x="619" y="855"/>
                    </a:lnTo>
                    <a:lnTo>
                      <a:pt x="519" y="835"/>
                    </a:lnTo>
                    <a:lnTo>
                      <a:pt x="512" y="798"/>
                    </a:lnTo>
                    <a:lnTo>
                      <a:pt x="451" y="749"/>
                    </a:lnTo>
                    <a:lnTo>
                      <a:pt x="314" y="727"/>
                    </a:lnTo>
                    <a:lnTo>
                      <a:pt x="256" y="718"/>
                    </a:lnTo>
                    <a:lnTo>
                      <a:pt x="233" y="715"/>
                    </a:lnTo>
                    <a:lnTo>
                      <a:pt x="182" y="672"/>
                    </a:lnTo>
                    <a:lnTo>
                      <a:pt x="76" y="648"/>
                    </a:lnTo>
                    <a:lnTo>
                      <a:pt x="1" y="506"/>
                    </a:lnTo>
                    <a:lnTo>
                      <a:pt x="0" y="467"/>
                    </a:lnTo>
                    <a:lnTo>
                      <a:pt x="28" y="454"/>
                    </a:lnTo>
                    <a:lnTo>
                      <a:pt x="28" y="410"/>
                    </a:lnTo>
                    <a:lnTo>
                      <a:pt x="51" y="356"/>
                    </a:lnTo>
                    <a:lnTo>
                      <a:pt x="27" y="330"/>
                    </a:lnTo>
                    <a:lnTo>
                      <a:pt x="58" y="304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65" name="Freeform 16"/>
              <p:cNvSpPr>
                <a:spLocks/>
              </p:cNvSpPr>
              <p:nvPr/>
            </p:nvSpPr>
            <p:spPr bwMode="auto">
              <a:xfrm>
                <a:off x="4036410" y="3618011"/>
                <a:ext cx="271463" cy="474663"/>
              </a:xfrm>
              <a:custGeom>
                <a:avLst/>
                <a:gdLst>
                  <a:gd name="T0" fmla="*/ 232 w 252"/>
                  <a:gd name="T1" fmla="*/ 247 h 443"/>
                  <a:gd name="T2" fmla="*/ 236 w 252"/>
                  <a:gd name="T3" fmla="*/ 200 h 443"/>
                  <a:gd name="T4" fmla="*/ 251 w 252"/>
                  <a:gd name="T5" fmla="*/ 178 h 443"/>
                  <a:gd name="T6" fmla="*/ 246 w 252"/>
                  <a:gd name="T7" fmla="*/ 156 h 443"/>
                  <a:gd name="T8" fmla="*/ 165 w 252"/>
                  <a:gd name="T9" fmla="*/ 127 h 443"/>
                  <a:gd name="T10" fmla="*/ 174 w 252"/>
                  <a:gd name="T11" fmla="*/ 96 h 443"/>
                  <a:gd name="T12" fmla="*/ 196 w 252"/>
                  <a:gd name="T13" fmla="*/ 61 h 443"/>
                  <a:gd name="T14" fmla="*/ 181 w 252"/>
                  <a:gd name="T15" fmla="*/ 7 h 443"/>
                  <a:gd name="T16" fmla="*/ 174 w 252"/>
                  <a:gd name="T17" fmla="*/ 0 h 443"/>
                  <a:gd name="T18" fmla="*/ 124 w 252"/>
                  <a:gd name="T19" fmla="*/ 34 h 443"/>
                  <a:gd name="T20" fmla="*/ 102 w 252"/>
                  <a:gd name="T21" fmla="*/ 111 h 443"/>
                  <a:gd name="T22" fmla="*/ 91 w 252"/>
                  <a:gd name="T23" fmla="*/ 165 h 443"/>
                  <a:gd name="T24" fmla="*/ 52 w 252"/>
                  <a:gd name="T25" fmla="*/ 200 h 443"/>
                  <a:gd name="T26" fmla="*/ 28 w 252"/>
                  <a:gd name="T27" fmla="*/ 210 h 443"/>
                  <a:gd name="T28" fmla="*/ 0 w 252"/>
                  <a:gd name="T29" fmla="*/ 214 h 443"/>
                  <a:gd name="T30" fmla="*/ 63 w 252"/>
                  <a:gd name="T31" fmla="*/ 299 h 443"/>
                  <a:gd name="T32" fmla="*/ 80 w 252"/>
                  <a:gd name="T33" fmla="*/ 356 h 443"/>
                  <a:gd name="T34" fmla="*/ 72 w 252"/>
                  <a:gd name="T35" fmla="*/ 389 h 443"/>
                  <a:gd name="T36" fmla="*/ 115 w 252"/>
                  <a:gd name="T37" fmla="*/ 413 h 443"/>
                  <a:gd name="T38" fmla="*/ 115 w 252"/>
                  <a:gd name="T39" fmla="*/ 429 h 443"/>
                  <a:gd name="T40" fmla="*/ 156 w 252"/>
                  <a:gd name="T41" fmla="*/ 442 h 443"/>
                  <a:gd name="T42" fmla="*/ 169 w 252"/>
                  <a:gd name="T43" fmla="*/ 442 h 443"/>
                  <a:gd name="T44" fmla="*/ 169 w 252"/>
                  <a:gd name="T45" fmla="*/ 408 h 443"/>
                  <a:gd name="T46" fmla="*/ 200 w 252"/>
                  <a:gd name="T47" fmla="*/ 402 h 443"/>
                  <a:gd name="T48" fmla="*/ 210 w 252"/>
                  <a:gd name="T49" fmla="*/ 361 h 443"/>
                  <a:gd name="T50" fmla="*/ 186 w 252"/>
                  <a:gd name="T51" fmla="*/ 344 h 443"/>
                  <a:gd name="T52" fmla="*/ 169 w 252"/>
                  <a:gd name="T53" fmla="*/ 327 h 443"/>
                  <a:gd name="T54" fmla="*/ 176 w 252"/>
                  <a:gd name="T55" fmla="*/ 251 h 443"/>
                  <a:gd name="T56" fmla="*/ 192 w 252"/>
                  <a:gd name="T57" fmla="*/ 239 h 443"/>
                  <a:gd name="T58" fmla="*/ 223 w 252"/>
                  <a:gd name="T59" fmla="*/ 252 h 443"/>
                  <a:gd name="T60" fmla="*/ 232 w 252"/>
                  <a:gd name="T61" fmla="*/ 247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52" h="443">
                    <a:moveTo>
                      <a:pt x="232" y="247"/>
                    </a:moveTo>
                    <a:lnTo>
                      <a:pt x="236" y="200"/>
                    </a:lnTo>
                    <a:lnTo>
                      <a:pt x="251" y="178"/>
                    </a:lnTo>
                    <a:lnTo>
                      <a:pt x="246" y="156"/>
                    </a:lnTo>
                    <a:lnTo>
                      <a:pt x="165" y="127"/>
                    </a:lnTo>
                    <a:lnTo>
                      <a:pt x="174" y="96"/>
                    </a:lnTo>
                    <a:lnTo>
                      <a:pt x="196" y="61"/>
                    </a:lnTo>
                    <a:lnTo>
                      <a:pt x="181" y="7"/>
                    </a:lnTo>
                    <a:lnTo>
                      <a:pt x="174" y="0"/>
                    </a:lnTo>
                    <a:lnTo>
                      <a:pt x="124" y="34"/>
                    </a:lnTo>
                    <a:lnTo>
                      <a:pt x="102" y="111"/>
                    </a:lnTo>
                    <a:lnTo>
                      <a:pt x="91" y="165"/>
                    </a:lnTo>
                    <a:lnTo>
                      <a:pt x="52" y="200"/>
                    </a:lnTo>
                    <a:lnTo>
                      <a:pt x="28" y="210"/>
                    </a:lnTo>
                    <a:lnTo>
                      <a:pt x="0" y="214"/>
                    </a:lnTo>
                    <a:lnTo>
                      <a:pt x="63" y="299"/>
                    </a:lnTo>
                    <a:lnTo>
                      <a:pt x="80" y="356"/>
                    </a:lnTo>
                    <a:lnTo>
                      <a:pt x="72" y="389"/>
                    </a:lnTo>
                    <a:lnTo>
                      <a:pt x="115" y="413"/>
                    </a:lnTo>
                    <a:lnTo>
                      <a:pt x="115" y="429"/>
                    </a:lnTo>
                    <a:lnTo>
                      <a:pt x="156" y="442"/>
                    </a:lnTo>
                    <a:lnTo>
                      <a:pt x="169" y="442"/>
                    </a:lnTo>
                    <a:lnTo>
                      <a:pt x="169" y="408"/>
                    </a:lnTo>
                    <a:lnTo>
                      <a:pt x="200" y="402"/>
                    </a:lnTo>
                    <a:lnTo>
                      <a:pt x="210" y="361"/>
                    </a:lnTo>
                    <a:lnTo>
                      <a:pt x="186" y="344"/>
                    </a:lnTo>
                    <a:lnTo>
                      <a:pt x="169" y="327"/>
                    </a:lnTo>
                    <a:lnTo>
                      <a:pt x="176" y="251"/>
                    </a:lnTo>
                    <a:lnTo>
                      <a:pt x="192" y="239"/>
                    </a:lnTo>
                    <a:lnTo>
                      <a:pt x="223" y="252"/>
                    </a:lnTo>
                    <a:lnTo>
                      <a:pt x="232" y="247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66" name="Freeform 17"/>
              <p:cNvSpPr>
                <a:spLocks/>
              </p:cNvSpPr>
              <p:nvPr/>
            </p:nvSpPr>
            <p:spPr bwMode="auto">
              <a:xfrm>
                <a:off x="4861910" y="3148111"/>
                <a:ext cx="557213" cy="785813"/>
              </a:xfrm>
              <a:custGeom>
                <a:avLst/>
                <a:gdLst>
                  <a:gd name="T0" fmla="*/ 201 w 507"/>
                  <a:gd name="T1" fmla="*/ 710 h 733"/>
                  <a:gd name="T2" fmla="*/ 243 w 507"/>
                  <a:gd name="T3" fmla="*/ 572 h 733"/>
                  <a:gd name="T4" fmla="*/ 336 w 507"/>
                  <a:gd name="T5" fmla="*/ 514 h 733"/>
                  <a:gd name="T6" fmla="*/ 359 w 507"/>
                  <a:gd name="T7" fmla="*/ 457 h 733"/>
                  <a:gd name="T8" fmla="*/ 317 w 507"/>
                  <a:gd name="T9" fmla="*/ 434 h 733"/>
                  <a:gd name="T10" fmla="*/ 268 w 507"/>
                  <a:gd name="T11" fmla="*/ 411 h 733"/>
                  <a:gd name="T12" fmla="*/ 242 w 507"/>
                  <a:gd name="T13" fmla="*/ 340 h 733"/>
                  <a:gd name="T14" fmla="*/ 195 w 507"/>
                  <a:gd name="T15" fmla="*/ 346 h 733"/>
                  <a:gd name="T16" fmla="*/ 146 w 507"/>
                  <a:gd name="T17" fmla="*/ 334 h 733"/>
                  <a:gd name="T18" fmla="*/ 183 w 507"/>
                  <a:gd name="T19" fmla="*/ 261 h 733"/>
                  <a:gd name="T20" fmla="*/ 221 w 507"/>
                  <a:gd name="T21" fmla="*/ 186 h 733"/>
                  <a:gd name="T22" fmla="*/ 293 w 507"/>
                  <a:gd name="T23" fmla="*/ 216 h 733"/>
                  <a:gd name="T24" fmla="*/ 318 w 507"/>
                  <a:gd name="T25" fmla="*/ 266 h 733"/>
                  <a:gd name="T26" fmla="*/ 324 w 507"/>
                  <a:gd name="T27" fmla="*/ 309 h 733"/>
                  <a:gd name="T28" fmla="*/ 364 w 507"/>
                  <a:gd name="T29" fmla="*/ 354 h 733"/>
                  <a:gd name="T30" fmla="*/ 464 w 507"/>
                  <a:gd name="T31" fmla="*/ 326 h 733"/>
                  <a:gd name="T32" fmla="*/ 506 w 507"/>
                  <a:gd name="T33" fmla="*/ 243 h 733"/>
                  <a:gd name="T34" fmla="*/ 455 w 507"/>
                  <a:gd name="T35" fmla="*/ 199 h 733"/>
                  <a:gd name="T36" fmla="*/ 428 w 507"/>
                  <a:gd name="T37" fmla="*/ 128 h 733"/>
                  <a:gd name="T38" fmla="*/ 336 w 507"/>
                  <a:gd name="T39" fmla="*/ 80 h 733"/>
                  <a:gd name="T40" fmla="*/ 286 w 507"/>
                  <a:gd name="T41" fmla="*/ 0 h 733"/>
                  <a:gd name="T42" fmla="*/ 221 w 507"/>
                  <a:gd name="T43" fmla="*/ 46 h 733"/>
                  <a:gd name="T44" fmla="*/ 224 w 507"/>
                  <a:gd name="T45" fmla="*/ 82 h 733"/>
                  <a:gd name="T46" fmla="*/ 163 w 507"/>
                  <a:gd name="T47" fmla="*/ 103 h 733"/>
                  <a:gd name="T48" fmla="*/ 129 w 507"/>
                  <a:gd name="T49" fmla="*/ 112 h 733"/>
                  <a:gd name="T50" fmla="*/ 73 w 507"/>
                  <a:gd name="T51" fmla="*/ 130 h 733"/>
                  <a:gd name="T52" fmla="*/ 58 w 507"/>
                  <a:gd name="T53" fmla="*/ 82 h 733"/>
                  <a:gd name="T54" fmla="*/ 9 w 507"/>
                  <a:gd name="T55" fmla="*/ 150 h 733"/>
                  <a:gd name="T56" fmla="*/ 32 w 507"/>
                  <a:gd name="T57" fmla="*/ 258 h 733"/>
                  <a:gd name="T58" fmla="*/ 58 w 507"/>
                  <a:gd name="T59" fmla="*/ 326 h 733"/>
                  <a:gd name="T60" fmla="*/ 68 w 507"/>
                  <a:gd name="T61" fmla="*/ 406 h 733"/>
                  <a:gd name="T62" fmla="*/ 7 w 507"/>
                  <a:gd name="T63" fmla="*/ 496 h 733"/>
                  <a:gd name="T64" fmla="*/ 65 w 507"/>
                  <a:gd name="T65" fmla="*/ 584 h 733"/>
                  <a:gd name="T66" fmla="*/ 45 w 507"/>
                  <a:gd name="T67" fmla="*/ 644 h 733"/>
                  <a:gd name="T68" fmla="*/ 23 w 507"/>
                  <a:gd name="T69" fmla="*/ 691 h 733"/>
                  <a:gd name="T70" fmla="*/ 143 w 507"/>
                  <a:gd name="T71" fmla="*/ 732 h 733"/>
                  <a:gd name="T72" fmla="*/ 197 w 507"/>
                  <a:gd name="T73" fmla="*/ 722 h 7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07" h="733">
                    <a:moveTo>
                      <a:pt x="197" y="722"/>
                    </a:moveTo>
                    <a:lnTo>
                      <a:pt x="201" y="710"/>
                    </a:lnTo>
                    <a:lnTo>
                      <a:pt x="185" y="681"/>
                    </a:lnTo>
                    <a:lnTo>
                      <a:pt x="243" y="572"/>
                    </a:lnTo>
                    <a:lnTo>
                      <a:pt x="297" y="524"/>
                    </a:lnTo>
                    <a:lnTo>
                      <a:pt x="336" y="514"/>
                    </a:lnTo>
                    <a:lnTo>
                      <a:pt x="374" y="466"/>
                    </a:lnTo>
                    <a:lnTo>
                      <a:pt x="359" y="457"/>
                    </a:lnTo>
                    <a:lnTo>
                      <a:pt x="345" y="423"/>
                    </a:lnTo>
                    <a:lnTo>
                      <a:pt x="317" y="434"/>
                    </a:lnTo>
                    <a:lnTo>
                      <a:pt x="270" y="423"/>
                    </a:lnTo>
                    <a:lnTo>
                      <a:pt x="268" y="411"/>
                    </a:lnTo>
                    <a:lnTo>
                      <a:pt x="266" y="331"/>
                    </a:lnTo>
                    <a:lnTo>
                      <a:pt x="242" y="340"/>
                    </a:lnTo>
                    <a:lnTo>
                      <a:pt x="227" y="356"/>
                    </a:lnTo>
                    <a:lnTo>
                      <a:pt x="195" y="346"/>
                    </a:lnTo>
                    <a:lnTo>
                      <a:pt x="153" y="354"/>
                    </a:lnTo>
                    <a:lnTo>
                      <a:pt x="146" y="334"/>
                    </a:lnTo>
                    <a:lnTo>
                      <a:pt x="151" y="297"/>
                    </a:lnTo>
                    <a:lnTo>
                      <a:pt x="183" y="261"/>
                    </a:lnTo>
                    <a:lnTo>
                      <a:pt x="190" y="218"/>
                    </a:lnTo>
                    <a:lnTo>
                      <a:pt x="221" y="186"/>
                    </a:lnTo>
                    <a:lnTo>
                      <a:pt x="279" y="216"/>
                    </a:lnTo>
                    <a:lnTo>
                      <a:pt x="293" y="216"/>
                    </a:lnTo>
                    <a:lnTo>
                      <a:pt x="303" y="258"/>
                    </a:lnTo>
                    <a:lnTo>
                      <a:pt x="318" y="266"/>
                    </a:lnTo>
                    <a:lnTo>
                      <a:pt x="327" y="292"/>
                    </a:lnTo>
                    <a:lnTo>
                      <a:pt x="324" y="309"/>
                    </a:lnTo>
                    <a:lnTo>
                      <a:pt x="359" y="334"/>
                    </a:lnTo>
                    <a:lnTo>
                      <a:pt x="364" y="354"/>
                    </a:lnTo>
                    <a:lnTo>
                      <a:pt x="393" y="366"/>
                    </a:lnTo>
                    <a:lnTo>
                      <a:pt x="464" y="326"/>
                    </a:lnTo>
                    <a:lnTo>
                      <a:pt x="464" y="304"/>
                    </a:lnTo>
                    <a:lnTo>
                      <a:pt x="506" y="243"/>
                    </a:lnTo>
                    <a:lnTo>
                      <a:pt x="476" y="201"/>
                    </a:lnTo>
                    <a:lnTo>
                      <a:pt x="455" y="199"/>
                    </a:lnTo>
                    <a:lnTo>
                      <a:pt x="413" y="172"/>
                    </a:lnTo>
                    <a:lnTo>
                      <a:pt x="428" y="128"/>
                    </a:lnTo>
                    <a:lnTo>
                      <a:pt x="364" y="123"/>
                    </a:lnTo>
                    <a:lnTo>
                      <a:pt x="336" y="80"/>
                    </a:lnTo>
                    <a:lnTo>
                      <a:pt x="340" y="60"/>
                    </a:lnTo>
                    <a:lnTo>
                      <a:pt x="286" y="0"/>
                    </a:lnTo>
                    <a:lnTo>
                      <a:pt x="251" y="18"/>
                    </a:lnTo>
                    <a:lnTo>
                      <a:pt x="221" y="46"/>
                    </a:lnTo>
                    <a:lnTo>
                      <a:pt x="232" y="68"/>
                    </a:lnTo>
                    <a:lnTo>
                      <a:pt x="224" y="82"/>
                    </a:lnTo>
                    <a:lnTo>
                      <a:pt x="183" y="85"/>
                    </a:lnTo>
                    <a:lnTo>
                      <a:pt x="163" y="103"/>
                    </a:lnTo>
                    <a:lnTo>
                      <a:pt x="146" y="94"/>
                    </a:lnTo>
                    <a:lnTo>
                      <a:pt x="129" y="112"/>
                    </a:lnTo>
                    <a:lnTo>
                      <a:pt x="89" y="142"/>
                    </a:lnTo>
                    <a:lnTo>
                      <a:pt x="73" y="130"/>
                    </a:lnTo>
                    <a:lnTo>
                      <a:pt x="73" y="90"/>
                    </a:lnTo>
                    <a:lnTo>
                      <a:pt x="58" y="82"/>
                    </a:lnTo>
                    <a:lnTo>
                      <a:pt x="37" y="92"/>
                    </a:lnTo>
                    <a:lnTo>
                      <a:pt x="9" y="150"/>
                    </a:lnTo>
                    <a:lnTo>
                      <a:pt x="0" y="204"/>
                    </a:lnTo>
                    <a:lnTo>
                      <a:pt x="32" y="258"/>
                    </a:lnTo>
                    <a:lnTo>
                      <a:pt x="58" y="283"/>
                    </a:lnTo>
                    <a:lnTo>
                      <a:pt x="58" y="326"/>
                    </a:lnTo>
                    <a:lnTo>
                      <a:pt x="75" y="363"/>
                    </a:lnTo>
                    <a:lnTo>
                      <a:pt x="68" y="406"/>
                    </a:lnTo>
                    <a:lnTo>
                      <a:pt x="27" y="432"/>
                    </a:lnTo>
                    <a:lnTo>
                      <a:pt x="7" y="496"/>
                    </a:lnTo>
                    <a:lnTo>
                      <a:pt x="41" y="536"/>
                    </a:lnTo>
                    <a:lnTo>
                      <a:pt x="65" y="584"/>
                    </a:lnTo>
                    <a:lnTo>
                      <a:pt x="50" y="609"/>
                    </a:lnTo>
                    <a:lnTo>
                      <a:pt x="45" y="644"/>
                    </a:lnTo>
                    <a:lnTo>
                      <a:pt x="32" y="666"/>
                    </a:lnTo>
                    <a:lnTo>
                      <a:pt x="23" y="691"/>
                    </a:lnTo>
                    <a:lnTo>
                      <a:pt x="45" y="720"/>
                    </a:lnTo>
                    <a:lnTo>
                      <a:pt x="143" y="732"/>
                    </a:lnTo>
                    <a:lnTo>
                      <a:pt x="183" y="717"/>
                    </a:lnTo>
                    <a:lnTo>
                      <a:pt x="197" y="722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67" name="Freeform 18"/>
              <p:cNvSpPr>
                <a:spLocks/>
              </p:cNvSpPr>
              <p:nvPr/>
            </p:nvSpPr>
            <p:spPr bwMode="auto">
              <a:xfrm>
                <a:off x="5154010" y="3424336"/>
                <a:ext cx="114300" cy="184150"/>
              </a:xfrm>
              <a:custGeom>
                <a:avLst/>
                <a:gdLst>
                  <a:gd name="T0" fmla="*/ 86 w 105"/>
                  <a:gd name="T1" fmla="*/ 159 h 173"/>
                  <a:gd name="T2" fmla="*/ 60 w 105"/>
                  <a:gd name="T3" fmla="*/ 172 h 173"/>
                  <a:gd name="T4" fmla="*/ 14 w 105"/>
                  <a:gd name="T5" fmla="*/ 162 h 173"/>
                  <a:gd name="T6" fmla="*/ 3 w 105"/>
                  <a:gd name="T7" fmla="*/ 150 h 173"/>
                  <a:gd name="T8" fmla="*/ 0 w 105"/>
                  <a:gd name="T9" fmla="*/ 74 h 173"/>
                  <a:gd name="T10" fmla="*/ 41 w 105"/>
                  <a:gd name="T11" fmla="*/ 57 h 173"/>
                  <a:gd name="T12" fmla="*/ 37 w 105"/>
                  <a:gd name="T13" fmla="*/ 43 h 173"/>
                  <a:gd name="T14" fmla="*/ 44 w 105"/>
                  <a:gd name="T15" fmla="*/ 14 h 173"/>
                  <a:gd name="T16" fmla="*/ 47 w 105"/>
                  <a:gd name="T17" fmla="*/ 0 h 173"/>
                  <a:gd name="T18" fmla="*/ 62 w 105"/>
                  <a:gd name="T19" fmla="*/ 8 h 173"/>
                  <a:gd name="T20" fmla="*/ 69 w 105"/>
                  <a:gd name="T21" fmla="*/ 33 h 173"/>
                  <a:gd name="T22" fmla="*/ 66 w 105"/>
                  <a:gd name="T23" fmla="*/ 50 h 173"/>
                  <a:gd name="T24" fmla="*/ 99 w 105"/>
                  <a:gd name="T25" fmla="*/ 74 h 173"/>
                  <a:gd name="T26" fmla="*/ 104 w 105"/>
                  <a:gd name="T27" fmla="*/ 93 h 173"/>
                  <a:gd name="T28" fmla="*/ 86 w 105"/>
                  <a:gd name="T29" fmla="*/ 107 h 173"/>
                  <a:gd name="T30" fmla="*/ 78 w 105"/>
                  <a:gd name="T31" fmla="*/ 139 h 173"/>
                  <a:gd name="T32" fmla="*/ 86 w 105"/>
                  <a:gd name="T33" fmla="*/ 159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5" h="173">
                    <a:moveTo>
                      <a:pt x="86" y="159"/>
                    </a:moveTo>
                    <a:lnTo>
                      <a:pt x="60" y="172"/>
                    </a:lnTo>
                    <a:lnTo>
                      <a:pt x="14" y="162"/>
                    </a:lnTo>
                    <a:lnTo>
                      <a:pt x="3" y="150"/>
                    </a:lnTo>
                    <a:lnTo>
                      <a:pt x="0" y="74"/>
                    </a:lnTo>
                    <a:lnTo>
                      <a:pt x="41" y="57"/>
                    </a:lnTo>
                    <a:lnTo>
                      <a:pt x="37" y="43"/>
                    </a:lnTo>
                    <a:lnTo>
                      <a:pt x="44" y="14"/>
                    </a:lnTo>
                    <a:lnTo>
                      <a:pt x="47" y="0"/>
                    </a:lnTo>
                    <a:lnTo>
                      <a:pt x="62" y="8"/>
                    </a:lnTo>
                    <a:lnTo>
                      <a:pt x="69" y="33"/>
                    </a:lnTo>
                    <a:lnTo>
                      <a:pt x="66" y="50"/>
                    </a:lnTo>
                    <a:lnTo>
                      <a:pt x="99" y="74"/>
                    </a:lnTo>
                    <a:lnTo>
                      <a:pt x="104" y="93"/>
                    </a:lnTo>
                    <a:lnTo>
                      <a:pt x="86" y="107"/>
                    </a:lnTo>
                    <a:lnTo>
                      <a:pt x="78" y="139"/>
                    </a:lnTo>
                    <a:lnTo>
                      <a:pt x="86" y="159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68" name="Freeform 19"/>
              <p:cNvSpPr>
                <a:spLocks/>
              </p:cNvSpPr>
              <p:nvPr/>
            </p:nvSpPr>
            <p:spPr bwMode="auto">
              <a:xfrm>
                <a:off x="5019073" y="3344961"/>
                <a:ext cx="180975" cy="182563"/>
              </a:xfrm>
              <a:custGeom>
                <a:avLst/>
                <a:gdLst>
                  <a:gd name="T0" fmla="*/ 125 w 164"/>
                  <a:gd name="T1" fmla="*/ 141 h 169"/>
                  <a:gd name="T2" fmla="*/ 124 w 164"/>
                  <a:gd name="T3" fmla="*/ 118 h 169"/>
                  <a:gd name="T4" fmla="*/ 117 w 164"/>
                  <a:gd name="T5" fmla="*/ 100 h 169"/>
                  <a:gd name="T6" fmla="*/ 159 w 164"/>
                  <a:gd name="T7" fmla="*/ 84 h 169"/>
                  <a:gd name="T8" fmla="*/ 163 w 164"/>
                  <a:gd name="T9" fmla="*/ 69 h 169"/>
                  <a:gd name="T10" fmla="*/ 152 w 164"/>
                  <a:gd name="T11" fmla="*/ 30 h 169"/>
                  <a:gd name="T12" fmla="*/ 139 w 164"/>
                  <a:gd name="T13" fmla="*/ 30 h 169"/>
                  <a:gd name="T14" fmla="*/ 74 w 164"/>
                  <a:gd name="T15" fmla="*/ 0 h 169"/>
                  <a:gd name="T16" fmla="*/ 47 w 164"/>
                  <a:gd name="T17" fmla="*/ 30 h 169"/>
                  <a:gd name="T18" fmla="*/ 35 w 164"/>
                  <a:gd name="T19" fmla="*/ 66 h 169"/>
                  <a:gd name="T20" fmla="*/ 5 w 164"/>
                  <a:gd name="T21" fmla="*/ 109 h 169"/>
                  <a:gd name="T22" fmla="*/ 0 w 164"/>
                  <a:gd name="T23" fmla="*/ 139 h 169"/>
                  <a:gd name="T24" fmla="*/ 11 w 164"/>
                  <a:gd name="T25" fmla="*/ 159 h 169"/>
                  <a:gd name="T26" fmla="*/ 57 w 164"/>
                  <a:gd name="T27" fmla="*/ 156 h 169"/>
                  <a:gd name="T28" fmla="*/ 81 w 164"/>
                  <a:gd name="T29" fmla="*/ 168 h 169"/>
                  <a:gd name="T30" fmla="*/ 103 w 164"/>
                  <a:gd name="T31" fmla="*/ 151 h 169"/>
                  <a:gd name="T32" fmla="*/ 125 w 164"/>
                  <a:gd name="T33" fmla="*/ 141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4" h="169">
                    <a:moveTo>
                      <a:pt x="125" y="141"/>
                    </a:moveTo>
                    <a:lnTo>
                      <a:pt x="124" y="118"/>
                    </a:lnTo>
                    <a:lnTo>
                      <a:pt x="117" y="100"/>
                    </a:lnTo>
                    <a:lnTo>
                      <a:pt x="159" y="84"/>
                    </a:lnTo>
                    <a:lnTo>
                      <a:pt x="163" y="69"/>
                    </a:lnTo>
                    <a:lnTo>
                      <a:pt x="152" y="30"/>
                    </a:lnTo>
                    <a:lnTo>
                      <a:pt x="139" y="30"/>
                    </a:lnTo>
                    <a:lnTo>
                      <a:pt x="74" y="0"/>
                    </a:lnTo>
                    <a:lnTo>
                      <a:pt x="47" y="30"/>
                    </a:lnTo>
                    <a:lnTo>
                      <a:pt x="35" y="66"/>
                    </a:lnTo>
                    <a:lnTo>
                      <a:pt x="5" y="109"/>
                    </a:lnTo>
                    <a:lnTo>
                      <a:pt x="0" y="139"/>
                    </a:lnTo>
                    <a:lnTo>
                      <a:pt x="11" y="159"/>
                    </a:lnTo>
                    <a:lnTo>
                      <a:pt x="57" y="156"/>
                    </a:lnTo>
                    <a:lnTo>
                      <a:pt x="81" y="168"/>
                    </a:lnTo>
                    <a:lnTo>
                      <a:pt x="103" y="151"/>
                    </a:lnTo>
                    <a:lnTo>
                      <a:pt x="125" y="141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69" name="Freeform 20"/>
              <p:cNvSpPr>
                <a:spLocks/>
              </p:cNvSpPr>
              <p:nvPr/>
            </p:nvSpPr>
            <p:spPr bwMode="auto">
              <a:xfrm>
                <a:off x="4590448" y="3419574"/>
                <a:ext cx="352425" cy="717550"/>
              </a:xfrm>
              <a:custGeom>
                <a:avLst/>
                <a:gdLst>
                  <a:gd name="T0" fmla="*/ 21 w 323"/>
                  <a:gd name="T1" fmla="*/ 671 h 672"/>
                  <a:gd name="T2" fmla="*/ 90 w 323"/>
                  <a:gd name="T3" fmla="*/ 650 h 672"/>
                  <a:gd name="T4" fmla="*/ 179 w 323"/>
                  <a:gd name="T5" fmla="*/ 592 h 672"/>
                  <a:gd name="T6" fmla="*/ 241 w 323"/>
                  <a:gd name="T7" fmla="*/ 580 h 672"/>
                  <a:gd name="T8" fmla="*/ 288 w 323"/>
                  <a:gd name="T9" fmla="*/ 542 h 672"/>
                  <a:gd name="T10" fmla="*/ 293 w 323"/>
                  <a:gd name="T11" fmla="*/ 462 h 672"/>
                  <a:gd name="T12" fmla="*/ 270 w 323"/>
                  <a:gd name="T13" fmla="*/ 433 h 672"/>
                  <a:gd name="T14" fmla="*/ 278 w 323"/>
                  <a:gd name="T15" fmla="*/ 406 h 672"/>
                  <a:gd name="T16" fmla="*/ 293 w 323"/>
                  <a:gd name="T17" fmla="*/ 386 h 672"/>
                  <a:gd name="T18" fmla="*/ 296 w 323"/>
                  <a:gd name="T19" fmla="*/ 351 h 672"/>
                  <a:gd name="T20" fmla="*/ 312 w 323"/>
                  <a:gd name="T21" fmla="*/ 326 h 672"/>
                  <a:gd name="T22" fmla="*/ 288 w 323"/>
                  <a:gd name="T23" fmla="*/ 278 h 672"/>
                  <a:gd name="T24" fmla="*/ 253 w 323"/>
                  <a:gd name="T25" fmla="*/ 238 h 672"/>
                  <a:gd name="T26" fmla="*/ 274 w 323"/>
                  <a:gd name="T27" fmla="*/ 174 h 672"/>
                  <a:gd name="T28" fmla="*/ 314 w 323"/>
                  <a:gd name="T29" fmla="*/ 148 h 672"/>
                  <a:gd name="T30" fmla="*/ 322 w 323"/>
                  <a:gd name="T31" fmla="*/ 105 h 672"/>
                  <a:gd name="T32" fmla="*/ 305 w 323"/>
                  <a:gd name="T33" fmla="*/ 68 h 672"/>
                  <a:gd name="T34" fmla="*/ 305 w 323"/>
                  <a:gd name="T35" fmla="*/ 25 h 672"/>
                  <a:gd name="T36" fmla="*/ 278 w 323"/>
                  <a:gd name="T37" fmla="*/ 0 h 672"/>
                  <a:gd name="T38" fmla="*/ 215 w 323"/>
                  <a:gd name="T39" fmla="*/ 32 h 672"/>
                  <a:gd name="T40" fmla="*/ 205 w 323"/>
                  <a:gd name="T41" fmla="*/ 22 h 672"/>
                  <a:gd name="T42" fmla="*/ 172 w 323"/>
                  <a:gd name="T43" fmla="*/ 48 h 672"/>
                  <a:gd name="T44" fmla="*/ 144 w 323"/>
                  <a:gd name="T45" fmla="*/ 45 h 672"/>
                  <a:gd name="T46" fmla="*/ 90 w 323"/>
                  <a:gd name="T47" fmla="*/ 123 h 672"/>
                  <a:gd name="T48" fmla="*/ 75 w 323"/>
                  <a:gd name="T49" fmla="*/ 123 h 672"/>
                  <a:gd name="T50" fmla="*/ 45 w 323"/>
                  <a:gd name="T51" fmla="*/ 148 h 672"/>
                  <a:gd name="T52" fmla="*/ 47 w 323"/>
                  <a:gd name="T53" fmla="*/ 181 h 672"/>
                  <a:gd name="T54" fmla="*/ 33 w 323"/>
                  <a:gd name="T55" fmla="*/ 211 h 672"/>
                  <a:gd name="T56" fmla="*/ 28 w 323"/>
                  <a:gd name="T57" fmla="*/ 252 h 672"/>
                  <a:gd name="T58" fmla="*/ 2 w 323"/>
                  <a:gd name="T59" fmla="*/ 292 h 672"/>
                  <a:gd name="T60" fmla="*/ 31 w 323"/>
                  <a:gd name="T61" fmla="*/ 351 h 672"/>
                  <a:gd name="T62" fmla="*/ 21 w 323"/>
                  <a:gd name="T63" fmla="*/ 386 h 672"/>
                  <a:gd name="T64" fmla="*/ 0 w 323"/>
                  <a:gd name="T65" fmla="*/ 423 h 672"/>
                  <a:gd name="T66" fmla="*/ 31 w 323"/>
                  <a:gd name="T67" fmla="*/ 567 h 672"/>
                  <a:gd name="T68" fmla="*/ 10 w 323"/>
                  <a:gd name="T69" fmla="*/ 640 h 672"/>
                  <a:gd name="T70" fmla="*/ 21 w 323"/>
                  <a:gd name="T71" fmla="*/ 671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3" h="672">
                    <a:moveTo>
                      <a:pt x="21" y="671"/>
                    </a:moveTo>
                    <a:lnTo>
                      <a:pt x="90" y="650"/>
                    </a:lnTo>
                    <a:lnTo>
                      <a:pt x="179" y="592"/>
                    </a:lnTo>
                    <a:lnTo>
                      <a:pt x="241" y="580"/>
                    </a:lnTo>
                    <a:lnTo>
                      <a:pt x="288" y="542"/>
                    </a:lnTo>
                    <a:lnTo>
                      <a:pt x="293" y="462"/>
                    </a:lnTo>
                    <a:lnTo>
                      <a:pt x="270" y="433"/>
                    </a:lnTo>
                    <a:lnTo>
                      <a:pt x="278" y="406"/>
                    </a:lnTo>
                    <a:lnTo>
                      <a:pt x="293" y="386"/>
                    </a:lnTo>
                    <a:lnTo>
                      <a:pt x="296" y="351"/>
                    </a:lnTo>
                    <a:lnTo>
                      <a:pt x="312" y="326"/>
                    </a:lnTo>
                    <a:lnTo>
                      <a:pt x="288" y="278"/>
                    </a:lnTo>
                    <a:lnTo>
                      <a:pt x="253" y="238"/>
                    </a:lnTo>
                    <a:lnTo>
                      <a:pt x="274" y="174"/>
                    </a:lnTo>
                    <a:lnTo>
                      <a:pt x="314" y="148"/>
                    </a:lnTo>
                    <a:lnTo>
                      <a:pt x="322" y="105"/>
                    </a:lnTo>
                    <a:lnTo>
                      <a:pt x="305" y="68"/>
                    </a:lnTo>
                    <a:lnTo>
                      <a:pt x="305" y="25"/>
                    </a:lnTo>
                    <a:lnTo>
                      <a:pt x="278" y="0"/>
                    </a:lnTo>
                    <a:lnTo>
                      <a:pt x="215" y="32"/>
                    </a:lnTo>
                    <a:lnTo>
                      <a:pt x="205" y="22"/>
                    </a:lnTo>
                    <a:lnTo>
                      <a:pt x="172" y="48"/>
                    </a:lnTo>
                    <a:lnTo>
                      <a:pt x="144" y="45"/>
                    </a:lnTo>
                    <a:lnTo>
                      <a:pt x="90" y="123"/>
                    </a:lnTo>
                    <a:lnTo>
                      <a:pt x="75" y="123"/>
                    </a:lnTo>
                    <a:lnTo>
                      <a:pt x="45" y="148"/>
                    </a:lnTo>
                    <a:lnTo>
                      <a:pt x="47" y="181"/>
                    </a:lnTo>
                    <a:lnTo>
                      <a:pt x="33" y="211"/>
                    </a:lnTo>
                    <a:lnTo>
                      <a:pt x="28" y="252"/>
                    </a:lnTo>
                    <a:lnTo>
                      <a:pt x="2" y="292"/>
                    </a:lnTo>
                    <a:lnTo>
                      <a:pt x="31" y="351"/>
                    </a:lnTo>
                    <a:lnTo>
                      <a:pt x="21" y="386"/>
                    </a:lnTo>
                    <a:lnTo>
                      <a:pt x="0" y="423"/>
                    </a:lnTo>
                    <a:lnTo>
                      <a:pt x="31" y="567"/>
                    </a:lnTo>
                    <a:lnTo>
                      <a:pt x="10" y="640"/>
                    </a:lnTo>
                    <a:lnTo>
                      <a:pt x="21" y="671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70" name="Freeform 21"/>
              <p:cNvSpPr>
                <a:spLocks/>
              </p:cNvSpPr>
              <p:nvPr/>
            </p:nvSpPr>
            <p:spPr bwMode="auto">
              <a:xfrm>
                <a:off x="5155598" y="3437036"/>
                <a:ext cx="41275" cy="58738"/>
              </a:xfrm>
              <a:custGeom>
                <a:avLst/>
                <a:gdLst>
                  <a:gd name="T0" fmla="*/ 37 w 38"/>
                  <a:gd name="T1" fmla="*/ 0 h 53"/>
                  <a:gd name="T2" fmla="*/ 31 w 38"/>
                  <a:gd name="T3" fmla="*/ 27 h 53"/>
                  <a:gd name="T4" fmla="*/ 34 w 38"/>
                  <a:gd name="T5" fmla="*/ 39 h 53"/>
                  <a:gd name="T6" fmla="*/ 8 w 38"/>
                  <a:gd name="T7" fmla="*/ 52 h 53"/>
                  <a:gd name="T8" fmla="*/ 5 w 38"/>
                  <a:gd name="T9" fmla="*/ 30 h 53"/>
                  <a:gd name="T10" fmla="*/ 0 w 38"/>
                  <a:gd name="T11" fmla="*/ 15 h 53"/>
                  <a:gd name="T12" fmla="*/ 37 w 38"/>
                  <a:gd name="T13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53">
                    <a:moveTo>
                      <a:pt x="37" y="0"/>
                    </a:moveTo>
                    <a:lnTo>
                      <a:pt x="31" y="27"/>
                    </a:lnTo>
                    <a:lnTo>
                      <a:pt x="34" y="39"/>
                    </a:lnTo>
                    <a:lnTo>
                      <a:pt x="8" y="52"/>
                    </a:lnTo>
                    <a:lnTo>
                      <a:pt x="5" y="30"/>
                    </a:lnTo>
                    <a:lnTo>
                      <a:pt x="0" y="15"/>
                    </a:lnTo>
                    <a:lnTo>
                      <a:pt x="37" y="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71" name="Freeform 22"/>
              <p:cNvSpPr>
                <a:spLocks/>
              </p:cNvSpPr>
              <p:nvPr/>
            </p:nvSpPr>
            <p:spPr bwMode="auto">
              <a:xfrm>
                <a:off x="5127023" y="5518249"/>
                <a:ext cx="79375" cy="55562"/>
              </a:xfrm>
              <a:custGeom>
                <a:avLst/>
                <a:gdLst>
                  <a:gd name="T0" fmla="*/ 4 w 72"/>
                  <a:gd name="T1" fmla="*/ 13 h 49"/>
                  <a:gd name="T2" fmla="*/ 30 w 72"/>
                  <a:gd name="T3" fmla="*/ 18 h 49"/>
                  <a:gd name="T4" fmla="*/ 57 w 72"/>
                  <a:gd name="T5" fmla="*/ 0 h 49"/>
                  <a:gd name="T6" fmla="*/ 71 w 72"/>
                  <a:gd name="T7" fmla="*/ 36 h 49"/>
                  <a:gd name="T8" fmla="*/ 42 w 72"/>
                  <a:gd name="T9" fmla="*/ 48 h 49"/>
                  <a:gd name="T10" fmla="*/ 6 w 72"/>
                  <a:gd name="T11" fmla="*/ 45 h 49"/>
                  <a:gd name="T12" fmla="*/ 0 w 72"/>
                  <a:gd name="T13" fmla="*/ 18 h 49"/>
                  <a:gd name="T14" fmla="*/ 4 w 72"/>
                  <a:gd name="T15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49">
                    <a:moveTo>
                      <a:pt x="4" y="13"/>
                    </a:moveTo>
                    <a:lnTo>
                      <a:pt x="30" y="18"/>
                    </a:lnTo>
                    <a:lnTo>
                      <a:pt x="57" y="0"/>
                    </a:lnTo>
                    <a:lnTo>
                      <a:pt x="71" y="36"/>
                    </a:lnTo>
                    <a:lnTo>
                      <a:pt x="42" y="48"/>
                    </a:lnTo>
                    <a:lnTo>
                      <a:pt x="6" y="45"/>
                    </a:lnTo>
                    <a:lnTo>
                      <a:pt x="0" y="18"/>
                    </a:lnTo>
                    <a:lnTo>
                      <a:pt x="4" y="13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72" name="Freeform 23"/>
              <p:cNvSpPr>
                <a:spLocks/>
              </p:cNvSpPr>
              <p:nvPr/>
            </p:nvSpPr>
            <p:spPr bwMode="auto">
              <a:xfrm>
                <a:off x="4666648" y="5167411"/>
                <a:ext cx="798512" cy="646113"/>
              </a:xfrm>
              <a:custGeom>
                <a:avLst/>
                <a:gdLst>
                  <a:gd name="T0" fmla="*/ 214 w 729"/>
                  <a:gd name="T1" fmla="*/ 87 h 604"/>
                  <a:gd name="T2" fmla="*/ 224 w 729"/>
                  <a:gd name="T3" fmla="*/ 49 h 604"/>
                  <a:gd name="T4" fmla="*/ 291 w 729"/>
                  <a:gd name="T5" fmla="*/ 70 h 604"/>
                  <a:gd name="T6" fmla="*/ 289 w 729"/>
                  <a:gd name="T7" fmla="*/ 39 h 604"/>
                  <a:gd name="T8" fmla="*/ 317 w 729"/>
                  <a:gd name="T9" fmla="*/ 4 h 604"/>
                  <a:gd name="T10" fmla="*/ 392 w 729"/>
                  <a:gd name="T11" fmla="*/ 0 h 604"/>
                  <a:gd name="T12" fmla="*/ 458 w 729"/>
                  <a:gd name="T13" fmla="*/ 7 h 604"/>
                  <a:gd name="T14" fmla="*/ 452 w 729"/>
                  <a:gd name="T15" fmla="*/ 44 h 604"/>
                  <a:gd name="T16" fmla="*/ 426 w 729"/>
                  <a:gd name="T17" fmla="*/ 89 h 604"/>
                  <a:gd name="T18" fmla="*/ 542 w 729"/>
                  <a:gd name="T19" fmla="*/ 59 h 604"/>
                  <a:gd name="T20" fmla="*/ 585 w 729"/>
                  <a:gd name="T21" fmla="*/ 70 h 604"/>
                  <a:gd name="T22" fmla="*/ 578 w 729"/>
                  <a:gd name="T23" fmla="*/ 34 h 604"/>
                  <a:gd name="T24" fmla="*/ 654 w 729"/>
                  <a:gd name="T25" fmla="*/ 57 h 604"/>
                  <a:gd name="T26" fmla="*/ 698 w 729"/>
                  <a:gd name="T27" fmla="*/ 89 h 604"/>
                  <a:gd name="T28" fmla="*/ 708 w 729"/>
                  <a:gd name="T29" fmla="*/ 167 h 604"/>
                  <a:gd name="T30" fmla="*/ 675 w 729"/>
                  <a:gd name="T31" fmla="*/ 206 h 604"/>
                  <a:gd name="T32" fmla="*/ 612 w 729"/>
                  <a:gd name="T33" fmla="*/ 258 h 604"/>
                  <a:gd name="T34" fmla="*/ 580 w 729"/>
                  <a:gd name="T35" fmla="*/ 268 h 604"/>
                  <a:gd name="T36" fmla="*/ 566 w 729"/>
                  <a:gd name="T37" fmla="*/ 275 h 604"/>
                  <a:gd name="T38" fmla="*/ 514 w 729"/>
                  <a:gd name="T39" fmla="*/ 293 h 604"/>
                  <a:gd name="T40" fmla="*/ 474 w 729"/>
                  <a:gd name="T41" fmla="*/ 296 h 604"/>
                  <a:gd name="T42" fmla="*/ 376 w 729"/>
                  <a:gd name="T43" fmla="*/ 285 h 604"/>
                  <a:gd name="T44" fmla="*/ 389 w 729"/>
                  <a:gd name="T45" fmla="*/ 354 h 604"/>
                  <a:gd name="T46" fmla="*/ 327 w 729"/>
                  <a:gd name="T47" fmla="*/ 399 h 604"/>
                  <a:gd name="T48" fmla="*/ 263 w 729"/>
                  <a:gd name="T49" fmla="*/ 418 h 604"/>
                  <a:gd name="T50" fmla="*/ 189 w 729"/>
                  <a:gd name="T51" fmla="*/ 450 h 604"/>
                  <a:gd name="T52" fmla="*/ 70 w 729"/>
                  <a:gd name="T53" fmla="*/ 502 h 604"/>
                  <a:gd name="T54" fmla="*/ 88 w 729"/>
                  <a:gd name="T55" fmla="*/ 582 h 604"/>
                  <a:gd name="T56" fmla="*/ 35 w 729"/>
                  <a:gd name="T57" fmla="*/ 599 h 604"/>
                  <a:gd name="T58" fmla="*/ 8 w 729"/>
                  <a:gd name="T59" fmla="*/ 491 h 604"/>
                  <a:gd name="T60" fmla="*/ 33 w 729"/>
                  <a:gd name="T61" fmla="*/ 431 h 604"/>
                  <a:gd name="T62" fmla="*/ 61 w 729"/>
                  <a:gd name="T63" fmla="*/ 403 h 604"/>
                  <a:gd name="T64" fmla="*/ 98 w 729"/>
                  <a:gd name="T65" fmla="*/ 352 h 604"/>
                  <a:gd name="T66" fmla="*/ 153 w 729"/>
                  <a:gd name="T67" fmla="*/ 246 h 604"/>
                  <a:gd name="T68" fmla="*/ 194 w 729"/>
                  <a:gd name="T69" fmla="*/ 170 h 604"/>
                  <a:gd name="T70" fmla="*/ 194 w 729"/>
                  <a:gd name="T71" fmla="*/ 103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29" h="604">
                    <a:moveTo>
                      <a:pt x="194" y="103"/>
                    </a:moveTo>
                    <a:lnTo>
                      <a:pt x="214" y="87"/>
                    </a:lnTo>
                    <a:lnTo>
                      <a:pt x="214" y="57"/>
                    </a:lnTo>
                    <a:lnTo>
                      <a:pt x="224" y="49"/>
                    </a:lnTo>
                    <a:lnTo>
                      <a:pt x="249" y="50"/>
                    </a:lnTo>
                    <a:lnTo>
                      <a:pt x="291" y="70"/>
                    </a:lnTo>
                    <a:lnTo>
                      <a:pt x="298" y="55"/>
                    </a:lnTo>
                    <a:lnTo>
                      <a:pt x="289" y="39"/>
                    </a:lnTo>
                    <a:lnTo>
                      <a:pt x="291" y="27"/>
                    </a:lnTo>
                    <a:lnTo>
                      <a:pt x="317" y="4"/>
                    </a:lnTo>
                    <a:lnTo>
                      <a:pt x="364" y="16"/>
                    </a:lnTo>
                    <a:lnTo>
                      <a:pt x="392" y="0"/>
                    </a:lnTo>
                    <a:lnTo>
                      <a:pt x="412" y="19"/>
                    </a:lnTo>
                    <a:lnTo>
                      <a:pt x="458" y="7"/>
                    </a:lnTo>
                    <a:lnTo>
                      <a:pt x="467" y="25"/>
                    </a:lnTo>
                    <a:lnTo>
                      <a:pt x="452" y="44"/>
                    </a:lnTo>
                    <a:lnTo>
                      <a:pt x="426" y="80"/>
                    </a:lnTo>
                    <a:lnTo>
                      <a:pt x="426" y="89"/>
                    </a:lnTo>
                    <a:lnTo>
                      <a:pt x="442" y="100"/>
                    </a:lnTo>
                    <a:lnTo>
                      <a:pt x="542" y="59"/>
                    </a:lnTo>
                    <a:lnTo>
                      <a:pt x="575" y="80"/>
                    </a:lnTo>
                    <a:lnTo>
                      <a:pt x="585" y="70"/>
                    </a:lnTo>
                    <a:lnTo>
                      <a:pt x="575" y="49"/>
                    </a:lnTo>
                    <a:lnTo>
                      <a:pt x="578" y="34"/>
                    </a:lnTo>
                    <a:lnTo>
                      <a:pt x="642" y="49"/>
                    </a:lnTo>
                    <a:lnTo>
                      <a:pt x="654" y="57"/>
                    </a:lnTo>
                    <a:lnTo>
                      <a:pt x="670" y="55"/>
                    </a:lnTo>
                    <a:lnTo>
                      <a:pt x="698" y="89"/>
                    </a:lnTo>
                    <a:lnTo>
                      <a:pt x="728" y="153"/>
                    </a:lnTo>
                    <a:lnTo>
                      <a:pt x="708" y="167"/>
                    </a:lnTo>
                    <a:lnTo>
                      <a:pt x="690" y="201"/>
                    </a:lnTo>
                    <a:lnTo>
                      <a:pt x="675" y="206"/>
                    </a:lnTo>
                    <a:lnTo>
                      <a:pt x="662" y="234"/>
                    </a:lnTo>
                    <a:lnTo>
                      <a:pt x="612" y="258"/>
                    </a:lnTo>
                    <a:lnTo>
                      <a:pt x="593" y="246"/>
                    </a:lnTo>
                    <a:lnTo>
                      <a:pt x="580" y="268"/>
                    </a:lnTo>
                    <a:lnTo>
                      <a:pt x="580" y="275"/>
                    </a:lnTo>
                    <a:lnTo>
                      <a:pt x="566" y="275"/>
                    </a:lnTo>
                    <a:lnTo>
                      <a:pt x="539" y="275"/>
                    </a:lnTo>
                    <a:lnTo>
                      <a:pt x="514" y="293"/>
                    </a:lnTo>
                    <a:lnTo>
                      <a:pt x="497" y="284"/>
                    </a:lnTo>
                    <a:lnTo>
                      <a:pt x="474" y="296"/>
                    </a:lnTo>
                    <a:lnTo>
                      <a:pt x="422" y="320"/>
                    </a:lnTo>
                    <a:lnTo>
                      <a:pt x="376" y="285"/>
                    </a:lnTo>
                    <a:lnTo>
                      <a:pt x="374" y="312"/>
                    </a:lnTo>
                    <a:lnTo>
                      <a:pt x="389" y="354"/>
                    </a:lnTo>
                    <a:lnTo>
                      <a:pt x="349" y="369"/>
                    </a:lnTo>
                    <a:lnTo>
                      <a:pt x="327" y="399"/>
                    </a:lnTo>
                    <a:lnTo>
                      <a:pt x="286" y="411"/>
                    </a:lnTo>
                    <a:lnTo>
                      <a:pt x="263" y="418"/>
                    </a:lnTo>
                    <a:lnTo>
                      <a:pt x="219" y="418"/>
                    </a:lnTo>
                    <a:lnTo>
                      <a:pt x="189" y="450"/>
                    </a:lnTo>
                    <a:lnTo>
                      <a:pt x="111" y="477"/>
                    </a:lnTo>
                    <a:lnTo>
                      <a:pt x="70" y="502"/>
                    </a:lnTo>
                    <a:lnTo>
                      <a:pt x="52" y="521"/>
                    </a:lnTo>
                    <a:lnTo>
                      <a:pt x="88" y="582"/>
                    </a:lnTo>
                    <a:lnTo>
                      <a:pt x="64" y="603"/>
                    </a:lnTo>
                    <a:lnTo>
                      <a:pt x="35" y="599"/>
                    </a:lnTo>
                    <a:lnTo>
                      <a:pt x="0" y="539"/>
                    </a:lnTo>
                    <a:lnTo>
                      <a:pt x="8" y="491"/>
                    </a:lnTo>
                    <a:lnTo>
                      <a:pt x="8" y="472"/>
                    </a:lnTo>
                    <a:lnTo>
                      <a:pt x="33" y="431"/>
                    </a:lnTo>
                    <a:lnTo>
                      <a:pt x="64" y="423"/>
                    </a:lnTo>
                    <a:lnTo>
                      <a:pt x="61" y="403"/>
                    </a:lnTo>
                    <a:lnTo>
                      <a:pt x="93" y="388"/>
                    </a:lnTo>
                    <a:lnTo>
                      <a:pt x="98" y="352"/>
                    </a:lnTo>
                    <a:lnTo>
                      <a:pt x="155" y="308"/>
                    </a:lnTo>
                    <a:lnTo>
                      <a:pt x="153" y="246"/>
                    </a:lnTo>
                    <a:lnTo>
                      <a:pt x="196" y="193"/>
                    </a:lnTo>
                    <a:lnTo>
                      <a:pt x="194" y="170"/>
                    </a:lnTo>
                    <a:lnTo>
                      <a:pt x="209" y="151"/>
                    </a:lnTo>
                    <a:lnTo>
                      <a:pt x="194" y="103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73" name="Freeform 24"/>
              <p:cNvSpPr>
                <a:spLocks/>
              </p:cNvSpPr>
              <p:nvPr/>
            </p:nvSpPr>
            <p:spPr bwMode="auto">
              <a:xfrm>
                <a:off x="4069748" y="5099149"/>
                <a:ext cx="822325" cy="581025"/>
              </a:xfrm>
              <a:custGeom>
                <a:avLst/>
                <a:gdLst>
                  <a:gd name="T0" fmla="*/ 34 w 753"/>
                  <a:gd name="T1" fmla="*/ 211 h 542"/>
                  <a:gd name="T2" fmla="*/ 80 w 753"/>
                  <a:gd name="T3" fmla="*/ 187 h 542"/>
                  <a:gd name="T4" fmla="*/ 159 w 753"/>
                  <a:gd name="T5" fmla="*/ 207 h 542"/>
                  <a:gd name="T6" fmla="*/ 175 w 753"/>
                  <a:gd name="T7" fmla="*/ 173 h 542"/>
                  <a:gd name="T8" fmla="*/ 284 w 753"/>
                  <a:gd name="T9" fmla="*/ 133 h 542"/>
                  <a:gd name="T10" fmla="*/ 373 w 753"/>
                  <a:gd name="T11" fmla="*/ 107 h 542"/>
                  <a:gd name="T12" fmla="*/ 410 w 753"/>
                  <a:gd name="T13" fmla="*/ 117 h 542"/>
                  <a:gd name="T14" fmla="*/ 438 w 753"/>
                  <a:gd name="T15" fmla="*/ 95 h 542"/>
                  <a:gd name="T16" fmla="*/ 450 w 753"/>
                  <a:gd name="T17" fmla="*/ 73 h 542"/>
                  <a:gd name="T18" fmla="*/ 489 w 753"/>
                  <a:gd name="T19" fmla="*/ 46 h 542"/>
                  <a:gd name="T20" fmla="*/ 537 w 753"/>
                  <a:gd name="T21" fmla="*/ 19 h 542"/>
                  <a:gd name="T22" fmla="*/ 557 w 753"/>
                  <a:gd name="T23" fmla="*/ 44 h 542"/>
                  <a:gd name="T24" fmla="*/ 606 w 753"/>
                  <a:gd name="T25" fmla="*/ 9 h 542"/>
                  <a:gd name="T26" fmla="*/ 656 w 753"/>
                  <a:gd name="T27" fmla="*/ 9 h 542"/>
                  <a:gd name="T28" fmla="*/ 681 w 753"/>
                  <a:gd name="T29" fmla="*/ 47 h 542"/>
                  <a:gd name="T30" fmla="*/ 651 w 753"/>
                  <a:gd name="T31" fmla="*/ 119 h 542"/>
                  <a:gd name="T32" fmla="*/ 651 w 753"/>
                  <a:gd name="T33" fmla="*/ 151 h 542"/>
                  <a:gd name="T34" fmla="*/ 700 w 753"/>
                  <a:gd name="T35" fmla="*/ 176 h 542"/>
                  <a:gd name="T36" fmla="*/ 736 w 753"/>
                  <a:gd name="T37" fmla="*/ 164 h 542"/>
                  <a:gd name="T38" fmla="*/ 736 w 753"/>
                  <a:gd name="T39" fmla="*/ 231 h 542"/>
                  <a:gd name="T40" fmla="*/ 694 w 753"/>
                  <a:gd name="T41" fmla="*/ 308 h 542"/>
                  <a:gd name="T42" fmla="*/ 640 w 753"/>
                  <a:gd name="T43" fmla="*/ 413 h 542"/>
                  <a:gd name="T44" fmla="*/ 603 w 753"/>
                  <a:gd name="T45" fmla="*/ 465 h 542"/>
                  <a:gd name="T46" fmla="*/ 574 w 753"/>
                  <a:gd name="T47" fmla="*/ 493 h 542"/>
                  <a:gd name="T48" fmla="*/ 485 w 753"/>
                  <a:gd name="T49" fmla="*/ 541 h 542"/>
                  <a:gd name="T50" fmla="*/ 417 w 753"/>
                  <a:gd name="T51" fmla="*/ 503 h 542"/>
                  <a:gd name="T52" fmla="*/ 347 w 753"/>
                  <a:gd name="T53" fmla="*/ 541 h 542"/>
                  <a:gd name="T54" fmla="*/ 232 w 753"/>
                  <a:gd name="T55" fmla="*/ 499 h 542"/>
                  <a:gd name="T56" fmla="*/ 237 w 753"/>
                  <a:gd name="T57" fmla="*/ 418 h 542"/>
                  <a:gd name="T58" fmla="*/ 185 w 753"/>
                  <a:gd name="T59" fmla="*/ 404 h 542"/>
                  <a:gd name="T60" fmla="*/ 147 w 753"/>
                  <a:gd name="T61" fmla="*/ 404 h 542"/>
                  <a:gd name="T62" fmla="*/ 127 w 753"/>
                  <a:gd name="T63" fmla="*/ 346 h 542"/>
                  <a:gd name="T64" fmla="*/ 161 w 753"/>
                  <a:gd name="T65" fmla="*/ 337 h 542"/>
                  <a:gd name="T66" fmla="*/ 159 w 753"/>
                  <a:gd name="T67" fmla="*/ 289 h 542"/>
                  <a:gd name="T68" fmla="*/ 62 w 753"/>
                  <a:gd name="T69" fmla="*/ 249 h 542"/>
                  <a:gd name="T70" fmla="*/ 14 w 753"/>
                  <a:gd name="T71" fmla="*/ 249 h 542"/>
                  <a:gd name="T72" fmla="*/ 0 w 753"/>
                  <a:gd name="T73" fmla="*/ 207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53" h="542">
                    <a:moveTo>
                      <a:pt x="0" y="207"/>
                    </a:moveTo>
                    <a:lnTo>
                      <a:pt x="34" y="211"/>
                    </a:lnTo>
                    <a:lnTo>
                      <a:pt x="67" y="178"/>
                    </a:lnTo>
                    <a:lnTo>
                      <a:pt x="80" y="187"/>
                    </a:lnTo>
                    <a:lnTo>
                      <a:pt x="147" y="215"/>
                    </a:lnTo>
                    <a:lnTo>
                      <a:pt x="159" y="207"/>
                    </a:lnTo>
                    <a:lnTo>
                      <a:pt x="161" y="187"/>
                    </a:lnTo>
                    <a:lnTo>
                      <a:pt x="175" y="173"/>
                    </a:lnTo>
                    <a:lnTo>
                      <a:pt x="269" y="112"/>
                    </a:lnTo>
                    <a:lnTo>
                      <a:pt x="284" y="133"/>
                    </a:lnTo>
                    <a:lnTo>
                      <a:pt x="343" y="148"/>
                    </a:lnTo>
                    <a:lnTo>
                      <a:pt x="373" y="107"/>
                    </a:lnTo>
                    <a:lnTo>
                      <a:pt x="387" y="117"/>
                    </a:lnTo>
                    <a:lnTo>
                      <a:pt x="410" y="117"/>
                    </a:lnTo>
                    <a:lnTo>
                      <a:pt x="410" y="105"/>
                    </a:lnTo>
                    <a:lnTo>
                      <a:pt x="438" y="95"/>
                    </a:lnTo>
                    <a:lnTo>
                      <a:pt x="438" y="86"/>
                    </a:lnTo>
                    <a:lnTo>
                      <a:pt x="450" y="73"/>
                    </a:lnTo>
                    <a:lnTo>
                      <a:pt x="458" y="75"/>
                    </a:lnTo>
                    <a:lnTo>
                      <a:pt x="489" y="46"/>
                    </a:lnTo>
                    <a:lnTo>
                      <a:pt x="513" y="52"/>
                    </a:lnTo>
                    <a:lnTo>
                      <a:pt x="537" y="19"/>
                    </a:lnTo>
                    <a:lnTo>
                      <a:pt x="550" y="46"/>
                    </a:lnTo>
                    <a:lnTo>
                      <a:pt x="557" y="44"/>
                    </a:lnTo>
                    <a:lnTo>
                      <a:pt x="596" y="7"/>
                    </a:lnTo>
                    <a:lnTo>
                      <a:pt x="606" y="9"/>
                    </a:lnTo>
                    <a:lnTo>
                      <a:pt x="624" y="0"/>
                    </a:lnTo>
                    <a:lnTo>
                      <a:pt x="656" y="9"/>
                    </a:lnTo>
                    <a:lnTo>
                      <a:pt x="656" y="44"/>
                    </a:lnTo>
                    <a:lnTo>
                      <a:pt x="681" y="47"/>
                    </a:lnTo>
                    <a:lnTo>
                      <a:pt x="672" y="82"/>
                    </a:lnTo>
                    <a:lnTo>
                      <a:pt x="651" y="119"/>
                    </a:lnTo>
                    <a:lnTo>
                      <a:pt x="640" y="151"/>
                    </a:lnTo>
                    <a:lnTo>
                      <a:pt x="651" y="151"/>
                    </a:lnTo>
                    <a:lnTo>
                      <a:pt x="678" y="127"/>
                    </a:lnTo>
                    <a:lnTo>
                      <a:pt x="700" y="176"/>
                    </a:lnTo>
                    <a:lnTo>
                      <a:pt x="717" y="164"/>
                    </a:lnTo>
                    <a:lnTo>
                      <a:pt x="736" y="164"/>
                    </a:lnTo>
                    <a:lnTo>
                      <a:pt x="752" y="213"/>
                    </a:lnTo>
                    <a:lnTo>
                      <a:pt x="736" y="231"/>
                    </a:lnTo>
                    <a:lnTo>
                      <a:pt x="738" y="254"/>
                    </a:lnTo>
                    <a:lnTo>
                      <a:pt x="694" y="308"/>
                    </a:lnTo>
                    <a:lnTo>
                      <a:pt x="696" y="369"/>
                    </a:lnTo>
                    <a:lnTo>
                      <a:pt x="640" y="413"/>
                    </a:lnTo>
                    <a:lnTo>
                      <a:pt x="635" y="449"/>
                    </a:lnTo>
                    <a:lnTo>
                      <a:pt x="603" y="465"/>
                    </a:lnTo>
                    <a:lnTo>
                      <a:pt x="606" y="484"/>
                    </a:lnTo>
                    <a:lnTo>
                      <a:pt x="574" y="493"/>
                    </a:lnTo>
                    <a:lnTo>
                      <a:pt x="550" y="533"/>
                    </a:lnTo>
                    <a:lnTo>
                      <a:pt x="485" y="541"/>
                    </a:lnTo>
                    <a:lnTo>
                      <a:pt x="450" y="517"/>
                    </a:lnTo>
                    <a:lnTo>
                      <a:pt x="417" y="503"/>
                    </a:lnTo>
                    <a:lnTo>
                      <a:pt x="382" y="538"/>
                    </a:lnTo>
                    <a:lnTo>
                      <a:pt x="347" y="541"/>
                    </a:lnTo>
                    <a:lnTo>
                      <a:pt x="311" y="541"/>
                    </a:lnTo>
                    <a:lnTo>
                      <a:pt x="232" y="499"/>
                    </a:lnTo>
                    <a:lnTo>
                      <a:pt x="220" y="460"/>
                    </a:lnTo>
                    <a:lnTo>
                      <a:pt x="237" y="418"/>
                    </a:lnTo>
                    <a:lnTo>
                      <a:pt x="215" y="404"/>
                    </a:lnTo>
                    <a:lnTo>
                      <a:pt x="185" y="404"/>
                    </a:lnTo>
                    <a:lnTo>
                      <a:pt x="179" y="394"/>
                    </a:lnTo>
                    <a:lnTo>
                      <a:pt x="147" y="404"/>
                    </a:lnTo>
                    <a:lnTo>
                      <a:pt x="115" y="381"/>
                    </a:lnTo>
                    <a:lnTo>
                      <a:pt x="127" y="346"/>
                    </a:lnTo>
                    <a:lnTo>
                      <a:pt x="152" y="345"/>
                    </a:lnTo>
                    <a:lnTo>
                      <a:pt x="161" y="337"/>
                    </a:lnTo>
                    <a:lnTo>
                      <a:pt x="171" y="305"/>
                    </a:lnTo>
                    <a:lnTo>
                      <a:pt x="159" y="289"/>
                    </a:lnTo>
                    <a:lnTo>
                      <a:pt x="75" y="272"/>
                    </a:lnTo>
                    <a:lnTo>
                      <a:pt x="62" y="249"/>
                    </a:lnTo>
                    <a:lnTo>
                      <a:pt x="39" y="249"/>
                    </a:lnTo>
                    <a:lnTo>
                      <a:pt x="14" y="249"/>
                    </a:lnTo>
                    <a:lnTo>
                      <a:pt x="0" y="223"/>
                    </a:lnTo>
                    <a:lnTo>
                      <a:pt x="0" y="207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74" name="Freeform 25"/>
              <p:cNvSpPr>
                <a:spLocks/>
              </p:cNvSpPr>
              <p:nvPr/>
            </p:nvSpPr>
            <p:spPr bwMode="auto">
              <a:xfrm>
                <a:off x="4523773" y="4668936"/>
                <a:ext cx="569912" cy="622300"/>
              </a:xfrm>
              <a:custGeom>
                <a:avLst/>
                <a:gdLst>
                  <a:gd name="T0" fmla="*/ 446 w 521"/>
                  <a:gd name="T1" fmla="*/ 70 h 582"/>
                  <a:gd name="T2" fmla="*/ 435 w 521"/>
                  <a:gd name="T3" fmla="*/ 21 h 582"/>
                  <a:gd name="T4" fmla="*/ 399 w 521"/>
                  <a:gd name="T5" fmla="*/ 28 h 582"/>
                  <a:gd name="T6" fmla="*/ 371 w 521"/>
                  <a:gd name="T7" fmla="*/ 46 h 582"/>
                  <a:gd name="T8" fmla="*/ 343 w 521"/>
                  <a:gd name="T9" fmla="*/ 26 h 582"/>
                  <a:gd name="T10" fmla="*/ 295 w 521"/>
                  <a:gd name="T11" fmla="*/ 33 h 582"/>
                  <a:gd name="T12" fmla="*/ 141 w 521"/>
                  <a:gd name="T13" fmla="*/ 0 h 582"/>
                  <a:gd name="T14" fmla="*/ 151 w 521"/>
                  <a:gd name="T15" fmla="*/ 39 h 582"/>
                  <a:gd name="T16" fmla="*/ 82 w 521"/>
                  <a:gd name="T17" fmla="*/ 39 h 582"/>
                  <a:gd name="T18" fmla="*/ 25 w 521"/>
                  <a:gd name="T19" fmla="*/ 110 h 582"/>
                  <a:gd name="T20" fmla="*/ 49 w 521"/>
                  <a:gd name="T21" fmla="*/ 277 h 582"/>
                  <a:gd name="T22" fmla="*/ 4 w 521"/>
                  <a:gd name="T23" fmla="*/ 338 h 582"/>
                  <a:gd name="T24" fmla="*/ 63 w 521"/>
                  <a:gd name="T25" fmla="*/ 345 h 582"/>
                  <a:gd name="T26" fmla="*/ 76 w 521"/>
                  <a:gd name="T27" fmla="*/ 451 h 582"/>
                  <a:gd name="T28" fmla="*/ 124 w 521"/>
                  <a:gd name="T29" fmla="*/ 423 h 582"/>
                  <a:gd name="T30" fmla="*/ 144 w 521"/>
                  <a:gd name="T31" fmla="*/ 447 h 582"/>
                  <a:gd name="T32" fmla="*/ 194 w 521"/>
                  <a:gd name="T33" fmla="*/ 414 h 582"/>
                  <a:gd name="T34" fmla="*/ 242 w 521"/>
                  <a:gd name="T35" fmla="*/ 414 h 582"/>
                  <a:gd name="T36" fmla="*/ 267 w 521"/>
                  <a:gd name="T37" fmla="*/ 452 h 582"/>
                  <a:gd name="T38" fmla="*/ 237 w 521"/>
                  <a:gd name="T39" fmla="*/ 524 h 582"/>
                  <a:gd name="T40" fmla="*/ 237 w 521"/>
                  <a:gd name="T41" fmla="*/ 555 h 582"/>
                  <a:gd name="T42" fmla="*/ 288 w 521"/>
                  <a:gd name="T43" fmla="*/ 581 h 582"/>
                  <a:gd name="T44" fmla="*/ 323 w 521"/>
                  <a:gd name="T45" fmla="*/ 568 h 582"/>
                  <a:gd name="T46" fmla="*/ 343 w 521"/>
                  <a:gd name="T47" fmla="*/ 524 h 582"/>
                  <a:gd name="T48" fmla="*/ 378 w 521"/>
                  <a:gd name="T49" fmla="*/ 517 h 582"/>
                  <a:gd name="T50" fmla="*/ 426 w 521"/>
                  <a:gd name="T51" fmla="*/ 522 h 582"/>
                  <a:gd name="T52" fmla="*/ 419 w 521"/>
                  <a:gd name="T53" fmla="*/ 493 h 582"/>
                  <a:gd name="T54" fmla="*/ 492 w 521"/>
                  <a:gd name="T55" fmla="*/ 482 h 582"/>
                  <a:gd name="T56" fmla="*/ 509 w 521"/>
                  <a:gd name="T57" fmla="*/ 447 h 582"/>
                  <a:gd name="T58" fmla="*/ 517 w 521"/>
                  <a:gd name="T59" fmla="*/ 350 h 582"/>
                  <a:gd name="T60" fmla="*/ 485 w 521"/>
                  <a:gd name="T61" fmla="*/ 303 h 582"/>
                  <a:gd name="T62" fmla="*/ 476 w 521"/>
                  <a:gd name="T63" fmla="*/ 264 h 582"/>
                  <a:gd name="T64" fmla="*/ 458 w 521"/>
                  <a:gd name="T65" fmla="*/ 260 h 582"/>
                  <a:gd name="T66" fmla="*/ 485 w 521"/>
                  <a:gd name="T67" fmla="*/ 190 h 582"/>
                  <a:gd name="T68" fmla="*/ 497 w 521"/>
                  <a:gd name="T69" fmla="*/ 133 h 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1" h="582">
                    <a:moveTo>
                      <a:pt x="468" y="75"/>
                    </a:moveTo>
                    <a:lnTo>
                      <a:pt x="446" y="70"/>
                    </a:lnTo>
                    <a:lnTo>
                      <a:pt x="435" y="55"/>
                    </a:lnTo>
                    <a:lnTo>
                      <a:pt x="435" y="21"/>
                    </a:lnTo>
                    <a:lnTo>
                      <a:pt x="423" y="4"/>
                    </a:lnTo>
                    <a:lnTo>
                      <a:pt x="399" y="28"/>
                    </a:lnTo>
                    <a:lnTo>
                      <a:pt x="387" y="46"/>
                    </a:lnTo>
                    <a:lnTo>
                      <a:pt x="371" y="46"/>
                    </a:lnTo>
                    <a:lnTo>
                      <a:pt x="366" y="19"/>
                    </a:lnTo>
                    <a:lnTo>
                      <a:pt x="343" y="26"/>
                    </a:lnTo>
                    <a:lnTo>
                      <a:pt x="313" y="46"/>
                    </a:lnTo>
                    <a:lnTo>
                      <a:pt x="295" y="33"/>
                    </a:lnTo>
                    <a:lnTo>
                      <a:pt x="254" y="7"/>
                    </a:lnTo>
                    <a:lnTo>
                      <a:pt x="141" y="0"/>
                    </a:lnTo>
                    <a:lnTo>
                      <a:pt x="129" y="12"/>
                    </a:lnTo>
                    <a:lnTo>
                      <a:pt x="151" y="39"/>
                    </a:lnTo>
                    <a:lnTo>
                      <a:pt x="124" y="55"/>
                    </a:lnTo>
                    <a:lnTo>
                      <a:pt x="82" y="39"/>
                    </a:lnTo>
                    <a:lnTo>
                      <a:pt x="39" y="75"/>
                    </a:lnTo>
                    <a:lnTo>
                      <a:pt x="25" y="110"/>
                    </a:lnTo>
                    <a:lnTo>
                      <a:pt x="27" y="190"/>
                    </a:lnTo>
                    <a:lnTo>
                      <a:pt x="49" y="277"/>
                    </a:lnTo>
                    <a:lnTo>
                      <a:pt x="0" y="331"/>
                    </a:lnTo>
                    <a:lnTo>
                      <a:pt x="4" y="338"/>
                    </a:lnTo>
                    <a:lnTo>
                      <a:pt x="49" y="326"/>
                    </a:lnTo>
                    <a:lnTo>
                      <a:pt x="63" y="345"/>
                    </a:lnTo>
                    <a:lnTo>
                      <a:pt x="50" y="406"/>
                    </a:lnTo>
                    <a:lnTo>
                      <a:pt x="76" y="451"/>
                    </a:lnTo>
                    <a:lnTo>
                      <a:pt x="100" y="457"/>
                    </a:lnTo>
                    <a:lnTo>
                      <a:pt x="124" y="423"/>
                    </a:lnTo>
                    <a:lnTo>
                      <a:pt x="136" y="451"/>
                    </a:lnTo>
                    <a:lnTo>
                      <a:pt x="144" y="447"/>
                    </a:lnTo>
                    <a:lnTo>
                      <a:pt x="183" y="411"/>
                    </a:lnTo>
                    <a:lnTo>
                      <a:pt x="194" y="414"/>
                    </a:lnTo>
                    <a:lnTo>
                      <a:pt x="212" y="404"/>
                    </a:lnTo>
                    <a:lnTo>
                      <a:pt x="242" y="414"/>
                    </a:lnTo>
                    <a:lnTo>
                      <a:pt x="242" y="447"/>
                    </a:lnTo>
                    <a:lnTo>
                      <a:pt x="267" y="452"/>
                    </a:lnTo>
                    <a:lnTo>
                      <a:pt x="259" y="487"/>
                    </a:lnTo>
                    <a:lnTo>
                      <a:pt x="237" y="524"/>
                    </a:lnTo>
                    <a:lnTo>
                      <a:pt x="226" y="555"/>
                    </a:lnTo>
                    <a:lnTo>
                      <a:pt x="237" y="555"/>
                    </a:lnTo>
                    <a:lnTo>
                      <a:pt x="265" y="531"/>
                    </a:lnTo>
                    <a:lnTo>
                      <a:pt x="288" y="581"/>
                    </a:lnTo>
                    <a:lnTo>
                      <a:pt x="303" y="568"/>
                    </a:lnTo>
                    <a:lnTo>
                      <a:pt x="323" y="568"/>
                    </a:lnTo>
                    <a:lnTo>
                      <a:pt x="343" y="553"/>
                    </a:lnTo>
                    <a:lnTo>
                      <a:pt x="343" y="524"/>
                    </a:lnTo>
                    <a:lnTo>
                      <a:pt x="353" y="514"/>
                    </a:lnTo>
                    <a:lnTo>
                      <a:pt x="378" y="517"/>
                    </a:lnTo>
                    <a:lnTo>
                      <a:pt x="419" y="536"/>
                    </a:lnTo>
                    <a:lnTo>
                      <a:pt x="426" y="522"/>
                    </a:lnTo>
                    <a:lnTo>
                      <a:pt x="416" y="505"/>
                    </a:lnTo>
                    <a:lnTo>
                      <a:pt x="419" y="493"/>
                    </a:lnTo>
                    <a:lnTo>
                      <a:pt x="446" y="470"/>
                    </a:lnTo>
                    <a:lnTo>
                      <a:pt x="492" y="482"/>
                    </a:lnTo>
                    <a:lnTo>
                      <a:pt x="520" y="465"/>
                    </a:lnTo>
                    <a:lnTo>
                      <a:pt x="509" y="447"/>
                    </a:lnTo>
                    <a:lnTo>
                      <a:pt x="520" y="409"/>
                    </a:lnTo>
                    <a:lnTo>
                      <a:pt x="517" y="350"/>
                    </a:lnTo>
                    <a:lnTo>
                      <a:pt x="499" y="343"/>
                    </a:lnTo>
                    <a:lnTo>
                      <a:pt x="485" y="303"/>
                    </a:lnTo>
                    <a:lnTo>
                      <a:pt x="485" y="268"/>
                    </a:lnTo>
                    <a:lnTo>
                      <a:pt x="476" y="264"/>
                    </a:lnTo>
                    <a:lnTo>
                      <a:pt x="465" y="268"/>
                    </a:lnTo>
                    <a:lnTo>
                      <a:pt x="458" y="260"/>
                    </a:lnTo>
                    <a:lnTo>
                      <a:pt x="463" y="208"/>
                    </a:lnTo>
                    <a:lnTo>
                      <a:pt x="485" y="190"/>
                    </a:lnTo>
                    <a:lnTo>
                      <a:pt x="499" y="160"/>
                    </a:lnTo>
                    <a:lnTo>
                      <a:pt x="497" y="133"/>
                    </a:lnTo>
                    <a:lnTo>
                      <a:pt x="468" y="75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75" name="Freeform 26"/>
              <p:cNvSpPr>
                <a:spLocks/>
              </p:cNvSpPr>
              <p:nvPr/>
            </p:nvSpPr>
            <p:spPr bwMode="auto">
              <a:xfrm>
                <a:off x="4457098" y="4300636"/>
                <a:ext cx="801687" cy="490538"/>
              </a:xfrm>
              <a:custGeom>
                <a:avLst/>
                <a:gdLst>
                  <a:gd name="T0" fmla="*/ 99 w 733"/>
                  <a:gd name="T1" fmla="*/ 420 h 456"/>
                  <a:gd name="T2" fmla="*/ 184 w 733"/>
                  <a:gd name="T3" fmla="*/ 400 h 456"/>
                  <a:gd name="T4" fmla="*/ 189 w 733"/>
                  <a:gd name="T5" fmla="*/ 356 h 456"/>
                  <a:gd name="T6" fmla="*/ 315 w 733"/>
                  <a:gd name="T7" fmla="*/ 351 h 456"/>
                  <a:gd name="T8" fmla="*/ 375 w 733"/>
                  <a:gd name="T9" fmla="*/ 391 h 456"/>
                  <a:gd name="T10" fmla="*/ 427 w 733"/>
                  <a:gd name="T11" fmla="*/ 363 h 456"/>
                  <a:gd name="T12" fmla="*/ 448 w 733"/>
                  <a:gd name="T13" fmla="*/ 391 h 456"/>
                  <a:gd name="T14" fmla="*/ 486 w 733"/>
                  <a:gd name="T15" fmla="*/ 349 h 456"/>
                  <a:gd name="T16" fmla="*/ 498 w 733"/>
                  <a:gd name="T17" fmla="*/ 400 h 456"/>
                  <a:gd name="T18" fmla="*/ 530 w 733"/>
                  <a:gd name="T19" fmla="*/ 420 h 456"/>
                  <a:gd name="T20" fmla="*/ 591 w 733"/>
                  <a:gd name="T21" fmla="*/ 384 h 456"/>
                  <a:gd name="T22" fmla="*/ 692 w 733"/>
                  <a:gd name="T23" fmla="*/ 322 h 456"/>
                  <a:gd name="T24" fmla="*/ 684 w 733"/>
                  <a:gd name="T25" fmla="*/ 222 h 456"/>
                  <a:gd name="T26" fmla="*/ 693 w 733"/>
                  <a:gd name="T27" fmla="*/ 187 h 456"/>
                  <a:gd name="T28" fmla="*/ 628 w 733"/>
                  <a:gd name="T29" fmla="*/ 153 h 456"/>
                  <a:gd name="T30" fmla="*/ 582 w 733"/>
                  <a:gd name="T31" fmla="*/ 153 h 456"/>
                  <a:gd name="T32" fmla="*/ 513 w 733"/>
                  <a:gd name="T33" fmla="*/ 128 h 456"/>
                  <a:gd name="T34" fmla="*/ 476 w 733"/>
                  <a:gd name="T35" fmla="*/ 91 h 456"/>
                  <a:gd name="T36" fmla="*/ 439 w 733"/>
                  <a:gd name="T37" fmla="*/ 85 h 456"/>
                  <a:gd name="T38" fmla="*/ 358 w 733"/>
                  <a:gd name="T39" fmla="*/ 85 h 456"/>
                  <a:gd name="T40" fmla="*/ 210 w 733"/>
                  <a:gd name="T41" fmla="*/ 0 h 456"/>
                  <a:gd name="T42" fmla="*/ 180 w 733"/>
                  <a:gd name="T43" fmla="*/ 10 h 456"/>
                  <a:gd name="T44" fmla="*/ 87 w 733"/>
                  <a:gd name="T45" fmla="*/ 10 h 456"/>
                  <a:gd name="T46" fmla="*/ 99 w 733"/>
                  <a:gd name="T47" fmla="*/ 42 h 456"/>
                  <a:gd name="T48" fmla="*/ 142 w 733"/>
                  <a:gd name="T49" fmla="*/ 52 h 456"/>
                  <a:gd name="T50" fmla="*/ 94 w 733"/>
                  <a:gd name="T51" fmla="*/ 85 h 456"/>
                  <a:gd name="T52" fmla="*/ 94 w 733"/>
                  <a:gd name="T53" fmla="*/ 123 h 456"/>
                  <a:gd name="T54" fmla="*/ 122 w 733"/>
                  <a:gd name="T55" fmla="*/ 164 h 456"/>
                  <a:gd name="T56" fmla="*/ 154 w 733"/>
                  <a:gd name="T57" fmla="*/ 249 h 456"/>
                  <a:gd name="T58" fmla="*/ 133 w 733"/>
                  <a:gd name="T59" fmla="*/ 264 h 456"/>
                  <a:gd name="T60" fmla="*/ 19 w 733"/>
                  <a:gd name="T61" fmla="*/ 308 h 456"/>
                  <a:gd name="T62" fmla="*/ 14 w 733"/>
                  <a:gd name="T63" fmla="*/ 346 h 456"/>
                  <a:gd name="T64" fmla="*/ 36 w 733"/>
                  <a:gd name="T65" fmla="*/ 393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3" h="456">
                    <a:moveTo>
                      <a:pt x="85" y="455"/>
                    </a:moveTo>
                    <a:lnTo>
                      <a:pt x="99" y="420"/>
                    </a:lnTo>
                    <a:lnTo>
                      <a:pt x="144" y="384"/>
                    </a:lnTo>
                    <a:lnTo>
                      <a:pt x="184" y="400"/>
                    </a:lnTo>
                    <a:lnTo>
                      <a:pt x="212" y="384"/>
                    </a:lnTo>
                    <a:lnTo>
                      <a:pt x="189" y="356"/>
                    </a:lnTo>
                    <a:lnTo>
                      <a:pt x="202" y="344"/>
                    </a:lnTo>
                    <a:lnTo>
                      <a:pt x="315" y="351"/>
                    </a:lnTo>
                    <a:lnTo>
                      <a:pt x="356" y="378"/>
                    </a:lnTo>
                    <a:lnTo>
                      <a:pt x="375" y="391"/>
                    </a:lnTo>
                    <a:lnTo>
                      <a:pt x="405" y="370"/>
                    </a:lnTo>
                    <a:lnTo>
                      <a:pt x="427" y="363"/>
                    </a:lnTo>
                    <a:lnTo>
                      <a:pt x="432" y="391"/>
                    </a:lnTo>
                    <a:lnTo>
                      <a:pt x="448" y="391"/>
                    </a:lnTo>
                    <a:lnTo>
                      <a:pt x="462" y="373"/>
                    </a:lnTo>
                    <a:lnTo>
                      <a:pt x="486" y="349"/>
                    </a:lnTo>
                    <a:lnTo>
                      <a:pt x="498" y="366"/>
                    </a:lnTo>
                    <a:lnTo>
                      <a:pt x="498" y="400"/>
                    </a:lnTo>
                    <a:lnTo>
                      <a:pt x="508" y="416"/>
                    </a:lnTo>
                    <a:lnTo>
                      <a:pt x="530" y="420"/>
                    </a:lnTo>
                    <a:lnTo>
                      <a:pt x="554" y="396"/>
                    </a:lnTo>
                    <a:lnTo>
                      <a:pt x="591" y="384"/>
                    </a:lnTo>
                    <a:lnTo>
                      <a:pt x="661" y="320"/>
                    </a:lnTo>
                    <a:lnTo>
                      <a:pt x="692" y="322"/>
                    </a:lnTo>
                    <a:lnTo>
                      <a:pt x="732" y="310"/>
                    </a:lnTo>
                    <a:lnTo>
                      <a:pt x="684" y="222"/>
                    </a:lnTo>
                    <a:lnTo>
                      <a:pt x="699" y="195"/>
                    </a:lnTo>
                    <a:lnTo>
                      <a:pt x="693" y="187"/>
                    </a:lnTo>
                    <a:lnTo>
                      <a:pt x="670" y="178"/>
                    </a:lnTo>
                    <a:lnTo>
                      <a:pt x="628" y="153"/>
                    </a:lnTo>
                    <a:lnTo>
                      <a:pt x="608" y="141"/>
                    </a:lnTo>
                    <a:lnTo>
                      <a:pt x="582" y="153"/>
                    </a:lnTo>
                    <a:lnTo>
                      <a:pt x="552" y="128"/>
                    </a:lnTo>
                    <a:lnTo>
                      <a:pt x="513" y="128"/>
                    </a:lnTo>
                    <a:lnTo>
                      <a:pt x="483" y="114"/>
                    </a:lnTo>
                    <a:lnTo>
                      <a:pt x="476" y="91"/>
                    </a:lnTo>
                    <a:lnTo>
                      <a:pt x="462" y="73"/>
                    </a:lnTo>
                    <a:lnTo>
                      <a:pt x="439" y="85"/>
                    </a:lnTo>
                    <a:lnTo>
                      <a:pt x="420" y="78"/>
                    </a:lnTo>
                    <a:lnTo>
                      <a:pt x="358" y="85"/>
                    </a:lnTo>
                    <a:lnTo>
                      <a:pt x="292" y="70"/>
                    </a:lnTo>
                    <a:lnTo>
                      <a:pt x="210" y="0"/>
                    </a:lnTo>
                    <a:lnTo>
                      <a:pt x="188" y="16"/>
                    </a:lnTo>
                    <a:lnTo>
                      <a:pt x="180" y="10"/>
                    </a:lnTo>
                    <a:lnTo>
                      <a:pt x="162" y="10"/>
                    </a:lnTo>
                    <a:lnTo>
                      <a:pt x="87" y="10"/>
                    </a:lnTo>
                    <a:lnTo>
                      <a:pt x="78" y="20"/>
                    </a:lnTo>
                    <a:lnTo>
                      <a:pt x="99" y="42"/>
                    </a:lnTo>
                    <a:lnTo>
                      <a:pt x="122" y="46"/>
                    </a:lnTo>
                    <a:lnTo>
                      <a:pt x="142" y="52"/>
                    </a:lnTo>
                    <a:lnTo>
                      <a:pt x="133" y="68"/>
                    </a:lnTo>
                    <a:lnTo>
                      <a:pt x="94" y="85"/>
                    </a:lnTo>
                    <a:lnTo>
                      <a:pt x="87" y="114"/>
                    </a:lnTo>
                    <a:lnTo>
                      <a:pt x="94" y="123"/>
                    </a:lnTo>
                    <a:lnTo>
                      <a:pt x="99" y="160"/>
                    </a:lnTo>
                    <a:lnTo>
                      <a:pt x="122" y="164"/>
                    </a:lnTo>
                    <a:lnTo>
                      <a:pt x="144" y="192"/>
                    </a:lnTo>
                    <a:lnTo>
                      <a:pt x="154" y="249"/>
                    </a:lnTo>
                    <a:lnTo>
                      <a:pt x="147" y="267"/>
                    </a:lnTo>
                    <a:lnTo>
                      <a:pt x="133" y="264"/>
                    </a:lnTo>
                    <a:lnTo>
                      <a:pt x="90" y="295"/>
                    </a:lnTo>
                    <a:lnTo>
                      <a:pt x="19" y="308"/>
                    </a:lnTo>
                    <a:lnTo>
                      <a:pt x="0" y="327"/>
                    </a:lnTo>
                    <a:lnTo>
                      <a:pt x="14" y="346"/>
                    </a:lnTo>
                    <a:lnTo>
                      <a:pt x="16" y="388"/>
                    </a:lnTo>
                    <a:lnTo>
                      <a:pt x="36" y="393"/>
                    </a:lnTo>
                    <a:lnTo>
                      <a:pt x="85" y="455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76" name="Freeform 27"/>
              <p:cNvSpPr>
                <a:spLocks/>
              </p:cNvSpPr>
              <p:nvPr/>
            </p:nvSpPr>
            <p:spPr bwMode="auto">
              <a:xfrm>
                <a:off x="4565048" y="5851624"/>
                <a:ext cx="258762" cy="231775"/>
              </a:xfrm>
              <a:custGeom>
                <a:avLst/>
                <a:gdLst>
                  <a:gd name="T0" fmla="*/ 237 w 238"/>
                  <a:gd name="T1" fmla="*/ 36 h 215"/>
                  <a:gd name="T2" fmla="*/ 192 w 238"/>
                  <a:gd name="T3" fmla="*/ 110 h 215"/>
                  <a:gd name="T4" fmla="*/ 192 w 238"/>
                  <a:gd name="T5" fmla="*/ 144 h 215"/>
                  <a:gd name="T6" fmla="*/ 105 w 238"/>
                  <a:gd name="T7" fmla="*/ 214 h 215"/>
                  <a:gd name="T8" fmla="*/ 18 w 238"/>
                  <a:gd name="T9" fmla="*/ 182 h 215"/>
                  <a:gd name="T10" fmla="*/ 0 w 238"/>
                  <a:gd name="T11" fmla="*/ 120 h 215"/>
                  <a:gd name="T12" fmla="*/ 4 w 238"/>
                  <a:gd name="T13" fmla="*/ 90 h 215"/>
                  <a:gd name="T14" fmla="*/ 54 w 238"/>
                  <a:gd name="T15" fmla="*/ 43 h 215"/>
                  <a:gd name="T16" fmla="*/ 69 w 238"/>
                  <a:gd name="T17" fmla="*/ 28 h 215"/>
                  <a:gd name="T18" fmla="*/ 150 w 238"/>
                  <a:gd name="T19" fmla="*/ 16 h 215"/>
                  <a:gd name="T20" fmla="*/ 186 w 238"/>
                  <a:gd name="T21" fmla="*/ 12 h 215"/>
                  <a:gd name="T22" fmla="*/ 198 w 238"/>
                  <a:gd name="T23" fmla="*/ 0 h 215"/>
                  <a:gd name="T24" fmla="*/ 224 w 238"/>
                  <a:gd name="T25" fmla="*/ 4 h 215"/>
                  <a:gd name="T26" fmla="*/ 237 w 238"/>
                  <a:gd name="T27" fmla="*/ 36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8" h="215">
                    <a:moveTo>
                      <a:pt x="237" y="36"/>
                    </a:moveTo>
                    <a:lnTo>
                      <a:pt x="192" y="110"/>
                    </a:lnTo>
                    <a:lnTo>
                      <a:pt x="192" y="144"/>
                    </a:lnTo>
                    <a:lnTo>
                      <a:pt x="105" y="214"/>
                    </a:lnTo>
                    <a:lnTo>
                      <a:pt x="18" y="182"/>
                    </a:lnTo>
                    <a:lnTo>
                      <a:pt x="0" y="120"/>
                    </a:lnTo>
                    <a:lnTo>
                      <a:pt x="4" y="90"/>
                    </a:lnTo>
                    <a:lnTo>
                      <a:pt x="54" y="43"/>
                    </a:lnTo>
                    <a:lnTo>
                      <a:pt x="69" y="28"/>
                    </a:lnTo>
                    <a:lnTo>
                      <a:pt x="150" y="16"/>
                    </a:lnTo>
                    <a:lnTo>
                      <a:pt x="186" y="12"/>
                    </a:lnTo>
                    <a:lnTo>
                      <a:pt x="198" y="0"/>
                    </a:lnTo>
                    <a:lnTo>
                      <a:pt x="224" y="4"/>
                    </a:lnTo>
                    <a:lnTo>
                      <a:pt x="237" y="36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77" name="Oval 28"/>
              <p:cNvSpPr>
                <a:spLocks noChangeArrowheads="1"/>
              </p:cNvSpPr>
              <p:nvPr/>
            </p:nvSpPr>
            <p:spPr bwMode="auto">
              <a:xfrm>
                <a:off x="5484210" y="4368899"/>
                <a:ext cx="66675" cy="65087"/>
              </a:xfrm>
              <a:prstGeom prst="ellipse">
                <a:avLst/>
              </a:pr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69495" tIns="34747" rIns="69495" bIns="34747"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78" name="Freeform 29"/>
              <p:cNvSpPr>
                <a:spLocks/>
              </p:cNvSpPr>
              <p:nvPr/>
            </p:nvSpPr>
            <p:spPr bwMode="auto">
              <a:xfrm>
                <a:off x="3017235" y="3225899"/>
                <a:ext cx="1417638" cy="1185862"/>
              </a:xfrm>
              <a:custGeom>
                <a:avLst/>
                <a:gdLst>
                  <a:gd name="T0" fmla="*/ 0 w 1299"/>
                  <a:gd name="T1" fmla="*/ 207 h 1107"/>
                  <a:gd name="T2" fmla="*/ 49 w 1299"/>
                  <a:gd name="T3" fmla="*/ 157 h 1107"/>
                  <a:gd name="T4" fmla="*/ 200 w 1299"/>
                  <a:gd name="T5" fmla="*/ 71 h 1107"/>
                  <a:gd name="T6" fmla="*/ 237 w 1299"/>
                  <a:gd name="T7" fmla="*/ 19 h 1107"/>
                  <a:gd name="T8" fmla="*/ 269 w 1299"/>
                  <a:gd name="T9" fmla="*/ 2 h 1107"/>
                  <a:gd name="T10" fmla="*/ 327 w 1299"/>
                  <a:gd name="T11" fmla="*/ 39 h 1107"/>
                  <a:gd name="T12" fmla="*/ 332 w 1299"/>
                  <a:gd name="T13" fmla="*/ 149 h 1107"/>
                  <a:gd name="T14" fmla="*/ 412 w 1299"/>
                  <a:gd name="T15" fmla="*/ 244 h 1107"/>
                  <a:gd name="T16" fmla="*/ 542 w 1299"/>
                  <a:gd name="T17" fmla="*/ 212 h 1107"/>
                  <a:gd name="T18" fmla="*/ 577 w 1299"/>
                  <a:gd name="T19" fmla="*/ 239 h 1107"/>
                  <a:gd name="T20" fmla="*/ 519 w 1299"/>
                  <a:gd name="T21" fmla="*/ 299 h 1107"/>
                  <a:gd name="T22" fmla="*/ 580 w 1299"/>
                  <a:gd name="T23" fmla="*/ 362 h 1107"/>
                  <a:gd name="T24" fmla="*/ 609 w 1299"/>
                  <a:gd name="T25" fmla="*/ 371 h 1107"/>
                  <a:gd name="T26" fmla="*/ 639 w 1299"/>
                  <a:gd name="T27" fmla="*/ 417 h 1107"/>
                  <a:gd name="T28" fmla="*/ 756 w 1299"/>
                  <a:gd name="T29" fmla="*/ 419 h 1107"/>
                  <a:gd name="T30" fmla="*/ 868 w 1299"/>
                  <a:gd name="T31" fmla="*/ 374 h 1107"/>
                  <a:gd name="T32" fmla="*/ 879 w 1299"/>
                  <a:gd name="T33" fmla="*/ 446 h 1107"/>
                  <a:gd name="T34" fmla="*/ 849 w 1299"/>
                  <a:gd name="T35" fmla="*/ 485 h 1107"/>
                  <a:gd name="T36" fmla="*/ 840 w 1299"/>
                  <a:gd name="T37" fmla="*/ 543 h 1107"/>
                  <a:gd name="T38" fmla="*/ 923 w 1299"/>
                  <a:gd name="T39" fmla="*/ 576 h 1107"/>
                  <a:gd name="T40" fmla="*/ 1005 w 1299"/>
                  <a:gd name="T41" fmla="*/ 719 h 1107"/>
                  <a:gd name="T42" fmla="*/ 1041 w 1299"/>
                  <a:gd name="T43" fmla="*/ 777 h 1107"/>
                  <a:gd name="T44" fmla="*/ 1083 w 1299"/>
                  <a:gd name="T45" fmla="*/ 806 h 1107"/>
                  <a:gd name="T46" fmla="*/ 1096 w 1299"/>
                  <a:gd name="T47" fmla="*/ 772 h 1107"/>
                  <a:gd name="T48" fmla="*/ 1138 w 1299"/>
                  <a:gd name="T49" fmla="*/ 724 h 1107"/>
                  <a:gd name="T50" fmla="*/ 1096 w 1299"/>
                  <a:gd name="T51" fmla="*/ 689 h 1107"/>
                  <a:gd name="T52" fmla="*/ 1120 w 1299"/>
                  <a:gd name="T53" fmla="*/ 600 h 1107"/>
                  <a:gd name="T54" fmla="*/ 1162 w 1299"/>
                  <a:gd name="T55" fmla="*/ 609 h 1107"/>
                  <a:gd name="T56" fmla="*/ 1247 w 1299"/>
                  <a:gd name="T57" fmla="*/ 662 h 1107"/>
                  <a:gd name="T58" fmla="*/ 1298 w 1299"/>
                  <a:gd name="T59" fmla="*/ 714 h 1107"/>
                  <a:gd name="T60" fmla="*/ 1288 w 1299"/>
                  <a:gd name="T61" fmla="*/ 784 h 1107"/>
                  <a:gd name="T62" fmla="*/ 1223 w 1299"/>
                  <a:gd name="T63" fmla="*/ 806 h 1107"/>
                  <a:gd name="T64" fmla="*/ 1214 w 1299"/>
                  <a:gd name="T65" fmla="*/ 824 h 1107"/>
                  <a:gd name="T66" fmla="*/ 1167 w 1299"/>
                  <a:gd name="T67" fmla="*/ 843 h 1107"/>
                  <a:gd name="T68" fmla="*/ 1113 w 1299"/>
                  <a:gd name="T69" fmla="*/ 830 h 1107"/>
                  <a:gd name="T70" fmla="*/ 1113 w 1299"/>
                  <a:gd name="T71" fmla="*/ 855 h 1107"/>
                  <a:gd name="T72" fmla="*/ 1091 w 1299"/>
                  <a:gd name="T73" fmla="*/ 892 h 1107"/>
                  <a:gd name="T74" fmla="*/ 1101 w 1299"/>
                  <a:gd name="T75" fmla="*/ 962 h 1107"/>
                  <a:gd name="T76" fmla="*/ 1106 w 1299"/>
                  <a:gd name="T77" fmla="*/ 996 h 1107"/>
                  <a:gd name="T78" fmla="*/ 1046 w 1299"/>
                  <a:gd name="T79" fmla="*/ 1008 h 1107"/>
                  <a:gd name="T80" fmla="*/ 1053 w 1299"/>
                  <a:gd name="T81" fmla="*/ 1070 h 1107"/>
                  <a:gd name="T82" fmla="*/ 1020 w 1299"/>
                  <a:gd name="T83" fmla="*/ 1095 h 1107"/>
                  <a:gd name="T84" fmla="*/ 948 w 1299"/>
                  <a:gd name="T85" fmla="*/ 1101 h 1107"/>
                  <a:gd name="T86" fmla="*/ 917 w 1299"/>
                  <a:gd name="T87" fmla="*/ 1046 h 1107"/>
                  <a:gd name="T88" fmla="*/ 881 w 1299"/>
                  <a:gd name="T89" fmla="*/ 1046 h 1107"/>
                  <a:gd name="T90" fmla="*/ 812 w 1299"/>
                  <a:gd name="T91" fmla="*/ 987 h 1107"/>
                  <a:gd name="T92" fmla="*/ 798 w 1299"/>
                  <a:gd name="T93" fmla="*/ 934 h 1107"/>
                  <a:gd name="T94" fmla="*/ 723 w 1299"/>
                  <a:gd name="T95" fmla="*/ 962 h 1107"/>
                  <a:gd name="T96" fmla="*/ 704 w 1299"/>
                  <a:gd name="T97" fmla="*/ 992 h 1107"/>
                  <a:gd name="T98" fmla="*/ 626 w 1299"/>
                  <a:gd name="T99" fmla="*/ 948 h 1107"/>
                  <a:gd name="T100" fmla="*/ 623 w 1299"/>
                  <a:gd name="T101" fmla="*/ 904 h 1107"/>
                  <a:gd name="T102" fmla="*/ 674 w 1299"/>
                  <a:gd name="T103" fmla="*/ 934 h 1107"/>
                  <a:gd name="T104" fmla="*/ 695 w 1299"/>
                  <a:gd name="T105" fmla="*/ 873 h 1107"/>
                  <a:gd name="T106" fmla="*/ 741 w 1299"/>
                  <a:gd name="T107" fmla="*/ 830 h 1107"/>
                  <a:gd name="T108" fmla="*/ 779 w 1299"/>
                  <a:gd name="T109" fmla="*/ 770 h 1107"/>
                  <a:gd name="T110" fmla="*/ 761 w 1299"/>
                  <a:gd name="T111" fmla="*/ 675 h 1107"/>
                  <a:gd name="T112" fmla="*/ 690 w 1299"/>
                  <a:gd name="T113" fmla="*/ 543 h 1107"/>
                  <a:gd name="T114" fmla="*/ 614 w 1299"/>
                  <a:gd name="T115" fmla="*/ 514 h 1107"/>
                  <a:gd name="T116" fmla="*/ 531 w 1299"/>
                  <a:gd name="T117" fmla="*/ 419 h 1107"/>
                  <a:gd name="T118" fmla="*/ 397 w 1299"/>
                  <a:gd name="T119" fmla="*/ 382 h 1107"/>
                  <a:gd name="T120" fmla="*/ 292 w 1299"/>
                  <a:gd name="T121" fmla="*/ 394 h 1107"/>
                  <a:gd name="T122" fmla="*/ 209 w 1299"/>
                  <a:gd name="T123" fmla="*/ 427 h 1107"/>
                  <a:gd name="T124" fmla="*/ 125 w 1299"/>
                  <a:gd name="T125" fmla="*/ 376 h 1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99" h="1107">
                    <a:moveTo>
                      <a:pt x="11" y="350"/>
                    </a:moveTo>
                    <a:lnTo>
                      <a:pt x="0" y="207"/>
                    </a:lnTo>
                    <a:lnTo>
                      <a:pt x="7" y="177"/>
                    </a:lnTo>
                    <a:lnTo>
                      <a:pt x="49" y="157"/>
                    </a:lnTo>
                    <a:lnTo>
                      <a:pt x="107" y="109"/>
                    </a:lnTo>
                    <a:lnTo>
                      <a:pt x="200" y="71"/>
                    </a:lnTo>
                    <a:lnTo>
                      <a:pt x="237" y="55"/>
                    </a:lnTo>
                    <a:lnTo>
                      <a:pt x="237" y="19"/>
                    </a:lnTo>
                    <a:lnTo>
                      <a:pt x="254" y="0"/>
                    </a:lnTo>
                    <a:lnTo>
                      <a:pt x="269" y="2"/>
                    </a:lnTo>
                    <a:lnTo>
                      <a:pt x="329" y="11"/>
                    </a:lnTo>
                    <a:lnTo>
                      <a:pt x="327" y="39"/>
                    </a:lnTo>
                    <a:lnTo>
                      <a:pt x="339" y="82"/>
                    </a:lnTo>
                    <a:lnTo>
                      <a:pt x="332" y="149"/>
                    </a:lnTo>
                    <a:lnTo>
                      <a:pt x="383" y="226"/>
                    </a:lnTo>
                    <a:lnTo>
                      <a:pt x="412" y="244"/>
                    </a:lnTo>
                    <a:lnTo>
                      <a:pt x="454" y="212"/>
                    </a:lnTo>
                    <a:lnTo>
                      <a:pt x="542" y="212"/>
                    </a:lnTo>
                    <a:lnTo>
                      <a:pt x="563" y="219"/>
                    </a:lnTo>
                    <a:lnTo>
                      <a:pt x="577" y="239"/>
                    </a:lnTo>
                    <a:lnTo>
                      <a:pt x="567" y="261"/>
                    </a:lnTo>
                    <a:lnTo>
                      <a:pt x="519" y="299"/>
                    </a:lnTo>
                    <a:lnTo>
                      <a:pt x="524" y="320"/>
                    </a:lnTo>
                    <a:lnTo>
                      <a:pt x="580" y="362"/>
                    </a:lnTo>
                    <a:lnTo>
                      <a:pt x="602" y="362"/>
                    </a:lnTo>
                    <a:lnTo>
                      <a:pt x="609" y="371"/>
                    </a:lnTo>
                    <a:lnTo>
                      <a:pt x="604" y="389"/>
                    </a:lnTo>
                    <a:lnTo>
                      <a:pt x="639" y="417"/>
                    </a:lnTo>
                    <a:lnTo>
                      <a:pt x="722" y="429"/>
                    </a:lnTo>
                    <a:lnTo>
                      <a:pt x="756" y="419"/>
                    </a:lnTo>
                    <a:lnTo>
                      <a:pt x="807" y="369"/>
                    </a:lnTo>
                    <a:lnTo>
                      <a:pt x="868" y="374"/>
                    </a:lnTo>
                    <a:lnTo>
                      <a:pt x="893" y="412"/>
                    </a:lnTo>
                    <a:lnTo>
                      <a:pt x="879" y="446"/>
                    </a:lnTo>
                    <a:lnTo>
                      <a:pt x="881" y="465"/>
                    </a:lnTo>
                    <a:lnTo>
                      <a:pt x="849" y="485"/>
                    </a:lnTo>
                    <a:lnTo>
                      <a:pt x="836" y="502"/>
                    </a:lnTo>
                    <a:lnTo>
                      <a:pt x="840" y="543"/>
                    </a:lnTo>
                    <a:lnTo>
                      <a:pt x="898" y="585"/>
                    </a:lnTo>
                    <a:lnTo>
                      <a:pt x="923" y="576"/>
                    </a:lnTo>
                    <a:lnTo>
                      <a:pt x="988" y="660"/>
                    </a:lnTo>
                    <a:lnTo>
                      <a:pt x="1005" y="719"/>
                    </a:lnTo>
                    <a:lnTo>
                      <a:pt x="996" y="752"/>
                    </a:lnTo>
                    <a:lnTo>
                      <a:pt x="1041" y="777"/>
                    </a:lnTo>
                    <a:lnTo>
                      <a:pt x="1041" y="794"/>
                    </a:lnTo>
                    <a:lnTo>
                      <a:pt x="1083" y="806"/>
                    </a:lnTo>
                    <a:lnTo>
                      <a:pt x="1096" y="806"/>
                    </a:lnTo>
                    <a:lnTo>
                      <a:pt x="1096" y="772"/>
                    </a:lnTo>
                    <a:lnTo>
                      <a:pt x="1128" y="765"/>
                    </a:lnTo>
                    <a:lnTo>
                      <a:pt x="1138" y="724"/>
                    </a:lnTo>
                    <a:lnTo>
                      <a:pt x="1113" y="707"/>
                    </a:lnTo>
                    <a:lnTo>
                      <a:pt x="1096" y="689"/>
                    </a:lnTo>
                    <a:lnTo>
                      <a:pt x="1103" y="612"/>
                    </a:lnTo>
                    <a:lnTo>
                      <a:pt x="1120" y="600"/>
                    </a:lnTo>
                    <a:lnTo>
                      <a:pt x="1151" y="614"/>
                    </a:lnTo>
                    <a:lnTo>
                      <a:pt x="1162" y="609"/>
                    </a:lnTo>
                    <a:lnTo>
                      <a:pt x="1170" y="623"/>
                    </a:lnTo>
                    <a:lnTo>
                      <a:pt x="1247" y="662"/>
                    </a:lnTo>
                    <a:lnTo>
                      <a:pt x="1290" y="689"/>
                    </a:lnTo>
                    <a:lnTo>
                      <a:pt x="1298" y="714"/>
                    </a:lnTo>
                    <a:lnTo>
                      <a:pt x="1275" y="747"/>
                    </a:lnTo>
                    <a:lnTo>
                      <a:pt x="1288" y="784"/>
                    </a:lnTo>
                    <a:lnTo>
                      <a:pt x="1280" y="801"/>
                    </a:lnTo>
                    <a:lnTo>
                      <a:pt x="1223" y="806"/>
                    </a:lnTo>
                    <a:lnTo>
                      <a:pt x="1211" y="812"/>
                    </a:lnTo>
                    <a:lnTo>
                      <a:pt x="1214" y="824"/>
                    </a:lnTo>
                    <a:lnTo>
                      <a:pt x="1214" y="838"/>
                    </a:lnTo>
                    <a:lnTo>
                      <a:pt x="1167" y="843"/>
                    </a:lnTo>
                    <a:lnTo>
                      <a:pt x="1143" y="830"/>
                    </a:lnTo>
                    <a:lnTo>
                      <a:pt x="1113" y="830"/>
                    </a:lnTo>
                    <a:lnTo>
                      <a:pt x="1106" y="838"/>
                    </a:lnTo>
                    <a:lnTo>
                      <a:pt x="1113" y="855"/>
                    </a:lnTo>
                    <a:lnTo>
                      <a:pt x="1096" y="873"/>
                    </a:lnTo>
                    <a:lnTo>
                      <a:pt x="1091" y="892"/>
                    </a:lnTo>
                    <a:lnTo>
                      <a:pt x="1120" y="917"/>
                    </a:lnTo>
                    <a:lnTo>
                      <a:pt x="1101" y="962"/>
                    </a:lnTo>
                    <a:lnTo>
                      <a:pt x="1108" y="983"/>
                    </a:lnTo>
                    <a:lnTo>
                      <a:pt x="1106" y="996"/>
                    </a:lnTo>
                    <a:lnTo>
                      <a:pt x="1070" y="996"/>
                    </a:lnTo>
                    <a:lnTo>
                      <a:pt x="1046" y="1008"/>
                    </a:lnTo>
                    <a:lnTo>
                      <a:pt x="1065" y="1032"/>
                    </a:lnTo>
                    <a:lnTo>
                      <a:pt x="1053" y="1070"/>
                    </a:lnTo>
                    <a:lnTo>
                      <a:pt x="1016" y="1077"/>
                    </a:lnTo>
                    <a:lnTo>
                      <a:pt x="1020" y="1095"/>
                    </a:lnTo>
                    <a:lnTo>
                      <a:pt x="1010" y="1106"/>
                    </a:lnTo>
                    <a:lnTo>
                      <a:pt x="948" y="1101"/>
                    </a:lnTo>
                    <a:lnTo>
                      <a:pt x="923" y="1084"/>
                    </a:lnTo>
                    <a:lnTo>
                      <a:pt x="917" y="1046"/>
                    </a:lnTo>
                    <a:lnTo>
                      <a:pt x="903" y="1029"/>
                    </a:lnTo>
                    <a:lnTo>
                      <a:pt x="881" y="1046"/>
                    </a:lnTo>
                    <a:lnTo>
                      <a:pt x="840" y="1008"/>
                    </a:lnTo>
                    <a:lnTo>
                      <a:pt x="812" y="987"/>
                    </a:lnTo>
                    <a:lnTo>
                      <a:pt x="807" y="958"/>
                    </a:lnTo>
                    <a:lnTo>
                      <a:pt x="798" y="934"/>
                    </a:lnTo>
                    <a:lnTo>
                      <a:pt x="782" y="934"/>
                    </a:lnTo>
                    <a:lnTo>
                      <a:pt x="723" y="962"/>
                    </a:lnTo>
                    <a:lnTo>
                      <a:pt x="726" y="992"/>
                    </a:lnTo>
                    <a:lnTo>
                      <a:pt x="704" y="992"/>
                    </a:lnTo>
                    <a:lnTo>
                      <a:pt x="666" y="953"/>
                    </a:lnTo>
                    <a:lnTo>
                      <a:pt x="626" y="948"/>
                    </a:lnTo>
                    <a:lnTo>
                      <a:pt x="611" y="927"/>
                    </a:lnTo>
                    <a:lnTo>
                      <a:pt x="623" y="904"/>
                    </a:lnTo>
                    <a:lnTo>
                      <a:pt x="646" y="924"/>
                    </a:lnTo>
                    <a:lnTo>
                      <a:pt x="674" y="934"/>
                    </a:lnTo>
                    <a:lnTo>
                      <a:pt x="695" y="915"/>
                    </a:lnTo>
                    <a:lnTo>
                      <a:pt x="695" y="873"/>
                    </a:lnTo>
                    <a:lnTo>
                      <a:pt x="722" y="850"/>
                    </a:lnTo>
                    <a:lnTo>
                      <a:pt x="741" y="830"/>
                    </a:lnTo>
                    <a:lnTo>
                      <a:pt x="731" y="806"/>
                    </a:lnTo>
                    <a:lnTo>
                      <a:pt x="779" y="770"/>
                    </a:lnTo>
                    <a:lnTo>
                      <a:pt x="786" y="707"/>
                    </a:lnTo>
                    <a:lnTo>
                      <a:pt x="761" y="675"/>
                    </a:lnTo>
                    <a:lnTo>
                      <a:pt x="750" y="623"/>
                    </a:lnTo>
                    <a:lnTo>
                      <a:pt x="690" y="543"/>
                    </a:lnTo>
                    <a:lnTo>
                      <a:pt x="658" y="554"/>
                    </a:lnTo>
                    <a:lnTo>
                      <a:pt x="614" y="514"/>
                    </a:lnTo>
                    <a:lnTo>
                      <a:pt x="554" y="477"/>
                    </a:lnTo>
                    <a:lnTo>
                      <a:pt x="531" y="419"/>
                    </a:lnTo>
                    <a:lnTo>
                      <a:pt x="483" y="436"/>
                    </a:lnTo>
                    <a:lnTo>
                      <a:pt x="397" y="382"/>
                    </a:lnTo>
                    <a:lnTo>
                      <a:pt x="355" y="404"/>
                    </a:lnTo>
                    <a:lnTo>
                      <a:pt x="292" y="394"/>
                    </a:lnTo>
                    <a:lnTo>
                      <a:pt x="242" y="424"/>
                    </a:lnTo>
                    <a:lnTo>
                      <a:pt x="209" y="427"/>
                    </a:lnTo>
                    <a:lnTo>
                      <a:pt x="159" y="397"/>
                    </a:lnTo>
                    <a:lnTo>
                      <a:pt x="125" y="376"/>
                    </a:lnTo>
                    <a:lnTo>
                      <a:pt x="11" y="350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79" name="Freeform 30"/>
              <p:cNvSpPr>
                <a:spLocks/>
              </p:cNvSpPr>
              <p:nvPr/>
            </p:nvSpPr>
            <p:spPr bwMode="auto">
              <a:xfrm>
                <a:off x="4158648" y="3570386"/>
                <a:ext cx="530225" cy="908050"/>
              </a:xfrm>
              <a:custGeom>
                <a:avLst/>
                <a:gdLst>
                  <a:gd name="T0" fmla="*/ 401 w 482"/>
                  <a:gd name="T1" fmla="*/ 504 h 849"/>
                  <a:gd name="T2" fmla="*/ 390 w 482"/>
                  <a:gd name="T3" fmla="*/ 287 h 849"/>
                  <a:gd name="T4" fmla="*/ 424 w 482"/>
                  <a:gd name="T5" fmla="*/ 213 h 849"/>
                  <a:gd name="T6" fmla="*/ 421 w 482"/>
                  <a:gd name="T7" fmla="*/ 114 h 849"/>
                  <a:gd name="T8" fmla="*/ 441 w 482"/>
                  <a:gd name="T9" fmla="*/ 44 h 849"/>
                  <a:gd name="T10" fmla="*/ 426 w 482"/>
                  <a:gd name="T11" fmla="*/ 0 h 849"/>
                  <a:gd name="T12" fmla="*/ 353 w 482"/>
                  <a:gd name="T13" fmla="*/ 25 h 849"/>
                  <a:gd name="T14" fmla="*/ 327 w 482"/>
                  <a:gd name="T15" fmla="*/ 86 h 849"/>
                  <a:gd name="T16" fmla="*/ 299 w 482"/>
                  <a:gd name="T17" fmla="*/ 109 h 849"/>
                  <a:gd name="T18" fmla="*/ 205 w 482"/>
                  <a:gd name="T19" fmla="*/ 217 h 849"/>
                  <a:gd name="T20" fmla="*/ 136 w 482"/>
                  <a:gd name="T21" fmla="*/ 213 h 849"/>
                  <a:gd name="T22" fmla="*/ 118 w 482"/>
                  <a:gd name="T23" fmla="*/ 283 h 849"/>
                  <a:gd name="T24" fmla="*/ 205 w 482"/>
                  <a:gd name="T25" fmla="*/ 337 h 849"/>
                  <a:gd name="T26" fmla="*/ 257 w 482"/>
                  <a:gd name="T27" fmla="*/ 389 h 849"/>
                  <a:gd name="T28" fmla="*/ 247 w 482"/>
                  <a:gd name="T29" fmla="*/ 458 h 849"/>
                  <a:gd name="T30" fmla="*/ 181 w 482"/>
                  <a:gd name="T31" fmla="*/ 480 h 849"/>
                  <a:gd name="T32" fmla="*/ 171 w 482"/>
                  <a:gd name="T33" fmla="*/ 497 h 849"/>
                  <a:gd name="T34" fmla="*/ 122 w 482"/>
                  <a:gd name="T35" fmla="*/ 517 h 849"/>
                  <a:gd name="T36" fmla="*/ 68 w 482"/>
                  <a:gd name="T37" fmla="*/ 504 h 849"/>
                  <a:gd name="T38" fmla="*/ 68 w 482"/>
                  <a:gd name="T39" fmla="*/ 529 h 849"/>
                  <a:gd name="T40" fmla="*/ 45 w 482"/>
                  <a:gd name="T41" fmla="*/ 566 h 849"/>
                  <a:gd name="T42" fmla="*/ 55 w 482"/>
                  <a:gd name="T43" fmla="*/ 636 h 849"/>
                  <a:gd name="T44" fmla="*/ 60 w 482"/>
                  <a:gd name="T45" fmla="*/ 670 h 849"/>
                  <a:gd name="T46" fmla="*/ 0 w 482"/>
                  <a:gd name="T47" fmla="*/ 682 h 849"/>
                  <a:gd name="T48" fmla="*/ 7 w 482"/>
                  <a:gd name="T49" fmla="*/ 744 h 849"/>
                  <a:gd name="T50" fmla="*/ 30 w 482"/>
                  <a:gd name="T51" fmla="*/ 769 h 849"/>
                  <a:gd name="T52" fmla="*/ 113 w 482"/>
                  <a:gd name="T53" fmla="*/ 759 h 849"/>
                  <a:gd name="T54" fmla="*/ 131 w 482"/>
                  <a:gd name="T55" fmla="*/ 779 h 849"/>
                  <a:gd name="T56" fmla="*/ 213 w 482"/>
                  <a:gd name="T57" fmla="*/ 815 h 849"/>
                  <a:gd name="T58" fmla="*/ 317 w 482"/>
                  <a:gd name="T59" fmla="*/ 827 h 849"/>
                  <a:gd name="T60" fmla="*/ 367 w 482"/>
                  <a:gd name="T61" fmla="*/ 839 h 849"/>
                  <a:gd name="T62" fmla="*/ 356 w 482"/>
                  <a:gd name="T63" fmla="*/ 792 h 849"/>
                  <a:gd name="T64" fmla="*/ 401 w 482"/>
                  <a:gd name="T65" fmla="*/ 747 h 849"/>
                  <a:gd name="T66" fmla="*/ 390 w 482"/>
                  <a:gd name="T67" fmla="*/ 725 h 849"/>
                  <a:gd name="T68" fmla="*/ 346 w 482"/>
                  <a:gd name="T69" fmla="*/ 697 h 849"/>
                  <a:gd name="T70" fmla="*/ 431 w 482"/>
                  <a:gd name="T71" fmla="*/ 688 h 849"/>
                  <a:gd name="T72" fmla="*/ 458 w 482"/>
                  <a:gd name="T73" fmla="*/ 694 h 849"/>
                  <a:gd name="T74" fmla="*/ 481 w 482"/>
                  <a:gd name="T75" fmla="*/ 647 h 849"/>
                  <a:gd name="T76" fmla="*/ 412 w 482"/>
                  <a:gd name="T77" fmla="*/ 534 h 8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2" h="849">
                    <a:moveTo>
                      <a:pt x="412" y="534"/>
                    </a:moveTo>
                    <a:lnTo>
                      <a:pt x="401" y="504"/>
                    </a:lnTo>
                    <a:lnTo>
                      <a:pt x="424" y="431"/>
                    </a:lnTo>
                    <a:lnTo>
                      <a:pt x="390" y="287"/>
                    </a:lnTo>
                    <a:lnTo>
                      <a:pt x="412" y="248"/>
                    </a:lnTo>
                    <a:lnTo>
                      <a:pt x="424" y="213"/>
                    </a:lnTo>
                    <a:lnTo>
                      <a:pt x="393" y="156"/>
                    </a:lnTo>
                    <a:lnTo>
                      <a:pt x="421" y="114"/>
                    </a:lnTo>
                    <a:lnTo>
                      <a:pt x="426" y="73"/>
                    </a:lnTo>
                    <a:lnTo>
                      <a:pt x="441" y="44"/>
                    </a:lnTo>
                    <a:lnTo>
                      <a:pt x="438" y="10"/>
                    </a:lnTo>
                    <a:lnTo>
                      <a:pt x="426" y="0"/>
                    </a:lnTo>
                    <a:lnTo>
                      <a:pt x="406" y="22"/>
                    </a:lnTo>
                    <a:lnTo>
                      <a:pt x="353" y="25"/>
                    </a:lnTo>
                    <a:lnTo>
                      <a:pt x="325" y="64"/>
                    </a:lnTo>
                    <a:lnTo>
                      <a:pt x="327" y="86"/>
                    </a:lnTo>
                    <a:lnTo>
                      <a:pt x="322" y="100"/>
                    </a:lnTo>
                    <a:lnTo>
                      <a:pt x="299" y="109"/>
                    </a:lnTo>
                    <a:lnTo>
                      <a:pt x="216" y="223"/>
                    </a:lnTo>
                    <a:lnTo>
                      <a:pt x="205" y="217"/>
                    </a:lnTo>
                    <a:lnTo>
                      <a:pt x="185" y="212"/>
                    </a:lnTo>
                    <a:lnTo>
                      <a:pt x="136" y="213"/>
                    </a:lnTo>
                    <a:lnTo>
                      <a:pt x="121" y="236"/>
                    </a:lnTo>
                    <a:lnTo>
                      <a:pt x="118" y="283"/>
                    </a:lnTo>
                    <a:lnTo>
                      <a:pt x="126" y="297"/>
                    </a:lnTo>
                    <a:lnTo>
                      <a:pt x="205" y="337"/>
                    </a:lnTo>
                    <a:lnTo>
                      <a:pt x="249" y="363"/>
                    </a:lnTo>
                    <a:lnTo>
                      <a:pt x="257" y="389"/>
                    </a:lnTo>
                    <a:lnTo>
                      <a:pt x="233" y="421"/>
                    </a:lnTo>
                    <a:lnTo>
                      <a:pt x="247" y="458"/>
                    </a:lnTo>
                    <a:lnTo>
                      <a:pt x="238" y="475"/>
                    </a:lnTo>
                    <a:lnTo>
                      <a:pt x="181" y="480"/>
                    </a:lnTo>
                    <a:lnTo>
                      <a:pt x="169" y="486"/>
                    </a:lnTo>
                    <a:lnTo>
                      <a:pt x="171" y="497"/>
                    </a:lnTo>
                    <a:lnTo>
                      <a:pt x="171" y="512"/>
                    </a:lnTo>
                    <a:lnTo>
                      <a:pt x="122" y="517"/>
                    </a:lnTo>
                    <a:lnTo>
                      <a:pt x="98" y="504"/>
                    </a:lnTo>
                    <a:lnTo>
                      <a:pt x="68" y="504"/>
                    </a:lnTo>
                    <a:lnTo>
                      <a:pt x="60" y="512"/>
                    </a:lnTo>
                    <a:lnTo>
                      <a:pt x="68" y="529"/>
                    </a:lnTo>
                    <a:lnTo>
                      <a:pt x="50" y="547"/>
                    </a:lnTo>
                    <a:lnTo>
                      <a:pt x="45" y="566"/>
                    </a:lnTo>
                    <a:lnTo>
                      <a:pt x="75" y="592"/>
                    </a:lnTo>
                    <a:lnTo>
                      <a:pt x="55" y="636"/>
                    </a:lnTo>
                    <a:lnTo>
                      <a:pt x="63" y="657"/>
                    </a:lnTo>
                    <a:lnTo>
                      <a:pt x="60" y="670"/>
                    </a:lnTo>
                    <a:lnTo>
                      <a:pt x="24" y="670"/>
                    </a:lnTo>
                    <a:lnTo>
                      <a:pt x="0" y="682"/>
                    </a:lnTo>
                    <a:lnTo>
                      <a:pt x="19" y="707"/>
                    </a:lnTo>
                    <a:lnTo>
                      <a:pt x="7" y="744"/>
                    </a:lnTo>
                    <a:lnTo>
                      <a:pt x="30" y="747"/>
                    </a:lnTo>
                    <a:lnTo>
                      <a:pt x="30" y="769"/>
                    </a:lnTo>
                    <a:lnTo>
                      <a:pt x="46" y="771"/>
                    </a:lnTo>
                    <a:lnTo>
                      <a:pt x="113" y="759"/>
                    </a:lnTo>
                    <a:lnTo>
                      <a:pt x="126" y="763"/>
                    </a:lnTo>
                    <a:lnTo>
                      <a:pt x="131" y="779"/>
                    </a:lnTo>
                    <a:lnTo>
                      <a:pt x="155" y="787"/>
                    </a:lnTo>
                    <a:lnTo>
                      <a:pt x="213" y="815"/>
                    </a:lnTo>
                    <a:lnTo>
                      <a:pt x="247" y="802"/>
                    </a:lnTo>
                    <a:lnTo>
                      <a:pt x="317" y="827"/>
                    </a:lnTo>
                    <a:lnTo>
                      <a:pt x="332" y="848"/>
                    </a:lnTo>
                    <a:lnTo>
                      <a:pt x="367" y="839"/>
                    </a:lnTo>
                    <a:lnTo>
                      <a:pt x="362" y="802"/>
                    </a:lnTo>
                    <a:lnTo>
                      <a:pt x="356" y="792"/>
                    </a:lnTo>
                    <a:lnTo>
                      <a:pt x="362" y="763"/>
                    </a:lnTo>
                    <a:lnTo>
                      <a:pt x="401" y="747"/>
                    </a:lnTo>
                    <a:lnTo>
                      <a:pt x="411" y="731"/>
                    </a:lnTo>
                    <a:lnTo>
                      <a:pt x="390" y="725"/>
                    </a:lnTo>
                    <a:lnTo>
                      <a:pt x="367" y="720"/>
                    </a:lnTo>
                    <a:lnTo>
                      <a:pt x="346" y="697"/>
                    </a:lnTo>
                    <a:lnTo>
                      <a:pt x="356" y="688"/>
                    </a:lnTo>
                    <a:lnTo>
                      <a:pt x="431" y="688"/>
                    </a:lnTo>
                    <a:lnTo>
                      <a:pt x="448" y="688"/>
                    </a:lnTo>
                    <a:lnTo>
                      <a:pt x="458" y="694"/>
                    </a:lnTo>
                    <a:lnTo>
                      <a:pt x="481" y="677"/>
                    </a:lnTo>
                    <a:lnTo>
                      <a:pt x="481" y="647"/>
                    </a:lnTo>
                    <a:lnTo>
                      <a:pt x="412" y="547"/>
                    </a:lnTo>
                    <a:lnTo>
                      <a:pt x="412" y="534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80" name="Freeform 31"/>
              <p:cNvSpPr>
                <a:spLocks/>
              </p:cNvSpPr>
              <p:nvPr/>
            </p:nvSpPr>
            <p:spPr bwMode="auto">
              <a:xfrm>
                <a:off x="5088923" y="4083149"/>
                <a:ext cx="493712" cy="582612"/>
              </a:xfrm>
              <a:custGeom>
                <a:avLst/>
                <a:gdLst>
                  <a:gd name="T0" fmla="*/ 108 w 451"/>
                  <a:gd name="T1" fmla="*/ 0 h 543"/>
                  <a:gd name="T2" fmla="*/ 186 w 451"/>
                  <a:gd name="T3" fmla="*/ 46 h 543"/>
                  <a:gd name="T4" fmla="*/ 247 w 451"/>
                  <a:gd name="T5" fmla="*/ 73 h 543"/>
                  <a:gd name="T6" fmla="*/ 276 w 451"/>
                  <a:gd name="T7" fmla="*/ 77 h 543"/>
                  <a:gd name="T8" fmla="*/ 292 w 451"/>
                  <a:gd name="T9" fmla="*/ 143 h 543"/>
                  <a:gd name="T10" fmla="*/ 339 w 451"/>
                  <a:gd name="T11" fmla="*/ 171 h 543"/>
                  <a:gd name="T12" fmla="*/ 376 w 451"/>
                  <a:gd name="T13" fmla="*/ 148 h 543"/>
                  <a:gd name="T14" fmla="*/ 388 w 451"/>
                  <a:gd name="T15" fmla="*/ 187 h 543"/>
                  <a:gd name="T16" fmla="*/ 344 w 451"/>
                  <a:gd name="T17" fmla="*/ 212 h 543"/>
                  <a:gd name="T18" fmla="*/ 328 w 451"/>
                  <a:gd name="T19" fmla="*/ 244 h 543"/>
                  <a:gd name="T20" fmla="*/ 376 w 451"/>
                  <a:gd name="T21" fmla="*/ 292 h 543"/>
                  <a:gd name="T22" fmla="*/ 450 w 451"/>
                  <a:gd name="T23" fmla="*/ 328 h 543"/>
                  <a:gd name="T24" fmla="*/ 438 w 451"/>
                  <a:gd name="T25" fmla="*/ 388 h 543"/>
                  <a:gd name="T26" fmla="*/ 438 w 451"/>
                  <a:gd name="T27" fmla="*/ 418 h 543"/>
                  <a:gd name="T28" fmla="*/ 398 w 451"/>
                  <a:gd name="T29" fmla="*/ 441 h 543"/>
                  <a:gd name="T30" fmla="*/ 364 w 451"/>
                  <a:gd name="T31" fmla="*/ 534 h 543"/>
                  <a:gd name="T32" fmla="*/ 337 w 451"/>
                  <a:gd name="T33" fmla="*/ 521 h 543"/>
                  <a:gd name="T34" fmla="*/ 264 w 451"/>
                  <a:gd name="T35" fmla="*/ 496 h 543"/>
                  <a:gd name="T36" fmla="*/ 207 w 451"/>
                  <a:gd name="T37" fmla="*/ 531 h 543"/>
                  <a:gd name="T38" fmla="*/ 223 w 451"/>
                  <a:gd name="T39" fmla="*/ 490 h 543"/>
                  <a:gd name="T40" fmla="*/ 159 w 451"/>
                  <a:gd name="T41" fmla="*/ 512 h 543"/>
                  <a:gd name="T42" fmla="*/ 127 w 451"/>
                  <a:gd name="T43" fmla="*/ 398 h 543"/>
                  <a:gd name="T44" fmla="*/ 98 w 451"/>
                  <a:gd name="T45" fmla="*/ 380 h 543"/>
                  <a:gd name="T46" fmla="*/ 73 w 451"/>
                  <a:gd name="T47" fmla="*/ 320 h 543"/>
                  <a:gd name="T48" fmla="*/ 103 w 451"/>
                  <a:gd name="T49" fmla="*/ 281 h 543"/>
                  <a:gd name="T50" fmla="*/ 88 w 451"/>
                  <a:gd name="T51" fmla="*/ 226 h 543"/>
                  <a:gd name="T52" fmla="*/ 27 w 451"/>
                  <a:gd name="T53" fmla="*/ 223 h 543"/>
                  <a:gd name="T54" fmla="*/ 27 w 451"/>
                  <a:gd name="T55" fmla="*/ 169 h 543"/>
                  <a:gd name="T56" fmla="*/ 50 w 451"/>
                  <a:gd name="T57" fmla="*/ 123 h 543"/>
                  <a:gd name="T58" fmla="*/ 61 w 451"/>
                  <a:gd name="T59" fmla="*/ 65 h 543"/>
                  <a:gd name="T60" fmla="*/ 98 w 451"/>
                  <a:gd name="T61" fmla="*/ 103 h 543"/>
                  <a:gd name="T62" fmla="*/ 136 w 451"/>
                  <a:gd name="T63" fmla="*/ 71 h 543"/>
                  <a:gd name="T64" fmla="*/ 98 w 451"/>
                  <a:gd name="T65" fmla="*/ 29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1" h="543">
                    <a:moveTo>
                      <a:pt x="91" y="4"/>
                    </a:moveTo>
                    <a:lnTo>
                      <a:pt x="108" y="0"/>
                    </a:lnTo>
                    <a:lnTo>
                      <a:pt x="162" y="22"/>
                    </a:lnTo>
                    <a:lnTo>
                      <a:pt x="186" y="46"/>
                    </a:lnTo>
                    <a:lnTo>
                      <a:pt x="230" y="58"/>
                    </a:lnTo>
                    <a:lnTo>
                      <a:pt x="247" y="73"/>
                    </a:lnTo>
                    <a:lnTo>
                      <a:pt x="271" y="71"/>
                    </a:lnTo>
                    <a:lnTo>
                      <a:pt x="276" y="77"/>
                    </a:lnTo>
                    <a:lnTo>
                      <a:pt x="268" y="133"/>
                    </a:lnTo>
                    <a:lnTo>
                      <a:pt x="292" y="143"/>
                    </a:lnTo>
                    <a:lnTo>
                      <a:pt x="303" y="164"/>
                    </a:lnTo>
                    <a:lnTo>
                      <a:pt x="339" y="171"/>
                    </a:lnTo>
                    <a:lnTo>
                      <a:pt x="351" y="146"/>
                    </a:lnTo>
                    <a:lnTo>
                      <a:pt x="376" y="148"/>
                    </a:lnTo>
                    <a:lnTo>
                      <a:pt x="391" y="169"/>
                    </a:lnTo>
                    <a:lnTo>
                      <a:pt x="388" y="187"/>
                    </a:lnTo>
                    <a:lnTo>
                      <a:pt x="344" y="194"/>
                    </a:lnTo>
                    <a:lnTo>
                      <a:pt x="344" y="212"/>
                    </a:lnTo>
                    <a:lnTo>
                      <a:pt x="344" y="225"/>
                    </a:lnTo>
                    <a:lnTo>
                      <a:pt x="328" y="244"/>
                    </a:lnTo>
                    <a:lnTo>
                      <a:pt x="339" y="267"/>
                    </a:lnTo>
                    <a:lnTo>
                      <a:pt x="376" y="292"/>
                    </a:lnTo>
                    <a:lnTo>
                      <a:pt x="379" y="320"/>
                    </a:lnTo>
                    <a:lnTo>
                      <a:pt x="450" y="328"/>
                    </a:lnTo>
                    <a:lnTo>
                      <a:pt x="450" y="366"/>
                    </a:lnTo>
                    <a:lnTo>
                      <a:pt x="438" y="388"/>
                    </a:lnTo>
                    <a:lnTo>
                      <a:pt x="447" y="406"/>
                    </a:lnTo>
                    <a:lnTo>
                      <a:pt x="438" y="418"/>
                    </a:lnTo>
                    <a:lnTo>
                      <a:pt x="411" y="423"/>
                    </a:lnTo>
                    <a:lnTo>
                      <a:pt x="398" y="441"/>
                    </a:lnTo>
                    <a:lnTo>
                      <a:pt x="400" y="483"/>
                    </a:lnTo>
                    <a:lnTo>
                      <a:pt x="364" y="534"/>
                    </a:lnTo>
                    <a:lnTo>
                      <a:pt x="357" y="542"/>
                    </a:lnTo>
                    <a:lnTo>
                      <a:pt x="337" y="521"/>
                    </a:lnTo>
                    <a:lnTo>
                      <a:pt x="286" y="521"/>
                    </a:lnTo>
                    <a:lnTo>
                      <a:pt x="264" y="496"/>
                    </a:lnTo>
                    <a:lnTo>
                      <a:pt x="223" y="539"/>
                    </a:lnTo>
                    <a:lnTo>
                      <a:pt x="207" y="531"/>
                    </a:lnTo>
                    <a:lnTo>
                      <a:pt x="225" y="498"/>
                    </a:lnTo>
                    <a:lnTo>
                      <a:pt x="223" y="490"/>
                    </a:lnTo>
                    <a:lnTo>
                      <a:pt x="207" y="485"/>
                    </a:lnTo>
                    <a:lnTo>
                      <a:pt x="159" y="512"/>
                    </a:lnTo>
                    <a:lnTo>
                      <a:pt x="112" y="423"/>
                    </a:lnTo>
                    <a:lnTo>
                      <a:pt x="127" y="398"/>
                    </a:lnTo>
                    <a:lnTo>
                      <a:pt x="121" y="388"/>
                    </a:lnTo>
                    <a:lnTo>
                      <a:pt x="98" y="380"/>
                    </a:lnTo>
                    <a:lnTo>
                      <a:pt x="56" y="354"/>
                    </a:lnTo>
                    <a:lnTo>
                      <a:pt x="73" y="320"/>
                    </a:lnTo>
                    <a:lnTo>
                      <a:pt x="98" y="309"/>
                    </a:lnTo>
                    <a:lnTo>
                      <a:pt x="103" y="281"/>
                    </a:lnTo>
                    <a:lnTo>
                      <a:pt x="93" y="231"/>
                    </a:lnTo>
                    <a:lnTo>
                      <a:pt x="88" y="226"/>
                    </a:lnTo>
                    <a:lnTo>
                      <a:pt x="63" y="254"/>
                    </a:lnTo>
                    <a:lnTo>
                      <a:pt x="27" y="223"/>
                    </a:lnTo>
                    <a:lnTo>
                      <a:pt x="0" y="189"/>
                    </a:lnTo>
                    <a:lnTo>
                      <a:pt x="27" y="169"/>
                    </a:lnTo>
                    <a:lnTo>
                      <a:pt x="36" y="135"/>
                    </a:lnTo>
                    <a:lnTo>
                      <a:pt x="50" y="123"/>
                    </a:lnTo>
                    <a:lnTo>
                      <a:pt x="49" y="76"/>
                    </a:lnTo>
                    <a:lnTo>
                      <a:pt x="61" y="65"/>
                    </a:lnTo>
                    <a:lnTo>
                      <a:pt x="84" y="83"/>
                    </a:lnTo>
                    <a:lnTo>
                      <a:pt x="98" y="103"/>
                    </a:lnTo>
                    <a:lnTo>
                      <a:pt x="127" y="83"/>
                    </a:lnTo>
                    <a:lnTo>
                      <a:pt x="136" y="71"/>
                    </a:lnTo>
                    <a:lnTo>
                      <a:pt x="132" y="46"/>
                    </a:lnTo>
                    <a:lnTo>
                      <a:pt x="98" y="29"/>
                    </a:lnTo>
                    <a:lnTo>
                      <a:pt x="91" y="4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81" name="Freeform 32"/>
              <p:cNvSpPr>
                <a:spLocks/>
              </p:cNvSpPr>
              <p:nvPr/>
            </p:nvSpPr>
            <p:spPr bwMode="auto">
              <a:xfrm>
                <a:off x="5207985" y="3997424"/>
                <a:ext cx="584200" cy="454025"/>
              </a:xfrm>
              <a:custGeom>
                <a:avLst/>
                <a:gdLst>
                  <a:gd name="T0" fmla="*/ 494 w 533"/>
                  <a:gd name="T1" fmla="*/ 338 h 427"/>
                  <a:gd name="T2" fmla="*/ 483 w 533"/>
                  <a:gd name="T3" fmla="*/ 374 h 427"/>
                  <a:gd name="T4" fmla="*/ 468 w 533"/>
                  <a:gd name="T5" fmla="*/ 394 h 427"/>
                  <a:gd name="T6" fmla="*/ 441 w 533"/>
                  <a:gd name="T7" fmla="*/ 426 h 427"/>
                  <a:gd name="T8" fmla="*/ 398 w 533"/>
                  <a:gd name="T9" fmla="*/ 418 h 427"/>
                  <a:gd name="T10" fmla="*/ 365 w 533"/>
                  <a:gd name="T11" fmla="*/ 399 h 427"/>
                  <a:gd name="T12" fmla="*/ 343 w 533"/>
                  <a:gd name="T13" fmla="*/ 409 h 427"/>
                  <a:gd name="T14" fmla="*/ 272 w 533"/>
                  <a:gd name="T15" fmla="*/ 400 h 427"/>
                  <a:gd name="T16" fmla="*/ 270 w 533"/>
                  <a:gd name="T17" fmla="*/ 373 h 427"/>
                  <a:gd name="T18" fmla="*/ 232 w 533"/>
                  <a:gd name="T19" fmla="*/ 347 h 427"/>
                  <a:gd name="T20" fmla="*/ 222 w 533"/>
                  <a:gd name="T21" fmla="*/ 324 h 427"/>
                  <a:gd name="T22" fmla="*/ 237 w 533"/>
                  <a:gd name="T23" fmla="*/ 306 h 427"/>
                  <a:gd name="T24" fmla="*/ 237 w 533"/>
                  <a:gd name="T25" fmla="*/ 292 h 427"/>
                  <a:gd name="T26" fmla="*/ 237 w 533"/>
                  <a:gd name="T27" fmla="*/ 274 h 427"/>
                  <a:gd name="T28" fmla="*/ 282 w 533"/>
                  <a:gd name="T29" fmla="*/ 267 h 427"/>
                  <a:gd name="T30" fmla="*/ 284 w 533"/>
                  <a:gd name="T31" fmla="*/ 249 h 427"/>
                  <a:gd name="T32" fmla="*/ 270 w 533"/>
                  <a:gd name="T33" fmla="*/ 229 h 427"/>
                  <a:gd name="T34" fmla="*/ 244 w 533"/>
                  <a:gd name="T35" fmla="*/ 227 h 427"/>
                  <a:gd name="T36" fmla="*/ 232 w 533"/>
                  <a:gd name="T37" fmla="*/ 251 h 427"/>
                  <a:gd name="T38" fmla="*/ 196 w 533"/>
                  <a:gd name="T39" fmla="*/ 245 h 427"/>
                  <a:gd name="T40" fmla="*/ 186 w 533"/>
                  <a:gd name="T41" fmla="*/ 225 h 427"/>
                  <a:gd name="T42" fmla="*/ 162 w 533"/>
                  <a:gd name="T43" fmla="*/ 213 h 427"/>
                  <a:gd name="T44" fmla="*/ 169 w 533"/>
                  <a:gd name="T45" fmla="*/ 158 h 427"/>
                  <a:gd name="T46" fmla="*/ 164 w 533"/>
                  <a:gd name="T47" fmla="*/ 152 h 427"/>
                  <a:gd name="T48" fmla="*/ 139 w 533"/>
                  <a:gd name="T49" fmla="*/ 154 h 427"/>
                  <a:gd name="T50" fmla="*/ 123 w 533"/>
                  <a:gd name="T51" fmla="*/ 139 h 427"/>
                  <a:gd name="T52" fmla="*/ 78 w 533"/>
                  <a:gd name="T53" fmla="*/ 127 h 427"/>
                  <a:gd name="T54" fmla="*/ 54 w 533"/>
                  <a:gd name="T55" fmla="*/ 103 h 427"/>
                  <a:gd name="T56" fmla="*/ 0 w 533"/>
                  <a:gd name="T57" fmla="*/ 80 h 427"/>
                  <a:gd name="T58" fmla="*/ 4 w 533"/>
                  <a:gd name="T59" fmla="*/ 56 h 427"/>
                  <a:gd name="T60" fmla="*/ 27 w 533"/>
                  <a:gd name="T61" fmla="*/ 49 h 427"/>
                  <a:gd name="T62" fmla="*/ 66 w 533"/>
                  <a:gd name="T63" fmla="*/ 80 h 427"/>
                  <a:gd name="T64" fmla="*/ 78 w 533"/>
                  <a:gd name="T65" fmla="*/ 80 h 427"/>
                  <a:gd name="T66" fmla="*/ 116 w 533"/>
                  <a:gd name="T67" fmla="*/ 78 h 427"/>
                  <a:gd name="T68" fmla="*/ 136 w 533"/>
                  <a:gd name="T69" fmla="*/ 61 h 427"/>
                  <a:gd name="T70" fmla="*/ 166 w 533"/>
                  <a:gd name="T71" fmla="*/ 85 h 427"/>
                  <a:gd name="T72" fmla="*/ 180 w 533"/>
                  <a:gd name="T73" fmla="*/ 63 h 427"/>
                  <a:gd name="T74" fmla="*/ 181 w 533"/>
                  <a:gd name="T75" fmla="*/ 51 h 427"/>
                  <a:gd name="T76" fmla="*/ 206 w 533"/>
                  <a:gd name="T77" fmla="*/ 36 h 427"/>
                  <a:gd name="T78" fmla="*/ 214 w 533"/>
                  <a:gd name="T79" fmla="*/ 4 h 427"/>
                  <a:gd name="T80" fmla="*/ 237 w 533"/>
                  <a:gd name="T81" fmla="*/ 0 h 427"/>
                  <a:gd name="T82" fmla="*/ 300 w 533"/>
                  <a:gd name="T83" fmla="*/ 44 h 427"/>
                  <a:gd name="T84" fmla="*/ 343 w 533"/>
                  <a:gd name="T85" fmla="*/ 61 h 427"/>
                  <a:gd name="T86" fmla="*/ 427 w 533"/>
                  <a:gd name="T87" fmla="*/ 200 h 427"/>
                  <a:gd name="T88" fmla="*/ 422 w 533"/>
                  <a:gd name="T89" fmla="*/ 213 h 427"/>
                  <a:gd name="T90" fmla="*/ 479 w 533"/>
                  <a:gd name="T91" fmla="*/ 240 h 427"/>
                  <a:gd name="T92" fmla="*/ 494 w 533"/>
                  <a:gd name="T93" fmla="*/ 264 h 427"/>
                  <a:gd name="T94" fmla="*/ 519 w 533"/>
                  <a:gd name="T95" fmla="*/ 276 h 427"/>
                  <a:gd name="T96" fmla="*/ 532 w 533"/>
                  <a:gd name="T97" fmla="*/ 302 h 427"/>
                  <a:gd name="T98" fmla="*/ 515 w 533"/>
                  <a:gd name="T99" fmla="*/ 308 h 427"/>
                  <a:gd name="T100" fmla="*/ 487 w 533"/>
                  <a:gd name="T101" fmla="*/ 298 h 427"/>
                  <a:gd name="T102" fmla="*/ 446 w 533"/>
                  <a:gd name="T103" fmla="*/ 298 h 427"/>
                  <a:gd name="T104" fmla="*/ 409 w 533"/>
                  <a:gd name="T105" fmla="*/ 286 h 427"/>
                  <a:gd name="T106" fmla="*/ 398 w 533"/>
                  <a:gd name="T107" fmla="*/ 298 h 427"/>
                  <a:gd name="T108" fmla="*/ 429 w 533"/>
                  <a:gd name="T109" fmla="*/ 308 h 427"/>
                  <a:gd name="T110" fmla="*/ 463 w 533"/>
                  <a:gd name="T111" fmla="*/ 323 h 427"/>
                  <a:gd name="T112" fmla="*/ 494 w 533"/>
                  <a:gd name="T113" fmla="*/ 3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33" h="427">
                    <a:moveTo>
                      <a:pt x="494" y="338"/>
                    </a:moveTo>
                    <a:lnTo>
                      <a:pt x="483" y="374"/>
                    </a:lnTo>
                    <a:lnTo>
                      <a:pt x="468" y="394"/>
                    </a:lnTo>
                    <a:lnTo>
                      <a:pt x="441" y="426"/>
                    </a:lnTo>
                    <a:lnTo>
                      <a:pt x="398" y="418"/>
                    </a:lnTo>
                    <a:lnTo>
                      <a:pt x="365" y="399"/>
                    </a:lnTo>
                    <a:lnTo>
                      <a:pt x="343" y="409"/>
                    </a:lnTo>
                    <a:lnTo>
                      <a:pt x="272" y="400"/>
                    </a:lnTo>
                    <a:lnTo>
                      <a:pt x="270" y="373"/>
                    </a:lnTo>
                    <a:lnTo>
                      <a:pt x="232" y="347"/>
                    </a:lnTo>
                    <a:lnTo>
                      <a:pt x="222" y="324"/>
                    </a:lnTo>
                    <a:lnTo>
                      <a:pt x="237" y="306"/>
                    </a:lnTo>
                    <a:lnTo>
                      <a:pt x="237" y="292"/>
                    </a:lnTo>
                    <a:lnTo>
                      <a:pt x="237" y="274"/>
                    </a:lnTo>
                    <a:lnTo>
                      <a:pt x="282" y="267"/>
                    </a:lnTo>
                    <a:lnTo>
                      <a:pt x="284" y="249"/>
                    </a:lnTo>
                    <a:lnTo>
                      <a:pt x="270" y="229"/>
                    </a:lnTo>
                    <a:lnTo>
                      <a:pt x="244" y="227"/>
                    </a:lnTo>
                    <a:lnTo>
                      <a:pt x="232" y="251"/>
                    </a:lnTo>
                    <a:lnTo>
                      <a:pt x="196" y="245"/>
                    </a:lnTo>
                    <a:lnTo>
                      <a:pt x="186" y="225"/>
                    </a:lnTo>
                    <a:lnTo>
                      <a:pt x="162" y="213"/>
                    </a:lnTo>
                    <a:lnTo>
                      <a:pt x="169" y="158"/>
                    </a:lnTo>
                    <a:lnTo>
                      <a:pt x="164" y="152"/>
                    </a:lnTo>
                    <a:lnTo>
                      <a:pt x="139" y="154"/>
                    </a:lnTo>
                    <a:lnTo>
                      <a:pt x="123" y="139"/>
                    </a:lnTo>
                    <a:lnTo>
                      <a:pt x="78" y="127"/>
                    </a:lnTo>
                    <a:lnTo>
                      <a:pt x="54" y="103"/>
                    </a:lnTo>
                    <a:lnTo>
                      <a:pt x="0" y="80"/>
                    </a:lnTo>
                    <a:lnTo>
                      <a:pt x="4" y="56"/>
                    </a:lnTo>
                    <a:lnTo>
                      <a:pt x="27" y="49"/>
                    </a:lnTo>
                    <a:lnTo>
                      <a:pt x="66" y="80"/>
                    </a:lnTo>
                    <a:lnTo>
                      <a:pt x="78" y="80"/>
                    </a:lnTo>
                    <a:lnTo>
                      <a:pt x="116" y="78"/>
                    </a:lnTo>
                    <a:lnTo>
                      <a:pt x="136" y="61"/>
                    </a:lnTo>
                    <a:lnTo>
                      <a:pt x="166" y="85"/>
                    </a:lnTo>
                    <a:lnTo>
                      <a:pt x="180" y="63"/>
                    </a:lnTo>
                    <a:lnTo>
                      <a:pt x="181" y="51"/>
                    </a:lnTo>
                    <a:lnTo>
                      <a:pt x="206" y="36"/>
                    </a:lnTo>
                    <a:lnTo>
                      <a:pt x="214" y="4"/>
                    </a:lnTo>
                    <a:lnTo>
                      <a:pt x="237" y="0"/>
                    </a:lnTo>
                    <a:lnTo>
                      <a:pt x="300" y="44"/>
                    </a:lnTo>
                    <a:lnTo>
                      <a:pt x="343" y="61"/>
                    </a:lnTo>
                    <a:lnTo>
                      <a:pt x="427" y="200"/>
                    </a:lnTo>
                    <a:lnTo>
                      <a:pt x="422" y="213"/>
                    </a:lnTo>
                    <a:lnTo>
                      <a:pt x="479" y="240"/>
                    </a:lnTo>
                    <a:lnTo>
                      <a:pt x="494" y="264"/>
                    </a:lnTo>
                    <a:lnTo>
                      <a:pt x="519" y="276"/>
                    </a:lnTo>
                    <a:lnTo>
                      <a:pt x="532" y="302"/>
                    </a:lnTo>
                    <a:lnTo>
                      <a:pt x="515" y="308"/>
                    </a:lnTo>
                    <a:lnTo>
                      <a:pt x="487" y="298"/>
                    </a:lnTo>
                    <a:lnTo>
                      <a:pt x="446" y="298"/>
                    </a:lnTo>
                    <a:lnTo>
                      <a:pt x="409" y="286"/>
                    </a:lnTo>
                    <a:lnTo>
                      <a:pt x="398" y="298"/>
                    </a:lnTo>
                    <a:lnTo>
                      <a:pt x="429" y="308"/>
                    </a:lnTo>
                    <a:lnTo>
                      <a:pt x="463" y="323"/>
                    </a:lnTo>
                    <a:lnTo>
                      <a:pt x="494" y="338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82" name="Freeform 33"/>
              <p:cNvSpPr>
                <a:spLocks/>
              </p:cNvSpPr>
              <p:nvPr/>
            </p:nvSpPr>
            <p:spPr bwMode="auto">
              <a:xfrm>
                <a:off x="5727098" y="4364136"/>
                <a:ext cx="82550" cy="85725"/>
              </a:xfrm>
              <a:custGeom>
                <a:avLst/>
                <a:gdLst>
                  <a:gd name="T0" fmla="*/ 32 w 76"/>
                  <a:gd name="T1" fmla="*/ 79 h 80"/>
                  <a:gd name="T2" fmla="*/ 0 w 76"/>
                  <a:gd name="T3" fmla="*/ 52 h 80"/>
                  <a:gd name="T4" fmla="*/ 14 w 76"/>
                  <a:gd name="T5" fmla="*/ 33 h 80"/>
                  <a:gd name="T6" fmla="*/ 25 w 76"/>
                  <a:gd name="T7" fmla="*/ 0 h 80"/>
                  <a:gd name="T8" fmla="*/ 58 w 76"/>
                  <a:gd name="T9" fmla="*/ 13 h 80"/>
                  <a:gd name="T10" fmla="*/ 75 w 76"/>
                  <a:gd name="T11" fmla="*/ 35 h 80"/>
                  <a:gd name="T12" fmla="*/ 64 w 76"/>
                  <a:gd name="T13" fmla="*/ 52 h 80"/>
                  <a:gd name="T14" fmla="*/ 32 w 76"/>
                  <a:gd name="T15" fmla="*/ 79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" h="80">
                    <a:moveTo>
                      <a:pt x="32" y="79"/>
                    </a:moveTo>
                    <a:lnTo>
                      <a:pt x="0" y="52"/>
                    </a:lnTo>
                    <a:lnTo>
                      <a:pt x="14" y="33"/>
                    </a:lnTo>
                    <a:lnTo>
                      <a:pt x="25" y="0"/>
                    </a:lnTo>
                    <a:lnTo>
                      <a:pt x="58" y="13"/>
                    </a:lnTo>
                    <a:lnTo>
                      <a:pt x="75" y="35"/>
                    </a:lnTo>
                    <a:lnTo>
                      <a:pt x="64" y="52"/>
                    </a:lnTo>
                    <a:lnTo>
                      <a:pt x="32" y="79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83" name="Freeform 34"/>
              <p:cNvSpPr>
                <a:spLocks/>
              </p:cNvSpPr>
              <p:nvPr/>
            </p:nvSpPr>
            <p:spPr bwMode="auto">
              <a:xfrm>
                <a:off x="5306410" y="4784824"/>
                <a:ext cx="450850" cy="550862"/>
              </a:xfrm>
              <a:custGeom>
                <a:avLst/>
                <a:gdLst>
                  <a:gd name="T0" fmla="*/ 0 w 410"/>
                  <a:gd name="T1" fmla="*/ 393 h 515"/>
                  <a:gd name="T2" fmla="*/ 15 w 410"/>
                  <a:gd name="T3" fmla="*/ 305 h 515"/>
                  <a:gd name="T4" fmla="*/ 30 w 410"/>
                  <a:gd name="T5" fmla="*/ 284 h 515"/>
                  <a:gd name="T6" fmla="*/ 36 w 410"/>
                  <a:gd name="T7" fmla="*/ 259 h 515"/>
                  <a:gd name="T8" fmla="*/ 52 w 410"/>
                  <a:gd name="T9" fmla="*/ 222 h 515"/>
                  <a:gd name="T10" fmla="*/ 43 w 410"/>
                  <a:gd name="T11" fmla="*/ 208 h 515"/>
                  <a:gd name="T12" fmla="*/ 45 w 410"/>
                  <a:gd name="T13" fmla="*/ 176 h 515"/>
                  <a:gd name="T14" fmla="*/ 87 w 410"/>
                  <a:gd name="T15" fmla="*/ 128 h 515"/>
                  <a:gd name="T16" fmla="*/ 86 w 410"/>
                  <a:gd name="T17" fmla="*/ 97 h 515"/>
                  <a:gd name="T18" fmla="*/ 111 w 410"/>
                  <a:gd name="T19" fmla="*/ 50 h 515"/>
                  <a:gd name="T20" fmla="*/ 139 w 410"/>
                  <a:gd name="T21" fmla="*/ 58 h 515"/>
                  <a:gd name="T22" fmla="*/ 192 w 410"/>
                  <a:gd name="T23" fmla="*/ 19 h 515"/>
                  <a:gd name="T24" fmla="*/ 202 w 410"/>
                  <a:gd name="T25" fmla="*/ 0 h 515"/>
                  <a:gd name="T26" fmla="*/ 235 w 410"/>
                  <a:gd name="T27" fmla="*/ 4 h 515"/>
                  <a:gd name="T28" fmla="*/ 251 w 410"/>
                  <a:gd name="T29" fmla="*/ 48 h 515"/>
                  <a:gd name="T30" fmla="*/ 265 w 410"/>
                  <a:gd name="T31" fmla="*/ 78 h 515"/>
                  <a:gd name="T32" fmla="*/ 300 w 410"/>
                  <a:gd name="T33" fmla="*/ 78 h 515"/>
                  <a:gd name="T34" fmla="*/ 319 w 410"/>
                  <a:gd name="T35" fmla="*/ 50 h 515"/>
                  <a:gd name="T36" fmla="*/ 352 w 410"/>
                  <a:gd name="T37" fmla="*/ 82 h 515"/>
                  <a:gd name="T38" fmla="*/ 409 w 410"/>
                  <a:gd name="T39" fmla="*/ 63 h 515"/>
                  <a:gd name="T40" fmla="*/ 374 w 410"/>
                  <a:gd name="T41" fmla="*/ 145 h 515"/>
                  <a:gd name="T42" fmla="*/ 352 w 410"/>
                  <a:gd name="T43" fmla="*/ 135 h 515"/>
                  <a:gd name="T44" fmla="*/ 340 w 410"/>
                  <a:gd name="T45" fmla="*/ 144 h 515"/>
                  <a:gd name="T46" fmla="*/ 338 w 410"/>
                  <a:gd name="T47" fmla="*/ 150 h 515"/>
                  <a:gd name="T48" fmla="*/ 357 w 410"/>
                  <a:gd name="T49" fmla="*/ 172 h 515"/>
                  <a:gd name="T50" fmla="*/ 352 w 410"/>
                  <a:gd name="T51" fmla="*/ 249 h 515"/>
                  <a:gd name="T52" fmla="*/ 357 w 410"/>
                  <a:gd name="T53" fmla="*/ 273 h 515"/>
                  <a:gd name="T54" fmla="*/ 352 w 410"/>
                  <a:gd name="T55" fmla="*/ 281 h 515"/>
                  <a:gd name="T56" fmla="*/ 327 w 410"/>
                  <a:gd name="T57" fmla="*/ 276 h 515"/>
                  <a:gd name="T58" fmla="*/ 315 w 410"/>
                  <a:gd name="T59" fmla="*/ 290 h 515"/>
                  <a:gd name="T60" fmla="*/ 324 w 410"/>
                  <a:gd name="T61" fmla="*/ 311 h 515"/>
                  <a:gd name="T62" fmla="*/ 295 w 410"/>
                  <a:gd name="T63" fmla="*/ 337 h 515"/>
                  <a:gd name="T64" fmla="*/ 303 w 410"/>
                  <a:gd name="T65" fmla="*/ 347 h 515"/>
                  <a:gd name="T66" fmla="*/ 275 w 410"/>
                  <a:gd name="T67" fmla="*/ 362 h 515"/>
                  <a:gd name="T68" fmla="*/ 279 w 410"/>
                  <a:gd name="T69" fmla="*/ 381 h 515"/>
                  <a:gd name="T70" fmla="*/ 270 w 410"/>
                  <a:gd name="T71" fmla="*/ 391 h 515"/>
                  <a:gd name="T72" fmla="*/ 235 w 410"/>
                  <a:gd name="T73" fmla="*/ 391 h 515"/>
                  <a:gd name="T74" fmla="*/ 215 w 410"/>
                  <a:gd name="T75" fmla="*/ 408 h 515"/>
                  <a:gd name="T76" fmla="*/ 212 w 410"/>
                  <a:gd name="T77" fmla="*/ 415 h 515"/>
                  <a:gd name="T78" fmla="*/ 229 w 410"/>
                  <a:gd name="T79" fmla="*/ 427 h 515"/>
                  <a:gd name="T80" fmla="*/ 210 w 410"/>
                  <a:gd name="T81" fmla="*/ 457 h 515"/>
                  <a:gd name="T82" fmla="*/ 185 w 410"/>
                  <a:gd name="T83" fmla="*/ 489 h 515"/>
                  <a:gd name="T84" fmla="*/ 173 w 410"/>
                  <a:gd name="T85" fmla="*/ 485 h 515"/>
                  <a:gd name="T86" fmla="*/ 149 w 410"/>
                  <a:gd name="T87" fmla="*/ 514 h 515"/>
                  <a:gd name="T88" fmla="*/ 119 w 410"/>
                  <a:gd name="T89" fmla="*/ 450 h 515"/>
                  <a:gd name="T90" fmla="*/ 92 w 410"/>
                  <a:gd name="T91" fmla="*/ 415 h 515"/>
                  <a:gd name="T92" fmla="*/ 75 w 410"/>
                  <a:gd name="T93" fmla="*/ 417 h 515"/>
                  <a:gd name="T94" fmla="*/ 63 w 410"/>
                  <a:gd name="T95" fmla="*/ 408 h 515"/>
                  <a:gd name="T96" fmla="*/ 0 w 410"/>
                  <a:gd name="T97" fmla="*/ 393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10" h="515">
                    <a:moveTo>
                      <a:pt x="0" y="393"/>
                    </a:moveTo>
                    <a:lnTo>
                      <a:pt x="15" y="305"/>
                    </a:lnTo>
                    <a:lnTo>
                      <a:pt x="30" y="284"/>
                    </a:lnTo>
                    <a:lnTo>
                      <a:pt x="36" y="259"/>
                    </a:lnTo>
                    <a:lnTo>
                      <a:pt x="52" y="222"/>
                    </a:lnTo>
                    <a:lnTo>
                      <a:pt x="43" y="208"/>
                    </a:lnTo>
                    <a:lnTo>
                      <a:pt x="45" y="176"/>
                    </a:lnTo>
                    <a:lnTo>
                      <a:pt x="87" y="128"/>
                    </a:lnTo>
                    <a:lnTo>
                      <a:pt x="86" y="97"/>
                    </a:lnTo>
                    <a:lnTo>
                      <a:pt x="111" y="50"/>
                    </a:lnTo>
                    <a:lnTo>
                      <a:pt x="139" y="58"/>
                    </a:lnTo>
                    <a:lnTo>
                      <a:pt x="192" y="19"/>
                    </a:lnTo>
                    <a:lnTo>
                      <a:pt x="202" y="0"/>
                    </a:lnTo>
                    <a:lnTo>
                      <a:pt x="235" y="4"/>
                    </a:lnTo>
                    <a:lnTo>
                      <a:pt x="251" y="48"/>
                    </a:lnTo>
                    <a:lnTo>
                      <a:pt x="265" y="78"/>
                    </a:lnTo>
                    <a:lnTo>
                      <a:pt x="300" y="78"/>
                    </a:lnTo>
                    <a:lnTo>
                      <a:pt x="319" y="50"/>
                    </a:lnTo>
                    <a:lnTo>
                      <a:pt x="352" y="82"/>
                    </a:lnTo>
                    <a:lnTo>
                      <a:pt x="409" y="63"/>
                    </a:lnTo>
                    <a:lnTo>
                      <a:pt x="374" y="145"/>
                    </a:lnTo>
                    <a:lnTo>
                      <a:pt x="352" y="135"/>
                    </a:lnTo>
                    <a:lnTo>
                      <a:pt x="340" y="144"/>
                    </a:lnTo>
                    <a:lnTo>
                      <a:pt x="338" y="150"/>
                    </a:lnTo>
                    <a:lnTo>
                      <a:pt x="357" y="172"/>
                    </a:lnTo>
                    <a:lnTo>
                      <a:pt x="352" y="249"/>
                    </a:lnTo>
                    <a:lnTo>
                      <a:pt x="357" y="273"/>
                    </a:lnTo>
                    <a:lnTo>
                      <a:pt x="352" y="281"/>
                    </a:lnTo>
                    <a:lnTo>
                      <a:pt x="327" y="276"/>
                    </a:lnTo>
                    <a:lnTo>
                      <a:pt x="315" y="290"/>
                    </a:lnTo>
                    <a:lnTo>
                      <a:pt x="324" y="311"/>
                    </a:lnTo>
                    <a:lnTo>
                      <a:pt x="295" y="337"/>
                    </a:lnTo>
                    <a:lnTo>
                      <a:pt x="303" y="347"/>
                    </a:lnTo>
                    <a:lnTo>
                      <a:pt x="275" y="362"/>
                    </a:lnTo>
                    <a:lnTo>
                      <a:pt x="279" y="381"/>
                    </a:lnTo>
                    <a:lnTo>
                      <a:pt x="270" y="391"/>
                    </a:lnTo>
                    <a:lnTo>
                      <a:pt x="235" y="391"/>
                    </a:lnTo>
                    <a:lnTo>
                      <a:pt x="215" y="408"/>
                    </a:lnTo>
                    <a:lnTo>
                      <a:pt x="212" y="415"/>
                    </a:lnTo>
                    <a:lnTo>
                      <a:pt x="229" y="427"/>
                    </a:lnTo>
                    <a:lnTo>
                      <a:pt x="210" y="457"/>
                    </a:lnTo>
                    <a:lnTo>
                      <a:pt x="185" y="489"/>
                    </a:lnTo>
                    <a:lnTo>
                      <a:pt x="173" y="485"/>
                    </a:lnTo>
                    <a:lnTo>
                      <a:pt x="149" y="514"/>
                    </a:lnTo>
                    <a:lnTo>
                      <a:pt x="119" y="450"/>
                    </a:lnTo>
                    <a:lnTo>
                      <a:pt x="92" y="415"/>
                    </a:lnTo>
                    <a:lnTo>
                      <a:pt x="75" y="417"/>
                    </a:lnTo>
                    <a:lnTo>
                      <a:pt x="63" y="408"/>
                    </a:lnTo>
                    <a:lnTo>
                      <a:pt x="0" y="393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84" name="Freeform 35"/>
              <p:cNvSpPr>
                <a:spLocks/>
              </p:cNvSpPr>
              <p:nvPr/>
            </p:nvSpPr>
            <p:spPr bwMode="auto">
              <a:xfrm>
                <a:off x="5447698" y="4403824"/>
                <a:ext cx="395287" cy="452437"/>
              </a:xfrm>
              <a:custGeom>
                <a:avLst/>
                <a:gdLst>
                  <a:gd name="T0" fmla="*/ 261 w 361"/>
                  <a:gd name="T1" fmla="*/ 399 h 420"/>
                  <a:gd name="T2" fmla="*/ 205 w 361"/>
                  <a:gd name="T3" fmla="*/ 419 h 420"/>
                  <a:gd name="T4" fmla="*/ 172 w 361"/>
                  <a:gd name="T5" fmla="*/ 386 h 420"/>
                  <a:gd name="T6" fmla="*/ 152 w 361"/>
                  <a:gd name="T7" fmla="*/ 414 h 420"/>
                  <a:gd name="T8" fmla="*/ 118 w 361"/>
                  <a:gd name="T9" fmla="*/ 414 h 420"/>
                  <a:gd name="T10" fmla="*/ 104 w 361"/>
                  <a:gd name="T11" fmla="*/ 384 h 420"/>
                  <a:gd name="T12" fmla="*/ 88 w 361"/>
                  <a:gd name="T13" fmla="*/ 340 h 420"/>
                  <a:gd name="T14" fmla="*/ 55 w 361"/>
                  <a:gd name="T15" fmla="*/ 336 h 420"/>
                  <a:gd name="T16" fmla="*/ 22 w 361"/>
                  <a:gd name="T17" fmla="*/ 272 h 420"/>
                  <a:gd name="T18" fmla="*/ 0 w 361"/>
                  <a:gd name="T19" fmla="*/ 241 h 420"/>
                  <a:gd name="T20" fmla="*/ 15 w 361"/>
                  <a:gd name="T21" fmla="*/ 226 h 420"/>
                  <a:gd name="T22" fmla="*/ 22 w 361"/>
                  <a:gd name="T23" fmla="*/ 219 h 420"/>
                  <a:gd name="T24" fmla="*/ 57 w 361"/>
                  <a:gd name="T25" fmla="*/ 168 h 420"/>
                  <a:gd name="T26" fmla="*/ 55 w 361"/>
                  <a:gd name="T27" fmla="*/ 126 h 420"/>
                  <a:gd name="T28" fmla="*/ 68 w 361"/>
                  <a:gd name="T29" fmla="*/ 108 h 420"/>
                  <a:gd name="T30" fmla="*/ 94 w 361"/>
                  <a:gd name="T31" fmla="*/ 104 h 420"/>
                  <a:gd name="T32" fmla="*/ 104 w 361"/>
                  <a:gd name="T33" fmla="*/ 92 h 420"/>
                  <a:gd name="T34" fmla="*/ 94 w 361"/>
                  <a:gd name="T35" fmla="*/ 73 h 420"/>
                  <a:gd name="T36" fmla="*/ 106 w 361"/>
                  <a:gd name="T37" fmla="*/ 51 h 420"/>
                  <a:gd name="T38" fmla="*/ 106 w 361"/>
                  <a:gd name="T39" fmla="*/ 14 h 420"/>
                  <a:gd name="T40" fmla="*/ 128 w 361"/>
                  <a:gd name="T41" fmla="*/ 4 h 420"/>
                  <a:gd name="T42" fmla="*/ 160 w 361"/>
                  <a:gd name="T43" fmla="*/ 24 h 420"/>
                  <a:gd name="T44" fmla="*/ 205 w 361"/>
                  <a:gd name="T45" fmla="*/ 31 h 420"/>
                  <a:gd name="T46" fmla="*/ 230 w 361"/>
                  <a:gd name="T47" fmla="*/ 0 h 420"/>
                  <a:gd name="T48" fmla="*/ 266 w 361"/>
                  <a:gd name="T49" fmla="*/ 28 h 420"/>
                  <a:gd name="T50" fmla="*/ 250 w 361"/>
                  <a:gd name="T51" fmla="*/ 37 h 420"/>
                  <a:gd name="T52" fmla="*/ 232 w 361"/>
                  <a:gd name="T53" fmla="*/ 64 h 420"/>
                  <a:gd name="T54" fmla="*/ 205 w 361"/>
                  <a:gd name="T55" fmla="*/ 73 h 420"/>
                  <a:gd name="T56" fmla="*/ 198 w 361"/>
                  <a:gd name="T57" fmla="*/ 79 h 420"/>
                  <a:gd name="T58" fmla="*/ 220 w 361"/>
                  <a:gd name="T59" fmla="*/ 94 h 420"/>
                  <a:gd name="T60" fmla="*/ 270 w 361"/>
                  <a:gd name="T61" fmla="*/ 73 h 420"/>
                  <a:gd name="T62" fmla="*/ 350 w 361"/>
                  <a:gd name="T63" fmla="*/ 105 h 420"/>
                  <a:gd name="T64" fmla="*/ 360 w 361"/>
                  <a:gd name="T65" fmla="*/ 174 h 420"/>
                  <a:gd name="T66" fmla="*/ 326 w 361"/>
                  <a:gd name="T67" fmla="*/ 174 h 420"/>
                  <a:gd name="T68" fmla="*/ 324 w 361"/>
                  <a:gd name="T69" fmla="*/ 194 h 420"/>
                  <a:gd name="T70" fmla="*/ 340 w 361"/>
                  <a:gd name="T71" fmla="*/ 224 h 420"/>
                  <a:gd name="T72" fmla="*/ 326 w 361"/>
                  <a:gd name="T73" fmla="*/ 241 h 420"/>
                  <a:gd name="T74" fmla="*/ 343 w 361"/>
                  <a:gd name="T75" fmla="*/ 266 h 420"/>
                  <a:gd name="T76" fmla="*/ 316 w 361"/>
                  <a:gd name="T77" fmla="*/ 300 h 420"/>
                  <a:gd name="T78" fmla="*/ 306 w 361"/>
                  <a:gd name="T79" fmla="*/ 284 h 420"/>
                  <a:gd name="T80" fmla="*/ 266 w 361"/>
                  <a:gd name="T81" fmla="*/ 384 h 420"/>
                  <a:gd name="T82" fmla="*/ 261 w 361"/>
                  <a:gd name="T83" fmla="*/ 399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61" h="420">
                    <a:moveTo>
                      <a:pt x="261" y="399"/>
                    </a:moveTo>
                    <a:lnTo>
                      <a:pt x="205" y="419"/>
                    </a:lnTo>
                    <a:lnTo>
                      <a:pt x="172" y="386"/>
                    </a:lnTo>
                    <a:lnTo>
                      <a:pt x="152" y="414"/>
                    </a:lnTo>
                    <a:lnTo>
                      <a:pt x="118" y="414"/>
                    </a:lnTo>
                    <a:lnTo>
                      <a:pt x="104" y="384"/>
                    </a:lnTo>
                    <a:lnTo>
                      <a:pt x="88" y="340"/>
                    </a:lnTo>
                    <a:lnTo>
                      <a:pt x="55" y="336"/>
                    </a:lnTo>
                    <a:lnTo>
                      <a:pt x="22" y="272"/>
                    </a:lnTo>
                    <a:lnTo>
                      <a:pt x="0" y="241"/>
                    </a:lnTo>
                    <a:lnTo>
                      <a:pt x="15" y="226"/>
                    </a:lnTo>
                    <a:lnTo>
                      <a:pt x="22" y="219"/>
                    </a:lnTo>
                    <a:lnTo>
                      <a:pt x="57" y="168"/>
                    </a:lnTo>
                    <a:lnTo>
                      <a:pt x="55" y="126"/>
                    </a:lnTo>
                    <a:lnTo>
                      <a:pt x="68" y="108"/>
                    </a:lnTo>
                    <a:lnTo>
                      <a:pt x="94" y="104"/>
                    </a:lnTo>
                    <a:lnTo>
                      <a:pt x="104" y="92"/>
                    </a:lnTo>
                    <a:lnTo>
                      <a:pt x="94" y="73"/>
                    </a:lnTo>
                    <a:lnTo>
                      <a:pt x="106" y="51"/>
                    </a:lnTo>
                    <a:lnTo>
                      <a:pt x="106" y="14"/>
                    </a:lnTo>
                    <a:lnTo>
                      <a:pt x="128" y="4"/>
                    </a:lnTo>
                    <a:lnTo>
                      <a:pt x="160" y="24"/>
                    </a:lnTo>
                    <a:lnTo>
                      <a:pt x="205" y="31"/>
                    </a:lnTo>
                    <a:lnTo>
                      <a:pt x="230" y="0"/>
                    </a:lnTo>
                    <a:lnTo>
                      <a:pt x="266" y="28"/>
                    </a:lnTo>
                    <a:lnTo>
                      <a:pt x="250" y="37"/>
                    </a:lnTo>
                    <a:lnTo>
                      <a:pt x="232" y="64"/>
                    </a:lnTo>
                    <a:lnTo>
                      <a:pt x="205" y="73"/>
                    </a:lnTo>
                    <a:lnTo>
                      <a:pt x="198" y="79"/>
                    </a:lnTo>
                    <a:lnTo>
                      <a:pt x="220" y="94"/>
                    </a:lnTo>
                    <a:lnTo>
                      <a:pt x="270" y="73"/>
                    </a:lnTo>
                    <a:lnTo>
                      <a:pt x="350" y="105"/>
                    </a:lnTo>
                    <a:lnTo>
                      <a:pt x="360" y="174"/>
                    </a:lnTo>
                    <a:lnTo>
                      <a:pt x="326" y="174"/>
                    </a:lnTo>
                    <a:lnTo>
                      <a:pt x="324" y="194"/>
                    </a:lnTo>
                    <a:lnTo>
                      <a:pt x="340" y="224"/>
                    </a:lnTo>
                    <a:lnTo>
                      <a:pt x="326" y="241"/>
                    </a:lnTo>
                    <a:lnTo>
                      <a:pt x="343" y="266"/>
                    </a:lnTo>
                    <a:lnTo>
                      <a:pt x="316" y="300"/>
                    </a:lnTo>
                    <a:lnTo>
                      <a:pt x="306" y="284"/>
                    </a:lnTo>
                    <a:lnTo>
                      <a:pt x="266" y="384"/>
                    </a:lnTo>
                    <a:lnTo>
                      <a:pt x="261" y="399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85" name="Freeform 36"/>
              <p:cNvSpPr>
                <a:spLocks/>
              </p:cNvSpPr>
              <p:nvPr/>
            </p:nvSpPr>
            <p:spPr bwMode="auto">
              <a:xfrm>
                <a:off x="5803298" y="5132486"/>
                <a:ext cx="168275" cy="333375"/>
              </a:xfrm>
              <a:custGeom>
                <a:avLst/>
                <a:gdLst>
                  <a:gd name="T0" fmla="*/ 0 w 152"/>
                  <a:gd name="T1" fmla="*/ 151 h 313"/>
                  <a:gd name="T2" fmla="*/ 0 w 152"/>
                  <a:gd name="T3" fmla="*/ 200 h 313"/>
                  <a:gd name="T4" fmla="*/ 10 w 152"/>
                  <a:gd name="T5" fmla="*/ 252 h 313"/>
                  <a:gd name="T6" fmla="*/ 40 w 152"/>
                  <a:gd name="T7" fmla="*/ 271 h 313"/>
                  <a:gd name="T8" fmla="*/ 59 w 152"/>
                  <a:gd name="T9" fmla="*/ 312 h 313"/>
                  <a:gd name="T10" fmla="*/ 70 w 152"/>
                  <a:gd name="T11" fmla="*/ 252 h 313"/>
                  <a:gd name="T12" fmla="*/ 99 w 152"/>
                  <a:gd name="T13" fmla="*/ 217 h 313"/>
                  <a:gd name="T14" fmla="*/ 151 w 152"/>
                  <a:gd name="T15" fmla="*/ 65 h 313"/>
                  <a:gd name="T16" fmla="*/ 151 w 152"/>
                  <a:gd name="T17" fmla="*/ 16 h 313"/>
                  <a:gd name="T18" fmla="*/ 124 w 152"/>
                  <a:gd name="T19" fmla="*/ 0 h 313"/>
                  <a:gd name="T20" fmla="*/ 75 w 152"/>
                  <a:gd name="T21" fmla="*/ 21 h 313"/>
                  <a:gd name="T22" fmla="*/ 0 w 152"/>
                  <a:gd name="T23" fmla="*/ 151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2" h="313">
                    <a:moveTo>
                      <a:pt x="0" y="151"/>
                    </a:moveTo>
                    <a:lnTo>
                      <a:pt x="0" y="200"/>
                    </a:lnTo>
                    <a:lnTo>
                      <a:pt x="10" y="252"/>
                    </a:lnTo>
                    <a:lnTo>
                      <a:pt x="40" y="271"/>
                    </a:lnTo>
                    <a:lnTo>
                      <a:pt x="59" y="312"/>
                    </a:lnTo>
                    <a:lnTo>
                      <a:pt x="70" y="252"/>
                    </a:lnTo>
                    <a:lnTo>
                      <a:pt x="99" y="217"/>
                    </a:lnTo>
                    <a:lnTo>
                      <a:pt x="151" y="65"/>
                    </a:lnTo>
                    <a:lnTo>
                      <a:pt x="151" y="16"/>
                    </a:lnTo>
                    <a:lnTo>
                      <a:pt x="124" y="0"/>
                    </a:lnTo>
                    <a:lnTo>
                      <a:pt x="75" y="21"/>
                    </a:lnTo>
                    <a:lnTo>
                      <a:pt x="0" y="151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86" name="Freeform 37"/>
              <p:cNvSpPr>
                <a:spLocks/>
              </p:cNvSpPr>
              <p:nvPr/>
            </p:nvSpPr>
            <p:spPr bwMode="auto">
              <a:xfrm>
                <a:off x="5046060" y="3648174"/>
                <a:ext cx="692150" cy="447675"/>
              </a:xfrm>
              <a:custGeom>
                <a:avLst/>
                <a:gdLst>
                  <a:gd name="T0" fmla="*/ 139 w 629"/>
                  <a:gd name="T1" fmla="*/ 403 h 418"/>
                  <a:gd name="T2" fmla="*/ 144 w 629"/>
                  <a:gd name="T3" fmla="*/ 380 h 418"/>
                  <a:gd name="T4" fmla="*/ 166 w 629"/>
                  <a:gd name="T5" fmla="*/ 373 h 418"/>
                  <a:gd name="T6" fmla="*/ 206 w 629"/>
                  <a:gd name="T7" fmla="*/ 403 h 418"/>
                  <a:gd name="T8" fmla="*/ 219 w 629"/>
                  <a:gd name="T9" fmla="*/ 403 h 418"/>
                  <a:gd name="T10" fmla="*/ 258 w 629"/>
                  <a:gd name="T11" fmla="*/ 401 h 418"/>
                  <a:gd name="T12" fmla="*/ 279 w 629"/>
                  <a:gd name="T13" fmla="*/ 384 h 418"/>
                  <a:gd name="T14" fmla="*/ 310 w 629"/>
                  <a:gd name="T15" fmla="*/ 408 h 418"/>
                  <a:gd name="T16" fmla="*/ 323 w 629"/>
                  <a:gd name="T17" fmla="*/ 386 h 418"/>
                  <a:gd name="T18" fmla="*/ 325 w 629"/>
                  <a:gd name="T19" fmla="*/ 376 h 418"/>
                  <a:gd name="T20" fmla="*/ 350 w 629"/>
                  <a:gd name="T21" fmla="*/ 360 h 418"/>
                  <a:gd name="T22" fmla="*/ 359 w 629"/>
                  <a:gd name="T23" fmla="*/ 327 h 418"/>
                  <a:gd name="T24" fmla="*/ 382 w 629"/>
                  <a:gd name="T25" fmla="*/ 322 h 418"/>
                  <a:gd name="T26" fmla="*/ 454 w 629"/>
                  <a:gd name="T27" fmla="*/ 208 h 418"/>
                  <a:gd name="T28" fmla="*/ 440 w 629"/>
                  <a:gd name="T29" fmla="*/ 190 h 418"/>
                  <a:gd name="T30" fmla="*/ 454 w 629"/>
                  <a:gd name="T31" fmla="*/ 178 h 418"/>
                  <a:gd name="T32" fmla="*/ 470 w 629"/>
                  <a:gd name="T33" fmla="*/ 183 h 418"/>
                  <a:gd name="T34" fmla="*/ 491 w 629"/>
                  <a:gd name="T35" fmla="*/ 172 h 418"/>
                  <a:gd name="T36" fmla="*/ 503 w 629"/>
                  <a:gd name="T37" fmla="*/ 144 h 418"/>
                  <a:gd name="T38" fmla="*/ 560 w 629"/>
                  <a:gd name="T39" fmla="*/ 94 h 418"/>
                  <a:gd name="T40" fmla="*/ 604 w 629"/>
                  <a:gd name="T41" fmla="*/ 78 h 418"/>
                  <a:gd name="T42" fmla="*/ 628 w 629"/>
                  <a:gd name="T43" fmla="*/ 59 h 418"/>
                  <a:gd name="T44" fmla="*/ 621 w 629"/>
                  <a:gd name="T45" fmla="*/ 18 h 418"/>
                  <a:gd name="T46" fmla="*/ 592 w 629"/>
                  <a:gd name="T47" fmla="*/ 15 h 418"/>
                  <a:gd name="T48" fmla="*/ 522 w 629"/>
                  <a:gd name="T49" fmla="*/ 22 h 418"/>
                  <a:gd name="T50" fmla="*/ 476 w 629"/>
                  <a:gd name="T51" fmla="*/ 0 h 418"/>
                  <a:gd name="T52" fmla="*/ 449 w 629"/>
                  <a:gd name="T53" fmla="*/ 4 h 418"/>
                  <a:gd name="T54" fmla="*/ 378 w 629"/>
                  <a:gd name="T55" fmla="*/ 94 h 418"/>
                  <a:gd name="T56" fmla="*/ 359 w 629"/>
                  <a:gd name="T57" fmla="*/ 104 h 418"/>
                  <a:gd name="T58" fmla="*/ 312 w 629"/>
                  <a:gd name="T59" fmla="*/ 86 h 418"/>
                  <a:gd name="T60" fmla="*/ 310 w 629"/>
                  <a:gd name="T61" fmla="*/ 63 h 418"/>
                  <a:gd name="T62" fmla="*/ 300 w 629"/>
                  <a:gd name="T63" fmla="*/ 25 h 418"/>
                  <a:gd name="T64" fmla="*/ 274 w 629"/>
                  <a:gd name="T65" fmla="*/ 9 h 418"/>
                  <a:gd name="T66" fmla="*/ 235 w 629"/>
                  <a:gd name="T67" fmla="*/ 20 h 418"/>
                  <a:gd name="T68" fmla="*/ 209 w 629"/>
                  <a:gd name="T69" fmla="*/ 2 h 418"/>
                  <a:gd name="T70" fmla="*/ 171 w 629"/>
                  <a:gd name="T71" fmla="*/ 49 h 418"/>
                  <a:gd name="T72" fmla="*/ 131 w 629"/>
                  <a:gd name="T73" fmla="*/ 59 h 418"/>
                  <a:gd name="T74" fmla="*/ 75 w 629"/>
                  <a:gd name="T75" fmla="*/ 107 h 418"/>
                  <a:gd name="T76" fmla="*/ 16 w 629"/>
                  <a:gd name="T77" fmla="*/ 216 h 418"/>
                  <a:gd name="T78" fmla="*/ 32 w 629"/>
                  <a:gd name="T79" fmla="*/ 244 h 418"/>
                  <a:gd name="T80" fmla="*/ 28 w 629"/>
                  <a:gd name="T81" fmla="*/ 256 h 418"/>
                  <a:gd name="T82" fmla="*/ 28 w 629"/>
                  <a:gd name="T83" fmla="*/ 269 h 418"/>
                  <a:gd name="T84" fmla="*/ 36 w 629"/>
                  <a:gd name="T85" fmla="*/ 280 h 418"/>
                  <a:gd name="T86" fmla="*/ 55 w 629"/>
                  <a:gd name="T87" fmla="*/ 269 h 418"/>
                  <a:gd name="T88" fmla="*/ 88 w 629"/>
                  <a:gd name="T89" fmla="*/ 261 h 418"/>
                  <a:gd name="T90" fmla="*/ 0 w 629"/>
                  <a:gd name="T91" fmla="*/ 355 h 418"/>
                  <a:gd name="T92" fmla="*/ 0 w 629"/>
                  <a:gd name="T93" fmla="*/ 380 h 418"/>
                  <a:gd name="T94" fmla="*/ 18 w 629"/>
                  <a:gd name="T95" fmla="*/ 384 h 418"/>
                  <a:gd name="T96" fmla="*/ 59 w 629"/>
                  <a:gd name="T97" fmla="*/ 417 h 418"/>
                  <a:gd name="T98" fmla="*/ 121 w 629"/>
                  <a:gd name="T99" fmla="*/ 408 h 418"/>
                  <a:gd name="T100" fmla="*/ 139 w 629"/>
                  <a:gd name="T101" fmla="*/ 403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29" h="418">
                    <a:moveTo>
                      <a:pt x="139" y="403"/>
                    </a:moveTo>
                    <a:lnTo>
                      <a:pt x="144" y="380"/>
                    </a:lnTo>
                    <a:lnTo>
                      <a:pt x="166" y="373"/>
                    </a:lnTo>
                    <a:lnTo>
                      <a:pt x="206" y="403"/>
                    </a:lnTo>
                    <a:lnTo>
                      <a:pt x="219" y="403"/>
                    </a:lnTo>
                    <a:lnTo>
                      <a:pt x="258" y="401"/>
                    </a:lnTo>
                    <a:lnTo>
                      <a:pt x="279" y="384"/>
                    </a:lnTo>
                    <a:lnTo>
                      <a:pt x="310" y="408"/>
                    </a:lnTo>
                    <a:lnTo>
                      <a:pt x="323" y="386"/>
                    </a:lnTo>
                    <a:lnTo>
                      <a:pt x="325" y="376"/>
                    </a:lnTo>
                    <a:lnTo>
                      <a:pt x="350" y="360"/>
                    </a:lnTo>
                    <a:lnTo>
                      <a:pt x="359" y="327"/>
                    </a:lnTo>
                    <a:lnTo>
                      <a:pt x="382" y="322"/>
                    </a:lnTo>
                    <a:lnTo>
                      <a:pt x="454" y="208"/>
                    </a:lnTo>
                    <a:lnTo>
                      <a:pt x="440" y="190"/>
                    </a:lnTo>
                    <a:lnTo>
                      <a:pt x="454" y="178"/>
                    </a:lnTo>
                    <a:lnTo>
                      <a:pt x="470" y="183"/>
                    </a:lnTo>
                    <a:lnTo>
                      <a:pt x="491" y="172"/>
                    </a:lnTo>
                    <a:lnTo>
                      <a:pt x="503" y="144"/>
                    </a:lnTo>
                    <a:lnTo>
                      <a:pt x="560" y="94"/>
                    </a:lnTo>
                    <a:lnTo>
                      <a:pt x="604" y="78"/>
                    </a:lnTo>
                    <a:lnTo>
                      <a:pt x="628" y="59"/>
                    </a:lnTo>
                    <a:lnTo>
                      <a:pt x="621" y="18"/>
                    </a:lnTo>
                    <a:lnTo>
                      <a:pt x="592" y="15"/>
                    </a:lnTo>
                    <a:lnTo>
                      <a:pt x="522" y="22"/>
                    </a:lnTo>
                    <a:lnTo>
                      <a:pt x="476" y="0"/>
                    </a:lnTo>
                    <a:lnTo>
                      <a:pt x="449" y="4"/>
                    </a:lnTo>
                    <a:lnTo>
                      <a:pt x="378" y="94"/>
                    </a:lnTo>
                    <a:lnTo>
                      <a:pt x="359" y="104"/>
                    </a:lnTo>
                    <a:lnTo>
                      <a:pt x="312" y="86"/>
                    </a:lnTo>
                    <a:lnTo>
                      <a:pt x="310" y="63"/>
                    </a:lnTo>
                    <a:lnTo>
                      <a:pt x="300" y="25"/>
                    </a:lnTo>
                    <a:lnTo>
                      <a:pt x="274" y="9"/>
                    </a:lnTo>
                    <a:lnTo>
                      <a:pt x="235" y="20"/>
                    </a:lnTo>
                    <a:lnTo>
                      <a:pt x="209" y="2"/>
                    </a:lnTo>
                    <a:lnTo>
                      <a:pt x="171" y="49"/>
                    </a:lnTo>
                    <a:lnTo>
                      <a:pt x="131" y="59"/>
                    </a:lnTo>
                    <a:lnTo>
                      <a:pt x="75" y="107"/>
                    </a:lnTo>
                    <a:lnTo>
                      <a:pt x="16" y="216"/>
                    </a:lnTo>
                    <a:lnTo>
                      <a:pt x="32" y="244"/>
                    </a:lnTo>
                    <a:lnTo>
                      <a:pt x="28" y="256"/>
                    </a:lnTo>
                    <a:lnTo>
                      <a:pt x="28" y="269"/>
                    </a:lnTo>
                    <a:lnTo>
                      <a:pt x="36" y="280"/>
                    </a:lnTo>
                    <a:lnTo>
                      <a:pt x="55" y="269"/>
                    </a:lnTo>
                    <a:lnTo>
                      <a:pt x="88" y="261"/>
                    </a:lnTo>
                    <a:lnTo>
                      <a:pt x="0" y="355"/>
                    </a:lnTo>
                    <a:lnTo>
                      <a:pt x="0" y="380"/>
                    </a:lnTo>
                    <a:lnTo>
                      <a:pt x="18" y="384"/>
                    </a:lnTo>
                    <a:lnTo>
                      <a:pt x="59" y="417"/>
                    </a:lnTo>
                    <a:lnTo>
                      <a:pt x="121" y="408"/>
                    </a:lnTo>
                    <a:lnTo>
                      <a:pt x="139" y="403"/>
                    </a:lnTo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  <p:sp>
            <p:nvSpPr>
              <p:cNvPr id="1687" name="Freeform 38"/>
              <p:cNvSpPr>
                <a:spLocks noChangeAspect="1"/>
              </p:cNvSpPr>
              <p:nvPr/>
            </p:nvSpPr>
            <p:spPr bwMode="auto">
              <a:xfrm>
                <a:off x="4077685" y="4422874"/>
                <a:ext cx="544513" cy="488950"/>
              </a:xfrm>
              <a:custGeom>
                <a:avLst/>
                <a:gdLst>
                  <a:gd name="T0" fmla="*/ 87 w 353"/>
                  <a:gd name="T1" fmla="*/ 307 h 330"/>
                  <a:gd name="T2" fmla="*/ 117 w 353"/>
                  <a:gd name="T3" fmla="*/ 285 h 330"/>
                  <a:gd name="T4" fmla="*/ 156 w 353"/>
                  <a:gd name="T5" fmla="*/ 253 h 330"/>
                  <a:gd name="T6" fmla="*/ 215 w 353"/>
                  <a:gd name="T7" fmla="*/ 261 h 330"/>
                  <a:gd name="T8" fmla="*/ 219 w 353"/>
                  <a:gd name="T9" fmla="*/ 285 h 330"/>
                  <a:gd name="T10" fmla="*/ 296 w 353"/>
                  <a:gd name="T11" fmla="*/ 316 h 330"/>
                  <a:gd name="T12" fmla="*/ 255 w 353"/>
                  <a:gd name="T13" fmla="*/ 208 h 330"/>
                  <a:gd name="T14" fmla="*/ 236 w 353"/>
                  <a:gd name="T15" fmla="*/ 169 h 330"/>
                  <a:gd name="T16" fmla="*/ 239 w 353"/>
                  <a:gd name="T17" fmla="*/ 136 h 330"/>
                  <a:gd name="T18" fmla="*/ 294 w 353"/>
                  <a:gd name="T19" fmla="*/ 129 h 330"/>
                  <a:gd name="T20" fmla="*/ 336 w 353"/>
                  <a:gd name="T21" fmla="*/ 102 h 330"/>
                  <a:gd name="T22" fmla="*/ 353 w 353"/>
                  <a:gd name="T23" fmla="*/ 91 h 330"/>
                  <a:gd name="T24" fmla="*/ 344 w 353"/>
                  <a:gd name="T25" fmla="*/ 52 h 330"/>
                  <a:gd name="T26" fmla="*/ 302 w 353"/>
                  <a:gd name="T27" fmla="*/ 24 h 330"/>
                  <a:gd name="T28" fmla="*/ 260 w 353"/>
                  <a:gd name="T29" fmla="*/ 15 h 330"/>
                  <a:gd name="T30" fmla="*/ 215 w 353"/>
                  <a:gd name="T31" fmla="*/ 0 h 330"/>
                  <a:gd name="T32" fmla="*/ 221 w 353"/>
                  <a:gd name="T33" fmla="*/ 31 h 330"/>
                  <a:gd name="T34" fmla="*/ 222 w 353"/>
                  <a:gd name="T35" fmla="*/ 48 h 330"/>
                  <a:gd name="T36" fmla="*/ 204 w 353"/>
                  <a:gd name="T37" fmla="*/ 66 h 330"/>
                  <a:gd name="T38" fmla="*/ 195 w 353"/>
                  <a:gd name="T39" fmla="*/ 94 h 330"/>
                  <a:gd name="T40" fmla="*/ 183 w 353"/>
                  <a:gd name="T41" fmla="*/ 115 h 330"/>
                  <a:gd name="T42" fmla="*/ 153 w 353"/>
                  <a:gd name="T43" fmla="*/ 117 h 330"/>
                  <a:gd name="T44" fmla="*/ 150 w 353"/>
                  <a:gd name="T45" fmla="*/ 138 h 330"/>
                  <a:gd name="T46" fmla="*/ 132 w 353"/>
                  <a:gd name="T47" fmla="*/ 172 h 330"/>
                  <a:gd name="T48" fmla="*/ 107 w 353"/>
                  <a:gd name="T49" fmla="*/ 178 h 330"/>
                  <a:gd name="T50" fmla="*/ 101 w 353"/>
                  <a:gd name="T51" fmla="*/ 153 h 330"/>
                  <a:gd name="T52" fmla="*/ 69 w 353"/>
                  <a:gd name="T53" fmla="*/ 168 h 330"/>
                  <a:gd name="T54" fmla="*/ 44 w 353"/>
                  <a:gd name="T55" fmla="*/ 147 h 330"/>
                  <a:gd name="T56" fmla="*/ 26 w 353"/>
                  <a:gd name="T57" fmla="*/ 163 h 330"/>
                  <a:gd name="T58" fmla="*/ 24 w 353"/>
                  <a:gd name="T59" fmla="*/ 193 h 330"/>
                  <a:gd name="T60" fmla="*/ 6 w 353"/>
                  <a:gd name="T61" fmla="*/ 208 h 330"/>
                  <a:gd name="T62" fmla="*/ 11 w 353"/>
                  <a:gd name="T63" fmla="*/ 229 h 330"/>
                  <a:gd name="T64" fmla="*/ 30 w 353"/>
                  <a:gd name="T65" fmla="*/ 243 h 330"/>
                  <a:gd name="T66" fmla="*/ 39 w 353"/>
                  <a:gd name="T67" fmla="*/ 268 h 330"/>
                  <a:gd name="T68" fmla="*/ 63 w 353"/>
                  <a:gd name="T69" fmla="*/ 273 h 330"/>
                  <a:gd name="T70" fmla="*/ 77 w 353"/>
                  <a:gd name="T71" fmla="*/ 298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53" h="330">
                    <a:moveTo>
                      <a:pt x="72" y="310"/>
                    </a:moveTo>
                    <a:lnTo>
                      <a:pt x="87" y="307"/>
                    </a:lnTo>
                    <a:lnTo>
                      <a:pt x="95" y="318"/>
                    </a:lnTo>
                    <a:lnTo>
                      <a:pt x="117" y="285"/>
                    </a:lnTo>
                    <a:lnTo>
                      <a:pt x="144" y="286"/>
                    </a:lnTo>
                    <a:lnTo>
                      <a:pt x="156" y="253"/>
                    </a:lnTo>
                    <a:lnTo>
                      <a:pt x="182" y="267"/>
                    </a:lnTo>
                    <a:lnTo>
                      <a:pt x="215" y="261"/>
                    </a:lnTo>
                    <a:lnTo>
                      <a:pt x="221" y="274"/>
                    </a:lnTo>
                    <a:lnTo>
                      <a:pt x="219" y="285"/>
                    </a:lnTo>
                    <a:lnTo>
                      <a:pt x="269" y="330"/>
                    </a:lnTo>
                    <a:lnTo>
                      <a:pt x="296" y="316"/>
                    </a:lnTo>
                    <a:lnTo>
                      <a:pt x="293" y="256"/>
                    </a:lnTo>
                    <a:lnTo>
                      <a:pt x="255" y="208"/>
                    </a:lnTo>
                    <a:lnTo>
                      <a:pt x="233" y="198"/>
                    </a:lnTo>
                    <a:lnTo>
                      <a:pt x="236" y="169"/>
                    </a:lnTo>
                    <a:lnTo>
                      <a:pt x="221" y="150"/>
                    </a:lnTo>
                    <a:lnTo>
                      <a:pt x="239" y="136"/>
                    </a:lnTo>
                    <a:lnTo>
                      <a:pt x="272" y="133"/>
                    </a:lnTo>
                    <a:lnTo>
                      <a:pt x="294" y="129"/>
                    </a:lnTo>
                    <a:lnTo>
                      <a:pt x="320" y="109"/>
                    </a:lnTo>
                    <a:lnTo>
                      <a:pt x="336" y="102"/>
                    </a:lnTo>
                    <a:lnTo>
                      <a:pt x="345" y="109"/>
                    </a:lnTo>
                    <a:lnTo>
                      <a:pt x="353" y="91"/>
                    </a:lnTo>
                    <a:lnTo>
                      <a:pt x="344" y="63"/>
                    </a:lnTo>
                    <a:lnTo>
                      <a:pt x="344" y="52"/>
                    </a:lnTo>
                    <a:lnTo>
                      <a:pt x="321" y="27"/>
                    </a:lnTo>
                    <a:lnTo>
                      <a:pt x="302" y="24"/>
                    </a:lnTo>
                    <a:lnTo>
                      <a:pt x="275" y="30"/>
                    </a:lnTo>
                    <a:lnTo>
                      <a:pt x="260" y="15"/>
                    </a:lnTo>
                    <a:lnTo>
                      <a:pt x="231" y="3"/>
                    </a:lnTo>
                    <a:lnTo>
                      <a:pt x="215" y="0"/>
                    </a:lnTo>
                    <a:lnTo>
                      <a:pt x="215" y="10"/>
                    </a:lnTo>
                    <a:lnTo>
                      <a:pt x="221" y="31"/>
                    </a:lnTo>
                    <a:lnTo>
                      <a:pt x="231" y="33"/>
                    </a:lnTo>
                    <a:lnTo>
                      <a:pt x="222" y="48"/>
                    </a:lnTo>
                    <a:lnTo>
                      <a:pt x="206" y="54"/>
                    </a:lnTo>
                    <a:lnTo>
                      <a:pt x="204" y="66"/>
                    </a:lnTo>
                    <a:lnTo>
                      <a:pt x="195" y="82"/>
                    </a:lnTo>
                    <a:lnTo>
                      <a:pt x="195" y="94"/>
                    </a:lnTo>
                    <a:lnTo>
                      <a:pt x="191" y="106"/>
                    </a:lnTo>
                    <a:lnTo>
                      <a:pt x="183" y="115"/>
                    </a:lnTo>
                    <a:lnTo>
                      <a:pt x="173" y="106"/>
                    </a:lnTo>
                    <a:lnTo>
                      <a:pt x="153" y="117"/>
                    </a:lnTo>
                    <a:lnTo>
                      <a:pt x="156" y="129"/>
                    </a:lnTo>
                    <a:lnTo>
                      <a:pt x="150" y="138"/>
                    </a:lnTo>
                    <a:lnTo>
                      <a:pt x="140" y="165"/>
                    </a:lnTo>
                    <a:lnTo>
                      <a:pt x="132" y="172"/>
                    </a:lnTo>
                    <a:lnTo>
                      <a:pt x="120" y="174"/>
                    </a:lnTo>
                    <a:lnTo>
                      <a:pt x="107" y="178"/>
                    </a:lnTo>
                    <a:lnTo>
                      <a:pt x="107" y="162"/>
                    </a:lnTo>
                    <a:lnTo>
                      <a:pt x="101" y="153"/>
                    </a:lnTo>
                    <a:lnTo>
                      <a:pt x="80" y="154"/>
                    </a:lnTo>
                    <a:lnTo>
                      <a:pt x="69" y="168"/>
                    </a:lnTo>
                    <a:lnTo>
                      <a:pt x="63" y="159"/>
                    </a:lnTo>
                    <a:lnTo>
                      <a:pt x="44" y="147"/>
                    </a:lnTo>
                    <a:lnTo>
                      <a:pt x="30" y="153"/>
                    </a:lnTo>
                    <a:lnTo>
                      <a:pt x="26" y="163"/>
                    </a:lnTo>
                    <a:lnTo>
                      <a:pt x="30" y="183"/>
                    </a:lnTo>
                    <a:lnTo>
                      <a:pt x="24" y="193"/>
                    </a:lnTo>
                    <a:lnTo>
                      <a:pt x="17" y="204"/>
                    </a:lnTo>
                    <a:lnTo>
                      <a:pt x="6" y="208"/>
                    </a:lnTo>
                    <a:lnTo>
                      <a:pt x="0" y="222"/>
                    </a:lnTo>
                    <a:lnTo>
                      <a:pt x="11" y="229"/>
                    </a:lnTo>
                    <a:lnTo>
                      <a:pt x="17" y="243"/>
                    </a:lnTo>
                    <a:lnTo>
                      <a:pt x="30" y="243"/>
                    </a:lnTo>
                    <a:lnTo>
                      <a:pt x="29" y="253"/>
                    </a:lnTo>
                    <a:lnTo>
                      <a:pt x="39" y="268"/>
                    </a:lnTo>
                    <a:lnTo>
                      <a:pt x="53" y="268"/>
                    </a:lnTo>
                    <a:lnTo>
                      <a:pt x="63" y="273"/>
                    </a:lnTo>
                    <a:lnTo>
                      <a:pt x="72" y="288"/>
                    </a:lnTo>
                    <a:lnTo>
                      <a:pt x="77" y="298"/>
                    </a:lnTo>
                    <a:lnTo>
                      <a:pt x="72" y="31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354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>
                  <a:solidFill>
                    <a:srgbClr val="777777"/>
                  </a:solidFill>
                  <a:ea typeface="宋体" pitchFamily="2" charset="-122"/>
                </a:endParaRPr>
              </a:p>
            </p:txBody>
          </p:sp>
        </p:grpSp>
      </p:grpSp>
      <p:sp>
        <p:nvSpPr>
          <p:cNvPr id="537" name="矩形 536"/>
          <p:cNvSpPr/>
          <p:nvPr/>
        </p:nvSpPr>
        <p:spPr>
          <a:xfrm>
            <a:off x="8974025" y="3519053"/>
            <a:ext cx="2520000" cy="173181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9699452" y="3385345"/>
            <a:ext cx="1138437" cy="324000"/>
            <a:chOff x="9739021" y="3405488"/>
            <a:chExt cx="1138436" cy="324000"/>
          </a:xfrm>
        </p:grpSpPr>
        <p:sp>
          <p:nvSpPr>
            <p:cNvPr id="1693" name="文本框 1738"/>
            <p:cNvSpPr txBox="1"/>
            <p:nvPr/>
          </p:nvSpPr>
          <p:spPr>
            <a:xfrm>
              <a:off x="10077239" y="3428989"/>
              <a:ext cx="800218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defRPr sz="1200">
                  <a:solidFill>
                    <a:srgbClr val="DA0B1C"/>
                  </a:solidFill>
                  <a:latin typeface="微软雅黑" panose="020B0503020204020204" pitchFamily="34" charset="-122"/>
                </a:defRPr>
              </a:lvl1pPr>
            </a:lstStyle>
            <a:p>
              <a:pPr defTabSz="914354"/>
              <a:r>
                <a:rPr lang="zh-CN" altLang="en-US" dirty="0" smtClean="0">
                  <a:latin typeface="Arial"/>
                </a:rPr>
                <a:t>物流</a:t>
              </a:r>
              <a:r>
                <a:rPr lang="zh-CN" altLang="en-US" dirty="0">
                  <a:latin typeface="Arial"/>
                </a:rPr>
                <a:t>设施</a:t>
              </a: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9739021" y="3405488"/>
              <a:ext cx="324000" cy="324000"/>
              <a:chOff x="9351081" y="3401632"/>
              <a:chExt cx="324000" cy="324000"/>
            </a:xfrm>
          </p:grpSpPr>
          <p:sp>
            <p:nvSpPr>
              <p:cNvPr id="1737" name="Rectangle 16"/>
              <p:cNvSpPr/>
              <p:nvPr/>
            </p:nvSpPr>
            <p:spPr>
              <a:xfrm>
                <a:off x="9351081" y="3401632"/>
                <a:ext cx="324000" cy="324000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4"/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1691" name="图片 1764"/>
              <p:cNvPicPr>
                <a:picLocks noChangeAspect="1"/>
              </p:cNvPicPr>
              <p:nvPr/>
            </p:nvPicPr>
            <p:blipFill>
              <a:blip r:embed="rId5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369081" y="3419632"/>
                <a:ext cx="288000" cy="288000"/>
              </a:xfrm>
              <a:prstGeom prst="rect">
                <a:avLst/>
              </a:prstGeom>
            </p:spPr>
          </p:pic>
        </p:grpSp>
      </p:grpSp>
      <p:sp>
        <p:nvSpPr>
          <p:cNvPr id="543" name="矩形 542"/>
          <p:cNvSpPr/>
          <p:nvPr/>
        </p:nvSpPr>
        <p:spPr>
          <a:xfrm>
            <a:off x="6300107" y="5486404"/>
            <a:ext cx="5195455" cy="75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8338016" y="5347501"/>
            <a:ext cx="1133484" cy="324000"/>
            <a:chOff x="8169234" y="5375218"/>
            <a:chExt cx="1133484" cy="324000"/>
          </a:xfrm>
        </p:grpSpPr>
        <p:sp>
          <p:nvSpPr>
            <p:cNvPr id="1694" name="文本框 1740"/>
            <p:cNvSpPr txBox="1"/>
            <p:nvPr/>
          </p:nvSpPr>
          <p:spPr>
            <a:xfrm>
              <a:off x="8502499" y="5410961"/>
              <a:ext cx="800219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defTabSz="914354"/>
              <a:r>
                <a:rPr lang="zh-CN" altLang="en-US" sz="1200" dirty="0">
                  <a:solidFill>
                    <a:srgbClr val="DA0B1C"/>
                  </a:solidFill>
                </a:rPr>
                <a:t>服务人员</a:t>
              </a:r>
            </a:p>
          </p:txBody>
        </p:sp>
        <p:grpSp>
          <p:nvGrpSpPr>
            <p:cNvPr id="15" name="组合 14"/>
            <p:cNvGrpSpPr/>
            <p:nvPr/>
          </p:nvGrpSpPr>
          <p:grpSpPr>
            <a:xfrm>
              <a:off x="8169234" y="5375218"/>
              <a:ext cx="324000" cy="324000"/>
              <a:chOff x="6603671" y="5638455"/>
              <a:chExt cx="324000" cy="324000"/>
            </a:xfrm>
          </p:grpSpPr>
          <p:sp>
            <p:nvSpPr>
              <p:cNvPr id="1689" name="Rectangle 26"/>
              <p:cNvSpPr/>
              <p:nvPr/>
            </p:nvSpPr>
            <p:spPr>
              <a:xfrm>
                <a:off x="6603671" y="5638455"/>
                <a:ext cx="324000" cy="324000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4"/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1690" name="图片 1763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33902" y="5668686"/>
                <a:ext cx="263538" cy="263538"/>
              </a:xfrm>
              <a:prstGeom prst="rect">
                <a:avLst/>
              </a:prstGeom>
            </p:spPr>
          </p:pic>
        </p:grpSp>
      </p:grpSp>
      <p:sp>
        <p:nvSpPr>
          <p:cNvPr id="546" name="文本框 231"/>
          <p:cNvSpPr txBox="1"/>
          <p:nvPr/>
        </p:nvSpPr>
        <p:spPr>
          <a:xfrm>
            <a:off x="6638264" y="5651566"/>
            <a:ext cx="1379805" cy="5078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15.6</a:t>
            </a:r>
            <a:r>
              <a:rPr lang="zh-CN" altLang="en-US" sz="1600" b="1" dirty="0">
                <a:solidFill>
                  <a:srgbClr val="C00000"/>
                </a:solidFill>
                <a:cs typeface="Arial" panose="020B0604020202020204" pitchFamily="34" charset="0"/>
              </a:rPr>
              <a:t>万</a:t>
            </a:r>
            <a:endParaRPr lang="en-US" altLang="zh-CN" sz="1600" b="1" dirty="0">
              <a:solidFill>
                <a:srgbClr val="C00000"/>
              </a:solidFill>
              <a:cs typeface="Arial" panose="020B0604020202020204" pitchFamily="34" charset="0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FFFFFF">
                    <a:lumMod val="50000"/>
                  </a:srgbClr>
                </a:solidFill>
              </a:rPr>
              <a:t>自有物流服务人员</a:t>
            </a:r>
          </a:p>
        </p:txBody>
      </p:sp>
      <p:sp>
        <p:nvSpPr>
          <p:cNvPr id="547" name="文本框 231"/>
          <p:cNvSpPr txBox="1"/>
          <p:nvPr/>
        </p:nvSpPr>
        <p:spPr>
          <a:xfrm>
            <a:off x="9866374" y="5651566"/>
            <a:ext cx="1352097" cy="5078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500</a:t>
            </a:r>
            <a:r>
              <a:rPr lang="zh-CN" altLang="en-US" sz="1600" b="1" dirty="0">
                <a:solidFill>
                  <a:srgbClr val="C00000"/>
                </a:solidFill>
                <a:cs typeface="Arial" panose="020B0604020202020204" pitchFamily="34" charset="0"/>
              </a:rPr>
              <a:t>万</a:t>
            </a:r>
            <a:endParaRPr lang="en-US" altLang="zh-CN" sz="1600" b="1" dirty="0">
              <a:solidFill>
                <a:srgbClr val="C00000"/>
              </a:solidFill>
              <a:cs typeface="Arial" panose="020B0604020202020204" pitchFamily="34" charset="0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FFFFFF">
                    <a:lumMod val="50000"/>
                  </a:srgbClr>
                </a:solidFill>
              </a:rPr>
              <a:t>众包物流服务人员</a:t>
            </a:r>
          </a:p>
        </p:txBody>
      </p:sp>
      <p:sp>
        <p:nvSpPr>
          <p:cNvPr id="525" name="文本框 235"/>
          <p:cNvSpPr txBox="1"/>
          <p:nvPr/>
        </p:nvSpPr>
        <p:spPr>
          <a:xfrm>
            <a:off x="10316520" y="4613727"/>
            <a:ext cx="1086245" cy="5078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25</a:t>
            </a:r>
            <a:r>
              <a:rPr lang="zh-CN" altLang="en-US" sz="1600" b="1" dirty="0">
                <a:solidFill>
                  <a:srgbClr val="C00000"/>
                </a:solidFill>
                <a:cs typeface="Arial" panose="020B0604020202020204" pitchFamily="34" charset="0"/>
              </a:rPr>
              <a:t>万辆</a:t>
            </a:r>
            <a:endParaRPr lang="en-US" altLang="zh-CN" sz="1600" b="1" dirty="0">
              <a:solidFill>
                <a:srgbClr val="C00000"/>
              </a:solidFill>
              <a:cs typeface="Arial" panose="020B0604020202020204" pitchFamily="34" charset="0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FFFFFF">
                    <a:lumMod val="50000"/>
                  </a:srgbClr>
                </a:solidFill>
              </a:rPr>
              <a:t>可用服务车辆</a:t>
            </a:r>
          </a:p>
        </p:txBody>
      </p:sp>
      <p:grpSp>
        <p:nvGrpSpPr>
          <p:cNvPr id="524" name="组合 523"/>
          <p:cNvGrpSpPr>
            <a:grpSpLocks noChangeAspect="1"/>
          </p:cNvGrpSpPr>
          <p:nvPr/>
        </p:nvGrpSpPr>
        <p:grpSpPr>
          <a:xfrm>
            <a:off x="2186352" y="5129324"/>
            <a:ext cx="2533259" cy="1200899"/>
            <a:chOff x="193199" y="1022219"/>
            <a:chExt cx="7507955" cy="3559167"/>
          </a:xfrm>
        </p:grpSpPr>
        <p:grpSp>
          <p:nvGrpSpPr>
            <p:cNvPr id="526" name="Group 4"/>
            <p:cNvGrpSpPr>
              <a:grpSpLocks/>
            </p:cNvGrpSpPr>
            <p:nvPr/>
          </p:nvGrpSpPr>
          <p:grpSpPr bwMode="auto">
            <a:xfrm>
              <a:off x="1974791" y="1362051"/>
              <a:ext cx="134539" cy="238692"/>
              <a:chOff x="1836" y="342"/>
              <a:chExt cx="66" cy="138"/>
            </a:xfrm>
            <a:solidFill>
              <a:srgbClr val="0070C0">
                <a:alpha val="27059"/>
              </a:srgbClr>
            </a:solidFill>
          </p:grpSpPr>
          <p:sp>
            <p:nvSpPr>
              <p:cNvPr id="1945" name="Freeform 5"/>
              <p:cNvSpPr>
                <a:spLocks/>
              </p:cNvSpPr>
              <p:nvPr/>
            </p:nvSpPr>
            <p:spPr bwMode="auto">
              <a:xfrm>
                <a:off x="1836" y="342"/>
                <a:ext cx="66" cy="138"/>
              </a:xfrm>
              <a:custGeom>
                <a:avLst/>
                <a:gdLst>
                  <a:gd name="T0" fmla="*/ 54 w 66"/>
                  <a:gd name="T1" fmla="*/ 6 h 138"/>
                  <a:gd name="T2" fmla="*/ 54 w 66"/>
                  <a:gd name="T3" fmla="*/ 0 h 138"/>
                  <a:gd name="T4" fmla="*/ 54 w 66"/>
                  <a:gd name="T5" fmla="*/ 0 h 138"/>
                  <a:gd name="T6" fmla="*/ 48 w 66"/>
                  <a:gd name="T7" fmla="*/ 6 h 138"/>
                  <a:gd name="T8" fmla="*/ 42 w 66"/>
                  <a:gd name="T9" fmla="*/ 12 h 138"/>
                  <a:gd name="T10" fmla="*/ 30 w 66"/>
                  <a:gd name="T11" fmla="*/ 18 h 138"/>
                  <a:gd name="T12" fmla="*/ 24 w 66"/>
                  <a:gd name="T13" fmla="*/ 24 h 138"/>
                  <a:gd name="T14" fmla="*/ 6 w 66"/>
                  <a:gd name="T15" fmla="*/ 66 h 138"/>
                  <a:gd name="T16" fmla="*/ 0 w 66"/>
                  <a:gd name="T17" fmla="*/ 84 h 138"/>
                  <a:gd name="T18" fmla="*/ 0 w 66"/>
                  <a:gd name="T19" fmla="*/ 96 h 138"/>
                  <a:gd name="T20" fmla="*/ 0 w 66"/>
                  <a:gd name="T21" fmla="*/ 108 h 138"/>
                  <a:gd name="T22" fmla="*/ 0 w 66"/>
                  <a:gd name="T23" fmla="*/ 108 h 138"/>
                  <a:gd name="T24" fmla="*/ 6 w 66"/>
                  <a:gd name="T25" fmla="*/ 114 h 138"/>
                  <a:gd name="T26" fmla="*/ 6 w 66"/>
                  <a:gd name="T27" fmla="*/ 120 h 138"/>
                  <a:gd name="T28" fmla="*/ 0 w 66"/>
                  <a:gd name="T29" fmla="*/ 126 h 138"/>
                  <a:gd name="T30" fmla="*/ 0 w 66"/>
                  <a:gd name="T31" fmla="*/ 126 h 138"/>
                  <a:gd name="T32" fmla="*/ 6 w 66"/>
                  <a:gd name="T33" fmla="*/ 132 h 138"/>
                  <a:gd name="T34" fmla="*/ 12 w 66"/>
                  <a:gd name="T35" fmla="*/ 132 h 138"/>
                  <a:gd name="T36" fmla="*/ 18 w 66"/>
                  <a:gd name="T37" fmla="*/ 138 h 138"/>
                  <a:gd name="T38" fmla="*/ 24 w 66"/>
                  <a:gd name="T39" fmla="*/ 138 h 138"/>
                  <a:gd name="T40" fmla="*/ 30 w 66"/>
                  <a:gd name="T41" fmla="*/ 138 h 138"/>
                  <a:gd name="T42" fmla="*/ 36 w 66"/>
                  <a:gd name="T43" fmla="*/ 138 h 138"/>
                  <a:gd name="T44" fmla="*/ 36 w 66"/>
                  <a:gd name="T45" fmla="*/ 132 h 138"/>
                  <a:gd name="T46" fmla="*/ 36 w 66"/>
                  <a:gd name="T47" fmla="*/ 126 h 138"/>
                  <a:gd name="T48" fmla="*/ 36 w 66"/>
                  <a:gd name="T49" fmla="*/ 126 h 138"/>
                  <a:gd name="T50" fmla="*/ 30 w 66"/>
                  <a:gd name="T51" fmla="*/ 126 h 138"/>
                  <a:gd name="T52" fmla="*/ 24 w 66"/>
                  <a:gd name="T53" fmla="*/ 120 h 138"/>
                  <a:gd name="T54" fmla="*/ 18 w 66"/>
                  <a:gd name="T55" fmla="*/ 102 h 138"/>
                  <a:gd name="T56" fmla="*/ 18 w 66"/>
                  <a:gd name="T57" fmla="*/ 84 h 138"/>
                  <a:gd name="T58" fmla="*/ 24 w 66"/>
                  <a:gd name="T59" fmla="*/ 78 h 138"/>
                  <a:gd name="T60" fmla="*/ 24 w 66"/>
                  <a:gd name="T61" fmla="*/ 72 h 138"/>
                  <a:gd name="T62" fmla="*/ 24 w 66"/>
                  <a:gd name="T63" fmla="*/ 66 h 138"/>
                  <a:gd name="T64" fmla="*/ 24 w 66"/>
                  <a:gd name="T65" fmla="*/ 60 h 138"/>
                  <a:gd name="T66" fmla="*/ 30 w 66"/>
                  <a:gd name="T67" fmla="*/ 54 h 138"/>
                  <a:gd name="T68" fmla="*/ 42 w 66"/>
                  <a:gd name="T69" fmla="*/ 36 h 138"/>
                  <a:gd name="T70" fmla="*/ 48 w 66"/>
                  <a:gd name="T71" fmla="*/ 24 h 138"/>
                  <a:gd name="T72" fmla="*/ 66 w 66"/>
                  <a:gd name="T73" fmla="*/ 18 h 138"/>
                  <a:gd name="T74" fmla="*/ 54 w 66"/>
                  <a:gd name="T75" fmla="*/ 6 h 13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66" h="138">
                    <a:moveTo>
                      <a:pt x="54" y="6"/>
                    </a:moveTo>
                    <a:lnTo>
                      <a:pt x="54" y="0"/>
                    </a:lnTo>
                    <a:lnTo>
                      <a:pt x="48" y="6"/>
                    </a:lnTo>
                    <a:lnTo>
                      <a:pt x="42" y="12"/>
                    </a:lnTo>
                    <a:lnTo>
                      <a:pt x="30" y="18"/>
                    </a:lnTo>
                    <a:lnTo>
                      <a:pt x="24" y="24"/>
                    </a:lnTo>
                    <a:lnTo>
                      <a:pt x="6" y="66"/>
                    </a:lnTo>
                    <a:lnTo>
                      <a:pt x="0" y="84"/>
                    </a:lnTo>
                    <a:lnTo>
                      <a:pt x="0" y="96"/>
                    </a:lnTo>
                    <a:lnTo>
                      <a:pt x="0" y="108"/>
                    </a:lnTo>
                    <a:lnTo>
                      <a:pt x="6" y="114"/>
                    </a:lnTo>
                    <a:lnTo>
                      <a:pt x="6" y="120"/>
                    </a:lnTo>
                    <a:lnTo>
                      <a:pt x="0" y="126"/>
                    </a:lnTo>
                    <a:lnTo>
                      <a:pt x="6" y="132"/>
                    </a:lnTo>
                    <a:lnTo>
                      <a:pt x="12" y="132"/>
                    </a:lnTo>
                    <a:lnTo>
                      <a:pt x="18" y="138"/>
                    </a:lnTo>
                    <a:lnTo>
                      <a:pt x="24" y="138"/>
                    </a:lnTo>
                    <a:lnTo>
                      <a:pt x="30" y="138"/>
                    </a:lnTo>
                    <a:lnTo>
                      <a:pt x="36" y="138"/>
                    </a:lnTo>
                    <a:lnTo>
                      <a:pt x="36" y="132"/>
                    </a:lnTo>
                    <a:lnTo>
                      <a:pt x="36" y="126"/>
                    </a:lnTo>
                    <a:lnTo>
                      <a:pt x="30" y="126"/>
                    </a:lnTo>
                    <a:lnTo>
                      <a:pt x="24" y="120"/>
                    </a:lnTo>
                    <a:lnTo>
                      <a:pt x="18" y="102"/>
                    </a:lnTo>
                    <a:lnTo>
                      <a:pt x="18" y="84"/>
                    </a:lnTo>
                    <a:lnTo>
                      <a:pt x="24" y="78"/>
                    </a:lnTo>
                    <a:lnTo>
                      <a:pt x="24" y="72"/>
                    </a:lnTo>
                    <a:lnTo>
                      <a:pt x="24" y="66"/>
                    </a:lnTo>
                    <a:lnTo>
                      <a:pt x="24" y="60"/>
                    </a:lnTo>
                    <a:lnTo>
                      <a:pt x="30" y="54"/>
                    </a:lnTo>
                    <a:lnTo>
                      <a:pt x="42" y="36"/>
                    </a:lnTo>
                    <a:lnTo>
                      <a:pt x="48" y="24"/>
                    </a:lnTo>
                    <a:lnTo>
                      <a:pt x="66" y="18"/>
                    </a:lnTo>
                    <a:lnTo>
                      <a:pt x="5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46" name="Freeform 6"/>
              <p:cNvSpPr>
                <a:spLocks/>
              </p:cNvSpPr>
              <p:nvPr/>
            </p:nvSpPr>
            <p:spPr bwMode="auto">
              <a:xfrm>
                <a:off x="1836" y="342"/>
                <a:ext cx="66" cy="138"/>
              </a:xfrm>
              <a:custGeom>
                <a:avLst/>
                <a:gdLst>
                  <a:gd name="T0" fmla="*/ 54 w 66"/>
                  <a:gd name="T1" fmla="*/ 6 h 138"/>
                  <a:gd name="T2" fmla="*/ 54 w 66"/>
                  <a:gd name="T3" fmla="*/ 0 h 138"/>
                  <a:gd name="T4" fmla="*/ 48 w 66"/>
                  <a:gd name="T5" fmla="*/ 6 h 138"/>
                  <a:gd name="T6" fmla="*/ 42 w 66"/>
                  <a:gd name="T7" fmla="*/ 12 h 138"/>
                  <a:gd name="T8" fmla="*/ 30 w 66"/>
                  <a:gd name="T9" fmla="*/ 18 h 138"/>
                  <a:gd name="T10" fmla="*/ 24 w 66"/>
                  <a:gd name="T11" fmla="*/ 24 h 138"/>
                  <a:gd name="T12" fmla="*/ 6 w 66"/>
                  <a:gd name="T13" fmla="*/ 66 h 138"/>
                  <a:gd name="T14" fmla="*/ 0 w 66"/>
                  <a:gd name="T15" fmla="*/ 84 h 138"/>
                  <a:gd name="T16" fmla="*/ 0 w 66"/>
                  <a:gd name="T17" fmla="*/ 96 h 138"/>
                  <a:gd name="T18" fmla="*/ 0 w 66"/>
                  <a:gd name="T19" fmla="*/ 108 h 138"/>
                  <a:gd name="T20" fmla="*/ 6 w 66"/>
                  <a:gd name="T21" fmla="*/ 114 h 138"/>
                  <a:gd name="T22" fmla="*/ 6 w 66"/>
                  <a:gd name="T23" fmla="*/ 120 h 138"/>
                  <a:gd name="T24" fmla="*/ 0 w 66"/>
                  <a:gd name="T25" fmla="*/ 126 h 138"/>
                  <a:gd name="T26" fmla="*/ 6 w 66"/>
                  <a:gd name="T27" fmla="*/ 132 h 138"/>
                  <a:gd name="T28" fmla="*/ 12 w 66"/>
                  <a:gd name="T29" fmla="*/ 132 h 138"/>
                  <a:gd name="T30" fmla="*/ 18 w 66"/>
                  <a:gd name="T31" fmla="*/ 138 h 138"/>
                  <a:gd name="T32" fmla="*/ 24 w 66"/>
                  <a:gd name="T33" fmla="*/ 138 h 138"/>
                  <a:gd name="T34" fmla="*/ 30 w 66"/>
                  <a:gd name="T35" fmla="*/ 138 h 138"/>
                  <a:gd name="T36" fmla="*/ 36 w 66"/>
                  <a:gd name="T37" fmla="*/ 138 h 138"/>
                  <a:gd name="T38" fmla="*/ 36 w 66"/>
                  <a:gd name="T39" fmla="*/ 132 h 138"/>
                  <a:gd name="T40" fmla="*/ 36 w 66"/>
                  <a:gd name="T41" fmla="*/ 126 h 138"/>
                  <a:gd name="T42" fmla="*/ 30 w 66"/>
                  <a:gd name="T43" fmla="*/ 126 h 138"/>
                  <a:gd name="T44" fmla="*/ 24 w 66"/>
                  <a:gd name="T45" fmla="*/ 120 h 138"/>
                  <a:gd name="T46" fmla="*/ 18 w 66"/>
                  <a:gd name="T47" fmla="*/ 102 h 138"/>
                  <a:gd name="T48" fmla="*/ 18 w 66"/>
                  <a:gd name="T49" fmla="*/ 84 h 138"/>
                  <a:gd name="T50" fmla="*/ 24 w 66"/>
                  <a:gd name="T51" fmla="*/ 78 h 138"/>
                  <a:gd name="T52" fmla="*/ 24 w 66"/>
                  <a:gd name="T53" fmla="*/ 72 h 138"/>
                  <a:gd name="T54" fmla="*/ 24 w 66"/>
                  <a:gd name="T55" fmla="*/ 66 h 138"/>
                  <a:gd name="T56" fmla="*/ 24 w 66"/>
                  <a:gd name="T57" fmla="*/ 60 h 138"/>
                  <a:gd name="T58" fmla="*/ 30 w 66"/>
                  <a:gd name="T59" fmla="*/ 54 h 138"/>
                  <a:gd name="T60" fmla="*/ 42 w 66"/>
                  <a:gd name="T61" fmla="*/ 36 h 138"/>
                  <a:gd name="T62" fmla="*/ 48 w 66"/>
                  <a:gd name="T63" fmla="*/ 24 h 138"/>
                  <a:gd name="T64" fmla="*/ 66 w 66"/>
                  <a:gd name="T65" fmla="*/ 18 h 138"/>
                  <a:gd name="T66" fmla="*/ 54 w 66"/>
                  <a:gd name="T67" fmla="*/ 6 h 13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66" h="138">
                    <a:moveTo>
                      <a:pt x="54" y="6"/>
                    </a:moveTo>
                    <a:lnTo>
                      <a:pt x="54" y="0"/>
                    </a:lnTo>
                    <a:lnTo>
                      <a:pt x="48" y="6"/>
                    </a:lnTo>
                    <a:lnTo>
                      <a:pt x="42" y="12"/>
                    </a:lnTo>
                    <a:lnTo>
                      <a:pt x="30" y="18"/>
                    </a:lnTo>
                    <a:lnTo>
                      <a:pt x="24" y="24"/>
                    </a:lnTo>
                    <a:lnTo>
                      <a:pt x="6" y="66"/>
                    </a:lnTo>
                    <a:lnTo>
                      <a:pt x="0" y="84"/>
                    </a:lnTo>
                    <a:lnTo>
                      <a:pt x="0" y="96"/>
                    </a:lnTo>
                    <a:lnTo>
                      <a:pt x="0" y="108"/>
                    </a:lnTo>
                    <a:lnTo>
                      <a:pt x="6" y="114"/>
                    </a:lnTo>
                    <a:lnTo>
                      <a:pt x="6" y="120"/>
                    </a:lnTo>
                    <a:lnTo>
                      <a:pt x="0" y="126"/>
                    </a:lnTo>
                    <a:lnTo>
                      <a:pt x="6" y="132"/>
                    </a:lnTo>
                    <a:lnTo>
                      <a:pt x="12" y="132"/>
                    </a:lnTo>
                    <a:lnTo>
                      <a:pt x="18" y="138"/>
                    </a:lnTo>
                    <a:lnTo>
                      <a:pt x="24" y="138"/>
                    </a:lnTo>
                    <a:lnTo>
                      <a:pt x="30" y="138"/>
                    </a:lnTo>
                    <a:lnTo>
                      <a:pt x="36" y="138"/>
                    </a:lnTo>
                    <a:lnTo>
                      <a:pt x="36" y="132"/>
                    </a:lnTo>
                    <a:lnTo>
                      <a:pt x="36" y="126"/>
                    </a:lnTo>
                    <a:lnTo>
                      <a:pt x="30" y="126"/>
                    </a:lnTo>
                    <a:lnTo>
                      <a:pt x="24" y="120"/>
                    </a:lnTo>
                    <a:lnTo>
                      <a:pt x="18" y="102"/>
                    </a:lnTo>
                    <a:lnTo>
                      <a:pt x="18" y="84"/>
                    </a:lnTo>
                    <a:lnTo>
                      <a:pt x="24" y="78"/>
                    </a:lnTo>
                    <a:lnTo>
                      <a:pt x="24" y="72"/>
                    </a:lnTo>
                    <a:lnTo>
                      <a:pt x="24" y="66"/>
                    </a:lnTo>
                    <a:lnTo>
                      <a:pt x="24" y="60"/>
                    </a:lnTo>
                    <a:lnTo>
                      <a:pt x="30" y="54"/>
                    </a:lnTo>
                    <a:lnTo>
                      <a:pt x="42" y="36"/>
                    </a:lnTo>
                    <a:lnTo>
                      <a:pt x="48" y="24"/>
                    </a:lnTo>
                    <a:lnTo>
                      <a:pt x="66" y="18"/>
                    </a:lnTo>
                    <a:lnTo>
                      <a:pt x="5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31" name="Group 7"/>
            <p:cNvGrpSpPr>
              <a:grpSpLocks/>
            </p:cNvGrpSpPr>
            <p:nvPr/>
          </p:nvGrpSpPr>
          <p:grpSpPr bwMode="auto">
            <a:xfrm>
              <a:off x="1705713" y="1165838"/>
              <a:ext cx="171057" cy="82935"/>
              <a:chOff x="1704" y="228"/>
              <a:chExt cx="84" cy="48"/>
            </a:xfrm>
            <a:solidFill>
              <a:srgbClr val="0070C0">
                <a:alpha val="27059"/>
              </a:srgbClr>
            </a:solidFill>
          </p:grpSpPr>
          <p:sp>
            <p:nvSpPr>
              <p:cNvPr id="1943" name="Freeform 8"/>
              <p:cNvSpPr>
                <a:spLocks/>
              </p:cNvSpPr>
              <p:nvPr/>
            </p:nvSpPr>
            <p:spPr bwMode="auto">
              <a:xfrm>
                <a:off x="1704" y="228"/>
                <a:ext cx="84" cy="48"/>
              </a:xfrm>
              <a:custGeom>
                <a:avLst/>
                <a:gdLst>
                  <a:gd name="T0" fmla="*/ 18 w 84"/>
                  <a:gd name="T1" fmla="*/ 6 h 48"/>
                  <a:gd name="T2" fmla="*/ 18 w 84"/>
                  <a:gd name="T3" fmla="*/ 6 h 48"/>
                  <a:gd name="T4" fmla="*/ 12 w 84"/>
                  <a:gd name="T5" fmla="*/ 12 h 48"/>
                  <a:gd name="T6" fmla="*/ 6 w 84"/>
                  <a:gd name="T7" fmla="*/ 12 h 48"/>
                  <a:gd name="T8" fmla="*/ 0 w 84"/>
                  <a:gd name="T9" fmla="*/ 12 h 48"/>
                  <a:gd name="T10" fmla="*/ 0 w 84"/>
                  <a:gd name="T11" fmla="*/ 18 h 48"/>
                  <a:gd name="T12" fmla="*/ 0 w 84"/>
                  <a:gd name="T13" fmla="*/ 24 h 48"/>
                  <a:gd name="T14" fmla="*/ 6 w 84"/>
                  <a:gd name="T15" fmla="*/ 24 h 48"/>
                  <a:gd name="T16" fmla="*/ 24 w 84"/>
                  <a:gd name="T17" fmla="*/ 30 h 48"/>
                  <a:gd name="T18" fmla="*/ 36 w 84"/>
                  <a:gd name="T19" fmla="*/ 30 h 48"/>
                  <a:gd name="T20" fmla="*/ 48 w 84"/>
                  <a:gd name="T21" fmla="*/ 48 h 48"/>
                  <a:gd name="T22" fmla="*/ 60 w 84"/>
                  <a:gd name="T23" fmla="*/ 36 h 48"/>
                  <a:gd name="T24" fmla="*/ 66 w 84"/>
                  <a:gd name="T25" fmla="*/ 30 h 48"/>
                  <a:gd name="T26" fmla="*/ 72 w 84"/>
                  <a:gd name="T27" fmla="*/ 24 h 48"/>
                  <a:gd name="T28" fmla="*/ 78 w 84"/>
                  <a:gd name="T29" fmla="*/ 18 h 48"/>
                  <a:gd name="T30" fmla="*/ 84 w 84"/>
                  <a:gd name="T31" fmla="*/ 12 h 48"/>
                  <a:gd name="T32" fmla="*/ 78 w 84"/>
                  <a:gd name="T33" fmla="*/ 6 h 48"/>
                  <a:gd name="T34" fmla="*/ 78 w 84"/>
                  <a:gd name="T35" fmla="*/ 12 h 48"/>
                  <a:gd name="T36" fmla="*/ 72 w 84"/>
                  <a:gd name="T37" fmla="*/ 12 h 48"/>
                  <a:gd name="T38" fmla="*/ 60 w 84"/>
                  <a:gd name="T39" fmla="*/ 18 h 48"/>
                  <a:gd name="T40" fmla="*/ 42 w 84"/>
                  <a:gd name="T41" fmla="*/ 18 h 48"/>
                  <a:gd name="T42" fmla="*/ 42 w 84"/>
                  <a:gd name="T43" fmla="*/ 18 h 48"/>
                  <a:gd name="T44" fmla="*/ 42 w 84"/>
                  <a:gd name="T45" fmla="*/ 12 h 48"/>
                  <a:gd name="T46" fmla="*/ 42 w 84"/>
                  <a:gd name="T47" fmla="*/ 12 h 48"/>
                  <a:gd name="T48" fmla="*/ 48 w 84"/>
                  <a:gd name="T49" fmla="*/ 0 h 48"/>
                  <a:gd name="T50" fmla="*/ 36 w 84"/>
                  <a:gd name="T51" fmla="*/ 0 h 48"/>
                  <a:gd name="T52" fmla="*/ 24 w 84"/>
                  <a:gd name="T53" fmla="*/ 0 h 48"/>
                  <a:gd name="T54" fmla="*/ 18 w 84"/>
                  <a:gd name="T55" fmla="*/ 6 h 48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4" h="48">
                    <a:moveTo>
                      <a:pt x="18" y="6"/>
                    </a:moveTo>
                    <a:lnTo>
                      <a:pt x="18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6" y="24"/>
                    </a:lnTo>
                    <a:lnTo>
                      <a:pt x="24" y="30"/>
                    </a:lnTo>
                    <a:lnTo>
                      <a:pt x="36" y="30"/>
                    </a:lnTo>
                    <a:lnTo>
                      <a:pt x="48" y="48"/>
                    </a:lnTo>
                    <a:lnTo>
                      <a:pt x="60" y="36"/>
                    </a:lnTo>
                    <a:lnTo>
                      <a:pt x="66" y="30"/>
                    </a:lnTo>
                    <a:lnTo>
                      <a:pt x="72" y="24"/>
                    </a:lnTo>
                    <a:lnTo>
                      <a:pt x="78" y="18"/>
                    </a:lnTo>
                    <a:lnTo>
                      <a:pt x="84" y="12"/>
                    </a:lnTo>
                    <a:lnTo>
                      <a:pt x="78" y="6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60" y="18"/>
                    </a:lnTo>
                    <a:lnTo>
                      <a:pt x="42" y="18"/>
                    </a:lnTo>
                    <a:lnTo>
                      <a:pt x="42" y="12"/>
                    </a:lnTo>
                    <a:lnTo>
                      <a:pt x="48" y="0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44" name="Freeform 9"/>
              <p:cNvSpPr>
                <a:spLocks/>
              </p:cNvSpPr>
              <p:nvPr/>
            </p:nvSpPr>
            <p:spPr bwMode="auto">
              <a:xfrm>
                <a:off x="1704" y="228"/>
                <a:ext cx="84" cy="48"/>
              </a:xfrm>
              <a:custGeom>
                <a:avLst/>
                <a:gdLst>
                  <a:gd name="T0" fmla="*/ 18 w 84"/>
                  <a:gd name="T1" fmla="*/ 6 h 48"/>
                  <a:gd name="T2" fmla="*/ 12 w 84"/>
                  <a:gd name="T3" fmla="*/ 12 h 48"/>
                  <a:gd name="T4" fmla="*/ 6 w 84"/>
                  <a:gd name="T5" fmla="*/ 12 h 48"/>
                  <a:gd name="T6" fmla="*/ 0 w 84"/>
                  <a:gd name="T7" fmla="*/ 12 h 48"/>
                  <a:gd name="T8" fmla="*/ 0 w 84"/>
                  <a:gd name="T9" fmla="*/ 18 h 48"/>
                  <a:gd name="T10" fmla="*/ 0 w 84"/>
                  <a:gd name="T11" fmla="*/ 24 h 48"/>
                  <a:gd name="T12" fmla="*/ 6 w 84"/>
                  <a:gd name="T13" fmla="*/ 24 h 48"/>
                  <a:gd name="T14" fmla="*/ 24 w 84"/>
                  <a:gd name="T15" fmla="*/ 30 h 48"/>
                  <a:gd name="T16" fmla="*/ 36 w 84"/>
                  <a:gd name="T17" fmla="*/ 30 h 48"/>
                  <a:gd name="T18" fmla="*/ 48 w 84"/>
                  <a:gd name="T19" fmla="*/ 48 h 48"/>
                  <a:gd name="T20" fmla="*/ 60 w 84"/>
                  <a:gd name="T21" fmla="*/ 36 h 48"/>
                  <a:gd name="T22" fmla="*/ 66 w 84"/>
                  <a:gd name="T23" fmla="*/ 30 h 48"/>
                  <a:gd name="T24" fmla="*/ 72 w 84"/>
                  <a:gd name="T25" fmla="*/ 24 h 48"/>
                  <a:gd name="T26" fmla="*/ 78 w 84"/>
                  <a:gd name="T27" fmla="*/ 18 h 48"/>
                  <a:gd name="T28" fmla="*/ 84 w 84"/>
                  <a:gd name="T29" fmla="*/ 12 h 48"/>
                  <a:gd name="T30" fmla="*/ 78 w 84"/>
                  <a:gd name="T31" fmla="*/ 6 h 48"/>
                  <a:gd name="T32" fmla="*/ 78 w 84"/>
                  <a:gd name="T33" fmla="*/ 12 h 48"/>
                  <a:gd name="T34" fmla="*/ 72 w 84"/>
                  <a:gd name="T35" fmla="*/ 12 h 48"/>
                  <a:gd name="T36" fmla="*/ 60 w 84"/>
                  <a:gd name="T37" fmla="*/ 18 h 48"/>
                  <a:gd name="T38" fmla="*/ 42 w 84"/>
                  <a:gd name="T39" fmla="*/ 18 h 48"/>
                  <a:gd name="T40" fmla="*/ 42 w 84"/>
                  <a:gd name="T41" fmla="*/ 12 h 48"/>
                  <a:gd name="T42" fmla="*/ 48 w 84"/>
                  <a:gd name="T43" fmla="*/ 0 h 48"/>
                  <a:gd name="T44" fmla="*/ 36 w 84"/>
                  <a:gd name="T45" fmla="*/ 0 h 48"/>
                  <a:gd name="T46" fmla="*/ 24 w 84"/>
                  <a:gd name="T47" fmla="*/ 0 h 48"/>
                  <a:gd name="T48" fmla="*/ 18 w 84"/>
                  <a:gd name="T49" fmla="*/ 6 h 4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84" h="48">
                    <a:moveTo>
                      <a:pt x="18" y="6"/>
                    </a:moveTo>
                    <a:lnTo>
                      <a:pt x="12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6" y="24"/>
                    </a:lnTo>
                    <a:lnTo>
                      <a:pt x="24" y="30"/>
                    </a:lnTo>
                    <a:lnTo>
                      <a:pt x="36" y="30"/>
                    </a:lnTo>
                    <a:lnTo>
                      <a:pt x="48" y="48"/>
                    </a:lnTo>
                    <a:lnTo>
                      <a:pt x="60" y="36"/>
                    </a:lnTo>
                    <a:lnTo>
                      <a:pt x="66" y="30"/>
                    </a:lnTo>
                    <a:lnTo>
                      <a:pt x="72" y="24"/>
                    </a:lnTo>
                    <a:lnTo>
                      <a:pt x="78" y="18"/>
                    </a:lnTo>
                    <a:lnTo>
                      <a:pt x="84" y="12"/>
                    </a:lnTo>
                    <a:lnTo>
                      <a:pt x="78" y="6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60" y="18"/>
                    </a:lnTo>
                    <a:lnTo>
                      <a:pt x="42" y="18"/>
                    </a:lnTo>
                    <a:lnTo>
                      <a:pt x="42" y="12"/>
                    </a:lnTo>
                    <a:lnTo>
                      <a:pt x="48" y="0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35" name="Group 10"/>
            <p:cNvGrpSpPr>
              <a:grpSpLocks/>
            </p:cNvGrpSpPr>
            <p:nvPr/>
          </p:nvGrpSpPr>
          <p:grpSpPr bwMode="auto">
            <a:xfrm>
              <a:off x="1840252" y="1155724"/>
              <a:ext cx="36518" cy="20228"/>
              <a:chOff x="1770" y="222"/>
              <a:chExt cx="18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941" name="Freeform 11"/>
              <p:cNvSpPr>
                <a:spLocks/>
              </p:cNvSpPr>
              <p:nvPr/>
            </p:nvSpPr>
            <p:spPr bwMode="auto">
              <a:xfrm>
                <a:off x="1770" y="222"/>
                <a:ext cx="18" cy="12"/>
              </a:xfrm>
              <a:custGeom>
                <a:avLst/>
                <a:gdLst>
                  <a:gd name="T0" fmla="*/ 0 w 18"/>
                  <a:gd name="T1" fmla="*/ 0 h 12"/>
                  <a:gd name="T2" fmla="*/ 0 w 18"/>
                  <a:gd name="T3" fmla="*/ 6 h 12"/>
                  <a:gd name="T4" fmla="*/ 0 w 18"/>
                  <a:gd name="T5" fmla="*/ 6 h 12"/>
                  <a:gd name="T6" fmla="*/ 0 w 18"/>
                  <a:gd name="T7" fmla="*/ 12 h 12"/>
                  <a:gd name="T8" fmla="*/ 6 w 18"/>
                  <a:gd name="T9" fmla="*/ 12 h 12"/>
                  <a:gd name="T10" fmla="*/ 12 w 18"/>
                  <a:gd name="T11" fmla="*/ 12 h 12"/>
                  <a:gd name="T12" fmla="*/ 18 w 18"/>
                  <a:gd name="T13" fmla="*/ 12 h 12"/>
                  <a:gd name="T14" fmla="*/ 12 w 18"/>
                  <a:gd name="T15" fmla="*/ 6 h 12"/>
                  <a:gd name="T16" fmla="*/ 12 w 18"/>
                  <a:gd name="T17" fmla="*/ 6 h 12"/>
                  <a:gd name="T18" fmla="*/ 0 w 18"/>
                  <a:gd name="T19" fmla="*/ 0 h 1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8" h="12">
                    <a:moveTo>
                      <a:pt x="0" y="0"/>
                    </a:moveTo>
                    <a:lnTo>
                      <a:pt x="0" y="6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42" name="Freeform 12"/>
              <p:cNvSpPr>
                <a:spLocks/>
              </p:cNvSpPr>
              <p:nvPr/>
            </p:nvSpPr>
            <p:spPr bwMode="auto">
              <a:xfrm>
                <a:off x="1770" y="222"/>
                <a:ext cx="18" cy="12"/>
              </a:xfrm>
              <a:custGeom>
                <a:avLst/>
                <a:gdLst>
                  <a:gd name="T0" fmla="*/ 0 w 18"/>
                  <a:gd name="T1" fmla="*/ 0 h 12"/>
                  <a:gd name="T2" fmla="*/ 0 w 18"/>
                  <a:gd name="T3" fmla="*/ 6 h 12"/>
                  <a:gd name="T4" fmla="*/ 0 w 18"/>
                  <a:gd name="T5" fmla="*/ 12 h 12"/>
                  <a:gd name="T6" fmla="*/ 6 w 18"/>
                  <a:gd name="T7" fmla="*/ 12 h 12"/>
                  <a:gd name="T8" fmla="*/ 12 w 18"/>
                  <a:gd name="T9" fmla="*/ 12 h 12"/>
                  <a:gd name="T10" fmla="*/ 18 w 18"/>
                  <a:gd name="T11" fmla="*/ 12 h 12"/>
                  <a:gd name="T12" fmla="*/ 12 w 18"/>
                  <a:gd name="T13" fmla="*/ 6 h 12"/>
                  <a:gd name="T14" fmla="*/ 0 w 18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0" y="0"/>
                    </a:moveTo>
                    <a:lnTo>
                      <a:pt x="0" y="6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36" name="Group 13"/>
            <p:cNvGrpSpPr>
              <a:grpSpLocks/>
            </p:cNvGrpSpPr>
            <p:nvPr/>
          </p:nvGrpSpPr>
          <p:grpSpPr bwMode="auto">
            <a:xfrm>
              <a:off x="1840252" y="1248774"/>
              <a:ext cx="49972" cy="20228"/>
              <a:chOff x="1770" y="276"/>
              <a:chExt cx="24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939" name="Freeform 14"/>
              <p:cNvSpPr>
                <a:spLocks/>
              </p:cNvSpPr>
              <p:nvPr/>
            </p:nvSpPr>
            <p:spPr bwMode="auto">
              <a:xfrm>
                <a:off x="1770" y="276"/>
                <a:ext cx="24" cy="12"/>
              </a:xfrm>
              <a:custGeom>
                <a:avLst/>
                <a:gdLst>
                  <a:gd name="T0" fmla="*/ 12 w 24"/>
                  <a:gd name="T1" fmla="*/ 0 h 12"/>
                  <a:gd name="T2" fmla="*/ 24 w 24"/>
                  <a:gd name="T3" fmla="*/ 6 h 12"/>
                  <a:gd name="T4" fmla="*/ 24 w 24"/>
                  <a:gd name="T5" fmla="*/ 6 h 12"/>
                  <a:gd name="T6" fmla="*/ 24 w 24"/>
                  <a:gd name="T7" fmla="*/ 12 h 12"/>
                  <a:gd name="T8" fmla="*/ 12 w 24"/>
                  <a:gd name="T9" fmla="*/ 12 h 12"/>
                  <a:gd name="T10" fmla="*/ 6 w 24"/>
                  <a:gd name="T11" fmla="*/ 12 h 12"/>
                  <a:gd name="T12" fmla="*/ 0 w 24"/>
                  <a:gd name="T13" fmla="*/ 6 h 12"/>
                  <a:gd name="T14" fmla="*/ 6 w 24"/>
                  <a:gd name="T15" fmla="*/ 6 h 12"/>
                  <a:gd name="T16" fmla="*/ 12 w 24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4" h="12">
                    <a:moveTo>
                      <a:pt x="12" y="0"/>
                    </a:moveTo>
                    <a:lnTo>
                      <a:pt x="24" y="6"/>
                    </a:lnTo>
                    <a:lnTo>
                      <a:pt x="24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40" name="Freeform 15"/>
              <p:cNvSpPr>
                <a:spLocks/>
              </p:cNvSpPr>
              <p:nvPr/>
            </p:nvSpPr>
            <p:spPr bwMode="auto">
              <a:xfrm>
                <a:off x="1770" y="276"/>
                <a:ext cx="24" cy="12"/>
              </a:xfrm>
              <a:custGeom>
                <a:avLst/>
                <a:gdLst>
                  <a:gd name="T0" fmla="*/ 12 w 24"/>
                  <a:gd name="T1" fmla="*/ 0 h 12"/>
                  <a:gd name="T2" fmla="*/ 24 w 24"/>
                  <a:gd name="T3" fmla="*/ 6 h 12"/>
                  <a:gd name="T4" fmla="*/ 24 w 24"/>
                  <a:gd name="T5" fmla="*/ 12 h 12"/>
                  <a:gd name="T6" fmla="*/ 12 w 24"/>
                  <a:gd name="T7" fmla="*/ 12 h 12"/>
                  <a:gd name="T8" fmla="*/ 6 w 24"/>
                  <a:gd name="T9" fmla="*/ 12 h 12"/>
                  <a:gd name="T10" fmla="*/ 0 w 24"/>
                  <a:gd name="T11" fmla="*/ 6 h 12"/>
                  <a:gd name="T12" fmla="*/ 6 w 24"/>
                  <a:gd name="T13" fmla="*/ 6 h 12"/>
                  <a:gd name="T14" fmla="*/ 12 w 24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12">
                    <a:moveTo>
                      <a:pt x="12" y="0"/>
                    </a:moveTo>
                    <a:lnTo>
                      <a:pt x="24" y="6"/>
                    </a:lnTo>
                    <a:lnTo>
                      <a:pt x="24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38" name="Group 16"/>
            <p:cNvGrpSpPr>
              <a:grpSpLocks/>
            </p:cNvGrpSpPr>
            <p:nvPr/>
          </p:nvGrpSpPr>
          <p:grpSpPr bwMode="auto">
            <a:xfrm>
              <a:off x="1986323" y="1186067"/>
              <a:ext cx="36518" cy="62707"/>
              <a:chOff x="1842" y="240"/>
              <a:chExt cx="18" cy="36"/>
            </a:xfrm>
            <a:solidFill>
              <a:srgbClr val="0070C0">
                <a:alpha val="27059"/>
              </a:srgbClr>
            </a:solidFill>
          </p:grpSpPr>
          <p:sp>
            <p:nvSpPr>
              <p:cNvPr id="1937" name="Freeform 17"/>
              <p:cNvSpPr>
                <a:spLocks/>
              </p:cNvSpPr>
              <p:nvPr/>
            </p:nvSpPr>
            <p:spPr bwMode="auto">
              <a:xfrm>
                <a:off x="1842" y="240"/>
                <a:ext cx="18" cy="36"/>
              </a:xfrm>
              <a:custGeom>
                <a:avLst/>
                <a:gdLst>
                  <a:gd name="T0" fmla="*/ 6 w 18"/>
                  <a:gd name="T1" fmla="*/ 0 h 36"/>
                  <a:gd name="T2" fmla="*/ 12 w 18"/>
                  <a:gd name="T3" fmla="*/ 6 h 36"/>
                  <a:gd name="T4" fmla="*/ 18 w 18"/>
                  <a:gd name="T5" fmla="*/ 6 h 36"/>
                  <a:gd name="T6" fmla="*/ 18 w 18"/>
                  <a:gd name="T7" fmla="*/ 18 h 36"/>
                  <a:gd name="T8" fmla="*/ 18 w 18"/>
                  <a:gd name="T9" fmla="*/ 30 h 36"/>
                  <a:gd name="T10" fmla="*/ 6 w 18"/>
                  <a:gd name="T11" fmla="*/ 36 h 36"/>
                  <a:gd name="T12" fmla="*/ 0 w 18"/>
                  <a:gd name="T13" fmla="*/ 30 h 36"/>
                  <a:gd name="T14" fmla="*/ 0 w 18"/>
                  <a:gd name="T15" fmla="*/ 18 h 36"/>
                  <a:gd name="T16" fmla="*/ 0 w 18"/>
                  <a:gd name="T17" fmla="*/ 12 h 36"/>
                  <a:gd name="T18" fmla="*/ 0 w 18"/>
                  <a:gd name="T19" fmla="*/ 6 h 36"/>
                  <a:gd name="T20" fmla="*/ 6 w 18"/>
                  <a:gd name="T21" fmla="*/ 6 h 36"/>
                  <a:gd name="T22" fmla="*/ 6 w 18"/>
                  <a:gd name="T23" fmla="*/ 0 h 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8" h="36">
                    <a:moveTo>
                      <a:pt x="6" y="0"/>
                    </a:moveTo>
                    <a:lnTo>
                      <a:pt x="12" y="6"/>
                    </a:lnTo>
                    <a:lnTo>
                      <a:pt x="18" y="6"/>
                    </a:lnTo>
                    <a:lnTo>
                      <a:pt x="18" y="18"/>
                    </a:lnTo>
                    <a:lnTo>
                      <a:pt x="18" y="30"/>
                    </a:lnTo>
                    <a:lnTo>
                      <a:pt x="6" y="36"/>
                    </a:lnTo>
                    <a:lnTo>
                      <a:pt x="0" y="30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38" name="Freeform 18"/>
              <p:cNvSpPr>
                <a:spLocks/>
              </p:cNvSpPr>
              <p:nvPr/>
            </p:nvSpPr>
            <p:spPr bwMode="auto">
              <a:xfrm>
                <a:off x="1842" y="240"/>
                <a:ext cx="18" cy="36"/>
              </a:xfrm>
              <a:custGeom>
                <a:avLst/>
                <a:gdLst>
                  <a:gd name="T0" fmla="*/ 6 w 18"/>
                  <a:gd name="T1" fmla="*/ 0 h 36"/>
                  <a:gd name="T2" fmla="*/ 12 w 18"/>
                  <a:gd name="T3" fmla="*/ 6 h 36"/>
                  <a:gd name="T4" fmla="*/ 18 w 18"/>
                  <a:gd name="T5" fmla="*/ 6 h 36"/>
                  <a:gd name="T6" fmla="*/ 18 w 18"/>
                  <a:gd name="T7" fmla="*/ 18 h 36"/>
                  <a:gd name="T8" fmla="*/ 18 w 18"/>
                  <a:gd name="T9" fmla="*/ 30 h 36"/>
                  <a:gd name="T10" fmla="*/ 6 w 18"/>
                  <a:gd name="T11" fmla="*/ 36 h 36"/>
                  <a:gd name="T12" fmla="*/ 0 w 18"/>
                  <a:gd name="T13" fmla="*/ 30 h 36"/>
                  <a:gd name="T14" fmla="*/ 0 w 18"/>
                  <a:gd name="T15" fmla="*/ 18 h 36"/>
                  <a:gd name="T16" fmla="*/ 0 w 18"/>
                  <a:gd name="T17" fmla="*/ 12 h 36"/>
                  <a:gd name="T18" fmla="*/ 0 w 18"/>
                  <a:gd name="T19" fmla="*/ 6 h 36"/>
                  <a:gd name="T20" fmla="*/ 6 w 18"/>
                  <a:gd name="T21" fmla="*/ 6 h 36"/>
                  <a:gd name="T22" fmla="*/ 6 w 18"/>
                  <a:gd name="T23" fmla="*/ 0 h 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8" h="36">
                    <a:moveTo>
                      <a:pt x="6" y="0"/>
                    </a:moveTo>
                    <a:lnTo>
                      <a:pt x="12" y="6"/>
                    </a:lnTo>
                    <a:lnTo>
                      <a:pt x="18" y="6"/>
                    </a:lnTo>
                    <a:lnTo>
                      <a:pt x="18" y="18"/>
                    </a:lnTo>
                    <a:lnTo>
                      <a:pt x="18" y="30"/>
                    </a:lnTo>
                    <a:lnTo>
                      <a:pt x="6" y="36"/>
                    </a:lnTo>
                    <a:lnTo>
                      <a:pt x="0" y="30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39" name="Group 19"/>
            <p:cNvGrpSpPr>
              <a:grpSpLocks/>
            </p:cNvGrpSpPr>
            <p:nvPr/>
          </p:nvGrpSpPr>
          <p:grpSpPr bwMode="auto">
            <a:xfrm>
              <a:off x="2036294" y="1186067"/>
              <a:ext cx="23064" cy="52593"/>
              <a:chOff x="1866" y="240"/>
              <a:chExt cx="12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1935" name="Freeform 20"/>
              <p:cNvSpPr>
                <a:spLocks/>
              </p:cNvSpPr>
              <p:nvPr/>
            </p:nvSpPr>
            <p:spPr bwMode="auto">
              <a:xfrm>
                <a:off x="1866" y="240"/>
                <a:ext cx="12" cy="30"/>
              </a:xfrm>
              <a:custGeom>
                <a:avLst/>
                <a:gdLst>
                  <a:gd name="T0" fmla="*/ 6 w 12"/>
                  <a:gd name="T1" fmla="*/ 30 h 30"/>
                  <a:gd name="T2" fmla="*/ 6 w 12"/>
                  <a:gd name="T3" fmla="*/ 24 h 30"/>
                  <a:gd name="T4" fmla="*/ 12 w 12"/>
                  <a:gd name="T5" fmla="*/ 12 h 30"/>
                  <a:gd name="T6" fmla="*/ 6 w 12"/>
                  <a:gd name="T7" fmla="*/ 6 h 30"/>
                  <a:gd name="T8" fmla="*/ 6 w 12"/>
                  <a:gd name="T9" fmla="*/ 0 h 30"/>
                  <a:gd name="T10" fmla="*/ 0 w 12"/>
                  <a:gd name="T11" fmla="*/ 6 h 30"/>
                  <a:gd name="T12" fmla="*/ 0 w 12"/>
                  <a:gd name="T13" fmla="*/ 12 h 30"/>
                  <a:gd name="T14" fmla="*/ 0 w 12"/>
                  <a:gd name="T15" fmla="*/ 24 h 30"/>
                  <a:gd name="T16" fmla="*/ 6 w 12"/>
                  <a:gd name="T17" fmla="*/ 3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30">
                    <a:moveTo>
                      <a:pt x="6" y="30"/>
                    </a:moveTo>
                    <a:lnTo>
                      <a:pt x="6" y="24"/>
                    </a:lnTo>
                    <a:lnTo>
                      <a:pt x="12" y="12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24"/>
                    </a:lnTo>
                    <a:lnTo>
                      <a:pt x="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36" name="Freeform 21"/>
              <p:cNvSpPr>
                <a:spLocks/>
              </p:cNvSpPr>
              <p:nvPr/>
            </p:nvSpPr>
            <p:spPr bwMode="auto">
              <a:xfrm>
                <a:off x="1866" y="240"/>
                <a:ext cx="12" cy="30"/>
              </a:xfrm>
              <a:custGeom>
                <a:avLst/>
                <a:gdLst>
                  <a:gd name="T0" fmla="*/ 6 w 12"/>
                  <a:gd name="T1" fmla="*/ 30 h 30"/>
                  <a:gd name="T2" fmla="*/ 6 w 12"/>
                  <a:gd name="T3" fmla="*/ 24 h 30"/>
                  <a:gd name="T4" fmla="*/ 12 w 12"/>
                  <a:gd name="T5" fmla="*/ 12 h 30"/>
                  <a:gd name="T6" fmla="*/ 6 w 12"/>
                  <a:gd name="T7" fmla="*/ 6 h 30"/>
                  <a:gd name="T8" fmla="*/ 6 w 12"/>
                  <a:gd name="T9" fmla="*/ 0 h 30"/>
                  <a:gd name="T10" fmla="*/ 0 w 12"/>
                  <a:gd name="T11" fmla="*/ 6 h 30"/>
                  <a:gd name="T12" fmla="*/ 0 w 12"/>
                  <a:gd name="T13" fmla="*/ 12 h 30"/>
                  <a:gd name="T14" fmla="*/ 0 w 12"/>
                  <a:gd name="T15" fmla="*/ 24 h 30"/>
                  <a:gd name="T16" fmla="*/ 6 w 12"/>
                  <a:gd name="T17" fmla="*/ 3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30">
                    <a:moveTo>
                      <a:pt x="6" y="30"/>
                    </a:moveTo>
                    <a:lnTo>
                      <a:pt x="6" y="24"/>
                    </a:lnTo>
                    <a:lnTo>
                      <a:pt x="12" y="12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24"/>
                    </a:lnTo>
                    <a:lnTo>
                      <a:pt x="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40" name="Group 22"/>
            <p:cNvGrpSpPr>
              <a:grpSpLocks/>
            </p:cNvGrpSpPr>
            <p:nvPr/>
          </p:nvGrpSpPr>
          <p:grpSpPr bwMode="auto">
            <a:xfrm>
              <a:off x="1890223" y="1218432"/>
              <a:ext cx="48050" cy="40456"/>
              <a:chOff x="1794" y="258"/>
              <a:chExt cx="24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1933" name="Freeform 23"/>
              <p:cNvSpPr>
                <a:spLocks/>
              </p:cNvSpPr>
              <p:nvPr/>
            </p:nvSpPr>
            <p:spPr bwMode="auto">
              <a:xfrm>
                <a:off x="1794" y="258"/>
                <a:ext cx="24" cy="24"/>
              </a:xfrm>
              <a:custGeom>
                <a:avLst/>
                <a:gdLst>
                  <a:gd name="T0" fmla="*/ 12 w 24"/>
                  <a:gd name="T1" fmla="*/ 24 h 24"/>
                  <a:gd name="T2" fmla="*/ 18 w 24"/>
                  <a:gd name="T3" fmla="*/ 18 h 24"/>
                  <a:gd name="T4" fmla="*/ 24 w 24"/>
                  <a:gd name="T5" fmla="*/ 12 h 24"/>
                  <a:gd name="T6" fmla="*/ 18 w 24"/>
                  <a:gd name="T7" fmla="*/ 6 h 24"/>
                  <a:gd name="T8" fmla="*/ 12 w 24"/>
                  <a:gd name="T9" fmla="*/ 0 h 24"/>
                  <a:gd name="T10" fmla="*/ 6 w 24"/>
                  <a:gd name="T11" fmla="*/ 6 h 24"/>
                  <a:gd name="T12" fmla="*/ 0 w 24"/>
                  <a:gd name="T13" fmla="*/ 6 h 24"/>
                  <a:gd name="T14" fmla="*/ 0 w 24"/>
                  <a:gd name="T15" fmla="*/ 12 h 24"/>
                  <a:gd name="T16" fmla="*/ 0 w 24"/>
                  <a:gd name="T17" fmla="*/ 18 h 24"/>
                  <a:gd name="T18" fmla="*/ 6 w 24"/>
                  <a:gd name="T19" fmla="*/ 18 h 24"/>
                  <a:gd name="T20" fmla="*/ 12 w 24"/>
                  <a:gd name="T21" fmla="*/ 24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lnTo>
                      <a:pt x="18" y="18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12" y="0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34" name="Freeform 24"/>
              <p:cNvSpPr>
                <a:spLocks/>
              </p:cNvSpPr>
              <p:nvPr/>
            </p:nvSpPr>
            <p:spPr bwMode="auto">
              <a:xfrm>
                <a:off x="1794" y="258"/>
                <a:ext cx="24" cy="24"/>
              </a:xfrm>
              <a:custGeom>
                <a:avLst/>
                <a:gdLst>
                  <a:gd name="T0" fmla="*/ 12 w 24"/>
                  <a:gd name="T1" fmla="*/ 24 h 24"/>
                  <a:gd name="T2" fmla="*/ 18 w 24"/>
                  <a:gd name="T3" fmla="*/ 18 h 24"/>
                  <a:gd name="T4" fmla="*/ 24 w 24"/>
                  <a:gd name="T5" fmla="*/ 12 h 24"/>
                  <a:gd name="T6" fmla="*/ 18 w 24"/>
                  <a:gd name="T7" fmla="*/ 6 h 24"/>
                  <a:gd name="T8" fmla="*/ 12 w 24"/>
                  <a:gd name="T9" fmla="*/ 0 h 24"/>
                  <a:gd name="T10" fmla="*/ 6 w 24"/>
                  <a:gd name="T11" fmla="*/ 6 h 24"/>
                  <a:gd name="T12" fmla="*/ 0 w 24"/>
                  <a:gd name="T13" fmla="*/ 6 h 24"/>
                  <a:gd name="T14" fmla="*/ 0 w 24"/>
                  <a:gd name="T15" fmla="*/ 12 h 24"/>
                  <a:gd name="T16" fmla="*/ 0 w 24"/>
                  <a:gd name="T17" fmla="*/ 18 h 24"/>
                  <a:gd name="T18" fmla="*/ 6 w 24"/>
                  <a:gd name="T19" fmla="*/ 18 h 24"/>
                  <a:gd name="T20" fmla="*/ 12 w 24"/>
                  <a:gd name="T21" fmla="*/ 24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lnTo>
                      <a:pt x="18" y="18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12" y="0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41" name="Group 25"/>
            <p:cNvGrpSpPr>
              <a:grpSpLocks/>
            </p:cNvGrpSpPr>
            <p:nvPr/>
          </p:nvGrpSpPr>
          <p:grpSpPr bwMode="auto">
            <a:xfrm>
              <a:off x="1949805" y="1208317"/>
              <a:ext cx="24986" cy="50570"/>
              <a:chOff x="1824" y="252"/>
              <a:chExt cx="12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1931" name="Freeform 26"/>
              <p:cNvSpPr>
                <a:spLocks/>
              </p:cNvSpPr>
              <p:nvPr/>
            </p:nvSpPr>
            <p:spPr bwMode="auto">
              <a:xfrm>
                <a:off x="1824" y="252"/>
                <a:ext cx="12" cy="30"/>
              </a:xfrm>
              <a:custGeom>
                <a:avLst/>
                <a:gdLst>
                  <a:gd name="T0" fmla="*/ 6 w 12"/>
                  <a:gd name="T1" fmla="*/ 30 h 30"/>
                  <a:gd name="T2" fmla="*/ 12 w 12"/>
                  <a:gd name="T3" fmla="*/ 30 h 30"/>
                  <a:gd name="T4" fmla="*/ 12 w 12"/>
                  <a:gd name="T5" fmla="*/ 18 h 30"/>
                  <a:gd name="T6" fmla="*/ 12 w 12"/>
                  <a:gd name="T7" fmla="*/ 6 h 30"/>
                  <a:gd name="T8" fmla="*/ 6 w 12"/>
                  <a:gd name="T9" fmla="*/ 0 h 30"/>
                  <a:gd name="T10" fmla="*/ 0 w 12"/>
                  <a:gd name="T11" fmla="*/ 6 h 30"/>
                  <a:gd name="T12" fmla="*/ 0 w 12"/>
                  <a:gd name="T13" fmla="*/ 18 h 30"/>
                  <a:gd name="T14" fmla="*/ 0 w 12"/>
                  <a:gd name="T15" fmla="*/ 30 h 30"/>
                  <a:gd name="T16" fmla="*/ 6 w 12"/>
                  <a:gd name="T17" fmla="*/ 3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30">
                    <a:moveTo>
                      <a:pt x="6" y="30"/>
                    </a:moveTo>
                    <a:lnTo>
                      <a:pt x="12" y="30"/>
                    </a:lnTo>
                    <a:lnTo>
                      <a:pt x="12" y="18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0" y="30"/>
                    </a:lnTo>
                    <a:lnTo>
                      <a:pt x="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32" name="Freeform 27"/>
              <p:cNvSpPr>
                <a:spLocks/>
              </p:cNvSpPr>
              <p:nvPr/>
            </p:nvSpPr>
            <p:spPr bwMode="auto">
              <a:xfrm>
                <a:off x="1824" y="252"/>
                <a:ext cx="12" cy="30"/>
              </a:xfrm>
              <a:custGeom>
                <a:avLst/>
                <a:gdLst>
                  <a:gd name="T0" fmla="*/ 6 w 12"/>
                  <a:gd name="T1" fmla="*/ 30 h 30"/>
                  <a:gd name="T2" fmla="*/ 12 w 12"/>
                  <a:gd name="T3" fmla="*/ 30 h 30"/>
                  <a:gd name="T4" fmla="*/ 12 w 12"/>
                  <a:gd name="T5" fmla="*/ 18 h 30"/>
                  <a:gd name="T6" fmla="*/ 12 w 12"/>
                  <a:gd name="T7" fmla="*/ 6 h 30"/>
                  <a:gd name="T8" fmla="*/ 6 w 12"/>
                  <a:gd name="T9" fmla="*/ 0 h 30"/>
                  <a:gd name="T10" fmla="*/ 0 w 12"/>
                  <a:gd name="T11" fmla="*/ 6 h 30"/>
                  <a:gd name="T12" fmla="*/ 0 w 12"/>
                  <a:gd name="T13" fmla="*/ 18 h 30"/>
                  <a:gd name="T14" fmla="*/ 0 w 12"/>
                  <a:gd name="T15" fmla="*/ 30 h 30"/>
                  <a:gd name="T16" fmla="*/ 6 w 12"/>
                  <a:gd name="T17" fmla="*/ 3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30">
                    <a:moveTo>
                      <a:pt x="6" y="30"/>
                    </a:moveTo>
                    <a:lnTo>
                      <a:pt x="12" y="30"/>
                    </a:lnTo>
                    <a:lnTo>
                      <a:pt x="12" y="18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0" y="30"/>
                    </a:lnTo>
                    <a:lnTo>
                      <a:pt x="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42" name="Group 28"/>
            <p:cNvGrpSpPr>
              <a:grpSpLocks/>
            </p:cNvGrpSpPr>
            <p:nvPr/>
          </p:nvGrpSpPr>
          <p:grpSpPr bwMode="auto">
            <a:xfrm>
              <a:off x="1890223" y="1175953"/>
              <a:ext cx="48050" cy="32365"/>
              <a:chOff x="1794" y="234"/>
              <a:chExt cx="24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1929" name="Freeform 29"/>
              <p:cNvSpPr>
                <a:spLocks/>
              </p:cNvSpPr>
              <p:nvPr/>
            </p:nvSpPr>
            <p:spPr bwMode="auto">
              <a:xfrm>
                <a:off x="1794" y="234"/>
                <a:ext cx="24" cy="18"/>
              </a:xfrm>
              <a:custGeom>
                <a:avLst/>
                <a:gdLst>
                  <a:gd name="T0" fmla="*/ 12 w 24"/>
                  <a:gd name="T1" fmla="*/ 18 h 18"/>
                  <a:gd name="T2" fmla="*/ 18 w 24"/>
                  <a:gd name="T3" fmla="*/ 12 h 18"/>
                  <a:gd name="T4" fmla="*/ 24 w 24"/>
                  <a:gd name="T5" fmla="*/ 6 h 18"/>
                  <a:gd name="T6" fmla="*/ 18 w 24"/>
                  <a:gd name="T7" fmla="*/ 0 h 18"/>
                  <a:gd name="T8" fmla="*/ 12 w 24"/>
                  <a:gd name="T9" fmla="*/ 0 h 18"/>
                  <a:gd name="T10" fmla="*/ 6 w 24"/>
                  <a:gd name="T11" fmla="*/ 0 h 18"/>
                  <a:gd name="T12" fmla="*/ 0 w 24"/>
                  <a:gd name="T13" fmla="*/ 0 h 18"/>
                  <a:gd name="T14" fmla="*/ 0 w 24"/>
                  <a:gd name="T15" fmla="*/ 6 h 18"/>
                  <a:gd name="T16" fmla="*/ 0 w 24"/>
                  <a:gd name="T17" fmla="*/ 6 h 18"/>
                  <a:gd name="T18" fmla="*/ 0 w 24"/>
                  <a:gd name="T19" fmla="*/ 12 h 18"/>
                  <a:gd name="T20" fmla="*/ 0 w 24"/>
                  <a:gd name="T21" fmla="*/ 12 h 18"/>
                  <a:gd name="T22" fmla="*/ 12 w 24"/>
                  <a:gd name="T23" fmla="*/ 18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4" h="18">
                    <a:moveTo>
                      <a:pt x="12" y="18"/>
                    </a:moveTo>
                    <a:lnTo>
                      <a:pt x="18" y="12"/>
                    </a:lnTo>
                    <a:lnTo>
                      <a:pt x="24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12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30" name="Freeform 30"/>
              <p:cNvSpPr>
                <a:spLocks/>
              </p:cNvSpPr>
              <p:nvPr/>
            </p:nvSpPr>
            <p:spPr bwMode="auto">
              <a:xfrm>
                <a:off x="1794" y="234"/>
                <a:ext cx="24" cy="18"/>
              </a:xfrm>
              <a:custGeom>
                <a:avLst/>
                <a:gdLst>
                  <a:gd name="T0" fmla="*/ 12 w 24"/>
                  <a:gd name="T1" fmla="*/ 18 h 18"/>
                  <a:gd name="T2" fmla="*/ 18 w 24"/>
                  <a:gd name="T3" fmla="*/ 12 h 18"/>
                  <a:gd name="T4" fmla="*/ 24 w 24"/>
                  <a:gd name="T5" fmla="*/ 6 h 18"/>
                  <a:gd name="T6" fmla="*/ 18 w 24"/>
                  <a:gd name="T7" fmla="*/ 0 h 18"/>
                  <a:gd name="T8" fmla="*/ 12 w 24"/>
                  <a:gd name="T9" fmla="*/ 0 h 18"/>
                  <a:gd name="T10" fmla="*/ 6 w 24"/>
                  <a:gd name="T11" fmla="*/ 0 h 18"/>
                  <a:gd name="T12" fmla="*/ 0 w 24"/>
                  <a:gd name="T13" fmla="*/ 0 h 18"/>
                  <a:gd name="T14" fmla="*/ 0 w 24"/>
                  <a:gd name="T15" fmla="*/ 6 h 18"/>
                  <a:gd name="T16" fmla="*/ 0 w 24"/>
                  <a:gd name="T17" fmla="*/ 12 h 18"/>
                  <a:gd name="T18" fmla="*/ 12 w 24"/>
                  <a:gd name="T19" fmla="*/ 18 h 1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4" h="18">
                    <a:moveTo>
                      <a:pt x="12" y="18"/>
                    </a:moveTo>
                    <a:lnTo>
                      <a:pt x="18" y="12"/>
                    </a:lnTo>
                    <a:lnTo>
                      <a:pt x="24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12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44" name="Group 31"/>
            <p:cNvGrpSpPr>
              <a:grpSpLocks/>
            </p:cNvGrpSpPr>
            <p:nvPr/>
          </p:nvGrpSpPr>
          <p:grpSpPr bwMode="auto">
            <a:xfrm>
              <a:off x="2097798" y="1115268"/>
              <a:ext cx="34596" cy="30342"/>
              <a:chOff x="1896" y="198"/>
              <a:chExt cx="18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1927" name="Freeform 32"/>
              <p:cNvSpPr>
                <a:spLocks/>
              </p:cNvSpPr>
              <p:nvPr/>
            </p:nvSpPr>
            <p:spPr bwMode="auto">
              <a:xfrm>
                <a:off x="1896" y="198"/>
                <a:ext cx="18" cy="18"/>
              </a:xfrm>
              <a:custGeom>
                <a:avLst/>
                <a:gdLst>
                  <a:gd name="T0" fmla="*/ 18 w 18"/>
                  <a:gd name="T1" fmla="*/ 0 h 18"/>
                  <a:gd name="T2" fmla="*/ 18 w 18"/>
                  <a:gd name="T3" fmla="*/ 0 h 18"/>
                  <a:gd name="T4" fmla="*/ 12 w 18"/>
                  <a:gd name="T5" fmla="*/ 0 h 18"/>
                  <a:gd name="T6" fmla="*/ 6 w 18"/>
                  <a:gd name="T7" fmla="*/ 0 h 18"/>
                  <a:gd name="T8" fmla="*/ 0 w 18"/>
                  <a:gd name="T9" fmla="*/ 12 h 18"/>
                  <a:gd name="T10" fmla="*/ 0 w 18"/>
                  <a:gd name="T11" fmla="*/ 18 h 18"/>
                  <a:gd name="T12" fmla="*/ 0 w 18"/>
                  <a:gd name="T13" fmla="*/ 18 h 18"/>
                  <a:gd name="T14" fmla="*/ 6 w 18"/>
                  <a:gd name="T15" fmla="*/ 18 h 18"/>
                  <a:gd name="T16" fmla="*/ 12 w 18"/>
                  <a:gd name="T17" fmla="*/ 12 h 18"/>
                  <a:gd name="T18" fmla="*/ 18 w 18"/>
                  <a:gd name="T19" fmla="*/ 6 h 18"/>
                  <a:gd name="T20" fmla="*/ 18 w 18"/>
                  <a:gd name="T21" fmla="*/ 0 h 1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12" y="12"/>
                    </a:lnTo>
                    <a:lnTo>
                      <a:pt x="18" y="6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28" name="Freeform 33"/>
              <p:cNvSpPr>
                <a:spLocks/>
              </p:cNvSpPr>
              <p:nvPr/>
            </p:nvSpPr>
            <p:spPr bwMode="auto">
              <a:xfrm>
                <a:off x="1896" y="198"/>
                <a:ext cx="18" cy="18"/>
              </a:xfrm>
              <a:custGeom>
                <a:avLst/>
                <a:gdLst>
                  <a:gd name="T0" fmla="*/ 18 w 18"/>
                  <a:gd name="T1" fmla="*/ 0 h 18"/>
                  <a:gd name="T2" fmla="*/ 12 w 18"/>
                  <a:gd name="T3" fmla="*/ 0 h 18"/>
                  <a:gd name="T4" fmla="*/ 6 w 18"/>
                  <a:gd name="T5" fmla="*/ 0 h 18"/>
                  <a:gd name="T6" fmla="*/ 0 w 18"/>
                  <a:gd name="T7" fmla="*/ 12 h 18"/>
                  <a:gd name="T8" fmla="*/ 0 w 18"/>
                  <a:gd name="T9" fmla="*/ 18 h 18"/>
                  <a:gd name="T10" fmla="*/ 6 w 18"/>
                  <a:gd name="T11" fmla="*/ 18 h 18"/>
                  <a:gd name="T12" fmla="*/ 12 w 18"/>
                  <a:gd name="T13" fmla="*/ 12 h 18"/>
                  <a:gd name="T14" fmla="*/ 18 w 18"/>
                  <a:gd name="T15" fmla="*/ 6 h 18"/>
                  <a:gd name="T16" fmla="*/ 18 w 18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12" y="12"/>
                    </a:lnTo>
                    <a:lnTo>
                      <a:pt x="18" y="6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45" name="Group 34"/>
            <p:cNvGrpSpPr>
              <a:grpSpLocks/>
            </p:cNvGrpSpPr>
            <p:nvPr/>
          </p:nvGrpSpPr>
          <p:grpSpPr bwMode="auto">
            <a:xfrm>
              <a:off x="1949805" y="1135496"/>
              <a:ext cx="61504" cy="40456"/>
              <a:chOff x="1824" y="210"/>
              <a:chExt cx="30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1925" name="Freeform 35"/>
              <p:cNvSpPr>
                <a:spLocks/>
              </p:cNvSpPr>
              <p:nvPr/>
            </p:nvSpPr>
            <p:spPr bwMode="auto">
              <a:xfrm>
                <a:off x="1824" y="210"/>
                <a:ext cx="30" cy="24"/>
              </a:xfrm>
              <a:custGeom>
                <a:avLst/>
                <a:gdLst>
                  <a:gd name="T0" fmla="*/ 12 w 30"/>
                  <a:gd name="T1" fmla="*/ 0 h 24"/>
                  <a:gd name="T2" fmla="*/ 6 w 30"/>
                  <a:gd name="T3" fmla="*/ 0 h 24"/>
                  <a:gd name="T4" fmla="*/ 0 w 30"/>
                  <a:gd name="T5" fmla="*/ 0 h 24"/>
                  <a:gd name="T6" fmla="*/ 0 w 30"/>
                  <a:gd name="T7" fmla="*/ 6 h 24"/>
                  <a:gd name="T8" fmla="*/ 6 w 30"/>
                  <a:gd name="T9" fmla="*/ 12 h 24"/>
                  <a:gd name="T10" fmla="*/ 12 w 30"/>
                  <a:gd name="T11" fmla="*/ 18 h 24"/>
                  <a:gd name="T12" fmla="*/ 18 w 30"/>
                  <a:gd name="T13" fmla="*/ 24 h 24"/>
                  <a:gd name="T14" fmla="*/ 24 w 30"/>
                  <a:gd name="T15" fmla="*/ 24 h 24"/>
                  <a:gd name="T16" fmla="*/ 30 w 30"/>
                  <a:gd name="T17" fmla="*/ 24 h 24"/>
                  <a:gd name="T18" fmla="*/ 30 w 30"/>
                  <a:gd name="T19" fmla="*/ 18 h 24"/>
                  <a:gd name="T20" fmla="*/ 24 w 30"/>
                  <a:gd name="T21" fmla="*/ 12 h 24"/>
                  <a:gd name="T22" fmla="*/ 12 w 30"/>
                  <a:gd name="T23" fmla="*/ 0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0" h="24">
                    <a:moveTo>
                      <a:pt x="12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18" y="24"/>
                    </a:lnTo>
                    <a:lnTo>
                      <a:pt x="24" y="24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24" y="1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26" name="Freeform 36"/>
              <p:cNvSpPr>
                <a:spLocks/>
              </p:cNvSpPr>
              <p:nvPr/>
            </p:nvSpPr>
            <p:spPr bwMode="auto">
              <a:xfrm>
                <a:off x="1824" y="210"/>
                <a:ext cx="30" cy="24"/>
              </a:xfrm>
              <a:custGeom>
                <a:avLst/>
                <a:gdLst>
                  <a:gd name="T0" fmla="*/ 12 w 30"/>
                  <a:gd name="T1" fmla="*/ 0 h 24"/>
                  <a:gd name="T2" fmla="*/ 6 w 30"/>
                  <a:gd name="T3" fmla="*/ 0 h 24"/>
                  <a:gd name="T4" fmla="*/ 0 w 30"/>
                  <a:gd name="T5" fmla="*/ 0 h 24"/>
                  <a:gd name="T6" fmla="*/ 0 w 30"/>
                  <a:gd name="T7" fmla="*/ 6 h 24"/>
                  <a:gd name="T8" fmla="*/ 6 w 30"/>
                  <a:gd name="T9" fmla="*/ 12 h 24"/>
                  <a:gd name="T10" fmla="*/ 12 w 30"/>
                  <a:gd name="T11" fmla="*/ 18 h 24"/>
                  <a:gd name="T12" fmla="*/ 18 w 30"/>
                  <a:gd name="T13" fmla="*/ 24 h 24"/>
                  <a:gd name="T14" fmla="*/ 24 w 30"/>
                  <a:gd name="T15" fmla="*/ 24 h 24"/>
                  <a:gd name="T16" fmla="*/ 30 w 30"/>
                  <a:gd name="T17" fmla="*/ 24 h 24"/>
                  <a:gd name="T18" fmla="*/ 30 w 30"/>
                  <a:gd name="T19" fmla="*/ 18 h 24"/>
                  <a:gd name="T20" fmla="*/ 24 w 30"/>
                  <a:gd name="T21" fmla="*/ 12 h 24"/>
                  <a:gd name="T22" fmla="*/ 12 w 30"/>
                  <a:gd name="T23" fmla="*/ 0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0" h="24">
                    <a:moveTo>
                      <a:pt x="12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18" y="24"/>
                    </a:lnTo>
                    <a:lnTo>
                      <a:pt x="24" y="24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24" y="1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48" name="Group 37"/>
            <p:cNvGrpSpPr>
              <a:grpSpLocks/>
            </p:cNvGrpSpPr>
            <p:nvPr/>
          </p:nvGrpSpPr>
          <p:grpSpPr bwMode="auto">
            <a:xfrm>
              <a:off x="1924819" y="1155724"/>
              <a:ext cx="61504" cy="42479"/>
              <a:chOff x="1812" y="222"/>
              <a:chExt cx="30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1923" name="Freeform 38"/>
              <p:cNvSpPr>
                <a:spLocks/>
              </p:cNvSpPr>
              <p:nvPr/>
            </p:nvSpPr>
            <p:spPr bwMode="auto">
              <a:xfrm>
                <a:off x="1812" y="222"/>
                <a:ext cx="30" cy="24"/>
              </a:xfrm>
              <a:custGeom>
                <a:avLst/>
                <a:gdLst>
                  <a:gd name="T0" fmla="*/ 18 w 30"/>
                  <a:gd name="T1" fmla="*/ 6 h 24"/>
                  <a:gd name="T2" fmla="*/ 12 w 30"/>
                  <a:gd name="T3" fmla="*/ 0 h 24"/>
                  <a:gd name="T4" fmla="*/ 6 w 30"/>
                  <a:gd name="T5" fmla="*/ 0 h 24"/>
                  <a:gd name="T6" fmla="*/ 0 w 30"/>
                  <a:gd name="T7" fmla="*/ 6 h 24"/>
                  <a:gd name="T8" fmla="*/ 0 w 30"/>
                  <a:gd name="T9" fmla="*/ 12 h 24"/>
                  <a:gd name="T10" fmla="*/ 6 w 30"/>
                  <a:gd name="T11" fmla="*/ 12 h 24"/>
                  <a:gd name="T12" fmla="*/ 12 w 30"/>
                  <a:gd name="T13" fmla="*/ 18 h 24"/>
                  <a:gd name="T14" fmla="*/ 18 w 30"/>
                  <a:gd name="T15" fmla="*/ 24 h 24"/>
                  <a:gd name="T16" fmla="*/ 24 w 30"/>
                  <a:gd name="T17" fmla="*/ 24 h 24"/>
                  <a:gd name="T18" fmla="*/ 30 w 30"/>
                  <a:gd name="T19" fmla="*/ 24 h 24"/>
                  <a:gd name="T20" fmla="*/ 30 w 30"/>
                  <a:gd name="T21" fmla="*/ 18 h 24"/>
                  <a:gd name="T22" fmla="*/ 24 w 30"/>
                  <a:gd name="T23" fmla="*/ 12 h 24"/>
                  <a:gd name="T24" fmla="*/ 18 w 30"/>
                  <a:gd name="T25" fmla="*/ 6 h 2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24">
                    <a:moveTo>
                      <a:pt x="18" y="6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18" y="24"/>
                    </a:lnTo>
                    <a:lnTo>
                      <a:pt x="24" y="24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24" y="12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24" name="Freeform 39"/>
              <p:cNvSpPr>
                <a:spLocks/>
              </p:cNvSpPr>
              <p:nvPr/>
            </p:nvSpPr>
            <p:spPr bwMode="auto">
              <a:xfrm>
                <a:off x="1812" y="222"/>
                <a:ext cx="30" cy="24"/>
              </a:xfrm>
              <a:custGeom>
                <a:avLst/>
                <a:gdLst>
                  <a:gd name="T0" fmla="*/ 18 w 30"/>
                  <a:gd name="T1" fmla="*/ 6 h 24"/>
                  <a:gd name="T2" fmla="*/ 12 w 30"/>
                  <a:gd name="T3" fmla="*/ 0 h 24"/>
                  <a:gd name="T4" fmla="*/ 6 w 30"/>
                  <a:gd name="T5" fmla="*/ 0 h 24"/>
                  <a:gd name="T6" fmla="*/ 0 w 30"/>
                  <a:gd name="T7" fmla="*/ 6 h 24"/>
                  <a:gd name="T8" fmla="*/ 0 w 30"/>
                  <a:gd name="T9" fmla="*/ 12 h 24"/>
                  <a:gd name="T10" fmla="*/ 6 w 30"/>
                  <a:gd name="T11" fmla="*/ 12 h 24"/>
                  <a:gd name="T12" fmla="*/ 12 w 30"/>
                  <a:gd name="T13" fmla="*/ 18 h 24"/>
                  <a:gd name="T14" fmla="*/ 18 w 30"/>
                  <a:gd name="T15" fmla="*/ 24 h 24"/>
                  <a:gd name="T16" fmla="*/ 24 w 30"/>
                  <a:gd name="T17" fmla="*/ 24 h 24"/>
                  <a:gd name="T18" fmla="*/ 30 w 30"/>
                  <a:gd name="T19" fmla="*/ 24 h 24"/>
                  <a:gd name="T20" fmla="*/ 30 w 30"/>
                  <a:gd name="T21" fmla="*/ 18 h 24"/>
                  <a:gd name="T22" fmla="*/ 24 w 30"/>
                  <a:gd name="T23" fmla="*/ 12 h 24"/>
                  <a:gd name="T24" fmla="*/ 18 w 30"/>
                  <a:gd name="T25" fmla="*/ 6 h 2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24">
                    <a:moveTo>
                      <a:pt x="18" y="6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18" y="24"/>
                    </a:lnTo>
                    <a:lnTo>
                      <a:pt x="24" y="24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24" y="12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49" name="Group 40"/>
            <p:cNvGrpSpPr>
              <a:grpSpLocks/>
            </p:cNvGrpSpPr>
            <p:nvPr/>
          </p:nvGrpSpPr>
          <p:grpSpPr bwMode="auto">
            <a:xfrm>
              <a:off x="1997855" y="1125382"/>
              <a:ext cx="24986" cy="30342"/>
              <a:chOff x="1848" y="204"/>
              <a:chExt cx="12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1921" name="Freeform 41"/>
              <p:cNvSpPr>
                <a:spLocks/>
              </p:cNvSpPr>
              <p:nvPr/>
            </p:nvSpPr>
            <p:spPr bwMode="auto">
              <a:xfrm>
                <a:off x="1848" y="204"/>
                <a:ext cx="12" cy="18"/>
              </a:xfrm>
              <a:custGeom>
                <a:avLst/>
                <a:gdLst>
                  <a:gd name="T0" fmla="*/ 6 w 12"/>
                  <a:gd name="T1" fmla="*/ 0 h 18"/>
                  <a:gd name="T2" fmla="*/ 0 w 12"/>
                  <a:gd name="T3" fmla="*/ 0 h 18"/>
                  <a:gd name="T4" fmla="*/ 0 w 12"/>
                  <a:gd name="T5" fmla="*/ 6 h 18"/>
                  <a:gd name="T6" fmla="*/ 0 w 12"/>
                  <a:gd name="T7" fmla="*/ 12 h 18"/>
                  <a:gd name="T8" fmla="*/ 6 w 12"/>
                  <a:gd name="T9" fmla="*/ 18 h 18"/>
                  <a:gd name="T10" fmla="*/ 12 w 12"/>
                  <a:gd name="T11" fmla="*/ 18 h 18"/>
                  <a:gd name="T12" fmla="*/ 12 w 12"/>
                  <a:gd name="T13" fmla="*/ 18 h 18"/>
                  <a:gd name="T14" fmla="*/ 6 w 12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22" name="Freeform 42"/>
              <p:cNvSpPr>
                <a:spLocks/>
              </p:cNvSpPr>
              <p:nvPr/>
            </p:nvSpPr>
            <p:spPr bwMode="auto">
              <a:xfrm>
                <a:off x="1848" y="204"/>
                <a:ext cx="12" cy="18"/>
              </a:xfrm>
              <a:custGeom>
                <a:avLst/>
                <a:gdLst>
                  <a:gd name="T0" fmla="*/ 6 w 12"/>
                  <a:gd name="T1" fmla="*/ 0 h 18"/>
                  <a:gd name="T2" fmla="*/ 0 w 12"/>
                  <a:gd name="T3" fmla="*/ 0 h 18"/>
                  <a:gd name="T4" fmla="*/ 0 w 12"/>
                  <a:gd name="T5" fmla="*/ 6 h 18"/>
                  <a:gd name="T6" fmla="*/ 0 w 12"/>
                  <a:gd name="T7" fmla="*/ 12 h 18"/>
                  <a:gd name="T8" fmla="*/ 6 w 12"/>
                  <a:gd name="T9" fmla="*/ 18 h 18"/>
                  <a:gd name="T10" fmla="*/ 12 w 12"/>
                  <a:gd name="T11" fmla="*/ 18 h 18"/>
                  <a:gd name="T12" fmla="*/ 6 w 12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18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50" name="Group 43"/>
            <p:cNvGrpSpPr>
              <a:grpSpLocks/>
            </p:cNvGrpSpPr>
            <p:nvPr/>
          </p:nvGrpSpPr>
          <p:grpSpPr bwMode="auto">
            <a:xfrm>
              <a:off x="2059358" y="1165838"/>
              <a:ext cx="24986" cy="32365"/>
              <a:chOff x="1878" y="228"/>
              <a:chExt cx="12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1919" name="Freeform 44"/>
              <p:cNvSpPr>
                <a:spLocks/>
              </p:cNvSpPr>
              <p:nvPr/>
            </p:nvSpPr>
            <p:spPr bwMode="auto">
              <a:xfrm>
                <a:off x="1878" y="228"/>
                <a:ext cx="12" cy="18"/>
              </a:xfrm>
              <a:custGeom>
                <a:avLst/>
                <a:gdLst>
                  <a:gd name="T0" fmla="*/ 6 w 12"/>
                  <a:gd name="T1" fmla="*/ 0 h 18"/>
                  <a:gd name="T2" fmla="*/ 6 w 12"/>
                  <a:gd name="T3" fmla="*/ 0 h 18"/>
                  <a:gd name="T4" fmla="*/ 0 w 12"/>
                  <a:gd name="T5" fmla="*/ 0 h 18"/>
                  <a:gd name="T6" fmla="*/ 0 w 12"/>
                  <a:gd name="T7" fmla="*/ 0 h 18"/>
                  <a:gd name="T8" fmla="*/ 0 w 12"/>
                  <a:gd name="T9" fmla="*/ 6 h 18"/>
                  <a:gd name="T10" fmla="*/ 6 w 12"/>
                  <a:gd name="T11" fmla="*/ 18 h 18"/>
                  <a:gd name="T12" fmla="*/ 12 w 12"/>
                  <a:gd name="T13" fmla="*/ 12 h 18"/>
                  <a:gd name="T14" fmla="*/ 12 w 12"/>
                  <a:gd name="T15" fmla="*/ 6 h 18"/>
                  <a:gd name="T16" fmla="*/ 6 w 12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8">
                    <a:moveTo>
                      <a:pt x="6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18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20" name="Freeform 45"/>
              <p:cNvSpPr>
                <a:spLocks/>
              </p:cNvSpPr>
              <p:nvPr/>
            </p:nvSpPr>
            <p:spPr bwMode="auto">
              <a:xfrm>
                <a:off x="1878" y="228"/>
                <a:ext cx="12" cy="18"/>
              </a:xfrm>
              <a:custGeom>
                <a:avLst/>
                <a:gdLst>
                  <a:gd name="T0" fmla="*/ 6 w 12"/>
                  <a:gd name="T1" fmla="*/ 0 h 18"/>
                  <a:gd name="T2" fmla="*/ 0 w 12"/>
                  <a:gd name="T3" fmla="*/ 0 h 18"/>
                  <a:gd name="T4" fmla="*/ 0 w 12"/>
                  <a:gd name="T5" fmla="*/ 6 h 18"/>
                  <a:gd name="T6" fmla="*/ 6 w 12"/>
                  <a:gd name="T7" fmla="*/ 18 h 18"/>
                  <a:gd name="T8" fmla="*/ 12 w 12"/>
                  <a:gd name="T9" fmla="*/ 12 h 18"/>
                  <a:gd name="T10" fmla="*/ 12 w 12"/>
                  <a:gd name="T11" fmla="*/ 6 h 18"/>
                  <a:gd name="T12" fmla="*/ 6 w 12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18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18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51" name="Group 46"/>
            <p:cNvGrpSpPr>
              <a:grpSpLocks/>
            </p:cNvGrpSpPr>
            <p:nvPr/>
          </p:nvGrpSpPr>
          <p:grpSpPr bwMode="auto">
            <a:xfrm>
              <a:off x="1107975" y="1125382"/>
              <a:ext cx="353646" cy="339832"/>
              <a:chOff x="1410" y="204"/>
              <a:chExt cx="174" cy="198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1904" name="Group 47"/>
              <p:cNvGrpSpPr>
                <a:grpSpLocks/>
              </p:cNvGrpSpPr>
              <p:nvPr/>
            </p:nvGrpSpPr>
            <p:grpSpPr bwMode="auto">
              <a:xfrm>
                <a:off x="1422" y="240"/>
                <a:ext cx="84" cy="162"/>
                <a:chOff x="1422" y="240"/>
                <a:chExt cx="84" cy="162"/>
              </a:xfrm>
              <a:grpFill/>
            </p:grpSpPr>
            <p:sp>
              <p:nvSpPr>
                <p:cNvPr id="1917" name="Freeform 48"/>
                <p:cNvSpPr>
                  <a:spLocks/>
                </p:cNvSpPr>
                <p:nvPr/>
              </p:nvSpPr>
              <p:spPr bwMode="auto">
                <a:xfrm>
                  <a:off x="1422" y="240"/>
                  <a:ext cx="84" cy="162"/>
                </a:xfrm>
                <a:custGeom>
                  <a:avLst/>
                  <a:gdLst>
                    <a:gd name="T0" fmla="*/ 36 w 84"/>
                    <a:gd name="T1" fmla="*/ 12 h 162"/>
                    <a:gd name="T2" fmla="*/ 30 w 84"/>
                    <a:gd name="T3" fmla="*/ 12 h 162"/>
                    <a:gd name="T4" fmla="*/ 30 w 84"/>
                    <a:gd name="T5" fmla="*/ 12 h 162"/>
                    <a:gd name="T6" fmla="*/ 30 w 84"/>
                    <a:gd name="T7" fmla="*/ 18 h 162"/>
                    <a:gd name="T8" fmla="*/ 30 w 84"/>
                    <a:gd name="T9" fmla="*/ 18 h 162"/>
                    <a:gd name="T10" fmla="*/ 24 w 84"/>
                    <a:gd name="T11" fmla="*/ 24 h 162"/>
                    <a:gd name="T12" fmla="*/ 18 w 84"/>
                    <a:gd name="T13" fmla="*/ 24 h 162"/>
                    <a:gd name="T14" fmla="*/ 18 w 84"/>
                    <a:gd name="T15" fmla="*/ 12 h 162"/>
                    <a:gd name="T16" fmla="*/ 12 w 84"/>
                    <a:gd name="T17" fmla="*/ 12 h 162"/>
                    <a:gd name="T18" fmla="*/ 6 w 84"/>
                    <a:gd name="T19" fmla="*/ 12 h 162"/>
                    <a:gd name="T20" fmla="*/ 0 w 84"/>
                    <a:gd name="T21" fmla="*/ 24 h 162"/>
                    <a:gd name="T22" fmla="*/ 0 w 84"/>
                    <a:gd name="T23" fmla="*/ 42 h 162"/>
                    <a:gd name="T24" fmla="*/ 6 w 84"/>
                    <a:gd name="T25" fmla="*/ 54 h 162"/>
                    <a:gd name="T26" fmla="*/ 6 w 84"/>
                    <a:gd name="T27" fmla="*/ 60 h 162"/>
                    <a:gd name="T28" fmla="*/ 12 w 84"/>
                    <a:gd name="T29" fmla="*/ 66 h 162"/>
                    <a:gd name="T30" fmla="*/ 24 w 84"/>
                    <a:gd name="T31" fmla="*/ 84 h 162"/>
                    <a:gd name="T32" fmla="*/ 36 w 84"/>
                    <a:gd name="T33" fmla="*/ 78 h 162"/>
                    <a:gd name="T34" fmla="*/ 36 w 84"/>
                    <a:gd name="T35" fmla="*/ 66 h 162"/>
                    <a:gd name="T36" fmla="*/ 48 w 84"/>
                    <a:gd name="T37" fmla="*/ 66 h 162"/>
                    <a:gd name="T38" fmla="*/ 48 w 84"/>
                    <a:gd name="T39" fmla="*/ 66 h 162"/>
                    <a:gd name="T40" fmla="*/ 54 w 84"/>
                    <a:gd name="T41" fmla="*/ 72 h 162"/>
                    <a:gd name="T42" fmla="*/ 54 w 84"/>
                    <a:gd name="T43" fmla="*/ 78 h 162"/>
                    <a:gd name="T44" fmla="*/ 48 w 84"/>
                    <a:gd name="T45" fmla="*/ 84 h 162"/>
                    <a:gd name="T46" fmla="*/ 30 w 84"/>
                    <a:gd name="T47" fmla="*/ 96 h 162"/>
                    <a:gd name="T48" fmla="*/ 30 w 84"/>
                    <a:gd name="T49" fmla="*/ 108 h 162"/>
                    <a:gd name="T50" fmla="*/ 36 w 84"/>
                    <a:gd name="T51" fmla="*/ 114 h 162"/>
                    <a:gd name="T52" fmla="*/ 30 w 84"/>
                    <a:gd name="T53" fmla="*/ 120 h 162"/>
                    <a:gd name="T54" fmla="*/ 30 w 84"/>
                    <a:gd name="T55" fmla="*/ 126 h 162"/>
                    <a:gd name="T56" fmla="*/ 36 w 84"/>
                    <a:gd name="T57" fmla="*/ 138 h 162"/>
                    <a:gd name="T58" fmla="*/ 42 w 84"/>
                    <a:gd name="T59" fmla="*/ 144 h 162"/>
                    <a:gd name="T60" fmla="*/ 54 w 84"/>
                    <a:gd name="T61" fmla="*/ 162 h 162"/>
                    <a:gd name="T62" fmla="*/ 60 w 84"/>
                    <a:gd name="T63" fmla="*/ 156 h 162"/>
                    <a:gd name="T64" fmla="*/ 66 w 84"/>
                    <a:gd name="T65" fmla="*/ 126 h 162"/>
                    <a:gd name="T66" fmla="*/ 72 w 84"/>
                    <a:gd name="T67" fmla="*/ 114 h 162"/>
                    <a:gd name="T68" fmla="*/ 72 w 84"/>
                    <a:gd name="T69" fmla="*/ 96 h 162"/>
                    <a:gd name="T70" fmla="*/ 78 w 84"/>
                    <a:gd name="T71" fmla="*/ 72 h 162"/>
                    <a:gd name="T72" fmla="*/ 84 w 84"/>
                    <a:gd name="T73" fmla="*/ 60 h 162"/>
                    <a:gd name="T74" fmla="*/ 84 w 84"/>
                    <a:gd name="T75" fmla="*/ 54 h 162"/>
                    <a:gd name="T76" fmla="*/ 84 w 84"/>
                    <a:gd name="T77" fmla="*/ 48 h 162"/>
                    <a:gd name="T78" fmla="*/ 78 w 84"/>
                    <a:gd name="T79" fmla="*/ 30 h 162"/>
                    <a:gd name="T80" fmla="*/ 78 w 84"/>
                    <a:gd name="T81" fmla="*/ 12 h 162"/>
                    <a:gd name="T82" fmla="*/ 54 w 84"/>
                    <a:gd name="T83" fmla="*/ 0 h 162"/>
                    <a:gd name="T84" fmla="*/ 48 w 84"/>
                    <a:gd name="T85" fmla="*/ 0 h 162"/>
                    <a:gd name="T86" fmla="*/ 48 w 84"/>
                    <a:gd name="T87" fmla="*/ 0 h 162"/>
                    <a:gd name="T88" fmla="*/ 48 w 84"/>
                    <a:gd name="T89" fmla="*/ 6 h 162"/>
                    <a:gd name="T90" fmla="*/ 48 w 84"/>
                    <a:gd name="T91" fmla="*/ 12 h 162"/>
                    <a:gd name="T92" fmla="*/ 42 w 84"/>
                    <a:gd name="T93" fmla="*/ 18 h 162"/>
                    <a:gd name="T94" fmla="*/ 36 w 84"/>
                    <a:gd name="T95" fmla="*/ 12 h 162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0" t="0" r="r" b="b"/>
                  <a:pathLst>
                    <a:path w="84" h="162">
                      <a:moveTo>
                        <a:pt x="36" y="12"/>
                      </a:moveTo>
                      <a:lnTo>
                        <a:pt x="30" y="12"/>
                      </a:lnTo>
                      <a:lnTo>
                        <a:pt x="30" y="18"/>
                      </a:lnTo>
                      <a:lnTo>
                        <a:pt x="24" y="24"/>
                      </a:lnTo>
                      <a:lnTo>
                        <a:pt x="18" y="24"/>
                      </a:lnTo>
                      <a:lnTo>
                        <a:pt x="18" y="12"/>
                      </a:lnTo>
                      <a:lnTo>
                        <a:pt x="12" y="12"/>
                      </a:lnTo>
                      <a:lnTo>
                        <a:pt x="6" y="12"/>
                      </a:lnTo>
                      <a:lnTo>
                        <a:pt x="0" y="24"/>
                      </a:lnTo>
                      <a:lnTo>
                        <a:pt x="0" y="42"/>
                      </a:lnTo>
                      <a:lnTo>
                        <a:pt x="6" y="54"/>
                      </a:lnTo>
                      <a:lnTo>
                        <a:pt x="6" y="60"/>
                      </a:lnTo>
                      <a:lnTo>
                        <a:pt x="12" y="66"/>
                      </a:lnTo>
                      <a:lnTo>
                        <a:pt x="24" y="84"/>
                      </a:lnTo>
                      <a:lnTo>
                        <a:pt x="36" y="78"/>
                      </a:lnTo>
                      <a:lnTo>
                        <a:pt x="36" y="66"/>
                      </a:lnTo>
                      <a:lnTo>
                        <a:pt x="48" y="66"/>
                      </a:lnTo>
                      <a:lnTo>
                        <a:pt x="54" y="72"/>
                      </a:lnTo>
                      <a:lnTo>
                        <a:pt x="54" y="78"/>
                      </a:lnTo>
                      <a:lnTo>
                        <a:pt x="48" y="84"/>
                      </a:lnTo>
                      <a:lnTo>
                        <a:pt x="30" y="96"/>
                      </a:lnTo>
                      <a:lnTo>
                        <a:pt x="30" y="108"/>
                      </a:lnTo>
                      <a:lnTo>
                        <a:pt x="36" y="114"/>
                      </a:lnTo>
                      <a:lnTo>
                        <a:pt x="30" y="120"/>
                      </a:lnTo>
                      <a:lnTo>
                        <a:pt x="30" y="126"/>
                      </a:lnTo>
                      <a:lnTo>
                        <a:pt x="36" y="138"/>
                      </a:lnTo>
                      <a:lnTo>
                        <a:pt x="42" y="144"/>
                      </a:lnTo>
                      <a:lnTo>
                        <a:pt x="54" y="162"/>
                      </a:lnTo>
                      <a:lnTo>
                        <a:pt x="60" y="156"/>
                      </a:lnTo>
                      <a:lnTo>
                        <a:pt x="66" y="126"/>
                      </a:lnTo>
                      <a:lnTo>
                        <a:pt x="72" y="114"/>
                      </a:lnTo>
                      <a:lnTo>
                        <a:pt x="72" y="96"/>
                      </a:lnTo>
                      <a:lnTo>
                        <a:pt x="78" y="72"/>
                      </a:lnTo>
                      <a:lnTo>
                        <a:pt x="84" y="60"/>
                      </a:lnTo>
                      <a:lnTo>
                        <a:pt x="84" y="54"/>
                      </a:lnTo>
                      <a:lnTo>
                        <a:pt x="84" y="48"/>
                      </a:lnTo>
                      <a:lnTo>
                        <a:pt x="78" y="30"/>
                      </a:lnTo>
                      <a:lnTo>
                        <a:pt x="78" y="12"/>
                      </a:lnTo>
                      <a:lnTo>
                        <a:pt x="54" y="0"/>
                      </a:lnTo>
                      <a:lnTo>
                        <a:pt x="48" y="0"/>
                      </a:lnTo>
                      <a:lnTo>
                        <a:pt x="48" y="6"/>
                      </a:lnTo>
                      <a:lnTo>
                        <a:pt x="48" y="12"/>
                      </a:lnTo>
                      <a:lnTo>
                        <a:pt x="42" y="18"/>
                      </a:lnTo>
                      <a:lnTo>
                        <a:pt x="36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918" name="Freeform 49"/>
                <p:cNvSpPr>
                  <a:spLocks/>
                </p:cNvSpPr>
                <p:nvPr/>
              </p:nvSpPr>
              <p:spPr bwMode="auto">
                <a:xfrm>
                  <a:off x="1422" y="240"/>
                  <a:ext cx="84" cy="162"/>
                </a:xfrm>
                <a:custGeom>
                  <a:avLst/>
                  <a:gdLst>
                    <a:gd name="T0" fmla="*/ 36 w 84"/>
                    <a:gd name="T1" fmla="*/ 12 h 162"/>
                    <a:gd name="T2" fmla="*/ 30 w 84"/>
                    <a:gd name="T3" fmla="*/ 12 h 162"/>
                    <a:gd name="T4" fmla="*/ 30 w 84"/>
                    <a:gd name="T5" fmla="*/ 18 h 162"/>
                    <a:gd name="T6" fmla="*/ 24 w 84"/>
                    <a:gd name="T7" fmla="*/ 24 h 162"/>
                    <a:gd name="T8" fmla="*/ 18 w 84"/>
                    <a:gd name="T9" fmla="*/ 24 h 162"/>
                    <a:gd name="T10" fmla="*/ 18 w 84"/>
                    <a:gd name="T11" fmla="*/ 12 h 162"/>
                    <a:gd name="T12" fmla="*/ 12 w 84"/>
                    <a:gd name="T13" fmla="*/ 12 h 162"/>
                    <a:gd name="T14" fmla="*/ 6 w 84"/>
                    <a:gd name="T15" fmla="*/ 12 h 162"/>
                    <a:gd name="T16" fmla="*/ 0 w 84"/>
                    <a:gd name="T17" fmla="*/ 24 h 162"/>
                    <a:gd name="T18" fmla="*/ 0 w 84"/>
                    <a:gd name="T19" fmla="*/ 42 h 162"/>
                    <a:gd name="T20" fmla="*/ 6 w 84"/>
                    <a:gd name="T21" fmla="*/ 54 h 162"/>
                    <a:gd name="T22" fmla="*/ 6 w 84"/>
                    <a:gd name="T23" fmla="*/ 60 h 162"/>
                    <a:gd name="T24" fmla="*/ 12 w 84"/>
                    <a:gd name="T25" fmla="*/ 66 h 162"/>
                    <a:gd name="T26" fmla="*/ 24 w 84"/>
                    <a:gd name="T27" fmla="*/ 84 h 162"/>
                    <a:gd name="T28" fmla="*/ 36 w 84"/>
                    <a:gd name="T29" fmla="*/ 78 h 162"/>
                    <a:gd name="T30" fmla="*/ 36 w 84"/>
                    <a:gd name="T31" fmla="*/ 66 h 162"/>
                    <a:gd name="T32" fmla="*/ 48 w 84"/>
                    <a:gd name="T33" fmla="*/ 66 h 162"/>
                    <a:gd name="T34" fmla="*/ 54 w 84"/>
                    <a:gd name="T35" fmla="*/ 72 h 162"/>
                    <a:gd name="T36" fmla="*/ 54 w 84"/>
                    <a:gd name="T37" fmla="*/ 78 h 162"/>
                    <a:gd name="T38" fmla="*/ 48 w 84"/>
                    <a:gd name="T39" fmla="*/ 84 h 162"/>
                    <a:gd name="T40" fmla="*/ 30 w 84"/>
                    <a:gd name="T41" fmla="*/ 96 h 162"/>
                    <a:gd name="T42" fmla="*/ 30 w 84"/>
                    <a:gd name="T43" fmla="*/ 108 h 162"/>
                    <a:gd name="T44" fmla="*/ 36 w 84"/>
                    <a:gd name="T45" fmla="*/ 114 h 162"/>
                    <a:gd name="T46" fmla="*/ 30 w 84"/>
                    <a:gd name="T47" fmla="*/ 120 h 162"/>
                    <a:gd name="T48" fmla="*/ 30 w 84"/>
                    <a:gd name="T49" fmla="*/ 126 h 162"/>
                    <a:gd name="T50" fmla="*/ 36 w 84"/>
                    <a:gd name="T51" fmla="*/ 138 h 162"/>
                    <a:gd name="T52" fmla="*/ 42 w 84"/>
                    <a:gd name="T53" fmla="*/ 144 h 162"/>
                    <a:gd name="T54" fmla="*/ 54 w 84"/>
                    <a:gd name="T55" fmla="*/ 162 h 162"/>
                    <a:gd name="T56" fmla="*/ 60 w 84"/>
                    <a:gd name="T57" fmla="*/ 156 h 162"/>
                    <a:gd name="T58" fmla="*/ 66 w 84"/>
                    <a:gd name="T59" fmla="*/ 126 h 162"/>
                    <a:gd name="T60" fmla="*/ 72 w 84"/>
                    <a:gd name="T61" fmla="*/ 114 h 162"/>
                    <a:gd name="T62" fmla="*/ 72 w 84"/>
                    <a:gd name="T63" fmla="*/ 96 h 162"/>
                    <a:gd name="T64" fmla="*/ 78 w 84"/>
                    <a:gd name="T65" fmla="*/ 72 h 162"/>
                    <a:gd name="T66" fmla="*/ 84 w 84"/>
                    <a:gd name="T67" fmla="*/ 60 h 162"/>
                    <a:gd name="T68" fmla="*/ 84 w 84"/>
                    <a:gd name="T69" fmla="*/ 54 h 162"/>
                    <a:gd name="T70" fmla="*/ 84 w 84"/>
                    <a:gd name="T71" fmla="*/ 48 h 162"/>
                    <a:gd name="T72" fmla="*/ 78 w 84"/>
                    <a:gd name="T73" fmla="*/ 30 h 162"/>
                    <a:gd name="T74" fmla="*/ 78 w 84"/>
                    <a:gd name="T75" fmla="*/ 12 h 162"/>
                    <a:gd name="T76" fmla="*/ 54 w 84"/>
                    <a:gd name="T77" fmla="*/ 0 h 162"/>
                    <a:gd name="T78" fmla="*/ 48 w 84"/>
                    <a:gd name="T79" fmla="*/ 0 h 162"/>
                    <a:gd name="T80" fmla="*/ 48 w 84"/>
                    <a:gd name="T81" fmla="*/ 6 h 162"/>
                    <a:gd name="T82" fmla="*/ 48 w 84"/>
                    <a:gd name="T83" fmla="*/ 12 h 162"/>
                    <a:gd name="T84" fmla="*/ 42 w 84"/>
                    <a:gd name="T85" fmla="*/ 18 h 162"/>
                    <a:gd name="T86" fmla="*/ 36 w 84"/>
                    <a:gd name="T87" fmla="*/ 12 h 162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84" h="162">
                      <a:moveTo>
                        <a:pt x="36" y="12"/>
                      </a:moveTo>
                      <a:lnTo>
                        <a:pt x="30" y="12"/>
                      </a:lnTo>
                      <a:lnTo>
                        <a:pt x="30" y="18"/>
                      </a:lnTo>
                      <a:lnTo>
                        <a:pt x="24" y="24"/>
                      </a:lnTo>
                      <a:lnTo>
                        <a:pt x="18" y="24"/>
                      </a:lnTo>
                      <a:lnTo>
                        <a:pt x="18" y="12"/>
                      </a:lnTo>
                      <a:lnTo>
                        <a:pt x="12" y="12"/>
                      </a:lnTo>
                      <a:lnTo>
                        <a:pt x="6" y="12"/>
                      </a:lnTo>
                      <a:lnTo>
                        <a:pt x="0" y="24"/>
                      </a:lnTo>
                      <a:lnTo>
                        <a:pt x="0" y="42"/>
                      </a:lnTo>
                      <a:lnTo>
                        <a:pt x="6" y="54"/>
                      </a:lnTo>
                      <a:lnTo>
                        <a:pt x="6" y="60"/>
                      </a:lnTo>
                      <a:lnTo>
                        <a:pt x="12" y="66"/>
                      </a:lnTo>
                      <a:lnTo>
                        <a:pt x="24" y="84"/>
                      </a:lnTo>
                      <a:lnTo>
                        <a:pt x="36" y="78"/>
                      </a:lnTo>
                      <a:lnTo>
                        <a:pt x="36" y="66"/>
                      </a:lnTo>
                      <a:lnTo>
                        <a:pt x="48" y="66"/>
                      </a:lnTo>
                      <a:lnTo>
                        <a:pt x="54" y="72"/>
                      </a:lnTo>
                      <a:lnTo>
                        <a:pt x="54" y="78"/>
                      </a:lnTo>
                      <a:lnTo>
                        <a:pt x="48" y="84"/>
                      </a:lnTo>
                      <a:lnTo>
                        <a:pt x="30" y="96"/>
                      </a:lnTo>
                      <a:lnTo>
                        <a:pt x="30" y="108"/>
                      </a:lnTo>
                      <a:lnTo>
                        <a:pt x="36" y="114"/>
                      </a:lnTo>
                      <a:lnTo>
                        <a:pt x="30" y="120"/>
                      </a:lnTo>
                      <a:lnTo>
                        <a:pt x="30" y="126"/>
                      </a:lnTo>
                      <a:lnTo>
                        <a:pt x="36" y="138"/>
                      </a:lnTo>
                      <a:lnTo>
                        <a:pt x="42" y="144"/>
                      </a:lnTo>
                      <a:lnTo>
                        <a:pt x="54" y="162"/>
                      </a:lnTo>
                      <a:lnTo>
                        <a:pt x="60" y="156"/>
                      </a:lnTo>
                      <a:lnTo>
                        <a:pt x="66" y="126"/>
                      </a:lnTo>
                      <a:lnTo>
                        <a:pt x="72" y="114"/>
                      </a:lnTo>
                      <a:lnTo>
                        <a:pt x="72" y="96"/>
                      </a:lnTo>
                      <a:lnTo>
                        <a:pt x="78" y="72"/>
                      </a:lnTo>
                      <a:lnTo>
                        <a:pt x="84" y="60"/>
                      </a:lnTo>
                      <a:lnTo>
                        <a:pt x="84" y="54"/>
                      </a:lnTo>
                      <a:lnTo>
                        <a:pt x="84" y="48"/>
                      </a:lnTo>
                      <a:lnTo>
                        <a:pt x="78" y="30"/>
                      </a:lnTo>
                      <a:lnTo>
                        <a:pt x="78" y="12"/>
                      </a:lnTo>
                      <a:lnTo>
                        <a:pt x="54" y="0"/>
                      </a:lnTo>
                      <a:lnTo>
                        <a:pt x="48" y="0"/>
                      </a:lnTo>
                      <a:lnTo>
                        <a:pt x="48" y="6"/>
                      </a:lnTo>
                      <a:lnTo>
                        <a:pt x="48" y="12"/>
                      </a:lnTo>
                      <a:lnTo>
                        <a:pt x="42" y="18"/>
                      </a:lnTo>
                      <a:lnTo>
                        <a:pt x="36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905" name="Group 50"/>
              <p:cNvGrpSpPr>
                <a:grpSpLocks/>
              </p:cNvGrpSpPr>
              <p:nvPr/>
            </p:nvGrpSpPr>
            <p:grpSpPr bwMode="auto">
              <a:xfrm>
                <a:off x="1488" y="204"/>
                <a:ext cx="96" cy="72"/>
                <a:chOff x="1488" y="204"/>
                <a:chExt cx="96" cy="72"/>
              </a:xfrm>
              <a:grpFill/>
            </p:grpSpPr>
            <p:sp>
              <p:nvSpPr>
                <p:cNvPr id="1915" name="Freeform 51"/>
                <p:cNvSpPr>
                  <a:spLocks/>
                </p:cNvSpPr>
                <p:nvPr/>
              </p:nvSpPr>
              <p:spPr bwMode="auto">
                <a:xfrm>
                  <a:off x="1488" y="204"/>
                  <a:ext cx="96" cy="72"/>
                </a:xfrm>
                <a:custGeom>
                  <a:avLst/>
                  <a:gdLst>
                    <a:gd name="T0" fmla="*/ 18 w 96"/>
                    <a:gd name="T1" fmla="*/ 0 h 72"/>
                    <a:gd name="T2" fmla="*/ 12 w 96"/>
                    <a:gd name="T3" fmla="*/ 18 h 72"/>
                    <a:gd name="T4" fmla="*/ 0 w 96"/>
                    <a:gd name="T5" fmla="*/ 24 h 72"/>
                    <a:gd name="T6" fmla="*/ 6 w 96"/>
                    <a:gd name="T7" fmla="*/ 30 h 72"/>
                    <a:gd name="T8" fmla="*/ 12 w 96"/>
                    <a:gd name="T9" fmla="*/ 42 h 72"/>
                    <a:gd name="T10" fmla="*/ 24 w 96"/>
                    <a:gd name="T11" fmla="*/ 42 h 72"/>
                    <a:gd name="T12" fmla="*/ 24 w 96"/>
                    <a:gd name="T13" fmla="*/ 48 h 72"/>
                    <a:gd name="T14" fmla="*/ 24 w 96"/>
                    <a:gd name="T15" fmla="*/ 54 h 72"/>
                    <a:gd name="T16" fmla="*/ 24 w 96"/>
                    <a:gd name="T17" fmla="*/ 54 h 72"/>
                    <a:gd name="T18" fmla="*/ 24 w 96"/>
                    <a:gd name="T19" fmla="*/ 60 h 72"/>
                    <a:gd name="T20" fmla="*/ 24 w 96"/>
                    <a:gd name="T21" fmla="*/ 66 h 72"/>
                    <a:gd name="T22" fmla="*/ 30 w 96"/>
                    <a:gd name="T23" fmla="*/ 66 h 72"/>
                    <a:gd name="T24" fmla="*/ 30 w 96"/>
                    <a:gd name="T25" fmla="*/ 72 h 72"/>
                    <a:gd name="T26" fmla="*/ 48 w 96"/>
                    <a:gd name="T27" fmla="*/ 66 h 72"/>
                    <a:gd name="T28" fmla="*/ 54 w 96"/>
                    <a:gd name="T29" fmla="*/ 72 h 72"/>
                    <a:gd name="T30" fmla="*/ 60 w 96"/>
                    <a:gd name="T31" fmla="*/ 72 h 72"/>
                    <a:gd name="T32" fmla="*/ 96 w 96"/>
                    <a:gd name="T33" fmla="*/ 36 h 72"/>
                    <a:gd name="T34" fmla="*/ 90 w 96"/>
                    <a:gd name="T35" fmla="*/ 24 h 72"/>
                    <a:gd name="T36" fmla="*/ 72 w 96"/>
                    <a:gd name="T37" fmla="*/ 18 h 72"/>
                    <a:gd name="T38" fmla="*/ 42 w 96"/>
                    <a:gd name="T39" fmla="*/ 0 h 72"/>
                    <a:gd name="T40" fmla="*/ 42 w 96"/>
                    <a:gd name="T41" fmla="*/ 12 h 72"/>
                    <a:gd name="T42" fmla="*/ 30 w 96"/>
                    <a:gd name="T43" fmla="*/ 12 h 72"/>
                    <a:gd name="T44" fmla="*/ 18 w 96"/>
                    <a:gd name="T45" fmla="*/ 0 h 72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96" h="72">
                      <a:moveTo>
                        <a:pt x="18" y="0"/>
                      </a:moveTo>
                      <a:lnTo>
                        <a:pt x="12" y="18"/>
                      </a:lnTo>
                      <a:lnTo>
                        <a:pt x="0" y="24"/>
                      </a:lnTo>
                      <a:lnTo>
                        <a:pt x="6" y="30"/>
                      </a:lnTo>
                      <a:lnTo>
                        <a:pt x="12" y="42"/>
                      </a:lnTo>
                      <a:lnTo>
                        <a:pt x="24" y="42"/>
                      </a:lnTo>
                      <a:lnTo>
                        <a:pt x="24" y="48"/>
                      </a:lnTo>
                      <a:lnTo>
                        <a:pt x="24" y="54"/>
                      </a:lnTo>
                      <a:lnTo>
                        <a:pt x="24" y="60"/>
                      </a:lnTo>
                      <a:lnTo>
                        <a:pt x="24" y="66"/>
                      </a:lnTo>
                      <a:lnTo>
                        <a:pt x="30" y="66"/>
                      </a:lnTo>
                      <a:lnTo>
                        <a:pt x="30" y="72"/>
                      </a:lnTo>
                      <a:lnTo>
                        <a:pt x="48" y="66"/>
                      </a:lnTo>
                      <a:lnTo>
                        <a:pt x="54" y="72"/>
                      </a:lnTo>
                      <a:lnTo>
                        <a:pt x="60" y="72"/>
                      </a:lnTo>
                      <a:lnTo>
                        <a:pt x="96" y="36"/>
                      </a:lnTo>
                      <a:lnTo>
                        <a:pt x="90" y="24"/>
                      </a:lnTo>
                      <a:lnTo>
                        <a:pt x="72" y="18"/>
                      </a:lnTo>
                      <a:lnTo>
                        <a:pt x="42" y="0"/>
                      </a:lnTo>
                      <a:lnTo>
                        <a:pt x="42" y="12"/>
                      </a:lnTo>
                      <a:lnTo>
                        <a:pt x="30" y="12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916" name="Freeform 52"/>
                <p:cNvSpPr>
                  <a:spLocks/>
                </p:cNvSpPr>
                <p:nvPr/>
              </p:nvSpPr>
              <p:spPr bwMode="auto">
                <a:xfrm>
                  <a:off x="1488" y="204"/>
                  <a:ext cx="96" cy="72"/>
                </a:xfrm>
                <a:custGeom>
                  <a:avLst/>
                  <a:gdLst>
                    <a:gd name="T0" fmla="*/ 18 w 96"/>
                    <a:gd name="T1" fmla="*/ 0 h 72"/>
                    <a:gd name="T2" fmla="*/ 12 w 96"/>
                    <a:gd name="T3" fmla="*/ 18 h 72"/>
                    <a:gd name="T4" fmla="*/ 0 w 96"/>
                    <a:gd name="T5" fmla="*/ 24 h 72"/>
                    <a:gd name="T6" fmla="*/ 6 w 96"/>
                    <a:gd name="T7" fmla="*/ 30 h 72"/>
                    <a:gd name="T8" fmla="*/ 12 w 96"/>
                    <a:gd name="T9" fmla="*/ 42 h 72"/>
                    <a:gd name="T10" fmla="*/ 24 w 96"/>
                    <a:gd name="T11" fmla="*/ 42 h 72"/>
                    <a:gd name="T12" fmla="*/ 24 w 96"/>
                    <a:gd name="T13" fmla="*/ 48 h 72"/>
                    <a:gd name="T14" fmla="*/ 24 w 96"/>
                    <a:gd name="T15" fmla="*/ 54 h 72"/>
                    <a:gd name="T16" fmla="*/ 24 w 96"/>
                    <a:gd name="T17" fmla="*/ 60 h 72"/>
                    <a:gd name="T18" fmla="*/ 24 w 96"/>
                    <a:gd name="T19" fmla="*/ 66 h 72"/>
                    <a:gd name="T20" fmla="*/ 30 w 96"/>
                    <a:gd name="T21" fmla="*/ 66 h 72"/>
                    <a:gd name="T22" fmla="*/ 30 w 96"/>
                    <a:gd name="T23" fmla="*/ 72 h 72"/>
                    <a:gd name="T24" fmla="*/ 48 w 96"/>
                    <a:gd name="T25" fmla="*/ 66 h 72"/>
                    <a:gd name="T26" fmla="*/ 54 w 96"/>
                    <a:gd name="T27" fmla="*/ 72 h 72"/>
                    <a:gd name="T28" fmla="*/ 60 w 96"/>
                    <a:gd name="T29" fmla="*/ 72 h 72"/>
                    <a:gd name="T30" fmla="*/ 96 w 96"/>
                    <a:gd name="T31" fmla="*/ 36 h 72"/>
                    <a:gd name="T32" fmla="*/ 90 w 96"/>
                    <a:gd name="T33" fmla="*/ 24 h 72"/>
                    <a:gd name="T34" fmla="*/ 72 w 96"/>
                    <a:gd name="T35" fmla="*/ 18 h 72"/>
                    <a:gd name="T36" fmla="*/ 42 w 96"/>
                    <a:gd name="T37" fmla="*/ 0 h 72"/>
                    <a:gd name="T38" fmla="*/ 42 w 96"/>
                    <a:gd name="T39" fmla="*/ 12 h 72"/>
                    <a:gd name="T40" fmla="*/ 30 w 96"/>
                    <a:gd name="T41" fmla="*/ 12 h 72"/>
                    <a:gd name="T42" fmla="*/ 18 w 96"/>
                    <a:gd name="T43" fmla="*/ 0 h 7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96" h="72">
                      <a:moveTo>
                        <a:pt x="18" y="0"/>
                      </a:moveTo>
                      <a:lnTo>
                        <a:pt x="12" y="18"/>
                      </a:lnTo>
                      <a:lnTo>
                        <a:pt x="0" y="24"/>
                      </a:lnTo>
                      <a:lnTo>
                        <a:pt x="6" y="30"/>
                      </a:lnTo>
                      <a:lnTo>
                        <a:pt x="12" y="42"/>
                      </a:lnTo>
                      <a:lnTo>
                        <a:pt x="24" y="42"/>
                      </a:lnTo>
                      <a:lnTo>
                        <a:pt x="24" y="48"/>
                      </a:lnTo>
                      <a:lnTo>
                        <a:pt x="24" y="54"/>
                      </a:lnTo>
                      <a:lnTo>
                        <a:pt x="24" y="60"/>
                      </a:lnTo>
                      <a:lnTo>
                        <a:pt x="24" y="66"/>
                      </a:lnTo>
                      <a:lnTo>
                        <a:pt x="30" y="66"/>
                      </a:lnTo>
                      <a:lnTo>
                        <a:pt x="30" y="72"/>
                      </a:lnTo>
                      <a:lnTo>
                        <a:pt x="48" y="66"/>
                      </a:lnTo>
                      <a:lnTo>
                        <a:pt x="54" y="72"/>
                      </a:lnTo>
                      <a:lnTo>
                        <a:pt x="60" y="72"/>
                      </a:lnTo>
                      <a:lnTo>
                        <a:pt x="96" y="36"/>
                      </a:lnTo>
                      <a:lnTo>
                        <a:pt x="90" y="24"/>
                      </a:lnTo>
                      <a:lnTo>
                        <a:pt x="72" y="18"/>
                      </a:lnTo>
                      <a:lnTo>
                        <a:pt x="42" y="0"/>
                      </a:lnTo>
                      <a:lnTo>
                        <a:pt x="42" y="12"/>
                      </a:lnTo>
                      <a:lnTo>
                        <a:pt x="30" y="12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906" name="Group 53"/>
              <p:cNvGrpSpPr>
                <a:grpSpLocks/>
              </p:cNvGrpSpPr>
              <p:nvPr/>
            </p:nvGrpSpPr>
            <p:grpSpPr bwMode="auto">
              <a:xfrm>
                <a:off x="1512" y="330"/>
                <a:ext cx="36" cy="36"/>
                <a:chOff x="1512" y="330"/>
                <a:chExt cx="36" cy="36"/>
              </a:xfrm>
              <a:grpFill/>
            </p:grpSpPr>
            <p:sp>
              <p:nvSpPr>
                <p:cNvPr id="1913" name="Freeform 54"/>
                <p:cNvSpPr>
                  <a:spLocks/>
                </p:cNvSpPr>
                <p:nvPr/>
              </p:nvSpPr>
              <p:spPr bwMode="auto">
                <a:xfrm>
                  <a:off x="1512" y="330"/>
                  <a:ext cx="36" cy="36"/>
                </a:xfrm>
                <a:custGeom>
                  <a:avLst/>
                  <a:gdLst>
                    <a:gd name="T0" fmla="*/ 18 w 36"/>
                    <a:gd name="T1" fmla="*/ 6 h 36"/>
                    <a:gd name="T2" fmla="*/ 18 w 36"/>
                    <a:gd name="T3" fmla="*/ 0 h 36"/>
                    <a:gd name="T4" fmla="*/ 12 w 36"/>
                    <a:gd name="T5" fmla="*/ 0 h 36"/>
                    <a:gd name="T6" fmla="*/ 12 w 36"/>
                    <a:gd name="T7" fmla="*/ 0 h 36"/>
                    <a:gd name="T8" fmla="*/ 6 w 36"/>
                    <a:gd name="T9" fmla="*/ 0 h 36"/>
                    <a:gd name="T10" fmla="*/ 0 w 36"/>
                    <a:gd name="T11" fmla="*/ 12 h 36"/>
                    <a:gd name="T12" fmla="*/ 0 w 36"/>
                    <a:gd name="T13" fmla="*/ 18 h 36"/>
                    <a:gd name="T14" fmla="*/ 6 w 36"/>
                    <a:gd name="T15" fmla="*/ 18 h 36"/>
                    <a:gd name="T16" fmla="*/ 18 w 36"/>
                    <a:gd name="T17" fmla="*/ 36 h 36"/>
                    <a:gd name="T18" fmla="*/ 30 w 36"/>
                    <a:gd name="T19" fmla="*/ 30 h 36"/>
                    <a:gd name="T20" fmla="*/ 36 w 36"/>
                    <a:gd name="T21" fmla="*/ 24 h 36"/>
                    <a:gd name="T22" fmla="*/ 36 w 36"/>
                    <a:gd name="T23" fmla="*/ 18 h 36"/>
                    <a:gd name="T24" fmla="*/ 18 w 36"/>
                    <a:gd name="T25" fmla="*/ 6 h 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6" h="36">
                      <a:moveTo>
                        <a:pt x="18" y="6"/>
                      </a:moveTo>
                      <a:lnTo>
                        <a:pt x="18" y="0"/>
                      </a:lnTo>
                      <a:lnTo>
                        <a:pt x="12" y="0"/>
                      </a:lnTo>
                      <a:lnTo>
                        <a:pt x="6" y="0"/>
                      </a:lnTo>
                      <a:lnTo>
                        <a:pt x="0" y="12"/>
                      </a:lnTo>
                      <a:lnTo>
                        <a:pt x="0" y="18"/>
                      </a:lnTo>
                      <a:lnTo>
                        <a:pt x="6" y="18"/>
                      </a:lnTo>
                      <a:lnTo>
                        <a:pt x="18" y="36"/>
                      </a:lnTo>
                      <a:lnTo>
                        <a:pt x="30" y="30"/>
                      </a:lnTo>
                      <a:lnTo>
                        <a:pt x="36" y="24"/>
                      </a:lnTo>
                      <a:lnTo>
                        <a:pt x="36" y="18"/>
                      </a:lnTo>
                      <a:lnTo>
                        <a:pt x="18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914" name="Freeform 55"/>
                <p:cNvSpPr>
                  <a:spLocks/>
                </p:cNvSpPr>
                <p:nvPr/>
              </p:nvSpPr>
              <p:spPr bwMode="auto">
                <a:xfrm>
                  <a:off x="1512" y="330"/>
                  <a:ext cx="36" cy="36"/>
                </a:xfrm>
                <a:custGeom>
                  <a:avLst/>
                  <a:gdLst>
                    <a:gd name="T0" fmla="*/ 18 w 36"/>
                    <a:gd name="T1" fmla="*/ 6 h 36"/>
                    <a:gd name="T2" fmla="*/ 18 w 36"/>
                    <a:gd name="T3" fmla="*/ 0 h 36"/>
                    <a:gd name="T4" fmla="*/ 12 w 36"/>
                    <a:gd name="T5" fmla="*/ 0 h 36"/>
                    <a:gd name="T6" fmla="*/ 6 w 36"/>
                    <a:gd name="T7" fmla="*/ 0 h 36"/>
                    <a:gd name="T8" fmla="*/ 0 w 36"/>
                    <a:gd name="T9" fmla="*/ 12 h 36"/>
                    <a:gd name="T10" fmla="*/ 0 w 36"/>
                    <a:gd name="T11" fmla="*/ 18 h 36"/>
                    <a:gd name="T12" fmla="*/ 6 w 36"/>
                    <a:gd name="T13" fmla="*/ 18 h 36"/>
                    <a:gd name="T14" fmla="*/ 18 w 36"/>
                    <a:gd name="T15" fmla="*/ 36 h 36"/>
                    <a:gd name="T16" fmla="*/ 30 w 36"/>
                    <a:gd name="T17" fmla="*/ 30 h 36"/>
                    <a:gd name="T18" fmla="*/ 36 w 36"/>
                    <a:gd name="T19" fmla="*/ 24 h 36"/>
                    <a:gd name="T20" fmla="*/ 36 w 36"/>
                    <a:gd name="T21" fmla="*/ 18 h 36"/>
                    <a:gd name="T22" fmla="*/ 18 w 36"/>
                    <a:gd name="T23" fmla="*/ 6 h 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36" h="36">
                      <a:moveTo>
                        <a:pt x="18" y="6"/>
                      </a:moveTo>
                      <a:lnTo>
                        <a:pt x="18" y="0"/>
                      </a:lnTo>
                      <a:lnTo>
                        <a:pt x="12" y="0"/>
                      </a:lnTo>
                      <a:lnTo>
                        <a:pt x="6" y="0"/>
                      </a:lnTo>
                      <a:lnTo>
                        <a:pt x="0" y="12"/>
                      </a:lnTo>
                      <a:lnTo>
                        <a:pt x="0" y="18"/>
                      </a:lnTo>
                      <a:lnTo>
                        <a:pt x="6" y="18"/>
                      </a:lnTo>
                      <a:lnTo>
                        <a:pt x="18" y="36"/>
                      </a:lnTo>
                      <a:lnTo>
                        <a:pt x="30" y="30"/>
                      </a:lnTo>
                      <a:lnTo>
                        <a:pt x="36" y="24"/>
                      </a:lnTo>
                      <a:lnTo>
                        <a:pt x="36" y="18"/>
                      </a:lnTo>
                      <a:lnTo>
                        <a:pt x="18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907" name="Group 56"/>
              <p:cNvGrpSpPr>
                <a:grpSpLocks/>
              </p:cNvGrpSpPr>
              <p:nvPr/>
            </p:nvGrpSpPr>
            <p:grpSpPr bwMode="auto">
              <a:xfrm>
                <a:off x="1410" y="294"/>
                <a:ext cx="30" cy="36"/>
                <a:chOff x="1410" y="294"/>
                <a:chExt cx="30" cy="36"/>
              </a:xfrm>
              <a:grpFill/>
            </p:grpSpPr>
            <p:sp>
              <p:nvSpPr>
                <p:cNvPr id="1911" name="Freeform 57"/>
                <p:cNvSpPr>
                  <a:spLocks/>
                </p:cNvSpPr>
                <p:nvPr/>
              </p:nvSpPr>
              <p:spPr bwMode="auto">
                <a:xfrm>
                  <a:off x="1410" y="294"/>
                  <a:ext cx="30" cy="36"/>
                </a:xfrm>
                <a:custGeom>
                  <a:avLst/>
                  <a:gdLst>
                    <a:gd name="T0" fmla="*/ 0 w 30"/>
                    <a:gd name="T1" fmla="*/ 0 h 36"/>
                    <a:gd name="T2" fmla="*/ 6 w 30"/>
                    <a:gd name="T3" fmla="*/ 6 h 36"/>
                    <a:gd name="T4" fmla="*/ 12 w 30"/>
                    <a:gd name="T5" fmla="*/ 18 h 36"/>
                    <a:gd name="T6" fmla="*/ 18 w 30"/>
                    <a:gd name="T7" fmla="*/ 30 h 36"/>
                    <a:gd name="T8" fmla="*/ 30 w 30"/>
                    <a:gd name="T9" fmla="*/ 36 h 36"/>
                    <a:gd name="T10" fmla="*/ 30 w 30"/>
                    <a:gd name="T11" fmla="*/ 30 h 36"/>
                    <a:gd name="T12" fmla="*/ 30 w 30"/>
                    <a:gd name="T13" fmla="*/ 24 h 36"/>
                    <a:gd name="T14" fmla="*/ 24 w 30"/>
                    <a:gd name="T15" fmla="*/ 18 h 36"/>
                    <a:gd name="T16" fmla="*/ 18 w 30"/>
                    <a:gd name="T17" fmla="*/ 18 h 36"/>
                    <a:gd name="T18" fmla="*/ 6 w 30"/>
                    <a:gd name="T19" fmla="*/ 6 h 36"/>
                    <a:gd name="T20" fmla="*/ 0 w 30"/>
                    <a:gd name="T21" fmla="*/ 0 h 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30" h="36">
                      <a:moveTo>
                        <a:pt x="0" y="0"/>
                      </a:moveTo>
                      <a:lnTo>
                        <a:pt x="6" y="6"/>
                      </a:lnTo>
                      <a:lnTo>
                        <a:pt x="12" y="18"/>
                      </a:lnTo>
                      <a:lnTo>
                        <a:pt x="18" y="30"/>
                      </a:lnTo>
                      <a:lnTo>
                        <a:pt x="30" y="36"/>
                      </a:lnTo>
                      <a:lnTo>
                        <a:pt x="30" y="30"/>
                      </a:lnTo>
                      <a:lnTo>
                        <a:pt x="30" y="24"/>
                      </a:lnTo>
                      <a:lnTo>
                        <a:pt x="24" y="18"/>
                      </a:lnTo>
                      <a:lnTo>
                        <a:pt x="18" y="18"/>
                      </a:lnTo>
                      <a:lnTo>
                        <a:pt x="6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912" name="Freeform 58"/>
                <p:cNvSpPr>
                  <a:spLocks/>
                </p:cNvSpPr>
                <p:nvPr/>
              </p:nvSpPr>
              <p:spPr bwMode="auto">
                <a:xfrm>
                  <a:off x="1410" y="294"/>
                  <a:ext cx="30" cy="36"/>
                </a:xfrm>
                <a:custGeom>
                  <a:avLst/>
                  <a:gdLst>
                    <a:gd name="T0" fmla="*/ 0 w 30"/>
                    <a:gd name="T1" fmla="*/ 0 h 36"/>
                    <a:gd name="T2" fmla="*/ 6 w 30"/>
                    <a:gd name="T3" fmla="*/ 6 h 36"/>
                    <a:gd name="T4" fmla="*/ 12 w 30"/>
                    <a:gd name="T5" fmla="*/ 18 h 36"/>
                    <a:gd name="T6" fmla="*/ 18 w 30"/>
                    <a:gd name="T7" fmla="*/ 30 h 36"/>
                    <a:gd name="T8" fmla="*/ 30 w 30"/>
                    <a:gd name="T9" fmla="*/ 36 h 36"/>
                    <a:gd name="T10" fmla="*/ 30 w 30"/>
                    <a:gd name="T11" fmla="*/ 30 h 36"/>
                    <a:gd name="T12" fmla="*/ 30 w 30"/>
                    <a:gd name="T13" fmla="*/ 24 h 36"/>
                    <a:gd name="T14" fmla="*/ 24 w 30"/>
                    <a:gd name="T15" fmla="*/ 18 h 36"/>
                    <a:gd name="T16" fmla="*/ 18 w 30"/>
                    <a:gd name="T17" fmla="*/ 18 h 36"/>
                    <a:gd name="T18" fmla="*/ 6 w 30"/>
                    <a:gd name="T19" fmla="*/ 6 h 36"/>
                    <a:gd name="T20" fmla="*/ 0 w 30"/>
                    <a:gd name="T21" fmla="*/ 0 h 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30" h="36">
                      <a:moveTo>
                        <a:pt x="0" y="0"/>
                      </a:moveTo>
                      <a:lnTo>
                        <a:pt x="6" y="6"/>
                      </a:lnTo>
                      <a:lnTo>
                        <a:pt x="12" y="18"/>
                      </a:lnTo>
                      <a:lnTo>
                        <a:pt x="18" y="30"/>
                      </a:lnTo>
                      <a:lnTo>
                        <a:pt x="30" y="36"/>
                      </a:lnTo>
                      <a:lnTo>
                        <a:pt x="30" y="30"/>
                      </a:lnTo>
                      <a:lnTo>
                        <a:pt x="30" y="24"/>
                      </a:lnTo>
                      <a:lnTo>
                        <a:pt x="24" y="18"/>
                      </a:lnTo>
                      <a:lnTo>
                        <a:pt x="18" y="18"/>
                      </a:lnTo>
                      <a:lnTo>
                        <a:pt x="6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908" name="Group 59"/>
              <p:cNvGrpSpPr>
                <a:grpSpLocks/>
              </p:cNvGrpSpPr>
              <p:nvPr/>
            </p:nvGrpSpPr>
            <p:grpSpPr bwMode="auto">
              <a:xfrm>
                <a:off x="1512" y="300"/>
                <a:ext cx="24" cy="18"/>
                <a:chOff x="1512" y="300"/>
                <a:chExt cx="24" cy="18"/>
              </a:xfrm>
              <a:grpFill/>
            </p:grpSpPr>
            <p:sp>
              <p:nvSpPr>
                <p:cNvPr id="1909" name="Freeform 60"/>
                <p:cNvSpPr>
                  <a:spLocks/>
                </p:cNvSpPr>
                <p:nvPr/>
              </p:nvSpPr>
              <p:spPr bwMode="auto">
                <a:xfrm>
                  <a:off x="1512" y="300"/>
                  <a:ext cx="24" cy="18"/>
                </a:xfrm>
                <a:custGeom>
                  <a:avLst/>
                  <a:gdLst>
                    <a:gd name="T0" fmla="*/ 12 w 24"/>
                    <a:gd name="T1" fmla="*/ 0 h 18"/>
                    <a:gd name="T2" fmla="*/ 18 w 24"/>
                    <a:gd name="T3" fmla="*/ 6 h 18"/>
                    <a:gd name="T4" fmla="*/ 24 w 24"/>
                    <a:gd name="T5" fmla="*/ 12 h 18"/>
                    <a:gd name="T6" fmla="*/ 18 w 24"/>
                    <a:gd name="T7" fmla="*/ 18 h 18"/>
                    <a:gd name="T8" fmla="*/ 12 w 24"/>
                    <a:gd name="T9" fmla="*/ 18 h 18"/>
                    <a:gd name="T10" fmla="*/ 0 w 24"/>
                    <a:gd name="T11" fmla="*/ 18 h 18"/>
                    <a:gd name="T12" fmla="*/ 0 w 24"/>
                    <a:gd name="T13" fmla="*/ 12 h 18"/>
                    <a:gd name="T14" fmla="*/ 0 w 24"/>
                    <a:gd name="T15" fmla="*/ 12 h 18"/>
                    <a:gd name="T16" fmla="*/ 0 w 24"/>
                    <a:gd name="T17" fmla="*/ 6 h 18"/>
                    <a:gd name="T18" fmla="*/ 0 w 24"/>
                    <a:gd name="T19" fmla="*/ 6 h 18"/>
                    <a:gd name="T20" fmla="*/ 6 w 24"/>
                    <a:gd name="T21" fmla="*/ 0 h 18"/>
                    <a:gd name="T22" fmla="*/ 12 w 24"/>
                    <a:gd name="T23" fmla="*/ 0 h 1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24" h="18">
                      <a:moveTo>
                        <a:pt x="12" y="0"/>
                      </a:moveTo>
                      <a:lnTo>
                        <a:pt x="18" y="6"/>
                      </a:lnTo>
                      <a:lnTo>
                        <a:pt x="24" y="12"/>
                      </a:lnTo>
                      <a:lnTo>
                        <a:pt x="18" y="18"/>
                      </a:lnTo>
                      <a:lnTo>
                        <a:pt x="12" y="18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910" name="Freeform 61"/>
                <p:cNvSpPr>
                  <a:spLocks/>
                </p:cNvSpPr>
                <p:nvPr/>
              </p:nvSpPr>
              <p:spPr bwMode="auto">
                <a:xfrm>
                  <a:off x="1512" y="300"/>
                  <a:ext cx="24" cy="18"/>
                </a:xfrm>
                <a:custGeom>
                  <a:avLst/>
                  <a:gdLst>
                    <a:gd name="T0" fmla="*/ 12 w 24"/>
                    <a:gd name="T1" fmla="*/ 0 h 18"/>
                    <a:gd name="T2" fmla="*/ 18 w 24"/>
                    <a:gd name="T3" fmla="*/ 6 h 18"/>
                    <a:gd name="T4" fmla="*/ 24 w 24"/>
                    <a:gd name="T5" fmla="*/ 12 h 18"/>
                    <a:gd name="T6" fmla="*/ 18 w 24"/>
                    <a:gd name="T7" fmla="*/ 18 h 18"/>
                    <a:gd name="T8" fmla="*/ 12 w 24"/>
                    <a:gd name="T9" fmla="*/ 18 h 18"/>
                    <a:gd name="T10" fmla="*/ 0 w 24"/>
                    <a:gd name="T11" fmla="*/ 18 h 18"/>
                    <a:gd name="T12" fmla="*/ 0 w 24"/>
                    <a:gd name="T13" fmla="*/ 12 h 18"/>
                    <a:gd name="T14" fmla="*/ 0 w 24"/>
                    <a:gd name="T15" fmla="*/ 6 h 18"/>
                    <a:gd name="T16" fmla="*/ 6 w 24"/>
                    <a:gd name="T17" fmla="*/ 0 h 18"/>
                    <a:gd name="T18" fmla="*/ 12 w 24"/>
                    <a:gd name="T19" fmla="*/ 0 h 1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24" h="18">
                      <a:moveTo>
                        <a:pt x="12" y="0"/>
                      </a:moveTo>
                      <a:lnTo>
                        <a:pt x="18" y="6"/>
                      </a:lnTo>
                      <a:lnTo>
                        <a:pt x="24" y="12"/>
                      </a:lnTo>
                      <a:lnTo>
                        <a:pt x="18" y="18"/>
                      </a:lnTo>
                      <a:lnTo>
                        <a:pt x="12" y="18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552" name="Group 62"/>
            <p:cNvGrpSpPr>
              <a:grpSpLocks/>
            </p:cNvGrpSpPr>
            <p:nvPr/>
          </p:nvGrpSpPr>
          <p:grpSpPr bwMode="auto">
            <a:xfrm>
              <a:off x="3829508" y="2280407"/>
              <a:ext cx="11532" cy="30342"/>
              <a:chOff x="2748" y="876"/>
              <a:chExt cx="6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1902" name="Freeform 63"/>
              <p:cNvSpPr>
                <a:spLocks/>
              </p:cNvSpPr>
              <p:nvPr/>
            </p:nvSpPr>
            <p:spPr bwMode="auto">
              <a:xfrm>
                <a:off x="2748" y="876"/>
                <a:ext cx="6" cy="18"/>
              </a:xfrm>
              <a:custGeom>
                <a:avLst/>
                <a:gdLst>
                  <a:gd name="T0" fmla="*/ 6 w 6"/>
                  <a:gd name="T1" fmla="*/ 18 h 18"/>
                  <a:gd name="T2" fmla="*/ 0 w 6"/>
                  <a:gd name="T3" fmla="*/ 12 h 18"/>
                  <a:gd name="T4" fmla="*/ 0 w 6"/>
                  <a:gd name="T5" fmla="*/ 6 h 18"/>
                  <a:gd name="T6" fmla="*/ 0 w 6"/>
                  <a:gd name="T7" fmla="*/ 0 h 18"/>
                  <a:gd name="T8" fmla="*/ 6 w 6"/>
                  <a:gd name="T9" fmla="*/ 0 h 18"/>
                  <a:gd name="T10" fmla="*/ 6 w 6"/>
                  <a:gd name="T11" fmla="*/ 0 h 18"/>
                  <a:gd name="T12" fmla="*/ 6 w 6"/>
                  <a:gd name="T13" fmla="*/ 6 h 18"/>
                  <a:gd name="T14" fmla="*/ 6 w 6"/>
                  <a:gd name="T15" fmla="*/ 12 h 18"/>
                  <a:gd name="T16" fmla="*/ 6 w 6"/>
                  <a:gd name="T17" fmla="*/ 18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" h="18">
                    <a:moveTo>
                      <a:pt x="6" y="18"/>
                    </a:move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03" name="Freeform 64"/>
              <p:cNvSpPr>
                <a:spLocks/>
              </p:cNvSpPr>
              <p:nvPr/>
            </p:nvSpPr>
            <p:spPr bwMode="auto">
              <a:xfrm>
                <a:off x="2748" y="876"/>
                <a:ext cx="6" cy="18"/>
              </a:xfrm>
              <a:custGeom>
                <a:avLst/>
                <a:gdLst>
                  <a:gd name="T0" fmla="*/ 6 w 6"/>
                  <a:gd name="T1" fmla="*/ 18 h 18"/>
                  <a:gd name="T2" fmla="*/ 0 w 6"/>
                  <a:gd name="T3" fmla="*/ 12 h 18"/>
                  <a:gd name="T4" fmla="*/ 0 w 6"/>
                  <a:gd name="T5" fmla="*/ 6 h 18"/>
                  <a:gd name="T6" fmla="*/ 0 w 6"/>
                  <a:gd name="T7" fmla="*/ 0 h 18"/>
                  <a:gd name="T8" fmla="*/ 6 w 6"/>
                  <a:gd name="T9" fmla="*/ 0 h 18"/>
                  <a:gd name="T10" fmla="*/ 6 w 6"/>
                  <a:gd name="T11" fmla="*/ 6 h 18"/>
                  <a:gd name="T12" fmla="*/ 6 w 6"/>
                  <a:gd name="T13" fmla="*/ 12 h 18"/>
                  <a:gd name="T14" fmla="*/ 6 w 6"/>
                  <a:gd name="T15" fmla="*/ 18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8">
                    <a:moveTo>
                      <a:pt x="6" y="18"/>
                    </a:move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53" name="Group 65"/>
            <p:cNvGrpSpPr>
              <a:grpSpLocks/>
            </p:cNvGrpSpPr>
            <p:nvPr/>
          </p:nvGrpSpPr>
          <p:grpSpPr bwMode="auto">
            <a:xfrm>
              <a:off x="3816054" y="2310749"/>
              <a:ext cx="13454" cy="10114"/>
              <a:chOff x="2742" y="894"/>
              <a:chExt cx="6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900" name="Freeform 66"/>
              <p:cNvSpPr>
                <a:spLocks/>
              </p:cNvSpPr>
              <p:nvPr/>
            </p:nvSpPr>
            <p:spPr bwMode="auto">
              <a:xfrm>
                <a:off x="2742" y="894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6 h 6"/>
                  <a:gd name="T4" fmla="*/ 0 w 6"/>
                  <a:gd name="T5" fmla="*/ 0 h 6"/>
                  <a:gd name="T6" fmla="*/ 0 w 6"/>
                  <a:gd name="T7" fmla="*/ 0 h 6"/>
                  <a:gd name="T8" fmla="*/ 0 w 6"/>
                  <a:gd name="T9" fmla="*/ 6 h 6"/>
                  <a:gd name="T10" fmla="*/ 0 w 6"/>
                  <a:gd name="T11" fmla="*/ 6 h 6"/>
                  <a:gd name="T12" fmla="*/ 0 w 6"/>
                  <a:gd name="T13" fmla="*/ 6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6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901" name="Freeform 67"/>
              <p:cNvSpPr>
                <a:spLocks/>
              </p:cNvSpPr>
              <p:nvPr/>
            </p:nvSpPr>
            <p:spPr bwMode="auto">
              <a:xfrm>
                <a:off x="2742" y="894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6 h 6"/>
                  <a:gd name="T4" fmla="*/ 0 w 6"/>
                  <a:gd name="T5" fmla="*/ 0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6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54" name="Group 68"/>
            <p:cNvGrpSpPr>
              <a:grpSpLocks/>
            </p:cNvGrpSpPr>
            <p:nvPr/>
          </p:nvGrpSpPr>
          <p:grpSpPr bwMode="auto">
            <a:xfrm>
              <a:off x="3804522" y="2330977"/>
              <a:ext cx="1922" cy="10114"/>
              <a:chOff x="2736" y="906"/>
              <a:chExt cx="1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898" name="Freeform 69"/>
              <p:cNvSpPr>
                <a:spLocks/>
              </p:cNvSpPr>
              <p:nvPr/>
            </p:nvSpPr>
            <p:spPr bwMode="auto">
              <a:xfrm>
                <a:off x="2736" y="906"/>
                <a:ext cx="1" cy="6"/>
              </a:xfrm>
              <a:custGeom>
                <a:avLst/>
                <a:gdLst>
                  <a:gd name="T0" fmla="*/ 0 w 1"/>
                  <a:gd name="T1" fmla="*/ 6 h 6"/>
                  <a:gd name="T2" fmla="*/ 0 w 1"/>
                  <a:gd name="T3" fmla="*/ 0 h 6"/>
                  <a:gd name="T4" fmla="*/ 0 w 1"/>
                  <a:gd name="T5" fmla="*/ 0 h 6"/>
                  <a:gd name="T6" fmla="*/ 0 w 1"/>
                  <a:gd name="T7" fmla="*/ 0 h 6"/>
                  <a:gd name="T8" fmla="*/ 0 w 1"/>
                  <a:gd name="T9" fmla="*/ 0 h 6"/>
                  <a:gd name="T10" fmla="*/ 0 w 1"/>
                  <a:gd name="T11" fmla="*/ 6 h 6"/>
                  <a:gd name="T12" fmla="*/ 0 w 1"/>
                  <a:gd name="T13" fmla="*/ 6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"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99" name="Freeform 70"/>
              <p:cNvSpPr>
                <a:spLocks/>
              </p:cNvSpPr>
              <p:nvPr/>
            </p:nvSpPr>
            <p:spPr bwMode="auto">
              <a:xfrm>
                <a:off x="2736" y="906"/>
                <a:ext cx="1" cy="6"/>
              </a:xfrm>
              <a:custGeom>
                <a:avLst/>
                <a:gdLst>
                  <a:gd name="T0" fmla="*/ 0 w 1"/>
                  <a:gd name="T1" fmla="*/ 6 h 6"/>
                  <a:gd name="T2" fmla="*/ 0 w 1"/>
                  <a:gd name="T3" fmla="*/ 0 h 6"/>
                  <a:gd name="T4" fmla="*/ 0 w 1"/>
                  <a:gd name="T5" fmla="*/ 6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55" name="Group 71"/>
            <p:cNvGrpSpPr>
              <a:grpSpLocks/>
            </p:cNvGrpSpPr>
            <p:nvPr/>
          </p:nvGrpSpPr>
          <p:grpSpPr bwMode="auto">
            <a:xfrm>
              <a:off x="3779537" y="2341091"/>
              <a:ext cx="13454" cy="20228"/>
              <a:chOff x="2724" y="912"/>
              <a:chExt cx="6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896" name="Freeform 72"/>
              <p:cNvSpPr>
                <a:spLocks/>
              </p:cNvSpPr>
              <p:nvPr/>
            </p:nvSpPr>
            <p:spPr bwMode="auto">
              <a:xfrm>
                <a:off x="2724" y="912"/>
                <a:ext cx="6" cy="12"/>
              </a:xfrm>
              <a:custGeom>
                <a:avLst/>
                <a:gdLst>
                  <a:gd name="T0" fmla="*/ 6 w 6"/>
                  <a:gd name="T1" fmla="*/ 12 h 12"/>
                  <a:gd name="T2" fmla="*/ 6 w 6"/>
                  <a:gd name="T3" fmla="*/ 6 h 12"/>
                  <a:gd name="T4" fmla="*/ 6 w 6"/>
                  <a:gd name="T5" fmla="*/ 0 h 12"/>
                  <a:gd name="T6" fmla="*/ 6 w 6"/>
                  <a:gd name="T7" fmla="*/ 0 h 12"/>
                  <a:gd name="T8" fmla="*/ 0 w 6"/>
                  <a:gd name="T9" fmla="*/ 6 h 12"/>
                  <a:gd name="T10" fmla="*/ 6 w 6"/>
                  <a:gd name="T11" fmla="*/ 6 h 12"/>
                  <a:gd name="T12" fmla="*/ 6 w 6"/>
                  <a:gd name="T13" fmla="*/ 12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12">
                    <a:moveTo>
                      <a:pt x="6" y="12"/>
                    </a:moveTo>
                    <a:lnTo>
                      <a:pt x="6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97" name="Freeform 73"/>
              <p:cNvSpPr>
                <a:spLocks/>
              </p:cNvSpPr>
              <p:nvPr/>
            </p:nvSpPr>
            <p:spPr bwMode="auto">
              <a:xfrm>
                <a:off x="2724" y="912"/>
                <a:ext cx="6" cy="12"/>
              </a:xfrm>
              <a:custGeom>
                <a:avLst/>
                <a:gdLst>
                  <a:gd name="T0" fmla="*/ 6 w 6"/>
                  <a:gd name="T1" fmla="*/ 12 h 12"/>
                  <a:gd name="T2" fmla="*/ 6 w 6"/>
                  <a:gd name="T3" fmla="*/ 6 h 12"/>
                  <a:gd name="T4" fmla="*/ 6 w 6"/>
                  <a:gd name="T5" fmla="*/ 0 h 12"/>
                  <a:gd name="T6" fmla="*/ 0 w 6"/>
                  <a:gd name="T7" fmla="*/ 6 h 12"/>
                  <a:gd name="T8" fmla="*/ 6 w 6"/>
                  <a:gd name="T9" fmla="*/ 6 h 12"/>
                  <a:gd name="T10" fmla="*/ 6 w 6"/>
                  <a:gd name="T11" fmla="*/ 12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" h="12">
                    <a:moveTo>
                      <a:pt x="6" y="12"/>
                    </a:moveTo>
                    <a:lnTo>
                      <a:pt x="6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56" name="Group 74"/>
            <p:cNvGrpSpPr>
              <a:grpSpLocks/>
            </p:cNvGrpSpPr>
            <p:nvPr/>
          </p:nvGrpSpPr>
          <p:grpSpPr bwMode="auto">
            <a:xfrm>
              <a:off x="3719955" y="2403798"/>
              <a:ext cx="23064" cy="10114"/>
              <a:chOff x="2694" y="948"/>
              <a:chExt cx="12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894" name="Freeform 75"/>
              <p:cNvSpPr>
                <a:spLocks/>
              </p:cNvSpPr>
              <p:nvPr/>
            </p:nvSpPr>
            <p:spPr bwMode="auto">
              <a:xfrm>
                <a:off x="2694" y="948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0 h 6"/>
                  <a:gd name="T4" fmla="*/ 6 w 12"/>
                  <a:gd name="T5" fmla="*/ 0 h 6"/>
                  <a:gd name="T6" fmla="*/ 6 w 12"/>
                  <a:gd name="T7" fmla="*/ 0 h 6"/>
                  <a:gd name="T8" fmla="*/ 0 w 12"/>
                  <a:gd name="T9" fmla="*/ 0 h 6"/>
                  <a:gd name="T10" fmla="*/ 0 w 12"/>
                  <a:gd name="T11" fmla="*/ 0 h 6"/>
                  <a:gd name="T12" fmla="*/ 0 w 12"/>
                  <a:gd name="T13" fmla="*/ 6 h 6"/>
                  <a:gd name="T14" fmla="*/ 6 w 12"/>
                  <a:gd name="T15" fmla="*/ 6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95" name="Freeform 76"/>
              <p:cNvSpPr>
                <a:spLocks/>
              </p:cNvSpPr>
              <p:nvPr/>
            </p:nvSpPr>
            <p:spPr bwMode="auto">
              <a:xfrm>
                <a:off x="2694" y="948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0 h 6"/>
                  <a:gd name="T4" fmla="*/ 6 w 12"/>
                  <a:gd name="T5" fmla="*/ 0 h 6"/>
                  <a:gd name="T6" fmla="*/ 0 w 12"/>
                  <a:gd name="T7" fmla="*/ 0 h 6"/>
                  <a:gd name="T8" fmla="*/ 0 w 12"/>
                  <a:gd name="T9" fmla="*/ 6 h 6"/>
                  <a:gd name="T10" fmla="*/ 6 w 12"/>
                  <a:gd name="T11" fmla="*/ 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57" name="Group 77"/>
            <p:cNvGrpSpPr>
              <a:grpSpLocks/>
            </p:cNvGrpSpPr>
            <p:nvPr/>
          </p:nvGrpSpPr>
          <p:grpSpPr bwMode="auto">
            <a:xfrm>
              <a:off x="3683437" y="2413912"/>
              <a:ext cx="11532" cy="10114"/>
              <a:chOff x="2676" y="954"/>
              <a:chExt cx="6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892" name="Freeform 78"/>
              <p:cNvSpPr>
                <a:spLocks/>
              </p:cNvSpPr>
              <p:nvPr/>
            </p:nvSpPr>
            <p:spPr bwMode="auto">
              <a:xfrm>
                <a:off x="2676" y="954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6 h 6"/>
                  <a:gd name="T4" fmla="*/ 6 w 6"/>
                  <a:gd name="T5" fmla="*/ 0 h 6"/>
                  <a:gd name="T6" fmla="*/ 6 w 6"/>
                  <a:gd name="T7" fmla="*/ 0 h 6"/>
                  <a:gd name="T8" fmla="*/ 0 w 6"/>
                  <a:gd name="T9" fmla="*/ 0 h 6"/>
                  <a:gd name="T10" fmla="*/ 0 w 6"/>
                  <a:gd name="T11" fmla="*/ 6 h 6"/>
                  <a:gd name="T12" fmla="*/ 6 w 6"/>
                  <a:gd name="T13" fmla="*/ 6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6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93" name="Rectangle 79"/>
              <p:cNvSpPr>
                <a:spLocks noChangeArrowheads="1"/>
              </p:cNvSpPr>
              <p:nvPr/>
            </p:nvSpPr>
            <p:spPr bwMode="auto">
              <a:xfrm>
                <a:off x="2679" y="957"/>
                <a:ext cx="0" cy="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sp>
          <p:nvSpPr>
            <p:cNvPr id="558" name="Freeform 80"/>
            <p:cNvSpPr>
              <a:spLocks/>
            </p:cNvSpPr>
            <p:nvPr/>
          </p:nvSpPr>
          <p:spPr bwMode="auto">
            <a:xfrm>
              <a:off x="3560430" y="2197471"/>
              <a:ext cx="49972" cy="206327"/>
            </a:xfrm>
            <a:custGeom>
              <a:avLst/>
              <a:gdLst>
                <a:gd name="T0" fmla="*/ 28 w 24"/>
                <a:gd name="T1" fmla="*/ 0 h 120"/>
                <a:gd name="T2" fmla="*/ 22 w 24"/>
                <a:gd name="T3" fmla="*/ 0 h 120"/>
                <a:gd name="T4" fmla="*/ 22 w 24"/>
                <a:gd name="T5" fmla="*/ 0 h 120"/>
                <a:gd name="T6" fmla="*/ 14 w 24"/>
                <a:gd name="T7" fmla="*/ 0 h 120"/>
                <a:gd name="T8" fmla="*/ 8 w 24"/>
                <a:gd name="T9" fmla="*/ 4 h 120"/>
                <a:gd name="T10" fmla="*/ 8 w 24"/>
                <a:gd name="T11" fmla="*/ 9 h 120"/>
                <a:gd name="T12" fmla="*/ 0 w 24"/>
                <a:gd name="T13" fmla="*/ 22 h 120"/>
                <a:gd name="T14" fmla="*/ 8 w 24"/>
                <a:gd name="T15" fmla="*/ 31 h 120"/>
                <a:gd name="T16" fmla="*/ 8 w 24"/>
                <a:gd name="T17" fmla="*/ 52 h 120"/>
                <a:gd name="T18" fmla="*/ 8 w 24"/>
                <a:gd name="T19" fmla="*/ 74 h 120"/>
                <a:gd name="T20" fmla="*/ 0 w 24"/>
                <a:gd name="T21" fmla="*/ 82 h 120"/>
                <a:gd name="T22" fmla="*/ 8 w 24"/>
                <a:gd name="T23" fmla="*/ 87 h 120"/>
                <a:gd name="T24" fmla="*/ 14 w 24"/>
                <a:gd name="T25" fmla="*/ 78 h 120"/>
                <a:gd name="T26" fmla="*/ 22 w 24"/>
                <a:gd name="T27" fmla="*/ 87 h 120"/>
                <a:gd name="T28" fmla="*/ 22 w 24"/>
                <a:gd name="T29" fmla="*/ 82 h 120"/>
                <a:gd name="T30" fmla="*/ 22 w 24"/>
                <a:gd name="T31" fmla="*/ 74 h 120"/>
                <a:gd name="T32" fmla="*/ 14 w 24"/>
                <a:gd name="T33" fmla="*/ 65 h 120"/>
                <a:gd name="T34" fmla="*/ 14 w 24"/>
                <a:gd name="T35" fmla="*/ 60 h 120"/>
                <a:gd name="T36" fmla="*/ 22 w 24"/>
                <a:gd name="T37" fmla="*/ 56 h 120"/>
                <a:gd name="T38" fmla="*/ 28 w 24"/>
                <a:gd name="T39" fmla="*/ 52 h 120"/>
                <a:gd name="T40" fmla="*/ 28 w 24"/>
                <a:gd name="T41" fmla="*/ 48 h 120"/>
                <a:gd name="T42" fmla="*/ 28 w 24"/>
                <a:gd name="T43" fmla="*/ 43 h 120"/>
                <a:gd name="T44" fmla="*/ 22 w 24"/>
                <a:gd name="T45" fmla="*/ 17 h 120"/>
                <a:gd name="T46" fmla="*/ 22 w 24"/>
                <a:gd name="T47" fmla="*/ 13 h 120"/>
                <a:gd name="T48" fmla="*/ 22 w 24"/>
                <a:gd name="T49" fmla="*/ 4 h 120"/>
                <a:gd name="T50" fmla="*/ 28 w 24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120">
                  <a:moveTo>
                    <a:pt x="24" y="0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6" y="72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08"/>
                  </a:lnTo>
                  <a:lnTo>
                    <a:pt x="18" y="120"/>
                  </a:lnTo>
                  <a:lnTo>
                    <a:pt x="18" y="114"/>
                  </a:lnTo>
                  <a:lnTo>
                    <a:pt x="18" y="102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18" y="78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18" y="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0070C0">
                <a:alpha val="27059"/>
              </a:srgb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59" name="Freeform 81"/>
            <p:cNvSpPr>
              <a:spLocks/>
            </p:cNvSpPr>
            <p:nvPr/>
          </p:nvSpPr>
          <p:spPr bwMode="auto">
            <a:xfrm>
              <a:off x="3560430" y="2197471"/>
              <a:ext cx="49972" cy="206327"/>
            </a:xfrm>
            <a:custGeom>
              <a:avLst/>
              <a:gdLst>
                <a:gd name="T0" fmla="*/ 28 w 24"/>
                <a:gd name="T1" fmla="*/ 0 h 120"/>
                <a:gd name="T2" fmla="*/ 22 w 24"/>
                <a:gd name="T3" fmla="*/ 0 h 120"/>
                <a:gd name="T4" fmla="*/ 14 w 24"/>
                <a:gd name="T5" fmla="*/ 0 h 120"/>
                <a:gd name="T6" fmla="*/ 8 w 24"/>
                <a:gd name="T7" fmla="*/ 4 h 120"/>
                <a:gd name="T8" fmla="*/ 8 w 24"/>
                <a:gd name="T9" fmla="*/ 9 h 120"/>
                <a:gd name="T10" fmla="*/ 0 w 24"/>
                <a:gd name="T11" fmla="*/ 22 h 120"/>
                <a:gd name="T12" fmla="*/ 8 w 24"/>
                <a:gd name="T13" fmla="*/ 31 h 120"/>
                <a:gd name="T14" fmla="*/ 8 w 24"/>
                <a:gd name="T15" fmla="*/ 52 h 120"/>
                <a:gd name="T16" fmla="*/ 8 w 24"/>
                <a:gd name="T17" fmla="*/ 74 h 120"/>
                <a:gd name="T18" fmla="*/ 0 w 24"/>
                <a:gd name="T19" fmla="*/ 82 h 120"/>
                <a:gd name="T20" fmla="*/ 8 w 24"/>
                <a:gd name="T21" fmla="*/ 87 h 120"/>
                <a:gd name="T22" fmla="*/ 14 w 24"/>
                <a:gd name="T23" fmla="*/ 78 h 120"/>
                <a:gd name="T24" fmla="*/ 22 w 24"/>
                <a:gd name="T25" fmla="*/ 87 h 120"/>
                <a:gd name="T26" fmla="*/ 22 w 24"/>
                <a:gd name="T27" fmla="*/ 82 h 120"/>
                <a:gd name="T28" fmla="*/ 22 w 24"/>
                <a:gd name="T29" fmla="*/ 74 h 120"/>
                <a:gd name="T30" fmla="*/ 14 w 24"/>
                <a:gd name="T31" fmla="*/ 65 h 120"/>
                <a:gd name="T32" fmla="*/ 14 w 24"/>
                <a:gd name="T33" fmla="*/ 60 h 120"/>
                <a:gd name="T34" fmla="*/ 22 w 24"/>
                <a:gd name="T35" fmla="*/ 56 h 120"/>
                <a:gd name="T36" fmla="*/ 28 w 24"/>
                <a:gd name="T37" fmla="*/ 52 h 120"/>
                <a:gd name="T38" fmla="*/ 28 w 24"/>
                <a:gd name="T39" fmla="*/ 48 h 120"/>
                <a:gd name="T40" fmla="*/ 28 w 24"/>
                <a:gd name="T41" fmla="*/ 43 h 120"/>
                <a:gd name="T42" fmla="*/ 22 w 24"/>
                <a:gd name="T43" fmla="*/ 17 h 120"/>
                <a:gd name="T44" fmla="*/ 22 w 24"/>
                <a:gd name="T45" fmla="*/ 13 h 120"/>
                <a:gd name="T46" fmla="*/ 22 w 24"/>
                <a:gd name="T47" fmla="*/ 4 h 120"/>
                <a:gd name="T48" fmla="*/ 28 w 24"/>
                <a:gd name="T49" fmla="*/ 0 h 12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4" h="120">
                  <a:moveTo>
                    <a:pt x="24" y="0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6" y="72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08"/>
                  </a:lnTo>
                  <a:lnTo>
                    <a:pt x="18" y="120"/>
                  </a:lnTo>
                  <a:lnTo>
                    <a:pt x="18" y="114"/>
                  </a:lnTo>
                  <a:lnTo>
                    <a:pt x="18" y="102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18" y="78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18" y="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0070C0">
                <a:alpha val="27059"/>
              </a:srgbClr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60" name="Freeform 82"/>
            <p:cNvSpPr>
              <a:spLocks/>
            </p:cNvSpPr>
            <p:nvPr/>
          </p:nvSpPr>
          <p:spPr bwMode="auto">
            <a:xfrm>
              <a:off x="1242514" y="1155724"/>
              <a:ext cx="3259690" cy="1494856"/>
            </a:xfrm>
            <a:custGeom>
              <a:avLst/>
              <a:gdLst>
                <a:gd name="T0" fmla="*/ 1270 w 1603"/>
                <a:gd name="T1" fmla="*/ 454 h 870"/>
                <a:gd name="T2" fmla="*/ 1350 w 1603"/>
                <a:gd name="T3" fmla="*/ 376 h 870"/>
                <a:gd name="T4" fmla="*/ 1484 w 1603"/>
                <a:gd name="T5" fmla="*/ 338 h 870"/>
                <a:gd name="T6" fmla="*/ 1430 w 1603"/>
                <a:gd name="T7" fmla="*/ 420 h 870"/>
                <a:gd name="T8" fmla="*/ 1498 w 1603"/>
                <a:gd name="T9" fmla="*/ 386 h 870"/>
                <a:gd name="T10" fmla="*/ 1606 w 1603"/>
                <a:gd name="T11" fmla="*/ 355 h 870"/>
                <a:gd name="T12" fmla="*/ 1660 w 1603"/>
                <a:gd name="T13" fmla="*/ 299 h 870"/>
                <a:gd name="T14" fmla="*/ 1768 w 1603"/>
                <a:gd name="T15" fmla="*/ 277 h 870"/>
                <a:gd name="T16" fmla="*/ 1700 w 1603"/>
                <a:gd name="T17" fmla="*/ 225 h 870"/>
                <a:gd name="T18" fmla="*/ 1565 w 1603"/>
                <a:gd name="T19" fmla="*/ 208 h 870"/>
                <a:gd name="T20" fmla="*/ 1437 w 1603"/>
                <a:gd name="T21" fmla="*/ 178 h 870"/>
                <a:gd name="T22" fmla="*/ 1344 w 1603"/>
                <a:gd name="T23" fmla="*/ 155 h 870"/>
                <a:gd name="T24" fmla="*/ 1262 w 1603"/>
                <a:gd name="T25" fmla="*/ 165 h 870"/>
                <a:gd name="T26" fmla="*/ 1162 w 1603"/>
                <a:gd name="T27" fmla="*/ 130 h 870"/>
                <a:gd name="T28" fmla="*/ 973 w 1603"/>
                <a:gd name="T29" fmla="*/ 104 h 870"/>
                <a:gd name="T30" fmla="*/ 913 w 1603"/>
                <a:gd name="T31" fmla="*/ 104 h 870"/>
                <a:gd name="T32" fmla="*/ 907 w 1603"/>
                <a:gd name="T33" fmla="*/ 35 h 870"/>
                <a:gd name="T34" fmla="*/ 833 w 1603"/>
                <a:gd name="T35" fmla="*/ 35 h 870"/>
                <a:gd name="T36" fmla="*/ 786 w 1603"/>
                <a:gd name="T37" fmla="*/ 48 h 870"/>
                <a:gd name="T38" fmla="*/ 692 w 1603"/>
                <a:gd name="T39" fmla="*/ 99 h 870"/>
                <a:gd name="T40" fmla="*/ 664 w 1603"/>
                <a:gd name="T41" fmla="*/ 155 h 870"/>
                <a:gd name="T42" fmla="*/ 652 w 1603"/>
                <a:gd name="T43" fmla="*/ 178 h 870"/>
                <a:gd name="T44" fmla="*/ 598 w 1603"/>
                <a:gd name="T45" fmla="*/ 147 h 870"/>
                <a:gd name="T46" fmla="*/ 571 w 1603"/>
                <a:gd name="T47" fmla="*/ 173 h 870"/>
                <a:gd name="T48" fmla="*/ 618 w 1603"/>
                <a:gd name="T49" fmla="*/ 238 h 870"/>
                <a:gd name="T50" fmla="*/ 632 w 1603"/>
                <a:gd name="T51" fmla="*/ 260 h 870"/>
                <a:gd name="T52" fmla="*/ 591 w 1603"/>
                <a:gd name="T53" fmla="*/ 264 h 870"/>
                <a:gd name="T54" fmla="*/ 558 w 1603"/>
                <a:gd name="T55" fmla="*/ 260 h 870"/>
                <a:gd name="T56" fmla="*/ 558 w 1603"/>
                <a:gd name="T57" fmla="*/ 221 h 870"/>
                <a:gd name="T58" fmla="*/ 530 w 1603"/>
                <a:gd name="T59" fmla="*/ 130 h 870"/>
                <a:gd name="T60" fmla="*/ 497 w 1603"/>
                <a:gd name="T61" fmla="*/ 217 h 870"/>
                <a:gd name="T62" fmla="*/ 363 w 1603"/>
                <a:gd name="T63" fmla="*/ 225 h 870"/>
                <a:gd name="T64" fmla="*/ 282 w 1603"/>
                <a:gd name="T65" fmla="*/ 234 h 870"/>
                <a:gd name="T66" fmla="*/ 242 w 1603"/>
                <a:gd name="T67" fmla="*/ 260 h 870"/>
                <a:gd name="T68" fmla="*/ 181 w 1603"/>
                <a:gd name="T69" fmla="*/ 303 h 870"/>
                <a:gd name="T70" fmla="*/ 175 w 1603"/>
                <a:gd name="T71" fmla="*/ 268 h 870"/>
                <a:gd name="T72" fmla="*/ 148 w 1603"/>
                <a:gd name="T73" fmla="*/ 204 h 870"/>
                <a:gd name="T74" fmla="*/ 94 w 1603"/>
                <a:gd name="T75" fmla="*/ 225 h 870"/>
                <a:gd name="T76" fmla="*/ 101 w 1603"/>
                <a:gd name="T77" fmla="*/ 359 h 870"/>
                <a:gd name="T78" fmla="*/ 40 w 1603"/>
                <a:gd name="T79" fmla="*/ 390 h 870"/>
                <a:gd name="T80" fmla="*/ 34 w 1603"/>
                <a:gd name="T81" fmla="*/ 433 h 870"/>
                <a:gd name="T82" fmla="*/ 26 w 1603"/>
                <a:gd name="T83" fmla="*/ 489 h 870"/>
                <a:gd name="T84" fmla="*/ 88 w 1603"/>
                <a:gd name="T85" fmla="*/ 502 h 870"/>
                <a:gd name="T86" fmla="*/ 141 w 1603"/>
                <a:gd name="T87" fmla="*/ 528 h 870"/>
                <a:gd name="T88" fmla="*/ 154 w 1603"/>
                <a:gd name="T89" fmla="*/ 524 h 870"/>
                <a:gd name="T90" fmla="*/ 215 w 1603"/>
                <a:gd name="T91" fmla="*/ 558 h 870"/>
                <a:gd name="T92" fmla="*/ 289 w 1603"/>
                <a:gd name="T93" fmla="*/ 584 h 870"/>
                <a:gd name="T94" fmla="*/ 282 w 1603"/>
                <a:gd name="T95" fmla="*/ 528 h 870"/>
                <a:gd name="T96" fmla="*/ 309 w 1603"/>
                <a:gd name="T97" fmla="*/ 541 h 870"/>
                <a:gd name="T98" fmla="*/ 335 w 1603"/>
                <a:gd name="T99" fmla="*/ 580 h 870"/>
                <a:gd name="T100" fmla="*/ 403 w 1603"/>
                <a:gd name="T101" fmla="*/ 611 h 870"/>
                <a:gd name="T102" fmla="*/ 530 w 1603"/>
                <a:gd name="T103" fmla="*/ 606 h 870"/>
                <a:gd name="T104" fmla="*/ 558 w 1603"/>
                <a:gd name="T105" fmla="*/ 580 h 870"/>
                <a:gd name="T106" fmla="*/ 612 w 1603"/>
                <a:gd name="T107" fmla="*/ 545 h 870"/>
                <a:gd name="T108" fmla="*/ 686 w 1603"/>
                <a:gd name="T109" fmla="*/ 502 h 870"/>
                <a:gd name="T110" fmla="*/ 779 w 1603"/>
                <a:gd name="T111" fmla="*/ 485 h 870"/>
                <a:gd name="T112" fmla="*/ 887 w 1603"/>
                <a:gd name="T113" fmla="*/ 477 h 870"/>
                <a:gd name="T114" fmla="*/ 1047 w 1603"/>
                <a:gd name="T115" fmla="*/ 472 h 870"/>
                <a:gd name="T116" fmla="*/ 1149 w 1603"/>
                <a:gd name="T117" fmla="*/ 494 h 870"/>
                <a:gd name="T118" fmla="*/ 1175 w 1603"/>
                <a:gd name="T119" fmla="*/ 533 h 87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603" h="870">
                  <a:moveTo>
                    <a:pt x="1050" y="744"/>
                  </a:moveTo>
                  <a:lnTo>
                    <a:pt x="1050" y="744"/>
                  </a:lnTo>
                  <a:lnTo>
                    <a:pt x="1050" y="750"/>
                  </a:lnTo>
                  <a:lnTo>
                    <a:pt x="1044" y="756"/>
                  </a:lnTo>
                  <a:lnTo>
                    <a:pt x="1050" y="768"/>
                  </a:lnTo>
                  <a:lnTo>
                    <a:pt x="1056" y="768"/>
                  </a:lnTo>
                  <a:lnTo>
                    <a:pt x="1062" y="774"/>
                  </a:lnTo>
                  <a:lnTo>
                    <a:pt x="1068" y="768"/>
                  </a:lnTo>
                  <a:lnTo>
                    <a:pt x="1080" y="756"/>
                  </a:lnTo>
                  <a:lnTo>
                    <a:pt x="1098" y="726"/>
                  </a:lnTo>
                  <a:lnTo>
                    <a:pt x="1122" y="684"/>
                  </a:lnTo>
                  <a:lnTo>
                    <a:pt x="1122" y="672"/>
                  </a:lnTo>
                  <a:lnTo>
                    <a:pt x="1128" y="660"/>
                  </a:lnTo>
                  <a:lnTo>
                    <a:pt x="1134" y="654"/>
                  </a:lnTo>
                  <a:lnTo>
                    <a:pt x="1134" y="630"/>
                  </a:lnTo>
                  <a:lnTo>
                    <a:pt x="1140" y="618"/>
                  </a:lnTo>
                  <a:lnTo>
                    <a:pt x="1140" y="612"/>
                  </a:lnTo>
                  <a:lnTo>
                    <a:pt x="1134" y="606"/>
                  </a:lnTo>
                  <a:lnTo>
                    <a:pt x="1128" y="600"/>
                  </a:lnTo>
                  <a:lnTo>
                    <a:pt x="1122" y="600"/>
                  </a:lnTo>
                  <a:lnTo>
                    <a:pt x="1110" y="606"/>
                  </a:lnTo>
                  <a:lnTo>
                    <a:pt x="1104" y="600"/>
                  </a:lnTo>
                  <a:lnTo>
                    <a:pt x="1098" y="600"/>
                  </a:lnTo>
                  <a:lnTo>
                    <a:pt x="1092" y="594"/>
                  </a:lnTo>
                  <a:lnTo>
                    <a:pt x="1086" y="594"/>
                  </a:lnTo>
                  <a:lnTo>
                    <a:pt x="1104" y="576"/>
                  </a:lnTo>
                  <a:lnTo>
                    <a:pt x="1104" y="570"/>
                  </a:lnTo>
                  <a:lnTo>
                    <a:pt x="1122" y="552"/>
                  </a:lnTo>
                  <a:lnTo>
                    <a:pt x="1158" y="510"/>
                  </a:lnTo>
                  <a:lnTo>
                    <a:pt x="1206" y="522"/>
                  </a:lnTo>
                  <a:lnTo>
                    <a:pt x="1212" y="522"/>
                  </a:lnTo>
                  <a:lnTo>
                    <a:pt x="1212" y="516"/>
                  </a:lnTo>
                  <a:lnTo>
                    <a:pt x="1212" y="510"/>
                  </a:lnTo>
                  <a:lnTo>
                    <a:pt x="1218" y="510"/>
                  </a:lnTo>
                  <a:lnTo>
                    <a:pt x="1224" y="510"/>
                  </a:lnTo>
                  <a:lnTo>
                    <a:pt x="1236" y="510"/>
                  </a:lnTo>
                  <a:lnTo>
                    <a:pt x="1236" y="522"/>
                  </a:lnTo>
                  <a:lnTo>
                    <a:pt x="1272" y="510"/>
                  </a:lnTo>
                  <a:lnTo>
                    <a:pt x="1272" y="504"/>
                  </a:lnTo>
                  <a:lnTo>
                    <a:pt x="1302" y="480"/>
                  </a:lnTo>
                  <a:lnTo>
                    <a:pt x="1308" y="474"/>
                  </a:lnTo>
                  <a:lnTo>
                    <a:pt x="1314" y="468"/>
                  </a:lnTo>
                  <a:lnTo>
                    <a:pt x="1320" y="468"/>
                  </a:lnTo>
                  <a:lnTo>
                    <a:pt x="1326" y="468"/>
                  </a:lnTo>
                  <a:lnTo>
                    <a:pt x="1320" y="474"/>
                  </a:lnTo>
                  <a:lnTo>
                    <a:pt x="1320" y="480"/>
                  </a:lnTo>
                  <a:lnTo>
                    <a:pt x="1314" y="486"/>
                  </a:lnTo>
                  <a:lnTo>
                    <a:pt x="1320" y="486"/>
                  </a:lnTo>
                  <a:lnTo>
                    <a:pt x="1326" y="486"/>
                  </a:lnTo>
                  <a:lnTo>
                    <a:pt x="1332" y="486"/>
                  </a:lnTo>
                  <a:lnTo>
                    <a:pt x="1344" y="468"/>
                  </a:lnTo>
                  <a:lnTo>
                    <a:pt x="1350" y="456"/>
                  </a:lnTo>
                  <a:lnTo>
                    <a:pt x="1344" y="468"/>
                  </a:lnTo>
                  <a:lnTo>
                    <a:pt x="1344" y="474"/>
                  </a:lnTo>
                  <a:lnTo>
                    <a:pt x="1350" y="486"/>
                  </a:lnTo>
                  <a:lnTo>
                    <a:pt x="1326" y="504"/>
                  </a:lnTo>
                  <a:lnTo>
                    <a:pt x="1314" y="528"/>
                  </a:lnTo>
                  <a:lnTo>
                    <a:pt x="1284" y="552"/>
                  </a:lnTo>
                  <a:lnTo>
                    <a:pt x="1278" y="582"/>
                  </a:lnTo>
                  <a:lnTo>
                    <a:pt x="1272" y="588"/>
                  </a:lnTo>
                  <a:lnTo>
                    <a:pt x="1272" y="594"/>
                  </a:lnTo>
                  <a:lnTo>
                    <a:pt x="1272" y="600"/>
                  </a:lnTo>
                  <a:lnTo>
                    <a:pt x="1290" y="654"/>
                  </a:lnTo>
                  <a:lnTo>
                    <a:pt x="1302" y="636"/>
                  </a:lnTo>
                  <a:lnTo>
                    <a:pt x="1326" y="600"/>
                  </a:lnTo>
                  <a:lnTo>
                    <a:pt x="1338" y="594"/>
                  </a:lnTo>
                  <a:lnTo>
                    <a:pt x="1338" y="588"/>
                  </a:lnTo>
                  <a:lnTo>
                    <a:pt x="1338" y="576"/>
                  </a:lnTo>
                  <a:lnTo>
                    <a:pt x="1344" y="564"/>
                  </a:lnTo>
                  <a:lnTo>
                    <a:pt x="1344" y="558"/>
                  </a:lnTo>
                  <a:lnTo>
                    <a:pt x="1344" y="552"/>
                  </a:lnTo>
                  <a:lnTo>
                    <a:pt x="1344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44" y="534"/>
                  </a:lnTo>
                  <a:lnTo>
                    <a:pt x="1350" y="528"/>
                  </a:lnTo>
                  <a:lnTo>
                    <a:pt x="1362" y="522"/>
                  </a:lnTo>
                  <a:lnTo>
                    <a:pt x="1368" y="516"/>
                  </a:lnTo>
                  <a:lnTo>
                    <a:pt x="1368" y="510"/>
                  </a:lnTo>
                  <a:lnTo>
                    <a:pt x="1368" y="504"/>
                  </a:lnTo>
                  <a:lnTo>
                    <a:pt x="1380" y="504"/>
                  </a:lnTo>
                  <a:lnTo>
                    <a:pt x="1392" y="492"/>
                  </a:lnTo>
                  <a:lnTo>
                    <a:pt x="1398" y="492"/>
                  </a:lnTo>
                  <a:lnTo>
                    <a:pt x="1404" y="486"/>
                  </a:lnTo>
                  <a:lnTo>
                    <a:pt x="1410" y="492"/>
                  </a:lnTo>
                  <a:lnTo>
                    <a:pt x="1416" y="498"/>
                  </a:lnTo>
                  <a:lnTo>
                    <a:pt x="1435" y="492"/>
                  </a:lnTo>
                  <a:lnTo>
                    <a:pt x="1435" y="480"/>
                  </a:lnTo>
                  <a:lnTo>
                    <a:pt x="1447" y="468"/>
                  </a:lnTo>
                  <a:lnTo>
                    <a:pt x="1459" y="462"/>
                  </a:lnTo>
                  <a:lnTo>
                    <a:pt x="1465" y="456"/>
                  </a:lnTo>
                  <a:lnTo>
                    <a:pt x="1477" y="456"/>
                  </a:lnTo>
                  <a:lnTo>
                    <a:pt x="1483" y="456"/>
                  </a:lnTo>
                  <a:lnTo>
                    <a:pt x="1489" y="456"/>
                  </a:lnTo>
                  <a:lnTo>
                    <a:pt x="1495" y="456"/>
                  </a:lnTo>
                  <a:lnTo>
                    <a:pt x="1501" y="450"/>
                  </a:lnTo>
                  <a:lnTo>
                    <a:pt x="1507" y="444"/>
                  </a:lnTo>
                  <a:lnTo>
                    <a:pt x="1501" y="432"/>
                  </a:lnTo>
                  <a:lnTo>
                    <a:pt x="1489" y="426"/>
                  </a:lnTo>
                  <a:lnTo>
                    <a:pt x="1483" y="420"/>
                  </a:lnTo>
                  <a:lnTo>
                    <a:pt x="1483" y="414"/>
                  </a:lnTo>
                  <a:lnTo>
                    <a:pt x="1483" y="408"/>
                  </a:lnTo>
                  <a:lnTo>
                    <a:pt x="1489" y="408"/>
                  </a:lnTo>
                  <a:lnTo>
                    <a:pt x="1495" y="408"/>
                  </a:lnTo>
                  <a:lnTo>
                    <a:pt x="1501" y="402"/>
                  </a:lnTo>
                  <a:lnTo>
                    <a:pt x="1513" y="384"/>
                  </a:lnTo>
                  <a:lnTo>
                    <a:pt x="1513" y="372"/>
                  </a:lnTo>
                  <a:lnTo>
                    <a:pt x="1519" y="366"/>
                  </a:lnTo>
                  <a:lnTo>
                    <a:pt x="1525" y="384"/>
                  </a:lnTo>
                  <a:lnTo>
                    <a:pt x="1543" y="384"/>
                  </a:lnTo>
                  <a:lnTo>
                    <a:pt x="1567" y="408"/>
                  </a:lnTo>
                  <a:lnTo>
                    <a:pt x="1573" y="414"/>
                  </a:lnTo>
                  <a:lnTo>
                    <a:pt x="1573" y="408"/>
                  </a:lnTo>
                  <a:lnTo>
                    <a:pt x="1579" y="390"/>
                  </a:lnTo>
                  <a:lnTo>
                    <a:pt x="1579" y="384"/>
                  </a:lnTo>
                  <a:lnTo>
                    <a:pt x="1585" y="384"/>
                  </a:lnTo>
                  <a:lnTo>
                    <a:pt x="1597" y="384"/>
                  </a:lnTo>
                  <a:lnTo>
                    <a:pt x="1603" y="378"/>
                  </a:lnTo>
                  <a:lnTo>
                    <a:pt x="1603" y="372"/>
                  </a:lnTo>
                  <a:lnTo>
                    <a:pt x="1591" y="366"/>
                  </a:lnTo>
                  <a:lnTo>
                    <a:pt x="1573" y="354"/>
                  </a:lnTo>
                  <a:lnTo>
                    <a:pt x="1567" y="354"/>
                  </a:lnTo>
                  <a:lnTo>
                    <a:pt x="1561" y="354"/>
                  </a:lnTo>
                  <a:lnTo>
                    <a:pt x="1555" y="360"/>
                  </a:lnTo>
                  <a:lnTo>
                    <a:pt x="1555" y="348"/>
                  </a:lnTo>
                  <a:lnTo>
                    <a:pt x="1549" y="336"/>
                  </a:lnTo>
                  <a:lnTo>
                    <a:pt x="1537" y="330"/>
                  </a:lnTo>
                  <a:lnTo>
                    <a:pt x="1519" y="312"/>
                  </a:lnTo>
                  <a:lnTo>
                    <a:pt x="1507" y="306"/>
                  </a:lnTo>
                  <a:lnTo>
                    <a:pt x="1501" y="300"/>
                  </a:lnTo>
                  <a:lnTo>
                    <a:pt x="1471" y="282"/>
                  </a:lnTo>
                  <a:lnTo>
                    <a:pt x="1459" y="282"/>
                  </a:lnTo>
                  <a:lnTo>
                    <a:pt x="1453" y="282"/>
                  </a:lnTo>
                  <a:lnTo>
                    <a:pt x="1447" y="276"/>
                  </a:lnTo>
                  <a:lnTo>
                    <a:pt x="1441" y="276"/>
                  </a:lnTo>
                  <a:lnTo>
                    <a:pt x="1435" y="270"/>
                  </a:lnTo>
                  <a:lnTo>
                    <a:pt x="1429" y="270"/>
                  </a:lnTo>
                  <a:lnTo>
                    <a:pt x="1429" y="288"/>
                  </a:lnTo>
                  <a:lnTo>
                    <a:pt x="1429" y="300"/>
                  </a:lnTo>
                  <a:lnTo>
                    <a:pt x="1422" y="306"/>
                  </a:lnTo>
                  <a:lnTo>
                    <a:pt x="1416" y="312"/>
                  </a:lnTo>
                  <a:lnTo>
                    <a:pt x="1416" y="306"/>
                  </a:lnTo>
                  <a:lnTo>
                    <a:pt x="1398" y="288"/>
                  </a:lnTo>
                  <a:lnTo>
                    <a:pt x="1410" y="282"/>
                  </a:lnTo>
                  <a:lnTo>
                    <a:pt x="1410" y="276"/>
                  </a:lnTo>
                  <a:lnTo>
                    <a:pt x="1380" y="288"/>
                  </a:lnTo>
                  <a:lnTo>
                    <a:pt x="1380" y="282"/>
                  </a:lnTo>
                  <a:lnTo>
                    <a:pt x="1344" y="282"/>
                  </a:lnTo>
                  <a:lnTo>
                    <a:pt x="1332" y="294"/>
                  </a:lnTo>
                  <a:lnTo>
                    <a:pt x="1320" y="282"/>
                  </a:lnTo>
                  <a:lnTo>
                    <a:pt x="1326" y="276"/>
                  </a:lnTo>
                  <a:lnTo>
                    <a:pt x="1326" y="264"/>
                  </a:lnTo>
                  <a:lnTo>
                    <a:pt x="1320" y="252"/>
                  </a:lnTo>
                  <a:lnTo>
                    <a:pt x="1314" y="246"/>
                  </a:lnTo>
                  <a:lnTo>
                    <a:pt x="1308" y="246"/>
                  </a:lnTo>
                  <a:lnTo>
                    <a:pt x="1296" y="240"/>
                  </a:lnTo>
                  <a:lnTo>
                    <a:pt x="1290" y="240"/>
                  </a:lnTo>
                  <a:lnTo>
                    <a:pt x="1284" y="246"/>
                  </a:lnTo>
                  <a:lnTo>
                    <a:pt x="1272" y="246"/>
                  </a:lnTo>
                  <a:lnTo>
                    <a:pt x="1260" y="246"/>
                  </a:lnTo>
                  <a:lnTo>
                    <a:pt x="1248" y="246"/>
                  </a:lnTo>
                  <a:lnTo>
                    <a:pt x="1242" y="240"/>
                  </a:lnTo>
                  <a:lnTo>
                    <a:pt x="1236" y="240"/>
                  </a:lnTo>
                  <a:lnTo>
                    <a:pt x="1236" y="234"/>
                  </a:lnTo>
                  <a:lnTo>
                    <a:pt x="1230" y="228"/>
                  </a:lnTo>
                  <a:lnTo>
                    <a:pt x="1230" y="222"/>
                  </a:lnTo>
                  <a:lnTo>
                    <a:pt x="1224" y="210"/>
                  </a:lnTo>
                  <a:lnTo>
                    <a:pt x="1224" y="204"/>
                  </a:lnTo>
                  <a:lnTo>
                    <a:pt x="1218" y="204"/>
                  </a:lnTo>
                  <a:lnTo>
                    <a:pt x="1212" y="204"/>
                  </a:lnTo>
                  <a:lnTo>
                    <a:pt x="1206" y="216"/>
                  </a:lnTo>
                  <a:lnTo>
                    <a:pt x="1200" y="216"/>
                  </a:lnTo>
                  <a:lnTo>
                    <a:pt x="1194" y="210"/>
                  </a:lnTo>
                  <a:lnTo>
                    <a:pt x="1194" y="204"/>
                  </a:lnTo>
                  <a:lnTo>
                    <a:pt x="1194" y="198"/>
                  </a:lnTo>
                  <a:lnTo>
                    <a:pt x="1182" y="198"/>
                  </a:lnTo>
                  <a:lnTo>
                    <a:pt x="1158" y="192"/>
                  </a:lnTo>
                  <a:lnTo>
                    <a:pt x="1146" y="192"/>
                  </a:lnTo>
                  <a:lnTo>
                    <a:pt x="1146" y="198"/>
                  </a:lnTo>
                  <a:lnTo>
                    <a:pt x="1140" y="198"/>
                  </a:lnTo>
                  <a:lnTo>
                    <a:pt x="1134" y="204"/>
                  </a:lnTo>
                  <a:lnTo>
                    <a:pt x="1128" y="204"/>
                  </a:lnTo>
                  <a:lnTo>
                    <a:pt x="1128" y="216"/>
                  </a:lnTo>
                  <a:lnTo>
                    <a:pt x="1128" y="228"/>
                  </a:lnTo>
                  <a:lnTo>
                    <a:pt x="1122" y="234"/>
                  </a:lnTo>
                  <a:lnTo>
                    <a:pt x="1116" y="234"/>
                  </a:lnTo>
                  <a:lnTo>
                    <a:pt x="1098" y="228"/>
                  </a:lnTo>
                  <a:lnTo>
                    <a:pt x="1092" y="228"/>
                  </a:lnTo>
                  <a:lnTo>
                    <a:pt x="1080" y="228"/>
                  </a:lnTo>
                  <a:lnTo>
                    <a:pt x="1068" y="216"/>
                  </a:lnTo>
                  <a:lnTo>
                    <a:pt x="1062" y="222"/>
                  </a:lnTo>
                  <a:lnTo>
                    <a:pt x="1056" y="234"/>
                  </a:lnTo>
                  <a:lnTo>
                    <a:pt x="1050" y="246"/>
                  </a:lnTo>
                  <a:lnTo>
                    <a:pt x="1044" y="240"/>
                  </a:lnTo>
                  <a:lnTo>
                    <a:pt x="1038" y="228"/>
                  </a:lnTo>
                  <a:lnTo>
                    <a:pt x="1038" y="204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6" y="180"/>
                  </a:lnTo>
                  <a:lnTo>
                    <a:pt x="1020" y="174"/>
                  </a:lnTo>
                  <a:lnTo>
                    <a:pt x="1014" y="174"/>
                  </a:lnTo>
                  <a:lnTo>
                    <a:pt x="1008" y="168"/>
                  </a:lnTo>
                  <a:lnTo>
                    <a:pt x="990" y="168"/>
                  </a:lnTo>
                  <a:lnTo>
                    <a:pt x="984" y="174"/>
                  </a:lnTo>
                  <a:lnTo>
                    <a:pt x="972" y="180"/>
                  </a:lnTo>
                  <a:lnTo>
                    <a:pt x="960" y="180"/>
                  </a:lnTo>
                  <a:lnTo>
                    <a:pt x="948" y="174"/>
                  </a:lnTo>
                  <a:lnTo>
                    <a:pt x="918" y="162"/>
                  </a:lnTo>
                  <a:lnTo>
                    <a:pt x="906" y="162"/>
                  </a:lnTo>
                  <a:lnTo>
                    <a:pt x="894" y="156"/>
                  </a:lnTo>
                  <a:lnTo>
                    <a:pt x="876" y="150"/>
                  </a:lnTo>
                  <a:lnTo>
                    <a:pt x="870" y="144"/>
                  </a:lnTo>
                  <a:lnTo>
                    <a:pt x="870" y="138"/>
                  </a:lnTo>
                  <a:lnTo>
                    <a:pt x="876" y="138"/>
                  </a:lnTo>
                  <a:lnTo>
                    <a:pt x="876" y="132"/>
                  </a:lnTo>
                  <a:lnTo>
                    <a:pt x="876" y="126"/>
                  </a:lnTo>
                  <a:lnTo>
                    <a:pt x="870" y="126"/>
                  </a:lnTo>
                  <a:lnTo>
                    <a:pt x="864" y="126"/>
                  </a:lnTo>
                  <a:lnTo>
                    <a:pt x="858" y="138"/>
                  </a:lnTo>
                  <a:lnTo>
                    <a:pt x="846" y="150"/>
                  </a:lnTo>
                  <a:lnTo>
                    <a:pt x="840" y="150"/>
                  </a:lnTo>
                  <a:lnTo>
                    <a:pt x="834" y="156"/>
                  </a:lnTo>
                  <a:lnTo>
                    <a:pt x="828" y="168"/>
                  </a:lnTo>
                  <a:lnTo>
                    <a:pt x="822" y="168"/>
                  </a:lnTo>
                  <a:lnTo>
                    <a:pt x="822" y="150"/>
                  </a:lnTo>
                  <a:lnTo>
                    <a:pt x="816" y="144"/>
                  </a:lnTo>
                  <a:lnTo>
                    <a:pt x="834" y="144"/>
                  </a:lnTo>
                  <a:lnTo>
                    <a:pt x="852" y="120"/>
                  </a:lnTo>
                  <a:lnTo>
                    <a:pt x="864" y="108"/>
                  </a:lnTo>
                  <a:lnTo>
                    <a:pt x="870" y="96"/>
                  </a:lnTo>
                  <a:lnTo>
                    <a:pt x="876" y="90"/>
                  </a:lnTo>
                  <a:lnTo>
                    <a:pt x="876" y="72"/>
                  </a:lnTo>
                  <a:lnTo>
                    <a:pt x="876" y="60"/>
                  </a:lnTo>
                  <a:lnTo>
                    <a:pt x="876" y="54"/>
                  </a:lnTo>
                  <a:lnTo>
                    <a:pt x="870" y="42"/>
                  </a:lnTo>
                  <a:lnTo>
                    <a:pt x="864" y="36"/>
                  </a:lnTo>
                  <a:lnTo>
                    <a:pt x="852" y="36"/>
                  </a:lnTo>
                  <a:lnTo>
                    <a:pt x="846" y="36"/>
                  </a:lnTo>
                  <a:lnTo>
                    <a:pt x="834" y="48"/>
                  </a:lnTo>
                  <a:lnTo>
                    <a:pt x="816" y="48"/>
                  </a:lnTo>
                  <a:lnTo>
                    <a:pt x="810" y="48"/>
                  </a:lnTo>
                  <a:lnTo>
                    <a:pt x="810" y="36"/>
                  </a:lnTo>
                  <a:lnTo>
                    <a:pt x="804" y="30"/>
                  </a:lnTo>
                  <a:lnTo>
                    <a:pt x="810" y="12"/>
                  </a:lnTo>
                  <a:lnTo>
                    <a:pt x="816" y="12"/>
                  </a:lnTo>
                  <a:lnTo>
                    <a:pt x="816" y="6"/>
                  </a:lnTo>
                  <a:lnTo>
                    <a:pt x="810" y="0"/>
                  </a:lnTo>
                  <a:lnTo>
                    <a:pt x="804" y="0"/>
                  </a:lnTo>
                  <a:lnTo>
                    <a:pt x="792" y="0"/>
                  </a:lnTo>
                  <a:lnTo>
                    <a:pt x="786" y="6"/>
                  </a:lnTo>
                  <a:lnTo>
                    <a:pt x="786" y="12"/>
                  </a:lnTo>
                  <a:lnTo>
                    <a:pt x="774" y="24"/>
                  </a:lnTo>
                  <a:lnTo>
                    <a:pt x="762" y="3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44" y="48"/>
                  </a:lnTo>
                  <a:lnTo>
                    <a:pt x="744" y="54"/>
                  </a:lnTo>
                  <a:lnTo>
                    <a:pt x="768" y="72"/>
                  </a:lnTo>
                  <a:lnTo>
                    <a:pt x="768" y="90"/>
                  </a:lnTo>
                  <a:lnTo>
                    <a:pt x="762" y="96"/>
                  </a:lnTo>
                  <a:lnTo>
                    <a:pt x="756" y="90"/>
                  </a:lnTo>
                  <a:lnTo>
                    <a:pt x="750" y="84"/>
                  </a:lnTo>
                  <a:lnTo>
                    <a:pt x="744" y="72"/>
                  </a:lnTo>
                  <a:lnTo>
                    <a:pt x="738" y="66"/>
                  </a:lnTo>
                  <a:lnTo>
                    <a:pt x="726" y="66"/>
                  </a:lnTo>
                  <a:lnTo>
                    <a:pt x="714" y="66"/>
                  </a:lnTo>
                  <a:lnTo>
                    <a:pt x="708" y="66"/>
                  </a:lnTo>
                  <a:lnTo>
                    <a:pt x="702" y="66"/>
                  </a:lnTo>
                  <a:lnTo>
                    <a:pt x="696" y="60"/>
                  </a:lnTo>
                  <a:lnTo>
                    <a:pt x="690" y="66"/>
                  </a:lnTo>
                  <a:lnTo>
                    <a:pt x="684" y="72"/>
                  </a:lnTo>
                  <a:lnTo>
                    <a:pt x="678" y="72"/>
                  </a:lnTo>
                  <a:lnTo>
                    <a:pt x="672" y="78"/>
                  </a:lnTo>
                  <a:lnTo>
                    <a:pt x="654" y="84"/>
                  </a:lnTo>
                  <a:lnTo>
                    <a:pt x="648" y="90"/>
                  </a:lnTo>
                  <a:lnTo>
                    <a:pt x="642" y="102"/>
                  </a:lnTo>
                  <a:lnTo>
                    <a:pt x="636" y="120"/>
                  </a:lnTo>
                  <a:lnTo>
                    <a:pt x="630" y="126"/>
                  </a:lnTo>
                  <a:lnTo>
                    <a:pt x="624" y="132"/>
                  </a:lnTo>
                  <a:lnTo>
                    <a:pt x="618" y="138"/>
                  </a:lnTo>
                  <a:lnTo>
                    <a:pt x="618" y="144"/>
                  </a:lnTo>
                  <a:lnTo>
                    <a:pt x="618" y="150"/>
                  </a:lnTo>
                  <a:lnTo>
                    <a:pt x="612" y="150"/>
                  </a:lnTo>
                  <a:lnTo>
                    <a:pt x="588" y="162"/>
                  </a:lnTo>
                  <a:lnTo>
                    <a:pt x="582" y="162"/>
                  </a:lnTo>
                  <a:lnTo>
                    <a:pt x="576" y="168"/>
                  </a:lnTo>
                  <a:lnTo>
                    <a:pt x="576" y="174"/>
                  </a:lnTo>
                  <a:lnTo>
                    <a:pt x="576" y="180"/>
                  </a:lnTo>
                  <a:lnTo>
                    <a:pt x="576" y="192"/>
                  </a:lnTo>
                  <a:lnTo>
                    <a:pt x="576" y="204"/>
                  </a:lnTo>
                  <a:lnTo>
                    <a:pt x="582" y="204"/>
                  </a:lnTo>
                  <a:lnTo>
                    <a:pt x="588" y="204"/>
                  </a:lnTo>
                  <a:lnTo>
                    <a:pt x="594" y="210"/>
                  </a:lnTo>
                  <a:lnTo>
                    <a:pt x="594" y="216"/>
                  </a:lnTo>
                  <a:lnTo>
                    <a:pt x="606" y="222"/>
                  </a:lnTo>
                  <a:lnTo>
                    <a:pt x="606" y="258"/>
                  </a:lnTo>
                  <a:lnTo>
                    <a:pt x="600" y="264"/>
                  </a:lnTo>
                  <a:lnTo>
                    <a:pt x="606" y="276"/>
                  </a:lnTo>
                  <a:lnTo>
                    <a:pt x="612" y="282"/>
                  </a:lnTo>
                  <a:lnTo>
                    <a:pt x="600" y="282"/>
                  </a:lnTo>
                  <a:lnTo>
                    <a:pt x="594" y="276"/>
                  </a:lnTo>
                  <a:lnTo>
                    <a:pt x="588" y="270"/>
                  </a:lnTo>
                  <a:lnTo>
                    <a:pt x="588" y="264"/>
                  </a:lnTo>
                  <a:lnTo>
                    <a:pt x="588" y="258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82" y="246"/>
                  </a:lnTo>
                  <a:lnTo>
                    <a:pt x="588" y="240"/>
                  </a:lnTo>
                  <a:lnTo>
                    <a:pt x="594" y="228"/>
                  </a:lnTo>
                  <a:lnTo>
                    <a:pt x="594" y="222"/>
                  </a:lnTo>
                  <a:lnTo>
                    <a:pt x="582" y="222"/>
                  </a:lnTo>
                  <a:lnTo>
                    <a:pt x="576" y="216"/>
                  </a:lnTo>
                  <a:lnTo>
                    <a:pt x="570" y="216"/>
                  </a:lnTo>
                  <a:lnTo>
                    <a:pt x="558" y="210"/>
                  </a:lnTo>
                  <a:lnTo>
                    <a:pt x="546" y="204"/>
                  </a:lnTo>
                  <a:lnTo>
                    <a:pt x="540" y="204"/>
                  </a:lnTo>
                  <a:lnTo>
                    <a:pt x="540" y="210"/>
                  </a:lnTo>
                  <a:lnTo>
                    <a:pt x="534" y="204"/>
                  </a:lnTo>
                  <a:lnTo>
                    <a:pt x="534" y="198"/>
                  </a:lnTo>
                  <a:lnTo>
                    <a:pt x="534" y="186"/>
                  </a:lnTo>
                  <a:lnTo>
                    <a:pt x="534" y="180"/>
                  </a:lnTo>
                  <a:lnTo>
                    <a:pt x="528" y="180"/>
                  </a:lnTo>
                  <a:lnTo>
                    <a:pt x="522" y="180"/>
                  </a:lnTo>
                  <a:lnTo>
                    <a:pt x="516" y="180"/>
                  </a:lnTo>
                  <a:lnTo>
                    <a:pt x="516" y="186"/>
                  </a:lnTo>
                  <a:lnTo>
                    <a:pt x="516" y="198"/>
                  </a:lnTo>
                  <a:lnTo>
                    <a:pt x="522" y="210"/>
                  </a:lnTo>
                  <a:lnTo>
                    <a:pt x="516" y="210"/>
                  </a:lnTo>
                  <a:lnTo>
                    <a:pt x="510" y="216"/>
                  </a:lnTo>
                  <a:lnTo>
                    <a:pt x="510" y="222"/>
                  </a:lnTo>
                  <a:lnTo>
                    <a:pt x="504" y="228"/>
                  </a:lnTo>
                  <a:lnTo>
                    <a:pt x="504" y="234"/>
                  </a:lnTo>
                  <a:lnTo>
                    <a:pt x="510" y="240"/>
                  </a:lnTo>
                  <a:lnTo>
                    <a:pt x="510" y="246"/>
                  </a:lnTo>
                  <a:lnTo>
                    <a:pt x="510" y="258"/>
                  </a:lnTo>
                  <a:lnTo>
                    <a:pt x="504" y="264"/>
                  </a:lnTo>
                  <a:lnTo>
                    <a:pt x="504" y="270"/>
                  </a:lnTo>
                  <a:lnTo>
                    <a:pt x="504" y="282"/>
                  </a:lnTo>
                  <a:lnTo>
                    <a:pt x="504" y="300"/>
                  </a:lnTo>
                  <a:lnTo>
                    <a:pt x="516" y="300"/>
                  </a:lnTo>
                  <a:lnTo>
                    <a:pt x="528" y="294"/>
                  </a:lnTo>
                  <a:lnTo>
                    <a:pt x="528" y="288"/>
                  </a:lnTo>
                  <a:lnTo>
                    <a:pt x="534" y="288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6" y="312"/>
                  </a:lnTo>
                  <a:lnTo>
                    <a:pt x="552" y="330"/>
                  </a:lnTo>
                  <a:lnTo>
                    <a:pt x="552" y="336"/>
                  </a:lnTo>
                  <a:lnTo>
                    <a:pt x="558" y="336"/>
                  </a:lnTo>
                  <a:lnTo>
                    <a:pt x="564" y="336"/>
                  </a:lnTo>
                  <a:lnTo>
                    <a:pt x="570" y="336"/>
                  </a:lnTo>
                  <a:lnTo>
                    <a:pt x="576" y="342"/>
                  </a:lnTo>
                  <a:lnTo>
                    <a:pt x="582" y="342"/>
                  </a:lnTo>
                  <a:lnTo>
                    <a:pt x="582" y="348"/>
                  </a:lnTo>
                  <a:lnTo>
                    <a:pt x="576" y="348"/>
                  </a:lnTo>
                  <a:lnTo>
                    <a:pt x="570" y="348"/>
                  </a:lnTo>
                  <a:lnTo>
                    <a:pt x="564" y="354"/>
                  </a:lnTo>
                  <a:lnTo>
                    <a:pt x="558" y="360"/>
                  </a:lnTo>
                  <a:lnTo>
                    <a:pt x="564" y="360"/>
                  </a:lnTo>
                  <a:lnTo>
                    <a:pt x="564" y="366"/>
                  </a:lnTo>
                  <a:lnTo>
                    <a:pt x="564" y="378"/>
                  </a:lnTo>
                  <a:lnTo>
                    <a:pt x="564" y="390"/>
                  </a:lnTo>
                  <a:lnTo>
                    <a:pt x="558" y="390"/>
                  </a:lnTo>
                  <a:lnTo>
                    <a:pt x="558" y="384"/>
                  </a:lnTo>
                  <a:lnTo>
                    <a:pt x="552" y="384"/>
                  </a:lnTo>
                  <a:lnTo>
                    <a:pt x="552" y="366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40" y="360"/>
                  </a:lnTo>
                  <a:lnTo>
                    <a:pt x="534" y="366"/>
                  </a:lnTo>
                  <a:lnTo>
                    <a:pt x="528" y="366"/>
                  </a:lnTo>
                  <a:lnTo>
                    <a:pt x="528" y="360"/>
                  </a:lnTo>
                  <a:lnTo>
                    <a:pt x="534" y="348"/>
                  </a:lnTo>
                  <a:lnTo>
                    <a:pt x="534" y="330"/>
                  </a:lnTo>
                  <a:lnTo>
                    <a:pt x="534" y="306"/>
                  </a:lnTo>
                  <a:lnTo>
                    <a:pt x="534" y="294"/>
                  </a:lnTo>
                  <a:lnTo>
                    <a:pt x="528" y="306"/>
                  </a:lnTo>
                  <a:lnTo>
                    <a:pt x="522" y="306"/>
                  </a:lnTo>
                  <a:lnTo>
                    <a:pt x="516" y="306"/>
                  </a:lnTo>
                  <a:lnTo>
                    <a:pt x="510" y="306"/>
                  </a:lnTo>
                  <a:lnTo>
                    <a:pt x="510" y="312"/>
                  </a:lnTo>
                  <a:lnTo>
                    <a:pt x="510" y="348"/>
                  </a:lnTo>
                  <a:lnTo>
                    <a:pt x="504" y="360"/>
                  </a:lnTo>
                  <a:lnTo>
                    <a:pt x="498" y="360"/>
                  </a:lnTo>
                  <a:lnTo>
                    <a:pt x="492" y="366"/>
                  </a:lnTo>
                  <a:lnTo>
                    <a:pt x="486" y="366"/>
                  </a:lnTo>
                  <a:lnTo>
                    <a:pt x="474" y="366"/>
                  </a:lnTo>
                  <a:lnTo>
                    <a:pt x="462" y="366"/>
                  </a:lnTo>
                  <a:lnTo>
                    <a:pt x="450" y="360"/>
                  </a:lnTo>
                  <a:lnTo>
                    <a:pt x="456" y="360"/>
                  </a:lnTo>
                  <a:lnTo>
                    <a:pt x="468" y="354"/>
                  </a:lnTo>
                  <a:lnTo>
                    <a:pt x="480" y="354"/>
                  </a:lnTo>
                  <a:lnTo>
                    <a:pt x="486" y="348"/>
                  </a:lnTo>
                  <a:lnTo>
                    <a:pt x="486" y="342"/>
                  </a:lnTo>
                  <a:lnTo>
                    <a:pt x="486" y="336"/>
                  </a:lnTo>
                  <a:lnTo>
                    <a:pt x="498" y="318"/>
                  </a:lnTo>
                  <a:lnTo>
                    <a:pt x="504" y="312"/>
                  </a:lnTo>
                  <a:lnTo>
                    <a:pt x="498" y="306"/>
                  </a:lnTo>
                  <a:lnTo>
                    <a:pt x="492" y="306"/>
                  </a:lnTo>
                  <a:lnTo>
                    <a:pt x="492" y="258"/>
                  </a:lnTo>
                  <a:lnTo>
                    <a:pt x="492" y="252"/>
                  </a:lnTo>
                  <a:lnTo>
                    <a:pt x="492" y="246"/>
                  </a:lnTo>
                  <a:lnTo>
                    <a:pt x="486" y="234"/>
                  </a:lnTo>
                  <a:lnTo>
                    <a:pt x="486" y="216"/>
                  </a:lnTo>
                  <a:lnTo>
                    <a:pt x="492" y="216"/>
                  </a:lnTo>
                  <a:lnTo>
                    <a:pt x="492" y="204"/>
                  </a:lnTo>
                  <a:lnTo>
                    <a:pt x="504" y="192"/>
                  </a:lnTo>
                  <a:lnTo>
                    <a:pt x="504" y="186"/>
                  </a:lnTo>
                  <a:lnTo>
                    <a:pt x="498" y="186"/>
                  </a:lnTo>
                  <a:lnTo>
                    <a:pt x="474" y="186"/>
                  </a:lnTo>
                  <a:lnTo>
                    <a:pt x="474" y="180"/>
                  </a:lnTo>
                  <a:lnTo>
                    <a:pt x="468" y="186"/>
                  </a:lnTo>
                  <a:lnTo>
                    <a:pt x="462" y="198"/>
                  </a:lnTo>
                  <a:lnTo>
                    <a:pt x="456" y="210"/>
                  </a:lnTo>
                  <a:lnTo>
                    <a:pt x="456" y="216"/>
                  </a:lnTo>
                  <a:lnTo>
                    <a:pt x="450" y="222"/>
                  </a:lnTo>
                  <a:lnTo>
                    <a:pt x="444" y="228"/>
                  </a:lnTo>
                  <a:lnTo>
                    <a:pt x="444" y="234"/>
                  </a:lnTo>
                  <a:lnTo>
                    <a:pt x="438" y="240"/>
                  </a:lnTo>
                  <a:lnTo>
                    <a:pt x="438" y="252"/>
                  </a:lnTo>
                  <a:lnTo>
                    <a:pt x="438" y="276"/>
                  </a:lnTo>
                  <a:lnTo>
                    <a:pt x="438" y="282"/>
                  </a:lnTo>
                  <a:lnTo>
                    <a:pt x="444" y="294"/>
                  </a:lnTo>
                  <a:lnTo>
                    <a:pt x="444" y="300"/>
                  </a:lnTo>
                  <a:lnTo>
                    <a:pt x="438" y="300"/>
                  </a:lnTo>
                  <a:lnTo>
                    <a:pt x="414" y="276"/>
                  </a:lnTo>
                  <a:lnTo>
                    <a:pt x="390" y="276"/>
                  </a:lnTo>
                  <a:lnTo>
                    <a:pt x="384" y="282"/>
                  </a:lnTo>
                  <a:lnTo>
                    <a:pt x="390" y="288"/>
                  </a:lnTo>
                  <a:lnTo>
                    <a:pt x="390" y="300"/>
                  </a:lnTo>
                  <a:lnTo>
                    <a:pt x="372" y="312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0" y="300"/>
                  </a:lnTo>
                  <a:lnTo>
                    <a:pt x="360" y="306"/>
                  </a:lnTo>
                  <a:lnTo>
                    <a:pt x="342" y="306"/>
                  </a:lnTo>
                  <a:lnTo>
                    <a:pt x="336" y="306"/>
                  </a:lnTo>
                  <a:lnTo>
                    <a:pt x="330" y="312"/>
                  </a:lnTo>
                  <a:lnTo>
                    <a:pt x="324" y="312"/>
                  </a:lnTo>
                  <a:lnTo>
                    <a:pt x="324" y="300"/>
                  </a:lnTo>
                  <a:lnTo>
                    <a:pt x="318" y="300"/>
                  </a:lnTo>
                  <a:lnTo>
                    <a:pt x="294" y="312"/>
                  </a:lnTo>
                  <a:lnTo>
                    <a:pt x="282" y="318"/>
                  </a:lnTo>
                  <a:lnTo>
                    <a:pt x="276" y="318"/>
                  </a:lnTo>
                  <a:lnTo>
                    <a:pt x="270" y="330"/>
                  </a:lnTo>
                  <a:lnTo>
                    <a:pt x="264" y="336"/>
                  </a:lnTo>
                  <a:lnTo>
                    <a:pt x="264" y="342"/>
                  </a:lnTo>
                  <a:lnTo>
                    <a:pt x="264" y="348"/>
                  </a:lnTo>
                  <a:lnTo>
                    <a:pt x="258" y="354"/>
                  </a:lnTo>
                  <a:lnTo>
                    <a:pt x="258" y="348"/>
                  </a:lnTo>
                  <a:lnTo>
                    <a:pt x="246" y="342"/>
                  </a:lnTo>
                  <a:lnTo>
                    <a:pt x="246" y="330"/>
                  </a:lnTo>
                  <a:lnTo>
                    <a:pt x="252" y="324"/>
                  </a:lnTo>
                  <a:lnTo>
                    <a:pt x="252" y="318"/>
                  </a:lnTo>
                  <a:lnTo>
                    <a:pt x="252" y="306"/>
                  </a:lnTo>
                  <a:lnTo>
                    <a:pt x="240" y="306"/>
                  </a:lnTo>
                  <a:lnTo>
                    <a:pt x="228" y="300"/>
                  </a:lnTo>
                  <a:lnTo>
                    <a:pt x="222" y="306"/>
                  </a:lnTo>
                  <a:lnTo>
                    <a:pt x="216" y="306"/>
                  </a:lnTo>
                  <a:lnTo>
                    <a:pt x="228" y="312"/>
                  </a:lnTo>
                  <a:lnTo>
                    <a:pt x="228" y="330"/>
                  </a:lnTo>
                  <a:lnTo>
                    <a:pt x="228" y="336"/>
                  </a:lnTo>
                  <a:lnTo>
                    <a:pt x="234" y="348"/>
                  </a:lnTo>
                  <a:lnTo>
                    <a:pt x="228" y="360"/>
                  </a:lnTo>
                  <a:lnTo>
                    <a:pt x="228" y="366"/>
                  </a:lnTo>
                  <a:lnTo>
                    <a:pt x="222" y="360"/>
                  </a:lnTo>
                  <a:lnTo>
                    <a:pt x="216" y="360"/>
                  </a:lnTo>
                  <a:lnTo>
                    <a:pt x="210" y="360"/>
                  </a:lnTo>
                  <a:lnTo>
                    <a:pt x="198" y="372"/>
                  </a:lnTo>
                  <a:lnTo>
                    <a:pt x="186" y="378"/>
                  </a:lnTo>
                  <a:lnTo>
                    <a:pt x="186" y="384"/>
                  </a:lnTo>
                  <a:lnTo>
                    <a:pt x="186" y="390"/>
                  </a:lnTo>
                  <a:lnTo>
                    <a:pt x="192" y="396"/>
                  </a:lnTo>
                  <a:lnTo>
                    <a:pt x="192" y="402"/>
                  </a:lnTo>
                  <a:lnTo>
                    <a:pt x="174" y="402"/>
                  </a:lnTo>
                  <a:lnTo>
                    <a:pt x="168" y="390"/>
                  </a:lnTo>
                  <a:lnTo>
                    <a:pt x="162" y="384"/>
                  </a:lnTo>
                  <a:lnTo>
                    <a:pt x="156" y="378"/>
                  </a:lnTo>
                  <a:lnTo>
                    <a:pt x="156" y="390"/>
                  </a:lnTo>
                  <a:lnTo>
                    <a:pt x="156" y="402"/>
                  </a:lnTo>
                  <a:lnTo>
                    <a:pt x="162" y="414"/>
                  </a:lnTo>
                  <a:lnTo>
                    <a:pt x="162" y="420"/>
                  </a:lnTo>
                  <a:lnTo>
                    <a:pt x="156" y="420"/>
                  </a:lnTo>
                  <a:lnTo>
                    <a:pt x="150" y="408"/>
                  </a:lnTo>
                  <a:lnTo>
                    <a:pt x="138" y="402"/>
                  </a:lnTo>
                  <a:lnTo>
                    <a:pt x="138" y="396"/>
                  </a:lnTo>
                  <a:lnTo>
                    <a:pt x="138" y="390"/>
                  </a:lnTo>
                  <a:lnTo>
                    <a:pt x="144" y="384"/>
                  </a:lnTo>
                  <a:lnTo>
                    <a:pt x="138" y="378"/>
                  </a:lnTo>
                  <a:lnTo>
                    <a:pt x="120" y="360"/>
                  </a:lnTo>
                  <a:lnTo>
                    <a:pt x="120" y="348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50" y="366"/>
                  </a:lnTo>
                  <a:lnTo>
                    <a:pt x="156" y="372"/>
                  </a:lnTo>
                  <a:lnTo>
                    <a:pt x="168" y="372"/>
                  </a:lnTo>
                  <a:lnTo>
                    <a:pt x="174" y="372"/>
                  </a:lnTo>
                  <a:lnTo>
                    <a:pt x="186" y="366"/>
                  </a:lnTo>
                  <a:lnTo>
                    <a:pt x="198" y="360"/>
                  </a:lnTo>
                  <a:lnTo>
                    <a:pt x="198" y="348"/>
                  </a:lnTo>
                  <a:lnTo>
                    <a:pt x="204" y="342"/>
                  </a:lnTo>
                  <a:lnTo>
                    <a:pt x="204" y="330"/>
                  </a:lnTo>
                  <a:lnTo>
                    <a:pt x="198" y="324"/>
                  </a:lnTo>
                  <a:lnTo>
                    <a:pt x="192" y="324"/>
                  </a:lnTo>
                  <a:lnTo>
                    <a:pt x="180" y="318"/>
                  </a:lnTo>
                  <a:lnTo>
                    <a:pt x="174" y="306"/>
                  </a:lnTo>
                  <a:lnTo>
                    <a:pt x="168" y="300"/>
                  </a:lnTo>
                  <a:lnTo>
                    <a:pt x="162" y="294"/>
                  </a:lnTo>
                  <a:lnTo>
                    <a:pt x="144" y="288"/>
                  </a:lnTo>
                  <a:lnTo>
                    <a:pt x="132" y="282"/>
                  </a:lnTo>
                  <a:lnTo>
                    <a:pt x="126" y="288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14" y="264"/>
                  </a:lnTo>
                  <a:lnTo>
                    <a:pt x="108" y="270"/>
                  </a:lnTo>
                  <a:lnTo>
                    <a:pt x="102" y="270"/>
                  </a:lnTo>
                  <a:lnTo>
                    <a:pt x="102" y="276"/>
                  </a:lnTo>
                  <a:lnTo>
                    <a:pt x="96" y="282"/>
                  </a:lnTo>
                  <a:lnTo>
                    <a:pt x="90" y="288"/>
                  </a:lnTo>
                  <a:lnTo>
                    <a:pt x="84" y="300"/>
                  </a:lnTo>
                  <a:lnTo>
                    <a:pt x="84" y="312"/>
                  </a:lnTo>
                  <a:lnTo>
                    <a:pt x="102" y="330"/>
                  </a:lnTo>
                  <a:lnTo>
                    <a:pt x="102" y="348"/>
                  </a:lnTo>
                  <a:lnTo>
                    <a:pt x="90" y="360"/>
                  </a:lnTo>
                  <a:lnTo>
                    <a:pt x="96" y="372"/>
                  </a:lnTo>
                  <a:lnTo>
                    <a:pt x="90" y="414"/>
                  </a:lnTo>
                  <a:lnTo>
                    <a:pt x="96" y="426"/>
                  </a:lnTo>
                  <a:lnTo>
                    <a:pt x="96" y="432"/>
                  </a:lnTo>
                  <a:lnTo>
                    <a:pt x="102" y="444"/>
                  </a:lnTo>
                  <a:lnTo>
                    <a:pt x="102" y="450"/>
                  </a:lnTo>
                  <a:lnTo>
                    <a:pt x="102" y="462"/>
                  </a:lnTo>
                  <a:lnTo>
                    <a:pt x="72" y="486"/>
                  </a:lnTo>
                  <a:lnTo>
                    <a:pt x="78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90" y="498"/>
                  </a:lnTo>
                  <a:lnTo>
                    <a:pt x="84" y="498"/>
                  </a:lnTo>
                  <a:lnTo>
                    <a:pt x="78" y="498"/>
                  </a:lnTo>
                  <a:lnTo>
                    <a:pt x="72" y="504"/>
                  </a:lnTo>
                  <a:lnTo>
                    <a:pt x="66" y="510"/>
                  </a:lnTo>
                  <a:lnTo>
                    <a:pt x="60" y="504"/>
                  </a:lnTo>
                  <a:lnTo>
                    <a:pt x="54" y="504"/>
                  </a:lnTo>
                  <a:lnTo>
                    <a:pt x="42" y="504"/>
                  </a:lnTo>
                  <a:lnTo>
                    <a:pt x="36" y="504"/>
                  </a:lnTo>
                  <a:lnTo>
                    <a:pt x="36" y="510"/>
                  </a:lnTo>
                  <a:lnTo>
                    <a:pt x="30" y="516"/>
                  </a:lnTo>
                  <a:lnTo>
                    <a:pt x="30" y="522"/>
                  </a:lnTo>
                  <a:lnTo>
                    <a:pt x="30" y="528"/>
                  </a:lnTo>
                  <a:lnTo>
                    <a:pt x="36" y="528"/>
                  </a:lnTo>
                  <a:lnTo>
                    <a:pt x="36" y="540"/>
                  </a:lnTo>
                  <a:lnTo>
                    <a:pt x="36" y="552"/>
                  </a:lnTo>
                  <a:lnTo>
                    <a:pt x="24" y="546"/>
                  </a:lnTo>
                  <a:lnTo>
                    <a:pt x="18" y="540"/>
                  </a:lnTo>
                  <a:lnTo>
                    <a:pt x="6" y="552"/>
                  </a:lnTo>
                  <a:lnTo>
                    <a:pt x="6" y="558"/>
                  </a:lnTo>
                  <a:lnTo>
                    <a:pt x="0" y="570"/>
                  </a:lnTo>
                  <a:lnTo>
                    <a:pt x="0" y="582"/>
                  </a:lnTo>
                  <a:lnTo>
                    <a:pt x="6" y="582"/>
                  </a:lnTo>
                  <a:lnTo>
                    <a:pt x="18" y="582"/>
                  </a:lnTo>
                  <a:lnTo>
                    <a:pt x="24" y="594"/>
                  </a:lnTo>
                  <a:lnTo>
                    <a:pt x="30" y="600"/>
                  </a:lnTo>
                  <a:lnTo>
                    <a:pt x="36" y="606"/>
                  </a:lnTo>
                  <a:lnTo>
                    <a:pt x="36" y="612"/>
                  </a:lnTo>
                  <a:lnTo>
                    <a:pt x="30" y="618"/>
                  </a:lnTo>
                  <a:lnTo>
                    <a:pt x="30" y="624"/>
                  </a:lnTo>
                  <a:lnTo>
                    <a:pt x="36" y="624"/>
                  </a:lnTo>
                  <a:lnTo>
                    <a:pt x="36" y="630"/>
                  </a:lnTo>
                  <a:lnTo>
                    <a:pt x="42" y="642"/>
                  </a:lnTo>
                  <a:lnTo>
                    <a:pt x="48" y="654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24" y="672"/>
                  </a:lnTo>
                  <a:lnTo>
                    <a:pt x="24" y="678"/>
                  </a:lnTo>
                  <a:lnTo>
                    <a:pt x="18" y="678"/>
                  </a:lnTo>
                  <a:lnTo>
                    <a:pt x="18" y="684"/>
                  </a:lnTo>
                  <a:lnTo>
                    <a:pt x="24" y="684"/>
                  </a:lnTo>
                  <a:lnTo>
                    <a:pt x="30" y="684"/>
                  </a:lnTo>
                  <a:lnTo>
                    <a:pt x="36" y="684"/>
                  </a:lnTo>
                  <a:lnTo>
                    <a:pt x="42" y="684"/>
                  </a:lnTo>
                  <a:lnTo>
                    <a:pt x="54" y="684"/>
                  </a:lnTo>
                  <a:lnTo>
                    <a:pt x="60" y="684"/>
                  </a:lnTo>
                  <a:lnTo>
                    <a:pt x="66" y="684"/>
                  </a:lnTo>
                  <a:lnTo>
                    <a:pt x="72" y="690"/>
                  </a:lnTo>
                  <a:lnTo>
                    <a:pt x="78" y="690"/>
                  </a:lnTo>
                  <a:lnTo>
                    <a:pt x="78" y="696"/>
                  </a:lnTo>
                  <a:lnTo>
                    <a:pt x="78" y="708"/>
                  </a:lnTo>
                  <a:lnTo>
                    <a:pt x="78" y="714"/>
                  </a:lnTo>
                  <a:lnTo>
                    <a:pt x="78" y="726"/>
                  </a:lnTo>
                  <a:lnTo>
                    <a:pt x="84" y="726"/>
                  </a:lnTo>
                  <a:lnTo>
                    <a:pt x="84" y="732"/>
                  </a:lnTo>
                  <a:lnTo>
                    <a:pt x="84" y="726"/>
                  </a:lnTo>
                  <a:lnTo>
                    <a:pt x="90" y="726"/>
                  </a:lnTo>
                  <a:lnTo>
                    <a:pt x="96" y="720"/>
                  </a:lnTo>
                  <a:lnTo>
                    <a:pt x="102" y="720"/>
                  </a:lnTo>
                  <a:lnTo>
                    <a:pt x="108" y="720"/>
                  </a:lnTo>
                  <a:lnTo>
                    <a:pt x="114" y="726"/>
                  </a:lnTo>
                  <a:lnTo>
                    <a:pt x="120" y="726"/>
                  </a:lnTo>
                  <a:lnTo>
                    <a:pt x="120" y="732"/>
                  </a:lnTo>
                  <a:lnTo>
                    <a:pt x="126" y="732"/>
                  </a:lnTo>
                  <a:lnTo>
                    <a:pt x="132" y="726"/>
                  </a:lnTo>
                  <a:lnTo>
                    <a:pt x="132" y="732"/>
                  </a:lnTo>
                  <a:lnTo>
                    <a:pt x="138" y="732"/>
                  </a:lnTo>
                  <a:lnTo>
                    <a:pt x="132" y="738"/>
                  </a:lnTo>
                  <a:lnTo>
                    <a:pt x="132" y="744"/>
                  </a:lnTo>
                  <a:lnTo>
                    <a:pt x="132" y="750"/>
                  </a:lnTo>
                  <a:lnTo>
                    <a:pt x="138" y="744"/>
                  </a:lnTo>
                  <a:lnTo>
                    <a:pt x="144" y="744"/>
                  </a:lnTo>
                  <a:lnTo>
                    <a:pt x="150" y="738"/>
                  </a:lnTo>
                  <a:lnTo>
                    <a:pt x="144" y="738"/>
                  </a:lnTo>
                  <a:lnTo>
                    <a:pt x="144" y="732"/>
                  </a:lnTo>
                  <a:lnTo>
                    <a:pt x="138" y="726"/>
                  </a:lnTo>
                  <a:lnTo>
                    <a:pt x="144" y="726"/>
                  </a:lnTo>
                  <a:lnTo>
                    <a:pt x="144" y="720"/>
                  </a:lnTo>
                  <a:lnTo>
                    <a:pt x="156" y="720"/>
                  </a:lnTo>
                  <a:lnTo>
                    <a:pt x="162" y="720"/>
                  </a:lnTo>
                  <a:lnTo>
                    <a:pt x="162" y="726"/>
                  </a:lnTo>
                  <a:lnTo>
                    <a:pt x="156" y="732"/>
                  </a:lnTo>
                  <a:lnTo>
                    <a:pt x="150" y="732"/>
                  </a:lnTo>
                  <a:lnTo>
                    <a:pt x="150" y="738"/>
                  </a:lnTo>
                  <a:lnTo>
                    <a:pt x="156" y="744"/>
                  </a:lnTo>
                  <a:lnTo>
                    <a:pt x="162" y="750"/>
                  </a:lnTo>
                  <a:lnTo>
                    <a:pt x="174" y="756"/>
                  </a:lnTo>
                  <a:lnTo>
                    <a:pt x="192" y="774"/>
                  </a:lnTo>
                  <a:lnTo>
                    <a:pt x="192" y="780"/>
                  </a:lnTo>
                  <a:lnTo>
                    <a:pt x="192" y="786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92" y="798"/>
                  </a:lnTo>
                  <a:lnTo>
                    <a:pt x="204" y="804"/>
                  </a:lnTo>
                  <a:lnTo>
                    <a:pt x="210" y="810"/>
                  </a:lnTo>
                  <a:lnTo>
                    <a:pt x="228" y="816"/>
                  </a:lnTo>
                  <a:lnTo>
                    <a:pt x="234" y="816"/>
                  </a:lnTo>
                  <a:lnTo>
                    <a:pt x="240" y="816"/>
                  </a:lnTo>
                  <a:lnTo>
                    <a:pt x="252" y="804"/>
                  </a:lnTo>
                  <a:lnTo>
                    <a:pt x="258" y="810"/>
                  </a:lnTo>
                  <a:lnTo>
                    <a:pt x="258" y="816"/>
                  </a:lnTo>
                  <a:lnTo>
                    <a:pt x="264" y="822"/>
                  </a:lnTo>
                  <a:lnTo>
                    <a:pt x="258" y="810"/>
                  </a:lnTo>
                  <a:lnTo>
                    <a:pt x="258" y="798"/>
                  </a:lnTo>
                  <a:lnTo>
                    <a:pt x="264" y="792"/>
                  </a:lnTo>
                  <a:lnTo>
                    <a:pt x="258" y="786"/>
                  </a:lnTo>
                  <a:lnTo>
                    <a:pt x="258" y="780"/>
                  </a:lnTo>
                  <a:lnTo>
                    <a:pt x="264" y="774"/>
                  </a:lnTo>
                  <a:lnTo>
                    <a:pt x="258" y="774"/>
                  </a:lnTo>
                  <a:lnTo>
                    <a:pt x="252" y="762"/>
                  </a:lnTo>
                  <a:lnTo>
                    <a:pt x="252" y="756"/>
                  </a:lnTo>
                  <a:lnTo>
                    <a:pt x="246" y="744"/>
                  </a:lnTo>
                  <a:lnTo>
                    <a:pt x="252" y="732"/>
                  </a:lnTo>
                  <a:lnTo>
                    <a:pt x="258" y="720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82" y="714"/>
                  </a:lnTo>
                  <a:lnTo>
                    <a:pt x="300" y="714"/>
                  </a:lnTo>
                  <a:lnTo>
                    <a:pt x="306" y="720"/>
                  </a:lnTo>
                  <a:lnTo>
                    <a:pt x="312" y="726"/>
                  </a:lnTo>
                  <a:lnTo>
                    <a:pt x="312" y="732"/>
                  </a:lnTo>
                  <a:lnTo>
                    <a:pt x="306" y="738"/>
                  </a:lnTo>
                  <a:lnTo>
                    <a:pt x="294" y="744"/>
                  </a:lnTo>
                  <a:lnTo>
                    <a:pt x="288" y="744"/>
                  </a:lnTo>
                  <a:lnTo>
                    <a:pt x="282" y="744"/>
                  </a:lnTo>
                  <a:lnTo>
                    <a:pt x="276" y="750"/>
                  </a:lnTo>
                  <a:lnTo>
                    <a:pt x="276" y="756"/>
                  </a:lnTo>
                  <a:lnTo>
                    <a:pt x="282" y="768"/>
                  </a:lnTo>
                  <a:lnTo>
                    <a:pt x="288" y="768"/>
                  </a:lnTo>
                  <a:lnTo>
                    <a:pt x="294" y="768"/>
                  </a:lnTo>
                  <a:lnTo>
                    <a:pt x="294" y="774"/>
                  </a:lnTo>
                  <a:lnTo>
                    <a:pt x="294" y="786"/>
                  </a:lnTo>
                  <a:lnTo>
                    <a:pt x="300" y="786"/>
                  </a:lnTo>
                  <a:lnTo>
                    <a:pt x="306" y="786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06" y="798"/>
                  </a:lnTo>
                  <a:lnTo>
                    <a:pt x="300" y="804"/>
                  </a:lnTo>
                  <a:lnTo>
                    <a:pt x="294" y="810"/>
                  </a:lnTo>
                  <a:lnTo>
                    <a:pt x="300" y="810"/>
                  </a:lnTo>
                  <a:lnTo>
                    <a:pt x="300" y="816"/>
                  </a:lnTo>
                  <a:lnTo>
                    <a:pt x="300" y="828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6" y="846"/>
                  </a:lnTo>
                  <a:lnTo>
                    <a:pt x="318" y="840"/>
                  </a:lnTo>
                  <a:lnTo>
                    <a:pt x="330" y="840"/>
                  </a:lnTo>
                  <a:lnTo>
                    <a:pt x="336" y="840"/>
                  </a:lnTo>
                  <a:lnTo>
                    <a:pt x="342" y="840"/>
                  </a:lnTo>
                  <a:lnTo>
                    <a:pt x="348" y="846"/>
                  </a:lnTo>
                  <a:lnTo>
                    <a:pt x="360" y="846"/>
                  </a:lnTo>
                  <a:lnTo>
                    <a:pt x="372" y="852"/>
                  </a:lnTo>
                  <a:lnTo>
                    <a:pt x="372" y="864"/>
                  </a:lnTo>
                  <a:lnTo>
                    <a:pt x="372" y="870"/>
                  </a:lnTo>
                  <a:lnTo>
                    <a:pt x="384" y="870"/>
                  </a:lnTo>
                  <a:lnTo>
                    <a:pt x="390" y="870"/>
                  </a:lnTo>
                  <a:lnTo>
                    <a:pt x="390" y="858"/>
                  </a:lnTo>
                  <a:lnTo>
                    <a:pt x="402" y="858"/>
                  </a:lnTo>
                  <a:lnTo>
                    <a:pt x="408" y="852"/>
                  </a:lnTo>
                  <a:lnTo>
                    <a:pt x="408" y="840"/>
                  </a:lnTo>
                  <a:lnTo>
                    <a:pt x="420" y="846"/>
                  </a:lnTo>
                  <a:lnTo>
                    <a:pt x="438" y="846"/>
                  </a:lnTo>
                  <a:lnTo>
                    <a:pt x="450" y="846"/>
                  </a:lnTo>
                  <a:lnTo>
                    <a:pt x="456" y="840"/>
                  </a:lnTo>
                  <a:lnTo>
                    <a:pt x="468" y="834"/>
                  </a:lnTo>
                  <a:lnTo>
                    <a:pt x="474" y="840"/>
                  </a:lnTo>
                  <a:lnTo>
                    <a:pt x="480" y="846"/>
                  </a:lnTo>
                  <a:lnTo>
                    <a:pt x="480" y="852"/>
                  </a:lnTo>
                  <a:lnTo>
                    <a:pt x="486" y="852"/>
                  </a:lnTo>
                  <a:lnTo>
                    <a:pt x="510" y="852"/>
                  </a:lnTo>
                  <a:lnTo>
                    <a:pt x="510" y="846"/>
                  </a:lnTo>
                  <a:lnTo>
                    <a:pt x="504" y="840"/>
                  </a:lnTo>
                  <a:lnTo>
                    <a:pt x="504" y="834"/>
                  </a:lnTo>
                  <a:lnTo>
                    <a:pt x="498" y="828"/>
                  </a:lnTo>
                  <a:lnTo>
                    <a:pt x="492" y="828"/>
                  </a:lnTo>
                  <a:lnTo>
                    <a:pt x="492" y="822"/>
                  </a:lnTo>
                  <a:lnTo>
                    <a:pt x="492" y="816"/>
                  </a:lnTo>
                  <a:lnTo>
                    <a:pt x="492" y="810"/>
                  </a:ln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6" y="804"/>
                  </a:lnTo>
                  <a:lnTo>
                    <a:pt x="522" y="798"/>
                  </a:lnTo>
                  <a:lnTo>
                    <a:pt x="528" y="798"/>
                  </a:lnTo>
                  <a:lnTo>
                    <a:pt x="534" y="798"/>
                  </a:lnTo>
                  <a:lnTo>
                    <a:pt x="540" y="792"/>
                  </a:lnTo>
                  <a:lnTo>
                    <a:pt x="546" y="792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8" y="768"/>
                  </a:lnTo>
                  <a:lnTo>
                    <a:pt x="552" y="768"/>
                  </a:lnTo>
                  <a:lnTo>
                    <a:pt x="546" y="762"/>
                  </a:lnTo>
                  <a:lnTo>
                    <a:pt x="546" y="756"/>
                  </a:lnTo>
                  <a:lnTo>
                    <a:pt x="552" y="750"/>
                  </a:lnTo>
                  <a:lnTo>
                    <a:pt x="558" y="750"/>
                  </a:lnTo>
                  <a:lnTo>
                    <a:pt x="558" y="744"/>
                  </a:lnTo>
                  <a:lnTo>
                    <a:pt x="570" y="744"/>
                  </a:lnTo>
                  <a:lnTo>
                    <a:pt x="576" y="738"/>
                  </a:lnTo>
                  <a:lnTo>
                    <a:pt x="582" y="726"/>
                  </a:lnTo>
                  <a:lnTo>
                    <a:pt x="582" y="720"/>
                  </a:lnTo>
                  <a:lnTo>
                    <a:pt x="582" y="714"/>
                  </a:lnTo>
                  <a:lnTo>
                    <a:pt x="588" y="714"/>
                  </a:lnTo>
                  <a:lnTo>
                    <a:pt x="594" y="714"/>
                  </a:lnTo>
                  <a:lnTo>
                    <a:pt x="600" y="714"/>
                  </a:lnTo>
                  <a:lnTo>
                    <a:pt x="606" y="708"/>
                  </a:lnTo>
                  <a:lnTo>
                    <a:pt x="612" y="696"/>
                  </a:lnTo>
                  <a:lnTo>
                    <a:pt x="612" y="690"/>
                  </a:lnTo>
                  <a:lnTo>
                    <a:pt x="618" y="690"/>
                  </a:lnTo>
                  <a:lnTo>
                    <a:pt x="624" y="690"/>
                  </a:lnTo>
                  <a:lnTo>
                    <a:pt x="630" y="684"/>
                  </a:lnTo>
                  <a:lnTo>
                    <a:pt x="630" y="678"/>
                  </a:lnTo>
                  <a:lnTo>
                    <a:pt x="636" y="672"/>
                  </a:lnTo>
                  <a:lnTo>
                    <a:pt x="654" y="672"/>
                  </a:lnTo>
                  <a:lnTo>
                    <a:pt x="660" y="666"/>
                  </a:lnTo>
                  <a:lnTo>
                    <a:pt x="666" y="666"/>
                  </a:lnTo>
                  <a:lnTo>
                    <a:pt x="678" y="666"/>
                  </a:lnTo>
                  <a:lnTo>
                    <a:pt x="684" y="666"/>
                  </a:lnTo>
                  <a:lnTo>
                    <a:pt x="696" y="672"/>
                  </a:lnTo>
                  <a:lnTo>
                    <a:pt x="702" y="672"/>
                  </a:lnTo>
                  <a:lnTo>
                    <a:pt x="714" y="690"/>
                  </a:lnTo>
                  <a:lnTo>
                    <a:pt x="720" y="684"/>
                  </a:lnTo>
                  <a:lnTo>
                    <a:pt x="726" y="678"/>
                  </a:lnTo>
                  <a:lnTo>
                    <a:pt x="726" y="672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50" y="654"/>
                  </a:lnTo>
                  <a:lnTo>
                    <a:pt x="756" y="654"/>
                  </a:lnTo>
                  <a:lnTo>
                    <a:pt x="762" y="654"/>
                  </a:lnTo>
                  <a:lnTo>
                    <a:pt x="774" y="660"/>
                  </a:lnTo>
                  <a:lnTo>
                    <a:pt x="786" y="660"/>
                  </a:lnTo>
                  <a:lnTo>
                    <a:pt x="792" y="660"/>
                  </a:lnTo>
                  <a:lnTo>
                    <a:pt x="804" y="660"/>
                  </a:lnTo>
                  <a:lnTo>
                    <a:pt x="816" y="666"/>
                  </a:lnTo>
                  <a:lnTo>
                    <a:pt x="828" y="672"/>
                  </a:lnTo>
                  <a:lnTo>
                    <a:pt x="834" y="678"/>
                  </a:lnTo>
                  <a:lnTo>
                    <a:pt x="840" y="678"/>
                  </a:lnTo>
                  <a:lnTo>
                    <a:pt x="858" y="672"/>
                  </a:lnTo>
                  <a:lnTo>
                    <a:pt x="870" y="666"/>
                  </a:lnTo>
                  <a:lnTo>
                    <a:pt x="876" y="660"/>
                  </a:lnTo>
                  <a:lnTo>
                    <a:pt x="888" y="660"/>
                  </a:lnTo>
                  <a:lnTo>
                    <a:pt x="894" y="660"/>
                  </a:lnTo>
                  <a:lnTo>
                    <a:pt x="906" y="666"/>
                  </a:lnTo>
                  <a:lnTo>
                    <a:pt x="918" y="672"/>
                  </a:lnTo>
                  <a:lnTo>
                    <a:pt x="936" y="660"/>
                  </a:lnTo>
                  <a:lnTo>
                    <a:pt x="936" y="654"/>
                  </a:lnTo>
                  <a:lnTo>
                    <a:pt x="936" y="642"/>
                  </a:lnTo>
                  <a:lnTo>
                    <a:pt x="942" y="624"/>
                  </a:lnTo>
                  <a:lnTo>
                    <a:pt x="948" y="618"/>
                  </a:lnTo>
                  <a:lnTo>
                    <a:pt x="954" y="618"/>
                  </a:lnTo>
                  <a:lnTo>
                    <a:pt x="966" y="618"/>
                  </a:lnTo>
                  <a:lnTo>
                    <a:pt x="978" y="618"/>
                  </a:lnTo>
                  <a:lnTo>
                    <a:pt x="984" y="624"/>
                  </a:lnTo>
                  <a:lnTo>
                    <a:pt x="990" y="630"/>
                  </a:lnTo>
                  <a:lnTo>
                    <a:pt x="996" y="636"/>
                  </a:lnTo>
                  <a:lnTo>
                    <a:pt x="996" y="654"/>
                  </a:lnTo>
                  <a:lnTo>
                    <a:pt x="1008" y="666"/>
                  </a:lnTo>
                  <a:lnTo>
                    <a:pt x="1014" y="672"/>
                  </a:lnTo>
                  <a:lnTo>
                    <a:pt x="1020" y="684"/>
                  </a:lnTo>
                  <a:lnTo>
                    <a:pt x="1026" y="684"/>
                  </a:lnTo>
                  <a:lnTo>
                    <a:pt x="1038" y="684"/>
                  </a:lnTo>
                  <a:lnTo>
                    <a:pt x="1038" y="690"/>
                  </a:lnTo>
                  <a:lnTo>
                    <a:pt x="1044" y="696"/>
                  </a:lnTo>
                  <a:lnTo>
                    <a:pt x="1044" y="702"/>
                  </a:lnTo>
                  <a:lnTo>
                    <a:pt x="1050" y="702"/>
                  </a:lnTo>
                  <a:lnTo>
                    <a:pt x="1062" y="696"/>
                  </a:lnTo>
                  <a:lnTo>
                    <a:pt x="1068" y="684"/>
                  </a:lnTo>
                  <a:lnTo>
                    <a:pt x="1074" y="678"/>
                  </a:lnTo>
                  <a:lnTo>
                    <a:pt x="1086" y="672"/>
                  </a:lnTo>
                  <a:lnTo>
                    <a:pt x="1086" y="678"/>
                  </a:lnTo>
                  <a:lnTo>
                    <a:pt x="1080" y="696"/>
                  </a:lnTo>
                  <a:lnTo>
                    <a:pt x="1074" y="708"/>
                  </a:lnTo>
                  <a:lnTo>
                    <a:pt x="1062" y="726"/>
                  </a:lnTo>
                  <a:lnTo>
                    <a:pt x="1050" y="738"/>
                  </a:lnTo>
                  <a:lnTo>
                    <a:pt x="1050" y="744"/>
                  </a:lnTo>
                  <a:close/>
                </a:path>
              </a:pathLst>
            </a:custGeom>
            <a:solidFill>
              <a:srgbClr val="0070C0">
                <a:alpha val="27059"/>
              </a:srgb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61" name="Freeform 83"/>
            <p:cNvSpPr>
              <a:spLocks/>
            </p:cNvSpPr>
            <p:nvPr/>
          </p:nvSpPr>
          <p:spPr bwMode="auto">
            <a:xfrm>
              <a:off x="1242514" y="1155724"/>
              <a:ext cx="3259690" cy="1494856"/>
            </a:xfrm>
            <a:custGeom>
              <a:avLst/>
              <a:gdLst>
                <a:gd name="T0" fmla="*/ 1270 w 1603"/>
                <a:gd name="T1" fmla="*/ 472 h 870"/>
                <a:gd name="T2" fmla="*/ 1236 w 1603"/>
                <a:gd name="T3" fmla="*/ 411 h 870"/>
                <a:gd name="T4" fmla="*/ 1458 w 1603"/>
                <a:gd name="T5" fmla="*/ 347 h 870"/>
                <a:gd name="T6" fmla="*/ 1504 w 1603"/>
                <a:gd name="T7" fmla="*/ 338 h 870"/>
                <a:gd name="T8" fmla="*/ 1498 w 1603"/>
                <a:gd name="T9" fmla="*/ 429 h 870"/>
                <a:gd name="T10" fmla="*/ 1531 w 1603"/>
                <a:gd name="T11" fmla="*/ 368 h 870"/>
                <a:gd name="T12" fmla="*/ 1654 w 1603"/>
                <a:gd name="T13" fmla="*/ 329 h 870"/>
                <a:gd name="T14" fmla="*/ 1680 w 1603"/>
                <a:gd name="T15" fmla="*/ 290 h 870"/>
                <a:gd name="T16" fmla="*/ 1794 w 1603"/>
                <a:gd name="T17" fmla="*/ 273 h 870"/>
                <a:gd name="T18" fmla="*/ 1646 w 1603"/>
                <a:gd name="T19" fmla="*/ 204 h 870"/>
                <a:gd name="T20" fmla="*/ 1579 w 1603"/>
                <a:gd name="T21" fmla="*/ 204 h 870"/>
                <a:gd name="T22" fmla="*/ 1444 w 1603"/>
                <a:gd name="T23" fmla="*/ 173 h 870"/>
                <a:gd name="T24" fmla="*/ 1356 w 1603"/>
                <a:gd name="T25" fmla="*/ 147 h 870"/>
                <a:gd name="T26" fmla="*/ 1262 w 1603"/>
                <a:gd name="T27" fmla="*/ 155 h 870"/>
                <a:gd name="T28" fmla="*/ 1162 w 1603"/>
                <a:gd name="T29" fmla="*/ 147 h 870"/>
                <a:gd name="T30" fmla="*/ 1027 w 1603"/>
                <a:gd name="T31" fmla="*/ 117 h 870"/>
                <a:gd name="T32" fmla="*/ 941 w 1603"/>
                <a:gd name="T33" fmla="*/ 108 h 870"/>
                <a:gd name="T34" fmla="*/ 981 w 1603"/>
                <a:gd name="T35" fmla="*/ 39 h 870"/>
                <a:gd name="T36" fmla="*/ 907 w 1603"/>
                <a:gd name="T37" fmla="*/ 0 h 870"/>
                <a:gd name="T38" fmla="*/ 853 w 1603"/>
                <a:gd name="T39" fmla="*/ 70 h 870"/>
                <a:gd name="T40" fmla="*/ 752 w 1603"/>
                <a:gd name="T41" fmla="*/ 56 h 870"/>
                <a:gd name="T42" fmla="*/ 644 w 1603"/>
                <a:gd name="T43" fmla="*/ 121 h 870"/>
                <a:gd name="T44" fmla="*/ 686 w 1603"/>
                <a:gd name="T45" fmla="*/ 204 h 870"/>
                <a:gd name="T46" fmla="*/ 644 w 1603"/>
                <a:gd name="T47" fmla="*/ 155 h 870"/>
                <a:gd name="T48" fmla="*/ 578 w 1603"/>
                <a:gd name="T49" fmla="*/ 134 h 870"/>
                <a:gd name="T50" fmla="*/ 564 w 1603"/>
                <a:gd name="T51" fmla="*/ 204 h 870"/>
                <a:gd name="T52" fmla="*/ 638 w 1603"/>
                <a:gd name="T53" fmla="*/ 242 h 870"/>
                <a:gd name="T54" fmla="*/ 624 w 1603"/>
                <a:gd name="T55" fmla="*/ 277 h 870"/>
                <a:gd name="T56" fmla="*/ 591 w 1603"/>
                <a:gd name="T57" fmla="*/ 221 h 870"/>
                <a:gd name="T58" fmla="*/ 510 w 1603"/>
                <a:gd name="T59" fmla="*/ 260 h 870"/>
                <a:gd name="T60" fmla="*/ 544 w 1603"/>
                <a:gd name="T61" fmla="*/ 169 h 870"/>
                <a:gd name="T62" fmla="*/ 504 w 1603"/>
                <a:gd name="T63" fmla="*/ 161 h 870"/>
                <a:gd name="T64" fmla="*/ 437 w 1603"/>
                <a:gd name="T65" fmla="*/ 208 h 870"/>
                <a:gd name="T66" fmla="*/ 329 w 1603"/>
                <a:gd name="T67" fmla="*/ 225 h 870"/>
                <a:gd name="T68" fmla="*/ 282 w 1603"/>
                <a:gd name="T69" fmla="*/ 221 h 870"/>
                <a:gd name="T70" fmla="*/ 235 w 1603"/>
                <a:gd name="T71" fmla="*/ 260 h 870"/>
                <a:gd name="T72" fmla="*/ 181 w 1603"/>
                <a:gd name="T73" fmla="*/ 299 h 870"/>
                <a:gd name="T74" fmla="*/ 168 w 1603"/>
                <a:gd name="T75" fmla="*/ 264 h 870"/>
                <a:gd name="T76" fmla="*/ 188 w 1603"/>
                <a:gd name="T77" fmla="*/ 217 h 870"/>
                <a:gd name="T78" fmla="*/ 114 w 1603"/>
                <a:gd name="T79" fmla="*/ 195 h 870"/>
                <a:gd name="T80" fmla="*/ 114 w 1603"/>
                <a:gd name="T81" fmla="*/ 320 h 870"/>
                <a:gd name="T82" fmla="*/ 60 w 1603"/>
                <a:gd name="T83" fmla="*/ 364 h 870"/>
                <a:gd name="T84" fmla="*/ 6 w 1603"/>
                <a:gd name="T85" fmla="*/ 403 h 870"/>
                <a:gd name="T86" fmla="*/ 47 w 1603"/>
                <a:gd name="T87" fmla="*/ 463 h 870"/>
                <a:gd name="T88" fmla="*/ 67 w 1603"/>
                <a:gd name="T89" fmla="*/ 494 h 870"/>
                <a:gd name="T90" fmla="*/ 114 w 1603"/>
                <a:gd name="T91" fmla="*/ 520 h 870"/>
                <a:gd name="T92" fmla="*/ 161 w 1603"/>
                <a:gd name="T93" fmla="*/ 537 h 870"/>
                <a:gd name="T94" fmla="*/ 175 w 1603"/>
                <a:gd name="T95" fmla="*/ 537 h 870"/>
                <a:gd name="T96" fmla="*/ 269 w 1603"/>
                <a:gd name="T97" fmla="*/ 589 h 870"/>
                <a:gd name="T98" fmla="*/ 282 w 1603"/>
                <a:gd name="T99" fmla="*/ 545 h 870"/>
                <a:gd name="T100" fmla="*/ 323 w 1603"/>
                <a:gd name="T101" fmla="*/ 537 h 870"/>
                <a:gd name="T102" fmla="*/ 343 w 1603"/>
                <a:gd name="T103" fmla="*/ 576 h 870"/>
                <a:gd name="T104" fmla="*/ 389 w 1603"/>
                <a:gd name="T105" fmla="*/ 611 h 870"/>
                <a:gd name="T106" fmla="*/ 504 w 1603"/>
                <a:gd name="T107" fmla="*/ 611 h 870"/>
                <a:gd name="T108" fmla="*/ 551 w 1603"/>
                <a:gd name="T109" fmla="*/ 593 h 870"/>
                <a:gd name="T110" fmla="*/ 618 w 1603"/>
                <a:gd name="T111" fmla="*/ 558 h 870"/>
                <a:gd name="T112" fmla="*/ 658 w 1603"/>
                <a:gd name="T113" fmla="*/ 515 h 870"/>
                <a:gd name="T114" fmla="*/ 746 w 1603"/>
                <a:gd name="T115" fmla="*/ 481 h 870"/>
                <a:gd name="T116" fmla="*/ 853 w 1603"/>
                <a:gd name="T117" fmla="*/ 472 h 870"/>
                <a:gd name="T118" fmla="*/ 1001 w 1603"/>
                <a:gd name="T119" fmla="*/ 477 h 870"/>
                <a:gd name="T120" fmla="*/ 1115 w 1603"/>
                <a:gd name="T121" fmla="*/ 459 h 870"/>
                <a:gd name="T122" fmla="*/ 1202 w 1603"/>
                <a:gd name="T123" fmla="*/ 489 h 87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603" h="870">
                  <a:moveTo>
                    <a:pt x="1050" y="744"/>
                  </a:moveTo>
                  <a:lnTo>
                    <a:pt x="1050" y="750"/>
                  </a:lnTo>
                  <a:lnTo>
                    <a:pt x="1044" y="756"/>
                  </a:lnTo>
                  <a:lnTo>
                    <a:pt x="1050" y="768"/>
                  </a:lnTo>
                  <a:lnTo>
                    <a:pt x="1056" y="768"/>
                  </a:lnTo>
                  <a:lnTo>
                    <a:pt x="1062" y="774"/>
                  </a:lnTo>
                  <a:lnTo>
                    <a:pt x="1068" y="768"/>
                  </a:lnTo>
                  <a:lnTo>
                    <a:pt x="1080" y="756"/>
                  </a:lnTo>
                  <a:lnTo>
                    <a:pt x="1098" y="726"/>
                  </a:lnTo>
                  <a:lnTo>
                    <a:pt x="1122" y="684"/>
                  </a:lnTo>
                  <a:lnTo>
                    <a:pt x="1122" y="672"/>
                  </a:lnTo>
                  <a:lnTo>
                    <a:pt x="1128" y="660"/>
                  </a:lnTo>
                  <a:lnTo>
                    <a:pt x="1134" y="654"/>
                  </a:lnTo>
                  <a:lnTo>
                    <a:pt x="1134" y="630"/>
                  </a:lnTo>
                  <a:lnTo>
                    <a:pt x="1140" y="618"/>
                  </a:lnTo>
                  <a:lnTo>
                    <a:pt x="1140" y="612"/>
                  </a:lnTo>
                  <a:lnTo>
                    <a:pt x="1134" y="606"/>
                  </a:lnTo>
                  <a:lnTo>
                    <a:pt x="1128" y="600"/>
                  </a:lnTo>
                  <a:lnTo>
                    <a:pt x="1122" y="600"/>
                  </a:lnTo>
                  <a:lnTo>
                    <a:pt x="1110" y="606"/>
                  </a:lnTo>
                  <a:lnTo>
                    <a:pt x="1104" y="600"/>
                  </a:lnTo>
                  <a:lnTo>
                    <a:pt x="1098" y="600"/>
                  </a:lnTo>
                  <a:lnTo>
                    <a:pt x="1092" y="594"/>
                  </a:lnTo>
                  <a:lnTo>
                    <a:pt x="1086" y="594"/>
                  </a:lnTo>
                  <a:lnTo>
                    <a:pt x="1104" y="576"/>
                  </a:lnTo>
                  <a:lnTo>
                    <a:pt x="1104" y="570"/>
                  </a:lnTo>
                  <a:lnTo>
                    <a:pt x="1122" y="552"/>
                  </a:lnTo>
                  <a:lnTo>
                    <a:pt x="1158" y="510"/>
                  </a:lnTo>
                  <a:lnTo>
                    <a:pt x="1206" y="522"/>
                  </a:lnTo>
                  <a:lnTo>
                    <a:pt x="1212" y="522"/>
                  </a:lnTo>
                  <a:lnTo>
                    <a:pt x="1212" y="516"/>
                  </a:lnTo>
                  <a:lnTo>
                    <a:pt x="1212" y="510"/>
                  </a:lnTo>
                  <a:lnTo>
                    <a:pt x="1218" y="510"/>
                  </a:lnTo>
                  <a:lnTo>
                    <a:pt x="1224" y="510"/>
                  </a:lnTo>
                  <a:lnTo>
                    <a:pt x="1236" y="510"/>
                  </a:lnTo>
                  <a:lnTo>
                    <a:pt x="1236" y="522"/>
                  </a:lnTo>
                  <a:lnTo>
                    <a:pt x="1272" y="510"/>
                  </a:lnTo>
                  <a:lnTo>
                    <a:pt x="1272" y="504"/>
                  </a:lnTo>
                  <a:lnTo>
                    <a:pt x="1302" y="480"/>
                  </a:lnTo>
                  <a:lnTo>
                    <a:pt x="1308" y="474"/>
                  </a:lnTo>
                  <a:lnTo>
                    <a:pt x="1314" y="468"/>
                  </a:lnTo>
                  <a:lnTo>
                    <a:pt x="1320" y="468"/>
                  </a:lnTo>
                  <a:lnTo>
                    <a:pt x="1326" y="468"/>
                  </a:lnTo>
                  <a:lnTo>
                    <a:pt x="1320" y="474"/>
                  </a:lnTo>
                  <a:lnTo>
                    <a:pt x="1320" y="480"/>
                  </a:lnTo>
                  <a:lnTo>
                    <a:pt x="1314" y="486"/>
                  </a:lnTo>
                  <a:lnTo>
                    <a:pt x="1320" y="486"/>
                  </a:lnTo>
                  <a:lnTo>
                    <a:pt x="1326" y="486"/>
                  </a:lnTo>
                  <a:lnTo>
                    <a:pt x="1332" y="486"/>
                  </a:lnTo>
                  <a:lnTo>
                    <a:pt x="1344" y="468"/>
                  </a:lnTo>
                  <a:lnTo>
                    <a:pt x="1350" y="456"/>
                  </a:lnTo>
                  <a:lnTo>
                    <a:pt x="1344" y="468"/>
                  </a:lnTo>
                  <a:lnTo>
                    <a:pt x="1344" y="474"/>
                  </a:lnTo>
                  <a:lnTo>
                    <a:pt x="1350" y="486"/>
                  </a:lnTo>
                  <a:lnTo>
                    <a:pt x="1326" y="504"/>
                  </a:lnTo>
                  <a:lnTo>
                    <a:pt x="1314" y="528"/>
                  </a:lnTo>
                  <a:lnTo>
                    <a:pt x="1284" y="552"/>
                  </a:lnTo>
                  <a:lnTo>
                    <a:pt x="1278" y="582"/>
                  </a:lnTo>
                  <a:lnTo>
                    <a:pt x="1272" y="588"/>
                  </a:lnTo>
                  <a:lnTo>
                    <a:pt x="1272" y="594"/>
                  </a:lnTo>
                  <a:lnTo>
                    <a:pt x="1272" y="600"/>
                  </a:lnTo>
                  <a:lnTo>
                    <a:pt x="1290" y="654"/>
                  </a:lnTo>
                  <a:lnTo>
                    <a:pt x="1302" y="636"/>
                  </a:lnTo>
                  <a:lnTo>
                    <a:pt x="1326" y="600"/>
                  </a:lnTo>
                  <a:lnTo>
                    <a:pt x="1338" y="594"/>
                  </a:lnTo>
                  <a:lnTo>
                    <a:pt x="1338" y="588"/>
                  </a:lnTo>
                  <a:lnTo>
                    <a:pt x="1338" y="576"/>
                  </a:lnTo>
                  <a:lnTo>
                    <a:pt x="1344" y="564"/>
                  </a:lnTo>
                  <a:lnTo>
                    <a:pt x="1344" y="558"/>
                  </a:lnTo>
                  <a:lnTo>
                    <a:pt x="1344" y="552"/>
                  </a:lnTo>
                  <a:lnTo>
                    <a:pt x="1344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44" y="534"/>
                  </a:lnTo>
                  <a:lnTo>
                    <a:pt x="1350" y="528"/>
                  </a:lnTo>
                  <a:lnTo>
                    <a:pt x="1362" y="522"/>
                  </a:lnTo>
                  <a:lnTo>
                    <a:pt x="1368" y="516"/>
                  </a:lnTo>
                  <a:lnTo>
                    <a:pt x="1368" y="510"/>
                  </a:lnTo>
                  <a:lnTo>
                    <a:pt x="1368" y="504"/>
                  </a:lnTo>
                  <a:lnTo>
                    <a:pt x="1380" y="504"/>
                  </a:lnTo>
                  <a:lnTo>
                    <a:pt x="1392" y="492"/>
                  </a:lnTo>
                  <a:lnTo>
                    <a:pt x="1398" y="492"/>
                  </a:lnTo>
                  <a:lnTo>
                    <a:pt x="1404" y="486"/>
                  </a:lnTo>
                  <a:lnTo>
                    <a:pt x="1410" y="492"/>
                  </a:lnTo>
                  <a:lnTo>
                    <a:pt x="1416" y="498"/>
                  </a:lnTo>
                  <a:lnTo>
                    <a:pt x="1435" y="492"/>
                  </a:lnTo>
                  <a:lnTo>
                    <a:pt x="1435" y="480"/>
                  </a:lnTo>
                  <a:lnTo>
                    <a:pt x="1447" y="468"/>
                  </a:lnTo>
                  <a:lnTo>
                    <a:pt x="1459" y="462"/>
                  </a:lnTo>
                  <a:lnTo>
                    <a:pt x="1465" y="456"/>
                  </a:lnTo>
                  <a:lnTo>
                    <a:pt x="1477" y="456"/>
                  </a:lnTo>
                  <a:lnTo>
                    <a:pt x="1483" y="456"/>
                  </a:lnTo>
                  <a:lnTo>
                    <a:pt x="1489" y="456"/>
                  </a:lnTo>
                  <a:lnTo>
                    <a:pt x="1495" y="456"/>
                  </a:lnTo>
                  <a:lnTo>
                    <a:pt x="1501" y="450"/>
                  </a:lnTo>
                  <a:lnTo>
                    <a:pt x="1507" y="444"/>
                  </a:lnTo>
                  <a:lnTo>
                    <a:pt x="1501" y="432"/>
                  </a:lnTo>
                  <a:lnTo>
                    <a:pt x="1489" y="426"/>
                  </a:lnTo>
                  <a:lnTo>
                    <a:pt x="1483" y="420"/>
                  </a:lnTo>
                  <a:lnTo>
                    <a:pt x="1483" y="414"/>
                  </a:lnTo>
                  <a:lnTo>
                    <a:pt x="1483" y="408"/>
                  </a:lnTo>
                  <a:lnTo>
                    <a:pt x="1489" y="408"/>
                  </a:lnTo>
                  <a:lnTo>
                    <a:pt x="1495" y="408"/>
                  </a:lnTo>
                  <a:lnTo>
                    <a:pt x="1501" y="402"/>
                  </a:lnTo>
                  <a:lnTo>
                    <a:pt x="1513" y="384"/>
                  </a:lnTo>
                  <a:lnTo>
                    <a:pt x="1513" y="372"/>
                  </a:lnTo>
                  <a:lnTo>
                    <a:pt x="1519" y="366"/>
                  </a:lnTo>
                  <a:lnTo>
                    <a:pt x="1525" y="384"/>
                  </a:lnTo>
                  <a:lnTo>
                    <a:pt x="1543" y="384"/>
                  </a:lnTo>
                  <a:lnTo>
                    <a:pt x="1567" y="408"/>
                  </a:lnTo>
                  <a:lnTo>
                    <a:pt x="1573" y="414"/>
                  </a:lnTo>
                  <a:lnTo>
                    <a:pt x="1573" y="408"/>
                  </a:lnTo>
                  <a:lnTo>
                    <a:pt x="1579" y="390"/>
                  </a:lnTo>
                  <a:lnTo>
                    <a:pt x="1579" y="384"/>
                  </a:lnTo>
                  <a:lnTo>
                    <a:pt x="1585" y="384"/>
                  </a:lnTo>
                  <a:lnTo>
                    <a:pt x="1597" y="384"/>
                  </a:lnTo>
                  <a:lnTo>
                    <a:pt x="1603" y="378"/>
                  </a:lnTo>
                  <a:lnTo>
                    <a:pt x="1603" y="372"/>
                  </a:lnTo>
                  <a:lnTo>
                    <a:pt x="1591" y="366"/>
                  </a:lnTo>
                  <a:lnTo>
                    <a:pt x="1573" y="354"/>
                  </a:lnTo>
                  <a:lnTo>
                    <a:pt x="1567" y="354"/>
                  </a:lnTo>
                  <a:lnTo>
                    <a:pt x="1561" y="354"/>
                  </a:lnTo>
                  <a:lnTo>
                    <a:pt x="1555" y="360"/>
                  </a:lnTo>
                  <a:lnTo>
                    <a:pt x="1555" y="348"/>
                  </a:lnTo>
                  <a:lnTo>
                    <a:pt x="1549" y="336"/>
                  </a:lnTo>
                  <a:lnTo>
                    <a:pt x="1537" y="330"/>
                  </a:lnTo>
                  <a:lnTo>
                    <a:pt x="1519" y="312"/>
                  </a:lnTo>
                  <a:lnTo>
                    <a:pt x="1507" y="306"/>
                  </a:lnTo>
                  <a:lnTo>
                    <a:pt x="1501" y="300"/>
                  </a:lnTo>
                  <a:lnTo>
                    <a:pt x="1471" y="282"/>
                  </a:lnTo>
                  <a:lnTo>
                    <a:pt x="1459" y="282"/>
                  </a:lnTo>
                  <a:lnTo>
                    <a:pt x="1453" y="282"/>
                  </a:lnTo>
                  <a:lnTo>
                    <a:pt x="1447" y="276"/>
                  </a:lnTo>
                  <a:lnTo>
                    <a:pt x="1441" y="276"/>
                  </a:lnTo>
                  <a:lnTo>
                    <a:pt x="1435" y="270"/>
                  </a:lnTo>
                  <a:lnTo>
                    <a:pt x="1429" y="270"/>
                  </a:lnTo>
                  <a:lnTo>
                    <a:pt x="1429" y="288"/>
                  </a:lnTo>
                  <a:lnTo>
                    <a:pt x="1429" y="300"/>
                  </a:lnTo>
                  <a:lnTo>
                    <a:pt x="1422" y="306"/>
                  </a:lnTo>
                  <a:lnTo>
                    <a:pt x="1416" y="312"/>
                  </a:lnTo>
                  <a:lnTo>
                    <a:pt x="1416" y="306"/>
                  </a:lnTo>
                  <a:lnTo>
                    <a:pt x="1398" y="288"/>
                  </a:lnTo>
                  <a:lnTo>
                    <a:pt x="1410" y="282"/>
                  </a:lnTo>
                  <a:lnTo>
                    <a:pt x="1410" y="276"/>
                  </a:lnTo>
                  <a:lnTo>
                    <a:pt x="1380" y="288"/>
                  </a:lnTo>
                  <a:lnTo>
                    <a:pt x="1380" y="282"/>
                  </a:lnTo>
                  <a:lnTo>
                    <a:pt x="1344" y="282"/>
                  </a:lnTo>
                  <a:lnTo>
                    <a:pt x="1332" y="294"/>
                  </a:lnTo>
                  <a:lnTo>
                    <a:pt x="1320" y="282"/>
                  </a:lnTo>
                  <a:lnTo>
                    <a:pt x="1326" y="276"/>
                  </a:lnTo>
                  <a:lnTo>
                    <a:pt x="1326" y="264"/>
                  </a:lnTo>
                  <a:lnTo>
                    <a:pt x="1320" y="252"/>
                  </a:lnTo>
                  <a:lnTo>
                    <a:pt x="1314" y="246"/>
                  </a:lnTo>
                  <a:lnTo>
                    <a:pt x="1308" y="246"/>
                  </a:lnTo>
                  <a:lnTo>
                    <a:pt x="1296" y="240"/>
                  </a:lnTo>
                  <a:lnTo>
                    <a:pt x="1290" y="240"/>
                  </a:lnTo>
                  <a:lnTo>
                    <a:pt x="1284" y="246"/>
                  </a:lnTo>
                  <a:lnTo>
                    <a:pt x="1272" y="246"/>
                  </a:lnTo>
                  <a:lnTo>
                    <a:pt x="1260" y="246"/>
                  </a:lnTo>
                  <a:lnTo>
                    <a:pt x="1248" y="246"/>
                  </a:lnTo>
                  <a:lnTo>
                    <a:pt x="1242" y="240"/>
                  </a:lnTo>
                  <a:lnTo>
                    <a:pt x="1236" y="240"/>
                  </a:lnTo>
                  <a:lnTo>
                    <a:pt x="1236" y="234"/>
                  </a:lnTo>
                  <a:lnTo>
                    <a:pt x="1230" y="228"/>
                  </a:lnTo>
                  <a:lnTo>
                    <a:pt x="1230" y="222"/>
                  </a:lnTo>
                  <a:lnTo>
                    <a:pt x="1224" y="210"/>
                  </a:lnTo>
                  <a:lnTo>
                    <a:pt x="1224" y="204"/>
                  </a:lnTo>
                  <a:lnTo>
                    <a:pt x="1218" y="204"/>
                  </a:lnTo>
                  <a:lnTo>
                    <a:pt x="1212" y="204"/>
                  </a:lnTo>
                  <a:lnTo>
                    <a:pt x="1206" y="216"/>
                  </a:lnTo>
                  <a:lnTo>
                    <a:pt x="1200" y="216"/>
                  </a:lnTo>
                  <a:lnTo>
                    <a:pt x="1194" y="210"/>
                  </a:lnTo>
                  <a:lnTo>
                    <a:pt x="1194" y="204"/>
                  </a:lnTo>
                  <a:lnTo>
                    <a:pt x="1194" y="198"/>
                  </a:lnTo>
                  <a:lnTo>
                    <a:pt x="1182" y="198"/>
                  </a:lnTo>
                  <a:lnTo>
                    <a:pt x="1158" y="192"/>
                  </a:lnTo>
                  <a:lnTo>
                    <a:pt x="1146" y="192"/>
                  </a:lnTo>
                  <a:lnTo>
                    <a:pt x="1146" y="198"/>
                  </a:lnTo>
                  <a:lnTo>
                    <a:pt x="1140" y="198"/>
                  </a:lnTo>
                  <a:lnTo>
                    <a:pt x="1134" y="204"/>
                  </a:lnTo>
                  <a:lnTo>
                    <a:pt x="1128" y="204"/>
                  </a:lnTo>
                  <a:lnTo>
                    <a:pt x="1128" y="216"/>
                  </a:lnTo>
                  <a:lnTo>
                    <a:pt x="1128" y="228"/>
                  </a:lnTo>
                  <a:lnTo>
                    <a:pt x="1122" y="234"/>
                  </a:lnTo>
                  <a:lnTo>
                    <a:pt x="1116" y="234"/>
                  </a:lnTo>
                  <a:lnTo>
                    <a:pt x="1098" y="228"/>
                  </a:lnTo>
                  <a:lnTo>
                    <a:pt x="1092" y="228"/>
                  </a:lnTo>
                  <a:lnTo>
                    <a:pt x="1080" y="228"/>
                  </a:lnTo>
                  <a:lnTo>
                    <a:pt x="1068" y="216"/>
                  </a:lnTo>
                  <a:lnTo>
                    <a:pt x="1062" y="222"/>
                  </a:lnTo>
                  <a:lnTo>
                    <a:pt x="1056" y="234"/>
                  </a:lnTo>
                  <a:lnTo>
                    <a:pt x="1050" y="246"/>
                  </a:lnTo>
                  <a:lnTo>
                    <a:pt x="1044" y="240"/>
                  </a:lnTo>
                  <a:lnTo>
                    <a:pt x="1038" y="228"/>
                  </a:lnTo>
                  <a:lnTo>
                    <a:pt x="1038" y="204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6" y="180"/>
                  </a:lnTo>
                  <a:lnTo>
                    <a:pt x="1020" y="174"/>
                  </a:lnTo>
                  <a:lnTo>
                    <a:pt x="1014" y="174"/>
                  </a:lnTo>
                  <a:lnTo>
                    <a:pt x="1008" y="168"/>
                  </a:lnTo>
                  <a:lnTo>
                    <a:pt x="990" y="168"/>
                  </a:lnTo>
                  <a:lnTo>
                    <a:pt x="984" y="174"/>
                  </a:lnTo>
                  <a:lnTo>
                    <a:pt x="972" y="180"/>
                  </a:lnTo>
                  <a:lnTo>
                    <a:pt x="960" y="180"/>
                  </a:lnTo>
                  <a:lnTo>
                    <a:pt x="948" y="174"/>
                  </a:lnTo>
                  <a:lnTo>
                    <a:pt x="918" y="162"/>
                  </a:lnTo>
                  <a:lnTo>
                    <a:pt x="906" y="162"/>
                  </a:lnTo>
                  <a:lnTo>
                    <a:pt x="894" y="156"/>
                  </a:lnTo>
                  <a:lnTo>
                    <a:pt x="876" y="150"/>
                  </a:lnTo>
                  <a:lnTo>
                    <a:pt x="870" y="144"/>
                  </a:lnTo>
                  <a:lnTo>
                    <a:pt x="870" y="138"/>
                  </a:lnTo>
                  <a:lnTo>
                    <a:pt x="876" y="138"/>
                  </a:lnTo>
                  <a:lnTo>
                    <a:pt x="876" y="132"/>
                  </a:lnTo>
                  <a:lnTo>
                    <a:pt x="876" y="126"/>
                  </a:lnTo>
                  <a:lnTo>
                    <a:pt x="870" y="126"/>
                  </a:lnTo>
                  <a:lnTo>
                    <a:pt x="864" y="126"/>
                  </a:lnTo>
                  <a:lnTo>
                    <a:pt x="858" y="138"/>
                  </a:lnTo>
                  <a:lnTo>
                    <a:pt x="846" y="150"/>
                  </a:lnTo>
                  <a:lnTo>
                    <a:pt x="840" y="150"/>
                  </a:lnTo>
                  <a:lnTo>
                    <a:pt x="834" y="156"/>
                  </a:lnTo>
                  <a:lnTo>
                    <a:pt x="828" y="168"/>
                  </a:lnTo>
                  <a:lnTo>
                    <a:pt x="822" y="168"/>
                  </a:lnTo>
                  <a:lnTo>
                    <a:pt x="822" y="150"/>
                  </a:lnTo>
                  <a:lnTo>
                    <a:pt x="816" y="144"/>
                  </a:lnTo>
                  <a:lnTo>
                    <a:pt x="834" y="144"/>
                  </a:lnTo>
                  <a:lnTo>
                    <a:pt x="852" y="120"/>
                  </a:lnTo>
                  <a:lnTo>
                    <a:pt x="864" y="108"/>
                  </a:lnTo>
                  <a:lnTo>
                    <a:pt x="870" y="96"/>
                  </a:lnTo>
                  <a:lnTo>
                    <a:pt x="876" y="90"/>
                  </a:lnTo>
                  <a:lnTo>
                    <a:pt x="876" y="72"/>
                  </a:lnTo>
                  <a:lnTo>
                    <a:pt x="876" y="60"/>
                  </a:lnTo>
                  <a:lnTo>
                    <a:pt x="876" y="54"/>
                  </a:lnTo>
                  <a:lnTo>
                    <a:pt x="870" y="42"/>
                  </a:lnTo>
                  <a:lnTo>
                    <a:pt x="864" y="36"/>
                  </a:lnTo>
                  <a:lnTo>
                    <a:pt x="852" y="36"/>
                  </a:lnTo>
                  <a:lnTo>
                    <a:pt x="846" y="36"/>
                  </a:lnTo>
                  <a:lnTo>
                    <a:pt x="834" y="48"/>
                  </a:lnTo>
                  <a:lnTo>
                    <a:pt x="816" y="48"/>
                  </a:lnTo>
                  <a:lnTo>
                    <a:pt x="810" y="48"/>
                  </a:lnTo>
                  <a:lnTo>
                    <a:pt x="810" y="36"/>
                  </a:lnTo>
                  <a:lnTo>
                    <a:pt x="804" y="30"/>
                  </a:lnTo>
                  <a:lnTo>
                    <a:pt x="810" y="12"/>
                  </a:lnTo>
                  <a:lnTo>
                    <a:pt x="816" y="12"/>
                  </a:lnTo>
                  <a:lnTo>
                    <a:pt x="816" y="6"/>
                  </a:lnTo>
                  <a:lnTo>
                    <a:pt x="810" y="0"/>
                  </a:lnTo>
                  <a:lnTo>
                    <a:pt x="804" y="0"/>
                  </a:lnTo>
                  <a:lnTo>
                    <a:pt x="792" y="0"/>
                  </a:lnTo>
                  <a:lnTo>
                    <a:pt x="786" y="6"/>
                  </a:lnTo>
                  <a:lnTo>
                    <a:pt x="786" y="12"/>
                  </a:lnTo>
                  <a:lnTo>
                    <a:pt x="774" y="24"/>
                  </a:lnTo>
                  <a:lnTo>
                    <a:pt x="762" y="3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44" y="48"/>
                  </a:lnTo>
                  <a:lnTo>
                    <a:pt x="744" y="54"/>
                  </a:lnTo>
                  <a:lnTo>
                    <a:pt x="768" y="72"/>
                  </a:lnTo>
                  <a:lnTo>
                    <a:pt x="768" y="90"/>
                  </a:lnTo>
                  <a:lnTo>
                    <a:pt x="762" y="96"/>
                  </a:lnTo>
                  <a:lnTo>
                    <a:pt x="756" y="90"/>
                  </a:lnTo>
                  <a:lnTo>
                    <a:pt x="750" y="84"/>
                  </a:lnTo>
                  <a:lnTo>
                    <a:pt x="744" y="72"/>
                  </a:lnTo>
                  <a:lnTo>
                    <a:pt x="738" y="66"/>
                  </a:lnTo>
                  <a:lnTo>
                    <a:pt x="726" y="66"/>
                  </a:lnTo>
                  <a:lnTo>
                    <a:pt x="714" y="66"/>
                  </a:lnTo>
                  <a:lnTo>
                    <a:pt x="708" y="66"/>
                  </a:lnTo>
                  <a:lnTo>
                    <a:pt x="702" y="66"/>
                  </a:lnTo>
                  <a:lnTo>
                    <a:pt x="696" y="60"/>
                  </a:lnTo>
                  <a:lnTo>
                    <a:pt x="690" y="66"/>
                  </a:lnTo>
                  <a:lnTo>
                    <a:pt x="684" y="72"/>
                  </a:lnTo>
                  <a:lnTo>
                    <a:pt x="678" y="72"/>
                  </a:lnTo>
                  <a:lnTo>
                    <a:pt x="672" y="78"/>
                  </a:lnTo>
                  <a:lnTo>
                    <a:pt x="654" y="84"/>
                  </a:lnTo>
                  <a:lnTo>
                    <a:pt x="648" y="90"/>
                  </a:lnTo>
                  <a:lnTo>
                    <a:pt x="642" y="102"/>
                  </a:lnTo>
                  <a:lnTo>
                    <a:pt x="636" y="120"/>
                  </a:lnTo>
                  <a:lnTo>
                    <a:pt x="630" y="126"/>
                  </a:lnTo>
                  <a:lnTo>
                    <a:pt x="624" y="132"/>
                  </a:lnTo>
                  <a:lnTo>
                    <a:pt x="618" y="138"/>
                  </a:lnTo>
                  <a:lnTo>
                    <a:pt x="618" y="144"/>
                  </a:lnTo>
                  <a:lnTo>
                    <a:pt x="618" y="150"/>
                  </a:lnTo>
                  <a:lnTo>
                    <a:pt x="612" y="150"/>
                  </a:lnTo>
                  <a:lnTo>
                    <a:pt x="588" y="162"/>
                  </a:lnTo>
                  <a:lnTo>
                    <a:pt x="582" y="162"/>
                  </a:lnTo>
                  <a:lnTo>
                    <a:pt x="576" y="168"/>
                  </a:lnTo>
                  <a:lnTo>
                    <a:pt x="576" y="174"/>
                  </a:lnTo>
                  <a:lnTo>
                    <a:pt x="576" y="180"/>
                  </a:lnTo>
                  <a:lnTo>
                    <a:pt x="576" y="192"/>
                  </a:lnTo>
                  <a:lnTo>
                    <a:pt x="576" y="204"/>
                  </a:lnTo>
                  <a:lnTo>
                    <a:pt x="582" y="204"/>
                  </a:lnTo>
                  <a:lnTo>
                    <a:pt x="588" y="204"/>
                  </a:lnTo>
                  <a:lnTo>
                    <a:pt x="594" y="210"/>
                  </a:lnTo>
                  <a:lnTo>
                    <a:pt x="594" y="216"/>
                  </a:lnTo>
                  <a:lnTo>
                    <a:pt x="606" y="222"/>
                  </a:lnTo>
                  <a:lnTo>
                    <a:pt x="606" y="258"/>
                  </a:lnTo>
                  <a:lnTo>
                    <a:pt x="600" y="264"/>
                  </a:lnTo>
                  <a:lnTo>
                    <a:pt x="606" y="276"/>
                  </a:lnTo>
                  <a:lnTo>
                    <a:pt x="612" y="282"/>
                  </a:lnTo>
                  <a:lnTo>
                    <a:pt x="600" y="282"/>
                  </a:lnTo>
                  <a:lnTo>
                    <a:pt x="594" y="276"/>
                  </a:lnTo>
                  <a:lnTo>
                    <a:pt x="588" y="270"/>
                  </a:lnTo>
                  <a:lnTo>
                    <a:pt x="588" y="264"/>
                  </a:lnTo>
                  <a:lnTo>
                    <a:pt x="588" y="258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82" y="246"/>
                  </a:lnTo>
                  <a:lnTo>
                    <a:pt x="588" y="240"/>
                  </a:lnTo>
                  <a:lnTo>
                    <a:pt x="594" y="228"/>
                  </a:lnTo>
                  <a:lnTo>
                    <a:pt x="594" y="222"/>
                  </a:lnTo>
                  <a:lnTo>
                    <a:pt x="582" y="222"/>
                  </a:lnTo>
                  <a:lnTo>
                    <a:pt x="576" y="216"/>
                  </a:lnTo>
                  <a:lnTo>
                    <a:pt x="570" y="216"/>
                  </a:lnTo>
                  <a:lnTo>
                    <a:pt x="558" y="210"/>
                  </a:lnTo>
                  <a:lnTo>
                    <a:pt x="546" y="204"/>
                  </a:lnTo>
                  <a:lnTo>
                    <a:pt x="540" y="204"/>
                  </a:lnTo>
                  <a:lnTo>
                    <a:pt x="540" y="210"/>
                  </a:lnTo>
                  <a:lnTo>
                    <a:pt x="534" y="204"/>
                  </a:lnTo>
                  <a:lnTo>
                    <a:pt x="534" y="198"/>
                  </a:lnTo>
                  <a:lnTo>
                    <a:pt x="534" y="186"/>
                  </a:lnTo>
                  <a:lnTo>
                    <a:pt x="534" y="180"/>
                  </a:lnTo>
                  <a:lnTo>
                    <a:pt x="528" y="180"/>
                  </a:lnTo>
                  <a:lnTo>
                    <a:pt x="522" y="180"/>
                  </a:lnTo>
                  <a:lnTo>
                    <a:pt x="516" y="180"/>
                  </a:lnTo>
                  <a:lnTo>
                    <a:pt x="516" y="186"/>
                  </a:lnTo>
                  <a:lnTo>
                    <a:pt x="516" y="198"/>
                  </a:lnTo>
                  <a:lnTo>
                    <a:pt x="522" y="210"/>
                  </a:lnTo>
                  <a:lnTo>
                    <a:pt x="516" y="210"/>
                  </a:lnTo>
                  <a:lnTo>
                    <a:pt x="510" y="216"/>
                  </a:lnTo>
                  <a:lnTo>
                    <a:pt x="510" y="222"/>
                  </a:lnTo>
                  <a:lnTo>
                    <a:pt x="504" y="228"/>
                  </a:lnTo>
                  <a:lnTo>
                    <a:pt x="504" y="234"/>
                  </a:lnTo>
                  <a:lnTo>
                    <a:pt x="510" y="240"/>
                  </a:lnTo>
                  <a:lnTo>
                    <a:pt x="510" y="246"/>
                  </a:lnTo>
                  <a:lnTo>
                    <a:pt x="510" y="258"/>
                  </a:lnTo>
                  <a:lnTo>
                    <a:pt x="504" y="264"/>
                  </a:lnTo>
                  <a:lnTo>
                    <a:pt x="504" y="270"/>
                  </a:lnTo>
                  <a:lnTo>
                    <a:pt x="504" y="282"/>
                  </a:lnTo>
                  <a:lnTo>
                    <a:pt x="504" y="300"/>
                  </a:lnTo>
                  <a:lnTo>
                    <a:pt x="516" y="300"/>
                  </a:lnTo>
                  <a:lnTo>
                    <a:pt x="528" y="294"/>
                  </a:lnTo>
                  <a:lnTo>
                    <a:pt x="528" y="288"/>
                  </a:lnTo>
                  <a:lnTo>
                    <a:pt x="534" y="288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6" y="312"/>
                  </a:lnTo>
                  <a:lnTo>
                    <a:pt x="552" y="330"/>
                  </a:lnTo>
                  <a:lnTo>
                    <a:pt x="552" y="336"/>
                  </a:lnTo>
                  <a:lnTo>
                    <a:pt x="558" y="336"/>
                  </a:lnTo>
                  <a:lnTo>
                    <a:pt x="564" y="336"/>
                  </a:lnTo>
                  <a:lnTo>
                    <a:pt x="570" y="336"/>
                  </a:lnTo>
                  <a:lnTo>
                    <a:pt x="576" y="342"/>
                  </a:lnTo>
                  <a:lnTo>
                    <a:pt x="582" y="342"/>
                  </a:lnTo>
                  <a:lnTo>
                    <a:pt x="582" y="348"/>
                  </a:lnTo>
                  <a:lnTo>
                    <a:pt x="576" y="348"/>
                  </a:lnTo>
                  <a:lnTo>
                    <a:pt x="570" y="348"/>
                  </a:lnTo>
                  <a:lnTo>
                    <a:pt x="564" y="354"/>
                  </a:lnTo>
                  <a:lnTo>
                    <a:pt x="558" y="360"/>
                  </a:lnTo>
                  <a:lnTo>
                    <a:pt x="564" y="360"/>
                  </a:lnTo>
                  <a:lnTo>
                    <a:pt x="564" y="366"/>
                  </a:lnTo>
                  <a:lnTo>
                    <a:pt x="564" y="378"/>
                  </a:lnTo>
                  <a:lnTo>
                    <a:pt x="564" y="390"/>
                  </a:lnTo>
                  <a:lnTo>
                    <a:pt x="558" y="390"/>
                  </a:lnTo>
                  <a:lnTo>
                    <a:pt x="558" y="384"/>
                  </a:lnTo>
                  <a:lnTo>
                    <a:pt x="552" y="384"/>
                  </a:lnTo>
                  <a:lnTo>
                    <a:pt x="552" y="366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40" y="360"/>
                  </a:lnTo>
                  <a:lnTo>
                    <a:pt x="534" y="366"/>
                  </a:lnTo>
                  <a:lnTo>
                    <a:pt x="528" y="366"/>
                  </a:lnTo>
                  <a:lnTo>
                    <a:pt x="528" y="360"/>
                  </a:lnTo>
                  <a:lnTo>
                    <a:pt x="534" y="348"/>
                  </a:lnTo>
                  <a:lnTo>
                    <a:pt x="534" y="330"/>
                  </a:lnTo>
                  <a:lnTo>
                    <a:pt x="534" y="306"/>
                  </a:lnTo>
                  <a:lnTo>
                    <a:pt x="534" y="294"/>
                  </a:lnTo>
                  <a:lnTo>
                    <a:pt x="528" y="306"/>
                  </a:lnTo>
                  <a:lnTo>
                    <a:pt x="522" y="306"/>
                  </a:lnTo>
                  <a:lnTo>
                    <a:pt x="516" y="306"/>
                  </a:lnTo>
                  <a:lnTo>
                    <a:pt x="510" y="306"/>
                  </a:lnTo>
                  <a:lnTo>
                    <a:pt x="510" y="312"/>
                  </a:lnTo>
                  <a:lnTo>
                    <a:pt x="510" y="348"/>
                  </a:lnTo>
                  <a:lnTo>
                    <a:pt x="504" y="360"/>
                  </a:lnTo>
                  <a:lnTo>
                    <a:pt x="498" y="360"/>
                  </a:lnTo>
                  <a:lnTo>
                    <a:pt x="492" y="366"/>
                  </a:lnTo>
                  <a:lnTo>
                    <a:pt x="486" y="366"/>
                  </a:lnTo>
                  <a:lnTo>
                    <a:pt x="474" y="366"/>
                  </a:lnTo>
                  <a:lnTo>
                    <a:pt x="462" y="366"/>
                  </a:lnTo>
                  <a:lnTo>
                    <a:pt x="450" y="360"/>
                  </a:lnTo>
                  <a:lnTo>
                    <a:pt x="456" y="360"/>
                  </a:lnTo>
                  <a:lnTo>
                    <a:pt x="468" y="354"/>
                  </a:lnTo>
                  <a:lnTo>
                    <a:pt x="480" y="354"/>
                  </a:lnTo>
                  <a:lnTo>
                    <a:pt x="486" y="348"/>
                  </a:lnTo>
                  <a:lnTo>
                    <a:pt x="486" y="342"/>
                  </a:lnTo>
                  <a:lnTo>
                    <a:pt x="486" y="336"/>
                  </a:lnTo>
                  <a:lnTo>
                    <a:pt x="498" y="318"/>
                  </a:lnTo>
                  <a:lnTo>
                    <a:pt x="504" y="312"/>
                  </a:lnTo>
                  <a:lnTo>
                    <a:pt x="498" y="306"/>
                  </a:lnTo>
                  <a:lnTo>
                    <a:pt x="492" y="306"/>
                  </a:lnTo>
                  <a:lnTo>
                    <a:pt x="492" y="258"/>
                  </a:lnTo>
                  <a:lnTo>
                    <a:pt x="492" y="252"/>
                  </a:lnTo>
                  <a:lnTo>
                    <a:pt x="492" y="246"/>
                  </a:lnTo>
                  <a:lnTo>
                    <a:pt x="486" y="234"/>
                  </a:lnTo>
                  <a:lnTo>
                    <a:pt x="486" y="216"/>
                  </a:lnTo>
                  <a:lnTo>
                    <a:pt x="492" y="216"/>
                  </a:lnTo>
                  <a:lnTo>
                    <a:pt x="492" y="204"/>
                  </a:lnTo>
                  <a:lnTo>
                    <a:pt x="504" y="192"/>
                  </a:lnTo>
                  <a:lnTo>
                    <a:pt x="504" y="186"/>
                  </a:lnTo>
                  <a:lnTo>
                    <a:pt x="498" y="186"/>
                  </a:lnTo>
                  <a:lnTo>
                    <a:pt x="474" y="186"/>
                  </a:lnTo>
                  <a:lnTo>
                    <a:pt x="474" y="180"/>
                  </a:lnTo>
                  <a:lnTo>
                    <a:pt x="468" y="186"/>
                  </a:lnTo>
                  <a:lnTo>
                    <a:pt x="462" y="198"/>
                  </a:lnTo>
                  <a:lnTo>
                    <a:pt x="456" y="210"/>
                  </a:lnTo>
                  <a:lnTo>
                    <a:pt x="456" y="216"/>
                  </a:lnTo>
                  <a:lnTo>
                    <a:pt x="450" y="222"/>
                  </a:lnTo>
                  <a:lnTo>
                    <a:pt x="444" y="228"/>
                  </a:lnTo>
                  <a:lnTo>
                    <a:pt x="444" y="234"/>
                  </a:lnTo>
                  <a:lnTo>
                    <a:pt x="438" y="240"/>
                  </a:lnTo>
                  <a:lnTo>
                    <a:pt x="438" y="252"/>
                  </a:lnTo>
                  <a:lnTo>
                    <a:pt x="438" y="276"/>
                  </a:lnTo>
                  <a:lnTo>
                    <a:pt x="438" y="282"/>
                  </a:lnTo>
                  <a:lnTo>
                    <a:pt x="444" y="294"/>
                  </a:lnTo>
                  <a:lnTo>
                    <a:pt x="444" y="300"/>
                  </a:lnTo>
                  <a:lnTo>
                    <a:pt x="438" y="300"/>
                  </a:lnTo>
                  <a:lnTo>
                    <a:pt x="414" y="276"/>
                  </a:lnTo>
                  <a:lnTo>
                    <a:pt x="390" y="276"/>
                  </a:lnTo>
                  <a:lnTo>
                    <a:pt x="384" y="282"/>
                  </a:lnTo>
                  <a:lnTo>
                    <a:pt x="390" y="288"/>
                  </a:lnTo>
                  <a:lnTo>
                    <a:pt x="390" y="300"/>
                  </a:lnTo>
                  <a:lnTo>
                    <a:pt x="372" y="312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0" y="300"/>
                  </a:lnTo>
                  <a:lnTo>
                    <a:pt x="360" y="306"/>
                  </a:lnTo>
                  <a:lnTo>
                    <a:pt x="342" y="306"/>
                  </a:lnTo>
                  <a:lnTo>
                    <a:pt x="336" y="306"/>
                  </a:lnTo>
                  <a:lnTo>
                    <a:pt x="330" y="312"/>
                  </a:lnTo>
                  <a:lnTo>
                    <a:pt x="324" y="312"/>
                  </a:lnTo>
                  <a:lnTo>
                    <a:pt x="324" y="300"/>
                  </a:lnTo>
                  <a:lnTo>
                    <a:pt x="318" y="300"/>
                  </a:lnTo>
                  <a:lnTo>
                    <a:pt x="294" y="312"/>
                  </a:lnTo>
                  <a:lnTo>
                    <a:pt x="282" y="318"/>
                  </a:lnTo>
                  <a:lnTo>
                    <a:pt x="276" y="318"/>
                  </a:lnTo>
                  <a:lnTo>
                    <a:pt x="270" y="330"/>
                  </a:lnTo>
                  <a:lnTo>
                    <a:pt x="264" y="336"/>
                  </a:lnTo>
                  <a:lnTo>
                    <a:pt x="264" y="342"/>
                  </a:lnTo>
                  <a:lnTo>
                    <a:pt x="264" y="348"/>
                  </a:lnTo>
                  <a:lnTo>
                    <a:pt x="258" y="354"/>
                  </a:lnTo>
                  <a:lnTo>
                    <a:pt x="258" y="348"/>
                  </a:lnTo>
                  <a:lnTo>
                    <a:pt x="246" y="342"/>
                  </a:lnTo>
                  <a:lnTo>
                    <a:pt x="246" y="330"/>
                  </a:lnTo>
                  <a:lnTo>
                    <a:pt x="252" y="324"/>
                  </a:lnTo>
                  <a:lnTo>
                    <a:pt x="252" y="318"/>
                  </a:lnTo>
                  <a:lnTo>
                    <a:pt x="252" y="306"/>
                  </a:lnTo>
                  <a:lnTo>
                    <a:pt x="240" y="306"/>
                  </a:lnTo>
                  <a:lnTo>
                    <a:pt x="228" y="300"/>
                  </a:lnTo>
                  <a:lnTo>
                    <a:pt x="222" y="306"/>
                  </a:lnTo>
                  <a:lnTo>
                    <a:pt x="216" y="306"/>
                  </a:lnTo>
                  <a:lnTo>
                    <a:pt x="228" y="312"/>
                  </a:lnTo>
                  <a:lnTo>
                    <a:pt x="228" y="330"/>
                  </a:lnTo>
                  <a:lnTo>
                    <a:pt x="228" y="336"/>
                  </a:lnTo>
                  <a:lnTo>
                    <a:pt x="234" y="348"/>
                  </a:lnTo>
                  <a:lnTo>
                    <a:pt x="228" y="360"/>
                  </a:lnTo>
                  <a:lnTo>
                    <a:pt x="228" y="366"/>
                  </a:lnTo>
                  <a:lnTo>
                    <a:pt x="222" y="360"/>
                  </a:lnTo>
                  <a:lnTo>
                    <a:pt x="216" y="360"/>
                  </a:lnTo>
                  <a:lnTo>
                    <a:pt x="210" y="360"/>
                  </a:lnTo>
                  <a:lnTo>
                    <a:pt x="198" y="372"/>
                  </a:lnTo>
                  <a:lnTo>
                    <a:pt x="186" y="378"/>
                  </a:lnTo>
                  <a:lnTo>
                    <a:pt x="186" y="384"/>
                  </a:lnTo>
                  <a:lnTo>
                    <a:pt x="186" y="390"/>
                  </a:lnTo>
                  <a:lnTo>
                    <a:pt x="192" y="396"/>
                  </a:lnTo>
                  <a:lnTo>
                    <a:pt x="192" y="402"/>
                  </a:lnTo>
                  <a:lnTo>
                    <a:pt x="174" y="402"/>
                  </a:lnTo>
                  <a:lnTo>
                    <a:pt x="168" y="390"/>
                  </a:lnTo>
                  <a:lnTo>
                    <a:pt x="162" y="384"/>
                  </a:lnTo>
                  <a:lnTo>
                    <a:pt x="156" y="378"/>
                  </a:lnTo>
                  <a:lnTo>
                    <a:pt x="156" y="390"/>
                  </a:lnTo>
                  <a:lnTo>
                    <a:pt x="156" y="402"/>
                  </a:lnTo>
                  <a:lnTo>
                    <a:pt x="162" y="414"/>
                  </a:lnTo>
                  <a:lnTo>
                    <a:pt x="162" y="420"/>
                  </a:lnTo>
                  <a:lnTo>
                    <a:pt x="156" y="420"/>
                  </a:lnTo>
                  <a:lnTo>
                    <a:pt x="150" y="408"/>
                  </a:lnTo>
                  <a:lnTo>
                    <a:pt x="138" y="402"/>
                  </a:lnTo>
                  <a:lnTo>
                    <a:pt x="138" y="396"/>
                  </a:lnTo>
                  <a:lnTo>
                    <a:pt x="138" y="390"/>
                  </a:lnTo>
                  <a:lnTo>
                    <a:pt x="144" y="384"/>
                  </a:lnTo>
                  <a:lnTo>
                    <a:pt x="138" y="378"/>
                  </a:lnTo>
                  <a:lnTo>
                    <a:pt x="120" y="360"/>
                  </a:lnTo>
                  <a:lnTo>
                    <a:pt x="120" y="348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50" y="366"/>
                  </a:lnTo>
                  <a:lnTo>
                    <a:pt x="156" y="372"/>
                  </a:lnTo>
                  <a:lnTo>
                    <a:pt x="168" y="372"/>
                  </a:lnTo>
                  <a:lnTo>
                    <a:pt x="174" y="372"/>
                  </a:lnTo>
                  <a:lnTo>
                    <a:pt x="186" y="366"/>
                  </a:lnTo>
                  <a:lnTo>
                    <a:pt x="198" y="360"/>
                  </a:lnTo>
                  <a:lnTo>
                    <a:pt x="198" y="348"/>
                  </a:lnTo>
                  <a:lnTo>
                    <a:pt x="204" y="342"/>
                  </a:lnTo>
                  <a:lnTo>
                    <a:pt x="204" y="330"/>
                  </a:lnTo>
                  <a:lnTo>
                    <a:pt x="198" y="324"/>
                  </a:lnTo>
                  <a:lnTo>
                    <a:pt x="192" y="324"/>
                  </a:lnTo>
                  <a:lnTo>
                    <a:pt x="180" y="318"/>
                  </a:lnTo>
                  <a:lnTo>
                    <a:pt x="174" y="306"/>
                  </a:lnTo>
                  <a:lnTo>
                    <a:pt x="168" y="300"/>
                  </a:lnTo>
                  <a:lnTo>
                    <a:pt x="162" y="294"/>
                  </a:lnTo>
                  <a:lnTo>
                    <a:pt x="144" y="288"/>
                  </a:lnTo>
                  <a:lnTo>
                    <a:pt x="132" y="282"/>
                  </a:lnTo>
                  <a:lnTo>
                    <a:pt x="126" y="288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14" y="264"/>
                  </a:lnTo>
                  <a:lnTo>
                    <a:pt x="108" y="270"/>
                  </a:lnTo>
                  <a:lnTo>
                    <a:pt x="102" y="270"/>
                  </a:lnTo>
                  <a:lnTo>
                    <a:pt x="102" y="276"/>
                  </a:lnTo>
                  <a:lnTo>
                    <a:pt x="96" y="282"/>
                  </a:lnTo>
                  <a:lnTo>
                    <a:pt x="90" y="288"/>
                  </a:lnTo>
                  <a:lnTo>
                    <a:pt x="84" y="300"/>
                  </a:lnTo>
                  <a:lnTo>
                    <a:pt x="84" y="312"/>
                  </a:lnTo>
                  <a:lnTo>
                    <a:pt x="102" y="330"/>
                  </a:lnTo>
                  <a:lnTo>
                    <a:pt x="102" y="348"/>
                  </a:lnTo>
                  <a:lnTo>
                    <a:pt x="90" y="360"/>
                  </a:lnTo>
                  <a:lnTo>
                    <a:pt x="96" y="372"/>
                  </a:lnTo>
                  <a:lnTo>
                    <a:pt x="90" y="414"/>
                  </a:lnTo>
                  <a:lnTo>
                    <a:pt x="96" y="426"/>
                  </a:lnTo>
                  <a:lnTo>
                    <a:pt x="96" y="432"/>
                  </a:lnTo>
                  <a:lnTo>
                    <a:pt x="102" y="444"/>
                  </a:lnTo>
                  <a:lnTo>
                    <a:pt x="102" y="450"/>
                  </a:lnTo>
                  <a:lnTo>
                    <a:pt x="102" y="462"/>
                  </a:lnTo>
                  <a:lnTo>
                    <a:pt x="72" y="486"/>
                  </a:lnTo>
                  <a:lnTo>
                    <a:pt x="78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90" y="498"/>
                  </a:lnTo>
                  <a:lnTo>
                    <a:pt x="84" y="498"/>
                  </a:lnTo>
                  <a:lnTo>
                    <a:pt x="78" y="498"/>
                  </a:lnTo>
                  <a:lnTo>
                    <a:pt x="72" y="504"/>
                  </a:lnTo>
                  <a:lnTo>
                    <a:pt x="66" y="510"/>
                  </a:lnTo>
                  <a:lnTo>
                    <a:pt x="60" y="504"/>
                  </a:lnTo>
                  <a:lnTo>
                    <a:pt x="54" y="504"/>
                  </a:lnTo>
                  <a:lnTo>
                    <a:pt x="42" y="504"/>
                  </a:lnTo>
                  <a:lnTo>
                    <a:pt x="36" y="504"/>
                  </a:lnTo>
                  <a:lnTo>
                    <a:pt x="36" y="510"/>
                  </a:lnTo>
                  <a:lnTo>
                    <a:pt x="30" y="516"/>
                  </a:lnTo>
                  <a:lnTo>
                    <a:pt x="30" y="522"/>
                  </a:lnTo>
                  <a:lnTo>
                    <a:pt x="30" y="528"/>
                  </a:lnTo>
                  <a:lnTo>
                    <a:pt x="36" y="528"/>
                  </a:lnTo>
                  <a:lnTo>
                    <a:pt x="36" y="540"/>
                  </a:lnTo>
                  <a:lnTo>
                    <a:pt x="36" y="552"/>
                  </a:lnTo>
                  <a:lnTo>
                    <a:pt x="24" y="546"/>
                  </a:lnTo>
                  <a:lnTo>
                    <a:pt x="18" y="540"/>
                  </a:lnTo>
                  <a:lnTo>
                    <a:pt x="6" y="552"/>
                  </a:lnTo>
                  <a:lnTo>
                    <a:pt x="6" y="558"/>
                  </a:lnTo>
                  <a:lnTo>
                    <a:pt x="0" y="570"/>
                  </a:lnTo>
                  <a:lnTo>
                    <a:pt x="0" y="582"/>
                  </a:lnTo>
                  <a:lnTo>
                    <a:pt x="6" y="582"/>
                  </a:lnTo>
                  <a:lnTo>
                    <a:pt x="18" y="582"/>
                  </a:lnTo>
                  <a:lnTo>
                    <a:pt x="24" y="594"/>
                  </a:lnTo>
                  <a:lnTo>
                    <a:pt x="30" y="600"/>
                  </a:lnTo>
                  <a:lnTo>
                    <a:pt x="36" y="606"/>
                  </a:lnTo>
                  <a:lnTo>
                    <a:pt x="36" y="612"/>
                  </a:lnTo>
                  <a:lnTo>
                    <a:pt x="30" y="618"/>
                  </a:lnTo>
                  <a:lnTo>
                    <a:pt x="30" y="624"/>
                  </a:lnTo>
                  <a:lnTo>
                    <a:pt x="36" y="624"/>
                  </a:lnTo>
                  <a:lnTo>
                    <a:pt x="36" y="630"/>
                  </a:lnTo>
                  <a:lnTo>
                    <a:pt x="42" y="642"/>
                  </a:lnTo>
                  <a:lnTo>
                    <a:pt x="48" y="654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24" y="672"/>
                  </a:lnTo>
                  <a:lnTo>
                    <a:pt x="24" y="678"/>
                  </a:lnTo>
                  <a:lnTo>
                    <a:pt x="18" y="678"/>
                  </a:lnTo>
                  <a:lnTo>
                    <a:pt x="18" y="684"/>
                  </a:lnTo>
                  <a:lnTo>
                    <a:pt x="24" y="684"/>
                  </a:lnTo>
                  <a:lnTo>
                    <a:pt x="30" y="684"/>
                  </a:lnTo>
                  <a:lnTo>
                    <a:pt x="36" y="684"/>
                  </a:lnTo>
                  <a:lnTo>
                    <a:pt x="42" y="684"/>
                  </a:lnTo>
                  <a:lnTo>
                    <a:pt x="54" y="684"/>
                  </a:lnTo>
                  <a:lnTo>
                    <a:pt x="60" y="684"/>
                  </a:lnTo>
                  <a:lnTo>
                    <a:pt x="66" y="684"/>
                  </a:lnTo>
                  <a:lnTo>
                    <a:pt x="72" y="690"/>
                  </a:lnTo>
                  <a:lnTo>
                    <a:pt x="78" y="690"/>
                  </a:lnTo>
                  <a:lnTo>
                    <a:pt x="78" y="696"/>
                  </a:lnTo>
                  <a:lnTo>
                    <a:pt x="78" y="708"/>
                  </a:lnTo>
                  <a:lnTo>
                    <a:pt x="78" y="714"/>
                  </a:lnTo>
                  <a:lnTo>
                    <a:pt x="78" y="726"/>
                  </a:lnTo>
                  <a:lnTo>
                    <a:pt x="84" y="726"/>
                  </a:lnTo>
                  <a:lnTo>
                    <a:pt x="84" y="732"/>
                  </a:lnTo>
                  <a:lnTo>
                    <a:pt x="84" y="726"/>
                  </a:lnTo>
                  <a:lnTo>
                    <a:pt x="90" y="726"/>
                  </a:lnTo>
                  <a:lnTo>
                    <a:pt x="96" y="720"/>
                  </a:lnTo>
                  <a:lnTo>
                    <a:pt x="102" y="720"/>
                  </a:lnTo>
                  <a:lnTo>
                    <a:pt x="108" y="720"/>
                  </a:lnTo>
                  <a:lnTo>
                    <a:pt x="114" y="726"/>
                  </a:lnTo>
                  <a:lnTo>
                    <a:pt x="120" y="726"/>
                  </a:lnTo>
                  <a:lnTo>
                    <a:pt x="120" y="732"/>
                  </a:lnTo>
                  <a:lnTo>
                    <a:pt x="126" y="732"/>
                  </a:lnTo>
                  <a:lnTo>
                    <a:pt x="132" y="726"/>
                  </a:lnTo>
                  <a:lnTo>
                    <a:pt x="132" y="732"/>
                  </a:lnTo>
                  <a:lnTo>
                    <a:pt x="138" y="732"/>
                  </a:lnTo>
                  <a:lnTo>
                    <a:pt x="132" y="738"/>
                  </a:lnTo>
                  <a:lnTo>
                    <a:pt x="132" y="744"/>
                  </a:lnTo>
                  <a:lnTo>
                    <a:pt x="132" y="750"/>
                  </a:lnTo>
                  <a:lnTo>
                    <a:pt x="138" y="744"/>
                  </a:lnTo>
                  <a:lnTo>
                    <a:pt x="144" y="744"/>
                  </a:lnTo>
                  <a:lnTo>
                    <a:pt x="150" y="738"/>
                  </a:lnTo>
                  <a:lnTo>
                    <a:pt x="144" y="738"/>
                  </a:lnTo>
                  <a:lnTo>
                    <a:pt x="144" y="732"/>
                  </a:lnTo>
                  <a:lnTo>
                    <a:pt x="138" y="726"/>
                  </a:lnTo>
                  <a:lnTo>
                    <a:pt x="144" y="726"/>
                  </a:lnTo>
                  <a:lnTo>
                    <a:pt x="144" y="720"/>
                  </a:lnTo>
                  <a:lnTo>
                    <a:pt x="156" y="720"/>
                  </a:lnTo>
                  <a:lnTo>
                    <a:pt x="162" y="720"/>
                  </a:lnTo>
                  <a:lnTo>
                    <a:pt x="162" y="726"/>
                  </a:lnTo>
                  <a:lnTo>
                    <a:pt x="156" y="732"/>
                  </a:lnTo>
                  <a:lnTo>
                    <a:pt x="150" y="732"/>
                  </a:lnTo>
                  <a:lnTo>
                    <a:pt x="150" y="738"/>
                  </a:lnTo>
                  <a:lnTo>
                    <a:pt x="156" y="744"/>
                  </a:lnTo>
                  <a:lnTo>
                    <a:pt x="162" y="750"/>
                  </a:lnTo>
                  <a:lnTo>
                    <a:pt x="174" y="756"/>
                  </a:lnTo>
                  <a:lnTo>
                    <a:pt x="192" y="774"/>
                  </a:lnTo>
                  <a:lnTo>
                    <a:pt x="192" y="780"/>
                  </a:lnTo>
                  <a:lnTo>
                    <a:pt x="192" y="786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92" y="798"/>
                  </a:lnTo>
                  <a:lnTo>
                    <a:pt x="204" y="804"/>
                  </a:lnTo>
                  <a:lnTo>
                    <a:pt x="210" y="810"/>
                  </a:lnTo>
                  <a:lnTo>
                    <a:pt x="228" y="816"/>
                  </a:lnTo>
                  <a:lnTo>
                    <a:pt x="234" y="816"/>
                  </a:lnTo>
                  <a:lnTo>
                    <a:pt x="240" y="816"/>
                  </a:lnTo>
                  <a:lnTo>
                    <a:pt x="252" y="804"/>
                  </a:lnTo>
                  <a:lnTo>
                    <a:pt x="258" y="810"/>
                  </a:lnTo>
                  <a:lnTo>
                    <a:pt x="258" y="816"/>
                  </a:lnTo>
                  <a:lnTo>
                    <a:pt x="264" y="822"/>
                  </a:lnTo>
                  <a:lnTo>
                    <a:pt x="258" y="810"/>
                  </a:lnTo>
                  <a:lnTo>
                    <a:pt x="258" y="798"/>
                  </a:lnTo>
                  <a:lnTo>
                    <a:pt x="264" y="792"/>
                  </a:lnTo>
                  <a:lnTo>
                    <a:pt x="258" y="786"/>
                  </a:lnTo>
                  <a:lnTo>
                    <a:pt x="258" y="780"/>
                  </a:lnTo>
                  <a:lnTo>
                    <a:pt x="264" y="774"/>
                  </a:lnTo>
                  <a:lnTo>
                    <a:pt x="258" y="774"/>
                  </a:lnTo>
                  <a:lnTo>
                    <a:pt x="252" y="762"/>
                  </a:lnTo>
                  <a:lnTo>
                    <a:pt x="252" y="756"/>
                  </a:lnTo>
                  <a:lnTo>
                    <a:pt x="246" y="744"/>
                  </a:lnTo>
                  <a:lnTo>
                    <a:pt x="252" y="732"/>
                  </a:lnTo>
                  <a:lnTo>
                    <a:pt x="258" y="720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82" y="714"/>
                  </a:lnTo>
                  <a:lnTo>
                    <a:pt x="300" y="714"/>
                  </a:lnTo>
                  <a:lnTo>
                    <a:pt x="306" y="720"/>
                  </a:lnTo>
                  <a:lnTo>
                    <a:pt x="312" y="726"/>
                  </a:lnTo>
                  <a:lnTo>
                    <a:pt x="312" y="732"/>
                  </a:lnTo>
                  <a:lnTo>
                    <a:pt x="306" y="738"/>
                  </a:lnTo>
                  <a:lnTo>
                    <a:pt x="294" y="744"/>
                  </a:lnTo>
                  <a:lnTo>
                    <a:pt x="288" y="744"/>
                  </a:lnTo>
                  <a:lnTo>
                    <a:pt x="282" y="744"/>
                  </a:lnTo>
                  <a:lnTo>
                    <a:pt x="276" y="750"/>
                  </a:lnTo>
                  <a:lnTo>
                    <a:pt x="276" y="756"/>
                  </a:lnTo>
                  <a:lnTo>
                    <a:pt x="282" y="768"/>
                  </a:lnTo>
                  <a:lnTo>
                    <a:pt x="288" y="768"/>
                  </a:lnTo>
                  <a:lnTo>
                    <a:pt x="294" y="768"/>
                  </a:lnTo>
                  <a:lnTo>
                    <a:pt x="294" y="774"/>
                  </a:lnTo>
                  <a:lnTo>
                    <a:pt x="294" y="786"/>
                  </a:lnTo>
                  <a:lnTo>
                    <a:pt x="300" y="786"/>
                  </a:lnTo>
                  <a:lnTo>
                    <a:pt x="306" y="786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06" y="798"/>
                  </a:lnTo>
                  <a:lnTo>
                    <a:pt x="300" y="804"/>
                  </a:lnTo>
                  <a:lnTo>
                    <a:pt x="294" y="810"/>
                  </a:lnTo>
                  <a:lnTo>
                    <a:pt x="300" y="810"/>
                  </a:lnTo>
                  <a:lnTo>
                    <a:pt x="300" y="816"/>
                  </a:lnTo>
                  <a:lnTo>
                    <a:pt x="300" y="828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6" y="846"/>
                  </a:lnTo>
                  <a:lnTo>
                    <a:pt x="318" y="840"/>
                  </a:lnTo>
                  <a:lnTo>
                    <a:pt x="330" y="840"/>
                  </a:lnTo>
                  <a:lnTo>
                    <a:pt x="336" y="840"/>
                  </a:lnTo>
                  <a:lnTo>
                    <a:pt x="342" y="840"/>
                  </a:lnTo>
                  <a:lnTo>
                    <a:pt x="348" y="846"/>
                  </a:lnTo>
                  <a:lnTo>
                    <a:pt x="360" y="846"/>
                  </a:lnTo>
                  <a:lnTo>
                    <a:pt x="372" y="852"/>
                  </a:lnTo>
                  <a:lnTo>
                    <a:pt x="372" y="864"/>
                  </a:lnTo>
                  <a:lnTo>
                    <a:pt x="372" y="870"/>
                  </a:lnTo>
                  <a:lnTo>
                    <a:pt x="384" y="870"/>
                  </a:lnTo>
                  <a:lnTo>
                    <a:pt x="390" y="870"/>
                  </a:lnTo>
                  <a:lnTo>
                    <a:pt x="390" y="858"/>
                  </a:lnTo>
                  <a:lnTo>
                    <a:pt x="402" y="858"/>
                  </a:lnTo>
                  <a:lnTo>
                    <a:pt x="408" y="852"/>
                  </a:lnTo>
                  <a:lnTo>
                    <a:pt x="408" y="840"/>
                  </a:lnTo>
                  <a:lnTo>
                    <a:pt x="420" y="846"/>
                  </a:lnTo>
                  <a:lnTo>
                    <a:pt x="438" y="846"/>
                  </a:lnTo>
                  <a:lnTo>
                    <a:pt x="450" y="846"/>
                  </a:lnTo>
                  <a:lnTo>
                    <a:pt x="456" y="840"/>
                  </a:lnTo>
                  <a:lnTo>
                    <a:pt x="468" y="834"/>
                  </a:lnTo>
                  <a:lnTo>
                    <a:pt x="474" y="840"/>
                  </a:lnTo>
                  <a:lnTo>
                    <a:pt x="480" y="846"/>
                  </a:lnTo>
                  <a:lnTo>
                    <a:pt x="480" y="852"/>
                  </a:lnTo>
                  <a:lnTo>
                    <a:pt x="486" y="852"/>
                  </a:lnTo>
                  <a:lnTo>
                    <a:pt x="510" y="852"/>
                  </a:lnTo>
                  <a:lnTo>
                    <a:pt x="510" y="846"/>
                  </a:lnTo>
                  <a:lnTo>
                    <a:pt x="504" y="840"/>
                  </a:lnTo>
                  <a:lnTo>
                    <a:pt x="504" y="834"/>
                  </a:lnTo>
                  <a:lnTo>
                    <a:pt x="498" y="828"/>
                  </a:lnTo>
                  <a:lnTo>
                    <a:pt x="492" y="828"/>
                  </a:lnTo>
                  <a:lnTo>
                    <a:pt x="492" y="822"/>
                  </a:lnTo>
                  <a:lnTo>
                    <a:pt x="492" y="816"/>
                  </a:lnTo>
                  <a:lnTo>
                    <a:pt x="492" y="810"/>
                  </a:ln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6" y="804"/>
                  </a:lnTo>
                  <a:lnTo>
                    <a:pt x="522" y="798"/>
                  </a:lnTo>
                  <a:lnTo>
                    <a:pt x="528" y="798"/>
                  </a:lnTo>
                  <a:lnTo>
                    <a:pt x="534" y="798"/>
                  </a:lnTo>
                  <a:lnTo>
                    <a:pt x="540" y="792"/>
                  </a:lnTo>
                  <a:lnTo>
                    <a:pt x="546" y="792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8" y="768"/>
                  </a:lnTo>
                  <a:lnTo>
                    <a:pt x="552" y="768"/>
                  </a:lnTo>
                  <a:lnTo>
                    <a:pt x="546" y="762"/>
                  </a:lnTo>
                  <a:lnTo>
                    <a:pt x="546" y="756"/>
                  </a:lnTo>
                  <a:lnTo>
                    <a:pt x="552" y="750"/>
                  </a:lnTo>
                  <a:lnTo>
                    <a:pt x="558" y="750"/>
                  </a:lnTo>
                  <a:lnTo>
                    <a:pt x="558" y="744"/>
                  </a:lnTo>
                  <a:lnTo>
                    <a:pt x="570" y="744"/>
                  </a:lnTo>
                  <a:lnTo>
                    <a:pt x="576" y="738"/>
                  </a:lnTo>
                  <a:lnTo>
                    <a:pt x="582" y="726"/>
                  </a:lnTo>
                  <a:lnTo>
                    <a:pt x="582" y="720"/>
                  </a:lnTo>
                  <a:lnTo>
                    <a:pt x="582" y="714"/>
                  </a:lnTo>
                  <a:lnTo>
                    <a:pt x="588" y="714"/>
                  </a:lnTo>
                  <a:lnTo>
                    <a:pt x="594" y="714"/>
                  </a:lnTo>
                  <a:lnTo>
                    <a:pt x="600" y="714"/>
                  </a:lnTo>
                  <a:lnTo>
                    <a:pt x="606" y="708"/>
                  </a:lnTo>
                  <a:lnTo>
                    <a:pt x="612" y="696"/>
                  </a:lnTo>
                  <a:lnTo>
                    <a:pt x="612" y="690"/>
                  </a:lnTo>
                  <a:lnTo>
                    <a:pt x="618" y="690"/>
                  </a:lnTo>
                  <a:lnTo>
                    <a:pt x="624" y="690"/>
                  </a:lnTo>
                  <a:lnTo>
                    <a:pt x="630" y="684"/>
                  </a:lnTo>
                  <a:lnTo>
                    <a:pt x="630" y="678"/>
                  </a:lnTo>
                  <a:lnTo>
                    <a:pt x="636" y="672"/>
                  </a:lnTo>
                  <a:lnTo>
                    <a:pt x="654" y="672"/>
                  </a:lnTo>
                  <a:lnTo>
                    <a:pt x="660" y="666"/>
                  </a:lnTo>
                  <a:lnTo>
                    <a:pt x="666" y="666"/>
                  </a:lnTo>
                  <a:lnTo>
                    <a:pt x="678" y="666"/>
                  </a:lnTo>
                  <a:lnTo>
                    <a:pt x="684" y="666"/>
                  </a:lnTo>
                  <a:lnTo>
                    <a:pt x="696" y="672"/>
                  </a:lnTo>
                  <a:lnTo>
                    <a:pt x="702" y="672"/>
                  </a:lnTo>
                  <a:lnTo>
                    <a:pt x="714" y="690"/>
                  </a:lnTo>
                  <a:lnTo>
                    <a:pt x="720" y="684"/>
                  </a:lnTo>
                  <a:lnTo>
                    <a:pt x="726" y="678"/>
                  </a:lnTo>
                  <a:lnTo>
                    <a:pt x="726" y="672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50" y="654"/>
                  </a:lnTo>
                  <a:lnTo>
                    <a:pt x="756" y="654"/>
                  </a:lnTo>
                  <a:lnTo>
                    <a:pt x="762" y="654"/>
                  </a:lnTo>
                  <a:lnTo>
                    <a:pt x="774" y="660"/>
                  </a:lnTo>
                  <a:lnTo>
                    <a:pt x="786" y="660"/>
                  </a:lnTo>
                  <a:lnTo>
                    <a:pt x="792" y="660"/>
                  </a:lnTo>
                  <a:lnTo>
                    <a:pt x="804" y="660"/>
                  </a:lnTo>
                  <a:lnTo>
                    <a:pt x="816" y="666"/>
                  </a:lnTo>
                  <a:lnTo>
                    <a:pt x="828" y="672"/>
                  </a:lnTo>
                  <a:lnTo>
                    <a:pt x="834" y="678"/>
                  </a:lnTo>
                  <a:lnTo>
                    <a:pt x="840" y="678"/>
                  </a:lnTo>
                  <a:lnTo>
                    <a:pt x="858" y="672"/>
                  </a:lnTo>
                  <a:lnTo>
                    <a:pt x="870" y="666"/>
                  </a:lnTo>
                  <a:lnTo>
                    <a:pt x="876" y="660"/>
                  </a:lnTo>
                  <a:lnTo>
                    <a:pt x="888" y="660"/>
                  </a:lnTo>
                  <a:lnTo>
                    <a:pt x="894" y="660"/>
                  </a:lnTo>
                  <a:lnTo>
                    <a:pt x="906" y="666"/>
                  </a:lnTo>
                  <a:lnTo>
                    <a:pt x="918" y="672"/>
                  </a:lnTo>
                  <a:lnTo>
                    <a:pt x="936" y="660"/>
                  </a:lnTo>
                  <a:lnTo>
                    <a:pt x="936" y="654"/>
                  </a:lnTo>
                  <a:lnTo>
                    <a:pt x="936" y="642"/>
                  </a:lnTo>
                  <a:lnTo>
                    <a:pt x="942" y="624"/>
                  </a:lnTo>
                  <a:lnTo>
                    <a:pt x="948" y="618"/>
                  </a:lnTo>
                  <a:lnTo>
                    <a:pt x="954" y="618"/>
                  </a:lnTo>
                  <a:lnTo>
                    <a:pt x="966" y="618"/>
                  </a:lnTo>
                  <a:lnTo>
                    <a:pt x="978" y="618"/>
                  </a:lnTo>
                  <a:lnTo>
                    <a:pt x="984" y="624"/>
                  </a:lnTo>
                  <a:lnTo>
                    <a:pt x="990" y="630"/>
                  </a:lnTo>
                  <a:lnTo>
                    <a:pt x="996" y="636"/>
                  </a:lnTo>
                  <a:lnTo>
                    <a:pt x="996" y="654"/>
                  </a:lnTo>
                  <a:lnTo>
                    <a:pt x="1008" y="666"/>
                  </a:lnTo>
                  <a:lnTo>
                    <a:pt x="1014" y="672"/>
                  </a:lnTo>
                  <a:lnTo>
                    <a:pt x="1020" y="684"/>
                  </a:lnTo>
                  <a:lnTo>
                    <a:pt x="1026" y="684"/>
                  </a:lnTo>
                  <a:lnTo>
                    <a:pt x="1038" y="684"/>
                  </a:lnTo>
                  <a:lnTo>
                    <a:pt x="1038" y="690"/>
                  </a:lnTo>
                  <a:lnTo>
                    <a:pt x="1044" y="696"/>
                  </a:lnTo>
                  <a:lnTo>
                    <a:pt x="1044" y="702"/>
                  </a:lnTo>
                  <a:lnTo>
                    <a:pt x="1050" y="702"/>
                  </a:lnTo>
                  <a:lnTo>
                    <a:pt x="1062" y="696"/>
                  </a:lnTo>
                  <a:lnTo>
                    <a:pt x="1068" y="684"/>
                  </a:lnTo>
                  <a:lnTo>
                    <a:pt x="1074" y="678"/>
                  </a:lnTo>
                  <a:lnTo>
                    <a:pt x="1086" y="672"/>
                  </a:lnTo>
                  <a:lnTo>
                    <a:pt x="1086" y="678"/>
                  </a:lnTo>
                  <a:lnTo>
                    <a:pt x="1080" y="696"/>
                  </a:lnTo>
                  <a:lnTo>
                    <a:pt x="1074" y="708"/>
                  </a:lnTo>
                  <a:lnTo>
                    <a:pt x="1062" y="726"/>
                  </a:lnTo>
                  <a:lnTo>
                    <a:pt x="1050" y="738"/>
                  </a:lnTo>
                  <a:lnTo>
                    <a:pt x="1050" y="744"/>
                  </a:lnTo>
                  <a:close/>
                </a:path>
              </a:pathLst>
            </a:custGeom>
            <a:solidFill>
              <a:srgbClr val="0070C0">
                <a:alpha val="27059"/>
              </a:srgbClr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grpSp>
          <p:nvGrpSpPr>
            <p:cNvPr id="562" name="Group 84"/>
            <p:cNvGrpSpPr>
              <a:grpSpLocks/>
            </p:cNvGrpSpPr>
            <p:nvPr/>
          </p:nvGrpSpPr>
          <p:grpSpPr bwMode="auto">
            <a:xfrm>
              <a:off x="2755117" y="2889272"/>
              <a:ext cx="121085" cy="143619"/>
              <a:chOff x="2220" y="1230"/>
              <a:chExt cx="60" cy="84"/>
            </a:xfrm>
            <a:solidFill>
              <a:srgbClr val="0070C0">
                <a:alpha val="27059"/>
              </a:srgbClr>
            </a:solidFill>
          </p:grpSpPr>
          <p:sp>
            <p:nvSpPr>
              <p:cNvPr id="1890" name="Freeform 85"/>
              <p:cNvSpPr>
                <a:spLocks/>
              </p:cNvSpPr>
              <p:nvPr/>
            </p:nvSpPr>
            <p:spPr bwMode="auto">
              <a:xfrm>
                <a:off x="2220" y="1230"/>
                <a:ext cx="60" cy="84"/>
              </a:xfrm>
              <a:custGeom>
                <a:avLst/>
                <a:gdLst>
                  <a:gd name="T0" fmla="*/ 0 w 60"/>
                  <a:gd name="T1" fmla="*/ 18 h 84"/>
                  <a:gd name="T2" fmla="*/ 0 w 60"/>
                  <a:gd name="T3" fmla="*/ 18 h 84"/>
                  <a:gd name="T4" fmla="*/ 6 w 60"/>
                  <a:gd name="T5" fmla="*/ 24 h 84"/>
                  <a:gd name="T6" fmla="*/ 12 w 60"/>
                  <a:gd name="T7" fmla="*/ 24 h 84"/>
                  <a:gd name="T8" fmla="*/ 12 w 60"/>
                  <a:gd name="T9" fmla="*/ 30 h 84"/>
                  <a:gd name="T10" fmla="*/ 12 w 60"/>
                  <a:gd name="T11" fmla="*/ 36 h 84"/>
                  <a:gd name="T12" fmla="*/ 12 w 60"/>
                  <a:gd name="T13" fmla="*/ 48 h 84"/>
                  <a:gd name="T14" fmla="*/ 12 w 60"/>
                  <a:gd name="T15" fmla="*/ 48 h 84"/>
                  <a:gd name="T16" fmla="*/ 18 w 60"/>
                  <a:gd name="T17" fmla="*/ 42 h 84"/>
                  <a:gd name="T18" fmla="*/ 24 w 60"/>
                  <a:gd name="T19" fmla="*/ 42 h 84"/>
                  <a:gd name="T20" fmla="*/ 24 w 60"/>
                  <a:gd name="T21" fmla="*/ 42 h 84"/>
                  <a:gd name="T22" fmla="*/ 30 w 60"/>
                  <a:gd name="T23" fmla="*/ 42 h 84"/>
                  <a:gd name="T24" fmla="*/ 36 w 60"/>
                  <a:gd name="T25" fmla="*/ 54 h 84"/>
                  <a:gd name="T26" fmla="*/ 42 w 60"/>
                  <a:gd name="T27" fmla="*/ 60 h 84"/>
                  <a:gd name="T28" fmla="*/ 42 w 60"/>
                  <a:gd name="T29" fmla="*/ 66 h 84"/>
                  <a:gd name="T30" fmla="*/ 42 w 60"/>
                  <a:gd name="T31" fmla="*/ 78 h 84"/>
                  <a:gd name="T32" fmla="*/ 42 w 60"/>
                  <a:gd name="T33" fmla="*/ 84 h 84"/>
                  <a:gd name="T34" fmla="*/ 48 w 60"/>
                  <a:gd name="T35" fmla="*/ 84 h 84"/>
                  <a:gd name="T36" fmla="*/ 54 w 60"/>
                  <a:gd name="T37" fmla="*/ 84 h 84"/>
                  <a:gd name="T38" fmla="*/ 60 w 60"/>
                  <a:gd name="T39" fmla="*/ 84 h 84"/>
                  <a:gd name="T40" fmla="*/ 60 w 60"/>
                  <a:gd name="T41" fmla="*/ 72 h 84"/>
                  <a:gd name="T42" fmla="*/ 60 w 60"/>
                  <a:gd name="T43" fmla="*/ 66 h 84"/>
                  <a:gd name="T44" fmla="*/ 54 w 60"/>
                  <a:gd name="T45" fmla="*/ 60 h 84"/>
                  <a:gd name="T46" fmla="*/ 42 w 60"/>
                  <a:gd name="T47" fmla="*/ 42 h 84"/>
                  <a:gd name="T48" fmla="*/ 36 w 60"/>
                  <a:gd name="T49" fmla="*/ 36 h 84"/>
                  <a:gd name="T50" fmla="*/ 30 w 60"/>
                  <a:gd name="T51" fmla="*/ 30 h 84"/>
                  <a:gd name="T52" fmla="*/ 30 w 60"/>
                  <a:gd name="T53" fmla="*/ 30 h 84"/>
                  <a:gd name="T54" fmla="*/ 36 w 60"/>
                  <a:gd name="T55" fmla="*/ 30 h 84"/>
                  <a:gd name="T56" fmla="*/ 36 w 60"/>
                  <a:gd name="T57" fmla="*/ 24 h 84"/>
                  <a:gd name="T58" fmla="*/ 36 w 60"/>
                  <a:gd name="T59" fmla="*/ 18 h 84"/>
                  <a:gd name="T60" fmla="*/ 36 w 60"/>
                  <a:gd name="T61" fmla="*/ 18 h 84"/>
                  <a:gd name="T62" fmla="*/ 24 w 60"/>
                  <a:gd name="T63" fmla="*/ 12 h 84"/>
                  <a:gd name="T64" fmla="*/ 24 w 60"/>
                  <a:gd name="T65" fmla="*/ 0 h 84"/>
                  <a:gd name="T66" fmla="*/ 24 w 60"/>
                  <a:gd name="T67" fmla="*/ 0 h 84"/>
                  <a:gd name="T68" fmla="*/ 18 w 60"/>
                  <a:gd name="T69" fmla="*/ 0 h 84"/>
                  <a:gd name="T70" fmla="*/ 12 w 60"/>
                  <a:gd name="T71" fmla="*/ 0 h 84"/>
                  <a:gd name="T72" fmla="*/ 18 w 60"/>
                  <a:gd name="T73" fmla="*/ 6 h 84"/>
                  <a:gd name="T74" fmla="*/ 18 w 60"/>
                  <a:gd name="T75" fmla="*/ 12 h 84"/>
                  <a:gd name="T76" fmla="*/ 12 w 60"/>
                  <a:gd name="T77" fmla="*/ 18 h 84"/>
                  <a:gd name="T78" fmla="*/ 12 w 60"/>
                  <a:gd name="T79" fmla="*/ 12 h 84"/>
                  <a:gd name="T80" fmla="*/ 6 w 60"/>
                  <a:gd name="T81" fmla="*/ 18 h 84"/>
                  <a:gd name="T82" fmla="*/ 6 w 60"/>
                  <a:gd name="T83" fmla="*/ 18 h 84"/>
                  <a:gd name="T84" fmla="*/ 0 w 60"/>
                  <a:gd name="T85" fmla="*/ 18 h 8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60" h="84">
                    <a:moveTo>
                      <a:pt x="0" y="18"/>
                    </a:moveTo>
                    <a:lnTo>
                      <a:pt x="0" y="18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30"/>
                    </a:lnTo>
                    <a:lnTo>
                      <a:pt x="12" y="36"/>
                    </a:lnTo>
                    <a:lnTo>
                      <a:pt x="12" y="48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30" y="42"/>
                    </a:lnTo>
                    <a:lnTo>
                      <a:pt x="36" y="54"/>
                    </a:lnTo>
                    <a:lnTo>
                      <a:pt x="42" y="60"/>
                    </a:lnTo>
                    <a:lnTo>
                      <a:pt x="42" y="66"/>
                    </a:lnTo>
                    <a:lnTo>
                      <a:pt x="42" y="78"/>
                    </a:lnTo>
                    <a:lnTo>
                      <a:pt x="42" y="84"/>
                    </a:lnTo>
                    <a:lnTo>
                      <a:pt x="48" y="84"/>
                    </a:lnTo>
                    <a:lnTo>
                      <a:pt x="54" y="84"/>
                    </a:lnTo>
                    <a:lnTo>
                      <a:pt x="60" y="84"/>
                    </a:lnTo>
                    <a:lnTo>
                      <a:pt x="60" y="72"/>
                    </a:lnTo>
                    <a:lnTo>
                      <a:pt x="60" y="66"/>
                    </a:lnTo>
                    <a:lnTo>
                      <a:pt x="54" y="60"/>
                    </a:lnTo>
                    <a:lnTo>
                      <a:pt x="42" y="42"/>
                    </a:lnTo>
                    <a:lnTo>
                      <a:pt x="36" y="36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24" y="12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12" y="1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91" name="Freeform 86"/>
              <p:cNvSpPr>
                <a:spLocks/>
              </p:cNvSpPr>
              <p:nvPr/>
            </p:nvSpPr>
            <p:spPr bwMode="auto">
              <a:xfrm>
                <a:off x="2220" y="1230"/>
                <a:ext cx="60" cy="84"/>
              </a:xfrm>
              <a:custGeom>
                <a:avLst/>
                <a:gdLst>
                  <a:gd name="T0" fmla="*/ 0 w 60"/>
                  <a:gd name="T1" fmla="*/ 18 h 84"/>
                  <a:gd name="T2" fmla="*/ 6 w 60"/>
                  <a:gd name="T3" fmla="*/ 24 h 84"/>
                  <a:gd name="T4" fmla="*/ 12 w 60"/>
                  <a:gd name="T5" fmla="*/ 24 h 84"/>
                  <a:gd name="T6" fmla="*/ 12 w 60"/>
                  <a:gd name="T7" fmla="*/ 30 h 84"/>
                  <a:gd name="T8" fmla="*/ 12 w 60"/>
                  <a:gd name="T9" fmla="*/ 36 h 84"/>
                  <a:gd name="T10" fmla="*/ 12 w 60"/>
                  <a:gd name="T11" fmla="*/ 48 h 84"/>
                  <a:gd name="T12" fmla="*/ 18 w 60"/>
                  <a:gd name="T13" fmla="*/ 42 h 84"/>
                  <a:gd name="T14" fmla="*/ 24 w 60"/>
                  <a:gd name="T15" fmla="*/ 42 h 84"/>
                  <a:gd name="T16" fmla="*/ 30 w 60"/>
                  <a:gd name="T17" fmla="*/ 42 h 84"/>
                  <a:gd name="T18" fmla="*/ 36 w 60"/>
                  <a:gd name="T19" fmla="*/ 54 h 84"/>
                  <a:gd name="T20" fmla="*/ 42 w 60"/>
                  <a:gd name="T21" fmla="*/ 60 h 84"/>
                  <a:gd name="T22" fmla="*/ 42 w 60"/>
                  <a:gd name="T23" fmla="*/ 66 h 84"/>
                  <a:gd name="T24" fmla="*/ 42 w 60"/>
                  <a:gd name="T25" fmla="*/ 78 h 84"/>
                  <a:gd name="T26" fmla="*/ 42 w 60"/>
                  <a:gd name="T27" fmla="*/ 84 h 84"/>
                  <a:gd name="T28" fmla="*/ 48 w 60"/>
                  <a:gd name="T29" fmla="*/ 84 h 84"/>
                  <a:gd name="T30" fmla="*/ 54 w 60"/>
                  <a:gd name="T31" fmla="*/ 84 h 84"/>
                  <a:gd name="T32" fmla="*/ 60 w 60"/>
                  <a:gd name="T33" fmla="*/ 84 h 84"/>
                  <a:gd name="T34" fmla="*/ 60 w 60"/>
                  <a:gd name="T35" fmla="*/ 72 h 84"/>
                  <a:gd name="T36" fmla="*/ 60 w 60"/>
                  <a:gd name="T37" fmla="*/ 66 h 84"/>
                  <a:gd name="T38" fmla="*/ 54 w 60"/>
                  <a:gd name="T39" fmla="*/ 60 h 84"/>
                  <a:gd name="T40" fmla="*/ 42 w 60"/>
                  <a:gd name="T41" fmla="*/ 42 h 84"/>
                  <a:gd name="T42" fmla="*/ 36 w 60"/>
                  <a:gd name="T43" fmla="*/ 36 h 84"/>
                  <a:gd name="T44" fmla="*/ 30 w 60"/>
                  <a:gd name="T45" fmla="*/ 30 h 84"/>
                  <a:gd name="T46" fmla="*/ 36 w 60"/>
                  <a:gd name="T47" fmla="*/ 30 h 84"/>
                  <a:gd name="T48" fmla="*/ 36 w 60"/>
                  <a:gd name="T49" fmla="*/ 24 h 84"/>
                  <a:gd name="T50" fmla="*/ 36 w 60"/>
                  <a:gd name="T51" fmla="*/ 18 h 84"/>
                  <a:gd name="T52" fmla="*/ 24 w 60"/>
                  <a:gd name="T53" fmla="*/ 12 h 84"/>
                  <a:gd name="T54" fmla="*/ 24 w 60"/>
                  <a:gd name="T55" fmla="*/ 0 h 84"/>
                  <a:gd name="T56" fmla="*/ 18 w 60"/>
                  <a:gd name="T57" fmla="*/ 0 h 84"/>
                  <a:gd name="T58" fmla="*/ 12 w 60"/>
                  <a:gd name="T59" fmla="*/ 0 h 84"/>
                  <a:gd name="T60" fmla="*/ 18 w 60"/>
                  <a:gd name="T61" fmla="*/ 6 h 84"/>
                  <a:gd name="T62" fmla="*/ 18 w 60"/>
                  <a:gd name="T63" fmla="*/ 12 h 84"/>
                  <a:gd name="T64" fmla="*/ 12 w 60"/>
                  <a:gd name="T65" fmla="*/ 18 h 84"/>
                  <a:gd name="T66" fmla="*/ 12 w 60"/>
                  <a:gd name="T67" fmla="*/ 12 h 84"/>
                  <a:gd name="T68" fmla="*/ 6 w 60"/>
                  <a:gd name="T69" fmla="*/ 18 h 84"/>
                  <a:gd name="T70" fmla="*/ 0 w 60"/>
                  <a:gd name="T71" fmla="*/ 18 h 8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60" h="84">
                    <a:moveTo>
                      <a:pt x="0" y="18"/>
                    </a:moveTo>
                    <a:lnTo>
                      <a:pt x="6" y="24"/>
                    </a:lnTo>
                    <a:lnTo>
                      <a:pt x="12" y="24"/>
                    </a:lnTo>
                    <a:lnTo>
                      <a:pt x="12" y="30"/>
                    </a:lnTo>
                    <a:lnTo>
                      <a:pt x="12" y="36"/>
                    </a:lnTo>
                    <a:lnTo>
                      <a:pt x="12" y="48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30" y="42"/>
                    </a:lnTo>
                    <a:lnTo>
                      <a:pt x="36" y="54"/>
                    </a:lnTo>
                    <a:lnTo>
                      <a:pt x="42" y="60"/>
                    </a:lnTo>
                    <a:lnTo>
                      <a:pt x="42" y="66"/>
                    </a:lnTo>
                    <a:lnTo>
                      <a:pt x="42" y="78"/>
                    </a:lnTo>
                    <a:lnTo>
                      <a:pt x="42" y="84"/>
                    </a:lnTo>
                    <a:lnTo>
                      <a:pt x="48" y="84"/>
                    </a:lnTo>
                    <a:lnTo>
                      <a:pt x="54" y="84"/>
                    </a:lnTo>
                    <a:lnTo>
                      <a:pt x="60" y="84"/>
                    </a:lnTo>
                    <a:lnTo>
                      <a:pt x="60" y="72"/>
                    </a:lnTo>
                    <a:lnTo>
                      <a:pt x="60" y="66"/>
                    </a:lnTo>
                    <a:lnTo>
                      <a:pt x="54" y="60"/>
                    </a:lnTo>
                    <a:lnTo>
                      <a:pt x="42" y="42"/>
                    </a:lnTo>
                    <a:lnTo>
                      <a:pt x="36" y="36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24" y="12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12" y="1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63" name="Group 87"/>
            <p:cNvGrpSpPr>
              <a:grpSpLocks/>
            </p:cNvGrpSpPr>
            <p:nvPr/>
          </p:nvGrpSpPr>
          <p:grpSpPr bwMode="auto">
            <a:xfrm>
              <a:off x="2011309" y="2640467"/>
              <a:ext cx="305596" cy="226555"/>
              <a:chOff x="1854" y="1086"/>
              <a:chExt cx="150" cy="132"/>
            </a:xfrm>
            <a:solidFill>
              <a:srgbClr val="0070C0">
                <a:alpha val="27059"/>
              </a:srgbClr>
            </a:solidFill>
          </p:grpSpPr>
          <p:sp>
            <p:nvSpPr>
              <p:cNvPr id="1888" name="Freeform 88"/>
              <p:cNvSpPr>
                <a:spLocks/>
              </p:cNvSpPr>
              <p:nvPr/>
            </p:nvSpPr>
            <p:spPr bwMode="auto">
              <a:xfrm>
                <a:off x="1854" y="1086"/>
                <a:ext cx="150" cy="132"/>
              </a:xfrm>
              <a:custGeom>
                <a:avLst/>
                <a:gdLst>
                  <a:gd name="T0" fmla="*/ 108 w 150"/>
                  <a:gd name="T1" fmla="*/ 6 h 132"/>
                  <a:gd name="T2" fmla="*/ 102 w 150"/>
                  <a:gd name="T3" fmla="*/ 12 h 132"/>
                  <a:gd name="T4" fmla="*/ 90 w 150"/>
                  <a:gd name="T5" fmla="*/ 24 h 132"/>
                  <a:gd name="T6" fmla="*/ 84 w 150"/>
                  <a:gd name="T7" fmla="*/ 24 h 132"/>
                  <a:gd name="T8" fmla="*/ 66 w 150"/>
                  <a:gd name="T9" fmla="*/ 48 h 132"/>
                  <a:gd name="T10" fmla="*/ 54 w 150"/>
                  <a:gd name="T11" fmla="*/ 54 h 132"/>
                  <a:gd name="T12" fmla="*/ 36 w 150"/>
                  <a:gd name="T13" fmla="*/ 66 h 132"/>
                  <a:gd name="T14" fmla="*/ 24 w 150"/>
                  <a:gd name="T15" fmla="*/ 72 h 132"/>
                  <a:gd name="T16" fmla="*/ 0 w 150"/>
                  <a:gd name="T17" fmla="*/ 72 h 132"/>
                  <a:gd name="T18" fmla="*/ 12 w 150"/>
                  <a:gd name="T19" fmla="*/ 90 h 132"/>
                  <a:gd name="T20" fmla="*/ 6 w 150"/>
                  <a:gd name="T21" fmla="*/ 102 h 132"/>
                  <a:gd name="T22" fmla="*/ 0 w 150"/>
                  <a:gd name="T23" fmla="*/ 108 h 132"/>
                  <a:gd name="T24" fmla="*/ 6 w 150"/>
                  <a:gd name="T25" fmla="*/ 120 h 132"/>
                  <a:gd name="T26" fmla="*/ 18 w 150"/>
                  <a:gd name="T27" fmla="*/ 120 h 132"/>
                  <a:gd name="T28" fmla="*/ 42 w 150"/>
                  <a:gd name="T29" fmla="*/ 120 h 132"/>
                  <a:gd name="T30" fmla="*/ 48 w 150"/>
                  <a:gd name="T31" fmla="*/ 126 h 132"/>
                  <a:gd name="T32" fmla="*/ 66 w 150"/>
                  <a:gd name="T33" fmla="*/ 120 h 132"/>
                  <a:gd name="T34" fmla="*/ 72 w 150"/>
                  <a:gd name="T35" fmla="*/ 114 h 132"/>
                  <a:gd name="T36" fmla="*/ 90 w 150"/>
                  <a:gd name="T37" fmla="*/ 114 h 132"/>
                  <a:gd name="T38" fmla="*/ 84 w 150"/>
                  <a:gd name="T39" fmla="*/ 96 h 132"/>
                  <a:gd name="T40" fmla="*/ 84 w 150"/>
                  <a:gd name="T41" fmla="*/ 84 h 132"/>
                  <a:gd name="T42" fmla="*/ 90 w 150"/>
                  <a:gd name="T43" fmla="*/ 72 h 132"/>
                  <a:gd name="T44" fmla="*/ 114 w 150"/>
                  <a:gd name="T45" fmla="*/ 60 h 132"/>
                  <a:gd name="T46" fmla="*/ 120 w 150"/>
                  <a:gd name="T47" fmla="*/ 48 h 132"/>
                  <a:gd name="T48" fmla="*/ 126 w 150"/>
                  <a:gd name="T49" fmla="*/ 42 h 132"/>
                  <a:gd name="T50" fmla="*/ 132 w 150"/>
                  <a:gd name="T51" fmla="*/ 36 h 132"/>
                  <a:gd name="T52" fmla="*/ 144 w 150"/>
                  <a:gd name="T53" fmla="*/ 36 h 132"/>
                  <a:gd name="T54" fmla="*/ 150 w 150"/>
                  <a:gd name="T55" fmla="*/ 30 h 132"/>
                  <a:gd name="T56" fmla="*/ 144 w 150"/>
                  <a:gd name="T57" fmla="*/ 30 h 132"/>
                  <a:gd name="T58" fmla="*/ 132 w 150"/>
                  <a:gd name="T59" fmla="*/ 24 h 132"/>
                  <a:gd name="T60" fmla="*/ 132 w 150"/>
                  <a:gd name="T61" fmla="*/ 18 h 132"/>
                  <a:gd name="T62" fmla="*/ 120 w 150"/>
                  <a:gd name="T63" fmla="*/ 24 h 132"/>
                  <a:gd name="T64" fmla="*/ 114 w 150"/>
                  <a:gd name="T65" fmla="*/ 12 h 132"/>
                  <a:gd name="T66" fmla="*/ 126 w 150"/>
                  <a:gd name="T67" fmla="*/ 0 h 13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50" h="132">
                    <a:moveTo>
                      <a:pt x="114" y="0"/>
                    </a:moveTo>
                    <a:lnTo>
                      <a:pt x="108" y="6"/>
                    </a:lnTo>
                    <a:lnTo>
                      <a:pt x="102" y="12"/>
                    </a:lnTo>
                    <a:lnTo>
                      <a:pt x="90" y="12"/>
                    </a:lnTo>
                    <a:lnTo>
                      <a:pt x="90" y="24"/>
                    </a:lnTo>
                    <a:lnTo>
                      <a:pt x="84" y="24"/>
                    </a:lnTo>
                    <a:lnTo>
                      <a:pt x="78" y="36"/>
                    </a:lnTo>
                    <a:lnTo>
                      <a:pt x="66" y="48"/>
                    </a:lnTo>
                    <a:lnTo>
                      <a:pt x="60" y="48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36" y="66"/>
                    </a:lnTo>
                    <a:lnTo>
                      <a:pt x="30" y="72"/>
                    </a:lnTo>
                    <a:lnTo>
                      <a:pt x="24" y="72"/>
                    </a:lnTo>
                    <a:lnTo>
                      <a:pt x="6" y="72"/>
                    </a:lnTo>
                    <a:lnTo>
                      <a:pt x="0" y="72"/>
                    </a:lnTo>
                    <a:lnTo>
                      <a:pt x="6" y="84"/>
                    </a:lnTo>
                    <a:lnTo>
                      <a:pt x="12" y="90"/>
                    </a:lnTo>
                    <a:lnTo>
                      <a:pt x="12" y="96"/>
                    </a:lnTo>
                    <a:lnTo>
                      <a:pt x="6" y="102"/>
                    </a:lnTo>
                    <a:lnTo>
                      <a:pt x="0" y="102"/>
                    </a:lnTo>
                    <a:lnTo>
                      <a:pt x="0" y="108"/>
                    </a:lnTo>
                    <a:lnTo>
                      <a:pt x="0" y="114"/>
                    </a:lnTo>
                    <a:lnTo>
                      <a:pt x="6" y="120"/>
                    </a:lnTo>
                    <a:lnTo>
                      <a:pt x="18" y="120"/>
                    </a:lnTo>
                    <a:lnTo>
                      <a:pt x="30" y="120"/>
                    </a:lnTo>
                    <a:lnTo>
                      <a:pt x="42" y="120"/>
                    </a:lnTo>
                    <a:lnTo>
                      <a:pt x="48" y="126"/>
                    </a:lnTo>
                    <a:lnTo>
                      <a:pt x="54" y="132"/>
                    </a:lnTo>
                    <a:lnTo>
                      <a:pt x="66" y="120"/>
                    </a:lnTo>
                    <a:lnTo>
                      <a:pt x="72" y="114"/>
                    </a:lnTo>
                    <a:lnTo>
                      <a:pt x="84" y="114"/>
                    </a:lnTo>
                    <a:lnTo>
                      <a:pt x="90" y="114"/>
                    </a:lnTo>
                    <a:lnTo>
                      <a:pt x="90" y="102"/>
                    </a:lnTo>
                    <a:lnTo>
                      <a:pt x="84" y="96"/>
                    </a:lnTo>
                    <a:lnTo>
                      <a:pt x="84" y="90"/>
                    </a:lnTo>
                    <a:lnTo>
                      <a:pt x="84" y="84"/>
                    </a:lnTo>
                    <a:lnTo>
                      <a:pt x="90" y="78"/>
                    </a:lnTo>
                    <a:lnTo>
                      <a:pt x="90" y="72"/>
                    </a:lnTo>
                    <a:lnTo>
                      <a:pt x="102" y="66"/>
                    </a:lnTo>
                    <a:lnTo>
                      <a:pt x="114" y="60"/>
                    </a:lnTo>
                    <a:lnTo>
                      <a:pt x="114" y="54"/>
                    </a:lnTo>
                    <a:lnTo>
                      <a:pt x="120" y="48"/>
                    </a:lnTo>
                    <a:lnTo>
                      <a:pt x="126" y="48"/>
                    </a:lnTo>
                    <a:lnTo>
                      <a:pt x="126" y="42"/>
                    </a:lnTo>
                    <a:lnTo>
                      <a:pt x="126" y="36"/>
                    </a:lnTo>
                    <a:lnTo>
                      <a:pt x="132" y="36"/>
                    </a:lnTo>
                    <a:lnTo>
                      <a:pt x="138" y="36"/>
                    </a:lnTo>
                    <a:lnTo>
                      <a:pt x="144" y="36"/>
                    </a:lnTo>
                    <a:lnTo>
                      <a:pt x="150" y="36"/>
                    </a:lnTo>
                    <a:lnTo>
                      <a:pt x="150" y="30"/>
                    </a:lnTo>
                    <a:lnTo>
                      <a:pt x="144" y="30"/>
                    </a:lnTo>
                    <a:lnTo>
                      <a:pt x="138" y="30"/>
                    </a:lnTo>
                    <a:lnTo>
                      <a:pt x="132" y="24"/>
                    </a:lnTo>
                    <a:lnTo>
                      <a:pt x="132" y="18"/>
                    </a:lnTo>
                    <a:lnTo>
                      <a:pt x="126" y="18"/>
                    </a:lnTo>
                    <a:lnTo>
                      <a:pt x="120" y="24"/>
                    </a:lnTo>
                    <a:lnTo>
                      <a:pt x="114" y="18"/>
                    </a:lnTo>
                    <a:lnTo>
                      <a:pt x="114" y="12"/>
                    </a:lnTo>
                    <a:lnTo>
                      <a:pt x="126" y="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89" name="Freeform 89"/>
              <p:cNvSpPr>
                <a:spLocks/>
              </p:cNvSpPr>
              <p:nvPr/>
            </p:nvSpPr>
            <p:spPr bwMode="auto">
              <a:xfrm>
                <a:off x="1854" y="1086"/>
                <a:ext cx="150" cy="132"/>
              </a:xfrm>
              <a:custGeom>
                <a:avLst/>
                <a:gdLst>
                  <a:gd name="T0" fmla="*/ 114 w 150"/>
                  <a:gd name="T1" fmla="*/ 0 h 132"/>
                  <a:gd name="T2" fmla="*/ 108 w 150"/>
                  <a:gd name="T3" fmla="*/ 6 h 132"/>
                  <a:gd name="T4" fmla="*/ 102 w 150"/>
                  <a:gd name="T5" fmla="*/ 12 h 132"/>
                  <a:gd name="T6" fmla="*/ 90 w 150"/>
                  <a:gd name="T7" fmla="*/ 12 h 132"/>
                  <a:gd name="T8" fmla="*/ 90 w 150"/>
                  <a:gd name="T9" fmla="*/ 24 h 132"/>
                  <a:gd name="T10" fmla="*/ 84 w 150"/>
                  <a:gd name="T11" fmla="*/ 24 h 132"/>
                  <a:gd name="T12" fmla="*/ 78 w 150"/>
                  <a:gd name="T13" fmla="*/ 36 h 132"/>
                  <a:gd name="T14" fmla="*/ 66 w 150"/>
                  <a:gd name="T15" fmla="*/ 48 h 132"/>
                  <a:gd name="T16" fmla="*/ 60 w 150"/>
                  <a:gd name="T17" fmla="*/ 48 h 132"/>
                  <a:gd name="T18" fmla="*/ 54 w 150"/>
                  <a:gd name="T19" fmla="*/ 54 h 132"/>
                  <a:gd name="T20" fmla="*/ 48 w 150"/>
                  <a:gd name="T21" fmla="*/ 54 h 132"/>
                  <a:gd name="T22" fmla="*/ 36 w 150"/>
                  <a:gd name="T23" fmla="*/ 66 h 132"/>
                  <a:gd name="T24" fmla="*/ 30 w 150"/>
                  <a:gd name="T25" fmla="*/ 72 h 132"/>
                  <a:gd name="T26" fmla="*/ 24 w 150"/>
                  <a:gd name="T27" fmla="*/ 72 h 132"/>
                  <a:gd name="T28" fmla="*/ 6 w 150"/>
                  <a:gd name="T29" fmla="*/ 72 h 132"/>
                  <a:gd name="T30" fmla="*/ 0 w 150"/>
                  <a:gd name="T31" fmla="*/ 72 h 132"/>
                  <a:gd name="T32" fmla="*/ 6 w 150"/>
                  <a:gd name="T33" fmla="*/ 84 h 132"/>
                  <a:gd name="T34" fmla="*/ 12 w 150"/>
                  <a:gd name="T35" fmla="*/ 90 h 132"/>
                  <a:gd name="T36" fmla="*/ 12 w 150"/>
                  <a:gd name="T37" fmla="*/ 96 h 132"/>
                  <a:gd name="T38" fmla="*/ 6 w 150"/>
                  <a:gd name="T39" fmla="*/ 102 h 132"/>
                  <a:gd name="T40" fmla="*/ 0 w 150"/>
                  <a:gd name="T41" fmla="*/ 102 h 132"/>
                  <a:gd name="T42" fmla="*/ 0 w 150"/>
                  <a:gd name="T43" fmla="*/ 108 h 132"/>
                  <a:gd name="T44" fmla="*/ 0 w 150"/>
                  <a:gd name="T45" fmla="*/ 114 h 132"/>
                  <a:gd name="T46" fmla="*/ 6 w 150"/>
                  <a:gd name="T47" fmla="*/ 120 h 132"/>
                  <a:gd name="T48" fmla="*/ 18 w 150"/>
                  <a:gd name="T49" fmla="*/ 120 h 132"/>
                  <a:gd name="T50" fmla="*/ 30 w 150"/>
                  <a:gd name="T51" fmla="*/ 120 h 132"/>
                  <a:gd name="T52" fmla="*/ 42 w 150"/>
                  <a:gd name="T53" fmla="*/ 120 h 132"/>
                  <a:gd name="T54" fmla="*/ 48 w 150"/>
                  <a:gd name="T55" fmla="*/ 126 h 132"/>
                  <a:gd name="T56" fmla="*/ 54 w 150"/>
                  <a:gd name="T57" fmla="*/ 132 h 132"/>
                  <a:gd name="T58" fmla="*/ 66 w 150"/>
                  <a:gd name="T59" fmla="*/ 120 h 132"/>
                  <a:gd name="T60" fmla="*/ 72 w 150"/>
                  <a:gd name="T61" fmla="*/ 114 h 132"/>
                  <a:gd name="T62" fmla="*/ 84 w 150"/>
                  <a:gd name="T63" fmla="*/ 114 h 132"/>
                  <a:gd name="T64" fmla="*/ 90 w 150"/>
                  <a:gd name="T65" fmla="*/ 114 h 132"/>
                  <a:gd name="T66" fmla="*/ 90 w 150"/>
                  <a:gd name="T67" fmla="*/ 102 h 132"/>
                  <a:gd name="T68" fmla="*/ 84 w 150"/>
                  <a:gd name="T69" fmla="*/ 96 h 132"/>
                  <a:gd name="T70" fmla="*/ 84 w 150"/>
                  <a:gd name="T71" fmla="*/ 90 h 132"/>
                  <a:gd name="T72" fmla="*/ 84 w 150"/>
                  <a:gd name="T73" fmla="*/ 84 h 132"/>
                  <a:gd name="T74" fmla="*/ 90 w 150"/>
                  <a:gd name="T75" fmla="*/ 78 h 132"/>
                  <a:gd name="T76" fmla="*/ 90 w 150"/>
                  <a:gd name="T77" fmla="*/ 72 h 132"/>
                  <a:gd name="T78" fmla="*/ 102 w 150"/>
                  <a:gd name="T79" fmla="*/ 66 h 132"/>
                  <a:gd name="T80" fmla="*/ 114 w 150"/>
                  <a:gd name="T81" fmla="*/ 60 h 132"/>
                  <a:gd name="T82" fmla="*/ 114 w 150"/>
                  <a:gd name="T83" fmla="*/ 54 h 132"/>
                  <a:gd name="T84" fmla="*/ 120 w 150"/>
                  <a:gd name="T85" fmla="*/ 48 h 132"/>
                  <a:gd name="T86" fmla="*/ 126 w 150"/>
                  <a:gd name="T87" fmla="*/ 48 h 132"/>
                  <a:gd name="T88" fmla="*/ 126 w 150"/>
                  <a:gd name="T89" fmla="*/ 42 h 132"/>
                  <a:gd name="T90" fmla="*/ 126 w 150"/>
                  <a:gd name="T91" fmla="*/ 36 h 132"/>
                  <a:gd name="T92" fmla="*/ 132 w 150"/>
                  <a:gd name="T93" fmla="*/ 36 h 132"/>
                  <a:gd name="T94" fmla="*/ 138 w 150"/>
                  <a:gd name="T95" fmla="*/ 36 h 132"/>
                  <a:gd name="T96" fmla="*/ 144 w 150"/>
                  <a:gd name="T97" fmla="*/ 36 h 132"/>
                  <a:gd name="T98" fmla="*/ 150 w 150"/>
                  <a:gd name="T99" fmla="*/ 36 h 132"/>
                  <a:gd name="T100" fmla="*/ 150 w 150"/>
                  <a:gd name="T101" fmla="*/ 30 h 132"/>
                  <a:gd name="T102" fmla="*/ 144 w 150"/>
                  <a:gd name="T103" fmla="*/ 30 h 132"/>
                  <a:gd name="T104" fmla="*/ 138 w 150"/>
                  <a:gd name="T105" fmla="*/ 30 h 132"/>
                  <a:gd name="T106" fmla="*/ 132 w 150"/>
                  <a:gd name="T107" fmla="*/ 24 h 132"/>
                  <a:gd name="T108" fmla="*/ 132 w 150"/>
                  <a:gd name="T109" fmla="*/ 18 h 132"/>
                  <a:gd name="T110" fmla="*/ 126 w 150"/>
                  <a:gd name="T111" fmla="*/ 18 h 132"/>
                  <a:gd name="T112" fmla="*/ 120 w 150"/>
                  <a:gd name="T113" fmla="*/ 24 h 132"/>
                  <a:gd name="T114" fmla="*/ 114 w 150"/>
                  <a:gd name="T115" fmla="*/ 18 h 132"/>
                  <a:gd name="T116" fmla="*/ 114 w 150"/>
                  <a:gd name="T117" fmla="*/ 12 h 132"/>
                  <a:gd name="T118" fmla="*/ 126 w 150"/>
                  <a:gd name="T119" fmla="*/ 0 h 132"/>
                  <a:gd name="T120" fmla="*/ 114 w 150"/>
                  <a:gd name="T121" fmla="*/ 0 h 13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50" h="132">
                    <a:moveTo>
                      <a:pt x="114" y="0"/>
                    </a:moveTo>
                    <a:lnTo>
                      <a:pt x="108" y="6"/>
                    </a:lnTo>
                    <a:lnTo>
                      <a:pt x="102" y="12"/>
                    </a:lnTo>
                    <a:lnTo>
                      <a:pt x="90" y="12"/>
                    </a:lnTo>
                    <a:lnTo>
                      <a:pt x="90" y="24"/>
                    </a:lnTo>
                    <a:lnTo>
                      <a:pt x="84" y="24"/>
                    </a:lnTo>
                    <a:lnTo>
                      <a:pt x="78" y="36"/>
                    </a:lnTo>
                    <a:lnTo>
                      <a:pt x="66" y="48"/>
                    </a:lnTo>
                    <a:lnTo>
                      <a:pt x="60" y="48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36" y="66"/>
                    </a:lnTo>
                    <a:lnTo>
                      <a:pt x="30" y="72"/>
                    </a:lnTo>
                    <a:lnTo>
                      <a:pt x="24" y="72"/>
                    </a:lnTo>
                    <a:lnTo>
                      <a:pt x="6" y="72"/>
                    </a:lnTo>
                    <a:lnTo>
                      <a:pt x="0" y="72"/>
                    </a:lnTo>
                    <a:lnTo>
                      <a:pt x="6" y="84"/>
                    </a:lnTo>
                    <a:lnTo>
                      <a:pt x="12" y="90"/>
                    </a:lnTo>
                    <a:lnTo>
                      <a:pt x="12" y="96"/>
                    </a:lnTo>
                    <a:lnTo>
                      <a:pt x="6" y="102"/>
                    </a:lnTo>
                    <a:lnTo>
                      <a:pt x="0" y="102"/>
                    </a:lnTo>
                    <a:lnTo>
                      <a:pt x="0" y="108"/>
                    </a:lnTo>
                    <a:lnTo>
                      <a:pt x="0" y="114"/>
                    </a:lnTo>
                    <a:lnTo>
                      <a:pt x="6" y="120"/>
                    </a:lnTo>
                    <a:lnTo>
                      <a:pt x="18" y="120"/>
                    </a:lnTo>
                    <a:lnTo>
                      <a:pt x="30" y="120"/>
                    </a:lnTo>
                    <a:lnTo>
                      <a:pt x="42" y="120"/>
                    </a:lnTo>
                    <a:lnTo>
                      <a:pt x="48" y="126"/>
                    </a:lnTo>
                    <a:lnTo>
                      <a:pt x="54" y="132"/>
                    </a:lnTo>
                    <a:lnTo>
                      <a:pt x="66" y="120"/>
                    </a:lnTo>
                    <a:lnTo>
                      <a:pt x="72" y="114"/>
                    </a:lnTo>
                    <a:lnTo>
                      <a:pt x="84" y="114"/>
                    </a:lnTo>
                    <a:lnTo>
                      <a:pt x="90" y="114"/>
                    </a:lnTo>
                    <a:lnTo>
                      <a:pt x="90" y="102"/>
                    </a:lnTo>
                    <a:lnTo>
                      <a:pt x="84" y="96"/>
                    </a:lnTo>
                    <a:lnTo>
                      <a:pt x="84" y="90"/>
                    </a:lnTo>
                    <a:lnTo>
                      <a:pt x="84" y="84"/>
                    </a:lnTo>
                    <a:lnTo>
                      <a:pt x="90" y="78"/>
                    </a:lnTo>
                    <a:lnTo>
                      <a:pt x="90" y="72"/>
                    </a:lnTo>
                    <a:lnTo>
                      <a:pt x="102" y="66"/>
                    </a:lnTo>
                    <a:lnTo>
                      <a:pt x="114" y="60"/>
                    </a:lnTo>
                    <a:lnTo>
                      <a:pt x="114" y="54"/>
                    </a:lnTo>
                    <a:lnTo>
                      <a:pt x="120" y="48"/>
                    </a:lnTo>
                    <a:lnTo>
                      <a:pt x="126" y="48"/>
                    </a:lnTo>
                    <a:lnTo>
                      <a:pt x="126" y="42"/>
                    </a:lnTo>
                    <a:lnTo>
                      <a:pt x="126" y="36"/>
                    </a:lnTo>
                    <a:lnTo>
                      <a:pt x="132" y="36"/>
                    </a:lnTo>
                    <a:lnTo>
                      <a:pt x="138" y="36"/>
                    </a:lnTo>
                    <a:lnTo>
                      <a:pt x="144" y="36"/>
                    </a:lnTo>
                    <a:lnTo>
                      <a:pt x="150" y="36"/>
                    </a:lnTo>
                    <a:lnTo>
                      <a:pt x="150" y="30"/>
                    </a:lnTo>
                    <a:lnTo>
                      <a:pt x="144" y="30"/>
                    </a:lnTo>
                    <a:lnTo>
                      <a:pt x="138" y="30"/>
                    </a:lnTo>
                    <a:lnTo>
                      <a:pt x="132" y="24"/>
                    </a:lnTo>
                    <a:lnTo>
                      <a:pt x="132" y="18"/>
                    </a:lnTo>
                    <a:lnTo>
                      <a:pt x="126" y="18"/>
                    </a:lnTo>
                    <a:lnTo>
                      <a:pt x="120" y="24"/>
                    </a:lnTo>
                    <a:lnTo>
                      <a:pt x="114" y="18"/>
                    </a:lnTo>
                    <a:lnTo>
                      <a:pt x="114" y="12"/>
                    </a:lnTo>
                    <a:lnTo>
                      <a:pt x="126" y="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64" name="Group 90"/>
            <p:cNvGrpSpPr>
              <a:grpSpLocks/>
            </p:cNvGrpSpPr>
            <p:nvPr/>
          </p:nvGrpSpPr>
          <p:grpSpPr bwMode="auto">
            <a:xfrm>
              <a:off x="2743586" y="3166397"/>
              <a:ext cx="98021" cy="93049"/>
              <a:chOff x="2214" y="1392"/>
              <a:chExt cx="48" cy="54"/>
            </a:xfrm>
            <a:solidFill>
              <a:srgbClr val="0070C0">
                <a:alpha val="27059"/>
              </a:srgbClr>
            </a:solidFill>
          </p:grpSpPr>
          <p:sp>
            <p:nvSpPr>
              <p:cNvPr id="1886" name="Freeform 91"/>
              <p:cNvSpPr>
                <a:spLocks/>
              </p:cNvSpPr>
              <p:nvPr/>
            </p:nvSpPr>
            <p:spPr bwMode="auto">
              <a:xfrm>
                <a:off x="2214" y="1392"/>
                <a:ext cx="48" cy="54"/>
              </a:xfrm>
              <a:custGeom>
                <a:avLst/>
                <a:gdLst>
                  <a:gd name="T0" fmla="*/ 0 w 48"/>
                  <a:gd name="T1" fmla="*/ 0 h 54"/>
                  <a:gd name="T2" fmla="*/ 6 w 48"/>
                  <a:gd name="T3" fmla="*/ 24 h 54"/>
                  <a:gd name="T4" fmla="*/ 48 w 48"/>
                  <a:gd name="T5" fmla="*/ 54 h 54"/>
                  <a:gd name="T6" fmla="*/ 48 w 48"/>
                  <a:gd name="T7" fmla="*/ 54 h 54"/>
                  <a:gd name="T8" fmla="*/ 48 w 48"/>
                  <a:gd name="T9" fmla="*/ 48 h 54"/>
                  <a:gd name="T10" fmla="*/ 48 w 48"/>
                  <a:gd name="T11" fmla="*/ 42 h 54"/>
                  <a:gd name="T12" fmla="*/ 42 w 48"/>
                  <a:gd name="T13" fmla="*/ 36 h 54"/>
                  <a:gd name="T14" fmla="*/ 36 w 48"/>
                  <a:gd name="T15" fmla="*/ 18 h 54"/>
                  <a:gd name="T16" fmla="*/ 30 w 48"/>
                  <a:gd name="T17" fmla="*/ 12 h 54"/>
                  <a:gd name="T18" fmla="*/ 24 w 48"/>
                  <a:gd name="T19" fmla="*/ 12 h 54"/>
                  <a:gd name="T20" fmla="*/ 18 w 48"/>
                  <a:gd name="T21" fmla="*/ 6 h 54"/>
                  <a:gd name="T22" fmla="*/ 6 w 48"/>
                  <a:gd name="T23" fmla="*/ 6 h 54"/>
                  <a:gd name="T24" fmla="*/ 0 w 48"/>
                  <a:gd name="T25" fmla="*/ 0 h 5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8" h="54">
                    <a:moveTo>
                      <a:pt x="0" y="0"/>
                    </a:moveTo>
                    <a:lnTo>
                      <a:pt x="6" y="2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8" y="42"/>
                    </a:lnTo>
                    <a:lnTo>
                      <a:pt x="42" y="36"/>
                    </a:lnTo>
                    <a:lnTo>
                      <a:pt x="36" y="18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6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87" name="Freeform 92"/>
              <p:cNvSpPr>
                <a:spLocks/>
              </p:cNvSpPr>
              <p:nvPr/>
            </p:nvSpPr>
            <p:spPr bwMode="auto">
              <a:xfrm>
                <a:off x="2214" y="1392"/>
                <a:ext cx="48" cy="54"/>
              </a:xfrm>
              <a:custGeom>
                <a:avLst/>
                <a:gdLst>
                  <a:gd name="T0" fmla="*/ 0 w 48"/>
                  <a:gd name="T1" fmla="*/ 0 h 54"/>
                  <a:gd name="T2" fmla="*/ 6 w 48"/>
                  <a:gd name="T3" fmla="*/ 24 h 54"/>
                  <a:gd name="T4" fmla="*/ 48 w 48"/>
                  <a:gd name="T5" fmla="*/ 54 h 54"/>
                  <a:gd name="T6" fmla="*/ 48 w 48"/>
                  <a:gd name="T7" fmla="*/ 48 h 54"/>
                  <a:gd name="T8" fmla="*/ 48 w 48"/>
                  <a:gd name="T9" fmla="*/ 42 h 54"/>
                  <a:gd name="T10" fmla="*/ 42 w 48"/>
                  <a:gd name="T11" fmla="*/ 36 h 54"/>
                  <a:gd name="T12" fmla="*/ 36 w 48"/>
                  <a:gd name="T13" fmla="*/ 18 h 54"/>
                  <a:gd name="T14" fmla="*/ 30 w 48"/>
                  <a:gd name="T15" fmla="*/ 12 h 54"/>
                  <a:gd name="T16" fmla="*/ 24 w 48"/>
                  <a:gd name="T17" fmla="*/ 12 h 54"/>
                  <a:gd name="T18" fmla="*/ 18 w 48"/>
                  <a:gd name="T19" fmla="*/ 6 h 54"/>
                  <a:gd name="T20" fmla="*/ 6 w 48"/>
                  <a:gd name="T21" fmla="*/ 6 h 54"/>
                  <a:gd name="T22" fmla="*/ 0 w 48"/>
                  <a:gd name="T23" fmla="*/ 0 h 5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8" h="54">
                    <a:moveTo>
                      <a:pt x="0" y="0"/>
                    </a:moveTo>
                    <a:lnTo>
                      <a:pt x="6" y="2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8" y="42"/>
                    </a:lnTo>
                    <a:lnTo>
                      <a:pt x="42" y="36"/>
                    </a:lnTo>
                    <a:lnTo>
                      <a:pt x="36" y="18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6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65" name="Group 93"/>
            <p:cNvGrpSpPr>
              <a:grpSpLocks/>
            </p:cNvGrpSpPr>
            <p:nvPr/>
          </p:nvGrpSpPr>
          <p:grpSpPr bwMode="auto">
            <a:xfrm>
              <a:off x="2522557" y="2846793"/>
              <a:ext cx="86489" cy="72821"/>
              <a:chOff x="2106" y="1206"/>
              <a:chExt cx="42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1884" name="Freeform 94"/>
              <p:cNvSpPr>
                <a:spLocks/>
              </p:cNvSpPr>
              <p:nvPr/>
            </p:nvSpPr>
            <p:spPr bwMode="auto">
              <a:xfrm>
                <a:off x="2106" y="1206"/>
                <a:ext cx="42" cy="42"/>
              </a:xfrm>
              <a:custGeom>
                <a:avLst/>
                <a:gdLst>
                  <a:gd name="T0" fmla="*/ 42 w 42"/>
                  <a:gd name="T1" fmla="*/ 42 h 42"/>
                  <a:gd name="T2" fmla="*/ 36 w 42"/>
                  <a:gd name="T3" fmla="*/ 30 h 42"/>
                  <a:gd name="T4" fmla="*/ 36 w 42"/>
                  <a:gd name="T5" fmla="*/ 30 h 42"/>
                  <a:gd name="T6" fmla="*/ 30 w 42"/>
                  <a:gd name="T7" fmla="*/ 24 h 42"/>
                  <a:gd name="T8" fmla="*/ 24 w 42"/>
                  <a:gd name="T9" fmla="*/ 24 h 42"/>
                  <a:gd name="T10" fmla="*/ 24 w 42"/>
                  <a:gd name="T11" fmla="*/ 24 h 42"/>
                  <a:gd name="T12" fmla="*/ 18 w 42"/>
                  <a:gd name="T13" fmla="*/ 30 h 42"/>
                  <a:gd name="T14" fmla="*/ 12 w 42"/>
                  <a:gd name="T15" fmla="*/ 30 h 42"/>
                  <a:gd name="T16" fmla="*/ 6 w 42"/>
                  <a:gd name="T17" fmla="*/ 30 h 42"/>
                  <a:gd name="T18" fmla="*/ 6 w 42"/>
                  <a:gd name="T19" fmla="*/ 24 h 42"/>
                  <a:gd name="T20" fmla="*/ 6 w 42"/>
                  <a:gd name="T21" fmla="*/ 18 h 42"/>
                  <a:gd name="T22" fmla="*/ 6 w 42"/>
                  <a:gd name="T23" fmla="*/ 18 h 42"/>
                  <a:gd name="T24" fmla="*/ 0 w 42"/>
                  <a:gd name="T25" fmla="*/ 12 h 42"/>
                  <a:gd name="T26" fmla="*/ 0 w 42"/>
                  <a:gd name="T27" fmla="*/ 6 h 42"/>
                  <a:gd name="T28" fmla="*/ 6 w 42"/>
                  <a:gd name="T29" fmla="*/ 0 h 42"/>
                  <a:gd name="T30" fmla="*/ 6 w 42"/>
                  <a:gd name="T31" fmla="*/ 0 h 42"/>
                  <a:gd name="T32" fmla="*/ 12 w 42"/>
                  <a:gd name="T33" fmla="*/ 0 h 42"/>
                  <a:gd name="T34" fmla="*/ 18 w 42"/>
                  <a:gd name="T35" fmla="*/ 0 h 42"/>
                  <a:gd name="T36" fmla="*/ 24 w 42"/>
                  <a:gd name="T37" fmla="*/ 0 h 42"/>
                  <a:gd name="T38" fmla="*/ 24 w 42"/>
                  <a:gd name="T39" fmla="*/ 0 h 42"/>
                  <a:gd name="T40" fmla="*/ 24 w 42"/>
                  <a:gd name="T41" fmla="*/ 6 h 42"/>
                  <a:gd name="T42" fmla="*/ 30 w 42"/>
                  <a:gd name="T43" fmla="*/ 18 h 42"/>
                  <a:gd name="T44" fmla="*/ 30 w 42"/>
                  <a:gd name="T45" fmla="*/ 18 h 42"/>
                  <a:gd name="T46" fmla="*/ 30 w 42"/>
                  <a:gd name="T47" fmla="*/ 12 h 42"/>
                  <a:gd name="T48" fmla="*/ 36 w 42"/>
                  <a:gd name="T49" fmla="*/ 6 h 42"/>
                  <a:gd name="T50" fmla="*/ 36 w 42"/>
                  <a:gd name="T51" fmla="*/ 6 h 42"/>
                  <a:gd name="T52" fmla="*/ 36 w 42"/>
                  <a:gd name="T53" fmla="*/ 12 h 42"/>
                  <a:gd name="T54" fmla="*/ 42 w 42"/>
                  <a:gd name="T55" fmla="*/ 30 h 42"/>
                  <a:gd name="T56" fmla="*/ 42 w 42"/>
                  <a:gd name="T57" fmla="*/ 42 h 4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42" h="42">
                    <a:moveTo>
                      <a:pt x="42" y="42"/>
                    </a:moveTo>
                    <a:lnTo>
                      <a:pt x="36" y="30"/>
                    </a:lnTo>
                    <a:lnTo>
                      <a:pt x="30" y="24"/>
                    </a:lnTo>
                    <a:lnTo>
                      <a:pt x="24" y="24"/>
                    </a:lnTo>
                    <a:lnTo>
                      <a:pt x="18" y="30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24" y="6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6" y="6"/>
                    </a:lnTo>
                    <a:lnTo>
                      <a:pt x="36" y="12"/>
                    </a:lnTo>
                    <a:lnTo>
                      <a:pt x="42" y="30"/>
                    </a:lnTo>
                    <a:lnTo>
                      <a:pt x="42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85" name="Freeform 95"/>
              <p:cNvSpPr>
                <a:spLocks/>
              </p:cNvSpPr>
              <p:nvPr/>
            </p:nvSpPr>
            <p:spPr bwMode="auto">
              <a:xfrm>
                <a:off x="2106" y="1206"/>
                <a:ext cx="42" cy="42"/>
              </a:xfrm>
              <a:custGeom>
                <a:avLst/>
                <a:gdLst>
                  <a:gd name="T0" fmla="*/ 42 w 42"/>
                  <a:gd name="T1" fmla="*/ 42 h 42"/>
                  <a:gd name="T2" fmla="*/ 36 w 42"/>
                  <a:gd name="T3" fmla="*/ 30 h 42"/>
                  <a:gd name="T4" fmla="*/ 30 w 42"/>
                  <a:gd name="T5" fmla="*/ 24 h 42"/>
                  <a:gd name="T6" fmla="*/ 24 w 42"/>
                  <a:gd name="T7" fmla="*/ 24 h 42"/>
                  <a:gd name="T8" fmla="*/ 18 w 42"/>
                  <a:gd name="T9" fmla="*/ 30 h 42"/>
                  <a:gd name="T10" fmla="*/ 12 w 42"/>
                  <a:gd name="T11" fmla="*/ 30 h 42"/>
                  <a:gd name="T12" fmla="*/ 6 w 42"/>
                  <a:gd name="T13" fmla="*/ 30 h 42"/>
                  <a:gd name="T14" fmla="*/ 6 w 42"/>
                  <a:gd name="T15" fmla="*/ 24 h 42"/>
                  <a:gd name="T16" fmla="*/ 6 w 42"/>
                  <a:gd name="T17" fmla="*/ 18 h 42"/>
                  <a:gd name="T18" fmla="*/ 0 w 42"/>
                  <a:gd name="T19" fmla="*/ 12 h 42"/>
                  <a:gd name="T20" fmla="*/ 0 w 42"/>
                  <a:gd name="T21" fmla="*/ 6 h 42"/>
                  <a:gd name="T22" fmla="*/ 6 w 42"/>
                  <a:gd name="T23" fmla="*/ 0 h 42"/>
                  <a:gd name="T24" fmla="*/ 12 w 42"/>
                  <a:gd name="T25" fmla="*/ 0 h 42"/>
                  <a:gd name="T26" fmla="*/ 18 w 42"/>
                  <a:gd name="T27" fmla="*/ 0 h 42"/>
                  <a:gd name="T28" fmla="*/ 24 w 42"/>
                  <a:gd name="T29" fmla="*/ 0 h 42"/>
                  <a:gd name="T30" fmla="*/ 24 w 42"/>
                  <a:gd name="T31" fmla="*/ 6 h 42"/>
                  <a:gd name="T32" fmla="*/ 30 w 42"/>
                  <a:gd name="T33" fmla="*/ 18 h 42"/>
                  <a:gd name="T34" fmla="*/ 30 w 42"/>
                  <a:gd name="T35" fmla="*/ 12 h 42"/>
                  <a:gd name="T36" fmla="*/ 36 w 42"/>
                  <a:gd name="T37" fmla="*/ 6 h 42"/>
                  <a:gd name="T38" fmla="*/ 36 w 42"/>
                  <a:gd name="T39" fmla="*/ 12 h 42"/>
                  <a:gd name="T40" fmla="*/ 42 w 42"/>
                  <a:gd name="T41" fmla="*/ 30 h 42"/>
                  <a:gd name="T42" fmla="*/ 42 w 42"/>
                  <a:gd name="T43" fmla="*/ 42 h 4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42" h="42">
                    <a:moveTo>
                      <a:pt x="42" y="42"/>
                    </a:moveTo>
                    <a:lnTo>
                      <a:pt x="36" y="30"/>
                    </a:lnTo>
                    <a:lnTo>
                      <a:pt x="30" y="24"/>
                    </a:lnTo>
                    <a:lnTo>
                      <a:pt x="24" y="24"/>
                    </a:lnTo>
                    <a:lnTo>
                      <a:pt x="18" y="30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24" y="6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6" y="6"/>
                    </a:lnTo>
                    <a:lnTo>
                      <a:pt x="36" y="12"/>
                    </a:lnTo>
                    <a:lnTo>
                      <a:pt x="42" y="30"/>
                    </a:lnTo>
                    <a:lnTo>
                      <a:pt x="42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66" name="Group 96"/>
            <p:cNvGrpSpPr>
              <a:grpSpLocks/>
            </p:cNvGrpSpPr>
            <p:nvPr/>
          </p:nvGrpSpPr>
          <p:grpSpPr bwMode="auto">
            <a:xfrm>
              <a:off x="2609046" y="2796223"/>
              <a:ext cx="146071" cy="349946"/>
              <a:chOff x="2148" y="1176"/>
              <a:chExt cx="72" cy="204"/>
            </a:xfrm>
            <a:solidFill>
              <a:srgbClr val="0070C0">
                <a:alpha val="27059"/>
              </a:srgbClr>
            </a:solidFill>
          </p:grpSpPr>
          <p:sp>
            <p:nvSpPr>
              <p:cNvPr id="1882" name="Freeform 97"/>
              <p:cNvSpPr>
                <a:spLocks/>
              </p:cNvSpPr>
              <p:nvPr/>
            </p:nvSpPr>
            <p:spPr bwMode="auto">
              <a:xfrm>
                <a:off x="2148" y="1176"/>
                <a:ext cx="72" cy="204"/>
              </a:xfrm>
              <a:custGeom>
                <a:avLst/>
                <a:gdLst>
                  <a:gd name="T0" fmla="*/ 24 w 72"/>
                  <a:gd name="T1" fmla="*/ 126 h 204"/>
                  <a:gd name="T2" fmla="*/ 18 w 72"/>
                  <a:gd name="T3" fmla="*/ 114 h 204"/>
                  <a:gd name="T4" fmla="*/ 6 w 72"/>
                  <a:gd name="T5" fmla="*/ 78 h 204"/>
                  <a:gd name="T6" fmla="*/ 0 w 72"/>
                  <a:gd name="T7" fmla="*/ 72 h 204"/>
                  <a:gd name="T8" fmla="*/ 0 w 72"/>
                  <a:gd name="T9" fmla="*/ 60 h 204"/>
                  <a:gd name="T10" fmla="*/ 0 w 72"/>
                  <a:gd name="T11" fmla="*/ 54 h 204"/>
                  <a:gd name="T12" fmla="*/ 0 w 72"/>
                  <a:gd name="T13" fmla="*/ 54 h 204"/>
                  <a:gd name="T14" fmla="*/ 6 w 72"/>
                  <a:gd name="T15" fmla="*/ 54 h 204"/>
                  <a:gd name="T16" fmla="*/ 0 w 72"/>
                  <a:gd name="T17" fmla="*/ 42 h 204"/>
                  <a:gd name="T18" fmla="*/ 12 w 72"/>
                  <a:gd name="T19" fmla="*/ 48 h 204"/>
                  <a:gd name="T20" fmla="*/ 12 w 72"/>
                  <a:gd name="T21" fmla="*/ 42 h 204"/>
                  <a:gd name="T22" fmla="*/ 18 w 72"/>
                  <a:gd name="T23" fmla="*/ 36 h 204"/>
                  <a:gd name="T24" fmla="*/ 24 w 72"/>
                  <a:gd name="T25" fmla="*/ 24 h 204"/>
                  <a:gd name="T26" fmla="*/ 24 w 72"/>
                  <a:gd name="T27" fmla="*/ 18 h 204"/>
                  <a:gd name="T28" fmla="*/ 48 w 72"/>
                  <a:gd name="T29" fmla="*/ 0 h 204"/>
                  <a:gd name="T30" fmla="*/ 54 w 72"/>
                  <a:gd name="T31" fmla="*/ 12 h 204"/>
                  <a:gd name="T32" fmla="*/ 60 w 72"/>
                  <a:gd name="T33" fmla="*/ 24 h 204"/>
                  <a:gd name="T34" fmla="*/ 54 w 72"/>
                  <a:gd name="T35" fmla="*/ 36 h 204"/>
                  <a:gd name="T36" fmla="*/ 54 w 72"/>
                  <a:gd name="T37" fmla="*/ 60 h 204"/>
                  <a:gd name="T38" fmla="*/ 66 w 72"/>
                  <a:gd name="T39" fmla="*/ 60 h 204"/>
                  <a:gd name="T40" fmla="*/ 72 w 72"/>
                  <a:gd name="T41" fmla="*/ 72 h 204"/>
                  <a:gd name="T42" fmla="*/ 60 w 72"/>
                  <a:gd name="T43" fmla="*/ 78 h 204"/>
                  <a:gd name="T44" fmla="*/ 60 w 72"/>
                  <a:gd name="T45" fmla="*/ 84 h 204"/>
                  <a:gd name="T46" fmla="*/ 54 w 72"/>
                  <a:gd name="T47" fmla="*/ 108 h 204"/>
                  <a:gd name="T48" fmla="*/ 60 w 72"/>
                  <a:gd name="T49" fmla="*/ 114 h 204"/>
                  <a:gd name="T50" fmla="*/ 60 w 72"/>
                  <a:gd name="T51" fmla="*/ 132 h 204"/>
                  <a:gd name="T52" fmla="*/ 60 w 72"/>
                  <a:gd name="T53" fmla="*/ 156 h 204"/>
                  <a:gd name="T54" fmla="*/ 60 w 72"/>
                  <a:gd name="T55" fmla="*/ 168 h 204"/>
                  <a:gd name="T56" fmla="*/ 54 w 72"/>
                  <a:gd name="T57" fmla="*/ 204 h 204"/>
                  <a:gd name="T58" fmla="*/ 48 w 72"/>
                  <a:gd name="T59" fmla="*/ 186 h 204"/>
                  <a:gd name="T60" fmla="*/ 54 w 72"/>
                  <a:gd name="T61" fmla="*/ 150 h 204"/>
                  <a:gd name="T62" fmla="*/ 48 w 72"/>
                  <a:gd name="T63" fmla="*/ 120 h 20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72" h="204">
                    <a:moveTo>
                      <a:pt x="42" y="114"/>
                    </a:moveTo>
                    <a:lnTo>
                      <a:pt x="24" y="126"/>
                    </a:lnTo>
                    <a:lnTo>
                      <a:pt x="18" y="126"/>
                    </a:lnTo>
                    <a:lnTo>
                      <a:pt x="18" y="114"/>
                    </a:lnTo>
                    <a:lnTo>
                      <a:pt x="18" y="102"/>
                    </a:lnTo>
                    <a:lnTo>
                      <a:pt x="6" y="78"/>
                    </a:lnTo>
                    <a:lnTo>
                      <a:pt x="0" y="78"/>
                    </a:lnTo>
                    <a:lnTo>
                      <a:pt x="0" y="72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4"/>
                    </a:lnTo>
                    <a:lnTo>
                      <a:pt x="6" y="54"/>
                    </a:lnTo>
                    <a:lnTo>
                      <a:pt x="0" y="42"/>
                    </a:lnTo>
                    <a:lnTo>
                      <a:pt x="6" y="42"/>
                    </a:lnTo>
                    <a:lnTo>
                      <a:pt x="12" y="48"/>
                    </a:lnTo>
                    <a:lnTo>
                      <a:pt x="12" y="42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36" y="18"/>
                    </a:lnTo>
                    <a:lnTo>
                      <a:pt x="48" y="0"/>
                    </a:lnTo>
                    <a:lnTo>
                      <a:pt x="54" y="6"/>
                    </a:lnTo>
                    <a:lnTo>
                      <a:pt x="54" y="12"/>
                    </a:lnTo>
                    <a:lnTo>
                      <a:pt x="60" y="24"/>
                    </a:lnTo>
                    <a:lnTo>
                      <a:pt x="54" y="30"/>
                    </a:lnTo>
                    <a:lnTo>
                      <a:pt x="54" y="36"/>
                    </a:lnTo>
                    <a:lnTo>
                      <a:pt x="48" y="54"/>
                    </a:lnTo>
                    <a:lnTo>
                      <a:pt x="54" y="60"/>
                    </a:lnTo>
                    <a:lnTo>
                      <a:pt x="60" y="60"/>
                    </a:lnTo>
                    <a:lnTo>
                      <a:pt x="66" y="60"/>
                    </a:lnTo>
                    <a:lnTo>
                      <a:pt x="72" y="60"/>
                    </a:lnTo>
                    <a:lnTo>
                      <a:pt x="72" y="72"/>
                    </a:lnTo>
                    <a:lnTo>
                      <a:pt x="66" y="72"/>
                    </a:lnTo>
                    <a:lnTo>
                      <a:pt x="60" y="78"/>
                    </a:lnTo>
                    <a:lnTo>
                      <a:pt x="60" y="84"/>
                    </a:lnTo>
                    <a:lnTo>
                      <a:pt x="60" y="102"/>
                    </a:lnTo>
                    <a:lnTo>
                      <a:pt x="54" y="108"/>
                    </a:lnTo>
                    <a:lnTo>
                      <a:pt x="60" y="114"/>
                    </a:lnTo>
                    <a:lnTo>
                      <a:pt x="60" y="126"/>
                    </a:lnTo>
                    <a:lnTo>
                      <a:pt x="60" y="132"/>
                    </a:lnTo>
                    <a:lnTo>
                      <a:pt x="60" y="138"/>
                    </a:lnTo>
                    <a:lnTo>
                      <a:pt x="60" y="156"/>
                    </a:lnTo>
                    <a:lnTo>
                      <a:pt x="60" y="162"/>
                    </a:lnTo>
                    <a:lnTo>
                      <a:pt x="60" y="168"/>
                    </a:lnTo>
                    <a:lnTo>
                      <a:pt x="60" y="186"/>
                    </a:lnTo>
                    <a:lnTo>
                      <a:pt x="54" y="204"/>
                    </a:lnTo>
                    <a:lnTo>
                      <a:pt x="48" y="198"/>
                    </a:lnTo>
                    <a:lnTo>
                      <a:pt x="48" y="186"/>
                    </a:lnTo>
                    <a:lnTo>
                      <a:pt x="54" y="168"/>
                    </a:lnTo>
                    <a:lnTo>
                      <a:pt x="54" y="150"/>
                    </a:lnTo>
                    <a:lnTo>
                      <a:pt x="48" y="132"/>
                    </a:lnTo>
                    <a:lnTo>
                      <a:pt x="48" y="120"/>
                    </a:lnTo>
                    <a:lnTo>
                      <a:pt x="42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83" name="Freeform 98"/>
              <p:cNvSpPr>
                <a:spLocks/>
              </p:cNvSpPr>
              <p:nvPr/>
            </p:nvSpPr>
            <p:spPr bwMode="auto">
              <a:xfrm>
                <a:off x="2148" y="1176"/>
                <a:ext cx="72" cy="204"/>
              </a:xfrm>
              <a:custGeom>
                <a:avLst/>
                <a:gdLst>
                  <a:gd name="T0" fmla="*/ 42 w 72"/>
                  <a:gd name="T1" fmla="*/ 114 h 204"/>
                  <a:gd name="T2" fmla="*/ 24 w 72"/>
                  <a:gd name="T3" fmla="*/ 126 h 204"/>
                  <a:gd name="T4" fmla="*/ 18 w 72"/>
                  <a:gd name="T5" fmla="*/ 126 h 204"/>
                  <a:gd name="T6" fmla="*/ 18 w 72"/>
                  <a:gd name="T7" fmla="*/ 114 h 204"/>
                  <a:gd name="T8" fmla="*/ 18 w 72"/>
                  <a:gd name="T9" fmla="*/ 102 h 204"/>
                  <a:gd name="T10" fmla="*/ 6 w 72"/>
                  <a:gd name="T11" fmla="*/ 78 h 204"/>
                  <a:gd name="T12" fmla="*/ 0 w 72"/>
                  <a:gd name="T13" fmla="*/ 78 h 204"/>
                  <a:gd name="T14" fmla="*/ 0 w 72"/>
                  <a:gd name="T15" fmla="*/ 72 h 204"/>
                  <a:gd name="T16" fmla="*/ 0 w 72"/>
                  <a:gd name="T17" fmla="*/ 66 h 204"/>
                  <a:gd name="T18" fmla="*/ 0 w 72"/>
                  <a:gd name="T19" fmla="*/ 60 h 204"/>
                  <a:gd name="T20" fmla="*/ 0 w 72"/>
                  <a:gd name="T21" fmla="*/ 54 h 204"/>
                  <a:gd name="T22" fmla="*/ 6 w 72"/>
                  <a:gd name="T23" fmla="*/ 54 h 204"/>
                  <a:gd name="T24" fmla="*/ 0 w 72"/>
                  <a:gd name="T25" fmla="*/ 42 h 204"/>
                  <a:gd name="T26" fmla="*/ 6 w 72"/>
                  <a:gd name="T27" fmla="*/ 42 h 204"/>
                  <a:gd name="T28" fmla="*/ 12 w 72"/>
                  <a:gd name="T29" fmla="*/ 48 h 204"/>
                  <a:gd name="T30" fmla="*/ 12 w 72"/>
                  <a:gd name="T31" fmla="*/ 42 h 204"/>
                  <a:gd name="T32" fmla="*/ 18 w 72"/>
                  <a:gd name="T33" fmla="*/ 42 h 204"/>
                  <a:gd name="T34" fmla="*/ 18 w 72"/>
                  <a:gd name="T35" fmla="*/ 36 h 204"/>
                  <a:gd name="T36" fmla="*/ 18 w 72"/>
                  <a:gd name="T37" fmla="*/ 30 h 204"/>
                  <a:gd name="T38" fmla="*/ 24 w 72"/>
                  <a:gd name="T39" fmla="*/ 24 h 204"/>
                  <a:gd name="T40" fmla="*/ 24 w 72"/>
                  <a:gd name="T41" fmla="*/ 18 h 204"/>
                  <a:gd name="T42" fmla="*/ 36 w 72"/>
                  <a:gd name="T43" fmla="*/ 18 h 204"/>
                  <a:gd name="T44" fmla="*/ 48 w 72"/>
                  <a:gd name="T45" fmla="*/ 0 h 204"/>
                  <a:gd name="T46" fmla="*/ 54 w 72"/>
                  <a:gd name="T47" fmla="*/ 6 h 204"/>
                  <a:gd name="T48" fmla="*/ 54 w 72"/>
                  <a:gd name="T49" fmla="*/ 12 h 204"/>
                  <a:gd name="T50" fmla="*/ 60 w 72"/>
                  <a:gd name="T51" fmla="*/ 24 h 204"/>
                  <a:gd name="T52" fmla="*/ 54 w 72"/>
                  <a:gd name="T53" fmla="*/ 30 h 204"/>
                  <a:gd name="T54" fmla="*/ 54 w 72"/>
                  <a:gd name="T55" fmla="*/ 36 h 204"/>
                  <a:gd name="T56" fmla="*/ 48 w 72"/>
                  <a:gd name="T57" fmla="*/ 54 h 204"/>
                  <a:gd name="T58" fmla="*/ 54 w 72"/>
                  <a:gd name="T59" fmla="*/ 60 h 204"/>
                  <a:gd name="T60" fmla="*/ 60 w 72"/>
                  <a:gd name="T61" fmla="*/ 60 h 204"/>
                  <a:gd name="T62" fmla="*/ 66 w 72"/>
                  <a:gd name="T63" fmla="*/ 60 h 204"/>
                  <a:gd name="T64" fmla="*/ 72 w 72"/>
                  <a:gd name="T65" fmla="*/ 60 h 204"/>
                  <a:gd name="T66" fmla="*/ 72 w 72"/>
                  <a:gd name="T67" fmla="*/ 72 h 204"/>
                  <a:gd name="T68" fmla="*/ 66 w 72"/>
                  <a:gd name="T69" fmla="*/ 72 h 204"/>
                  <a:gd name="T70" fmla="*/ 60 w 72"/>
                  <a:gd name="T71" fmla="*/ 78 h 204"/>
                  <a:gd name="T72" fmla="*/ 60 w 72"/>
                  <a:gd name="T73" fmla="*/ 84 h 204"/>
                  <a:gd name="T74" fmla="*/ 60 w 72"/>
                  <a:gd name="T75" fmla="*/ 102 h 204"/>
                  <a:gd name="T76" fmla="*/ 54 w 72"/>
                  <a:gd name="T77" fmla="*/ 108 h 204"/>
                  <a:gd name="T78" fmla="*/ 60 w 72"/>
                  <a:gd name="T79" fmla="*/ 114 h 204"/>
                  <a:gd name="T80" fmla="*/ 60 w 72"/>
                  <a:gd name="T81" fmla="*/ 126 h 204"/>
                  <a:gd name="T82" fmla="*/ 60 w 72"/>
                  <a:gd name="T83" fmla="*/ 132 h 204"/>
                  <a:gd name="T84" fmla="*/ 60 w 72"/>
                  <a:gd name="T85" fmla="*/ 138 h 204"/>
                  <a:gd name="T86" fmla="*/ 60 w 72"/>
                  <a:gd name="T87" fmla="*/ 156 h 204"/>
                  <a:gd name="T88" fmla="*/ 60 w 72"/>
                  <a:gd name="T89" fmla="*/ 162 h 204"/>
                  <a:gd name="T90" fmla="*/ 60 w 72"/>
                  <a:gd name="T91" fmla="*/ 168 h 204"/>
                  <a:gd name="T92" fmla="*/ 60 w 72"/>
                  <a:gd name="T93" fmla="*/ 186 h 204"/>
                  <a:gd name="T94" fmla="*/ 54 w 72"/>
                  <a:gd name="T95" fmla="*/ 204 h 204"/>
                  <a:gd name="T96" fmla="*/ 48 w 72"/>
                  <a:gd name="T97" fmla="*/ 198 h 204"/>
                  <a:gd name="T98" fmla="*/ 48 w 72"/>
                  <a:gd name="T99" fmla="*/ 186 h 204"/>
                  <a:gd name="T100" fmla="*/ 54 w 72"/>
                  <a:gd name="T101" fmla="*/ 168 h 204"/>
                  <a:gd name="T102" fmla="*/ 54 w 72"/>
                  <a:gd name="T103" fmla="*/ 150 h 204"/>
                  <a:gd name="T104" fmla="*/ 48 w 72"/>
                  <a:gd name="T105" fmla="*/ 132 h 204"/>
                  <a:gd name="T106" fmla="*/ 48 w 72"/>
                  <a:gd name="T107" fmla="*/ 120 h 204"/>
                  <a:gd name="T108" fmla="*/ 42 w 72"/>
                  <a:gd name="T109" fmla="*/ 114 h 2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2" h="204">
                    <a:moveTo>
                      <a:pt x="42" y="114"/>
                    </a:moveTo>
                    <a:lnTo>
                      <a:pt x="24" y="126"/>
                    </a:lnTo>
                    <a:lnTo>
                      <a:pt x="18" y="126"/>
                    </a:lnTo>
                    <a:lnTo>
                      <a:pt x="18" y="114"/>
                    </a:lnTo>
                    <a:lnTo>
                      <a:pt x="18" y="102"/>
                    </a:lnTo>
                    <a:lnTo>
                      <a:pt x="6" y="78"/>
                    </a:lnTo>
                    <a:lnTo>
                      <a:pt x="0" y="78"/>
                    </a:lnTo>
                    <a:lnTo>
                      <a:pt x="0" y="72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4"/>
                    </a:lnTo>
                    <a:lnTo>
                      <a:pt x="6" y="54"/>
                    </a:lnTo>
                    <a:lnTo>
                      <a:pt x="0" y="42"/>
                    </a:lnTo>
                    <a:lnTo>
                      <a:pt x="6" y="42"/>
                    </a:lnTo>
                    <a:lnTo>
                      <a:pt x="12" y="48"/>
                    </a:lnTo>
                    <a:lnTo>
                      <a:pt x="12" y="42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36" y="18"/>
                    </a:lnTo>
                    <a:lnTo>
                      <a:pt x="48" y="0"/>
                    </a:lnTo>
                    <a:lnTo>
                      <a:pt x="54" y="6"/>
                    </a:lnTo>
                    <a:lnTo>
                      <a:pt x="54" y="12"/>
                    </a:lnTo>
                    <a:lnTo>
                      <a:pt x="60" y="24"/>
                    </a:lnTo>
                    <a:lnTo>
                      <a:pt x="54" y="30"/>
                    </a:lnTo>
                    <a:lnTo>
                      <a:pt x="54" y="36"/>
                    </a:lnTo>
                    <a:lnTo>
                      <a:pt x="48" y="54"/>
                    </a:lnTo>
                    <a:lnTo>
                      <a:pt x="54" y="60"/>
                    </a:lnTo>
                    <a:lnTo>
                      <a:pt x="60" y="60"/>
                    </a:lnTo>
                    <a:lnTo>
                      <a:pt x="66" y="60"/>
                    </a:lnTo>
                    <a:lnTo>
                      <a:pt x="72" y="60"/>
                    </a:lnTo>
                    <a:lnTo>
                      <a:pt x="72" y="72"/>
                    </a:lnTo>
                    <a:lnTo>
                      <a:pt x="66" y="72"/>
                    </a:lnTo>
                    <a:lnTo>
                      <a:pt x="60" y="78"/>
                    </a:lnTo>
                    <a:lnTo>
                      <a:pt x="60" y="84"/>
                    </a:lnTo>
                    <a:lnTo>
                      <a:pt x="60" y="102"/>
                    </a:lnTo>
                    <a:lnTo>
                      <a:pt x="54" y="108"/>
                    </a:lnTo>
                    <a:lnTo>
                      <a:pt x="60" y="114"/>
                    </a:lnTo>
                    <a:lnTo>
                      <a:pt x="60" y="126"/>
                    </a:lnTo>
                    <a:lnTo>
                      <a:pt x="60" y="132"/>
                    </a:lnTo>
                    <a:lnTo>
                      <a:pt x="60" y="138"/>
                    </a:lnTo>
                    <a:lnTo>
                      <a:pt x="60" y="156"/>
                    </a:lnTo>
                    <a:lnTo>
                      <a:pt x="60" y="162"/>
                    </a:lnTo>
                    <a:lnTo>
                      <a:pt x="60" y="168"/>
                    </a:lnTo>
                    <a:lnTo>
                      <a:pt x="60" y="186"/>
                    </a:lnTo>
                    <a:lnTo>
                      <a:pt x="54" y="204"/>
                    </a:lnTo>
                    <a:lnTo>
                      <a:pt x="48" y="198"/>
                    </a:lnTo>
                    <a:lnTo>
                      <a:pt x="48" y="186"/>
                    </a:lnTo>
                    <a:lnTo>
                      <a:pt x="54" y="168"/>
                    </a:lnTo>
                    <a:lnTo>
                      <a:pt x="54" y="150"/>
                    </a:lnTo>
                    <a:lnTo>
                      <a:pt x="48" y="132"/>
                    </a:lnTo>
                    <a:lnTo>
                      <a:pt x="48" y="120"/>
                    </a:lnTo>
                    <a:lnTo>
                      <a:pt x="42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67" name="Group 99"/>
            <p:cNvGrpSpPr>
              <a:grpSpLocks/>
            </p:cNvGrpSpPr>
            <p:nvPr/>
          </p:nvGrpSpPr>
          <p:grpSpPr bwMode="auto">
            <a:xfrm>
              <a:off x="2791635" y="2877135"/>
              <a:ext cx="134539" cy="216441"/>
              <a:chOff x="2238" y="1224"/>
              <a:chExt cx="66" cy="126"/>
            </a:xfrm>
            <a:solidFill>
              <a:srgbClr val="0070C0">
                <a:alpha val="27059"/>
              </a:srgbClr>
            </a:solidFill>
          </p:grpSpPr>
          <p:sp>
            <p:nvSpPr>
              <p:cNvPr id="1880" name="Freeform 100"/>
              <p:cNvSpPr>
                <a:spLocks/>
              </p:cNvSpPr>
              <p:nvPr/>
            </p:nvSpPr>
            <p:spPr bwMode="auto">
              <a:xfrm>
                <a:off x="2238" y="1224"/>
                <a:ext cx="66" cy="126"/>
              </a:xfrm>
              <a:custGeom>
                <a:avLst/>
                <a:gdLst>
                  <a:gd name="T0" fmla="*/ 42 w 66"/>
                  <a:gd name="T1" fmla="*/ 90 h 126"/>
                  <a:gd name="T2" fmla="*/ 48 w 66"/>
                  <a:gd name="T3" fmla="*/ 90 h 126"/>
                  <a:gd name="T4" fmla="*/ 48 w 66"/>
                  <a:gd name="T5" fmla="*/ 96 h 126"/>
                  <a:gd name="T6" fmla="*/ 48 w 66"/>
                  <a:gd name="T7" fmla="*/ 96 h 126"/>
                  <a:gd name="T8" fmla="*/ 48 w 66"/>
                  <a:gd name="T9" fmla="*/ 108 h 126"/>
                  <a:gd name="T10" fmla="*/ 36 w 66"/>
                  <a:gd name="T11" fmla="*/ 114 h 126"/>
                  <a:gd name="T12" fmla="*/ 36 w 66"/>
                  <a:gd name="T13" fmla="*/ 114 h 126"/>
                  <a:gd name="T14" fmla="*/ 30 w 66"/>
                  <a:gd name="T15" fmla="*/ 114 h 126"/>
                  <a:gd name="T16" fmla="*/ 30 w 66"/>
                  <a:gd name="T17" fmla="*/ 126 h 126"/>
                  <a:gd name="T18" fmla="*/ 36 w 66"/>
                  <a:gd name="T19" fmla="*/ 120 h 126"/>
                  <a:gd name="T20" fmla="*/ 48 w 66"/>
                  <a:gd name="T21" fmla="*/ 126 h 126"/>
                  <a:gd name="T22" fmla="*/ 60 w 66"/>
                  <a:gd name="T23" fmla="*/ 114 h 126"/>
                  <a:gd name="T24" fmla="*/ 66 w 66"/>
                  <a:gd name="T25" fmla="*/ 102 h 126"/>
                  <a:gd name="T26" fmla="*/ 66 w 66"/>
                  <a:gd name="T27" fmla="*/ 90 h 126"/>
                  <a:gd name="T28" fmla="*/ 66 w 66"/>
                  <a:gd name="T29" fmla="*/ 72 h 126"/>
                  <a:gd name="T30" fmla="*/ 66 w 66"/>
                  <a:gd name="T31" fmla="*/ 66 h 126"/>
                  <a:gd name="T32" fmla="*/ 60 w 66"/>
                  <a:gd name="T33" fmla="*/ 60 h 126"/>
                  <a:gd name="T34" fmla="*/ 54 w 66"/>
                  <a:gd name="T35" fmla="*/ 54 h 126"/>
                  <a:gd name="T36" fmla="*/ 48 w 66"/>
                  <a:gd name="T37" fmla="*/ 54 h 126"/>
                  <a:gd name="T38" fmla="*/ 36 w 66"/>
                  <a:gd name="T39" fmla="*/ 36 h 126"/>
                  <a:gd name="T40" fmla="*/ 36 w 66"/>
                  <a:gd name="T41" fmla="*/ 30 h 126"/>
                  <a:gd name="T42" fmla="*/ 36 w 66"/>
                  <a:gd name="T43" fmla="*/ 30 h 126"/>
                  <a:gd name="T44" fmla="*/ 42 w 66"/>
                  <a:gd name="T45" fmla="*/ 24 h 126"/>
                  <a:gd name="T46" fmla="*/ 48 w 66"/>
                  <a:gd name="T47" fmla="*/ 24 h 126"/>
                  <a:gd name="T48" fmla="*/ 54 w 66"/>
                  <a:gd name="T49" fmla="*/ 18 h 126"/>
                  <a:gd name="T50" fmla="*/ 54 w 66"/>
                  <a:gd name="T51" fmla="*/ 12 h 126"/>
                  <a:gd name="T52" fmla="*/ 48 w 66"/>
                  <a:gd name="T53" fmla="*/ 6 h 126"/>
                  <a:gd name="T54" fmla="*/ 48 w 66"/>
                  <a:gd name="T55" fmla="*/ 6 h 126"/>
                  <a:gd name="T56" fmla="*/ 42 w 66"/>
                  <a:gd name="T57" fmla="*/ 0 h 126"/>
                  <a:gd name="T58" fmla="*/ 42 w 66"/>
                  <a:gd name="T59" fmla="*/ 0 h 126"/>
                  <a:gd name="T60" fmla="*/ 36 w 66"/>
                  <a:gd name="T61" fmla="*/ 0 h 126"/>
                  <a:gd name="T62" fmla="*/ 30 w 66"/>
                  <a:gd name="T63" fmla="*/ 0 h 126"/>
                  <a:gd name="T64" fmla="*/ 18 w 66"/>
                  <a:gd name="T65" fmla="*/ 0 h 126"/>
                  <a:gd name="T66" fmla="*/ 12 w 66"/>
                  <a:gd name="T67" fmla="*/ 0 h 126"/>
                  <a:gd name="T68" fmla="*/ 6 w 66"/>
                  <a:gd name="T69" fmla="*/ 0 h 126"/>
                  <a:gd name="T70" fmla="*/ 0 w 66"/>
                  <a:gd name="T71" fmla="*/ 0 h 126"/>
                  <a:gd name="T72" fmla="*/ 0 w 66"/>
                  <a:gd name="T73" fmla="*/ 6 h 126"/>
                  <a:gd name="T74" fmla="*/ 6 w 66"/>
                  <a:gd name="T75" fmla="*/ 6 h 126"/>
                  <a:gd name="T76" fmla="*/ 6 w 66"/>
                  <a:gd name="T77" fmla="*/ 6 h 126"/>
                  <a:gd name="T78" fmla="*/ 6 w 66"/>
                  <a:gd name="T79" fmla="*/ 18 h 126"/>
                  <a:gd name="T80" fmla="*/ 18 w 66"/>
                  <a:gd name="T81" fmla="*/ 24 h 126"/>
                  <a:gd name="T82" fmla="*/ 18 w 66"/>
                  <a:gd name="T83" fmla="*/ 24 h 126"/>
                  <a:gd name="T84" fmla="*/ 18 w 66"/>
                  <a:gd name="T85" fmla="*/ 30 h 126"/>
                  <a:gd name="T86" fmla="*/ 18 w 66"/>
                  <a:gd name="T87" fmla="*/ 36 h 126"/>
                  <a:gd name="T88" fmla="*/ 12 w 66"/>
                  <a:gd name="T89" fmla="*/ 36 h 126"/>
                  <a:gd name="T90" fmla="*/ 12 w 66"/>
                  <a:gd name="T91" fmla="*/ 36 h 126"/>
                  <a:gd name="T92" fmla="*/ 18 w 66"/>
                  <a:gd name="T93" fmla="*/ 42 h 126"/>
                  <a:gd name="T94" fmla="*/ 24 w 66"/>
                  <a:gd name="T95" fmla="*/ 48 h 126"/>
                  <a:gd name="T96" fmla="*/ 36 w 66"/>
                  <a:gd name="T97" fmla="*/ 66 h 126"/>
                  <a:gd name="T98" fmla="*/ 42 w 66"/>
                  <a:gd name="T99" fmla="*/ 72 h 126"/>
                  <a:gd name="T100" fmla="*/ 42 w 66"/>
                  <a:gd name="T101" fmla="*/ 78 h 126"/>
                  <a:gd name="T102" fmla="*/ 42 w 66"/>
                  <a:gd name="T103" fmla="*/ 84 h 126"/>
                  <a:gd name="T104" fmla="*/ 42 w 66"/>
                  <a:gd name="T105" fmla="*/ 90 h 12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66" h="126">
                    <a:moveTo>
                      <a:pt x="42" y="90"/>
                    </a:moveTo>
                    <a:lnTo>
                      <a:pt x="48" y="90"/>
                    </a:lnTo>
                    <a:lnTo>
                      <a:pt x="48" y="96"/>
                    </a:lnTo>
                    <a:lnTo>
                      <a:pt x="48" y="108"/>
                    </a:lnTo>
                    <a:lnTo>
                      <a:pt x="36" y="114"/>
                    </a:lnTo>
                    <a:lnTo>
                      <a:pt x="30" y="114"/>
                    </a:lnTo>
                    <a:lnTo>
                      <a:pt x="30" y="126"/>
                    </a:lnTo>
                    <a:lnTo>
                      <a:pt x="36" y="120"/>
                    </a:lnTo>
                    <a:lnTo>
                      <a:pt x="48" y="126"/>
                    </a:lnTo>
                    <a:lnTo>
                      <a:pt x="60" y="114"/>
                    </a:lnTo>
                    <a:lnTo>
                      <a:pt x="66" y="102"/>
                    </a:lnTo>
                    <a:lnTo>
                      <a:pt x="66" y="90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60" y="6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42" y="24"/>
                    </a:lnTo>
                    <a:lnTo>
                      <a:pt x="48" y="24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48" y="6"/>
                    </a:lnTo>
                    <a:lnTo>
                      <a:pt x="42" y="0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18"/>
                    </a:lnTo>
                    <a:lnTo>
                      <a:pt x="18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36"/>
                    </a:lnTo>
                    <a:lnTo>
                      <a:pt x="18" y="42"/>
                    </a:lnTo>
                    <a:lnTo>
                      <a:pt x="24" y="48"/>
                    </a:lnTo>
                    <a:lnTo>
                      <a:pt x="36" y="66"/>
                    </a:lnTo>
                    <a:lnTo>
                      <a:pt x="42" y="72"/>
                    </a:lnTo>
                    <a:lnTo>
                      <a:pt x="42" y="78"/>
                    </a:lnTo>
                    <a:lnTo>
                      <a:pt x="42" y="84"/>
                    </a:lnTo>
                    <a:lnTo>
                      <a:pt x="4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81" name="Freeform 101"/>
              <p:cNvSpPr>
                <a:spLocks/>
              </p:cNvSpPr>
              <p:nvPr/>
            </p:nvSpPr>
            <p:spPr bwMode="auto">
              <a:xfrm>
                <a:off x="2238" y="1224"/>
                <a:ext cx="66" cy="126"/>
              </a:xfrm>
              <a:custGeom>
                <a:avLst/>
                <a:gdLst>
                  <a:gd name="T0" fmla="*/ 42 w 66"/>
                  <a:gd name="T1" fmla="*/ 90 h 126"/>
                  <a:gd name="T2" fmla="*/ 48 w 66"/>
                  <a:gd name="T3" fmla="*/ 90 h 126"/>
                  <a:gd name="T4" fmla="*/ 48 w 66"/>
                  <a:gd name="T5" fmla="*/ 96 h 126"/>
                  <a:gd name="T6" fmla="*/ 48 w 66"/>
                  <a:gd name="T7" fmla="*/ 108 h 126"/>
                  <a:gd name="T8" fmla="*/ 36 w 66"/>
                  <a:gd name="T9" fmla="*/ 114 h 126"/>
                  <a:gd name="T10" fmla="*/ 30 w 66"/>
                  <a:gd name="T11" fmla="*/ 114 h 126"/>
                  <a:gd name="T12" fmla="*/ 30 w 66"/>
                  <a:gd name="T13" fmla="*/ 126 h 126"/>
                  <a:gd name="T14" fmla="*/ 36 w 66"/>
                  <a:gd name="T15" fmla="*/ 120 h 126"/>
                  <a:gd name="T16" fmla="*/ 48 w 66"/>
                  <a:gd name="T17" fmla="*/ 126 h 126"/>
                  <a:gd name="T18" fmla="*/ 60 w 66"/>
                  <a:gd name="T19" fmla="*/ 114 h 126"/>
                  <a:gd name="T20" fmla="*/ 66 w 66"/>
                  <a:gd name="T21" fmla="*/ 102 h 126"/>
                  <a:gd name="T22" fmla="*/ 66 w 66"/>
                  <a:gd name="T23" fmla="*/ 90 h 126"/>
                  <a:gd name="T24" fmla="*/ 66 w 66"/>
                  <a:gd name="T25" fmla="*/ 72 h 126"/>
                  <a:gd name="T26" fmla="*/ 66 w 66"/>
                  <a:gd name="T27" fmla="*/ 66 h 126"/>
                  <a:gd name="T28" fmla="*/ 60 w 66"/>
                  <a:gd name="T29" fmla="*/ 60 h 126"/>
                  <a:gd name="T30" fmla="*/ 54 w 66"/>
                  <a:gd name="T31" fmla="*/ 54 h 126"/>
                  <a:gd name="T32" fmla="*/ 48 w 66"/>
                  <a:gd name="T33" fmla="*/ 54 h 126"/>
                  <a:gd name="T34" fmla="*/ 36 w 66"/>
                  <a:gd name="T35" fmla="*/ 36 h 126"/>
                  <a:gd name="T36" fmla="*/ 36 w 66"/>
                  <a:gd name="T37" fmla="*/ 30 h 126"/>
                  <a:gd name="T38" fmla="*/ 42 w 66"/>
                  <a:gd name="T39" fmla="*/ 24 h 126"/>
                  <a:gd name="T40" fmla="*/ 48 w 66"/>
                  <a:gd name="T41" fmla="*/ 24 h 126"/>
                  <a:gd name="T42" fmla="*/ 54 w 66"/>
                  <a:gd name="T43" fmla="*/ 18 h 126"/>
                  <a:gd name="T44" fmla="*/ 54 w 66"/>
                  <a:gd name="T45" fmla="*/ 12 h 126"/>
                  <a:gd name="T46" fmla="*/ 48 w 66"/>
                  <a:gd name="T47" fmla="*/ 6 h 126"/>
                  <a:gd name="T48" fmla="*/ 42 w 66"/>
                  <a:gd name="T49" fmla="*/ 0 h 126"/>
                  <a:gd name="T50" fmla="*/ 36 w 66"/>
                  <a:gd name="T51" fmla="*/ 0 h 126"/>
                  <a:gd name="T52" fmla="*/ 30 w 66"/>
                  <a:gd name="T53" fmla="*/ 0 h 126"/>
                  <a:gd name="T54" fmla="*/ 18 w 66"/>
                  <a:gd name="T55" fmla="*/ 0 h 126"/>
                  <a:gd name="T56" fmla="*/ 12 w 66"/>
                  <a:gd name="T57" fmla="*/ 0 h 126"/>
                  <a:gd name="T58" fmla="*/ 6 w 66"/>
                  <a:gd name="T59" fmla="*/ 0 h 126"/>
                  <a:gd name="T60" fmla="*/ 0 w 66"/>
                  <a:gd name="T61" fmla="*/ 0 h 126"/>
                  <a:gd name="T62" fmla="*/ 0 w 66"/>
                  <a:gd name="T63" fmla="*/ 6 h 126"/>
                  <a:gd name="T64" fmla="*/ 6 w 66"/>
                  <a:gd name="T65" fmla="*/ 6 h 126"/>
                  <a:gd name="T66" fmla="*/ 6 w 66"/>
                  <a:gd name="T67" fmla="*/ 18 h 126"/>
                  <a:gd name="T68" fmla="*/ 18 w 66"/>
                  <a:gd name="T69" fmla="*/ 24 h 126"/>
                  <a:gd name="T70" fmla="*/ 18 w 66"/>
                  <a:gd name="T71" fmla="*/ 30 h 126"/>
                  <a:gd name="T72" fmla="*/ 18 w 66"/>
                  <a:gd name="T73" fmla="*/ 36 h 126"/>
                  <a:gd name="T74" fmla="*/ 12 w 66"/>
                  <a:gd name="T75" fmla="*/ 36 h 126"/>
                  <a:gd name="T76" fmla="*/ 18 w 66"/>
                  <a:gd name="T77" fmla="*/ 42 h 126"/>
                  <a:gd name="T78" fmla="*/ 24 w 66"/>
                  <a:gd name="T79" fmla="*/ 48 h 126"/>
                  <a:gd name="T80" fmla="*/ 36 w 66"/>
                  <a:gd name="T81" fmla="*/ 66 h 126"/>
                  <a:gd name="T82" fmla="*/ 42 w 66"/>
                  <a:gd name="T83" fmla="*/ 72 h 126"/>
                  <a:gd name="T84" fmla="*/ 42 w 66"/>
                  <a:gd name="T85" fmla="*/ 78 h 126"/>
                  <a:gd name="T86" fmla="*/ 42 w 66"/>
                  <a:gd name="T87" fmla="*/ 84 h 126"/>
                  <a:gd name="T88" fmla="*/ 42 w 66"/>
                  <a:gd name="T89" fmla="*/ 90 h 12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66" h="126">
                    <a:moveTo>
                      <a:pt x="42" y="90"/>
                    </a:moveTo>
                    <a:lnTo>
                      <a:pt x="48" y="90"/>
                    </a:lnTo>
                    <a:lnTo>
                      <a:pt x="48" y="96"/>
                    </a:lnTo>
                    <a:lnTo>
                      <a:pt x="48" y="108"/>
                    </a:lnTo>
                    <a:lnTo>
                      <a:pt x="36" y="114"/>
                    </a:lnTo>
                    <a:lnTo>
                      <a:pt x="30" y="114"/>
                    </a:lnTo>
                    <a:lnTo>
                      <a:pt x="30" y="126"/>
                    </a:lnTo>
                    <a:lnTo>
                      <a:pt x="36" y="120"/>
                    </a:lnTo>
                    <a:lnTo>
                      <a:pt x="48" y="126"/>
                    </a:lnTo>
                    <a:lnTo>
                      <a:pt x="60" y="114"/>
                    </a:lnTo>
                    <a:lnTo>
                      <a:pt x="66" y="102"/>
                    </a:lnTo>
                    <a:lnTo>
                      <a:pt x="66" y="90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60" y="6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42" y="24"/>
                    </a:lnTo>
                    <a:lnTo>
                      <a:pt x="48" y="24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48" y="6"/>
                    </a:lnTo>
                    <a:lnTo>
                      <a:pt x="42" y="0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18"/>
                    </a:lnTo>
                    <a:lnTo>
                      <a:pt x="18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36"/>
                    </a:lnTo>
                    <a:lnTo>
                      <a:pt x="18" y="42"/>
                    </a:lnTo>
                    <a:lnTo>
                      <a:pt x="24" y="48"/>
                    </a:lnTo>
                    <a:lnTo>
                      <a:pt x="36" y="66"/>
                    </a:lnTo>
                    <a:lnTo>
                      <a:pt x="42" y="72"/>
                    </a:lnTo>
                    <a:lnTo>
                      <a:pt x="42" y="78"/>
                    </a:lnTo>
                    <a:lnTo>
                      <a:pt x="42" y="84"/>
                    </a:lnTo>
                    <a:lnTo>
                      <a:pt x="4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68" name="Group 102"/>
            <p:cNvGrpSpPr>
              <a:grpSpLocks/>
            </p:cNvGrpSpPr>
            <p:nvPr/>
          </p:nvGrpSpPr>
          <p:grpSpPr bwMode="auto">
            <a:xfrm>
              <a:off x="2718600" y="2919614"/>
              <a:ext cx="123007" cy="267011"/>
              <a:chOff x="2202" y="1248"/>
              <a:chExt cx="60" cy="156"/>
            </a:xfrm>
            <a:solidFill>
              <a:srgbClr val="0070C0">
                <a:alpha val="27059"/>
              </a:srgbClr>
            </a:solidFill>
          </p:grpSpPr>
          <p:sp>
            <p:nvSpPr>
              <p:cNvPr id="1878" name="Freeform 103"/>
              <p:cNvSpPr>
                <a:spLocks/>
              </p:cNvSpPr>
              <p:nvPr/>
            </p:nvSpPr>
            <p:spPr bwMode="auto">
              <a:xfrm>
                <a:off x="2202" y="1248"/>
                <a:ext cx="60" cy="156"/>
              </a:xfrm>
              <a:custGeom>
                <a:avLst/>
                <a:gdLst>
                  <a:gd name="T0" fmla="*/ 18 w 60"/>
                  <a:gd name="T1" fmla="*/ 0 h 156"/>
                  <a:gd name="T2" fmla="*/ 12 w 60"/>
                  <a:gd name="T3" fmla="*/ 0 h 156"/>
                  <a:gd name="T4" fmla="*/ 6 w 60"/>
                  <a:gd name="T5" fmla="*/ 6 h 156"/>
                  <a:gd name="T6" fmla="*/ 6 w 60"/>
                  <a:gd name="T7" fmla="*/ 12 h 156"/>
                  <a:gd name="T8" fmla="*/ 6 w 60"/>
                  <a:gd name="T9" fmla="*/ 12 h 156"/>
                  <a:gd name="T10" fmla="*/ 6 w 60"/>
                  <a:gd name="T11" fmla="*/ 30 h 156"/>
                  <a:gd name="T12" fmla="*/ 0 w 60"/>
                  <a:gd name="T13" fmla="*/ 36 h 156"/>
                  <a:gd name="T14" fmla="*/ 0 w 60"/>
                  <a:gd name="T15" fmla="*/ 36 h 156"/>
                  <a:gd name="T16" fmla="*/ 6 w 60"/>
                  <a:gd name="T17" fmla="*/ 42 h 156"/>
                  <a:gd name="T18" fmla="*/ 6 w 60"/>
                  <a:gd name="T19" fmla="*/ 54 h 156"/>
                  <a:gd name="T20" fmla="*/ 6 w 60"/>
                  <a:gd name="T21" fmla="*/ 60 h 156"/>
                  <a:gd name="T22" fmla="*/ 6 w 60"/>
                  <a:gd name="T23" fmla="*/ 66 h 156"/>
                  <a:gd name="T24" fmla="*/ 6 w 60"/>
                  <a:gd name="T25" fmla="*/ 84 h 156"/>
                  <a:gd name="T26" fmla="*/ 6 w 60"/>
                  <a:gd name="T27" fmla="*/ 90 h 156"/>
                  <a:gd name="T28" fmla="*/ 6 w 60"/>
                  <a:gd name="T29" fmla="*/ 96 h 156"/>
                  <a:gd name="T30" fmla="*/ 6 w 60"/>
                  <a:gd name="T31" fmla="*/ 114 h 156"/>
                  <a:gd name="T32" fmla="*/ 0 w 60"/>
                  <a:gd name="T33" fmla="*/ 132 h 156"/>
                  <a:gd name="T34" fmla="*/ 0 w 60"/>
                  <a:gd name="T35" fmla="*/ 132 h 156"/>
                  <a:gd name="T36" fmla="*/ 6 w 60"/>
                  <a:gd name="T37" fmla="*/ 144 h 156"/>
                  <a:gd name="T38" fmla="*/ 18 w 60"/>
                  <a:gd name="T39" fmla="*/ 150 h 156"/>
                  <a:gd name="T40" fmla="*/ 30 w 60"/>
                  <a:gd name="T41" fmla="*/ 150 h 156"/>
                  <a:gd name="T42" fmla="*/ 36 w 60"/>
                  <a:gd name="T43" fmla="*/ 156 h 156"/>
                  <a:gd name="T44" fmla="*/ 42 w 60"/>
                  <a:gd name="T45" fmla="*/ 156 h 156"/>
                  <a:gd name="T46" fmla="*/ 36 w 60"/>
                  <a:gd name="T47" fmla="*/ 144 h 156"/>
                  <a:gd name="T48" fmla="*/ 18 w 60"/>
                  <a:gd name="T49" fmla="*/ 126 h 156"/>
                  <a:gd name="T50" fmla="*/ 12 w 60"/>
                  <a:gd name="T51" fmla="*/ 120 h 156"/>
                  <a:gd name="T52" fmla="*/ 12 w 60"/>
                  <a:gd name="T53" fmla="*/ 114 h 156"/>
                  <a:gd name="T54" fmla="*/ 12 w 60"/>
                  <a:gd name="T55" fmla="*/ 102 h 156"/>
                  <a:gd name="T56" fmla="*/ 18 w 60"/>
                  <a:gd name="T57" fmla="*/ 66 h 156"/>
                  <a:gd name="T58" fmla="*/ 18 w 60"/>
                  <a:gd name="T59" fmla="*/ 66 h 156"/>
                  <a:gd name="T60" fmla="*/ 18 w 60"/>
                  <a:gd name="T61" fmla="*/ 66 h 156"/>
                  <a:gd name="T62" fmla="*/ 24 w 60"/>
                  <a:gd name="T63" fmla="*/ 66 h 156"/>
                  <a:gd name="T64" fmla="*/ 24 w 60"/>
                  <a:gd name="T65" fmla="*/ 72 h 156"/>
                  <a:gd name="T66" fmla="*/ 30 w 60"/>
                  <a:gd name="T67" fmla="*/ 84 h 156"/>
                  <a:gd name="T68" fmla="*/ 36 w 60"/>
                  <a:gd name="T69" fmla="*/ 90 h 156"/>
                  <a:gd name="T70" fmla="*/ 36 w 60"/>
                  <a:gd name="T71" fmla="*/ 78 h 156"/>
                  <a:gd name="T72" fmla="*/ 36 w 60"/>
                  <a:gd name="T73" fmla="*/ 72 h 156"/>
                  <a:gd name="T74" fmla="*/ 36 w 60"/>
                  <a:gd name="T75" fmla="*/ 66 h 156"/>
                  <a:gd name="T76" fmla="*/ 42 w 60"/>
                  <a:gd name="T77" fmla="*/ 66 h 156"/>
                  <a:gd name="T78" fmla="*/ 48 w 60"/>
                  <a:gd name="T79" fmla="*/ 60 h 156"/>
                  <a:gd name="T80" fmla="*/ 54 w 60"/>
                  <a:gd name="T81" fmla="*/ 60 h 156"/>
                  <a:gd name="T82" fmla="*/ 60 w 60"/>
                  <a:gd name="T83" fmla="*/ 66 h 156"/>
                  <a:gd name="T84" fmla="*/ 60 w 60"/>
                  <a:gd name="T85" fmla="*/ 60 h 156"/>
                  <a:gd name="T86" fmla="*/ 60 w 60"/>
                  <a:gd name="T87" fmla="*/ 48 h 156"/>
                  <a:gd name="T88" fmla="*/ 60 w 60"/>
                  <a:gd name="T89" fmla="*/ 42 h 156"/>
                  <a:gd name="T90" fmla="*/ 54 w 60"/>
                  <a:gd name="T91" fmla="*/ 36 h 156"/>
                  <a:gd name="T92" fmla="*/ 48 w 60"/>
                  <a:gd name="T93" fmla="*/ 24 h 156"/>
                  <a:gd name="T94" fmla="*/ 42 w 60"/>
                  <a:gd name="T95" fmla="*/ 24 h 156"/>
                  <a:gd name="T96" fmla="*/ 42 w 60"/>
                  <a:gd name="T97" fmla="*/ 24 h 156"/>
                  <a:gd name="T98" fmla="*/ 36 w 60"/>
                  <a:gd name="T99" fmla="*/ 24 h 156"/>
                  <a:gd name="T100" fmla="*/ 30 w 60"/>
                  <a:gd name="T101" fmla="*/ 30 h 156"/>
                  <a:gd name="T102" fmla="*/ 30 w 60"/>
                  <a:gd name="T103" fmla="*/ 30 h 156"/>
                  <a:gd name="T104" fmla="*/ 30 w 60"/>
                  <a:gd name="T105" fmla="*/ 18 h 156"/>
                  <a:gd name="T106" fmla="*/ 30 w 60"/>
                  <a:gd name="T107" fmla="*/ 12 h 156"/>
                  <a:gd name="T108" fmla="*/ 30 w 60"/>
                  <a:gd name="T109" fmla="*/ 6 h 156"/>
                  <a:gd name="T110" fmla="*/ 24 w 60"/>
                  <a:gd name="T111" fmla="*/ 6 h 156"/>
                  <a:gd name="T112" fmla="*/ 18 w 60"/>
                  <a:gd name="T113" fmla="*/ 0 h 156"/>
                  <a:gd name="T114" fmla="*/ 18 w 60"/>
                  <a:gd name="T115" fmla="*/ 0 h 15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60" h="156">
                    <a:moveTo>
                      <a:pt x="18" y="0"/>
                    </a:moveTo>
                    <a:lnTo>
                      <a:pt x="12" y="0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30"/>
                    </a:lnTo>
                    <a:lnTo>
                      <a:pt x="0" y="36"/>
                    </a:lnTo>
                    <a:lnTo>
                      <a:pt x="6" y="42"/>
                    </a:lnTo>
                    <a:lnTo>
                      <a:pt x="6" y="54"/>
                    </a:lnTo>
                    <a:lnTo>
                      <a:pt x="6" y="60"/>
                    </a:lnTo>
                    <a:lnTo>
                      <a:pt x="6" y="66"/>
                    </a:lnTo>
                    <a:lnTo>
                      <a:pt x="6" y="84"/>
                    </a:lnTo>
                    <a:lnTo>
                      <a:pt x="6" y="90"/>
                    </a:lnTo>
                    <a:lnTo>
                      <a:pt x="6" y="96"/>
                    </a:lnTo>
                    <a:lnTo>
                      <a:pt x="6" y="114"/>
                    </a:lnTo>
                    <a:lnTo>
                      <a:pt x="0" y="132"/>
                    </a:lnTo>
                    <a:lnTo>
                      <a:pt x="6" y="144"/>
                    </a:lnTo>
                    <a:lnTo>
                      <a:pt x="18" y="150"/>
                    </a:lnTo>
                    <a:lnTo>
                      <a:pt x="30" y="150"/>
                    </a:lnTo>
                    <a:lnTo>
                      <a:pt x="36" y="156"/>
                    </a:lnTo>
                    <a:lnTo>
                      <a:pt x="42" y="156"/>
                    </a:lnTo>
                    <a:lnTo>
                      <a:pt x="36" y="144"/>
                    </a:lnTo>
                    <a:lnTo>
                      <a:pt x="18" y="126"/>
                    </a:lnTo>
                    <a:lnTo>
                      <a:pt x="12" y="120"/>
                    </a:lnTo>
                    <a:lnTo>
                      <a:pt x="12" y="114"/>
                    </a:lnTo>
                    <a:lnTo>
                      <a:pt x="12" y="102"/>
                    </a:lnTo>
                    <a:lnTo>
                      <a:pt x="18" y="66"/>
                    </a:lnTo>
                    <a:lnTo>
                      <a:pt x="24" y="66"/>
                    </a:lnTo>
                    <a:lnTo>
                      <a:pt x="24" y="72"/>
                    </a:lnTo>
                    <a:lnTo>
                      <a:pt x="30" y="84"/>
                    </a:lnTo>
                    <a:lnTo>
                      <a:pt x="36" y="90"/>
                    </a:lnTo>
                    <a:lnTo>
                      <a:pt x="36" y="78"/>
                    </a:lnTo>
                    <a:lnTo>
                      <a:pt x="36" y="72"/>
                    </a:lnTo>
                    <a:lnTo>
                      <a:pt x="36" y="66"/>
                    </a:lnTo>
                    <a:lnTo>
                      <a:pt x="42" y="66"/>
                    </a:lnTo>
                    <a:lnTo>
                      <a:pt x="48" y="60"/>
                    </a:lnTo>
                    <a:lnTo>
                      <a:pt x="54" y="60"/>
                    </a:lnTo>
                    <a:lnTo>
                      <a:pt x="60" y="66"/>
                    </a:lnTo>
                    <a:lnTo>
                      <a:pt x="60" y="60"/>
                    </a:lnTo>
                    <a:lnTo>
                      <a:pt x="60" y="48"/>
                    </a:lnTo>
                    <a:lnTo>
                      <a:pt x="60" y="42"/>
                    </a:lnTo>
                    <a:lnTo>
                      <a:pt x="54" y="36"/>
                    </a:lnTo>
                    <a:lnTo>
                      <a:pt x="48" y="24"/>
                    </a:lnTo>
                    <a:lnTo>
                      <a:pt x="42" y="24"/>
                    </a:lnTo>
                    <a:lnTo>
                      <a:pt x="36" y="24"/>
                    </a:lnTo>
                    <a:lnTo>
                      <a:pt x="30" y="30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79" name="Freeform 104"/>
              <p:cNvSpPr>
                <a:spLocks/>
              </p:cNvSpPr>
              <p:nvPr/>
            </p:nvSpPr>
            <p:spPr bwMode="auto">
              <a:xfrm>
                <a:off x="2202" y="1248"/>
                <a:ext cx="60" cy="156"/>
              </a:xfrm>
              <a:custGeom>
                <a:avLst/>
                <a:gdLst>
                  <a:gd name="T0" fmla="*/ 18 w 60"/>
                  <a:gd name="T1" fmla="*/ 0 h 156"/>
                  <a:gd name="T2" fmla="*/ 12 w 60"/>
                  <a:gd name="T3" fmla="*/ 0 h 156"/>
                  <a:gd name="T4" fmla="*/ 6 w 60"/>
                  <a:gd name="T5" fmla="*/ 6 h 156"/>
                  <a:gd name="T6" fmla="*/ 6 w 60"/>
                  <a:gd name="T7" fmla="*/ 12 h 156"/>
                  <a:gd name="T8" fmla="*/ 6 w 60"/>
                  <a:gd name="T9" fmla="*/ 30 h 156"/>
                  <a:gd name="T10" fmla="*/ 0 w 60"/>
                  <a:gd name="T11" fmla="*/ 36 h 156"/>
                  <a:gd name="T12" fmla="*/ 6 w 60"/>
                  <a:gd name="T13" fmla="*/ 42 h 156"/>
                  <a:gd name="T14" fmla="*/ 6 w 60"/>
                  <a:gd name="T15" fmla="*/ 54 h 156"/>
                  <a:gd name="T16" fmla="*/ 6 w 60"/>
                  <a:gd name="T17" fmla="*/ 60 h 156"/>
                  <a:gd name="T18" fmla="*/ 6 w 60"/>
                  <a:gd name="T19" fmla="*/ 66 h 156"/>
                  <a:gd name="T20" fmla="*/ 6 w 60"/>
                  <a:gd name="T21" fmla="*/ 84 h 156"/>
                  <a:gd name="T22" fmla="*/ 6 w 60"/>
                  <a:gd name="T23" fmla="*/ 90 h 156"/>
                  <a:gd name="T24" fmla="*/ 6 w 60"/>
                  <a:gd name="T25" fmla="*/ 96 h 156"/>
                  <a:gd name="T26" fmla="*/ 6 w 60"/>
                  <a:gd name="T27" fmla="*/ 114 h 156"/>
                  <a:gd name="T28" fmla="*/ 0 w 60"/>
                  <a:gd name="T29" fmla="*/ 132 h 156"/>
                  <a:gd name="T30" fmla="*/ 6 w 60"/>
                  <a:gd name="T31" fmla="*/ 144 h 156"/>
                  <a:gd name="T32" fmla="*/ 18 w 60"/>
                  <a:gd name="T33" fmla="*/ 150 h 156"/>
                  <a:gd name="T34" fmla="*/ 30 w 60"/>
                  <a:gd name="T35" fmla="*/ 150 h 156"/>
                  <a:gd name="T36" fmla="*/ 36 w 60"/>
                  <a:gd name="T37" fmla="*/ 156 h 156"/>
                  <a:gd name="T38" fmla="*/ 42 w 60"/>
                  <a:gd name="T39" fmla="*/ 156 h 156"/>
                  <a:gd name="T40" fmla="*/ 36 w 60"/>
                  <a:gd name="T41" fmla="*/ 144 h 156"/>
                  <a:gd name="T42" fmla="*/ 18 w 60"/>
                  <a:gd name="T43" fmla="*/ 126 h 156"/>
                  <a:gd name="T44" fmla="*/ 12 w 60"/>
                  <a:gd name="T45" fmla="*/ 120 h 156"/>
                  <a:gd name="T46" fmla="*/ 12 w 60"/>
                  <a:gd name="T47" fmla="*/ 114 h 156"/>
                  <a:gd name="T48" fmla="*/ 12 w 60"/>
                  <a:gd name="T49" fmla="*/ 102 h 156"/>
                  <a:gd name="T50" fmla="*/ 18 w 60"/>
                  <a:gd name="T51" fmla="*/ 66 h 156"/>
                  <a:gd name="T52" fmla="*/ 24 w 60"/>
                  <a:gd name="T53" fmla="*/ 66 h 156"/>
                  <a:gd name="T54" fmla="*/ 24 w 60"/>
                  <a:gd name="T55" fmla="*/ 72 h 156"/>
                  <a:gd name="T56" fmla="*/ 30 w 60"/>
                  <a:gd name="T57" fmla="*/ 84 h 156"/>
                  <a:gd name="T58" fmla="*/ 36 w 60"/>
                  <a:gd name="T59" fmla="*/ 90 h 156"/>
                  <a:gd name="T60" fmla="*/ 36 w 60"/>
                  <a:gd name="T61" fmla="*/ 78 h 156"/>
                  <a:gd name="T62" fmla="*/ 36 w 60"/>
                  <a:gd name="T63" fmla="*/ 72 h 156"/>
                  <a:gd name="T64" fmla="*/ 36 w 60"/>
                  <a:gd name="T65" fmla="*/ 66 h 156"/>
                  <a:gd name="T66" fmla="*/ 42 w 60"/>
                  <a:gd name="T67" fmla="*/ 66 h 156"/>
                  <a:gd name="T68" fmla="*/ 48 w 60"/>
                  <a:gd name="T69" fmla="*/ 60 h 156"/>
                  <a:gd name="T70" fmla="*/ 54 w 60"/>
                  <a:gd name="T71" fmla="*/ 60 h 156"/>
                  <a:gd name="T72" fmla="*/ 60 w 60"/>
                  <a:gd name="T73" fmla="*/ 66 h 156"/>
                  <a:gd name="T74" fmla="*/ 60 w 60"/>
                  <a:gd name="T75" fmla="*/ 60 h 156"/>
                  <a:gd name="T76" fmla="*/ 60 w 60"/>
                  <a:gd name="T77" fmla="*/ 48 h 156"/>
                  <a:gd name="T78" fmla="*/ 60 w 60"/>
                  <a:gd name="T79" fmla="*/ 42 h 156"/>
                  <a:gd name="T80" fmla="*/ 54 w 60"/>
                  <a:gd name="T81" fmla="*/ 36 h 156"/>
                  <a:gd name="T82" fmla="*/ 48 w 60"/>
                  <a:gd name="T83" fmla="*/ 24 h 156"/>
                  <a:gd name="T84" fmla="*/ 42 w 60"/>
                  <a:gd name="T85" fmla="*/ 24 h 156"/>
                  <a:gd name="T86" fmla="*/ 36 w 60"/>
                  <a:gd name="T87" fmla="*/ 24 h 156"/>
                  <a:gd name="T88" fmla="*/ 30 w 60"/>
                  <a:gd name="T89" fmla="*/ 30 h 156"/>
                  <a:gd name="T90" fmla="*/ 30 w 60"/>
                  <a:gd name="T91" fmla="*/ 18 h 156"/>
                  <a:gd name="T92" fmla="*/ 30 w 60"/>
                  <a:gd name="T93" fmla="*/ 12 h 156"/>
                  <a:gd name="T94" fmla="*/ 30 w 60"/>
                  <a:gd name="T95" fmla="*/ 6 h 156"/>
                  <a:gd name="T96" fmla="*/ 24 w 60"/>
                  <a:gd name="T97" fmla="*/ 6 h 156"/>
                  <a:gd name="T98" fmla="*/ 18 w 60"/>
                  <a:gd name="T99" fmla="*/ 0 h 15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60" h="156">
                    <a:moveTo>
                      <a:pt x="18" y="0"/>
                    </a:moveTo>
                    <a:lnTo>
                      <a:pt x="12" y="0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30"/>
                    </a:lnTo>
                    <a:lnTo>
                      <a:pt x="0" y="36"/>
                    </a:lnTo>
                    <a:lnTo>
                      <a:pt x="6" y="42"/>
                    </a:lnTo>
                    <a:lnTo>
                      <a:pt x="6" y="54"/>
                    </a:lnTo>
                    <a:lnTo>
                      <a:pt x="6" y="60"/>
                    </a:lnTo>
                    <a:lnTo>
                      <a:pt x="6" y="66"/>
                    </a:lnTo>
                    <a:lnTo>
                      <a:pt x="6" y="84"/>
                    </a:lnTo>
                    <a:lnTo>
                      <a:pt x="6" y="90"/>
                    </a:lnTo>
                    <a:lnTo>
                      <a:pt x="6" y="96"/>
                    </a:lnTo>
                    <a:lnTo>
                      <a:pt x="6" y="114"/>
                    </a:lnTo>
                    <a:lnTo>
                      <a:pt x="0" y="132"/>
                    </a:lnTo>
                    <a:lnTo>
                      <a:pt x="6" y="144"/>
                    </a:lnTo>
                    <a:lnTo>
                      <a:pt x="18" y="150"/>
                    </a:lnTo>
                    <a:lnTo>
                      <a:pt x="30" y="150"/>
                    </a:lnTo>
                    <a:lnTo>
                      <a:pt x="36" y="156"/>
                    </a:lnTo>
                    <a:lnTo>
                      <a:pt x="42" y="156"/>
                    </a:lnTo>
                    <a:lnTo>
                      <a:pt x="36" y="144"/>
                    </a:lnTo>
                    <a:lnTo>
                      <a:pt x="18" y="126"/>
                    </a:lnTo>
                    <a:lnTo>
                      <a:pt x="12" y="120"/>
                    </a:lnTo>
                    <a:lnTo>
                      <a:pt x="12" y="114"/>
                    </a:lnTo>
                    <a:lnTo>
                      <a:pt x="12" y="102"/>
                    </a:lnTo>
                    <a:lnTo>
                      <a:pt x="18" y="66"/>
                    </a:lnTo>
                    <a:lnTo>
                      <a:pt x="24" y="66"/>
                    </a:lnTo>
                    <a:lnTo>
                      <a:pt x="24" y="72"/>
                    </a:lnTo>
                    <a:lnTo>
                      <a:pt x="30" y="84"/>
                    </a:lnTo>
                    <a:lnTo>
                      <a:pt x="36" y="90"/>
                    </a:lnTo>
                    <a:lnTo>
                      <a:pt x="36" y="78"/>
                    </a:lnTo>
                    <a:lnTo>
                      <a:pt x="36" y="72"/>
                    </a:lnTo>
                    <a:lnTo>
                      <a:pt x="36" y="66"/>
                    </a:lnTo>
                    <a:lnTo>
                      <a:pt x="42" y="66"/>
                    </a:lnTo>
                    <a:lnTo>
                      <a:pt x="48" y="60"/>
                    </a:lnTo>
                    <a:lnTo>
                      <a:pt x="54" y="60"/>
                    </a:lnTo>
                    <a:lnTo>
                      <a:pt x="60" y="66"/>
                    </a:lnTo>
                    <a:lnTo>
                      <a:pt x="60" y="60"/>
                    </a:lnTo>
                    <a:lnTo>
                      <a:pt x="60" y="48"/>
                    </a:lnTo>
                    <a:lnTo>
                      <a:pt x="60" y="42"/>
                    </a:lnTo>
                    <a:lnTo>
                      <a:pt x="54" y="36"/>
                    </a:lnTo>
                    <a:lnTo>
                      <a:pt x="48" y="24"/>
                    </a:lnTo>
                    <a:lnTo>
                      <a:pt x="42" y="24"/>
                    </a:lnTo>
                    <a:lnTo>
                      <a:pt x="36" y="24"/>
                    </a:lnTo>
                    <a:lnTo>
                      <a:pt x="30" y="30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69" name="Group 105"/>
            <p:cNvGrpSpPr>
              <a:grpSpLocks/>
            </p:cNvGrpSpPr>
            <p:nvPr/>
          </p:nvGrpSpPr>
          <p:grpSpPr bwMode="auto">
            <a:xfrm>
              <a:off x="2522557" y="2786109"/>
              <a:ext cx="111475" cy="40456"/>
              <a:chOff x="2106" y="1170"/>
              <a:chExt cx="54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1876" name="Freeform 106"/>
              <p:cNvSpPr>
                <a:spLocks/>
              </p:cNvSpPr>
              <p:nvPr/>
            </p:nvSpPr>
            <p:spPr bwMode="auto">
              <a:xfrm>
                <a:off x="2106" y="1170"/>
                <a:ext cx="54" cy="24"/>
              </a:xfrm>
              <a:custGeom>
                <a:avLst/>
                <a:gdLst>
                  <a:gd name="T0" fmla="*/ 42 w 54"/>
                  <a:gd name="T1" fmla="*/ 24 h 24"/>
                  <a:gd name="T2" fmla="*/ 24 w 54"/>
                  <a:gd name="T3" fmla="*/ 24 h 24"/>
                  <a:gd name="T4" fmla="*/ 18 w 54"/>
                  <a:gd name="T5" fmla="*/ 24 h 24"/>
                  <a:gd name="T6" fmla="*/ 6 w 54"/>
                  <a:gd name="T7" fmla="*/ 24 h 24"/>
                  <a:gd name="T8" fmla="*/ 0 w 54"/>
                  <a:gd name="T9" fmla="*/ 24 h 24"/>
                  <a:gd name="T10" fmla="*/ 0 w 54"/>
                  <a:gd name="T11" fmla="*/ 24 h 24"/>
                  <a:gd name="T12" fmla="*/ 0 w 54"/>
                  <a:gd name="T13" fmla="*/ 18 h 24"/>
                  <a:gd name="T14" fmla="*/ 0 w 54"/>
                  <a:gd name="T15" fmla="*/ 6 h 24"/>
                  <a:gd name="T16" fmla="*/ 6 w 54"/>
                  <a:gd name="T17" fmla="*/ 0 h 24"/>
                  <a:gd name="T18" fmla="*/ 18 w 54"/>
                  <a:gd name="T19" fmla="*/ 0 h 24"/>
                  <a:gd name="T20" fmla="*/ 24 w 54"/>
                  <a:gd name="T21" fmla="*/ 0 h 24"/>
                  <a:gd name="T22" fmla="*/ 42 w 54"/>
                  <a:gd name="T23" fmla="*/ 0 h 24"/>
                  <a:gd name="T24" fmla="*/ 48 w 54"/>
                  <a:gd name="T25" fmla="*/ 0 h 24"/>
                  <a:gd name="T26" fmla="*/ 54 w 54"/>
                  <a:gd name="T27" fmla="*/ 6 h 24"/>
                  <a:gd name="T28" fmla="*/ 42 w 54"/>
                  <a:gd name="T29" fmla="*/ 24 h 2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4" h="24">
                    <a:moveTo>
                      <a:pt x="42" y="24"/>
                    </a:moveTo>
                    <a:lnTo>
                      <a:pt x="24" y="24"/>
                    </a:lnTo>
                    <a:lnTo>
                      <a:pt x="18" y="24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54" y="6"/>
                    </a:lnTo>
                    <a:lnTo>
                      <a:pt x="4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77" name="Freeform 107"/>
              <p:cNvSpPr>
                <a:spLocks/>
              </p:cNvSpPr>
              <p:nvPr/>
            </p:nvSpPr>
            <p:spPr bwMode="auto">
              <a:xfrm>
                <a:off x="2106" y="1170"/>
                <a:ext cx="54" cy="24"/>
              </a:xfrm>
              <a:custGeom>
                <a:avLst/>
                <a:gdLst>
                  <a:gd name="T0" fmla="*/ 42 w 54"/>
                  <a:gd name="T1" fmla="*/ 24 h 24"/>
                  <a:gd name="T2" fmla="*/ 24 w 54"/>
                  <a:gd name="T3" fmla="*/ 24 h 24"/>
                  <a:gd name="T4" fmla="*/ 18 w 54"/>
                  <a:gd name="T5" fmla="*/ 24 h 24"/>
                  <a:gd name="T6" fmla="*/ 6 w 54"/>
                  <a:gd name="T7" fmla="*/ 24 h 24"/>
                  <a:gd name="T8" fmla="*/ 0 w 54"/>
                  <a:gd name="T9" fmla="*/ 24 h 24"/>
                  <a:gd name="T10" fmla="*/ 0 w 54"/>
                  <a:gd name="T11" fmla="*/ 18 h 24"/>
                  <a:gd name="T12" fmla="*/ 0 w 54"/>
                  <a:gd name="T13" fmla="*/ 6 h 24"/>
                  <a:gd name="T14" fmla="*/ 6 w 54"/>
                  <a:gd name="T15" fmla="*/ 0 h 24"/>
                  <a:gd name="T16" fmla="*/ 18 w 54"/>
                  <a:gd name="T17" fmla="*/ 0 h 24"/>
                  <a:gd name="T18" fmla="*/ 24 w 54"/>
                  <a:gd name="T19" fmla="*/ 0 h 24"/>
                  <a:gd name="T20" fmla="*/ 42 w 54"/>
                  <a:gd name="T21" fmla="*/ 0 h 24"/>
                  <a:gd name="T22" fmla="*/ 48 w 54"/>
                  <a:gd name="T23" fmla="*/ 0 h 24"/>
                  <a:gd name="T24" fmla="*/ 54 w 54"/>
                  <a:gd name="T25" fmla="*/ 6 h 24"/>
                  <a:gd name="T26" fmla="*/ 42 w 54"/>
                  <a:gd name="T27" fmla="*/ 24 h 2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4" h="24">
                    <a:moveTo>
                      <a:pt x="42" y="24"/>
                    </a:moveTo>
                    <a:lnTo>
                      <a:pt x="24" y="24"/>
                    </a:lnTo>
                    <a:lnTo>
                      <a:pt x="18" y="24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54" y="6"/>
                    </a:lnTo>
                    <a:lnTo>
                      <a:pt x="4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70" name="Group 108"/>
            <p:cNvGrpSpPr>
              <a:grpSpLocks/>
            </p:cNvGrpSpPr>
            <p:nvPr/>
          </p:nvGrpSpPr>
          <p:grpSpPr bwMode="auto">
            <a:xfrm>
              <a:off x="2364954" y="2753744"/>
              <a:ext cx="147993" cy="62707"/>
              <a:chOff x="2028" y="1152"/>
              <a:chExt cx="72" cy="36"/>
            </a:xfrm>
            <a:solidFill>
              <a:srgbClr val="0070C0">
                <a:alpha val="27059"/>
              </a:srgbClr>
            </a:solidFill>
          </p:grpSpPr>
          <p:sp>
            <p:nvSpPr>
              <p:cNvPr id="1874" name="Freeform 109"/>
              <p:cNvSpPr>
                <a:spLocks/>
              </p:cNvSpPr>
              <p:nvPr/>
            </p:nvSpPr>
            <p:spPr bwMode="auto">
              <a:xfrm>
                <a:off x="2028" y="1152"/>
                <a:ext cx="72" cy="36"/>
              </a:xfrm>
              <a:custGeom>
                <a:avLst/>
                <a:gdLst>
                  <a:gd name="T0" fmla="*/ 6 w 72"/>
                  <a:gd name="T1" fmla="*/ 0 h 36"/>
                  <a:gd name="T2" fmla="*/ 0 w 72"/>
                  <a:gd name="T3" fmla="*/ 0 h 36"/>
                  <a:gd name="T4" fmla="*/ 0 w 72"/>
                  <a:gd name="T5" fmla="*/ 6 h 36"/>
                  <a:gd name="T6" fmla="*/ 6 w 72"/>
                  <a:gd name="T7" fmla="*/ 12 h 36"/>
                  <a:gd name="T8" fmla="*/ 12 w 72"/>
                  <a:gd name="T9" fmla="*/ 18 h 36"/>
                  <a:gd name="T10" fmla="*/ 12 w 72"/>
                  <a:gd name="T11" fmla="*/ 24 h 36"/>
                  <a:gd name="T12" fmla="*/ 24 w 72"/>
                  <a:gd name="T13" fmla="*/ 24 h 36"/>
                  <a:gd name="T14" fmla="*/ 42 w 72"/>
                  <a:gd name="T15" fmla="*/ 30 h 36"/>
                  <a:gd name="T16" fmla="*/ 72 w 72"/>
                  <a:gd name="T17" fmla="*/ 36 h 36"/>
                  <a:gd name="T18" fmla="*/ 72 w 72"/>
                  <a:gd name="T19" fmla="*/ 24 h 36"/>
                  <a:gd name="T20" fmla="*/ 60 w 72"/>
                  <a:gd name="T21" fmla="*/ 24 h 36"/>
                  <a:gd name="T22" fmla="*/ 24 w 72"/>
                  <a:gd name="T23" fmla="*/ 12 h 36"/>
                  <a:gd name="T24" fmla="*/ 18 w 72"/>
                  <a:gd name="T25" fmla="*/ 6 h 36"/>
                  <a:gd name="T26" fmla="*/ 6 w 72"/>
                  <a:gd name="T27" fmla="*/ 0 h 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72" h="36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24" y="24"/>
                    </a:lnTo>
                    <a:lnTo>
                      <a:pt x="42" y="30"/>
                    </a:lnTo>
                    <a:lnTo>
                      <a:pt x="72" y="36"/>
                    </a:lnTo>
                    <a:lnTo>
                      <a:pt x="72" y="24"/>
                    </a:lnTo>
                    <a:lnTo>
                      <a:pt x="60" y="24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75" name="Freeform 110"/>
              <p:cNvSpPr>
                <a:spLocks/>
              </p:cNvSpPr>
              <p:nvPr/>
            </p:nvSpPr>
            <p:spPr bwMode="auto">
              <a:xfrm>
                <a:off x="2028" y="1152"/>
                <a:ext cx="72" cy="36"/>
              </a:xfrm>
              <a:custGeom>
                <a:avLst/>
                <a:gdLst>
                  <a:gd name="T0" fmla="*/ 6 w 72"/>
                  <a:gd name="T1" fmla="*/ 0 h 36"/>
                  <a:gd name="T2" fmla="*/ 0 w 72"/>
                  <a:gd name="T3" fmla="*/ 0 h 36"/>
                  <a:gd name="T4" fmla="*/ 0 w 72"/>
                  <a:gd name="T5" fmla="*/ 6 h 36"/>
                  <a:gd name="T6" fmla="*/ 6 w 72"/>
                  <a:gd name="T7" fmla="*/ 12 h 36"/>
                  <a:gd name="T8" fmla="*/ 12 w 72"/>
                  <a:gd name="T9" fmla="*/ 18 h 36"/>
                  <a:gd name="T10" fmla="*/ 12 w 72"/>
                  <a:gd name="T11" fmla="*/ 24 h 36"/>
                  <a:gd name="T12" fmla="*/ 24 w 72"/>
                  <a:gd name="T13" fmla="*/ 24 h 36"/>
                  <a:gd name="T14" fmla="*/ 42 w 72"/>
                  <a:gd name="T15" fmla="*/ 30 h 36"/>
                  <a:gd name="T16" fmla="*/ 72 w 72"/>
                  <a:gd name="T17" fmla="*/ 36 h 36"/>
                  <a:gd name="T18" fmla="*/ 72 w 72"/>
                  <a:gd name="T19" fmla="*/ 24 h 36"/>
                  <a:gd name="T20" fmla="*/ 60 w 72"/>
                  <a:gd name="T21" fmla="*/ 24 h 36"/>
                  <a:gd name="T22" fmla="*/ 24 w 72"/>
                  <a:gd name="T23" fmla="*/ 12 h 36"/>
                  <a:gd name="T24" fmla="*/ 18 w 72"/>
                  <a:gd name="T25" fmla="*/ 6 h 36"/>
                  <a:gd name="T26" fmla="*/ 6 w 72"/>
                  <a:gd name="T27" fmla="*/ 0 h 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72" h="36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24" y="24"/>
                    </a:lnTo>
                    <a:lnTo>
                      <a:pt x="42" y="30"/>
                    </a:lnTo>
                    <a:lnTo>
                      <a:pt x="72" y="36"/>
                    </a:lnTo>
                    <a:lnTo>
                      <a:pt x="72" y="24"/>
                    </a:lnTo>
                    <a:lnTo>
                      <a:pt x="60" y="24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71" name="Group 111"/>
            <p:cNvGrpSpPr>
              <a:grpSpLocks/>
            </p:cNvGrpSpPr>
            <p:nvPr/>
          </p:nvGrpSpPr>
          <p:grpSpPr bwMode="auto">
            <a:xfrm>
              <a:off x="2120862" y="2650581"/>
              <a:ext cx="586206" cy="483451"/>
              <a:chOff x="1908" y="1092"/>
              <a:chExt cx="288" cy="282"/>
            </a:xfrm>
            <a:solidFill>
              <a:srgbClr val="0070C0">
                <a:alpha val="27059"/>
              </a:srgbClr>
            </a:solidFill>
          </p:grpSpPr>
          <p:sp>
            <p:nvSpPr>
              <p:cNvPr id="1872" name="Freeform 112"/>
              <p:cNvSpPr>
                <a:spLocks/>
              </p:cNvSpPr>
              <p:nvPr/>
            </p:nvSpPr>
            <p:spPr bwMode="auto">
              <a:xfrm>
                <a:off x="1908" y="1092"/>
                <a:ext cx="288" cy="282"/>
              </a:xfrm>
              <a:custGeom>
                <a:avLst/>
                <a:gdLst>
                  <a:gd name="T0" fmla="*/ 198 w 288"/>
                  <a:gd name="T1" fmla="*/ 96 h 282"/>
                  <a:gd name="T2" fmla="*/ 198 w 288"/>
                  <a:gd name="T3" fmla="*/ 84 h 282"/>
                  <a:gd name="T4" fmla="*/ 192 w 288"/>
                  <a:gd name="T5" fmla="*/ 96 h 282"/>
                  <a:gd name="T6" fmla="*/ 144 w 288"/>
                  <a:gd name="T7" fmla="*/ 84 h 282"/>
                  <a:gd name="T8" fmla="*/ 126 w 288"/>
                  <a:gd name="T9" fmla="*/ 72 h 282"/>
                  <a:gd name="T10" fmla="*/ 126 w 288"/>
                  <a:gd name="T11" fmla="*/ 60 h 282"/>
                  <a:gd name="T12" fmla="*/ 126 w 288"/>
                  <a:gd name="T13" fmla="*/ 36 h 282"/>
                  <a:gd name="T14" fmla="*/ 126 w 288"/>
                  <a:gd name="T15" fmla="*/ 18 h 282"/>
                  <a:gd name="T16" fmla="*/ 126 w 288"/>
                  <a:gd name="T17" fmla="*/ 6 h 282"/>
                  <a:gd name="T18" fmla="*/ 108 w 288"/>
                  <a:gd name="T19" fmla="*/ 0 h 282"/>
                  <a:gd name="T20" fmla="*/ 102 w 288"/>
                  <a:gd name="T21" fmla="*/ 12 h 282"/>
                  <a:gd name="T22" fmla="*/ 84 w 288"/>
                  <a:gd name="T23" fmla="*/ 12 h 282"/>
                  <a:gd name="T24" fmla="*/ 90 w 288"/>
                  <a:gd name="T25" fmla="*/ 18 h 282"/>
                  <a:gd name="T26" fmla="*/ 96 w 288"/>
                  <a:gd name="T27" fmla="*/ 24 h 282"/>
                  <a:gd name="T28" fmla="*/ 78 w 288"/>
                  <a:gd name="T29" fmla="*/ 30 h 282"/>
                  <a:gd name="T30" fmla="*/ 72 w 288"/>
                  <a:gd name="T31" fmla="*/ 42 h 282"/>
                  <a:gd name="T32" fmla="*/ 60 w 288"/>
                  <a:gd name="T33" fmla="*/ 54 h 282"/>
                  <a:gd name="T34" fmla="*/ 36 w 288"/>
                  <a:gd name="T35" fmla="*/ 72 h 282"/>
                  <a:gd name="T36" fmla="*/ 30 w 288"/>
                  <a:gd name="T37" fmla="*/ 90 h 282"/>
                  <a:gd name="T38" fmla="*/ 30 w 288"/>
                  <a:gd name="T39" fmla="*/ 108 h 282"/>
                  <a:gd name="T40" fmla="*/ 12 w 288"/>
                  <a:gd name="T41" fmla="*/ 108 h 282"/>
                  <a:gd name="T42" fmla="*/ 6 w 288"/>
                  <a:gd name="T43" fmla="*/ 126 h 282"/>
                  <a:gd name="T44" fmla="*/ 30 w 288"/>
                  <a:gd name="T45" fmla="*/ 126 h 282"/>
                  <a:gd name="T46" fmla="*/ 18 w 288"/>
                  <a:gd name="T47" fmla="*/ 138 h 282"/>
                  <a:gd name="T48" fmla="*/ 18 w 288"/>
                  <a:gd name="T49" fmla="*/ 156 h 282"/>
                  <a:gd name="T50" fmla="*/ 36 w 288"/>
                  <a:gd name="T51" fmla="*/ 156 h 282"/>
                  <a:gd name="T52" fmla="*/ 42 w 288"/>
                  <a:gd name="T53" fmla="*/ 144 h 282"/>
                  <a:gd name="T54" fmla="*/ 42 w 288"/>
                  <a:gd name="T55" fmla="*/ 156 h 282"/>
                  <a:gd name="T56" fmla="*/ 48 w 288"/>
                  <a:gd name="T57" fmla="*/ 192 h 282"/>
                  <a:gd name="T58" fmla="*/ 72 w 288"/>
                  <a:gd name="T59" fmla="*/ 252 h 282"/>
                  <a:gd name="T60" fmla="*/ 84 w 288"/>
                  <a:gd name="T61" fmla="*/ 276 h 282"/>
                  <a:gd name="T62" fmla="*/ 102 w 288"/>
                  <a:gd name="T63" fmla="*/ 276 h 282"/>
                  <a:gd name="T64" fmla="*/ 108 w 288"/>
                  <a:gd name="T65" fmla="*/ 270 h 282"/>
                  <a:gd name="T66" fmla="*/ 114 w 288"/>
                  <a:gd name="T67" fmla="*/ 258 h 282"/>
                  <a:gd name="T68" fmla="*/ 120 w 288"/>
                  <a:gd name="T69" fmla="*/ 240 h 282"/>
                  <a:gd name="T70" fmla="*/ 120 w 288"/>
                  <a:gd name="T71" fmla="*/ 216 h 282"/>
                  <a:gd name="T72" fmla="*/ 132 w 288"/>
                  <a:gd name="T73" fmla="*/ 204 h 282"/>
                  <a:gd name="T74" fmla="*/ 168 w 288"/>
                  <a:gd name="T75" fmla="*/ 174 h 282"/>
                  <a:gd name="T76" fmla="*/ 186 w 288"/>
                  <a:gd name="T77" fmla="*/ 150 h 282"/>
                  <a:gd name="T78" fmla="*/ 198 w 288"/>
                  <a:gd name="T79" fmla="*/ 144 h 282"/>
                  <a:gd name="T80" fmla="*/ 204 w 288"/>
                  <a:gd name="T81" fmla="*/ 132 h 282"/>
                  <a:gd name="T82" fmla="*/ 198 w 288"/>
                  <a:gd name="T83" fmla="*/ 120 h 282"/>
                  <a:gd name="T84" fmla="*/ 210 w 288"/>
                  <a:gd name="T85" fmla="*/ 114 h 282"/>
                  <a:gd name="T86" fmla="*/ 222 w 288"/>
                  <a:gd name="T87" fmla="*/ 114 h 282"/>
                  <a:gd name="T88" fmla="*/ 228 w 288"/>
                  <a:gd name="T89" fmla="*/ 132 h 282"/>
                  <a:gd name="T90" fmla="*/ 234 w 288"/>
                  <a:gd name="T91" fmla="*/ 120 h 282"/>
                  <a:gd name="T92" fmla="*/ 240 w 288"/>
                  <a:gd name="T93" fmla="*/ 138 h 282"/>
                  <a:gd name="T94" fmla="*/ 246 w 288"/>
                  <a:gd name="T95" fmla="*/ 138 h 282"/>
                  <a:gd name="T96" fmla="*/ 240 w 288"/>
                  <a:gd name="T97" fmla="*/ 126 h 282"/>
                  <a:gd name="T98" fmla="*/ 258 w 288"/>
                  <a:gd name="T99" fmla="*/ 126 h 282"/>
                  <a:gd name="T100" fmla="*/ 264 w 288"/>
                  <a:gd name="T101" fmla="*/ 102 h 282"/>
                  <a:gd name="T102" fmla="*/ 276 w 288"/>
                  <a:gd name="T103" fmla="*/ 96 h 282"/>
                  <a:gd name="T104" fmla="*/ 288 w 288"/>
                  <a:gd name="T105" fmla="*/ 78 h 282"/>
                  <a:gd name="T106" fmla="*/ 252 w 288"/>
                  <a:gd name="T107" fmla="*/ 84 h 282"/>
                  <a:gd name="T108" fmla="*/ 222 w 288"/>
                  <a:gd name="T109" fmla="*/ 102 h 2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288" h="282">
                    <a:moveTo>
                      <a:pt x="198" y="102"/>
                    </a:moveTo>
                    <a:lnTo>
                      <a:pt x="198" y="102"/>
                    </a:lnTo>
                    <a:lnTo>
                      <a:pt x="198" y="96"/>
                    </a:lnTo>
                    <a:lnTo>
                      <a:pt x="198" y="84"/>
                    </a:lnTo>
                    <a:lnTo>
                      <a:pt x="192" y="84"/>
                    </a:lnTo>
                    <a:lnTo>
                      <a:pt x="192" y="96"/>
                    </a:lnTo>
                    <a:lnTo>
                      <a:pt x="174" y="96"/>
                    </a:lnTo>
                    <a:lnTo>
                      <a:pt x="144" y="84"/>
                    </a:lnTo>
                    <a:lnTo>
                      <a:pt x="138" y="84"/>
                    </a:lnTo>
                    <a:lnTo>
                      <a:pt x="132" y="78"/>
                    </a:lnTo>
                    <a:lnTo>
                      <a:pt x="126" y="72"/>
                    </a:lnTo>
                    <a:lnTo>
                      <a:pt x="120" y="66"/>
                    </a:lnTo>
                    <a:lnTo>
                      <a:pt x="120" y="60"/>
                    </a:lnTo>
                    <a:lnTo>
                      <a:pt x="126" y="60"/>
                    </a:lnTo>
                    <a:lnTo>
                      <a:pt x="120" y="48"/>
                    </a:lnTo>
                    <a:lnTo>
                      <a:pt x="120" y="36"/>
                    </a:lnTo>
                    <a:lnTo>
                      <a:pt x="126" y="36"/>
                    </a:lnTo>
                    <a:lnTo>
                      <a:pt x="126" y="30"/>
                    </a:lnTo>
                    <a:lnTo>
                      <a:pt x="132" y="30"/>
                    </a:lnTo>
                    <a:lnTo>
                      <a:pt x="126" y="18"/>
                    </a:lnTo>
                    <a:lnTo>
                      <a:pt x="132" y="18"/>
                    </a:lnTo>
                    <a:lnTo>
                      <a:pt x="126" y="12"/>
                    </a:lnTo>
                    <a:lnTo>
                      <a:pt x="126" y="6"/>
                    </a:lnTo>
                    <a:lnTo>
                      <a:pt x="126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108" y="6"/>
                    </a:lnTo>
                    <a:lnTo>
                      <a:pt x="102" y="12"/>
                    </a:lnTo>
                    <a:lnTo>
                      <a:pt x="96" y="12"/>
                    </a:lnTo>
                    <a:lnTo>
                      <a:pt x="90" y="12"/>
                    </a:lnTo>
                    <a:lnTo>
                      <a:pt x="84" y="12"/>
                    </a:lnTo>
                    <a:lnTo>
                      <a:pt x="78" y="18"/>
                    </a:lnTo>
                    <a:lnTo>
                      <a:pt x="84" y="18"/>
                    </a:lnTo>
                    <a:lnTo>
                      <a:pt x="90" y="18"/>
                    </a:lnTo>
                    <a:lnTo>
                      <a:pt x="96" y="24"/>
                    </a:lnTo>
                    <a:lnTo>
                      <a:pt x="90" y="24"/>
                    </a:lnTo>
                    <a:lnTo>
                      <a:pt x="84" y="24"/>
                    </a:lnTo>
                    <a:lnTo>
                      <a:pt x="78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42"/>
                    </a:lnTo>
                    <a:lnTo>
                      <a:pt x="66" y="42"/>
                    </a:lnTo>
                    <a:lnTo>
                      <a:pt x="66" y="48"/>
                    </a:lnTo>
                    <a:lnTo>
                      <a:pt x="60" y="54"/>
                    </a:lnTo>
                    <a:lnTo>
                      <a:pt x="48" y="60"/>
                    </a:lnTo>
                    <a:lnTo>
                      <a:pt x="42" y="66"/>
                    </a:lnTo>
                    <a:lnTo>
                      <a:pt x="36" y="72"/>
                    </a:lnTo>
                    <a:lnTo>
                      <a:pt x="30" y="78"/>
                    </a:lnTo>
                    <a:lnTo>
                      <a:pt x="30" y="84"/>
                    </a:lnTo>
                    <a:lnTo>
                      <a:pt x="30" y="90"/>
                    </a:lnTo>
                    <a:lnTo>
                      <a:pt x="36" y="96"/>
                    </a:lnTo>
                    <a:lnTo>
                      <a:pt x="36" y="108"/>
                    </a:lnTo>
                    <a:lnTo>
                      <a:pt x="30" y="108"/>
                    </a:lnTo>
                    <a:lnTo>
                      <a:pt x="18" y="108"/>
                    </a:lnTo>
                    <a:lnTo>
                      <a:pt x="12" y="108"/>
                    </a:lnTo>
                    <a:lnTo>
                      <a:pt x="0" y="126"/>
                    </a:lnTo>
                    <a:lnTo>
                      <a:pt x="6" y="126"/>
                    </a:lnTo>
                    <a:lnTo>
                      <a:pt x="18" y="126"/>
                    </a:lnTo>
                    <a:lnTo>
                      <a:pt x="24" y="126"/>
                    </a:lnTo>
                    <a:lnTo>
                      <a:pt x="30" y="126"/>
                    </a:lnTo>
                    <a:lnTo>
                      <a:pt x="24" y="132"/>
                    </a:lnTo>
                    <a:lnTo>
                      <a:pt x="18" y="138"/>
                    </a:lnTo>
                    <a:lnTo>
                      <a:pt x="12" y="144"/>
                    </a:lnTo>
                    <a:lnTo>
                      <a:pt x="12" y="150"/>
                    </a:lnTo>
                    <a:lnTo>
                      <a:pt x="18" y="156"/>
                    </a:lnTo>
                    <a:lnTo>
                      <a:pt x="30" y="162"/>
                    </a:lnTo>
                    <a:lnTo>
                      <a:pt x="36" y="162"/>
                    </a:lnTo>
                    <a:lnTo>
                      <a:pt x="36" y="156"/>
                    </a:lnTo>
                    <a:lnTo>
                      <a:pt x="42" y="150"/>
                    </a:lnTo>
                    <a:lnTo>
                      <a:pt x="42" y="144"/>
                    </a:lnTo>
                    <a:lnTo>
                      <a:pt x="42" y="150"/>
                    </a:lnTo>
                    <a:lnTo>
                      <a:pt x="42" y="156"/>
                    </a:lnTo>
                    <a:lnTo>
                      <a:pt x="42" y="162"/>
                    </a:lnTo>
                    <a:lnTo>
                      <a:pt x="42" y="168"/>
                    </a:lnTo>
                    <a:lnTo>
                      <a:pt x="48" y="192"/>
                    </a:lnTo>
                    <a:lnTo>
                      <a:pt x="60" y="228"/>
                    </a:lnTo>
                    <a:lnTo>
                      <a:pt x="72" y="252"/>
                    </a:lnTo>
                    <a:lnTo>
                      <a:pt x="78" y="264"/>
                    </a:lnTo>
                    <a:lnTo>
                      <a:pt x="84" y="270"/>
                    </a:lnTo>
                    <a:lnTo>
                      <a:pt x="84" y="276"/>
                    </a:lnTo>
                    <a:lnTo>
                      <a:pt x="90" y="276"/>
                    </a:lnTo>
                    <a:lnTo>
                      <a:pt x="96" y="282"/>
                    </a:lnTo>
                    <a:lnTo>
                      <a:pt x="102" y="276"/>
                    </a:lnTo>
                    <a:lnTo>
                      <a:pt x="102" y="270"/>
                    </a:lnTo>
                    <a:lnTo>
                      <a:pt x="108" y="270"/>
                    </a:lnTo>
                    <a:lnTo>
                      <a:pt x="108" y="264"/>
                    </a:lnTo>
                    <a:lnTo>
                      <a:pt x="114" y="264"/>
                    </a:lnTo>
                    <a:lnTo>
                      <a:pt x="114" y="258"/>
                    </a:lnTo>
                    <a:lnTo>
                      <a:pt x="120" y="258"/>
                    </a:lnTo>
                    <a:lnTo>
                      <a:pt x="120" y="246"/>
                    </a:lnTo>
                    <a:lnTo>
                      <a:pt x="120" y="240"/>
                    </a:lnTo>
                    <a:lnTo>
                      <a:pt x="120" y="228"/>
                    </a:lnTo>
                    <a:lnTo>
                      <a:pt x="120" y="222"/>
                    </a:lnTo>
                    <a:lnTo>
                      <a:pt x="120" y="216"/>
                    </a:lnTo>
                    <a:lnTo>
                      <a:pt x="120" y="210"/>
                    </a:lnTo>
                    <a:lnTo>
                      <a:pt x="126" y="210"/>
                    </a:lnTo>
                    <a:lnTo>
                      <a:pt x="132" y="204"/>
                    </a:lnTo>
                    <a:lnTo>
                      <a:pt x="138" y="198"/>
                    </a:lnTo>
                    <a:lnTo>
                      <a:pt x="156" y="186"/>
                    </a:lnTo>
                    <a:lnTo>
                      <a:pt x="168" y="174"/>
                    </a:lnTo>
                    <a:lnTo>
                      <a:pt x="180" y="168"/>
                    </a:lnTo>
                    <a:lnTo>
                      <a:pt x="186" y="162"/>
                    </a:lnTo>
                    <a:lnTo>
                      <a:pt x="186" y="150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98" y="144"/>
                    </a:lnTo>
                    <a:lnTo>
                      <a:pt x="204" y="144"/>
                    </a:lnTo>
                    <a:lnTo>
                      <a:pt x="204" y="138"/>
                    </a:lnTo>
                    <a:lnTo>
                      <a:pt x="204" y="132"/>
                    </a:lnTo>
                    <a:lnTo>
                      <a:pt x="198" y="126"/>
                    </a:lnTo>
                    <a:lnTo>
                      <a:pt x="198" y="120"/>
                    </a:lnTo>
                    <a:lnTo>
                      <a:pt x="204" y="114"/>
                    </a:lnTo>
                    <a:lnTo>
                      <a:pt x="210" y="114"/>
                    </a:lnTo>
                    <a:lnTo>
                      <a:pt x="216" y="114"/>
                    </a:lnTo>
                    <a:lnTo>
                      <a:pt x="222" y="114"/>
                    </a:lnTo>
                    <a:lnTo>
                      <a:pt x="222" y="120"/>
                    </a:lnTo>
                    <a:lnTo>
                      <a:pt x="228" y="132"/>
                    </a:lnTo>
                    <a:lnTo>
                      <a:pt x="228" y="126"/>
                    </a:lnTo>
                    <a:lnTo>
                      <a:pt x="234" y="120"/>
                    </a:lnTo>
                    <a:lnTo>
                      <a:pt x="234" y="126"/>
                    </a:lnTo>
                    <a:lnTo>
                      <a:pt x="240" y="138"/>
                    </a:lnTo>
                    <a:lnTo>
                      <a:pt x="246" y="138"/>
                    </a:lnTo>
                    <a:lnTo>
                      <a:pt x="240" y="126"/>
                    </a:lnTo>
                    <a:lnTo>
                      <a:pt x="246" y="126"/>
                    </a:lnTo>
                    <a:lnTo>
                      <a:pt x="252" y="126"/>
                    </a:lnTo>
                    <a:lnTo>
                      <a:pt x="258" y="126"/>
                    </a:lnTo>
                    <a:lnTo>
                      <a:pt x="258" y="114"/>
                    </a:lnTo>
                    <a:lnTo>
                      <a:pt x="264" y="108"/>
                    </a:lnTo>
                    <a:lnTo>
                      <a:pt x="264" y="102"/>
                    </a:lnTo>
                    <a:lnTo>
                      <a:pt x="270" y="102"/>
                    </a:lnTo>
                    <a:lnTo>
                      <a:pt x="276" y="102"/>
                    </a:lnTo>
                    <a:lnTo>
                      <a:pt x="276" y="96"/>
                    </a:lnTo>
                    <a:lnTo>
                      <a:pt x="282" y="90"/>
                    </a:lnTo>
                    <a:lnTo>
                      <a:pt x="288" y="84"/>
                    </a:lnTo>
                    <a:lnTo>
                      <a:pt x="288" y="78"/>
                    </a:lnTo>
                    <a:lnTo>
                      <a:pt x="282" y="78"/>
                    </a:lnTo>
                    <a:lnTo>
                      <a:pt x="258" y="84"/>
                    </a:lnTo>
                    <a:lnTo>
                      <a:pt x="252" y="84"/>
                    </a:lnTo>
                    <a:lnTo>
                      <a:pt x="240" y="102"/>
                    </a:lnTo>
                    <a:lnTo>
                      <a:pt x="234" y="102"/>
                    </a:lnTo>
                    <a:lnTo>
                      <a:pt x="222" y="102"/>
                    </a:lnTo>
                    <a:lnTo>
                      <a:pt x="210" y="102"/>
                    </a:lnTo>
                    <a:lnTo>
                      <a:pt x="198" y="10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73" name="Freeform 113"/>
              <p:cNvSpPr>
                <a:spLocks/>
              </p:cNvSpPr>
              <p:nvPr/>
            </p:nvSpPr>
            <p:spPr bwMode="auto">
              <a:xfrm>
                <a:off x="1908" y="1092"/>
                <a:ext cx="288" cy="282"/>
              </a:xfrm>
              <a:custGeom>
                <a:avLst/>
                <a:gdLst>
                  <a:gd name="T0" fmla="*/ 198 w 288"/>
                  <a:gd name="T1" fmla="*/ 84 h 282"/>
                  <a:gd name="T2" fmla="*/ 174 w 288"/>
                  <a:gd name="T3" fmla="*/ 96 h 282"/>
                  <a:gd name="T4" fmla="*/ 132 w 288"/>
                  <a:gd name="T5" fmla="*/ 78 h 282"/>
                  <a:gd name="T6" fmla="*/ 120 w 288"/>
                  <a:gd name="T7" fmla="*/ 60 h 282"/>
                  <a:gd name="T8" fmla="*/ 120 w 288"/>
                  <a:gd name="T9" fmla="*/ 36 h 282"/>
                  <a:gd name="T10" fmla="*/ 132 w 288"/>
                  <a:gd name="T11" fmla="*/ 30 h 282"/>
                  <a:gd name="T12" fmla="*/ 126 w 288"/>
                  <a:gd name="T13" fmla="*/ 12 h 282"/>
                  <a:gd name="T14" fmla="*/ 120 w 288"/>
                  <a:gd name="T15" fmla="*/ 0 h 282"/>
                  <a:gd name="T16" fmla="*/ 102 w 288"/>
                  <a:gd name="T17" fmla="*/ 12 h 282"/>
                  <a:gd name="T18" fmla="*/ 84 w 288"/>
                  <a:gd name="T19" fmla="*/ 12 h 282"/>
                  <a:gd name="T20" fmla="*/ 90 w 288"/>
                  <a:gd name="T21" fmla="*/ 18 h 282"/>
                  <a:gd name="T22" fmla="*/ 84 w 288"/>
                  <a:gd name="T23" fmla="*/ 24 h 282"/>
                  <a:gd name="T24" fmla="*/ 72 w 288"/>
                  <a:gd name="T25" fmla="*/ 36 h 282"/>
                  <a:gd name="T26" fmla="*/ 66 w 288"/>
                  <a:gd name="T27" fmla="*/ 48 h 282"/>
                  <a:gd name="T28" fmla="*/ 42 w 288"/>
                  <a:gd name="T29" fmla="*/ 66 h 282"/>
                  <a:gd name="T30" fmla="*/ 30 w 288"/>
                  <a:gd name="T31" fmla="*/ 84 h 282"/>
                  <a:gd name="T32" fmla="*/ 36 w 288"/>
                  <a:gd name="T33" fmla="*/ 108 h 282"/>
                  <a:gd name="T34" fmla="*/ 12 w 288"/>
                  <a:gd name="T35" fmla="*/ 108 h 282"/>
                  <a:gd name="T36" fmla="*/ 18 w 288"/>
                  <a:gd name="T37" fmla="*/ 126 h 282"/>
                  <a:gd name="T38" fmla="*/ 24 w 288"/>
                  <a:gd name="T39" fmla="*/ 132 h 282"/>
                  <a:gd name="T40" fmla="*/ 12 w 288"/>
                  <a:gd name="T41" fmla="*/ 150 h 282"/>
                  <a:gd name="T42" fmla="*/ 36 w 288"/>
                  <a:gd name="T43" fmla="*/ 162 h 282"/>
                  <a:gd name="T44" fmla="*/ 42 w 288"/>
                  <a:gd name="T45" fmla="*/ 144 h 282"/>
                  <a:gd name="T46" fmla="*/ 42 w 288"/>
                  <a:gd name="T47" fmla="*/ 162 h 282"/>
                  <a:gd name="T48" fmla="*/ 60 w 288"/>
                  <a:gd name="T49" fmla="*/ 228 h 282"/>
                  <a:gd name="T50" fmla="*/ 84 w 288"/>
                  <a:gd name="T51" fmla="*/ 270 h 282"/>
                  <a:gd name="T52" fmla="*/ 96 w 288"/>
                  <a:gd name="T53" fmla="*/ 282 h 282"/>
                  <a:gd name="T54" fmla="*/ 108 w 288"/>
                  <a:gd name="T55" fmla="*/ 270 h 282"/>
                  <a:gd name="T56" fmla="*/ 114 w 288"/>
                  <a:gd name="T57" fmla="*/ 258 h 282"/>
                  <a:gd name="T58" fmla="*/ 120 w 288"/>
                  <a:gd name="T59" fmla="*/ 240 h 282"/>
                  <a:gd name="T60" fmla="*/ 120 w 288"/>
                  <a:gd name="T61" fmla="*/ 216 h 282"/>
                  <a:gd name="T62" fmla="*/ 132 w 288"/>
                  <a:gd name="T63" fmla="*/ 204 h 282"/>
                  <a:gd name="T64" fmla="*/ 168 w 288"/>
                  <a:gd name="T65" fmla="*/ 174 h 282"/>
                  <a:gd name="T66" fmla="*/ 186 w 288"/>
                  <a:gd name="T67" fmla="*/ 150 h 282"/>
                  <a:gd name="T68" fmla="*/ 198 w 288"/>
                  <a:gd name="T69" fmla="*/ 144 h 282"/>
                  <a:gd name="T70" fmla="*/ 204 w 288"/>
                  <a:gd name="T71" fmla="*/ 132 h 282"/>
                  <a:gd name="T72" fmla="*/ 204 w 288"/>
                  <a:gd name="T73" fmla="*/ 114 h 282"/>
                  <a:gd name="T74" fmla="*/ 222 w 288"/>
                  <a:gd name="T75" fmla="*/ 114 h 282"/>
                  <a:gd name="T76" fmla="*/ 228 w 288"/>
                  <a:gd name="T77" fmla="*/ 126 h 282"/>
                  <a:gd name="T78" fmla="*/ 240 w 288"/>
                  <a:gd name="T79" fmla="*/ 138 h 282"/>
                  <a:gd name="T80" fmla="*/ 246 w 288"/>
                  <a:gd name="T81" fmla="*/ 126 h 282"/>
                  <a:gd name="T82" fmla="*/ 258 w 288"/>
                  <a:gd name="T83" fmla="*/ 114 h 282"/>
                  <a:gd name="T84" fmla="*/ 270 w 288"/>
                  <a:gd name="T85" fmla="*/ 102 h 282"/>
                  <a:gd name="T86" fmla="*/ 282 w 288"/>
                  <a:gd name="T87" fmla="*/ 90 h 282"/>
                  <a:gd name="T88" fmla="*/ 282 w 288"/>
                  <a:gd name="T89" fmla="*/ 78 h 282"/>
                  <a:gd name="T90" fmla="*/ 240 w 288"/>
                  <a:gd name="T91" fmla="*/ 102 h 282"/>
                  <a:gd name="T92" fmla="*/ 210 w 288"/>
                  <a:gd name="T93" fmla="*/ 102 h 2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288" h="282">
                    <a:moveTo>
                      <a:pt x="198" y="102"/>
                    </a:moveTo>
                    <a:lnTo>
                      <a:pt x="198" y="96"/>
                    </a:lnTo>
                    <a:lnTo>
                      <a:pt x="198" y="84"/>
                    </a:lnTo>
                    <a:lnTo>
                      <a:pt x="192" y="84"/>
                    </a:lnTo>
                    <a:lnTo>
                      <a:pt x="192" y="96"/>
                    </a:lnTo>
                    <a:lnTo>
                      <a:pt x="174" y="96"/>
                    </a:lnTo>
                    <a:lnTo>
                      <a:pt x="144" y="84"/>
                    </a:lnTo>
                    <a:lnTo>
                      <a:pt x="138" y="84"/>
                    </a:lnTo>
                    <a:lnTo>
                      <a:pt x="132" y="78"/>
                    </a:lnTo>
                    <a:lnTo>
                      <a:pt x="126" y="72"/>
                    </a:lnTo>
                    <a:lnTo>
                      <a:pt x="120" y="66"/>
                    </a:lnTo>
                    <a:lnTo>
                      <a:pt x="120" y="60"/>
                    </a:lnTo>
                    <a:lnTo>
                      <a:pt x="126" y="60"/>
                    </a:lnTo>
                    <a:lnTo>
                      <a:pt x="120" y="48"/>
                    </a:lnTo>
                    <a:lnTo>
                      <a:pt x="120" y="36"/>
                    </a:lnTo>
                    <a:lnTo>
                      <a:pt x="126" y="36"/>
                    </a:lnTo>
                    <a:lnTo>
                      <a:pt x="126" y="30"/>
                    </a:lnTo>
                    <a:lnTo>
                      <a:pt x="132" y="30"/>
                    </a:lnTo>
                    <a:lnTo>
                      <a:pt x="126" y="18"/>
                    </a:lnTo>
                    <a:lnTo>
                      <a:pt x="132" y="18"/>
                    </a:lnTo>
                    <a:lnTo>
                      <a:pt x="126" y="12"/>
                    </a:lnTo>
                    <a:lnTo>
                      <a:pt x="126" y="6"/>
                    </a:lnTo>
                    <a:lnTo>
                      <a:pt x="126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108" y="6"/>
                    </a:lnTo>
                    <a:lnTo>
                      <a:pt x="102" y="12"/>
                    </a:lnTo>
                    <a:lnTo>
                      <a:pt x="96" y="12"/>
                    </a:lnTo>
                    <a:lnTo>
                      <a:pt x="90" y="12"/>
                    </a:lnTo>
                    <a:lnTo>
                      <a:pt x="84" y="12"/>
                    </a:lnTo>
                    <a:lnTo>
                      <a:pt x="78" y="18"/>
                    </a:lnTo>
                    <a:lnTo>
                      <a:pt x="84" y="18"/>
                    </a:lnTo>
                    <a:lnTo>
                      <a:pt x="90" y="18"/>
                    </a:lnTo>
                    <a:lnTo>
                      <a:pt x="96" y="24"/>
                    </a:lnTo>
                    <a:lnTo>
                      <a:pt x="90" y="24"/>
                    </a:lnTo>
                    <a:lnTo>
                      <a:pt x="84" y="24"/>
                    </a:lnTo>
                    <a:lnTo>
                      <a:pt x="78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42"/>
                    </a:lnTo>
                    <a:lnTo>
                      <a:pt x="66" y="42"/>
                    </a:lnTo>
                    <a:lnTo>
                      <a:pt x="66" y="48"/>
                    </a:lnTo>
                    <a:lnTo>
                      <a:pt x="60" y="54"/>
                    </a:lnTo>
                    <a:lnTo>
                      <a:pt x="48" y="60"/>
                    </a:lnTo>
                    <a:lnTo>
                      <a:pt x="42" y="66"/>
                    </a:lnTo>
                    <a:lnTo>
                      <a:pt x="36" y="72"/>
                    </a:lnTo>
                    <a:lnTo>
                      <a:pt x="30" y="78"/>
                    </a:lnTo>
                    <a:lnTo>
                      <a:pt x="30" y="84"/>
                    </a:lnTo>
                    <a:lnTo>
                      <a:pt x="30" y="90"/>
                    </a:lnTo>
                    <a:lnTo>
                      <a:pt x="36" y="96"/>
                    </a:lnTo>
                    <a:lnTo>
                      <a:pt x="36" y="108"/>
                    </a:lnTo>
                    <a:lnTo>
                      <a:pt x="30" y="108"/>
                    </a:lnTo>
                    <a:lnTo>
                      <a:pt x="18" y="108"/>
                    </a:lnTo>
                    <a:lnTo>
                      <a:pt x="12" y="108"/>
                    </a:lnTo>
                    <a:lnTo>
                      <a:pt x="0" y="126"/>
                    </a:lnTo>
                    <a:lnTo>
                      <a:pt x="6" y="126"/>
                    </a:lnTo>
                    <a:lnTo>
                      <a:pt x="18" y="126"/>
                    </a:lnTo>
                    <a:lnTo>
                      <a:pt x="24" y="126"/>
                    </a:lnTo>
                    <a:lnTo>
                      <a:pt x="30" y="126"/>
                    </a:lnTo>
                    <a:lnTo>
                      <a:pt x="24" y="132"/>
                    </a:lnTo>
                    <a:lnTo>
                      <a:pt x="18" y="138"/>
                    </a:lnTo>
                    <a:lnTo>
                      <a:pt x="12" y="144"/>
                    </a:lnTo>
                    <a:lnTo>
                      <a:pt x="12" y="150"/>
                    </a:lnTo>
                    <a:lnTo>
                      <a:pt x="18" y="156"/>
                    </a:lnTo>
                    <a:lnTo>
                      <a:pt x="30" y="162"/>
                    </a:lnTo>
                    <a:lnTo>
                      <a:pt x="36" y="162"/>
                    </a:lnTo>
                    <a:lnTo>
                      <a:pt x="36" y="156"/>
                    </a:lnTo>
                    <a:lnTo>
                      <a:pt x="42" y="150"/>
                    </a:lnTo>
                    <a:lnTo>
                      <a:pt x="42" y="144"/>
                    </a:lnTo>
                    <a:lnTo>
                      <a:pt x="42" y="150"/>
                    </a:lnTo>
                    <a:lnTo>
                      <a:pt x="42" y="156"/>
                    </a:lnTo>
                    <a:lnTo>
                      <a:pt x="42" y="162"/>
                    </a:lnTo>
                    <a:lnTo>
                      <a:pt x="42" y="168"/>
                    </a:lnTo>
                    <a:lnTo>
                      <a:pt x="48" y="192"/>
                    </a:lnTo>
                    <a:lnTo>
                      <a:pt x="60" y="228"/>
                    </a:lnTo>
                    <a:lnTo>
                      <a:pt x="72" y="252"/>
                    </a:lnTo>
                    <a:lnTo>
                      <a:pt x="78" y="264"/>
                    </a:lnTo>
                    <a:lnTo>
                      <a:pt x="84" y="270"/>
                    </a:lnTo>
                    <a:lnTo>
                      <a:pt x="84" y="276"/>
                    </a:lnTo>
                    <a:lnTo>
                      <a:pt x="90" y="276"/>
                    </a:lnTo>
                    <a:lnTo>
                      <a:pt x="96" y="282"/>
                    </a:lnTo>
                    <a:lnTo>
                      <a:pt x="102" y="276"/>
                    </a:lnTo>
                    <a:lnTo>
                      <a:pt x="102" y="270"/>
                    </a:lnTo>
                    <a:lnTo>
                      <a:pt x="108" y="270"/>
                    </a:lnTo>
                    <a:lnTo>
                      <a:pt x="108" y="264"/>
                    </a:lnTo>
                    <a:lnTo>
                      <a:pt x="114" y="264"/>
                    </a:lnTo>
                    <a:lnTo>
                      <a:pt x="114" y="258"/>
                    </a:lnTo>
                    <a:lnTo>
                      <a:pt x="120" y="258"/>
                    </a:lnTo>
                    <a:lnTo>
                      <a:pt x="120" y="246"/>
                    </a:lnTo>
                    <a:lnTo>
                      <a:pt x="120" y="240"/>
                    </a:lnTo>
                    <a:lnTo>
                      <a:pt x="120" y="228"/>
                    </a:lnTo>
                    <a:lnTo>
                      <a:pt x="120" y="222"/>
                    </a:lnTo>
                    <a:lnTo>
                      <a:pt x="120" y="216"/>
                    </a:lnTo>
                    <a:lnTo>
                      <a:pt x="120" y="210"/>
                    </a:lnTo>
                    <a:lnTo>
                      <a:pt x="126" y="210"/>
                    </a:lnTo>
                    <a:lnTo>
                      <a:pt x="132" y="204"/>
                    </a:lnTo>
                    <a:lnTo>
                      <a:pt x="138" y="198"/>
                    </a:lnTo>
                    <a:lnTo>
                      <a:pt x="156" y="186"/>
                    </a:lnTo>
                    <a:lnTo>
                      <a:pt x="168" y="174"/>
                    </a:lnTo>
                    <a:lnTo>
                      <a:pt x="180" y="168"/>
                    </a:lnTo>
                    <a:lnTo>
                      <a:pt x="186" y="162"/>
                    </a:lnTo>
                    <a:lnTo>
                      <a:pt x="186" y="150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98" y="144"/>
                    </a:lnTo>
                    <a:lnTo>
                      <a:pt x="204" y="144"/>
                    </a:lnTo>
                    <a:lnTo>
                      <a:pt x="204" y="138"/>
                    </a:lnTo>
                    <a:lnTo>
                      <a:pt x="204" y="132"/>
                    </a:lnTo>
                    <a:lnTo>
                      <a:pt x="198" y="126"/>
                    </a:lnTo>
                    <a:lnTo>
                      <a:pt x="198" y="120"/>
                    </a:lnTo>
                    <a:lnTo>
                      <a:pt x="204" y="114"/>
                    </a:lnTo>
                    <a:lnTo>
                      <a:pt x="210" y="114"/>
                    </a:lnTo>
                    <a:lnTo>
                      <a:pt x="216" y="114"/>
                    </a:lnTo>
                    <a:lnTo>
                      <a:pt x="222" y="114"/>
                    </a:lnTo>
                    <a:lnTo>
                      <a:pt x="222" y="120"/>
                    </a:lnTo>
                    <a:lnTo>
                      <a:pt x="228" y="132"/>
                    </a:lnTo>
                    <a:lnTo>
                      <a:pt x="228" y="126"/>
                    </a:lnTo>
                    <a:lnTo>
                      <a:pt x="234" y="120"/>
                    </a:lnTo>
                    <a:lnTo>
                      <a:pt x="234" y="126"/>
                    </a:lnTo>
                    <a:lnTo>
                      <a:pt x="240" y="138"/>
                    </a:lnTo>
                    <a:lnTo>
                      <a:pt x="246" y="138"/>
                    </a:lnTo>
                    <a:lnTo>
                      <a:pt x="240" y="126"/>
                    </a:lnTo>
                    <a:lnTo>
                      <a:pt x="246" y="126"/>
                    </a:lnTo>
                    <a:lnTo>
                      <a:pt x="252" y="126"/>
                    </a:lnTo>
                    <a:lnTo>
                      <a:pt x="258" y="126"/>
                    </a:lnTo>
                    <a:lnTo>
                      <a:pt x="258" y="114"/>
                    </a:lnTo>
                    <a:lnTo>
                      <a:pt x="264" y="108"/>
                    </a:lnTo>
                    <a:lnTo>
                      <a:pt x="264" y="102"/>
                    </a:lnTo>
                    <a:lnTo>
                      <a:pt x="270" y="102"/>
                    </a:lnTo>
                    <a:lnTo>
                      <a:pt x="276" y="102"/>
                    </a:lnTo>
                    <a:lnTo>
                      <a:pt x="276" y="96"/>
                    </a:lnTo>
                    <a:lnTo>
                      <a:pt x="282" y="90"/>
                    </a:lnTo>
                    <a:lnTo>
                      <a:pt x="288" y="84"/>
                    </a:lnTo>
                    <a:lnTo>
                      <a:pt x="288" y="78"/>
                    </a:lnTo>
                    <a:lnTo>
                      <a:pt x="282" y="78"/>
                    </a:lnTo>
                    <a:lnTo>
                      <a:pt x="258" y="84"/>
                    </a:lnTo>
                    <a:lnTo>
                      <a:pt x="252" y="84"/>
                    </a:lnTo>
                    <a:lnTo>
                      <a:pt x="240" y="102"/>
                    </a:lnTo>
                    <a:lnTo>
                      <a:pt x="234" y="102"/>
                    </a:lnTo>
                    <a:lnTo>
                      <a:pt x="222" y="102"/>
                    </a:lnTo>
                    <a:lnTo>
                      <a:pt x="210" y="102"/>
                    </a:lnTo>
                    <a:lnTo>
                      <a:pt x="198" y="10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72" name="Group 114"/>
            <p:cNvGrpSpPr>
              <a:grpSpLocks/>
            </p:cNvGrpSpPr>
            <p:nvPr/>
          </p:nvGrpSpPr>
          <p:grpSpPr bwMode="auto">
            <a:xfrm>
              <a:off x="1986323" y="2587874"/>
              <a:ext cx="305596" cy="175984"/>
              <a:chOff x="1842" y="1056"/>
              <a:chExt cx="150" cy="102"/>
            </a:xfrm>
            <a:solidFill>
              <a:srgbClr val="0070C0">
                <a:alpha val="27059"/>
              </a:srgbClr>
            </a:solidFill>
          </p:grpSpPr>
          <p:sp>
            <p:nvSpPr>
              <p:cNvPr id="1870" name="Freeform 115"/>
              <p:cNvSpPr>
                <a:spLocks/>
              </p:cNvSpPr>
              <p:nvPr/>
            </p:nvSpPr>
            <p:spPr bwMode="auto">
              <a:xfrm>
                <a:off x="1842" y="1056"/>
                <a:ext cx="150" cy="102"/>
              </a:xfrm>
              <a:custGeom>
                <a:avLst/>
                <a:gdLst>
                  <a:gd name="T0" fmla="*/ 150 w 150"/>
                  <a:gd name="T1" fmla="*/ 30 h 102"/>
                  <a:gd name="T2" fmla="*/ 126 w 150"/>
                  <a:gd name="T3" fmla="*/ 30 h 102"/>
                  <a:gd name="T4" fmla="*/ 120 w 150"/>
                  <a:gd name="T5" fmla="*/ 36 h 102"/>
                  <a:gd name="T6" fmla="*/ 120 w 150"/>
                  <a:gd name="T7" fmla="*/ 36 h 102"/>
                  <a:gd name="T8" fmla="*/ 114 w 150"/>
                  <a:gd name="T9" fmla="*/ 42 h 102"/>
                  <a:gd name="T10" fmla="*/ 102 w 150"/>
                  <a:gd name="T11" fmla="*/ 42 h 102"/>
                  <a:gd name="T12" fmla="*/ 102 w 150"/>
                  <a:gd name="T13" fmla="*/ 54 h 102"/>
                  <a:gd name="T14" fmla="*/ 96 w 150"/>
                  <a:gd name="T15" fmla="*/ 54 h 102"/>
                  <a:gd name="T16" fmla="*/ 96 w 150"/>
                  <a:gd name="T17" fmla="*/ 54 h 102"/>
                  <a:gd name="T18" fmla="*/ 90 w 150"/>
                  <a:gd name="T19" fmla="*/ 66 h 102"/>
                  <a:gd name="T20" fmla="*/ 78 w 150"/>
                  <a:gd name="T21" fmla="*/ 78 h 102"/>
                  <a:gd name="T22" fmla="*/ 72 w 150"/>
                  <a:gd name="T23" fmla="*/ 78 h 102"/>
                  <a:gd name="T24" fmla="*/ 66 w 150"/>
                  <a:gd name="T25" fmla="*/ 84 h 102"/>
                  <a:gd name="T26" fmla="*/ 60 w 150"/>
                  <a:gd name="T27" fmla="*/ 84 h 102"/>
                  <a:gd name="T28" fmla="*/ 48 w 150"/>
                  <a:gd name="T29" fmla="*/ 96 h 102"/>
                  <a:gd name="T30" fmla="*/ 42 w 150"/>
                  <a:gd name="T31" fmla="*/ 102 h 102"/>
                  <a:gd name="T32" fmla="*/ 36 w 150"/>
                  <a:gd name="T33" fmla="*/ 102 h 102"/>
                  <a:gd name="T34" fmla="*/ 18 w 150"/>
                  <a:gd name="T35" fmla="*/ 102 h 102"/>
                  <a:gd name="T36" fmla="*/ 12 w 150"/>
                  <a:gd name="T37" fmla="*/ 102 h 102"/>
                  <a:gd name="T38" fmla="*/ 0 w 150"/>
                  <a:gd name="T39" fmla="*/ 84 h 102"/>
                  <a:gd name="T40" fmla="*/ 0 w 150"/>
                  <a:gd name="T41" fmla="*/ 60 h 102"/>
                  <a:gd name="T42" fmla="*/ 6 w 150"/>
                  <a:gd name="T43" fmla="*/ 48 h 102"/>
                  <a:gd name="T44" fmla="*/ 12 w 150"/>
                  <a:gd name="T45" fmla="*/ 36 h 102"/>
                  <a:gd name="T46" fmla="*/ 24 w 150"/>
                  <a:gd name="T47" fmla="*/ 36 h 102"/>
                  <a:gd name="T48" fmla="*/ 24 w 150"/>
                  <a:gd name="T49" fmla="*/ 24 h 102"/>
                  <a:gd name="T50" fmla="*/ 36 w 150"/>
                  <a:gd name="T51" fmla="*/ 24 h 102"/>
                  <a:gd name="T52" fmla="*/ 42 w 150"/>
                  <a:gd name="T53" fmla="*/ 18 h 102"/>
                  <a:gd name="T54" fmla="*/ 48 w 150"/>
                  <a:gd name="T55" fmla="*/ 6 h 102"/>
                  <a:gd name="T56" fmla="*/ 54 w 150"/>
                  <a:gd name="T57" fmla="*/ 12 h 102"/>
                  <a:gd name="T58" fmla="*/ 72 w 150"/>
                  <a:gd name="T59" fmla="*/ 12 h 102"/>
                  <a:gd name="T60" fmla="*/ 84 w 150"/>
                  <a:gd name="T61" fmla="*/ 12 h 102"/>
                  <a:gd name="T62" fmla="*/ 90 w 150"/>
                  <a:gd name="T63" fmla="*/ 6 h 102"/>
                  <a:gd name="T64" fmla="*/ 102 w 150"/>
                  <a:gd name="T65" fmla="*/ 0 h 102"/>
                  <a:gd name="T66" fmla="*/ 108 w 150"/>
                  <a:gd name="T67" fmla="*/ 6 h 102"/>
                  <a:gd name="T68" fmla="*/ 114 w 150"/>
                  <a:gd name="T69" fmla="*/ 12 h 102"/>
                  <a:gd name="T70" fmla="*/ 120 w 150"/>
                  <a:gd name="T71" fmla="*/ 18 h 102"/>
                  <a:gd name="T72" fmla="*/ 120 w 150"/>
                  <a:gd name="T73" fmla="*/ 18 h 102"/>
                  <a:gd name="T74" fmla="*/ 144 w 150"/>
                  <a:gd name="T75" fmla="*/ 18 h 102"/>
                  <a:gd name="T76" fmla="*/ 150 w 150"/>
                  <a:gd name="T77" fmla="*/ 30 h 10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50" h="102">
                    <a:moveTo>
                      <a:pt x="150" y="30"/>
                    </a:moveTo>
                    <a:lnTo>
                      <a:pt x="126" y="30"/>
                    </a:lnTo>
                    <a:lnTo>
                      <a:pt x="120" y="36"/>
                    </a:lnTo>
                    <a:lnTo>
                      <a:pt x="114" y="42"/>
                    </a:lnTo>
                    <a:lnTo>
                      <a:pt x="102" y="42"/>
                    </a:lnTo>
                    <a:lnTo>
                      <a:pt x="102" y="54"/>
                    </a:lnTo>
                    <a:lnTo>
                      <a:pt x="96" y="54"/>
                    </a:lnTo>
                    <a:lnTo>
                      <a:pt x="90" y="66"/>
                    </a:lnTo>
                    <a:lnTo>
                      <a:pt x="78" y="78"/>
                    </a:lnTo>
                    <a:lnTo>
                      <a:pt x="72" y="78"/>
                    </a:lnTo>
                    <a:lnTo>
                      <a:pt x="66" y="84"/>
                    </a:lnTo>
                    <a:lnTo>
                      <a:pt x="60" y="84"/>
                    </a:lnTo>
                    <a:lnTo>
                      <a:pt x="48" y="96"/>
                    </a:lnTo>
                    <a:lnTo>
                      <a:pt x="42" y="102"/>
                    </a:lnTo>
                    <a:lnTo>
                      <a:pt x="36" y="102"/>
                    </a:lnTo>
                    <a:lnTo>
                      <a:pt x="18" y="102"/>
                    </a:lnTo>
                    <a:lnTo>
                      <a:pt x="12" y="102"/>
                    </a:lnTo>
                    <a:lnTo>
                      <a:pt x="0" y="84"/>
                    </a:lnTo>
                    <a:lnTo>
                      <a:pt x="0" y="60"/>
                    </a:lnTo>
                    <a:lnTo>
                      <a:pt x="6" y="48"/>
                    </a:lnTo>
                    <a:lnTo>
                      <a:pt x="12" y="36"/>
                    </a:lnTo>
                    <a:lnTo>
                      <a:pt x="24" y="36"/>
                    </a:lnTo>
                    <a:lnTo>
                      <a:pt x="24" y="24"/>
                    </a:lnTo>
                    <a:lnTo>
                      <a:pt x="36" y="24"/>
                    </a:lnTo>
                    <a:lnTo>
                      <a:pt x="42" y="18"/>
                    </a:lnTo>
                    <a:lnTo>
                      <a:pt x="48" y="6"/>
                    </a:lnTo>
                    <a:lnTo>
                      <a:pt x="54" y="12"/>
                    </a:lnTo>
                    <a:lnTo>
                      <a:pt x="72" y="12"/>
                    </a:lnTo>
                    <a:lnTo>
                      <a:pt x="84" y="12"/>
                    </a:lnTo>
                    <a:lnTo>
                      <a:pt x="90" y="6"/>
                    </a:lnTo>
                    <a:lnTo>
                      <a:pt x="102" y="0"/>
                    </a:lnTo>
                    <a:lnTo>
                      <a:pt x="108" y="6"/>
                    </a:lnTo>
                    <a:lnTo>
                      <a:pt x="114" y="12"/>
                    </a:lnTo>
                    <a:lnTo>
                      <a:pt x="120" y="18"/>
                    </a:lnTo>
                    <a:lnTo>
                      <a:pt x="144" y="18"/>
                    </a:lnTo>
                    <a:lnTo>
                      <a:pt x="15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71" name="Freeform 116"/>
              <p:cNvSpPr>
                <a:spLocks/>
              </p:cNvSpPr>
              <p:nvPr/>
            </p:nvSpPr>
            <p:spPr bwMode="auto">
              <a:xfrm>
                <a:off x="1842" y="1056"/>
                <a:ext cx="150" cy="102"/>
              </a:xfrm>
              <a:custGeom>
                <a:avLst/>
                <a:gdLst>
                  <a:gd name="T0" fmla="*/ 150 w 150"/>
                  <a:gd name="T1" fmla="*/ 30 h 102"/>
                  <a:gd name="T2" fmla="*/ 126 w 150"/>
                  <a:gd name="T3" fmla="*/ 30 h 102"/>
                  <a:gd name="T4" fmla="*/ 120 w 150"/>
                  <a:gd name="T5" fmla="*/ 36 h 102"/>
                  <a:gd name="T6" fmla="*/ 114 w 150"/>
                  <a:gd name="T7" fmla="*/ 42 h 102"/>
                  <a:gd name="T8" fmla="*/ 102 w 150"/>
                  <a:gd name="T9" fmla="*/ 42 h 102"/>
                  <a:gd name="T10" fmla="*/ 102 w 150"/>
                  <a:gd name="T11" fmla="*/ 54 h 102"/>
                  <a:gd name="T12" fmla="*/ 96 w 150"/>
                  <a:gd name="T13" fmla="*/ 54 h 102"/>
                  <a:gd name="T14" fmla="*/ 90 w 150"/>
                  <a:gd name="T15" fmla="*/ 66 h 102"/>
                  <a:gd name="T16" fmla="*/ 78 w 150"/>
                  <a:gd name="T17" fmla="*/ 78 h 102"/>
                  <a:gd name="T18" fmla="*/ 72 w 150"/>
                  <a:gd name="T19" fmla="*/ 78 h 102"/>
                  <a:gd name="T20" fmla="*/ 66 w 150"/>
                  <a:gd name="T21" fmla="*/ 84 h 102"/>
                  <a:gd name="T22" fmla="*/ 60 w 150"/>
                  <a:gd name="T23" fmla="*/ 84 h 102"/>
                  <a:gd name="T24" fmla="*/ 48 w 150"/>
                  <a:gd name="T25" fmla="*/ 96 h 102"/>
                  <a:gd name="T26" fmla="*/ 42 w 150"/>
                  <a:gd name="T27" fmla="*/ 102 h 102"/>
                  <a:gd name="T28" fmla="*/ 36 w 150"/>
                  <a:gd name="T29" fmla="*/ 102 h 102"/>
                  <a:gd name="T30" fmla="*/ 18 w 150"/>
                  <a:gd name="T31" fmla="*/ 102 h 102"/>
                  <a:gd name="T32" fmla="*/ 12 w 150"/>
                  <a:gd name="T33" fmla="*/ 102 h 102"/>
                  <a:gd name="T34" fmla="*/ 0 w 150"/>
                  <a:gd name="T35" fmla="*/ 84 h 102"/>
                  <a:gd name="T36" fmla="*/ 0 w 150"/>
                  <a:gd name="T37" fmla="*/ 60 h 102"/>
                  <a:gd name="T38" fmla="*/ 6 w 150"/>
                  <a:gd name="T39" fmla="*/ 48 h 102"/>
                  <a:gd name="T40" fmla="*/ 12 w 150"/>
                  <a:gd name="T41" fmla="*/ 36 h 102"/>
                  <a:gd name="T42" fmla="*/ 24 w 150"/>
                  <a:gd name="T43" fmla="*/ 36 h 102"/>
                  <a:gd name="T44" fmla="*/ 24 w 150"/>
                  <a:gd name="T45" fmla="*/ 24 h 102"/>
                  <a:gd name="T46" fmla="*/ 36 w 150"/>
                  <a:gd name="T47" fmla="*/ 24 h 102"/>
                  <a:gd name="T48" fmla="*/ 42 w 150"/>
                  <a:gd name="T49" fmla="*/ 18 h 102"/>
                  <a:gd name="T50" fmla="*/ 48 w 150"/>
                  <a:gd name="T51" fmla="*/ 6 h 102"/>
                  <a:gd name="T52" fmla="*/ 54 w 150"/>
                  <a:gd name="T53" fmla="*/ 12 h 102"/>
                  <a:gd name="T54" fmla="*/ 72 w 150"/>
                  <a:gd name="T55" fmla="*/ 12 h 102"/>
                  <a:gd name="T56" fmla="*/ 84 w 150"/>
                  <a:gd name="T57" fmla="*/ 12 h 102"/>
                  <a:gd name="T58" fmla="*/ 90 w 150"/>
                  <a:gd name="T59" fmla="*/ 6 h 102"/>
                  <a:gd name="T60" fmla="*/ 102 w 150"/>
                  <a:gd name="T61" fmla="*/ 0 h 102"/>
                  <a:gd name="T62" fmla="*/ 108 w 150"/>
                  <a:gd name="T63" fmla="*/ 6 h 102"/>
                  <a:gd name="T64" fmla="*/ 114 w 150"/>
                  <a:gd name="T65" fmla="*/ 12 h 102"/>
                  <a:gd name="T66" fmla="*/ 120 w 150"/>
                  <a:gd name="T67" fmla="*/ 18 h 102"/>
                  <a:gd name="T68" fmla="*/ 144 w 150"/>
                  <a:gd name="T69" fmla="*/ 18 h 102"/>
                  <a:gd name="T70" fmla="*/ 150 w 150"/>
                  <a:gd name="T71" fmla="*/ 30 h 10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50" h="102">
                    <a:moveTo>
                      <a:pt x="150" y="30"/>
                    </a:moveTo>
                    <a:lnTo>
                      <a:pt x="126" y="30"/>
                    </a:lnTo>
                    <a:lnTo>
                      <a:pt x="120" y="36"/>
                    </a:lnTo>
                    <a:lnTo>
                      <a:pt x="114" y="42"/>
                    </a:lnTo>
                    <a:lnTo>
                      <a:pt x="102" y="42"/>
                    </a:lnTo>
                    <a:lnTo>
                      <a:pt x="102" y="54"/>
                    </a:lnTo>
                    <a:lnTo>
                      <a:pt x="96" y="54"/>
                    </a:lnTo>
                    <a:lnTo>
                      <a:pt x="90" y="66"/>
                    </a:lnTo>
                    <a:lnTo>
                      <a:pt x="78" y="78"/>
                    </a:lnTo>
                    <a:lnTo>
                      <a:pt x="72" y="78"/>
                    </a:lnTo>
                    <a:lnTo>
                      <a:pt x="66" y="84"/>
                    </a:lnTo>
                    <a:lnTo>
                      <a:pt x="60" y="84"/>
                    </a:lnTo>
                    <a:lnTo>
                      <a:pt x="48" y="96"/>
                    </a:lnTo>
                    <a:lnTo>
                      <a:pt x="42" y="102"/>
                    </a:lnTo>
                    <a:lnTo>
                      <a:pt x="36" y="102"/>
                    </a:lnTo>
                    <a:lnTo>
                      <a:pt x="18" y="102"/>
                    </a:lnTo>
                    <a:lnTo>
                      <a:pt x="12" y="102"/>
                    </a:lnTo>
                    <a:lnTo>
                      <a:pt x="0" y="84"/>
                    </a:lnTo>
                    <a:lnTo>
                      <a:pt x="0" y="60"/>
                    </a:lnTo>
                    <a:lnTo>
                      <a:pt x="6" y="48"/>
                    </a:lnTo>
                    <a:lnTo>
                      <a:pt x="12" y="36"/>
                    </a:lnTo>
                    <a:lnTo>
                      <a:pt x="24" y="36"/>
                    </a:lnTo>
                    <a:lnTo>
                      <a:pt x="24" y="24"/>
                    </a:lnTo>
                    <a:lnTo>
                      <a:pt x="36" y="24"/>
                    </a:lnTo>
                    <a:lnTo>
                      <a:pt x="42" y="18"/>
                    </a:lnTo>
                    <a:lnTo>
                      <a:pt x="48" y="6"/>
                    </a:lnTo>
                    <a:lnTo>
                      <a:pt x="54" y="12"/>
                    </a:lnTo>
                    <a:lnTo>
                      <a:pt x="72" y="12"/>
                    </a:lnTo>
                    <a:lnTo>
                      <a:pt x="84" y="12"/>
                    </a:lnTo>
                    <a:lnTo>
                      <a:pt x="90" y="6"/>
                    </a:lnTo>
                    <a:lnTo>
                      <a:pt x="102" y="0"/>
                    </a:lnTo>
                    <a:lnTo>
                      <a:pt x="108" y="6"/>
                    </a:lnTo>
                    <a:lnTo>
                      <a:pt x="114" y="12"/>
                    </a:lnTo>
                    <a:lnTo>
                      <a:pt x="120" y="18"/>
                    </a:lnTo>
                    <a:lnTo>
                      <a:pt x="144" y="18"/>
                    </a:lnTo>
                    <a:lnTo>
                      <a:pt x="15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73" name="Group 117"/>
            <p:cNvGrpSpPr>
              <a:grpSpLocks/>
            </p:cNvGrpSpPr>
            <p:nvPr/>
          </p:nvGrpSpPr>
          <p:grpSpPr bwMode="auto">
            <a:xfrm>
              <a:off x="3195252" y="2436163"/>
              <a:ext cx="182589" cy="214418"/>
              <a:chOff x="2436" y="966"/>
              <a:chExt cx="90" cy="126"/>
            </a:xfrm>
            <a:solidFill>
              <a:srgbClr val="0070C0">
                <a:alpha val="27059"/>
              </a:srgbClr>
            </a:solidFill>
          </p:grpSpPr>
          <p:sp>
            <p:nvSpPr>
              <p:cNvPr id="1868" name="Freeform 118"/>
              <p:cNvSpPr>
                <a:spLocks/>
              </p:cNvSpPr>
              <p:nvPr/>
            </p:nvSpPr>
            <p:spPr bwMode="auto">
              <a:xfrm>
                <a:off x="2436" y="966"/>
                <a:ext cx="90" cy="126"/>
              </a:xfrm>
              <a:custGeom>
                <a:avLst/>
                <a:gdLst>
                  <a:gd name="T0" fmla="*/ 90 w 90"/>
                  <a:gd name="T1" fmla="*/ 0 h 126"/>
                  <a:gd name="T2" fmla="*/ 60 w 90"/>
                  <a:gd name="T3" fmla="*/ 24 h 126"/>
                  <a:gd name="T4" fmla="*/ 42 w 90"/>
                  <a:gd name="T5" fmla="*/ 36 h 126"/>
                  <a:gd name="T6" fmla="*/ 18 w 90"/>
                  <a:gd name="T7" fmla="*/ 30 h 126"/>
                  <a:gd name="T8" fmla="*/ 18 w 90"/>
                  <a:gd name="T9" fmla="*/ 30 h 126"/>
                  <a:gd name="T10" fmla="*/ 12 w 90"/>
                  <a:gd name="T11" fmla="*/ 36 h 126"/>
                  <a:gd name="T12" fmla="*/ 12 w 90"/>
                  <a:gd name="T13" fmla="*/ 42 h 126"/>
                  <a:gd name="T14" fmla="*/ 18 w 90"/>
                  <a:gd name="T15" fmla="*/ 48 h 126"/>
                  <a:gd name="T16" fmla="*/ 12 w 90"/>
                  <a:gd name="T17" fmla="*/ 54 h 126"/>
                  <a:gd name="T18" fmla="*/ 6 w 90"/>
                  <a:gd name="T19" fmla="*/ 54 h 126"/>
                  <a:gd name="T20" fmla="*/ 0 w 90"/>
                  <a:gd name="T21" fmla="*/ 48 h 126"/>
                  <a:gd name="T22" fmla="*/ 0 w 90"/>
                  <a:gd name="T23" fmla="*/ 66 h 126"/>
                  <a:gd name="T24" fmla="*/ 12 w 90"/>
                  <a:gd name="T25" fmla="*/ 66 h 126"/>
                  <a:gd name="T26" fmla="*/ 18 w 90"/>
                  <a:gd name="T27" fmla="*/ 72 h 126"/>
                  <a:gd name="T28" fmla="*/ 12 w 90"/>
                  <a:gd name="T29" fmla="*/ 84 h 126"/>
                  <a:gd name="T30" fmla="*/ 18 w 90"/>
                  <a:gd name="T31" fmla="*/ 84 h 126"/>
                  <a:gd name="T32" fmla="*/ 30 w 90"/>
                  <a:gd name="T33" fmla="*/ 90 h 126"/>
                  <a:gd name="T34" fmla="*/ 30 w 90"/>
                  <a:gd name="T35" fmla="*/ 96 h 126"/>
                  <a:gd name="T36" fmla="*/ 36 w 90"/>
                  <a:gd name="T37" fmla="*/ 96 h 126"/>
                  <a:gd name="T38" fmla="*/ 36 w 90"/>
                  <a:gd name="T39" fmla="*/ 96 h 126"/>
                  <a:gd name="T40" fmla="*/ 30 w 90"/>
                  <a:gd name="T41" fmla="*/ 114 h 126"/>
                  <a:gd name="T42" fmla="*/ 30 w 90"/>
                  <a:gd name="T43" fmla="*/ 120 h 126"/>
                  <a:gd name="T44" fmla="*/ 36 w 90"/>
                  <a:gd name="T45" fmla="*/ 126 h 126"/>
                  <a:gd name="T46" fmla="*/ 48 w 90"/>
                  <a:gd name="T47" fmla="*/ 126 h 126"/>
                  <a:gd name="T48" fmla="*/ 54 w 90"/>
                  <a:gd name="T49" fmla="*/ 126 h 126"/>
                  <a:gd name="T50" fmla="*/ 54 w 90"/>
                  <a:gd name="T51" fmla="*/ 120 h 126"/>
                  <a:gd name="T52" fmla="*/ 60 w 90"/>
                  <a:gd name="T53" fmla="*/ 120 h 126"/>
                  <a:gd name="T54" fmla="*/ 60 w 90"/>
                  <a:gd name="T55" fmla="*/ 102 h 126"/>
                  <a:gd name="T56" fmla="*/ 60 w 90"/>
                  <a:gd name="T57" fmla="*/ 90 h 126"/>
                  <a:gd name="T58" fmla="*/ 54 w 90"/>
                  <a:gd name="T59" fmla="*/ 84 h 126"/>
                  <a:gd name="T60" fmla="*/ 48 w 90"/>
                  <a:gd name="T61" fmla="*/ 78 h 126"/>
                  <a:gd name="T62" fmla="*/ 42 w 90"/>
                  <a:gd name="T63" fmla="*/ 66 h 126"/>
                  <a:gd name="T64" fmla="*/ 42 w 90"/>
                  <a:gd name="T65" fmla="*/ 66 h 126"/>
                  <a:gd name="T66" fmla="*/ 48 w 90"/>
                  <a:gd name="T67" fmla="*/ 60 h 126"/>
                  <a:gd name="T68" fmla="*/ 48 w 90"/>
                  <a:gd name="T69" fmla="*/ 60 h 126"/>
                  <a:gd name="T70" fmla="*/ 72 w 90"/>
                  <a:gd name="T71" fmla="*/ 30 h 126"/>
                  <a:gd name="T72" fmla="*/ 90 w 90"/>
                  <a:gd name="T73" fmla="*/ 6 h 126"/>
                  <a:gd name="T74" fmla="*/ 90 w 90"/>
                  <a:gd name="T75" fmla="*/ 0 h 12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90" h="126">
                    <a:moveTo>
                      <a:pt x="90" y="0"/>
                    </a:moveTo>
                    <a:lnTo>
                      <a:pt x="60" y="24"/>
                    </a:lnTo>
                    <a:lnTo>
                      <a:pt x="42" y="36"/>
                    </a:lnTo>
                    <a:lnTo>
                      <a:pt x="18" y="30"/>
                    </a:lnTo>
                    <a:lnTo>
                      <a:pt x="12" y="36"/>
                    </a:lnTo>
                    <a:lnTo>
                      <a:pt x="12" y="42"/>
                    </a:lnTo>
                    <a:lnTo>
                      <a:pt x="18" y="48"/>
                    </a:lnTo>
                    <a:lnTo>
                      <a:pt x="12" y="54"/>
                    </a:lnTo>
                    <a:lnTo>
                      <a:pt x="6" y="54"/>
                    </a:lnTo>
                    <a:lnTo>
                      <a:pt x="0" y="48"/>
                    </a:lnTo>
                    <a:lnTo>
                      <a:pt x="0" y="66"/>
                    </a:lnTo>
                    <a:lnTo>
                      <a:pt x="12" y="66"/>
                    </a:lnTo>
                    <a:lnTo>
                      <a:pt x="18" y="72"/>
                    </a:lnTo>
                    <a:lnTo>
                      <a:pt x="12" y="84"/>
                    </a:lnTo>
                    <a:lnTo>
                      <a:pt x="18" y="84"/>
                    </a:lnTo>
                    <a:lnTo>
                      <a:pt x="30" y="90"/>
                    </a:lnTo>
                    <a:lnTo>
                      <a:pt x="30" y="96"/>
                    </a:lnTo>
                    <a:lnTo>
                      <a:pt x="36" y="96"/>
                    </a:lnTo>
                    <a:lnTo>
                      <a:pt x="30" y="114"/>
                    </a:lnTo>
                    <a:lnTo>
                      <a:pt x="30" y="120"/>
                    </a:lnTo>
                    <a:lnTo>
                      <a:pt x="36" y="126"/>
                    </a:lnTo>
                    <a:lnTo>
                      <a:pt x="48" y="126"/>
                    </a:lnTo>
                    <a:lnTo>
                      <a:pt x="54" y="126"/>
                    </a:lnTo>
                    <a:lnTo>
                      <a:pt x="54" y="120"/>
                    </a:lnTo>
                    <a:lnTo>
                      <a:pt x="60" y="120"/>
                    </a:lnTo>
                    <a:lnTo>
                      <a:pt x="60" y="102"/>
                    </a:lnTo>
                    <a:lnTo>
                      <a:pt x="60" y="90"/>
                    </a:lnTo>
                    <a:lnTo>
                      <a:pt x="54" y="84"/>
                    </a:lnTo>
                    <a:lnTo>
                      <a:pt x="48" y="78"/>
                    </a:lnTo>
                    <a:lnTo>
                      <a:pt x="42" y="66"/>
                    </a:lnTo>
                    <a:lnTo>
                      <a:pt x="48" y="60"/>
                    </a:lnTo>
                    <a:lnTo>
                      <a:pt x="72" y="30"/>
                    </a:lnTo>
                    <a:lnTo>
                      <a:pt x="90" y="6"/>
                    </a:lnTo>
                    <a:lnTo>
                      <a:pt x="9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69" name="Freeform 119"/>
              <p:cNvSpPr>
                <a:spLocks/>
              </p:cNvSpPr>
              <p:nvPr/>
            </p:nvSpPr>
            <p:spPr bwMode="auto">
              <a:xfrm>
                <a:off x="2436" y="966"/>
                <a:ext cx="90" cy="126"/>
              </a:xfrm>
              <a:custGeom>
                <a:avLst/>
                <a:gdLst>
                  <a:gd name="T0" fmla="*/ 90 w 90"/>
                  <a:gd name="T1" fmla="*/ 0 h 126"/>
                  <a:gd name="T2" fmla="*/ 60 w 90"/>
                  <a:gd name="T3" fmla="*/ 24 h 126"/>
                  <a:gd name="T4" fmla="*/ 42 w 90"/>
                  <a:gd name="T5" fmla="*/ 36 h 126"/>
                  <a:gd name="T6" fmla="*/ 18 w 90"/>
                  <a:gd name="T7" fmla="*/ 30 h 126"/>
                  <a:gd name="T8" fmla="*/ 12 w 90"/>
                  <a:gd name="T9" fmla="*/ 36 h 126"/>
                  <a:gd name="T10" fmla="*/ 12 w 90"/>
                  <a:gd name="T11" fmla="*/ 42 h 126"/>
                  <a:gd name="T12" fmla="*/ 18 w 90"/>
                  <a:gd name="T13" fmla="*/ 48 h 126"/>
                  <a:gd name="T14" fmla="*/ 12 w 90"/>
                  <a:gd name="T15" fmla="*/ 54 h 126"/>
                  <a:gd name="T16" fmla="*/ 6 w 90"/>
                  <a:gd name="T17" fmla="*/ 54 h 126"/>
                  <a:gd name="T18" fmla="*/ 0 w 90"/>
                  <a:gd name="T19" fmla="*/ 48 h 126"/>
                  <a:gd name="T20" fmla="*/ 0 w 90"/>
                  <a:gd name="T21" fmla="*/ 66 h 126"/>
                  <a:gd name="T22" fmla="*/ 12 w 90"/>
                  <a:gd name="T23" fmla="*/ 66 h 126"/>
                  <a:gd name="T24" fmla="*/ 18 w 90"/>
                  <a:gd name="T25" fmla="*/ 72 h 126"/>
                  <a:gd name="T26" fmla="*/ 12 w 90"/>
                  <a:gd name="T27" fmla="*/ 84 h 126"/>
                  <a:gd name="T28" fmla="*/ 18 w 90"/>
                  <a:gd name="T29" fmla="*/ 84 h 126"/>
                  <a:gd name="T30" fmla="*/ 30 w 90"/>
                  <a:gd name="T31" fmla="*/ 90 h 126"/>
                  <a:gd name="T32" fmla="*/ 30 w 90"/>
                  <a:gd name="T33" fmla="*/ 96 h 126"/>
                  <a:gd name="T34" fmla="*/ 36 w 90"/>
                  <a:gd name="T35" fmla="*/ 96 h 126"/>
                  <a:gd name="T36" fmla="*/ 30 w 90"/>
                  <a:gd name="T37" fmla="*/ 114 h 126"/>
                  <a:gd name="T38" fmla="*/ 30 w 90"/>
                  <a:gd name="T39" fmla="*/ 120 h 126"/>
                  <a:gd name="T40" fmla="*/ 36 w 90"/>
                  <a:gd name="T41" fmla="*/ 126 h 126"/>
                  <a:gd name="T42" fmla="*/ 48 w 90"/>
                  <a:gd name="T43" fmla="*/ 126 h 126"/>
                  <a:gd name="T44" fmla="*/ 54 w 90"/>
                  <a:gd name="T45" fmla="*/ 126 h 126"/>
                  <a:gd name="T46" fmla="*/ 54 w 90"/>
                  <a:gd name="T47" fmla="*/ 120 h 126"/>
                  <a:gd name="T48" fmla="*/ 60 w 90"/>
                  <a:gd name="T49" fmla="*/ 120 h 126"/>
                  <a:gd name="T50" fmla="*/ 60 w 90"/>
                  <a:gd name="T51" fmla="*/ 102 h 126"/>
                  <a:gd name="T52" fmla="*/ 60 w 90"/>
                  <a:gd name="T53" fmla="*/ 90 h 126"/>
                  <a:gd name="T54" fmla="*/ 54 w 90"/>
                  <a:gd name="T55" fmla="*/ 84 h 126"/>
                  <a:gd name="T56" fmla="*/ 48 w 90"/>
                  <a:gd name="T57" fmla="*/ 78 h 126"/>
                  <a:gd name="T58" fmla="*/ 42 w 90"/>
                  <a:gd name="T59" fmla="*/ 66 h 126"/>
                  <a:gd name="T60" fmla="*/ 48 w 90"/>
                  <a:gd name="T61" fmla="*/ 60 h 126"/>
                  <a:gd name="T62" fmla="*/ 72 w 90"/>
                  <a:gd name="T63" fmla="*/ 30 h 126"/>
                  <a:gd name="T64" fmla="*/ 90 w 90"/>
                  <a:gd name="T65" fmla="*/ 6 h 126"/>
                  <a:gd name="T66" fmla="*/ 90 w 90"/>
                  <a:gd name="T67" fmla="*/ 0 h 12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90" h="126">
                    <a:moveTo>
                      <a:pt x="90" y="0"/>
                    </a:moveTo>
                    <a:lnTo>
                      <a:pt x="60" y="24"/>
                    </a:lnTo>
                    <a:lnTo>
                      <a:pt x="42" y="36"/>
                    </a:lnTo>
                    <a:lnTo>
                      <a:pt x="18" y="30"/>
                    </a:lnTo>
                    <a:lnTo>
                      <a:pt x="12" y="36"/>
                    </a:lnTo>
                    <a:lnTo>
                      <a:pt x="12" y="42"/>
                    </a:lnTo>
                    <a:lnTo>
                      <a:pt x="18" y="48"/>
                    </a:lnTo>
                    <a:lnTo>
                      <a:pt x="12" y="54"/>
                    </a:lnTo>
                    <a:lnTo>
                      <a:pt x="6" y="54"/>
                    </a:lnTo>
                    <a:lnTo>
                      <a:pt x="0" y="48"/>
                    </a:lnTo>
                    <a:lnTo>
                      <a:pt x="0" y="66"/>
                    </a:lnTo>
                    <a:lnTo>
                      <a:pt x="12" y="66"/>
                    </a:lnTo>
                    <a:lnTo>
                      <a:pt x="18" y="72"/>
                    </a:lnTo>
                    <a:lnTo>
                      <a:pt x="12" y="84"/>
                    </a:lnTo>
                    <a:lnTo>
                      <a:pt x="18" y="84"/>
                    </a:lnTo>
                    <a:lnTo>
                      <a:pt x="30" y="90"/>
                    </a:lnTo>
                    <a:lnTo>
                      <a:pt x="30" y="96"/>
                    </a:lnTo>
                    <a:lnTo>
                      <a:pt x="36" y="96"/>
                    </a:lnTo>
                    <a:lnTo>
                      <a:pt x="30" y="114"/>
                    </a:lnTo>
                    <a:lnTo>
                      <a:pt x="30" y="120"/>
                    </a:lnTo>
                    <a:lnTo>
                      <a:pt x="36" y="126"/>
                    </a:lnTo>
                    <a:lnTo>
                      <a:pt x="48" y="126"/>
                    </a:lnTo>
                    <a:lnTo>
                      <a:pt x="54" y="126"/>
                    </a:lnTo>
                    <a:lnTo>
                      <a:pt x="54" y="120"/>
                    </a:lnTo>
                    <a:lnTo>
                      <a:pt x="60" y="120"/>
                    </a:lnTo>
                    <a:lnTo>
                      <a:pt x="60" y="102"/>
                    </a:lnTo>
                    <a:lnTo>
                      <a:pt x="60" y="90"/>
                    </a:lnTo>
                    <a:lnTo>
                      <a:pt x="54" y="84"/>
                    </a:lnTo>
                    <a:lnTo>
                      <a:pt x="48" y="78"/>
                    </a:lnTo>
                    <a:lnTo>
                      <a:pt x="42" y="66"/>
                    </a:lnTo>
                    <a:lnTo>
                      <a:pt x="48" y="60"/>
                    </a:lnTo>
                    <a:lnTo>
                      <a:pt x="72" y="30"/>
                    </a:lnTo>
                    <a:lnTo>
                      <a:pt x="90" y="6"/>
                    </a:lnTo>
                    <a:lnTo>
                      <a:pt x="9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74" name="Group 120"/>
            <p:cNvGrpSpPr>
              <a:grpSpLocks/>
            </p:cNvGrpSpPr>
            <p:nvPr/>
          </p:nvGrpSpPr>
          <p:grpSpPr bwMode="auto">
            <a:xfrm>
              <a:off x="2536011" y="2280407"/>
              <a:ext cx="647710" cy="226555"/>
              <a:chOff x="2112" y="876"/>
              <a:chExt cx="318" cy="132"/>
            </a:xfrm>
            <a:solidFill>
              <a:srgbClr val="0070C0">
                <a:alpha val="27059"/>
              </a:srgbClr>
            </a:solidFill>
          </p:grpSpPr>
          <p:sp>
            <p:nvSpPr>
              <p:cNvPr id="1866" name="Freeform 121"/>
              <p:cNvSpPr>
                <a:spLocks/>
              </p:cNvSpPr>
              <p:nvPr/>
            </p:nvSpPr>
            <p:spPr bwMode="auto">
              <a:xfrm>
                <a:off x="2112" y="876"/>
                <a:ext cx="318" cy="132"/>
              </a:xfrm>
              <a:custGeom>
                <a:avLst/>
                <a:gdLst>
                  <a:gd name="T0" fmla="*/ 18 w 318"/>
                  <a:gd name="T1" fmla="*/ 18 h 132"/>
                  <a:gd name="T2" fmla="*/ 24 w 318"/>
                  <a:gd name="T3" fmla="*/ 12 h 132"/>
                  <a:gd name="T4" fmla="*/ 42 w 318"/>
                  <a:gd name="T5" fmla="*/ 12 h 132"/>
                  <a:gd name="T6" fmla="*/ 60 w 318"/>
                  <a:gd name="T7" fmla="*/ 18 h 132"/>
                  <a:gd name="T8" fmla="*/ 78 w 318"/>
                  <a:gd name="T9" fmla="*/ 36 h 132"/>
                  <a:gd name="T10" fmla="*/ 84 w 318"/>
                  <a:gd name="T11" fmla="*/ 30 h 132"/>
                  <a:gd name="T12" fmla="*/ 90 w 318"/>
                  <a:gd name="T13" fmla="*/ 18 h 132"/>
                  <a:gd name="T14" fmla="*/ 102 w 318"/>
                  <a:gd name="T15" fmla="*/ 18 h 132"/>
                  <a:gd name="T16" fmla="*/ 114 w 318"/>
                  <a:gd name="T17" fmla="*/ 0 h 132"/>
                  <a:gd name="T18" fmla="*/ 126 w 318"/>
                  <a:gd name="T19" fmla="*/ 0 h 132"/>
                  <a:gd name="T20" fmla="*/ 150 w 318"/>
                  <a:gd name="T21" fmla="*/ 6 h 132"/>
                  <a:gd name="T22" fmla="*/ 168 w 318"/>
                  <a:gd name="T23" fmla="*/ 6 h 132"/>
                  <a:gd name="T24" fmla="*/ 192 w 318"/>
                  <a:gd name="T25" fmla="*/ 18 h 132"/>
                  <a:gd name="T26" fmla="*/ 204 w 318"/>
                  <a:gd name="T27" fmla="*/ 24 h 132"/>
                  <a:gd name="T28" fmla="*/ 234 w 318"/>
                  <a:gd name="T29" fmla="*/ 12 h 132"/>
                  <a:gd name="T30" fmla="*/ 240 w 318"/>
                  <a:gd name="T31" fmla="*/ 6 h 132"/>
                  <a:gd name="T32" fmla="*/ 258 w 318"/>
                  <a:gd name="T33" fmla="*/ 6 h 132"/>
                  <a:gd name="T34" fmla="*/ 282 w 318"/>
                  <a:gd name="T35" fmla="*/ 18 h 132"/>
                  <a:gd name="T36" fmla="*/ 300 w 318"/>
                  <a:gd name="T37" fmla="*/ 48 h 132"/>
                  <a:gd name="T38" fmla="*/ 312 w 318"/>
                  <a:gd name="T39" fmla="*/ 54 h 132"/>
                  <a:gd name="T40" fmla="*/ 312 w 318"/>
                  <a:gd name="T41" fmla="*/ 60 h 132"/>
                  <a:gd name="T42" fmla="*/ 294 w 318"/>
                  <a:gd name="T43" fmla="*/ 66 h 132"/>
                  <a:gd name="T44" fmla="*/ 282 w 318"/>
                  <a:gd name="T45" fmla="*/ 72 h 132"/>
                  <a:gd name="T46" fmla="*/ 270 w 318"/>
                  <a:gd name="T47" fmla="*/ 90 h 132"/>
                  <a:gd name="T48" fmla="*/ 252 w 318"/>
                  <a:gd name="T49" fmla="*/ 102 h 132"/>
                  <a:gd name="T50" fmla="*/ 162 w 318"/>
                  <a:gd name="T51" fmla="*/ 126 h 132"/>
                  <a:gd name="T52" fmla="*/ 138 w 318"/>
                  <a:gd name="T53" fmla="*/ 132 h 132"/>
                  <a:gd name="T54" fmla="*/ 126 w 318"/>
                  <a:gd name="T55" fmla="*/ 126 h 132"/>
                  <a:gd name="T56" fmla="*/ 108 w 318"/>
                  <a:gd name="T57" fmla="*/ 120 h 132"/>
                  <a:gd name="T58" fmla="*/ 60 w 318"/>
                  <a:gd name="T59" fmla="*/ 120 h 132"/>
                  <a:gd name="T60" fmla="*/ 60 w 318"/>
                  <a:gd name="T61" fmla="*/ 114 h 132"/>
                  <a:gd name="T62" fmla="*/ 48 w 318"/>
                  <a:gd name="T63" fmla="*/ 84 h 132"/>
                  <a:gd name="T64" fmla="*/ 42 w 318"/>
                  <a:gd name="T65" fmla="*/ 78 h 132"/>
                  <a:gd name="T66" fmla="*/ 12 w 318"/>
                  <a:gd name="T67" fmla="*/ 60 h 132"/>
                  <a:gd name="T68" fmla="*/ 0 w 318"/>
                  <a:gd name="T69" fmla="*/ 48 h 132"/>
                  <a:gd name="T70" fmla="*/ 0 w 318"/>
                  <a:gd name="T71" fmla="*/ 24 h 13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18" h="132">
                    <a:moveTo>
                      <a:pt x="0" y="24"/>
                    </a:moveTo>
                    <a:lnTo>
                      <a:pt x="18" y="18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42" y="12"/>
                    </a:lnTo>
                    <a:lnTo>
                      <a:pt x="48" y="12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78" y="36"/>
                    </a:lnTo>
                    <a:lnTo>
                      <a:pt x="84" y="30"/>
                    </a:lnTo>
                    <a:lnTo>
                      <a:pt x="90" y="24"/>
                    </a:lnTo>
                    <a:lnTo>
                      <a:pt x="90" y="18"/>
                    </a:lnTo>
                    <a:lnTo>
                      <a:pt x="102" y="18"/>
                    </a:lnTo>
                    <a:lnTo>
                      <a:pt x="108" y="6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6" y="0"/>
                    </a:lnTo>
                    <a:lnTo>
                      <a:pt x="138" y="6"/>
                    </a:lnTo>
                    <a:lnTo>
                      <a:pt x="150" y="6"/>
                    </a:lnTo>
                    <a:lnTo>
                      <a:pt x="156" y="6"/>
                    </a:lnTo>
                    <a:lnTo>
                      <a:pt x="168" y="6"/>
                    </a:lnTo>
                    <a:lnTo>
                      <a:pt x="180" y="12"/>
                    </a:lnTo>
                    <a:lnTo>
                      <a:pt x="192" y="18"/>
                    </a:lnTo>
                    <a:lnTo>
                      <a:pt x="198" y="24"/>
                    </a:lnTo>
                    <a:lnTo>
                      <a:pt x="204" y="24"/>
                    </a:lnTo>
                    <a:lnTo>
                      <a:pt x="222" y="18"/>
                    </a:lnTo>
                    <a:lnTo>
                      <a:pt x="234" y="12"/>
                    </a:lnTo>
                    <a:lnTo>
                      <a:pt x="240" y="6"/>
                    </a:lnTo>
                    <a:lnTo>
                      <a:pt x="252" y="6"/>
                    </a:lnTo>
                    <a:lnTo>
                      <a:pt x="258" y="6"/>
                    </a:lnTo>
                    <a:lnTo>
                      <a:pt x="270" y="12"/>
                    </a:lnTo>
                    <a:lnTo>
                      <a:pt x="282" y="18"/>
                    </a:lnTo>
                    <a:lnTo>
                      <a:pt x="276" y="48"/>
                    </a:lnTo>
                    <a:lnTo>
                      <a:pt x="300" y="48"/>
                    </a:lnTo>
                    <a:lnTo>
                      <a:pt x="306" y="48"/>
                    </a:lnTo>
                    <a:lnTo>
                      <a:pt x="312" y="54"/>
                    </a:lnTo>
                    <a:lnTo>
                      <a:pt x="318" y="54"/>
                    </a:lnTo>
                    <a:lnTo>
                      <a:pt x="312" y="60"/>
                    </a:lnTo>
                    <a:lnTo>
                      <a:pt x="306" y="66"/>
                    </a:lnTo>
                    <a:lnTo>
                      <a:pt x="294" y="66"/>
                    </a:lnTo>
                    <a:lnTo>
                      <a:pt x="288" y="66"/>
                    </a:lnTo>
                    <a:lnTo>
                      <a:pt x="282" y="72"/>
                    </a:lnTo>
                    <a:lnTo>
                      <a:pt x="270" y="78"/>
                    </a:lnTo>
                    <a:lnTo>
                      <a:pt x="270" y="90"/>
                    </a:lnTo>
                    <a:lnTo>
                      <a:pt x="264" y="96"/>
                    </a:lnTo>
                    <a:lnTo>
                      <a:pt x="252" y="102"/>
                    </a:lnTo>
                    <a:lnTo>
                      <a:pt x="180" y="120"/>
                    </a:lnTo>
                    <a:lnTo>
                      <a:pt x="162" y="126"/>
                    </a:lnTo>
                    <a:lnTo>
                      <a:pt x="150" y="132"/>
                    </a:lnTo>
                    <a:lnTo>
                      <a:pt x="138" y="132"/>
                    </a:lnTo>
                    <a:lnTo>
                      <a:pt x="132" y="132"/>
                    </a:lnTo>
                    <a:lnTo>
                      <a:pt x="126" y="126"/>
                    </a:lnTo>
                    <a:lnTo>
                      <a:pt x="120" y="120"/>
                    </a:lnTo>
                    <a:lnTo>
                      <a:pt x="108" y="120"/>
                    </a:lnTo>
                    <a:lnTo>
                      <a:pt x="78" y="126"/>
                    </a:lnTo>
                    <a:lnTo>
                      <a:pt x="60" y="120"/>
                    </a:lnTo>
                    <a:lnTo>
                      <a:pt x="60" y="114"/>
                    </a:lnTo>
                    <a:lnTo>
                      <a:pt x="54" y="96"/>
                    </a:lnTo>
                    <a:lnTo>
                      <a:pt x="48" y="84"/>
                    </a:lnTo>
                    <a:lnTo>
                      <a:pt x="48" y="78"/>
                    </a:lnTo>
                    <a:lnTo>
                      <a:pt x="42" y="78"/>
                    </a:lnTo>
                    <a:lnTo>
                      <a:pt x="30" y="72"/>
                    </a:lnTo>
                    <a:lnTo>
                      <a:pt x="12" y="60"/>
                    </a:lnTo>
                    <a:lnTo>
                      <a:pt x="6" y="54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67" name="Freeform 122"/>
              <p:cNvSpPr>
                <a:spLocks/>
              </p:cNvSpPr>
              <p:nvPr/>
            </p:nvSpPr>
            <p:spPr bwMode="auto">
              <a:xfrm>
                <a:off x="2112" y="876"/>
                <a:ext cx="318" cy="132"/>
              </a:xfrm>
              <a:custGeom>
                <a:avLst/>
                <a:gdLst>
                  <a:gd name="T0" fmla="*/ 18 w 318"/>
                  <a:gd name="T1" fmla="*/ 18 h 132"/>
                  <a:gd name="T2" fmla="*/ 30 w 318"/>
                  <a:gd name="T3" fmla="*/ 12 h 132"/>
                  <a:gd name="T4" fmla="*/ 48 w 318"/>
                  <a:gd name="T5" fmla="*/ 12 h 132"/>
                  <a:gd name="T6" fmla="*/ 66 w 318"/>
                  <a:gd name="T7" fmla="*/ 18 h 132"/>
                  <a:gd name="T8" fmla="*/ 84 w 318"/>
                  <a:gd name="T9" fmla="*/ 30 h 132"/>
                  <a:gd name="T10" fmla="*/ 90 w 318"/>
                  <a:gd name="T11" fmla="*/ 18 h 132"/>
                  <a:gd name="T12" fmla="*/ 108 w 318"/>
                  <a:gd name="T13" fmla="*/ 6 h 132"/>
                  <a:gd name="T14" fmla="*/ 120 w 318"/>
                  <a:gd name="T15" fmla="*/ 0 h 132"/>
                  <a:gd name="T16" fmla="*/ 138 w 318"/>
                  <a:gd name="T17" fmla="*/ 6 h 132"/>
                  <a:gd name="T18" fmla="*/ 156 w 318"/>
                  <a:gd name="T19" fmla="*/ 6 h 132"/>
                  <a:gd name="T20" fmla="*/ 180 w 318"/>
                  <a:gd name="T21" fmla="*/ 12 h 132"/>
                  <a:gd name="T22" fmla="*/ 198 w 318"/>
                  <a:gd name="T23" fmla="*/ 24 h 132"/>
                  <a:gd name="T24" fmla="*/ 222 w 318"/>
                  <a:gd name="T25" fmla="*/ 18 h 132"/>
                  <a:gd name="T26" fmla="*/ 240 w 318"/>
                  <a:gd name="T27" fmla="*/ 6 h 132"/>
                  <a:gd name="T28" fmla="*/ 258 w 318"/>
                  <a:gd name="T29" fmla="*/ 6 h 132"/>
                  <a:gd name="T30" fmla="*/ 282 w 318"/>
                  <a:gd name="T31" fmla="*/ 18 h 132"/>
                  <a:gd name="T32" fmla="*/ 300 w 318"/>
                  <a:gd name="T33" fmla="*/ 48 h 132"/>
                  <a:gd name="T34" fmla="*/ 312 w 318"/>
                  <a:gd name="T35" fmla="*/ 54 h 132"/>
                  <a:gd name="T36" fmla="*/ 312 w 318"/>
                  <a:gd name="T37" fmla="*/ 60 h 132"/>
                  <a:gd name="T38" fmla="*/ 294 w 318"/>
                  <a:gd name="T39" fmla="*/ 66 h 132"/>
                  <a:gd name="T40" fmla="*/ 282 w 318"/>
                  <a:gd name="T41" fmla="*/ 72 h 132"/>
                  <a:gd name="T42" fmla="*/ 270 w 318"/>
                  <a:gd name="T43" fmla="*/ 90 h 132"/>
                  <a:gd name="T44" fmla="*/ 252 w 318"/>
                  <a:gd name="T45" fmla="*/ 102 h 132"/>
                  <a:gd name="T46" fmla="*/ 162 w 318"/>
                  <a:gd name="T47" fmla="*/ 126 h 132"/>
                  <a:gd name="T48" fmla="*/ 138 w 318"/>
                  <a:gd name="T49" fmla="*/ 132 h 132"/>
                  <a:gd name="T50" fmla="*/ 126 w 318"/>
                  <a:gd name="T51" fmla="*/ 126 h 132"/>
                  <a:gd name="T52" fmla="*/ 108 w 318"/>
                  <a:gd name="T53" fmla="*/ 120 h 132"/>
                  <a:gd name="T54" fmla="*/ 60 w 318"/>
                  <a:gd name="T55" fmla="*/ 120 h 132"/>
                  <a:gd name="T56" fmla="*/ 54 w 318"/>
                  <a:gd name="T57" fmla="*/ 96 h 132"/>
                  <a:gd name="T58" fmla="*/ 48 w 318"/>
                  <a:gd name="T59" fmla="*/ 78 h 132"/>
                  <a:gd name="T60" fmla="*/ 30 w 318"/>
                  <a:gd name="T61" fmla="*/ 72 h 132"/>
                  <a:gd name="T62" fmla="*/ 6 w 318"/>
                  <a:gd name="T63" fmla="*/ 54 h 132"/>
                  <a:gd name="T64" fmla="*/ 0 w 318"/>
                  <a:gd name="T65" fmla="*/ 36 h 13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18" h="132">
                    <a:moveTo>
                      <a:pt x="0" y="24"/>
                    </a:moveTo>
                    <a:lnTo>
                      <a:pt x="18" y="18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42" y="12"/>
                    </a:lnTo>
                    <a:lnTo>
                      <a:pt x="48" y="12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78" y="36"/>
                    </a:lnTo>
                    <a:lnTo>
                      <a:pt x="84" y="30"/>
                    </a:lnTo>
                    <a:lnTo>
                      <a:pt x="90" y="24"/>
                    </a:lnTo>
                    <a:lnTo>
                      <a:pt x="90" y="18"/>
                    </a:lnTo>
                    <a:lnTo>
                      <a:pt x="102" y="18"/>
                    </a:lnTo>
                    <a:lnTo>
                      <a:pt x="108" y="6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6" y="0"/>
                    </a:lnTo>
                    <a:lnTo>
                      <a:pt x="138" y="6"/>
                    </a:lnTo>
                    <a:lnTo>
                      <a:pt x="150" y="6"/>
                    </a:lnTo>
                    <a:lnTo>
                      <a:pt x="156" y="6"/>
                    </a:lnTo>
                    <a:lnTo>
                      <a:pt x="168" y="6"/>
                    </a:lnTo>
                    <a:lnTo>
                      <a:pt x="180" y="12"/>
                    </a:lnTo>
                    <a:lnTo>
                      <a:pt x="192" y="18"/>
                    </a:lnTo>
                    <a:lnTo>
                      <a:pt x="198" y="24"/>
                    </a:lnTo>
                    <a:lnTo>
                      <a:pt x="204" y="24"/>
                    </a:lnTo>
                    <a:lnTo>
                      <a:pt x="222" y="18"/>
                    </a:lnTo>
                    <a:lnTo>
                      <a:pt x="234" y="12"/>
                    </a:lnTo>
                    <a:lnTo>
                      <a:pt x="240" y="6"/>
                    </a:lnTo>
                    <a:lnTo>
                      <a:pt x="252" y="6"/>
                    </a:lnTo>
                    <a:lnTo>
                      <a:pt x="258" y="6"/>
                    </a:lnTo>
                    <a:lnTo>
                      <a:pt x="270" y="12"/>
                    </a:lnTo>
                    <a:lnTo>
                      <a:pt x="282" y="18"/>
                    </a:lnTo>
                    <a:lnTo>
                      <a:pt x="276" y="48"/>
                    </a:lnTo>
                    <a:lnTo>
                      <a:pt x="300" y="48"/>
                    </a:lnTo>
                    <a:lnTo>
                      <a:pt x="306" y="48"/>
                    </a:lnTo>
                    <a:lnTo>
                      <a:pt x="312" y="54"/>
                    </a:lnTo>
                    <a:lnTo>
                      <a:pt x="318" y="54"/>
                    </a:lnTo>
                    <a:lnTo>
                      <a:pt x="312" y="60"/>
                    </a:lnTo>
                    <a:lnTo>
                      <a:pt x="306" y="66"/>
                    </a:lnTo>
                    <a:lnTo>
                      <a:pt x="294" y="66"/>
                    </a:lnTo>
                    <a:lnTo>
                      <a:pt x="288" y="66"/>
                    </a:lnTo>
                    <a:lnTo>
                      <a:pt x="282" y="72"/>
                    </a:lnTo>
                    <a:lnTo>
                      <a:pt x="270" y="78"/>
                    </a:lnTo>
                    <a:lnTo>
                      <a:pt x="270" y="90"/>
                    </a:lnTo>
                    <a:lnTo>
                      <a:pt x="264" y="96"/>
                    </a:lnTo>
                    <a:lnTo>
                      <a:pt x="252" y="102"/>
                    </a:lnTo>
                    <a:lnTo>
                      <a:pt x="180" y="120"/>
                    </a:lnTo>
                    <a:lnTo>
                      <a:pt x="162" y="126"/>
                    </a:lnTo>
                    <a:lnTo>
                      <a:pt x="150" y="132"/>
                    </a:lnTo>
                    <a:lnTo>
                      <a:pt x="138" y="132"/>
                    </a:lnTo>
                    <a:lnTo>
                      <a:pt x="132" y="132"/>
                    </a:lnTo>
                    <a:lnTo>
                      <a:pt x="126" y="126"/>
                    </a:lnTo>
                    <a:lnTo>
                      <a:pt x="120" y="120"/>
                    </a:lnTo>
                    <a:lnTo>
                      <a:pt x="108" y="120"/>
                    </a:lnTo>
                    <a:lnTo>
                      <a:pt x="78" y="126"/>
                    </a:lnTo>
                    <a:lnTo>
                      <a:pt x="60" y="120"/>
                    </a:lnTo>
                    <a:lnTo>
                      <a:pt x="60" y="114"/>
                    </a:lnTo>
                    <a:lnTo>
                      <a:pt x="54" y="96"/>
                    </a:lnTo>
                    <a:lnTo>
                      <a:pt x="48" y="84"/>
                    </a:lnTo>
                    <a:lnTo>
                      <a:pt x="48" y="78"/>
                    </a:lnTo>
                    <a:lnTo>
                      <a:pt x="42" y="78"/>
                    </a:lnTo>
                    <a:lnTo>
                      <a:pt x="30" y="72"/>
                    </a:lnTo>
                    <a:lnTo>
                      <a:pt x="12" y="60"/>
                    </a:lnTo>
                    <a:lnTo>
                      <a:pt x="6" y="54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75" name="Group 123"/>
            <p:cNvGrpSpPr>
              <a:grpSpLocks/>
            </p:cNvGrpSpPr>
            <p:nvPr/>
          </p:nvGrpSpPr>
          <p:grpSpPr bwMode="auto">
            <a:xfrm>
              <a:off x="2243869" y="2217699"/>
              <a:ext cx="1207008" cy="732257"/>
              <a:chOff x="1968" y="840"/>
              <a:chExt cx="594" cy="426"/>
            </a:xfrm>
            <a:solidFill>
              <a:srgbClr val="0070C0">
                <a:alpha val="27059"/>
              </a:srgbClr>
            </a:solidFill>
          </p:grpSpPr>
          <p:sp>
            <p:nvSpPr>
              <p:cNvPr id="1864" name="Freeform 124"/>
              <p:cNvSpPr>
                <a:spLocks/>
              </p:cNvSpPr>
              <p:nvPr/>
            </p:nvSpPr>
            <p:spPr bwMode="auto">
              <a:xfrm>
                <a:off x="1968" y="840"/>
                <a:ext cx="594" cy="426"/>
              </a:xfrm>
              <a:custGeom>
                <a:avLst/>
                <a:gdLst>
                  <a:gd name="T0" fmla="*/ 156 w 594"/>
                  <a:gd name="T1" fmla="*/ 96 h 426"/>
                  <a:gd name="T2" fmla="*/ 198 w 594"/>
                  <a:gd name="T3" fmla="*/ 132 h 426"/>
                  <a:gd name="T4" fmla="*/ 252 w 594"/>
                  <a:gd name="T5" fmla="*/ 156 h 426"/>
                  <a:gd name="T6" fmla="*/ 300 w 594"/>
                  <a:gd name="T7" fmla="*/ 168 h 426"/>
                  <a:gd name="T8" fmla="*/ 414 w 594"/>
                  <a:gd name="T9" fmla="*/ 126 h 426"/>
                  <a:gd name="T10" fmla="*/ 450 w 594"/>
                  <a:gd name="T11" fmla="*/ 102 h 426"/>
                  <a:gd name="T12" fmla="*/ 444 w 594"/>
                  <a:gd name="T13" fmla="*/ 84 h 426"/>
                  <a:gd name="T14" fmla="*/ 444 w 594"/>
                  <a:gd name="T15" fmla="*/ 24 h 426"/>
                  <a:gd name="T16" fmla="*/ 474 w 594"/>
                  <a:gd name="T17" fmla="*/ 0 h 426"/>
                  <a:gd name="T18" fmla="*/ 504 w 594"/>
                  <a:gd name="T19" fmla="*/ 18 h 426"/>
                  <a:gd name="T20" fmla="*/ 528 w 594"/>
                  <a:gd name="T21" fmla="*/ 66 h 426"/>
                  <a:gd name="T22" fmla="*/ 558 w 594"/>
                  <a:gd name="T23" fmla="*/ 84 h 426"/>
                  <a:gd name="T24" fmla="*/ 594 w 594"/>
                  <a:gd name="T25" fmla="*/ 60 h 426"/>
                  <a:gd name="T26" fmla="*/ 558 w 594"/>
                  <a:gd name="T27" fmla="*/ 120 h 426"/>
                  <a:gd name="T28" fmla="*/ 516 w 594"/>
                  <a:gd name="T29" fmla="*/ 162 h 426"/>
                  <a:gd name="T30" fmla="*/ 486 w 594"/>
                  <a:gd name="T31" fmla="*/ 174 h 426"/>
                  <a:gd name="T32" fmla="*/ 456 w 594"/>
                  <a:gd name="T33" fmla="*/ 204 h 426"/>
                  <a:gd name="T34" fmla="*/ 456 w 594"/>
                  <a:gd name="T35" fmla="*/ 192 h 426"/>
                  <a:gd name="T36" fmla="*/ 432 w 594"/>
                  <a:gd name="T37" fmla="*/ 198 h 426"/>
                  <a:gd name="T38" fmla="*/ 414 w 594"/>
                  <a:gd name="T39" fmla="*/ 204 h 426"/>
                  <a:gd name="T40" fmla="*/ 468 w 594"/>
                  <a:gd name="T41" fmla="*/ 222 h 426"/>
                  <a:gd name="T42" fmla="*/ 438 w 594"/>
                  <a:gd name="T43" fmla="*/ 240 h 426"/>
                  <a:gd name="T44" fmla="*/ 456 w 594"/>
                  <a:gd name="T45" fmla="*/ 288 h 426"/>
                  <a:gd name="T46" fmla="*/ 444 w 594"/>
                  <a:gd name="T47" fmla="*/ 342 h 426"/>
                  <a:gd name="T48" fmla="*/ 396 w 594"/>
                  <a:gd name="T49" fmla="*/ 390 h 426"/>
                  <a:gd name="T50" fmla="*/ 354 w 594"/>
                  <a:gd name="T51" fmla="*/ 402 h 426"/>
                  <a:gd name="T52" fmla="*/ 336 w 594"/>
                  <a:gd name="T53" fmla="*/ 426 h 426"/>
                  <a:gd name="T54" fmla="*/ 342 w 594"/>
                  <a:gd name="T55" fmla="*/ 402 h 426"/>
                  <a:gd name="T56" fmla="*/ 324 w 594"/>
                  <a:gd name="T57" fmla="*/ 402 h 426"/>
                  <a:gd name="T58" fmla="*/ 306 w 594"/>
                  <a:gd name="T59" fmla="*/ 384 h 426"/>
                  <a:gd name="T60" fmla="*/ 270 w 594"/>
                  <a:gd name="T61" fmla="*/ 384 h 426"/>
                  <a:gd name="T62" fmla="*/ 264 w 594"/>
                  <a:gd name="T63" fmla="*/ 408 h 426"/>
                  <a:gd name="T64" fmla="*/ 234 w 594"/>
                  <a:gd name="T65" fmla="*/ 396 h 426"/>
                  <a:gd name="T66" fmla="*/ 240 w 594"/>
                  <a:gd name="T67" fmla="*/ 360 h 426"/>
                  <a:gd name="T68" fmla="*/ 222 w 594"/>
                  <a:gd name="T69" fmla="*/ 336 h 426"/>
                  <a:gd name="T70" fmla="*/ 174 w 594"/>
                  <a:gd name="T71" fmla="*/ 330 h 426"/>
                  <a:gd name="T72" fmla="*/ 138 w 594"/>
                  <a:gd name="T73" fmla="*/ 336 h 426"/>
                  <a:gd name="T74" fmla="*/ 84 w 594"/>
                  <a:gd name="T75" fmla="*/ 324 h 426"/>
                  <a:gd name="T76" fmla="*/ 66 w 594"/>
                  <a:gd name="T77" fmla="*/ 282 h 426"/>
                  <a:gd name="T78" fmla="*/ 66 w 594"/>
                  <a:gd name="T79" fmla="*/ 258 h 426"/>
                  <a:gd name="T80" fmla="*/ 36 w 594"/>
                  <a:gd name="T81" fmla="*/ 246 h 426"/>
                  <a:gd name="T82" fmla="*/ 12 w 594"/>
                  <a:gd name="T83" fmla="*/ 222 h 426"/>
                  <a:gd name="T84" fmla="*/ 0 w 594"/>
                  <a:gd name="T85" fmla="*/ 204 h 426"/>
                  <a:gd name="T86" fmla="*/ 12 w 594"/>
                  <a:gd name="T87" fmla="*/ 186 h 426"/>
                  <a:gd name="T88" fmla="*/ 42 w 594"/>
                  <a:gd name="T89" fmla="*/ 180 h 426"/>
                  <a:gd name="T90" fmla="*/ 66 w 594"/>
                  <a:gd name="T91" fmla="*/ 150 h 426"/>
                  <a:gd name="T92" fmla="*/ 60 w 594"/>
                  <a:gd name="T93" fmla="*/ 132 h 426"/>
                  <a:gd name="T94" fmla="*/ 78 w 594"/>
                  <a:gd name="T95" fmla="*/ 126 h 426"/>
                  <a:gd name="T96" fmla="*/ 96 w 594"/>
                  <a:gd name="T97" fmla="*/ 96 h 426"/>
                  <a:gd name="T98" fmla="*/ 114 w 594"/>
                  <a:gd name="T99" fmla="*/ 78 h 426"/>
                  <a:gd name="T100" fmla="*/ 138 w 594"/>
                  <a:gd name="T101" fmla="*/ 66 h 426"/>
                  <a:gd name="T102" fmla="*/ 144 w 594"/>
                  <a:gd name="T103" fmla="*/ 60 h 42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594" h="426">
                    <a:moveTo>
                      <a:pt x="144" y="60"/>
                    </a:moveTo>
                    <a:lnTo>
                      <a:pt x="144" y="72"/>
                    </a:lnTo>
                    <a:lnTo>
                      <a:pt x="144" y="84"/>
                    </a:lnTo>
                    <a:lnTo>
                      <a:pt x="150" y="90"/>
                    </a:lnTo>
                    <a:lnTo>
                      <a:pt x="156" y="96"/>
                    </a:lnTo>
                    <a:lnTo>
                      <a:pt x="174" y="108"/>
                    </a:lnTo>
                    <a:lnTo>
                      <a:pt x="186" y="114"/>
                    </a:lnTo>
                    <a:lnTo>
                      <a:pt x="192" y="114"/>
                    </a:lnTo>
                    <a:lnTo>
                      <a:pt x="192" y="120"/>
                    </a:lnTo>
                    <a:lnTo>
                      <a:pt x="198" y="132"/>
                    </a:lnTo>
                    <a:lnTo>
                      <a:pt x="204" y="150"/>
                    </a:lnTo>
                    <a:lnTo>
                      <a:pt x="204" y="156"/>
                    </a:lnTo>
                    <a:lnTo>
                      <a:pt x="222" y="162"/>
                    </a:lnTo>
                    <a:lnTo>
                      <a:pt x="252" y="156"/>
                    </a:lnTo>
                    <a:lnTo>
                      <a:pt x="264" y="156"/>
                    </a:lnTo>
                    <a:lnTo>
                      <a:pt x="270" y="162"/>
                    </a:lnTo>
                    <a:lnTo>
                      <a:pt x="276" y="168"/>
                    </a:lnTo>
                    <a:lnTo>
                      <a:pt x="282" y="168"/>
                    </a:lnTo>
                    <a:lnTo>
                      <a:pt x="300" y="168"/>
                    </a:lnTo>
                    <a:lnTo>
                      <a:pt x="306" y="162"/>
                    </a:lnTo>
                    <a:lnTo>
                      <a:pt x="324" y="156"/>
                    </a:lnTo>
                    <a:lnTo>
                      <a:pt x="396" y="138"/>
                    </a:lnTo>
                    <a:lnTo>
                      <a:pt x="408" y="132"/>
                    </a:lnTo>
                    <a:lnTo>
                      <a:pt x="414" y="126"/>
                    </a:lnTo>
                    <a:lnTo>
                      <a:pt x="414" y="114"/>
                    </a:lnTo>
                    <a:lnTo>
                      <a:pt x="426" y="108"/>
                    </a:lnTo>
                    <a:lnTo>
                      <a:pt x="432" y="108"/>
                    </a:lnTo>
                    <a:lnTo>
                      <a:pt x="438" y="102"/>
                    </a:lnTo>
                    <a:lnTo>
                      <a:pt x="450" y="102"/>
                    </a:lnTo>
                    <a:lnTo>
                      <a:pt x="456" y="96"/>
                    </a:lnTo>
                    <a:lnTo>
                      <a:pt x="456" y="90"/>
                    </a:lnTo>
                    <a:lnTo>
                      <a:pt x="450" y="84"/>
                    </a:lnTo>
                    <a:lnTo>
                      <a:pt x="444" y="84"/>
                    </a:lnTo>
                    <a:lnTo>
                      <a:pt x="420" y="84"/>
                    </a:lnTo>
                    <a:lnTo>
                      <a:pt x="426" y="54"/>
                    </a:lnTo>
                    <a:lnTo>
                      <a:pt x="444" y="42"/>
                    </a:lnTo>
                    <a:lnTo>
                      <a:pt x="444" y="36"/>
                    </a:lnTo>
                    <a:lnTo>
                      <a:pt x="444" y="24"/>
                    </a:lnTo>
                    <a:lnTo>
                      <a:pt x="444" y="18"/>
                    </a:lnTo>
                    <a:lnTo>
                      <a:pt x="450" y="6"/>
                    </a:lnTo>
                    <a:lnTo>
                      <a:pt x="456" y="0"/>
                    </a:lnTo>
                    <a:lnTo>
                      <a:pt x="462" y="0"/>
                    </a:lnTo>
                    <a:lnTo>
                      <a:pt x="474" y="0"/>
                    </a:lnTo>
                    <a:lnTo>
                      <a:pt x="486" y="0"/>
                    </a:lnTo>
                    <a:lnTo>
                      <a:pt x="492" y="0"/>
                    </a:lnTo>
                    <a:lnTo>
                      <a:pt x="492" y="6"/>
                    </a:lnTo>
                    <a:lnTo>
                      <a:pt x="498" y="12"/>
                    </a:lnTo>
                    <a:lnTo>
                      <a:pt x="504" y="18"/>
                    </a:lnTo>
                    <a:lnTo>
                      <a:pt x="504" y="36"/>
                    </a:lnTo>
                    <a:lnTo>
                      <a:pt x="516" y="48"/>
                    </a:lnTo>
                    <a:lnTo>
                      <a:pt x="522" y="54"/>
                    </a:lnTo>
                    <a:lnTo>
                      <a:pt x="528" y="66"/>
                    </a:lnTo>
                    <a:lnTo>
                      <a:pt x="534" y="66"/>
                    </a:lnTo>
                    <a:lnTo>
                      <a:pt x="546" y="66"/>
                    </a:lnTo>
                    <a:lnTo>
                      <a:pt x="552" y="78"/>
                    </a:lnTo>
                    <a:lnTo>
                      <a:pt x="552" y="84"/>
                    </a:lnTo>
                    <a:lnTo>
                      <a:pt x="558" y="84"/>
                    </a:lnTo>
                    <a:lnTo>
                      <a:pt x="570" y="78"/>
                    </a:lnTo>
                    <a:lnTo>
                      <a:pt x="576" y="66"/>
                    </a:lnTo>
                    <a:lnTo>
                      <a:pt x="582" y="60"/>
                    </a:lnTo>
                    <a:lnTo>
                      <a:pt x="594" y="54"/>
                    </a:lnTo>
                    <a:lnTo>
                      <a:pt x="594" y="60"/>
                    </a:lnTo>
                    <a:lnTo>
                      <a:pt x="588" y="78"/>
                    </a:lnTo>
                    <a:lnTo>
                      <a:pt x="582" y="90"/>
                    </a:lnTo>
                    <a:lnTo>
                      <a:pt x="570" y="108"/>
                    </a:lnTo>
                    <a:lnTo>
                      <a:pt x="564" y="114"/>
                    </a:lnTo>
                    <a:lnTo>
                      <a:pt x="558" y="120"/>
                    </a:lnTo>
                    <a:lnTo>
                      <a:pt x="558" y="126"/>
                    </a:lnTo>
                    <a:lnTo>
                      <a:pt x="540" y="138"/>
                    </a:lnTo>
                    <a:lnTo>
                      <a:pt x="522" y="156"/>
                    </a:lnTo>
                    <a:lnTo>
                      <a:pt x="516" y="162"/>
                    </a:lnTo>
                    <a:lnTo>
                      <a:pt x="504" y="162"/>
                    </a:lnTo>
                    <a:lnTo>
                      <a:pt x="492" y="162"/>
                    </a:lnTo>
                    <a:lnTo>
                      <a:pt x="486" y="162"/>
                    </a:lnTo>
                    <a:lnTo>
                      <a:pt x="486" y="174"/>
                    </a:lnTo>
                    <a:lnTo>
                      <a:pt x="486" y="180"/>
                    </a:lnTo>
                    <a:lnTo>
                      <a:pt x="480" y="180"/>
                    </a:lnTo>
                    <a:lnTo>
                      <a:pt x="474" y="180"/>
                    </a:lnTo>
                    <a:lnTo>
                      <a:pt x="474" y="192"/>
                    </a:lnTo>
                    <a:lnTo>
                      <a:pt x="456" y="204"/>
                    </a:lnTo>
                    <a:lnTo>
                      <a:pt x="450" y="204"/>
                    </a:lnTo>
                    <a:lnTo>
                      <a:pt x="450" y="198"/>
                    </a:lnTo>
                    <a:lnTo>
                      <a:pt x="456" y="192"/>
                    </a:lnTo>
                    <a:lnTo>
                      <a:pt x="456" y="186"/>
                    </a:lnTo>
                    <a:lnTo>
                      <a:pt x="450" y="186"/>
                    </a:lnTo>
                    <a:lnTo>
                      <a:pt x="444" y="192"/>
                    </a:lnTo>
                    <a:lnTo>
                      <a:pt x="438" y="192"/>
                    </a:lnTo>
                    <a:lnTo>
                      <a:pt x="432" y="198"/>
                    </a:lnTo>
                    <a:lnTo>
                      <a:pt x="420" y="198"/>
                    </a:lnTo>
                    <a:lnTo>
                      <a:pt x="414" y="198"/>
                    </a:lnTo>
                    <a:lnTo>
                      <a:pt x="414" y="204"/>
                    </a:lnTo>
                    <a:lnTo>
                      <a:pt x="432" y="222"/>
                    </a:lnTo>
                    <a:lnTo>
                      <a:pt x="444" y="216"/>
                    </a:lnTo>
                    <a:lnTo>
                      <a:pt x="456" y="216"/>
                    </a:lnTo>
                    <a:lnTo>
                      <a:pt x="462" y="216"/>
                    </a:lnTo>
                    <a:lnTo>
                      <a:pt x="468" y="222"/>
                    </a:lnTo>
                    <a:lnTo>
                      <a:pt x="456" y="228"/>
                    </a:lnTo>
                    <a:lnTo>
                      <a:pt x="444" y="234"/>
                    </a:lnTo>
                    <a:lnTo>
                      <a:pt x="438" y="240"/>
                    </a:lnTo>
                    <a:lnTo>
                      <a:pt x="432" y="246"/>
                    </a:lnTo>
                    <a:lnTo>
                      <a:pt x="438" y="252"/>
                    </a:lnTo>
                    <a:lnTo>
                      <a:pt x="444" y="264"/>
                    </a:lnTo>
                    <a:lnTo>
                      <a:pt x="450" y="270"/>
                    </a:lnTo>
                    <a:lnTo>
                      <a:pt x="456" y="288"/>
                    </a:lnTo>
                    <a:lnTo>
                      <a:pt x="462" y="300"/>
                    </a:lnTo>
                    <a:lnTo>
                      <a:pt x="462" y="312"/>
                    </a:lnTo>
                    <a:lnTo>
                      <a:pt x="456" y="324"/>
                    </a:lnTo>
                    <a:lnTo>
                      <a:pt x="444" y="342"/>
                    </a:lnTo>
                    <a:lnTo>
                      <a:pt x="438" y="360"/>
                    </a:lnTo>
                    <a:lnTo>
                      <a:pt x="420" y="372"/>
                    </a:lnTo>
                    <a:lnTo>
                      <a:pt x="408" y="384"/>
                    </a:lnTo>
                    <a:lnTo>
                      <a:pt x="408" y="390"/>
                    </a:lnTo>
                    <a:lnTo>
                      <a:pt x="396" y="390"/>
                    </a:lnTo>
                    <a:lnTo>
                      <a:pt x="378" y="390"/>
                    </a:lnTo>
                    <a:lnTo>
                      <a:pt x="372" y="396"/>
                    </a:lnTo>
                    <a:lnTo>
                      <a:pt x="360" y="396"/>
                    </a:lnTo>
                    <a:lnTo>
                      <a:pt x="354" y="402"/>
                    </a:lnTo>
                    <a:lnTo>
                      <a:pt x="354" y="408"/>
                    </a:lnTo>
                    <a:lnTo>
                      <a:pt x="354" y="420"/>
                    </a:lnTo>
                    <a:lnTo>
                      <a:pt x="354" y="426"/>
                    </a:lnTo>
                    <a:lnTo>
                      <a:pt x="342" y="426"/>
                    </a:lnTo>
                    <a:lnTo>
                      <a:pt x="336" y="426"/>
                    </a:lnTo>
                    <a:lnTo>
                      <a:pt x="336" y="420"/>
                    </a:lnTo>
                    <a:lnTo>
                      <a:pt x="342" y="420"/>
                    </a:lnTo>
                    <a:lnTo>
                      <a:pt x="342" y="414"/>
                    </a:lnTo>
                    <a:lnTo>
                      <a:pt x="342" y="408"/>
                    </a:lnTo>
                    <a:lnTo>
                      <a:pt x="342" y="402"/>
                    </a:lnTo>
                    <a:lnTo>
                      <a:pt x="330" y="396"/>
                    </a:lnTo>
                    <a:lnTo>
                      <a:pt x="324" y="402"/>
                    </a:lnTo>
                    <a:lnTo>
                      <a:pt x="324" y="396"/>
                    </a:lnTo>
                    <a:lnTo>
                      <a:pt x="312" y="384"/>
                    </a:lnTo>
                    <a:lnTo>
                      <a:pt x="306" y="384"/>
                    </a:lnTo>
                    <a:lnTo>
                      <a:pt x="294" y="384"/>
                    </a:lnTo>
                    <a:lnTo>
                      <a:pt x="288" y="384"/>
                    </a:lnTo>
                    <a:lnTo>
                      <a:pt x="276" y="384"/>
                    </a:lnTo>
                    <a:lnTo>
                      <a:pt x="270" y="384"/>
                    </a:lnTo>
                    <a:lnTo>
                      <a:pt x="270" y="390"/>
                    </a:lnTo>
                    <a:lnTo>
                      <a:pt x="264" y="390"/>
                    </a:lnTo>
                    <a:lnTo>
                      <a:pt x="270" y="396"/>
                    </a:lnTo>
                    <a:lnTo>
                      <a:pt x="270" y="402"/>
                    </a:lnTo>
                    <a:lnTo>
                      <a:pt x="264" y="408"/>
                    </a:lnTo>
                    <a:lnTo>
                      <a:pt x="246" y="408"/>
                    </a:lnTo>
                    <a:lnTo>
                      <a:pt x="252" y="396"/>
                    </a:lnTo>
                    <a:lnTo>
                      <a:pt x="246" y="396"/>
                    </a:lnTo>
                    <a:lnTo>
                      <a:pt x="234" y="396"/>
                    </a:lnTo>
                    <a:lnTo>
                      <a:pt x="234" y="390"/>
                    </a:lnTo>
                    <a:lnTo>
                      <a:pt x="228" y="390"/>
                    </a:lnTo>
                    <a:lnTo>
                      <a:pt x="234" y="372"/>
                    </a:lnTo>
                    <a:lnTo>
                      <a:pt x="234" y="366"/>
                    </a:lnTo>
                    <a:lnTo>
                      <a:pt x="240" y="360"/>
                    </a:lnTo>
                    <a:lnTo>
                      <a:pt x="240" y="348"/>
                    </a:lnTo>
                    <a:lnTo>
                      <a:pt x="234" y="342"/>
                    </a:lnTo>
                    <a:lnTo>
                      <a:pt x="228" y="336"/>
                    </a:lnTo>
                    <a:lnTo>
                      <a:pt x="222" y="336"/>
                    </a:lnTo>
                    <a:lnTo>
                      <a:pt x="198" y="336"/>
                    </a:lnTo>
                    <a:lnTo>
                      <a:pt x="186" y="336"/>
                    </a:lnTo>
                    <a:lnTo>
                      <a:pt x="186" y="330"/>
                    </a:lnTo>
                    <a:lnTo>
                      <a:pt x="180" y="330"/>
                    </a:lnTo>
                    <a:lnTo>
                      <a:pt x="174" y="330"/>
                    </a:lnTo>
                    <a:lnTo>
                      <a:pt x="162" y="330"/>
                    </a:lnTo>
                    <a:lnTo>
                      <a:pt x="156" y="330"/>
                    </a:lnTo>
                    <a:lnTo>
                      <a:pt x="144" y="330"/>
                    </a:lnTo>
                    <a:lnTo>
                      <a:pt x="138" y="336"/>
                    </a:lnTo>
                    <a:lnTo>
                      <a:pt x="132" y="336"/>
                    </a:lnTo>
                    <a:lnTo>
                      <a:pt x="84" y="324"/>
                    </a:lnTo>
                    <a:lnTo>
                      <a:pt x="66" y="312"/>
                    </a:lnTo>
                    <a:lnTo>
                      <a:pt x="60" y="300"/>
                    </a:lnTo>
                    <a:lnTo>
                      <a:pt x="60" y="294"/>
                    </a:lnTo>
                    <a:lnTo>
                      <a:pt x="66" y="288"/>
                    </a:lnTo>
                    <a:lnTo>
                      <a:pt x="66" y="282"/>
                    </a:lnTo>
                    <a:lnTo>
                      <a:pt x="72" y="282"/>
                    </a:lnTo>
                    <a:lnTo>
                      <a:pt x="66" y="276"/>
                    </a:lnTo>
                    <a:lnTo>
                      <a:pt x="72" y="270"/>
                    </a:lnTo>
                    <a:lnTo>
                      <a:pt x="66" y="264"/>
                    </a:lnTo>
                    <a:lnTo>
                      <a:pt x="66" y="258"/>
                    </a:lnTo>
                    <a:lnTo>
                      <a:pt x="66" y="252"/>
                    </a:lnTo>
                    <a:lnTo>
                      <a:pt x="60" y="252"/>
                    </a:lnTo>
                    <a:lnTo>
                      <a:pt x="48" y="246"/>
                    </a:lnTo>
                    <a:lnTo>
                      <a:pt x="42" y="246"/>
                    </a:lnTo>
                    <a:lnTo>
                      <a:pt x="36" y="246"/>
                    </a:lnTo>
                    <a:lnTo>
                      <a:pt x="24" y="246"/>
                    </a:lnTo>
                    <a:lnTo>
                      <a:pt x="18" y="234"/>
                    </a:lnTo>
                    <a:lnTo>
                      <a:pt x="18" y="228"/>
                    </a:lnTo>
                    <a:lnTo>
                      <a:pt x="12" y="222"/>
                    </a:lnTo>
                    <a:lnTo>
                      <a:pt x="12" y="216"/>
                    </a:lnTo>
                    <a:lnTo>
                      <a:pt x="6" y="210"/>
                    </a:lnTo>
                    <a:lnTo>
                      <a:pt x="0" y="210"/>
                    </a:lnTo>
                    <a:lnTo>
                      <a:pt x="0" y="204"/>
                    </a:lnTo>
                    <a:lnTo>
                      <a:pt x="0" y="198"/>
                    </a:lnTo>
                    <a:lnTo>
                      <a:pt x="0" y="192"/>
                    </a:lnTo>
                    <a:lnTo>
                      <a:pt x="6" y="192"/>
                    </a:lnTo>
                    <a:lnTo>
                      <a:pt x="6" y="186"/>
                    </a:lnTo>
                    <a:lnTo>
                      <a:pt x="12" y="186"/>
                    </a:lnTo>
                    <a:lnTo>
                      <a:pt x="24" y="186"/>
                    </a:lnTo>
                    <a:lnTo>
                      <a:pt x="30" y="180"/>
                    </a:lnTo>
                    <a:lnTo>
                      <a:pt x="36" y="180"/>
                    </a:lnTo>
                    <a:lnTo>
                      <a:pt x="42" y="180"/>
                    </a:lnTo>
                    <a:lnTo>
                      <a:pt x="48" y="174"/>
                    </a:lnTo>
                    <a:lnTo>
                      <a:pt x="54" y="174"/>
                    </a:lnTo>
                    <a:lnTo>
                      <a:pt x="60" y="162"/>
                    </a:lnTo>
                    <a:lnTo>
                      <a:pt x="60" y="156"/>
                    </a:lnTo>
                    <a:lnTo>
                      <a:pt x="66" y="150"/>
                    </a:lnTo>
                    <a:lnTo>
                      <a:pt x="60" y="150"/>
                    </a:lnTo>
                    <a:lnTo>
                      <a:pt x="54" y="144"/>
                    </a:lnTo>
                    <a:lnTo>
                      <a:pt x="54" y="138"/>
                    </a:lnTo>
                    <a:lnTo>
                      <a:pt x="60" y="132"/>
                    </a:lnTo>
                    <a:lnTo>
                      <a:pt x="66" y="132"/>
                    </a:lnTo>
                    <a:lnTo>
                      <a:pt x="66" y="126"/>
                    </a:lnTo>
                    <a:lnTo>
                      <a:pt x="78" y="126"/>
                    </a:lnTo>
                    <a:lnTo>
                      <a:pt x="84" y="120"/>
                    </a:lnTo>
                    <a:lnTo>
                      <a:pt x="84" y="108"/>
                    </a:lnTo>
                    <a:lnTo>
                      <a:pt x="90" y="102"/>
                    </a:lnTo>
                    <a:lnTo>
                      <a:pt x="96" y="96"/>
                    </a:lnTo>
                    <a:lnTo>
                      <a:pt x="102" y="96"/>
                    </a:lnTo>
                    <a:lnTo>
                      <a:pt x="108" y="96"/>
                    </a:lnTo>
                    <a:lnTo>
                      <a:pt x="114" y="90"/>
                    </a:lnTo>
                    <a:lnTo>
                      <a:pt x="114" y="84"/>
                    </a:lnTo>
                    <a:lnTo>
                      <a:pt x="114" y="78"/>
                    </a:lnTo>
                    <a:lnTo>
                      <a:pt x="120" y="72"/>
                    </a:lnTo>
                    <a:lnTo>
                      <a:pt x="126" y="72"/>
                    </a:lnTo>
                    <a:lnTo>
                      <a:pt x="132" y="72"/>
                    </a:lnTo>
                    <a:lnTo>
                      <a:pt x="138" y="66"/>
                    </a:lnTo>
                    <a:lnTo>
                      <a:pt x="138" y="60"/>
                    </a:lnTo>
                    <a:lnTo>
                      <a:pt x="144" y="54"/>
                    </a:lnTo>
                    <a:lnTo>
                      <a:pt x="162" y="54"/>
                    </a:lnTo>
                    <a:lnTo>
                      <a:pt x="144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65" name="Freeform 125"/>
              <p:cNvSpPr>
                <a:spLocks/>
              </p:cNvSpPr>
              <p:nvPr/>
            </p:nvSpPr>
            <p:spPr bwMode="auto">
              <a:xfrm>
                <a:off x="1968" y="840"/>
                <a:ext cx="594" cy="426"/>
              </a:xfrm>
              <a:custGeom>
                <a:avLst/>
                <a:gdLst>
                  <a:gd name="T0" fmla="*/ 150 w 594"/>
                  <a:gd name="T1" fmla="*/ 90 h 426"/>
                  <a:gd name="T2" fmla="*/ 192 w 594"/>
                  <a:gd name="T3" fmla="*/ 114 h 426"/>
                  <a:gd name="T4" fmla="*/ 204 w 594"/>
                  <a:gd name="T5" fmla="*/ 156 h 426"/>
                  <a:gd name="T6" fmla="*/ 270 w 594"/>
                  <a:gd name="T7" fmla="*/ 162 h 426"/>
                  <a:gd name="T8" fmla="*/ 306 w 594"/>
                  <a:gd name="T9" fmla="*/ 162 h 426"/>
                  <a:gd name="T10" fmla="*/ 414 w 594"/>
                  <a:gd name="T11" fmla="*/ 126 h 426"/>
                  <a:gd name="T12" fmla="*/ 438 w 594"/>
                  <a:gd name="T13" fmla="*/ 102 h 426"/>
                  <a:gd name="T14" fmla="*/ 450 w 594"/>
                  <a:gd name="T15" fmla="*/ 84 h 426"/>
                  <a:gd name="T16" fmla="*/ 444 w 594"/>
                  <a:gd name="T17" fmla="*/ 42 h 426"/>
                  <a:gd name="T18" fmla="*/ 450 w 594"/>
                  <a:gd name="T19" fmla="*/ 6 h 426"/>
                  <a:gd name="T20" fmla="*/ 486 w 594"/>
                  <a:gd name="T21" fmla="*/ 0 h 426"/>
                  <a:gd name="T22" fmla="*/ 504 w 594"/>
                  <a:gd name="T23" fmla="*/ 18 h 426"/>
                  <a:gd name="T24" fmla="*/ 528 w 594"/>
                  <a:gd name="T25" fmla="*/ 66 h 426"/>
                  <a:gd name="T26" fmla="*/ 552 w 594"/>
                  <a:gd name="T27" fmla="*/ 84 h 426"/>
                  <a:gd name="T28" fmla="*/ 582 w 594"/>
                  <a:gd name="T29" fmla="*/ 60 h 426"/>
                  <a:gd name="T30" fmla="*/ 582 w 594"/>
                  <a:gd name="T31" fmla="*/ 90 h 426"/>
                  <a:gd name="T32" fmla="*/ 558 w 594"/>
                  <a:gd name="T33" fmla="*/ 126 h 426"/>
                  <a:gd name="T34" fmla="*/ 504 w 594"/>
                  <a:gd name="T35" fmla="*/ 162 h 426"/>
                  <a:gd name="T36" fmla="*/ 486 w 594"/>
                  <a:gd name="T37" fmla="*/ 180 h 426"/>
                  <a:gd name="T38" fmla="*/ 456 w 594"/>
                  <a:gd name="T39" fmla="*/ 204 h 426"/>
                  <a:gd name="T40" fmla="*/ 456 w 594"/>
                  <a:gd name="T41" fmla="*/ 186 h 426"/>
                  <a:gd name="T42" fmla="*/ 432 w 594"/>
                  <a:gd name="T43" fmla="*/ 198 h 426"/>
                  <a:gd name="T44" fmla="*/ 432 w 594"/>
                  <a:gd name="T45" fmla="*/ 222 h 426"/>
                  <a:gd name="T46" fmla="*/ 468 w 594"/>
                  <a:gd name="T47" fmla="*/ 222 h 426"/>
                  <a:gd name="T48" fmla="*/ 432 w 594"/>
                  <a:gd name="T49" fmla="*/ 246 h 426"/>
                  <a:gd name="T50" fmla="*/ 456 w 594"/>
                  <a:gd name="T51" fmla="*/ 288 h 426"/>
                  <a:gd name="T52" fmla="*/ 444 w 594"/>
                  <a:gd name="T53" fmla="*/ 342 h 426"/>
                  <a:gd name="T54" fmla="*/ 408 w 594"/>
                  <a:gd name="T55" fmla="*/ 390 h 426"/>
                  <a:gd name="T56" fmla="*/ 360 w 594"/>
                  <a:gd name="T57" fmla="*/ 396 h 426"/>
                  <a:gd name="T58" fmla="*/ 354 w 594"/>
                  <a:gd name="T59" fmla="*/ 426 h 426"/>
                  <a:gd name="T60" fmla="*/ 342 w 594"/>
                  <a:gd name="T61" fmla="*/ 420 h 426"/>
                  <a:gd name="T62" fmla="*/ 330 w 594"/>
                  <a:gd name="T63" fmla="*/ 396 h 426"/>
                  <a:gd name="T64" fmla="*/ 306 w 594"/>
                  <a:gd name="T65" fmla="*/ 384 h 426"/>
                  <a:gd name="T66" fmla="*/ 270 w 594"/>
                  <a:gd name="T67" fmla="*/ 384 h 426"/>
                  <a:gd name="T68" fmla="*/ 270 w 594"/>
                  <a:gd name="T69" fmla="*/ 402 h 426"/>
                  <a:gd name="T70" fmla="*/ 246 w 594"/>
                  <a:gd name="T71" fmla="*/ 396 h 426"/>
                  <a:gd name="T72" fmla="*/ 234 w 594"/>
                  <a:gd name="T73" fmla="*/ 372 h 426"/>
                  <a:gd name="T74" fmla="*/ 234 w 594"/>
                  <a:gd name="T75" fmla="*/ 342 h 426"/>
                  <a:gd name="T76" fmla="*/ 186 w 594"/>
                  <a:gd name="T77" fmla="*/ 336 h 426"/>
                  <a:gd name="T78" fmla="*/ 162 w 594"/>
                  <a:gd name="T79" fmla="*/ 330 h 426"/>
                  <a:gd name="T80" fmla="*/ 132 w 594"/>
                  <a:gd name="T81" fmla="*/ 336 h 426"/>
                  <a:gd name="T82" fmla="*/ 60 w 594"/>
                  <a:gd name="T83" fmla="*/ 294 h 426"/>
                  <a:gd name="T84" fmla="*/ 66 w 594"/>
                  <a:gd name="T85" fmla="*/ 276 h 426"/>
                  <a:gd name="T86" fmla="*/ 66 w 594"/>
                  <a:gd name="T87" fmla="*/ 252 h 426"/>
                  <a:gd name="T88" fmla="*/ 36 w 594"/>
                  <a:gd name="T89" fmla="*/ 246 h 426"/>
                  <a:gd name="T90" fmla="*/ 12 w 594"/>
                  <a:gd name="T91" fmla="*/ 222 h 426"/>
                  <a:gd name="T92" fmla="*/ 0 w 594"/>
                  <a:gd name="T93" fmla="*/ 204 h 426"/>
                  <a:gd name="T94" fmla="*/ 6 w 594"/>
                  <a:gd name="T95" fmla="*/ 186 h 426"/>
                  <a:gd name="T96" fmla="*/ 36 w 594"/>
                  <a:gd name="T97" fmla="*/ 180 h 426"/>
                  <a:gd name="T98" fmla="*/ 60 w 594"/>
                  <a:gd name="T99" fmla="*/ 162 h 426"/>
                  <a:gd name="T100" fmla="*/ 54 w 594"/>
                  <a:gd name="T101" fmla="*/ 144 h 426"/>
                  <a:gd name="T102" fmla="*/ 66 w 594"/>
                  <a:gd name="T103" fmla="*/ 126 h 426"/>
                  <a:gd name="T104" fmla="*/ 90 w 594"/>
                  <a:gd name="T105" fmla="*/ 102 h 426"/>
                  <a:gd name="T106" fmla="*/ 114 w 594"/>
                  <a:gd name="T107" fmla="*/ 90 h 426"/>
                  <a:gd name="T108" fmla="*/ 126 w 594"/>
                  <a:gd name="T109" fmla="*/ 72 h 426"/>
                  <a:gd name="T110" fmla="*/ 144 w 594"/>
                  <a:gd name="T111" fmla="*/ 54 h 42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94" h="426">
                    <a:moveTo>
                      <a:pt x="144" y="60"/>
                    </a:moveTo>
                    <a:lnTo>
                      <a:pt x="144" y="72"/>
                    </a:lnTo>
                    <a:lnTo>
                      <a:pt x="144" y="84"/>
                    </a:lnTo>
                    <a:lnTo>
                      <a:pt x="150" y="90"/>
                    </a:lnTo>
                    <a:lnTo>
                      <a:pt x="156" y="96"/>
                    </a:lnTo>
                    <a:lnTo>
                      <a:pt x="174" y="108"/>
                    </a:lnTo>
                    <a:lnTo>
                      <a:pt x="186" y="114"/>
                    </a:lnTo>
                    <a:lnTo>
                      <a:pt x="192" y="114"/>
                    </a:lnTo>
                    <a:lnTo>
                      <a:pt x="192" y="120"/>
                    </a:lnTo>
                    <a:lnTo>
                      <a:pt x="198" y="132"/>
                    </a:lnTo>
                    <a:lnTo>
                      <a:pt x="204" y="150"/>
                    </a:lnTo>
                    <a:lnTo>
                      <a:pt x="204" y="156"/>
                    </a:lnTo>
                    <a:lnTo>
                      <a:pt x="222" y="162"/>
                    </a:lnTo>
                    <a:lnTo>
                      <a:pt x="252" y="156"/>
                    </a:lnTo>
                    <a:lnTo>
                      <a:pt x="264" y="156"/>
                    </a:lnTo>
                    <a:lnTo>
                      <a:pt x="270" y="162"/>
                    </a:lnTo>
                    <a:lnTo>
                      <a:pt x="276" y="168"/>
                    </a:lnTo>
                    <a:lnTo>
                      <a:pt x="282" y="168"/>
                    </a:lnTo>
                    <a:lnTo>
                      <a:pt x="300" y="168"/>
                    </a:lnTo>
                    <a:lnTo>
                      <a:pt x="306" y="162"/>
                    </a:lnTo>
                    <a:lnTo>
                      <a:pt x="324" y="156"/>
                    </a:lnTo>
                    <a:lnTo>
                      <a:pt x="396" y="138"/>
                    </a:lnTo>
                    <a:lnTo>
                      <a:pt x="408" y="132"/>
                    </a:lnTo>
                    <a:lnTo>
                      <a:pt x="414" y="126"/>
                    </a:lnTo>
                    <a:lnTo>
                      <a:pt x="414" y="114"/>
                    </a:lnTo>
                    <a:lnTo>
                      <a:pt x="426" y="108"/>
                    </a:lnTo>
                    <a:lnTo>
                      <a:pt x="432" y="108"/>
                    </a:lnTo>
                    <a:lnTo>
                      <a:pt x="438" y="102"/>
                    </a:lnTo>
                    <a:lnTo>
                      <a:pt x="450" y="102"/>
                    </a:lnTo>
                    <a:lnTo>
                      <a:pt x="456" y="96"/>
                    </a:lnTo>
                    <a:lnTo>
                      <a:pt x="456" y="90"/>
                    </a:lnTo>
                    <a:lnTo>
                      <a:pt x="450" y="84"/>
                    </a:lnTo>
                    <a:lnTo>
                      <a:pt x="444" y="84"/>
                    </a:lnTo>
                    <a:lnTo>
                      <a:pt x="420" y="84"/>
                    </a:lnTo>
                    <a:lnTo>
                      <a:pt x="426" y="54"/>
                    </a:lnTo>
                    <a:lnTo>
                      <a:pt x="444" y="42"/>
                    </a:lnTo>
                    <a:lnTo>
                      <a:pt x="444" y="36"/>
                    </a:lnTo>
                    <a:lnTo>
                      <a:pt x="444" y="24"/>
                    </a:lnTo>
                    <a:lnTo>
                      <a:pt x="444" y="18"/>
                    </a:lnTo>
                    <a:lnTo>
                      <a:pt x="450" y="6"/>
                    </a:lnTo>
                    <a:lnTo>
                      <a:pt x="456" y="0"/>
                    </a:lnTo>
                    <a:lnTo>
                      <a:pt x="462" y="0"/>
                    </a:lnTo>
                    <a:lnTo>
                      <a:pt x="474" y="0"/>
                    </a:lnTo>
                    <a:lnTo>
                      <a:pt x="486" y="0"/>
                    </a:lnTo>
                    <a:lnTo>
                      <a:pt x="492" y="0"/>
                    </a:lnTo>
                    <a:lnTo>
                      <a:pt x="492" y="6"/>
                    </a:lnTo>
                    <a:lnTo>
                      <a:pt x="498" y="12"/>
                    </a:lnTo>
                    <a:lnTo>
                      <a:pt x="504" y="18"/>
                    </a:lnTo>
                    <a:lnTo>
                      <a:pt x="504" y="36"/>
                    </a:lnTo>
                    <a:lnTo>
                      <a:pt x="516" y="48"/>
                    </a:lnTo>
                    <a:lnTo>
                      <a:pt x="522" y="54"/>
                    </a:lnTo>
                    <a:lnTo>
                      <a:pt x="528" y="66"/>
                    </a:lnTo>
                    <a:lnTo>
                      <a:pt x="534" y="66"/>
                    </a:lnTo>
                    <a:lnTo>
                      <a:pt x="546" y="66"/>
                    </a:lnTo>
                    <a:lnTo>
                      <a:pt x="552" y="78"/>
                    </a:lnTo>
                    <a:lnTo>
                      <a:pt x="552" y="84"/>
                    </a:lnTo>
                    <a:lnTo>
                      <a:pt x="558" y="84"/>
                    </a:lnTo>
                    <a:lnTo>
                      <a:pt x="570" y="78"/>
                    </a:lnTo>
                    <a:lnTo>
                      <a:pt x="576" y="66"/>
                    </a:lnTo>
                    <a:lnTo>
                      <a:pt x="582" y="60"/>
                    </a:lnTo>
                    <a:lnTo>
                      <a:pt x="594" y="54"/>
                    </a:lnTo>
                    <a:lnTo>
                      <a:pt x="594" y="60"/>
                    </a:lnTo>
                    <a:lnTo>
                      <a:pt x="588" y="78"/>
                    </a:lnTo>
                    <a:lnTo>
                      <a:pt x="582" y="90"/>
                    </a:lnTo>
                    <a:lnTo>
                      <a:pt x="570" y="108"/>
                    </a:lnTo>
                    <a:lnTo>
                      <a:pt x="564" y="114"/>
                    </a:lnTo>
                    <a:lnTo>
                      <a:pt x="558" y="120"/>
                    </a:lnTo>
                    <a:lnTo>
                      <a:pt x="558" y="126"/>
                    </a:lnTo>
                    <a:lnTo>
                      <a:pt x="540" y="138"/>
                    </a:lnTo>
                    <a:lnTo>
                      <a:pt x="522" y="156"/>
                    </a:lnTo>
                    <a:lnTo>
                      <a:pt x="516" y="162"/>
                    </a:lnTo>
                    <a:lnTo>
                      <a:pt x="504" y="162"/>
                    </a:lnTo>
                    <a:lnTo>
                      <a:pt x="492" y="162"/>
                    </a:lnTo>
                    <a:lnTo>
                      <a:pt x="486" y="162"/>
                    </a:lnTo>
                    <a:lnTo>
                      <a:pt x="486" y="174"/>
                    </a:lnTo>
                    <a:lnTo>
                      <a:pt x="486" y="180"/>
                    </a:lnTo>
                    <a:lnTo>
                      <a:pt x="480" y="180"/>
                    </a:lnTo>
                    <a:lnTo>
                      <a:pt x="474" y="180"/>
                    </a:lnTo>
                    <a:lnTo>
                      <a:pt x="474" y="192"/>
                    </a:lnTo>
                    <a:lnTo>
                      <a:pt x="456" y="204"/>
                    </a:lnTo>
                    <a:lnTo>
                      <a:pt x="450" y="204"/>
                    </a:lnTo>
                    <a:lnTo>
                      <a:pt x="450" y="198"/>
                    </a:lnTo>
                    <a:lnTo>
                      <a:pt x="456" y="192"/>
                    </a:lnTo>
                    <a:lnTo>
                      <a:pt x="456" y="186"/>
                    </a:lnTo>
                    <a:lnTo>
                      <a:pt x="450" y="186"/>
                    </a:lnTo>
                    <a:lnTo>
                      <a:pt x="444" y="192"/>
                    </a:lnTo>
                    <a:lnTo>
                      <a:pt x="438" y="192"/>
                    </a:lnTo>
                    <a:lnTo>
                      <a:pt x="432" y="198"/>
                    </a:lnTo>
                    <a:lnTo>
                      <a:pt x="420" y="198"/>
                    </a:lnTo>
                    <a:lnTo>
                      <a:pt x="414" y="198"/>
                    </a:lnTo>
                    <a:lnTo>
                      <a:pt x="414" y="204"/>
                    </a:lnTo>
                    <a:lnTo>
                      <a:pt x="432" y="222"/>
                    </a:lnTo>
                    <a:lnTo>
                      <a:pt x="444" y="216"/>
                    </a:lnTo>
                    <a:lnTo>
                      <a:pt x="456" y="216"/>
                    </a:lnTo>
                    <a:lnTo>
                      <a:pt x="462" y="216"/>
                    </a:lnTo>
                    <a:lnTo>
                      <a:pt x="468" y="222"/>
                    </a:lnTo>
                    <a:lnTo>
                      <a:pt x="456" y="228"/>
                    </a:lnTo>
                    <a:lnTo>
                      <a:pt x="444" y="234"/>
                    </a:lnTo>
                    <a:lnTo>
                      <a:pt x="438" y="240"/>
                    </a:lnTo>
                    <a:lnTo>
                      <a:pt x="432" y="246"/>
                    </a:lnTo>
                    <a:lnTo>
                      <a:pt x="438" y="252"/>
                    </a:lnTo>
                    <a:lnTo>
                      <a:pt x="444" y="264"/>
                    </a:lnTo>
                    <a:lnTo>
                      <a:pt x="450" y="270"/>
                    </a:lnTo>
                    <a:lnTo>
                      <a:pt x="456" y="288"/>
                    </a:lnTo>
                    <a:lnTo>
                      <a:pt x="462" y="300"/>
                    </a:lnTo>
                    <a:lnTo>
                      <a:pt x="462" y="312"/>
                    </a:lnTo>
                    <a:lnTo>
                      <a:pt x="456" y="324"/>
                    </a:lnTo>
                    <a:lnTo>
                      <a:pt x="444" y="342"/>
                    </a:lnTo>
                    <a:lnTo>
                      <a:pt x="438" y="360"/>
                    </a:lnTo>
                    <a:lnTo>
                      <a:pt x="420" y="372"/>
                    </a:lnTo>
                    <a:lnTo>
                      <a:pt x="408" y="384"/>
                    </a:lnTo>
                    <a:lnTo>
                      <a:pt x="408" y="390"/>
                    </a:lnTo>
                    <a:lnTo>
                      <a:pt x="396" y="390"/>
                    </a:lnTo>
                    <a:lnTo>
                      <a:pt x="378" y="390"/>
                    </a:lnTo>
                    <a:lnTo>
                      <a:pt x="372" y="396"/>
                    </a:lnTo>
                    <a:lnTo>
                      <a:pt x="360" y="396"/>
                    </a:lnTo>
                    <a:lnTo>
                      <a:pt x="354" y="402"/>
                    </a:lnTo>
                    <a:lnTo>
                      <a:pt x="354" y="408"/>
                    </a:lnTo>
                    <a:lnTo>
                      <a:pt x="354" y="420"/>
                    </a:lnTo>
                    <a:lnTo>
                      <a:pt x="354" y="426"/>
                    </a:lnTo>
                    <a:lnTo>
                      <a:pt x="342" y="426"/>
                    </a:lnTo>
                    <a:lnTo>
                      <a:pt x="336" y="426"/>
                    </a:lnTo>
                    <a:lnTo>
                      <a:pt x="336" y="420"/>
                    </a:lnTo>
                    <a:lnTo>
                      <a:pt x="342" y="420"/>
                    </a:lnTo>
                    <a:lnTo>
                      <a:pt x="342" y="414"/>
                    </a:lnTo>
                    <a:lnTo>
                      <a:pt x="342" y="408"/>
                    </a:lnTo>
                    <a:lnTo>
                      <a:pt x="342" y="402"/>
                    </a:lnTo>
                    <a:lnTo>
                      <a:pt x="330" y="396"/>
                    </a:lnTo>
                    <a:lnTo>
                      <a:pt x="324" y="402"/>
                    </a:lnTo>
                    <a:lnTo>
                      <a:pt x="324" y="396"/>
                    </a:lnTo>
                    <a:lnTo>
                      <a:pt x="312" y="384"/>
                    </a:lnTo>
                    <a:lnTo>
                      <a:pt x="306" y="384"/>
                    </a:lnTo>
                    <a:lnTo>
                      <a:pt x="294" y="384"/>
                    </a:lnTo>
                    <a:lnTo>
                      <a:pt x="288" y="384"/>
                    </a:lnTo>
                    <a:lnTo>
                      <a:pt x="276" y="384"/>
                    </a:lnTo>
                    <a:lnTo>
                      <a:pt x="270" y="384"/>
                    </a:lnTo>
                    <a:lnTo>
                      <a:pt x="270" y="390"/>
                    </a:lnTo>
                    <a:lnTo>
                      <a:pt x="264" y="390"/>
                    </a:lnTo>
                    <a:lnTo>
                      <a:pt x="270" y="396"/>
                    </a:lnTo>
                    <a:lnTo>
                      <a:pt x="270" y="402"/>
                    </a:lnTo>
                    <a:lnTo>
                      <a:pt x="264" y="408"/>
                    </a:lnTo>
                    <a:lnTo>
                      <a:pt x="246" y="408"/>
                    </a:lnTo>
                    <a:lnTo>
                      <a:pt x="252" y="396"/>
                    </a:lnTo>
                    <a:lnTo>
                      <a:pt x="246" y="396"/>
                    </a:lnTo>
                    <a:lnTo>
                      <a:pt x="234" y="396"/>
                    </a:lnTo>
                    <a:lnTo>
                      <a:pt x="234" y="390"/>
                    </a:lnTo>
                    <a:lnTo>
                      <a:pt x="228" y="390"/>
                    </a:lnTo>
                    <a:lnTo>
                      <a:pt x="234" y="372"/>
                    </a:lnTo>
                    <a:lnTo>
                      <a:pt x="234" y="366"/>
                    </a:lnTo>
                    <a:lnTo>
                      <a:pt x="240" y="360"/>
                    </a:lnTo>
                    <a:lnTo>
                      <a:pt x="240" y="348"/>
                    </a:lnTo>
                    <a:lnTo>
                      <a:pt x="234" y="342"/>
                    </a:lnTo>
                    <a:lnTo>
                      <a:pt x="228" y="336"/>
                    </a:lnTo>
                    <a:lnTo>
                      <a:pt x="222" y="336"/>
                    </a:lnTo>
                    <a:lnTo>
                      <a:pt x="198" y="336"/>
                    </a:lnTo>
                    <a:lnTo>
                      <a:pt x="186" y="336"/>
                    </a:lnTo>
                    <a:lnTo>
                      <a:pt x="186" y="330"/>
                    </a:lnTo>
                    <a:lnTo>
                      <a:pt x="180" y="330"/>
                    </a:lnTo>
                    <a:lnTo>
                      <a:pt x="174" y="330"/>
                    </a:lnTo>
                    <a:lnTo>
                      <a:pt x="162" y="330"/>
                    </a:lnTo>
                    <a:lnTo>
                      <a:pt x="156" y="330"/>
                    </a:lnTo>
                    <a:lnTo>
                      <a:pt x="144" y="330"/>
                    </a:lnTo>
                    <a:lnTo>
                      <a:pt x="138" y="336"/>
                    </a:lnTo>
                    <a:lnTo>
                      <a:pt x="132" y="336"/>
                    </a:lnTo>
                    <a:lnTo>
                      <a:pt x="84" y="324"/>
                    </a:lnTo>
                    <a:lnTo>
                      <a:pt x="66" y="312"/>
                    </a:lnTo>
                    <a:lnTo>
                      <a:pt x="60" y="300"/>
                    </a:lnTo>
                    <a:lnTo>
                      <a:pt x="60" y="294"/>
                    </a:lnTo>
                    <a:lnTo>
                      <a:pt x="66" y="288"/>
                    </a:lnTo>
                    <a:lnTo>
                      <a:pt x="66" y="282"/>
                    </a:lnTo>
                    <a:lnTo>
                      <a:pt x="72" y="282"/>
                    </a:lnTo>
                    <a:lnTo>
                      <a:pt x="66" y="276"/>
                    </a:lnTo>
                    <a:lnTo>
                      <a:pt x="72" y="270"/>
                    </a:lnTo>
                    <a:lnTo>
                      <a:pt x="66" y="264"/>
                    </a:lnTo>
                    <a:lnTo>
                      <a:pt x="66" y="258"/>
                    </a:lnTo>
                    <a:lnTo>
                      <a:pt x="66" y="252"/>
                    </a:lnTo>
                    <a:lnTo>
                      <a:pt x="60" y="252"/>
                    </a:lnTo>
                    <a:lnTo>
                      <a:pt x="48" y="246"/>
                    </a:lnTo>
                    <a:lnTo>
                      <a:pt x="42" y="246"/>
                    </a:lnTo>
                    <a:lnTo>
                      <a:pt x="36" y="246"/>
                    </a:lnTo>
                    <a:lnTo>
                      <a:pt x="24" y="246"/>
                    </a:lnTo>
                    <a:lnTo>
                      <a:pt x="18" y="234"/>
                    </a:lnTo>
                    <a:lnTo>
                      <a:pt x="18" y="228"/>
                    </a:lnTo>
                    <a:lnTo>
                      <a:pt x="12" y="222"/>
                    </a:lnTo>
                    <a:lnTo>
                      <a:pt x="12" y="216"/>
                    </a:lnTo>
                    <a:lnTo>
                      <a:pt x="6" y="210"/>
                    </a:lnTo>
                    <a:lnTo>
                      <a:pt x="0" y="210"/>
                    </a:lnTo>
                    <a:lnTo>
                      <a:pt x="0" y="204"/>
                    </a:lnTo>
                    <a:lnTo>
                      <a:pt x="0" y="198"/>
                    </a:lnTo>
                    <a:lnTo>
                      <a:pt x="0" y="192"/>
                    </a:lnTo>
                    <a:lnTo>
                      <a:pt x="6" y="192"/>
                    </a:lnTo>
                    <a:lnTo>
                      <a:pt x="6" y="186"/>
                    </a:lnTo>
                    <a:lnTo>
                      <a:pt x="12" y="186"/>
                    </a:lnTo>
                    <a:lnTo>
                      <a:pt x="24" y="186"/>
                    </a:lnTo>
                    <a:lnTo>
                      <a:pt x="30" y="180"/>
                    </a:lnTo>
                    <a:lnTo>
                      <a:pt x="36" y="180"/>
                    </a:lnTo>
                    <a:lnTo>
                      <a:pt x="42" y="180"/>
                    </a:lnTo>
                    <a:lnTo>
                      <a:pt x="48" y="174"/>
                    </a:lnTo>
                    <a:lnTo>
                      <a:pt x="54" y="174"/>
                    </a:lnTo>
                    <a:lnTo>
                      <a:pt x="60" y="162"/>
                    </a:lnTo>
                    <a:lnTo>
                      <a:pt x="60" y="156"/>
                    </a:lnTo>
                    <a:lnTo>
                      <a:pt x="66" y="150"/>
                    </a:lnTo>
                    <a:lnTo>
                      <a:pt x="60" y="150"/>
                    </a:lnTo>
                    <a:lnTo>
                      <a:pt x="54" y="144"/>
                    </a:lnTo>
                    <a:lnTo>
                      <a:pt x="54" y="138"/>
                    </a:lnTo>
                    <a:lnTo>
                      <a:pt x="60" y="132"/>
                    </a:lnTo>
                    <a:lnTo>
                      <a:pt x="66" y="132"/>
                    </a:lnTo>
                    <a:lnTo>
                      <a:pt x="66" y="126"/>
                    </a:lnTo>
                    <a:lnTo>
                      <a:pt x="78" y="126"/>
                    </a:lnTo>
                    <a:lnTo>
                      <a:pt x="84" y="120"/>
                    </a:lnTo>
                    <a:lnTo>
                      <a:pt x="84" y="108"/>
                    </a:lnTo>
                    <a:lnTo>
                      <a:pt x="90" y="102"/>
                    </a:lnTo>
                    <a:lnTo>
                      <a:pt x="96" y="96"/>
                    </a:lnTo>
                    <a:lnTo>
                      <a:pt x="102" y="96"/>
                    </a:lnTo>
                    <a:lnTo>
                      <a:pt x="108" y="96"/>
                    </a:lnTo>
                    <a:lnTo>
                      <a:pt x="114" y="90"/>
                    </a:lnTo>
                    <a:lnTo>
                      <a:pt x="114" y="84"/>
                    </a:lnTo>
                    <a:lnTo>
                      <a:pt x="114" y="78"/>
                    </a:lnTo>
                    <a:lnTo>
                      <a:pt x="120" y="72"/>
                    </a:lnTo>
                    <a:lnTo>
                      <a:pt x="126" y="72"/>
                    </a:lnTo>
                    <a:lnTo>
                      <a:pt x="132" y="72"/>
                    </a:lnTo>
                    <a:lnTo>
                      <a:pt x="138" y="66"/>
                    </a:lnTo>
                    <a:lnTo>
                      <a:pt x="138" y="60"/>
                    </a:lnTo>
                    <a:lnTo>
                      <a:pt x="144" y="54"/>
                    </a:lnTo>
                    <a:lnTo>
                      <a:pt x="162" y="54"/>
                    </a:lnTo>
                    <a:lnTo>
                      <a:pt x="144" y="60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76" name="Group 126"/>
            <p:cNvGrpSpPr>
              <a:grpSpLocks/>
            </p:cNvGrpSpPr>
            <p:nvPr/>
          </p:nvGrpSpPr>
          <p:grpSpPr bwMode="auto">
            <a:xfrm>
              <a:off x="2791635" y="3022778"/>
              <a:ext cx="98021" cy="70798"/>
              <a:chOff x="2238" y="1308"/>
              <a:chExt cx="48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1862" name="Freeform 127"/>
              <p:cNvSpPr>
                <a:spLocks/>
              </p:cNvSpPr>
              <p:nvPr/>
            </p:nvSpPr>
            <p:spPr bwMode="auto">
              <a:xfrm>
                <a:off x="2238" y="1308"/>
                <a:ext cx="48" cy="42"/>
              </a:xfrm>
              <a:custGeom>
                <a:avLst/>
                <a:gdLst>
                  <a:gd name="T0" fmla="*/ 0 w 48"/>
                  <a:gd name="T1" fmla="*/ 30 h 42"/>
                  <a:gd name="T2" fmla="*/ 0 w 48"/>
                  <a:gd name="T3" fmla="*/ 18 h 42"/>
                  <a:gd name="T4" fmla="*/ 0 w 48"/>
                  <a:gd name="T5" fmla="*/ 6 h 42"/>
                  <a:gd name="T6" fmla="*/ 6 w 48"/>
                  <a:gd name="T7" fmla="*/ 6 h 42"/>
                  <a:gd name="T8" fmla="*/ 12 w 48"/>
                  <a:gd name="T9" fmla="*/ 0 h 42"/>
                  <a:gd name="T10" fmla="*/ 18 w 48"/>
                  <a:gd name="T11" fmla="*/ 0 h 42"/>
                  <a:gd name="T12" fmla="*/ 24 w 48"/>
                  <a:gd name="T13" fmla="*/ 6 h 42"/>
                  <a:gd name="T14" fmla="*/ 30 w 48"/>
                  <a:gd name="T15" fmla="*/ 6 h 42"/>
                  <a:gd name="T16" fmla="*/ 36 w 48"/>
                  <a:gd name="T17" fmla="*/ 6 h 42"/>
                  <a:gd name="T18" fmla="*/ 42 w 48"/>
                  <a:gd name="T19" fmla="*/ 6 h 42"/>
                  <a:gd name="T20" fmla="*/ 48 w 48"/>
                  <a:gd name="T21" fmla="*/ 12 h 42"/>
                  <a:gd name="T22" fmla="*/ 48 w 48"/>
                  <a:gd name="T23" fmla="*/ 12 h 42"/>
                  <a:gd name="T24" fmla="*/ 48 w 48"/>
                  <a:gd name="T25" fmla="*/ 24 h 42"/>
                  <a:gd name="T26" fmla="*/ 36 w 48"/>
                  <a:gd name="T27" fmla="*/ 30 h 42"/>
                  <a:gd name="T28" fmla="*/ 36 w 48"/>
                  <a:gd name="T29" fmla="*/ 30 h 42"/>
                  <a:gd name="T30" fmla="*/ 30 w 48"/>
                  <a:gd name="T31" fmla="*/ 30 h 42"/>
                  <a:gd name="T32" fmla="*/ 30 w 48"/>
                  <a:gd name="T33" fmla="*/ 42 h 42"/>
                  <a:gd name="T34" fmla="*/ 18 w 48"/>
                  <a:gd name="T35" fmla="*/ 42 h 42"/>
                  <a:gd name="T36" fmla="*/ 0 w 48"/>
                  <a:gd name="T37" fmla="*/ 30 h 4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8" h="42">
                    <a:moveTo>
                      <a:pt x="0" y="30"/>
                    </a:moveTo>
                    <a:lnTo>
                      <a:pt x="0" y="18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4" y="6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48" y="12"/>
                    </a:lnTo>
                    <a:lnTo>
                      <a:pt x="48" y="24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30" y="42"/>
                    </a:lnTo>
                    <a:lnTo>
                      <a:pt x="18" y="42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63" name="Freeform 128"/>
              <p:cNvSpPr>
                <a:spLocks/>
              </p:cNvSpPr>
              <p:nvPr/>
            </p:nvSpPr>
            <p:spPr bwMode="auto">
              <a:xfrm>
                <a:off x="2238" y="1308"/>
                <a:ext cx="48" cy="42"/>
              </a:xfrm>
              <a:custGeom>
                <a:avLst/>
                <a:gdLst>
                  <a:gd name="T0" fmla="*/ 0 w 48"/>
                  <a:gd name="T1" fmla="*/ 30 h 42"/>
                  <a:gd name="T2" fmla="*/ 0 w 48"/>
                  <a:gd name="T3" fmla="*/ 18 h 42"/>
                  <a:gd name="T4" fmla="*/ 0 w 48"/>
                  <a:gd name="T5" fmla="*/ 6 h 42"/>
                  <a:gd name="T6" fmla="*/ 6 w 48"/>
                  <a:gd name="T7" fmla="*/ 6 h 42"/>
                  <a:gd name="T8" fmla="*/ 12 w 48"/>
                  <a:gd name="T9" fmla="*/ 0 h 42"/>
                  <a:gd name="T10" fmla="*/ 18 w 48"/>
                  <a:gd name="T11" fmla="*/ 0 h 42"/>
                  <a:gd name="T12" fmla="*/ 24 w 48"/>
                  <a:gd name="T13" fmla="*/ 6 h 42"/>
                  <a:gd name="T14" fmla="*/ 30 w 48"/>
                  <a:gd name="T15" fmla="*/ 6 h 42"/>
                  <a:gd name="T16" fmla="*/ 36 w 48"/>
                  <a:gd name="T17" fmla="*/ 6 h 42"/>
                  <a:gd name="T18" fmla="*/ 42 w 48"/>
                  <a:gd name="T19" fmla="*/ 6 h 42"/>
                  <a:gd name="T20" fmla="*/ 48 w 48"/>
                  <a:gd name="T21" fmla="*/ 12 h 42"/>
                  <a:gd name="T22" fmla="*/ 48 w 48"/>
                  <a:gd name="T23" fmla="*/ 24 h 42"/>
                  <a:gd name="T24" fmla="*/ 36 w 48"/>
                  <a:gd name="T25" fmla="*/ 30 h 42"/>
                  <a:gd name="T26" fmla="*/ 30 w 48"/>
                  <a:gd name="T27" fmla="*/ 30 h 42"/>
                  <a:gd name="T28" fmla="*/ 30 w 48"/>
                  <a:gd name="T29" fmla="*/ 42 h 42"/>
                  <a:gd name="T30" fmla="*/ 18 w 48"/>
                  <a:gd name="T31" fmla="*/ 42 h 42"/>
                  <a:gd name="T32" fmla="*/ 0 w 48"/>
                  <a:gd name="T33" fmla="*/ 30 h 4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8" h="42">
                    <a:moveTo>
                      <a:pt x="0" y="30"/>
                    </a:moveTo>
                    <a:lnTo>
                      <a:pt x="0" y="18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4" y="6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48" y="12"/>
                    </a:lnTo>
                    <a:lnTo>
                      <a:pt x="48" y="24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30" y="42"/>
                    </a:lnTo>
                    <a:lnTo>
                      <a:pt x="18" y="42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77" name="Group 129"/>
            <p:cNvGrpSpPr>
              <a:grpSpLocks/>
            </p:cNvGrpSpPr>
            <p:nvPr/>
          </p:nvGrpSpPr>
          <p:grpSpPr bwMode="auto">
            <a:xfrm>
              <a:off x="3327870" y="2413912"/>
              <a:ext cx="319050" cy="309490"/>
              <a:chOff x="2502" y="954"/>
              <a:chExt cx="156" cy="180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1850" name="Group 130"/>
              <p:cNvGrpSpPr>
                <a:grpSpLocks/>
              </p:cNvGrpSpPr>
              <p:nvPr/>
            </p:nvGrpSpPr>
            <p:grpSpPr bwMode="auto">
              <a:xfrm>
                <a:off x="2502" y="1104"/>
                <a:ext cx="24" cy="30"/>
                <a:chOff x="2502" y="1104"/>
                <a:chExt cx="24" cy="30"/>
              </a:xfrm>
              <a:grpFill/>
            </p:grpSpPr>
            <p:sp>
              <p:nvSpPr>
                <p:cNvPr id="1860" name="Freeform 131"/>
                <p:cNvSpPr>
                  <a:spLocks/>
                </p:cNvSpPr>
                <p:nvPr/>
              </p:nvSpPr>
              <p:spPr bwMode="auto">
                <a:xfrm>
                  <a:off x="2502" y="1104"/>
                  <a:ext cx="24" cy="30"/>
                </a:xfrm>
                <a:custGeom>
                  <a:avLst/>
                  <a:gdLst>
                    <a:gd name="T0" fmla="*/ 6 w 24"/>
                    <a:gd name="T1" fmla="*/ 0 h 30"/>
                    <a:gd name="T2" fmla="*/ 0 w 24"/>
                    <a:gd name="T3" fmla="*/ 0 h 30"/>
                    <a:gd name="T4" fmla="*/ 0 w 24"/>
                    <a:gd name="T5" fmla="*/ 6 h 30"/>
                    <a:gd name="T6" fmla="*/ 0 w 24"/>
                    <a:gd name="T7" fmla="*/ 12 h 30"/>
                    <a:gd name="T8" fmla="*/ 12 w 24"/>
                    <a:gd name="T9" fmla="*/ 24 h 30"/>
                    <a:gd name="T10" fmla="*/ 12 w 24"/>
                    <a:gd name="T11" fmla="*/ 30 h 30"/>
                    <a:gd name="T12" fmla="*/ 12 w 24"/>
                    <a:gd name="T13" fmla="*/ 30 h 30"/>
                    <a:gd name="T14" fmla="*/ 18 w 24"/>
                    <a:gd name="T15" fmla="*/ 30 h 30"/>
                    <a:gd name="T16" fmla="*/ 24 w 24"/>
                    <a:gd name="T17" fmla="*/ 24 h 30"/>
                    <a:gd name="T18" fmla="*/ 24 w 24"/>
                    <a:gd name="T19" fmla="*/ 18 h 30"/>
                    <a:gd name="T20" fmla="*/ 24 w 24"/>
                    <a:gd name="T21" fmla="*/ 12 h 30"/>
                    <a:gd name="T22" fmla="*/ 24 w 24"/>
                    <a:gd name="T23" fmla="*/ 12 h 30"/>
                    <a:gd name="T24" fmla="*/ 18 w 24"/>
                    <a:gd name="T25" fmla="*/ 6 h 30"/>
                    <a:gd name="T26" fmla="*/ 12 w 24"/>
                    <a:gd name="T27" fmla="*/ 0 h 30"/>
                    <a:gd name="T28" fmla="*/ 6 w 24"/>
                    <a:gd name="T29" fmla="*/ 0 h 3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24" h="30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12" y="24"/>
                      </a:lnTo>
                      <a:lnTo>
                        <a:pt x="12" y="30"/>
                      </a:lnTo>
                      <a:lnTo>
                        <a:pt x="18" y="30"/>
                      </a:lnTo>
                      <a:lnTo>
                        <a:pt x="24" y="24"/>
                      </a:lnTo>
                      <a:lnTo>
                        <a:pt x="24" y="18"/>
                      </a:lnTo>
                      <a:lnTo>
                        <a:pt x="24" y="12"/>
                      </a:lnTo>
                      <a:lnTo>
                        <a:pt x="18" y="6"/>
                      </a:lnTo>
                      <a:lnTo>
                        <a:pt x="12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861" name="Freeform 132"/>
                <p:cNvSpPr>
                  <a:spLocks/>
                </p:cNvSpPr>
                <p:nvPr/>
              </p:nvSpPr>
              <p:spPr bwMode="auto">
                <a:xfrm>
                  <a:off x="2502" y="1104"/>
                  <a:ext cx="24" cy="30"/>
                </a:xfrm>
                <a:custGeom>
                  <a:avLst/>
                  <a:gdLst>
                    <a:gd name="T0" fmla="*/ 6 w 24"/>
                    <a:gd name="T1" fmla="*/ 0 h 30"/>
                    <a:gd name="T2" fmla="*/ 0 w 24"/>
                    <a:gd name="T3" fmla="*/ 0 h 30"/>
                    <a:gd name="T4" fmla="*/ 0 w 24"/>
                    <a:gd name="T5" fmla="*/ 6 h 30"/>
                    <a:gd name="T6" fmla="*/ 0 w 24"/>
                    <a:gd name="T7" fmla="*/ 12 h 30"/>
                    <a:gd name="T8" fmla="*/ 12 w 24"/>
                    <a:gd name="T9" fmla="*/ 24 h 30"/>
                    <a:gd name="T10" fmla="*/ 12 w 24"/>
                    <a:gd name="T11" fmla="*/ 30 h 30"/>
                    <a:gd name="T12" fmla="*/ 18 w 24"/>
                    <a:gd name="T13" fmla="*/ 30 h 30"/>
                    <a:gd name="T14" fmla="*/ 24 w 24"/>
                    <a:gd name="T15" fmla="*/ 24 h 30"/>
                    <a:gd name="T16" fmla="*/ 24 w 24"/>
                    <a:gd name="T17" fmla="*/ 18 h 30"/>
                    <a:gd name="T18" fmla="*/ 24 w 24"/>
                    <a:gd name="T19" fmla="*/ 12 h 30"/>
                    <a:gd name="T20" fmla="*/ 18 w 24"/>
                    <a:gd name="T21" fmla="*/ 6 h 30"/>
                    <a:gd name="T22" fmla="*/ 12 w 24"/>
                    <a:gd name="T23" fmla="*/ 0 h 30"/>
                    <a:gd name="T24" fmla="*/ 6 w 24"/>
                    <a:gd name="T25" fmla="*/ 0 h 3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24" h="30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12" y="24"/>
                      </a:lnTo>
                      <a:lnTo>
                        <a:pt x="12" y="30"/>
                      </a:lnTo>
                      <a:lnTo>
                        <a:pt x="18" y="30"/>
                      </a:lnTo>
                      <a:lnTo>
                        <a:pt x="24" y="24"/>
                      </a:lnTo>
                      <a:lnTo>
                        <a:pt x="24" y="18"/>
                      </a:lnTo>
                      <a:lnTo>
                        <a:pt x="24" y="12"/>
                      </a:lnTo>
                      <a:lnTo>
                        <a:pt x="18" y="6"/>
                      </a:lnTo>
                      <a:lnTo>
                        <a:pt x="12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851" name="Group 133"/>
              <p:cNvGrpSpPr>
                <a:grpSpLocks/>
              </p:cNvGrpSpPr>
              <p:nvPr/>
            </p:nvGrpSpPr>
            <p:grpSpPr bwMode="auto">
              <a:xfrm>
                <a:off x="2508" y="1014"/>
                <a:ext cx="110" cy="90"/>
                <a:chOff x="2508" y="1014"/>
                <a:chExt cx="110" cy="90"/>
              </a:xfrm>
              <a:grpFill/>
            </p:grpSpPr>
            <p:sp>
              <p:nvSpPr>
                <p:cNvPr id="1858" name="Freeform 134"/>
                <p:cNvSpPr>
                  <a:spLocks/>
                </p:cNvSpPr>
                <p:nvPr/>
              </p:nvSpPr>
              <p:spPr bwMode="auto">
                <a:xfrm>
                  <a:off x="2508" y="1014"/>
                  <a:ext cx="108" cy="90"/>
                </a:xfrm>
                <a:custGeom>
                  <a:avLst/>
                  <a:gdLst>
                    <a:gd name="T0" fmla="*/ 6 w 108"/>
                    <a:gd name="T1" fmla="*/ 78 h 90"/>
                    <a:gd name="T2" fmla="*/ 0 w 108"/>
                    <a:gd name="T3" fmla="*/ 84 h 90"/>
                    <a:gd name="T4" fmla="*/ 12 w 108"/>
                    <a:gd name="T5" fmla="*/ 90 h 90"/>
                    <a:gd name="T6" fmla="*/ 18 w 108"/>
                    <a:gd name="T7" fmla="*/ 84 h 90"/>
                    <a:gd name="T8" fmla="*/ 30 w 108"/>
                    <a:gd name="T9" fmla="*/ 78 h 90"/>
                    <a:gd name="T10" fmla="*/ 48 w 108"/>
                    <a:gd name="T11" fmla="*/ 78 h 90"/>
                    <a:gd name="T12" fmla="*/ 48 w 108"/>
                    <a:gd name="T13" fmla="*/ 84 h 90"/>
                    <a:gd name="T14" fmla="*/ 48 w 108"/>
                    <a:gd name="T15" fmla="*/ 90 h 90"/>
                    <a:gd name="T16" fmla="*/ 60 w 108"/>
                    <a:gd name="T17" fmla="*/ 90 h 90"/>
                    <a:gd name="T18" fmla="*/ 66 w 108"/>
                    <a:gd name="T19" fmla="*/ 78 h 90"/>
                    <a:gd name="T20" fmla="*/ 78 w 108"/>
                    <a:gd name="T21" fmla="*/ 78 h 90"/>
                    <a:gd name="T22" fmla="*/ 90 w 108"/>
                    <a:gd name="T23" fmla="*/ 72 h 90"/>
                    <a:gd name="T24" fmla="*/ 96 w 108"/>
                    <a:gd name="T25" fmla="*/ 60 h 90"/>
                    <a:gd name="T26" fmla="*/ 108 w 108"/>
                    <a:gd name="T27" fmla="*/ 42 h 90"/>
                    <a:gd name="T28" fmla="*/ 102 w 108"/>
                    <a:gd name="T29" fmla="*/ 30 h 90"/>
                    <a:gd name="T30" fmla="*/ 108 w 108"/>
                    <a:gd name="T31" fmla="*/ 30 h 90"/>
                    <a:gd name="T32" fmla="*/ 108 w 108"/>
                    <a:gd name="T33" fmla="*/ 18 h 90"/>
                    <a:gd name="T34" fmla="*/ 108 w 108"/>
                    <a:gd name="T35" fmla="*/ 6 h 90"/>
                    <a:gd name="T36" fmla="*/ 108 w 108"/>
                    <a:gd name="T37" fmla="*/ 0 h 90"/>
                    <a:gd name="T38" fmla="*/ 102 w 108"/>
                    <a:gd name="T39" fmla="*/ 0 h 90"/>
                    <a:gd name="T40" fmla="*/ 96 w 108"/>
                    <a:gd name="T41" fmla="*/ 6 h 90"/>
                    <a:gd name="T42" fmla="*/ 90 w 108"/>
                    <a:gd name="T43" fmla="*/ 12 h 90"/>
                    <a:gd name="T44" fmla="*/ 84 w 108"/>
                    <a:gd name="T45" fmla="*/ 30 h 90"/>
                    <a:gd name="T46" fmla="*/ 78 w 108"/>
                    <a:gd name="T47" fmla="*/ 42 h 90"/>
                    <a:gd name="T48" fmla="*/ 66 w 108"/>
                    <a:gd name="T49" fmla="*/ 54 h 90"/>
                    <a:gd name="T50" fmla="*/ 48 w 108"/>
                    <a:gd name="T51" fmla="*/ 66 h 90"/>
                    <a:gd name="T52" fmla="*/ 36 w 108"/>
                    <a:gd name="T53" fmla="*/ 66 h 90"/>
                    <a:gd name="T54" fmla="*/ 18 w 108"/>
                    <a:gd name="T55" fmla="*/ 72 h 90"/>
                    <a:gd name="T56" fmla="*/ 6 w 108"/>
                    <a:gd name="T57" fmla="*/ 78 h 9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108" h="90">
                      <a:moveTo>
                        <a:pt x="6" y="78"/>
                      </a:moveTo>
                      <a:lnTo>
                        <a:pt x="0" y="84"/>
                      </a:lnTo>
                      <a:lnTo>
                        <a:pt x="12" y="90"/>
                      </a:lnTo>
                      <a:lnTo>
                        <a:pt x="18" y="84"/>
                      </a:lnTo>
                      <a:lnTo>
                        <a:pt x="30" y="78"/>
                      </a:lnTo>
                      <a:lnTo>
                        <a:pt x="48" y="78"/>
                      </a:lnTo>
                      <a:lnTo>
                        <a:pt x="48" y="84"/>
                      </a:lnTo>
                      <a:lnTo>
                        <a:pt x="48" y="90"/>
                      </a:lnTo>
                      <a:lnTo>
                        <a:pt x="60" y="90"/>
                      </a:lnTo>
                      <a:lnTo>
                        <a:pt x="66" y="78"/>
                      </a:lnTo>
                      <a:lnTo>
                        <a:pt x="78" y="78"/>
                      </a:lnTo>
                      <a:lnTo>
                        <a:pt x="90" y="72"/>
                      </a:lnTo>
                      <a:lnTo>
                        <a:pt x="96" y="60"/>
                      </a:lnTo>
                      <a:lnTo>
                        <a:pt x="108" y="42"/>
                      </a:lnTo>
                      <a:lnTo>
                        <a:pt x="102" y="30"/>
                      </a:lnTo>
                      <a:lnTo>
                        <a:pt x="108" y="30"/>
                      </a:lnTo>
                      <a:lnTo>
                        <a:pt x="108" y="18"/>
                      </a:lnTo>
                      <a:lnTo>
                        <a:pt x="108" y="6"/>
                      </a:lnTo>
                      <a:lnTo>
                        <a:pt x="108" y="0"/>
                      </a:lnTo>
                      <a:lnTo>
                        <a:pt x="102" y="0"/>
                      </a:lnTo>
                      <a:lnTo>
                        <a:pt x="96" y="6"/>
                      </a:lnTo>
                      <a:lnTo>
                        <a:pt x="90" y="12"/>
                      </a:lnTo>
                      <a:lnTo>
                        <a:pt x="84" y="30"/>
                      </a:lnTo>
                      <a:lnTo>
                        <a:pt x="78" y="42"/>
                      </a:lnTo>
                      <a:lnTo>
                        <a:pt x="66" y="54"/>
                      </a:lnTo>
                      <a:lnTo>
                        <a:pt x="48" y="66"/>
                      </a:lnTo>
                      <a:lnTo>
                        <a:pt x="36" y="66"/>
                      </a:lnTo>
                      <a:lnTo>
                        <a:pt x="18" y="72"/>
                      </a:lnTo>
                      <a:lnTo>
                        <a:pt x="6" y="7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859" name="Freeform 135"/>
                <p:cNvSpPr>
                  <a:spLocks/>
                </p:cNvSpPr>
                <p:nvPr/>
              </p:nvSpPr>
              <p:spPr bwMode="auto">
                <a:xfrm>
                  <a:off x="2510" y="1014"/>
                  <a:ext cx="108" cy="90"/>
                </a:xfrm>
                <a:custGeom>
                  <a:avLst/>
                  <a:gdLst>
                    <a:gd name="T0" fmla="*/ 6 w 108"/>
                    <a:gd name="T1" fmla="*/ 78 h 90"/>
                    <a:gd name="T2" fmla="*/ 0 w 108"/>
                    <a:gd name="T3" fmla="*/ 84 h 90"/>
                    <a:gd name="T4" fmla="*/ 12 w 108"/>
                    <a:gd name="T5" fmla="*/ 90 h 90"/>
                    <a:gd name="T6" fmla="*/ 18 w 108"/>
                    <a:gd name="T7" fmla="*/ 84 h 90"/>
                    <a:gd name="T8" fmla="*/ 30 w 108"/>
                    <a:gd name="T9" fmla="*/ 78 h 90"/>
                    <a:gd name="T10" fmla="*/ 48 w 108"/>
                    <a:gd name="T11" fmla="*/ 78 h 90"/>
                    <a:gd name="T12" fmla="*/ 48 w 108"/>
                    <a:gd name="T13" fmla="*/ 84 h 90"/>
                    <a:gd name="T14" fmla="*/ 48 w 108"/>
                    <a:gd name="T15" fmla="*/ 90 h 90"/>
                    <a:gd name="T16" fmla="*/ 60 w 108"/>
                    <a:gd name="T17" fmla="*/ 90 h 90"/>
                    <a:gd name="T18" fmla="*/ 66 w 108"/>
                    <a:gd name="T19" fmla="*/ 78 h 90"/>
                    <a:gd name="T20" fmla="*/ 78 w 108"/>
                    <a:gd name="T21" fmla="*/ 78 h 90"/>
                    <a:gd name="T22" fmla="*/ 90 w 108"/>
                    <a:gd name="T23" fmla="*/ 72 h 90"/>
                    <a:gd name="T24" fmla="*/ 96 w 108"/>
                    <a:gd name="T25" fmla="*/ 60 h 90"/>
                    <a:gd name="T26" fmla="*/ 108 w 108"/>
                    <a:gd name="T27" fmla="*/ 42 h 90"/>
                    <a:gd name="T28" fmla="*/ 102 w 108"/>
                    <a:gd name="T29" fmla="*/ 30 h 90"/>
                    <a:gd name="T30" fmla="*/ 108 w 108"/>
                    <a:gd name="T31" fmla="*/ 30 h 90"/>
                    <a:gd name="T32" fmla="*/ 108 w 108"/>
                    <a:gd name="T33" fmla="*/ 18 h 90"/>
                    <a:gd name="T34" fmla="*/ 108 w 108"/>
                    <a:gd name="T35" fmla="*/ 6 h 90"/>
                    <a:gd name="T36" fmla="*/ 108 w 108"/>
                    <a:gd name="T37" fmla="*/ 0 h 90"/>
                    <a:gd name="T38" fmla="*/ 102 w 108"/>
                    <a:gd name="T39" fmla="*/ 0 h 90"/>
                    <a:gd name="T40" fmla="*/ 96 w 108"/>
                    <a:gd name="T41" fmla="*/ 6 h 90"/>
                    <a:gd name="T42" fmla="*/ 90 w 108"/>
                    <a:gd name="T43" fmla="*/ 12 h 90"/>
                    <a:gd name="T44" fmla="*/ 84 w 108"/>
                    <a:gd name="T45" fmla="*/ 30 h 90"/>
                    <a:gd name="T46" fmla="*/ 78 w 108"/>
                    <a:gd name="T47" fmla="*/ 42 h 90"/>
                    <a:gd name="T48" fmla="*/ 66 w 108"/>
                    <a:gd name="T49" fmla="*/ 54 h 90"/>
                    <a:gd name="T50" fmla="*/ 48 w 108"/>
                    <a:gd name="T51" fmla="*/ 66 h 90"/>
                    <a:gd name="T52" fmla="*/ 36 w 108"/>
                    <a:gd name="T53" fmla="*/ 66 h 90"/>
                    <a:gd name="T54" fmla="*/ 18 w 108"/>
                    <a:gd name="T55" fmla="*/ 72 h 90"/>
                    <a:gd name="T56" fmla="*/ 6 w 108"/>
                    <a:gd name="T57" fmla="*/ 78 h 9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108" h="90">
                      <a:moveTo>
                        <a:pt x="6" y="78"/>
                      </a:moveTo>
                      <a:lnTo>
                        <a:pt x="0" y="84"/>
                      </a:lnTo>
                      <a:lnTo>
                        <a:pt x="12" y="90"/>
                      </a:lnTo>
                      <a:lnTo>
                        <a:pt x="18" y="84"/>
                      </a:lnTo>
                      <a:lnTo>
                        <a:pt x="30" y="78"/>
                      </a:lnTo>
                      <a:lnTo>
                        <a:pt x="48" y="78"/>
                      </a:lnTo>
                      <a:lnTo>
                        <a:pt x="48" y="84"/>
                      </a:lnTo>
                      <a:lnTo>
                        <a:pt x="48" y="90"/>
                      </a:lnTo>
                      <a:lnTo>
                        <a:pt x="60" y="90"/>
                      </a:lnTo>
                      <a:lnTo>
                        <a:pt x="66" y="78"/>
                      </a:lnTo>
                      <a:lnTo>
                        <a:pt x="78" y="78"/>
                      </a:lnTo>
                      <a:lnTo>
                        <a:pt x="90" y="72"/>
                      </a:lnTo>
                      <a:lnTo>
                        <a:pt x="96" y="60"/>
                      </a:lnTo>
                      <a:lnTo>
                        <a:pt x="108" y="42"/>
                      </a:lnTo>
                      <a:lnTo>
                        <a:pt x="102" y="30"/>
                      </a:lnTo>
                      <a:lnTo>
                        <a:pt x="108" y="30"/>
                      </a:lnTo>
                      <a:lnTo>
                        <a:pt x="108" y="18"/>
                      </a:lnTo>
                      <a:lnTo>
                        <a:pt x="108" y="6"/>
                      </a:lnTo>
                      <a:lnTo>
                        <a:pt x="108" y="0"/>
                      </a:lnTo>
                      <a:lnTo>
                        <a:pt x="102" y="0"/>
                      </a:lnTo>
                      <a:lnTo>
                        <a:pt x="96" y="6"/>
                      </a:lnTo>
                      <a:lnTo>
                        <a:pt x="90" y="12"/>
                      </a:lnTo>
                      <a:lnTo>
                        <a:pt x="84" y="30"/>
                      </a:lnTo>
                      <a:lnTo>
                        <a:pt x="78" y="42"/>
                      </a:lnTo>
                      <a:lnTo>
                        <a:pt x="66" y="54"/>
                      </a:lnTo>
                      <a:lnTo>
                        <a:pt x="48" y="66"/>
                      </a:lnTo>
                      <a:lnTo>
                        <a:pt x="36" y="66"/>
                      </a:lnTo>
                      <a:lnTo>
                        <a:pt x="18" y="72"/>
                      </a:lnTo>
                      <a:lnTo>
                        <a:pt x="6" y="7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852" name="Group 136"/>
              <p:cNvGrpSpPr>
                <a:grpSpLocks/>
              </p:cNvGrpSpPr>
              <p:nvPr/>
            </p:nvGrpSpPr>
            <p:grpSpPr bwMode="auto">
              <a:xfrm>
                <a:off x="2526" y="1098"/>
                <a:ext cx="18" cy="12"/>
                <a:chOff x="2526" y="1098"/>
                <a:chExt cx="18" cy="12"/>
              </a:xfrm>
              <a:grpFill/>
            </p:grpSpPr>
            <p:sp>
              <p:nvSpPr>
                <p:cNvPr id="1856" name="Freeform 137"/>
                <p:cNvSpPr>
                  <a:spLocks/>
                </p:cNvSpPr>
                <p:nvPr/>
              </p:nvSpPr>
              <p:spPr bwMode="auto">
                <a:xfrm>
                  <a:off x="2526" y="1098"/>
                  <a:ext cx="18" cy="12"/>
                </a:xfrm>
                <a:custGeom>
                  <a:avLst/>
                  <a:gdLst>
                    <a:gd name="T0" fmla="*/ 6 w 18"/>
                    <a:gd name="T1" fmla="*/ 0 h 12"/>
                    <a:gd name="T2" fmla="*/ 0 w 18"/>
                    <a:gd name="T3" fmla="*/ 12 h 12"/>
                    <a:gd name="T4" fmla="*/ 6 w 18"/>
                    <a:gd name="T5" fmla="*/ 12 h 12"/>
                    <a:gd name="T6" fmla="*/ 12 w 18"/>
                    <a:gd name="T7" fmla="*/ 6 h 12"/>
                    <a:gd name="T8" fmla="*/ 18 w 18"/>
                    <a:gd name="T9" fmla="*/ 6 h 12"/>
                    <a:gd name="T10" fmla="*/ 6 w 18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8" h="12">
                      <a:moveTo>
                        <a:pt x="6" y="0"/>
                      </a:moveTo>
                      <a:lnTo>
                        <a:pt x="0" y="12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18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857" name="Freeform 138"/>
                <p:cNvSpPr>
                  <a:spLocks/>
                </p:cNvSpPr>
                <p:nvPr/>
              </p:nvSpPr>
              <p:spPr bwMode="auto">
                <a:xfrm>
                  <a:off x="2526" y="1098"/>
                  <a:ext cx="18" cy="12"/>
                </a:xfrm>
                <a:custGeom>
                  <a:avLst/>
                  <a:gdLst>
                    <a:gd name="T0" fmla="*/ 6 w 18"/>
                    <a:gd name="T1" fmla="*/ 0 h 12"/>
                    <a:gd name="T2" fmla="*/ 0 w 18"/>
                    <a:gd name="T3" fmla="*/ 12 h 12"/>
                    <a:gd name="T4" fmla="*/ 6 w 18"/>
                    <a:gd name="T5" fmla="*/ 12 h 12"/>
                    <a:gd name="T6" fmla="*/ 12 w 18"/>
                    <a:gd name="T7" fmla="*/ 6 h 12"/>
                    <a:gd name="T8" fmla="*/ 18 w 18"/>
                    <a:gd name="T9" fmla="*/ 6 h 12"/>
                    <a:gd name="T10" fmla="*/ 6 w 18"/>
                    <a:gd name="T11" fmla="*/ 0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8" h="12">
                      <a:moveTo>
                        <a:pt x="6" y="0"/>
                      </a:moveTo>
                      <a:lnTo>
                        <a:pt x="0" y="12"/>
                      </a:ln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18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853" name="Group 139"/>
              <p:cNvGrpSpPr>
                <a:grpSpLocks/>
              </p:cNvGrpSpPr>
              <p:nvPr/>
            </p:nvGrpSpPr>
            <p:grpSpPr bwMode="auto">
              <a:xfrm>
                <a:off x="2598" y="954"/>
                <a:ext cx="60" cy="48"/>
                <a:chOff x="2598" y="954"/>
                <a:chExt cx="60" cy="48"/>
              </a:xfrm>
              <a:grpFill/>
            </p:grpSpPr>
            <p:sp>
              <p:nvSpPr>
                <p:cNvPr id="1854" name="Freeform 140"/>
                <p:cNvSpPr>
                  <a:spLocks/>
                </p:cNvSpPr>
                <p:nvPr/>
              </p:nvSpPr>
              <p:spPr bwMode="auto">
                <a:xfrm>
                  <a:off x="2598" y="954"/>
                  <a:ext cx="60" cy="48"/>
                </a:xfrm>
                <a:custGeom>
                  <a:avLst/>
                  <a:gdLst>
                    <a:gd name="T0" fmla="*/ 30 w 60"/>
                    <a:gd name="T1" fmla="*/ 6 h 48"/>
                    <a:gd name="T2" fmla="*/ 24 w 60"/>
                    <a:gd name="T3" fmla="*/ 6 h 48"/>
                    <a:gd name="T4" fmla="*/ 24 w 60"/>
                    <a:gd name="T5" fmla="*/ 0 h 48"/>
                    <a:gd name="T6" fmla="*/ 18 w 60"/>
                    <a:gd name="T7" fmla="*/ 6 h 48"/>
                    <a:gd name="T8" fmla="*/ 18 w 60"/>
                    <a:gd name="T9" fmla="*/ 18 h 48"/>
                    <a:gd name="T10" fmla="*/ 18 w 60"/>
                    <a:gd name="T11" fmla="*/ 24 h 48"/>
                    <a:gd name="T12" fmla="*/ 0 w 60"/>
                    <a:gd name="T13" fmla="*/ 42 h 48"/>
                    <a:gd name="T14" fmla="*/ 0 w 60"/>
                    <a:gd name="T15" fmla="*/ 42 h 48"/>
                    <a:gd name="T16" fmla="*/ 6 w 60"/>
                    <a:gd name="T17" fmla="*/ 48 h 48"/>
                    <a:gd name="T18" fmla="*/ 24 w 60"/>
                    <a:gd name="T19" fmla="*/ 48 h 48"/>
                    <a:gd name="T20" fmla="*/ 30 w 60"/>
                    <a:gd name="T21" fmla="*/ 48 h 48"/>
                    <a:gd name="T22" fmla="*/ 36 w 60"/>
                    <a:gd name="T23" fmla="*/ 48 h 48"/>
                    <a:gd name="T24" fmla="*/ 42 w 60"/>
                    <a:gd name="T25" fmla="*/ 42 h 48"/>
                    <a:gd name="T26" fmla="*/ 42 w 60"/>
                    <a:gd name="T27" fmla="*/ 36 h 48"/>
                    <a:gd name="T28" fmla="*/ 48 w 60"/>
                    <a:gd name="T29" fmla="*/ 36 h 48"/>
                    <a:gd name="T30" fmla="*/ 54 w 60"/>
                    <a:gd name="T31" fmla="*/ 30 h 48"/>
                    <a:gd name="T32" fmla="*/ 60 w 60"/>
                    <a:gd name="T33" fmla="*/ 30 h 48"/>
                    <a:gd name="T34" fmla="*/ 60 w 60"/>
                    <a:gd name="T35" fmla="*/ 24 h 48"/>
                    <a:gd name="T36" fmla="*/ 60 w 60"/>
                    <a:gd name="T37" fmla="*/ 18 h 48"/>
                    <a:gd name="T38" fmla="*/ 60 w 60"/>
                    <a:gd name="T39" fmla="*/ 18 h 48"/>
                    <a:gd name="T40" fmla="*/ 48 w 60"/>
                    <a:gd name="T41" fmla="*/ 24 h 48"/>
                    <a:gd name="T42" fmla="*/ 36 w 60"/>
                    <a:gd name="T43" fmla="*/ 18 h 48"/>
                    <a:gd name="T44" fmla="*/ 30 w 60"/>
                    <a:gd name="T45" fmla="*/ 12 h 48"/>
                    <a:gd name="T46" fmla="*/ 30 w 60"/>
                    <a:gd name="T47" fmla="*/ 6 h 4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60" h="48">
                      <a:moveTo>
                        <a:pt x="30" y="6"/>
                      </a:moveTo>
                      <a:lnTo>
                        <a:pt x="24" y="6"/>
                      </a:lnTo>
                      <a:lnTo>
                        <a:pt x="24" y="0"/>
                      </a:lnTo>
                      <a:lnTo>
                        <a:pt x="18" y="6"/>
                      </a:lnTo>
                      <a:lnTo>
                        <a:pt x="18" y="18"/>
                      </a:lnTo>
                      <a:lnTo>
                        <a:pt x="18" y="24"/>
                      </a:lnTo>
                      <a:lnTo>
                        <a:pt x="0" y="42"/>
                      </a:lnTo>
                      <a:lnTo>
                        <a:pt x="6" y="48"/>
                      </a:lnTo>
                      <a:lnTo>
                        <a:pt x="24" y="48"/>
                      </a:lnTo>
                      <a:lnTo>
                        <a:pt x="30" y="48"/>
                      </a:lnTo>
                      <a:lnTo>
                        <a:pt x="36" y="48"/>
                      </a:lnTo>
                      <a:lnTo>
                        <a:pt x="42" y="42"/>
                      </a:lnTo>
                      <a:lnTo>
                        <a:pt x="42" y="36"/>
                      </a:lnTo>
                      <a:lnTo>
                        <a:pt x="48" y="36"/>
                      </a:lnTo>
                      <a:lnTo>
                        <a:pt x="54" y="30"/>
                      </a:lnTo>
                      <a:lnTo>
                        <a:pt x="60" y="30"/>
                      </a:lnTo>
                      <a:lnTo>
                        <a:pt x="60" y="24"/>
                      </a:lnTo>
                      <a:lnTo>
                        <a:pt x="60" y="18"/>
                      </a:lnTo>
                      <a:lnTo>
                        <a:pt x="48" y="24"/>
                      </a:lnTo>
                      <a:lnTo>
                        <a:pt x="36" y="18"/>
                      </a:lnTo>
                      <a:lnTo>
                        <a:pt x="30" y="12"/>
                      </a:lnTo>
                      <a:lnTo>
                        <a:pt x="30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855" name="Freeform 141"/>
                <p:cNvSpPr>
                  <a:spLocks/>
                </p:cNvSpPr>
                <p:nvPr/>
              </p:nvSpPr>
              <p:spPr bwMode="auto">
                <a:xfrm>
                  <a:off x="2598" y="954"/>
                  <a:ext cx="60" cy="48"/>
                </a:xfrm>
                <a:custGeom>
                  <a:avLst/>
                  <a:gdLst>
                    <a:gd name="T0" fmla="*/ 30 w 60"/>
                    <a:gd name="T1" fmla="*/ 6 h 48"/>
                    <a:gd name="T2" fmla="*/ 24 w 60"/>
                    <a:gd name="T3" fmla="*/ 6 h 48"/>
                    <a:gd name="T4" fmla="*/ 24 w 60"/>
                    <a:gd name="T5" fmla="*/ 0 h 48"/>
                    <a:gd name="T6" fmla="*/ 18 w 60"/>
                    <a:gd name="T7" fmla="*/ 6 h 48"/>
                    <a:gd name="T8" fmla="*/ 18 w 60"/>
                    <a:gd name="T9" fmla="*/ 18 h 48"/>
                    <a:gd name="T10" fmla="*/ 18 w 60"/>
                    <a:gd name="T11" fmla="*/ 24 h 48"/>
                    <a:gd name="T12" fmla="*/ 0 w 60"/>
                    <a:gd name="T13" fmla="*/ 42 h 48"/>
                    <a:gd name="T14" fmla="*/ 6 w 60"/>
                    <a:gd name="T15" fmla="*/ 48 h 48"/>
                    <a:gd name="T16" fmla="*/ 24 w 60"/>
                    <a:gd name="T17" fmla="*/ 48 h 48"/>
                    <a:gd name="T18" fmla="*/ 30 w 60"/>
                    <a:gd name="T19" fmla="*/ 48 h 48"/>
                    <a:gd name="T20" fmla="*/ 36 w 60"/>
                    <a:gd name="T21" fmla="*/ 48 h 48"/>
                    <a:gd name="T22" fmla="*/ 42 w 60"/>
                    <a:gd name="T23" fmla="*/ 42 h 48"/>
                    <a:gd name="T24" fmla="*/ 42 w 60"/>
                    <a:gd name="T25" fmla="*/ 36 h 48"/>
                    <a:gd name="T26" fmla="*/ 48 w 60"/>
                    <a:gd name="T27" fmla="*/ 36 h 48"/>
                    <a:gd name="T28" fmla="*/ 54 w 60"/>
                    <a:gd name="T29" fmla="*/ 30 h 48"/>
                    <a:gd name="T30" fmla="*/ 60 w 60"/>
                    <a:gd name="T31" fmla="*/ 30 h 48"/>
                    <a:gd name="T32" fmla="*/ 60 w 60"/>
                    <a:gd name="T33" fmla="*/ 24 h 48"/>
                    <a:gd name="T34" fmla="*/ 60 w 60"/>
                    <a:gd name="T35" fmla="*/ 18 h 48"/>
                    <a:gd name="T36" fmla="*/ 48 w 60"/>
                    <a:gd name="T37" fmla="*/ 24 h 48"/>
                    <a:gd name="T38" fmla="*/ 36 w 60"/>
                    <a:gd name="T39" fmla="*/ 18 h 48"/>
                    <a:gd name="T40" fmla="*/ 30 w 60"/>
                    <a:gd name="T41" fmla="*/ 12 h 48"/>
                    <a:gd name="T42" fmla="*/ 30 w 60"/>
                    <a:gd name="T43" fmla="*/ 6 h 48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60" h="48">
                      <a:moveTo>
                        <a:pt x="30" y="6"/>
                      </a:moveTo>
                      <a:lnTo>
                        <a:pt x="24" y="6"/>
                      </a:lnTo>
                      <a:lnTo>
                        <a:pt x="24" y="0"/>
                      </a:lnTo>
                      <a:lnTo>
                        <a:pt x="18" y="6"/>
                      </a:lnTo>
                      <a:lnTo>
                        <a:pt x="18" y="18"/>
                      </a:lnTo>
                      <a:lnTo>
                        <a:pt x="18" y="24"/>
                      </a:lnTo>
                      <a:lnTo>
                        <a:pt x="0" y="42"/>
                      </a:lnTo>
                      <a:lnTo>
                        <a:pt x="6" y="48"/>
                      </a:lnTo>
                      <a:lnTo>
                        <a:pt x="24" y="48"/>
                      </a:lnTo>
                      <a:lnTo>
                        <a:pt x="30" y="48"/>
                      </a:lnTo>
                      <a:lnTo>
                        <a:pt x="36" y="48"/>
                      </a:lnTo>
                      <a:lnTo>
                        <a:pt x="42" y="42"/>
                      </a:lnTo>
                      <a:lnTo>
                        <a:pt x="42" y="36"/>
                      </a:lnTo>
                      <a:lnTo>
                        <a:pt x="48" y="36"/>
                      </a:lnTo>
                      <a:lnTo>
                        <a:pt x="54" y="30"/>
                      </a:lnTo>
                      <a:lnTo>
                        <a:pt x="60" y="30"/>
                      </a:lnTo>
                      <a:lnTo>
                        <a:pt x="60" y="24"/>
                      </a:lnTo>
                      <a:lnTo>
                        <a:pt x="60" y="18"/>
                      </a:lnTo>
                      <a:lnTo>
                        <a:pt x="48" y="24"/>
                      </a:lnTo>
                      <a:lnTo>
                        <a:pt x="36" y="18"/>
                      </a:lnTo>
                      <a:lnTo>
                        <a:pt x="30" y="12"/>
                      </a:lnTo>
                      <a:lnTo>
                        <a:pt x="30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578" name="Group 142"/>
            <p:cNvGrpSpPr>
              <a:grpSpLocks/>
            </p:cNvGrpSpPr>
            <p:nvPr/>
          </p:nvGrpSpPr>
          <p:grpSpPr bwMode="auto">
            <a:xfrm>
              <a:off x="2243869" y="2640467"/>
              <a:ext cx="121085" cy="40456"/>
              <a:chOff x="1968" y="1086"/>
              <a:chExt cx="60" cy="24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1844" name="Group 143"/>
              <p:cNvGrpSpPr>
                <a:grpSpLocks/>
              </p:cNvGrpSpPr>
              <p:nvPr/>
            </p:nvGrpSpPr>
            <p:grpSpPr bwMode="auto">
              <a:xfrm>
                <a:off x="1968" y="1086"/>
                <a:ext cx="60" cy="24"/>
                <a:chOff x="1968" y="1086"/>
                <a:chExt cx="60" cy="24"/>
              </a:xfrm>
              <a:grpFill/>
            </p:grpSpPr>
            <p:sp>
              <p:nvSpPr>
                <p:cNvPr id="1848" name="Freeform 144"/>
                <p:cNvSpPr>
                  <a:spLocks/>
                </p:cNvSpPr>
                <p:nvPr/>
              </p:nvSpPr>
              <p:spPr bwMode="auto">
                <a:xfrm>
                  <a:off x="1968" y="1086"/>
                  <a:ext cx="60" cy="24"/>
                </a:xfrm>
                <a:custGeom>
                  <a:avLst/>
                  <a:gdLst>
                    <a:gd name="T0" fmla="*/ 42 w 60"/>
                    <a:gd name="T1" fmla="*/ 0 h 24"/>
                    <a:gd name="T2" fmla="*/ 12 w 60"/>
                    <a:gd name="T3" fmla="*/ 0 h 24"/>
                    <a:gd name="T4" fmla="*/ 0 w 60"/>
                    <a:gd name="T5" fmla="*/ 12 h 24"/>
                    <a:gd name="T6" fmla="*/ 0 w 60"/>
                    <a:gd name="T7" fmla="*/ 12 h 24"/>
                    <a:gd name="T8" fmla="*/ 6 w 60"/>
                    <a:gd name="T9" fmla="*/ 24 h 24"/>
                    <a:gd name="T10" fmla="*/ 12 w 60"/>
                    <a:gd name="T11" fmla="*/ 18 h 24"/>
                    <a:gd name="T12" fmla="*/ 18 w 60"/>
                    <a:gd name="T13" fmla="*/ 18 h 24"/>
                    <a:gd name="T14" fmla="*/ 18 w 60"/>
                    <a:gd name="T15" fmla="*/ 24 h 24"/>
                    <a:gd name="T16" fmla="*/ 24 w 60"/>
                    <a:gd name="T17" fmla="*/ 18 h 24"/>
                    <a:gd name="T18" fmla="*/ 30 w 60"/>
                    <a:gd name="T19" fmla="*/ 18 h 24"/>
                    <a:gd name="T20" fmla="*/ 42 w 60"/>
                    <a:gd name="T21" fmla="*/ 18 h 24"/>
                    <a:gd name="T22" fmla="*/ 42 w 60"/>
                    <a:gd name="T23" fmla="*/ 12 h 24"/>
                    <a:gd name="T24" fmla="*/ 48 w 60"/>
                    <a:gd name="T25" fmla="*/ 12 h 24"/>
                    <a:gd name="T26" fmla="*/ 54 w 60"/>
                    <a:gd name="T27" fmla="*/ 6 h 24"/>
                    <a:gd name="T28" fmla="*/ 60 w 60"/>
                    <a:gd name="T29" fmla="*/ 6 h 24"/>
                    <a:gd name="T30" fmla="*/ 54 w 60"/>
                    <a:gd name="T31" fmla="*/ 6 h 24"/>
                    <a:gd name="T32" fmla="*/ 42 w 60"/>
                    <a:gd name="T33" fmla="*/ 0 h 2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60" h="24">
                      <a:moveTo>
                        <a:pt x="42" y="0"/>
                      </a:moveTo>
                      <a:lnTo>
                        <a:pt x="12" y="0"/>
                      </a:lnTo>
                      <a:lnTo>
                        <a:pt x="0" y="12"/>
                      </a:lnTo>
                      <a:lnTo>
                        <a:pt x="6" y="24"/>
                      </a:lnTo>
                      <a:lnTo>
                        <a:pt x="12" y="18"/>
                      </a:lnTo>
                      <a:lnTo>
                        <a:pt x="18" y="18"/>
                      </a:lnTo>
                      <a:lnTo>
                        <a:pt x="18" y="24"/>
                      </a:lnTo>
                      <a:lnTo>
                        <a:pt x="24" y="18"/>
                      </a:lnTo>
                      <a:lnTo>
                        <a:pt x="30" y="18"/>
                      </a:lnTo>
                      <a:lnTo>
                        <a:pt x="42" y="18"/>
                      </a:lnTo>
                      <a:lnTo>
                        <a:pt x="42" y="12"/>
                      </a:lnTo>
                      <a:lnTo>
                        <a:pt x="48" y="12"/>
                      </a:lnTo>
                      <a:lnTo>
                        <a:pt x="54" y="6"/>
                      </a:lnTo>
                      <a:lnTo>
                        <a:pt x="60" y="6"/>
                      </a:lnTo>
                      <a:lnTo>
                        <a:pt x="54" y="6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849" name="Freeform 145"/>
                <p:cNvSpPr>
                  <a:spLocks/>
                </p:cNvSpPr>
                <p:nvPr/>
              </p:nvSpPr>
              <p:spPr bwMode="auto">
                <a:xfrm>
                  <a:off x="1968" y="1086"/>
                  <a:ext cx="60" cy="24"/>
                </a:xfrm>
                <a:custGeom>
                  <a:avLst/>
                  <a:gdLst>
                    <a:gd name="T0" fmla="*/ 42 w 60"/>
                    <a:gd name="T1" fmla="*/ 0 h 24"/>
                    <a:gd name="T2" fmla="*/ 12 w 60"/>
                    <a:gd name="T3" fmla="*/ 0 h 24"/>
                    <a:gd name="T4" fmla="*/ 0 w 60"/>
                    <a:gd name="T5" fmla="*/ 12 h 24"/>
                    <a:gd name="T6" fmla="*/ 6 w 60"/>
                    <a:gd name="T7" fmla="*/ 24 h 24"/>
                    <a:gd name="T8" fmla="*/ 12 w 60"/>
                    <a:gd name="T9" fmla="*/ 18 h 24"/>
                    <a:gd name="T10" fmla="*/ 18 w 60"/>
                    <a:gd name="T11" fmla="*/ 18 h 24"/>
                    <a:gd name="T12" fmla="*/ 18 w 60"/>
                    <a:gd name="T13" fmla="*/ 24 h 24"/>
                    <a:gd name="T14" fmla="*/ 24 w 60"/>
                    <a:gd name="T15" fmla="*/ 18 h 24"/>
                    <a:gd name="T16" fmla="*/ 30 w 60"/>
                    <a:gd name="T17" fmla="*/ 18 h 24"/>
                    <a:gd name="T18" fmla="*/ 42 w 60"/>
                    <a:gd name="T19" fmla="*/ 18 h 24"/>
                    <a:gd name="T20" fmla="*/ 42 w 60"/>
                    <a:gd name="T21" fmla="*/ 12 h 24"/>
                    <a:gd name="T22" fmla="*/ 48 w 60"/>
                    <a:gd name="T23" fmla="*/ 12 h 24"/>
                    <a:gd name="T24" fmla="*/ 54 w 60"/>
                    <a:gd name="T25" fmla="*/ 6 h 24"/>
                    <a:gd name="T26" fmla="*/ 60 w 60"/>
                    <a:gd name="T27" fmla="*/ 6 h 24"/>
                    <a:gd name="T28" fmla="*/ 54 w 60"/>
                    <a:gd name="T29" fmla="*/ 6 h 24"/>
                    <a:gd name="T30" fmla="*/ 42 w 60"/>
                    <a:gd name="T31" fmla="*/ 0 h 2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60" h="24">
                      <a:moveTo>
                        <a:pt x="42" y="0"/>
                      </a:moveTo>
                      <a:lnTo>
                        <a:pt x="12" y="0"/>
                      </a:lnTo>
                      <a:lnTo>
                        <a:pt x="0" y="12"/>
                      </a:lnTo>
                      <a:lnTo>
                        <a:pt x="6" y="24"/>
                      </a:lnTo>
                      <a:lnTo>
                        <a:pt x="12" y="18"/>
                      </a:lnTo>
                      <a:lnTo>
                        <a:pt x="18" y="18"/>
                      </a:lnTo>
                      <a:lnTo>
                        <a:pt x="18" y="24"/>
                      </a:lnTo>
                      <a:lnTo>
                        <a:pt x="24" y="18"/>
                      </a:lnTo>
                      <a:lnTo>
                        <a:pt x="30" y="18"/>
                      </a:lnTo>
                      <a:lnTo>
                        <a:pt x="42" y="18"/>
                      </a:lnTo>
                      <a:lnTo>
                        <a:pt x="42" y="12"/>
                      </a:lnTo>
                      <a:lnTo>
                        <a:pt x="48" y="12"/>
                      </a:lnTo>
                      <a:lnTo>
                        <a:pt x="54" y="6"/>
                      </a:lnTo>
                      <a:lnTo>
                        <a:pt x="60" y="6"/>
                      </a:lnTo>
                      <a:lnTo>
                        <a:pt x="54" y="6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845" name="Group 146"/>
              <p:cNvGrpSpPr>
                <a:grpSpLocks/>
              </p:cNvGrpSpPr>
              <p:nvPr/>
            </p:nvGrpSpPr>
            <p:grpSpPr bwMode="auto">
              <a:xfrm>
                <a:off x="1968" y="1086"/>
                <a:ext cx="60" cy="24"/>
                <a:chOff x="1968" y="1086"/>
                <a:chExt cx="60" cy="24"/>
              </a:xfrm>
              <a:grpFill/>
            </p:grpSpPr>
            <p:sp>
              <p:nvSpPr>
                <p:cNvPr id="1846" name="Freeform 147"/>
                <p:cNvSpPr>
                  <a:spLocks/>
                </p:cNvSpPr>
                <p:nvPr/>
              </p:nvSpPr>
              <p:spPr bwMode="auto">
                <a:xfrm>
                  <a:off x="1968" y="1086"/>
                  <a:ext cx="60" cy="24"/>
                </a:xfrm>
                <a:custGeom>
                  <a:avLst/>
                  <a:gdLst>
                    <a:gd name="T0" fmla="*/ 42 w 60"/>
                    <a:gd name="T1" fmla="*/ 0 h 24"/>
                    <a:gd name="T2" fmla="*/ 12 w 60"/>
                    <a:gd name="T3" fmla="*/ 0 h 24"/>
                    <a:gd name="T4" fmla="*/ 0 w 60"/>
                    <a:gd name="T5" fmla="*/ 12 h 24"/>
                    <a:gd name="T6" fmla="*/ 0 w 60"/>
                    <a:gd name="T7" fmla="*/ 12 h 24"/>
                    <a:gd name="T8" fmla="*/ 6 w 60"/>
                    <a:gd name="T9" fmla="*/ 24 h 24"/>
                    <a:gd name="T10" fmla="*/ 12 w 60"/>
                    <a:gd name="T11" fmla="*/ 18 h 24"/>
                    <a:gd name="T12" fmla="*/ 18 w 60"/>
                    <a:gd name="T13" fmla="*/ 18 h 24"/>
                    <a:gd name="T14" fmla="*/ 18 w 60"/>
                    <a:gd name="T15" fmla="*/ 24 h 24"/>
                    <a:gd name="T16" fmla="*/ 24 w 60"/>
                    <a:gd name="T17" fmla="*/ 18 h 24"/>
                    <a:gd name="T18" fmla="*/ 30 w 60"/>
                    <a:gd name="T19" fmla="*/ 18 h 24"/>
                    <a:gd name="T20" fmla="*/ 42 w 60"/>
                    <a:gd name="T21" fmla="*/ 18 h 24"/>
                    <a:gd name="T22" fmla="*/ 42 w 60"/>
                    <a:gd name="T23" fmla="*/ 12 h 24"/>
                    <a:gd name="T24" fmla="*/ 48 w 60"/>
                    <a:gd name="T25" fmla="*/ 12 h 24"/>
                    <a:gd name="T26" fmla="*/ 54 w 60"/>
                    <a:gd name="T27" fmla="*/ 6 h 24"/>
                    <a:gd name="T28" fmla="*/ 60 w 60"/>
                    <a:gd name="T29" fmla="*/ 6 h 24"/>
                    <a:gd name="T30" fmla="*/ 54 w 60"/>
                    <a:gd name="T31" fmla="*/ 6 h 24"/>
                    <a:gd name="T32" fmla="*/ 42 w 60"/>
                    <a:gd name="T33" fmla="*/ 0 h 2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60" h="24">
                      <a:moveTo>
                        <a:pt x="42" y="0"/>
                      </a:moveTo>
                      <a:lnTo>
                        <a:pt x="12" y="0"/>
                      </a:lnTo>
                      <a:lnTo>
                        <a:pt x="0" y="12"/>
                      </a:lnTo>
                      <a:lnTo>
                        <a:pt x="6" y="24"/>
                      </a:lnTo>
                      <a:lnTo>
                        <a:pt x="12" y="18"/>
                      </a:lnTo>
                      <a:lnTo>
                        <a:pt x="18" y="18"/>
                      </a:lnTo>
                      <a:lnTo>
                        <a:pt x="18" y="24"/>
                      </a:lnTo>
                      <a:lnTo>
                        <a:pt x="24" y="18"/>
                      </a:lnTo>
                      <a:lnTo>
                        <a:pt x="30" y="18"/>
                      </a:lnTo>
                      <a:lnTo>
                        <a:pt x="42" y="18"/>
                      </a:lnTo>
                      <a:lnTo>
                        <a:pt x="42" y="12"/>
                      </a:lnTo>
                      <a:lnTo>
                        <a:pt x="48" y="12"/>
                      </a:lnTo>
                      <a:lnTo>
                        <a:pt x="54" y="6"/>
                      </a:lnTo>
                      <a:lnTo>
                        <a:pt x="60" y="6"/>
                      </a:lnTo>
                      <a:lnTo>
                        <a:pt x="54" y="6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847" name="Freeform 148"/>
                <p:cNvSpPr>
                  <a:spLocks/>
                </p:cNvSpPr>
                <p:nvPr/>
              </p:nvSpPr>
              <p:spPr bwMode="auto">
                <a:xfrm>
                  <a:off x="1968" y="1086"/>
                  <a:ext cx="60" cy="24"/>
                </a:xfrm>
                <a:custGeom>
                  <a:avLst/>
                  <a:gdLst>
                    <a:gd name="T0" fmla="*/ 42 w 60"/>
                    <a:gd name="T1" fmla="*/ 0 h 24"/>
                    <a:gd name="T2" fmla="*/ 12 w 60"/>
                    <a:gd name="T3" fmla="*/ 0 h 24"/>
                    <a:gd name="T4" fmla="*/ 0 w 60"/>
                    <a:gd name="T5" fmla="*/ 12 h 24"/>
                    <a:gd name="T6" fmla="*/ 6 w 60"/>
                    <a:gd name="T7" fmla="*/ 24 h 24"/>
                    <a:gd name="T8" fmla="*/ 12 w 60"/>
                    <a:gd name="T9" fmla="*/ 18 h 24"/>
                    <a:gd name="T10" fmla="*/ 18 w 60"/>
                    <a:gd name="T11" fmla="*/ 18 h 24"/>
                    <a:gd name="T12" fmla="*/ 18 w 60"/>
                    <a:gd name="T13" fmla="*/ 24 h 24"/>
                    <a:gd name="T14" fmla="*/ 24 w 60"/>
                    <a:gd name="T15" fmla="*/ 18 h 24"/>
                    <a:gd name="T16" fmla="*/ 30 w 60"/>
                    <a:gd name="T17" fmla="*/ 18 h 24"/>
                    <a:gd name="T18" fmla="*/ 42 w 60"/>
                    <a:gd name="T19" fmla="*/ 18 h 24"/>
                    <a:gd name="T20" fmla="*/ 42 w 60"/>
                    <a:gd name="T21" fmla="*/ 12 h 24"/>
                    <a:gd name="T22" fmla="*/ 48 w 60"/>
                    <a:gd name="T23" fmla="*/ 12 h 24"/>
                    <a:gd name="T24" fmla="*/ 54 w 60"/>
                    <a:gd name="T25" fmla="*/ 6 h 24"/>
                    <a:gd name="T26" fmla="*/ 60 w 60"/>
                    <a:gd name="T27" fmla="*/ 6 h 24"/>
                    <a:gd name="T28" fmla="*/ 54 w 60"/>
                    <a:gd name="T29" fmla="*/ 6 h 24"/>
                    <a:gd name="T30" fmla="*/ 42 w 60"/>
                    <a:gd name="T31" fmla="*/ 0 h 2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60" h="24">
                      <a:moveTo>
                        <a:pt x="42" y="0"/>
                      </a:moveTo>
                      <a:lnTo>
                        <a:pt x="12" y="0"/>
                      </a:lnTo>
                      <a:lnTo>
                        <a:pt x="0" y="12"/>
                      </a:lnTo>
                      <a:lnTo>
                        <a:pt x="6" y="24"/>
                      </a:lnTo>
                      <a:lnTo>
                        <a:pt x="12" y="18"/>
                      </a:lnTo>
                      <a:lnTo>
                        <a:pt x="18" y="18"/>
                      </a:lnTo>
                      <a:lnTo>
                        <a:pt x="18" y="24"/>
                      </a:lnTo>
                      <a:lnTo>
                        <a:pt x="24" y="18"/>
                      </a:lnTo>
                      <a:lnTo>
                        <a:pt x="30" y="18"/>
                      </a:lnTo>
                      <a:lnTo>
                        <a:pt x="42" y="18"/>
                      </a:lnTo>
                      <a:lnTo>
                        <a:pt x="42" y="12"/>
                      </a:lnTo>
                      <a:lnTo>
                        <a:pt x="48" y="12"/>
                      </a:lnTo>
                      <a:lnTo>
                        <a:pt x="54" y="6"/>
                      </a:lnTo>
                      <a:lnTo>
                        <a:pt x="60" y="6"/>
                      </a:lnTo>
                      <a:lnTo>
                        <a:pt x="54" y="6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579" name="Group 149"/>
            <p:cNvGrpSpPr>
              <a:grpSpLocks/>
            </p:cNvGrpSpPr>
            <p:nvPr/>
          </p:nvGrpSpPr>
          <p:grpSpPr bwMode="auto">
            <a:xfrm>
              <a:off x="950372" y="1548149"/>
              <a:ext cx="511249" cy="536045"/>
              <a:chOff x="1332" y="450"/>
              <a:chExt cx="252" cy="312"/>
            </a:xfrm>
            <a:solidFill>
              <a:srgbClr val="0070C0">
                <a:alpha val="27059"/>
              </a:srgbClr>
            </a:solidFill>
          </p:grpSpPr>
          <p:sp>
            <p:nvSpPr>
              <p:cNvPr id="1842" name="Freeform 150"/>
              <p:cNvSpPr>
                <a:spLocks/>
              </p:cNvSpPr>
              <p:nvPr/>
            </p:nvSpPr>
            <p:spPr bwMode="auto">
              <a:xfrm>
                <a:off x="1332" y="450"/>
                <a:ext cx="252" cy="312"/>
              </a:xfrm>
              <a:custGeom>
                <a:avLst/>
                <a:gdLst>
                  <a:gd name="T0" fmla="*/ 234 w 252"/>
                  <a:gd name="T1" fmla="*/ 36 h 312"/>
                  <a:gd name="T2" fmla="*/ 234 w 252"/>
                  <a:gd name="T3" fmla="*/ 30 h 312"/>
                  <a:gd name="T4" fmla="*/ 240 w 252"/>
                  <a:gd name="T5" fmla="*/ 30 h 312"/>
                  <a:gd name="T6" fmla="*/ 246 w 252"/>
                  <a:gd name="T7" fmla="*/ 24 h 312"/>
                  <a:gd name="T8" fmla="*/ 234 w 252"/>
                  <a:gd name="T9" fmla="*/ 18 h 312"/>
                  <a:gd name="T10" fmla="*/ 222 w 252"/>
                  <a:gd name="T11" fmla="*/ 6 h 312"/>
                  <a:gd name="T12" fmla="*/ 192 w 252"/>
                  <a:gd name="T13" fmla="*/ 0 h 312"/>
                  <a:gd name="T14" fmla="*/ 180 w 252"/>
                  <a:gd name="T15" fmla="*/ 12 h 312"/>
                  <a:gd name="T16" fmla="*/ 168 w 252"/>
                  <a:gd name="T17" fmla="*/ 12 h 312"/>
                  <a:gd name="T18" fmla="*/ 162 w 252"/>
                  <a:gd name="T19" fmla="*/ 18 h 312"/>
                  <a:gd name="T20" fmla="*/ 156 w 252"/>
                  <a:gd name="T21" fmla="*/ 24 h 312"/>
                  <a:gd name="T22" fmla="*/ 150 w 252"/>
                  <a:gd name="T23" fmla="*/ 30 h 312"/>
                  <a:gd name="T24" fmla="*/ 144 w 252"/>
                  <a:gd name="T25" fmla="*/ 24 h 312"/>
                  <a:gd name="T26" fmla="*/ 132 w 252"/>
                  <a:gd name="T27" fmla="*/ 30 h 312"/>
                  <a:gd name="T28" fmla="*/ 126 w 252"/>
                  <a:gd name="T29" fmla="*/ 42 h 312"/>
                  <a:gd name="T30" fmla="*/ 114 w 252"/>
                  <a:gd name="T31" fmla="*/ 48 h 312"/>
                  <a:gd name="T32" fmla="*/ 108 w 252"/>
                  <a:gd name="T33" fmla="*/ 60 h 312"/>
                  <a:gd name="T34" fmla="*/ 102 w 252"/>
                  <a:gd name="T35" fmla="*/ 84 h 312"/>
                  <a:gd name="T36" fmla="*/ 72 w 252"/>
                  <a:gd name="T37" fmla="*/ 138 h 312"/>
                  <a:gd name="T38" fmla="*/ 54 w 252"/>
                  <a:gd name="T39" fmla="*/ 174 h 312"/>
                  <a:gd name="T40" fmla="*/ 24 w 252"/>
                  <a:gd name="T41" fmla="*/ 204 h 312"/>
                  <a:gd name="T42" fmla="*/ 12 w 252"/>
                  <a:gd name="T43" fmla="*/ 216 h 312"/>
                  <a:gd name="T44" fmla="*/ 6 w 252"/>
                  <a:gd name="T45" fmla="*/ 228 h 312"/>
                  <a:gd name="T46" fmla="*/ 0 w 252"/>
                  <a:gd name="T47" fmla="*/ 246 h 312"/>
                  <a:gd name="T48" fmla="*/ 6 w 252"/>
                  <a:gd name="T49" fmla="*/ 252 h 312"/>
                  <a:gd name="T50" fmla="*/ 6 w 252"/>
                  <a:gd name="T51" fmla="*/ 258 h 312"/>
                  <a:gd name="T52" fmla="*/ 0 w 252"/>
                  <a:gd name="T53" fmla="*/ 264 h 312"/>
                  <a:gd name="T54" fmla="*/ 0 w 252"/>
                  <a:gd name="T55" fmla="*/ 276 h 312"/>
                  <a:gd name="T56" fmla="*/ 0 w 252"/>
                  <a:gd name="T57" fmla="*/ 294 h 312"/>
                  <a:gd name="T58" fmla="*/ 12 w 252"/>
                  <a:gd name="T59" fmla="*/ 306 h 312"/>
                  <a:gd name="T60" fmla="*/ 30 w 252"/>
                  <a:gd name="T61" fmla="*/ 306 h 312"/>
                  <a:gd name="T62" fmla="*/ 36 w 252"/>
                  <a:gd name="T63" fmla="*/ 294 h 312"/>
                  <a:gd name="T64" fmla="*/ 42 w 252"/>
                  <a:gd name="T65" fmla="*/ 282 h 312"/>
                  <a:gd name="T66" fmla="*/ 54 w 252"/>
                  <a:gd name="T67" fmla="*/ 276 h 312"/>
                  <a:gd name="T68" fmla="*/ 60 w 252"/>
                  <a:gd name="T69" fmla="*/ 264 h 312"/>
                  <a:gd name="T70" fmla="*/ 60 w 252"/>
                  <a:gd name="T71" fmla="*/ 270 h 312"/>
                  <a:gd name="T72" fmla="*/ 72 w 252"/>
                  <a:gd name="T73" fmla="*/ 258 h 312"/>
                  <a:gd name="T74" fmla="*/ 72 w 252"/>
                  <a:gd name="T75" fmla="*/ 198 h 312"/>
                  <a:gd name="T76" fmla="*/ 90 w 252"/>
                  <a:gd name="T77" fmla="*/ 180 h 312"/>
                  <a:gd name="T78" fmla="*/ 96 w 252"/>
                  <a:gd name="T79" fmla="*/ 150 h 312"/>
                  <a:gd name="T80" fmla="*/ 102 w 252"/>
                  <a:gd name="T81" fmla="*/ 138 h 312"/>
                  <a:gd name="T82" fmla="*/ 120 w 252"/>
                  <a:gd name="T83" fmla="*/ 102 h 312"/>
                  <a:gd name="T84" fmla="*/ 120 w 252"/>
                  <a:gd name="T85" fmla="*/ 96 h 312"/>
                  <a:gd name="T86" fmla="*/ 126 w 252"/>
                  <a:gd name="T87" fmla="*/ 78 h 312"/>
                  <a:gd name="T88" fmla="*/ 150 w 252"/>
                  <a:gd name="T89" fmla="*/ 60 h 312"/>
                  <a:gd name="T90" fmla="*/ 168 w 252"/>
                  <a:gd name="T91" fmla="*/ 48 h 312"/>
                  <a:gd name="T92" fmla="*/ 180 w 252"/>
                  <a:gd name="T93" fmla="*/ 54 h 312"/>
                  <a:gd name="T94" fmla="*/ 198 w 252"/>
                  <a:gd name="T95" fmla="*/ 54 h 312"/>
                  <a:gd name="T96" fmla="*/ 204 w 252"/>
                  <a:gd name="T97" fmla="*/ 48 h 312"/>
                  <a:gd name="T98" fmla="*/ 210 w 252"/>
                  <a:gd name="T99" fmla="*/ 36 h 312"/>
                  <a:gd name="T100" fmla="*/ 240 w 252"/>
                  <a:gd name="T101" fmla="*/ 54 h 312"/>
                  <a:gd name="T102" fmla="*/ 246 w 252"/>
                  <a:gd name="T103" fmla="*/ 42 h 312"/>
                  <a:gd name="T104" fmla="*/ 240 w 252"/>
                  <a:gd name="T105" fmla="*/ 42 h 3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2" h="312">
                    <a:moveTo>
                      <a:pt x="240" y="42"/>
                    </a:moveTo>
                    <a:lnTo>
                      <a:pt x="234" y="36"/>
                    </a:lnTo>
                    <a:lnTo>
                      <a:pt x="222" y="36"/>
                    </a:lnTo>
                    <a:lnTo>
                      <a:pt x="234" y="30"/>
                    </a:lnTo>
                    <a:lnTo>
                      <a:pt x="240" y="30"/>
                    </a:lnTo>
                    <a:lnTo>
                      <a:pt x="246" y="24"/>
                    </a:lnTo>
                    <a:lnTo>
                      <a:pt x="246" y="18"/>
                    </a:lnTo>
                    <a:lnTo>
                      <a:pt x="234" y="18"/>
                    </a:lnTo>
                    <a:lnTo>
                      <a:pt x="234" y="12"/>
                    </a:lnTo>
                    <a:lnTo>
                      <a:pt x="222" y="6"/>
                    </a:lnTo>
                    <a:lnTo>
                      <a:pt x="210" y="6"/>
                    </a:lnTo>
                    <a:lnTo>
                      <a:pt x="192" y="0"/>
                    </a:lnTo>
                    <a:lnTo>
                      <a:pt x="186" y="6"/>
                    </a:lnTo>
                    <a:lnTo>
                      <a:pt x="180" y="12"/>
                    </a:lnTo>
                    <a:lnTo>
                      <a:pt x="168" y="12"/>
                    </a:lnTo>
                    <a:lnTo>
                      <a:pt x="162" y="12"/>
                    </a:lnTo>
                    <a:lnTo>
                      <a:pt x="162" y="18"/>
                    </a:lnTo>
                    <a:lnTo>
                      <a:pt x="156" y="24"/>
                    </a:lnTo>
                    <a:lnTo>
                      <a:pt x="150" y="30"/>
                    </a:lnTo>
                    <a:lnTo>
                      <a:pt x="144" y="24"/>
                    </a:lnTo>
                    <a:lnTo>
                      <a:pt x="138" y="24"/>
                    </a:lnTo>
                    <a:lnTo>
                      <a:pt x="132" y="30"/>
                    </a:lnTo>
                    <a:lnTo>
                      <a:pt x="132" y="36"/>
                    </a:lnTo>
                    <a:lnTo>
                      <a:pt x="126" y="42"/>
                    </a:lnTo>
                    <a:lnTo>
                      <a:pt x="120" y="42"/>
                    </a:lnTo>
                    <a:lnTo>
                      <a:pt x="114" y="48"/>
                    </a:lnTo>
                    <a:lnTo>
                      <a:pt x="114" y="54"/>
                    </a:lnTo>
                    <a:lnTo>
                      <a:pt x="108" y="60"/>
                    </a:lnTo>
                    <a:lnTo>
                      <a:pt x="108" y="66"/>
                    </a:lnTo>
                    <a:lnTo>
                      <a:pt x="102" y="84"/>
                    </a:lnTo>
                    <a:lnTo>
                      <a:pt x="84" y="114"/>
                    </a:lnTo>
                    <a:lnTo>
                      <a:pt x="72" y="138"/>
                    </a:lnTo>
                    <a:lnTo>
                      <a:pt x="60" y="168"/>
                    </a:lnTo>
                    <a:lnTo>
                      <a:pt x="54" y="174"/>
                    </a:lnTo>
                    <a:lnTo>
                      <a:pt x="36" y="192"/>
                    </a:lnTo>
                    <a:lnTo>
                      <a:pt x="24" y="204"/>
                    </a:lnTo>
                    <a:lnTo>
                      <a:pt x="18" y="210"/>
                    </a:lnTo>
                    <a:lnTo>
                      <a:pt x="12" y="216"/>
                    </a:lnTo>
                    <a:lnTo>
                      <a:pt x="6" y="222"/>
                    </a:lnTo>
                    <a:lnTo>
                      <a:pt x="6" y="228"/>
                    </a:lnTo>
                    <a:lnTo>
                      <a:pt x="0" y="234"/>
                    </a:lnTo>
                    <a:lnTo>
                      <a:pt x="0" y="246"/>
                    </a:lnTo>
                    <a:lnTo>
                      <a:pt x="0" y="252"/>
                    </a:lnTo>
                    <a:lnTo>
                      <a:pt x="6" y="252"/>
                    </a:lnTo>
                    <a:lnTo>
                      <a:pt x="6" y="258"/>
                    </a:lnTo>
                    <a:lnTo>
                      <a:pt x="6" y="264"/>
                    </a:lnTo>
                    <a:lnTo>
                      <a:pt x="0" y="264"/>
                    </a:lnTo>
                    <a:lnTo>
                      <a:pt x="0" y="270"/>
                    </a:lnTo>
                    <a:lnTo>
                      <a:pt x="0" y="276"/>
                    </a:lnTo>
                    <a:lnTo>
                      <a:pt x="0" y="282"/>
                    </a:lnTo>
                    <a:lnTo>
                      <a:pt x="0" y="294"/>
                    </a:lnTo>
                    <a:lnTo>
                      <a:pt x="6" y="300"/>
                    </a:lnTo>
                    <a:lnTo>
                      <a:pt x="12" y="306"/>
                    </a:lnTo>
                    <a:lnTo>
                      <a:pt x="18" y="312"/>
                    </a:lnTo>
                    <a:lnTo>
                      <a:pt x="30" y="306"/>
                    </a:lnTo>
                    <a:lnTo>
                      <a:pt x="36" y="300"/>
                    </a:lnTo>
                    <a:lnTo>
                      <a:pt x="36" y="294"/>
                    </a:lnTo>
                    <a:lnTo>
                      <a:pt x="42" y="282"/>
                    </a:lnTo>
                    <a:lnTo>
                      <a:pt x="48" y="276"/>
                    </a:lnTo>
                    <a:lnTo>
                      <a:pt x="54" y="276"/>
                    </a:lnTo>
                    <a:lnTo>
                      <a:pt x="54" y="264"/>
                    </a:lnTo>
                    <a:lnTo>
                      <a:pt x="60" y="264"/>
                    </a:lnTo>
                    <a:lnTo>
                      <a:pt x="60" y="258"/>
                    </a:lnTo>
                    <a:lnTo>
                      <a:pt x="60" y="270"/>
                    </a:lnTo>
                    <a:lnTo>
                      <a:pt x="72" y="264"/>
                    </a:lnTo>
                    <a:lnTo>
                      <a:pt x="72" y="258"/>
                    </a:lnTo>
                    <a:lnTo>
                      <a:pt x="72" y="246"/>
                    </a:lnTo>
                    <a:lnTo>
                      <a:pt x="72" y="198"/>
                    </a:lnTo>
                    <a:lnTo>
                      <a:pt x="72" y="192"/>
                    </a:lnTo>
                    <a:lnTo>
                      <a:pt x="90" y="180"/>
                    </a:lnTo>
                    <a:lnTo>
                      <a:pt x="90" y="162"/>
                    </a:lnTo>
                    <a:lnTo>
                      <a:pt x="96" y="150"/>
                    </a:lnTo>
                    <a:lnTo>
                      <a:pt x="102" y="138"/>
                    </a:lnTo>
                    <a:lnTo>
                      <a:pt x="114" y="120"/>
                    </a:lnTo>
                    <a:lnTo>
                      <a:pt x="120" y="102"/>
                    </a:lnTo>
                    <a:lnTo>
                      <a:pt x="120" y="96"/>
                    </a:lnTo>
                    <a:lnTo>
                      <a:pt x="126" y="90"/>
                    </a:lnTo>
                    <a:lnTo>
                      <a:pt x="126" y="78"/>
                    </a:lnTo>
                    <a:lnTo>
                      <a:pt x="144" y="66"/>
                    </a:lnTo>
                    <a:lnTo>
                      <a:pt x="150" y="60"/>
                    </a:lnTo>
                    <a:lnTo>
                      <a:pt x="168" y="48"/>
                    </a:lnTo>
                    <a:lnTo>
                      <a:pt x="174" y="48"/>
                    </a:lnTo>
                    <a:lnTo>
                      <a:pt x="180" y="54"/>
                    </a:lnTo>
                    <a:lnTo>
                      <a:pt x="192" y="54"/>
                    </a:lnTo>
                    <a:lnTo>
                      <a:pt x="198" y="54"/>
                    </a:lnTo>
                    <a:lnTo>
                      <a:pt x="204" y="48"/>
                    </a:lnTo>
                    <a:lnTo>
                      <a:pt x="210" y="42"/>
                    </a:lnTo>
                    <a:lnTo>
                      <a:pt x="210" y="36"/>
                    </a:lnTo>
                    <a:lnTo>
                      <a:pt x="216" y="36"/>
                    </a:lnTo>
                    <a:lnTo>
                      <a:pt x="240" y="54"/>
                    </a:lnTo>
                    <a:lnTo>
                      <a:pt x="246" y="48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40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43" name="Freeform 151"/>
              <p:cNvSpPr>
                <a:spLocks/>
              </p:cNvSpPr>
              <p:nvPr/>
            </p:nvSpPr>
            <p:spPr bwMode="auto">
              <a:xfrm>
                <a:off x="1332" y="450"/>
                <a:ext cx="252" cy="312"/>
              </a:xfrm>
              <a:custGeom>
                <a:avLst/>
                <a:gdLst>
                  <a:gd name="T0" fmla="*/ 234 w 252"/>
                  <a:gd name="T1" fmla="*/ 36 h 312"/>
                  <a:gd name="T2" fmla="*/ 234 w 252"/>
                  <a:gd name="T3" fmla="*/ 30 h 312"/>
                  <a:gd name="T4" fmla="*/ 246 w 252"/>
                  <a:gd name="T5" fmla="*/ 24 h 312"/>
                  <a:gd name="T6" fmla="*/ 234 w 252"/>
                  <a:gd name="T7" fmla="*/ 18 h 312"/>
                  <a:gd name="T8" fmla="*/ 222 w 252"/>
                  <a:gd name="T9" fmla="*/ 6 h 312"/>
                  <a:gd name="T10" fmla="*/ 192 w 252"/>
                  <a:gd name="T11" fmla="*/ 0 h 312"/>
                  <a:gd name="T12" fmla="*/ 180 w 252"/>
                  <a:gd name="T13" fmla="*/ 12 h 312"/>
                  <a:gd name="T14" fmla="*/ 162 w 252"/>
                  <a:gd name="T15" fmla="*/ 12 h 312"/>
                  <a:gd name="T16" fmla="*/ 156 w 252"/>
                  <a:gd name="T17" fmla="*/ 24 h 312"/>
                  <a:gd name="T18" fmla="*/ 144 w 252"/>
                  <a:gd name="T19" fmla="*/ 24 h 312"/>
                  <a:gd name="T20" fmla="*/ 132 w 252"/>
                  <a:gd name="T21" fmla="*/ 30 h 312"/>
                  <a:gd name="T22" fmla="*/ 126 w 252"/>
                  <a:gd name="T23" fmla="*/ 42 h 312"/>
                  <a:gd name="T24" fmla="*/ 114 w 252"/>
                  <a:gd name="T25" fmla="*/ 48 h 312"/>
                  <a:gd name="T26" fmla="*/ 108 w 252"/>
                  <a:gd name="T27" fmla="*/ 60 h 312"/>
                  <a:gd name="T28" fmla="*/ 102 w 252"/>
                  <a:gd name="T29" fmla="*/ 84 h 312"/>
                  <a:gd name="T30" fmla="*/ 72 w 252"/>
                  <a:gd name="T31" fmla="*/ 138 h 312"/>
                  <a:gd name="T32" fmla="*/ 54 w 252"/>
                  <a:gd name="T33" fmla="*/ 174 h 312"/>
                  <a:gd name="T34" fmla="*/ 24 w 252"/>
                  <a:gd name="T35" fmla="*/ 204 h 312"/>
                  <a:gd name="T36" fmla="*/ 12 w 252"/>
                  <a:gd name="T37" fmla="*/ 216 h 312"/>
                  <a:gd name="T38" fmla="*/ 6 w 252"/>
                  <a:gd name="T39" fmla="*/ 228 h 312"/>
                  <a:gd name="T40" fmla="*/ 0 w 252"/>
                  <a:gd name="T41" fmla="*/ 246 h 312"/>
                  <a:gd name="T42" fmla="*/ 6 w 252"/>
                  <a:gd name="T43" fmla="*/ 252 h 312"/>
                  <a:gd name="T44" fmla="*/ 6 w 252"/>
                  <a:gd name="T45" fmla="*/ 264 h 312"/>
                  <a:gd name="T46" fmla="*/ 0 w 252"/>
                  <a:gd name="T47" fmla="*/ 270 h 312"/>
                  <a:gd name="T48" fmla="*/ 0 w 252"/>
                  <a:gd name="T49" fmla="*/ 282 h 312"/>
                  <a:gd name="T50" fmla="*/ 6 w 252"/>
                  <a:gd name="T51" fmla="*/ 300 h 312"/>
                  <a:gd name="T52" fmla="*/ 18 w 252"/>
                  <a:gd name="T53" fmla="*/ 312 h 312"/>
                  <a:gd name="T54" fmla="*/ 36 w 252"/>
                  <a:gd name="T55" fmla="*/ 300 h 312"/>
                  <a:gd name="T56" fmla="*/ 42 w 252"/>
                  <a:gd name="T57" fmla="*/ 282 h 312"/>
                  <a:gd name="T58" fmla="*/ 54 w 252"/>
                  <a:gd name="T59" fmla="*/ 276 h 312"/>
                  <a:gd name="T60" fmla="*/ 60 w 252"/>
                  <a:gd name="T61" fmla="*/ 264 h 312"/>
                  <a:gd name="T62" fmla="*/ 60 w 252"/>
                  <a:gd name="T63" fmla="*/ 270 h 312"/>
                  <a:gd name="T64" fmla="*/ 72 w 252"/>
                  <a:gd name="T65" fmla="*/ 258 h 312"/>
                  <a:gd name="T66" fmla="*/ 72 w 252"/>
                  <a:gd name="T67" fmla="*/ 198 h 312"/>
                  <a:gd name="T68" fmla="*/ 90 w 252"/>
                  <a:gd name="T69" fmla="*/ 180 h 312"/>
                  <a:gd name="T70" fmla="*/ 96 w 252"/>
                  <a:gd name="T71" fmla="*/ 150 h 312"/>
                  <a:gd name="T72" fmla="*/ 114 w 252"/>
                  <a:gd name="T73" fmla="*/ 120 h 312"/>
                  <a:gd name="T74" fmla="*/ 120 w 252"/>
                  <a:gd name="T75" fmla="*/ 96 h 312"/>
                  <a:gd name="T76" fmla="*/ 126 w 252"/>
                  <a:gd name="T77" fmla="*/ 78 h 312"/>
                  <a:gd name="T78" fmla="*/ 150 w 252"/>
                  <a:gd name="T79" fmla="*/ 60 h 312"/>
                  <a:gd name="T80" fmla="*/ 174 w 252"/>
                  <a:gd name="T81" fmla="*/ 48 h 312"/>
                  <a:gd name="T82" fmla="*/ 192 w 252"/>
                  <a:gd name="T83" fmla="*/ 54 h 312"/>
                  <a:gd name="T84" fmla="*/ 204 w 252"/>
                  <a:gd name="T85" fmla="*/ 48 h 312"/>
                  <a:gd name="T86" fmla="*/ 210 w 252"/>
                  <a:gd name="T87" fmla="*/ 36 h 312"/>
                  <a:gd name="T88" fmla="*/ 240 w 252"/>
                  <a:gd name="T89" fmla="*/ 54 h 312"/>
                  <a:gd name="T90" fmla="*/ 246 w 252"/>
                  <a:gd name="T91" fmla="*/ 42 h 312"/>
                  <a:gd name="T92" fmla="*/ 240 w 252"/>
                  <a:gd name="T93" fmla="*/ 42 h 31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252" h="312">
                    <a:moveTo>
                      <a:pt x="240" y="42"/>
                    </a:moveTo>
                    <a:lnTo>
                      <a:pt x="234" y="36"/>
                    </a:lnTo>
                    <a:lnTo>
                      <a:pt x="222" y="36"/>
                    </a:lnTo>
                    <a:lnTo>
                      <a:pt x="234" y="30"/>
                    </a:lnTo>
                    <a:lnTo>
                      <a:pt x="240" y="30"/>
                    </a:lnTo>
                    <a:lnTo>
                      <a:pt x="246" y="24"/>
                    </a:lnTo>
                    <a:lnTo>
                      <a:pt x="246" y="18"/>
                    </a:lnTo>
                    <a:lnTo>
                      <a:pt x="234" y="18"/>
                    </a:lnTo>
                    <a:lnTo>
                      <a:pt x="234" y="12"/>
                    </a:lnTo>
                    <a:lnTo>
                      <a:pt x="222" y="6"/>
                    </a:lnTo>
                    <a:lnTo>
                      <a:pt x="210" y="6"/>
                    </a:lnTo>
                    <a:lnTo>
                      <a:pt x="192" y="0"/>
                    </a:lnTo>
                    <a:lnTo>
                      <a:pt x="186" y="6"/>
                    </a:lnTo>
                    <a:lnTo>
                      <a:pt x="180" y="12"/>
                    </a:lnTo>
                    <a:lnTo>
                      <a:pt x="168" y="12"/>
                    </a:lnTo>
                    <a:lnTo>
                      <a:pt x="162" y="12"/>
                    </a:lnTo>
                    <a:lnTo>
                      <a:pt x="162" y="18"/>
                    </a:lnTo>
                    <a:lnTo>
                      <a:pt x="156" y="24"/>
                    </a:lnTo>
                    <a:lnTo>
                      <a:pt x="150" y="30"/>
                    </a:lnTo>
                    <a:lnTo>
                      <a:pt x="144" y="24"/>
                    </a:lnTo>
                    <a:lnTo>
                      <a:pt x="138" y="24"/>
                    </a:lnTo>
                    <a:lnTo>
                      <a:pt x="132" y="30"/>
                    </a:lnTo>
                    <a:lnTo>
                      <a:pt x="132" y="36"/>
                    </a:lnTo>
                    <a:lnTo>
                      <a:pt x="126" y="42"/>
                    </a:lnTo>
                    <a:lnTo>
                      <a:pt x="120" y="42"/>
                    </a:lnTo>
                    <a:lnTo>
                      <a:pt x="114" y="48"/>
                    </a:lnTo>
                    <a:lnTo>
                      <a:pt x="114" y="54"/>
                    </a:lnTo>
                    <a:lnTo>
                      <a:pt x="108" y="60"/>
                    </a:lnTo>
                    <a:lnTo>
                      <a:pt x="108" y="66"/>
                    </a:lnTo>
                    <a:lnTo>
                      <a:pt x="102" y="84"/>
                    </a:lnTo>
                    <a:lnTo>
                      <a:pt x="84" y="114"/>
                    </a:lnTo>
                    <a:lnTo>
                      <a:pt x="72" y="138"/>
                    </a:lnTo>
                    <a:lnTo>
                      <a:pt x="60" y="168"/>
                    </a:lnTo>
                    <a:lnTo>
                      <a:pt x="54" y="174"/>
                    </a:lnTo>
                    <a:lnTo>
                      <a:pt x="36" y="192"/>
                    </a:lnTo>
                    <a:lnTo>
                      <a:pt x="24" y="204"/>
                    </a:lnTo>
                    <a:lnTo>
                      <a:pt x="18" y="210"/>
                    </a:lnTo>
                    <a:lnTo>
                      <a:pt x="12" y="216"/>
                    </a:lnTo>
                    <a:lnTo>
                      <a:pt x="6" y="222"/>
                    </a:lnTo>
                    <a:lnTo>
                      <a:pt x="6" y="228"/>
                    </a:lnTo>
                    <a:lnTo>
                      <a:pt x="0" y="234"/>
                    </a:lnTo>
                    <a:lnTo>
                      <a:pt x="0" y="246"/>
                    </a:lnTo>
                    <a:lnTo>
                      <a:pt x="0" y="252"/>
                    </a:lnTo>
                    <a:lnTo>
                      <a:pt x="6" y="252"/>
                    </a:lnTo>
                    <a:lnTo>
                      <a:pt x="6" y="258"/>
                    </a:lnTo>
                    <a:lnTo>
                      <a:pt x="6" y="264"/>
                    </a:lnTo>
                    <a:lnTo>
                      <a:pt x="0" y="264"/>
                    </a:lnTo>
                    <a:lnTo>
                      <a:pt x="0" y="270"/>
                    </a:lnTo>
                    <a:lnTo>
                      <a:pt x="0" y="276"/>
                    </a:lnTo>
                    <a:lnTo>
                      <a:pt x="0" y="282"/>
                    </a:lnTo>
                    <a:lnTo>
                      <a:pt x="0" y="294"/>
                    </a:lnTo>
                    <a:lnTo>
                      <a:pt x="6" y="300"/>
                    </a:lnTo>
                    <a:lnTo>
                      <a:pt x="12" y="306"/>
                    </a:lnTo>
                    <a:lnTo>
                      <a:pt x="18" y="312"/>
                    </a:lnTo>
                    <a:lnTo>
                      <a:pt x="30" y="306"/>
                    </a:lnTo>
                    <a:lnTo>
                      <a:pt x="36" y="300"/>
                    </a:lnTo>
                    <a:lnTo>
                      <a:pt x="36" y="294"/>
                    </a:lnTo>
                    <a:lnTo>
                      <a:pt x="42" y="282"/>
                    </a:lnTo>
                    <a:lnTo>
                      <a:pt x="48" y="276"/>
                    </a:lnTo>
                    <a:lnTo>
                      <a:pt x="54" y="276"/>
                    </a:lnTo>
                    <a:lnTo>
                      <a:pt x="54" y="264"/>
                    </a:lnTo>
                    <a:lnTo>
                      <a:pt x="60" y="264"/>
                    </a:lnTo>
                    <a:lnTo>
                      <a:pt x="60" y="258"/>
                    </a:lnTo>
                    <a:lnTo>
                      <a:pt x="60" y="270"/>
                    </a:lnTo>
                    <a:lnTo>
                      <a:pt x="72" y="264"/>
                    </a:lnTo>
                    <a:lnTo>
                      <a:pt x="72" y="258"/>
                    </a:lnTo>
                    <a:lnTo>
                      <a:pt x="72" y="246"/>
                    </a:lnTo>
                    <a:lnTo>
                      <a:pt x="72" y="198"/>
                    </a:lnTo>
                    <a:lnTo>
                      <a:pt x="72" y="192"/>
                    </a:lnTo>
                    <a:lnTo>
                      <a:pt x="90" y="180"/>
                    </a:lnTo>
                    <a:lnTo>
                      <a:pt x="90" y="162"/>
                    </a:lnTo>
                    <a:lnTo>
                      <a:pt x="96" y="150"/>
                    </a:lnTo>
                    <a:lnTo>
                      <a:pt x="102" y="138"/>
                    </a:lnTo>
                    <a:lnTo>
                      <a:pt x="114" y="120"/>
                    </a:lnTo>
                    <a:lnTo>
                      <a:pt x="120" y="102"/>
                    </a:lnTo>
                    <a:lnTo>
                      <a:pt x="120" y="96"/>
                    </a:lnTo>
                    <a:lnTo>
                      <a:pt x="126" y="90"/>
                    </a:lnTo>
                    <a:lnTo>
                      <a:pt x="126" y="78"/>
                    </a:lnTo>
                    <a:lnTo>
                      <a:pt x="144" y="66"/>
                    </a:lnTo>
                    <a:lnTo>
                      <a:pt x="150" y="60"/>
                    </a:lnTo>
                    <a:lnTo>
                      <a:pt x="168" y="48"/>
                    </a:lnTo>
                    <a:lnTo>
                      <a:pt x="174" y="48"/>
                    </a:lnTo>
                    <a:lnTo>
                      <a:pt x="180" y="54"/>
                    </a:lnTo>
                    <a:lnTo>
                      <a:pt x="192" y="54"/>
                    </a:lnTo>
                    <a:lnTo>
                      <a:pt x="198" y="54"/>
                    </a:lnTo>
                    <a:lnTo>
                      <a:pt x="204" y="48"/>
                    </a:lnTo>
                    <a:lnTo>
                      <a:pt x="210" y="42"/>
                    </a:lnTo>
                    <a:lnTo>
                      <a:pt x="210" y="36"/>
                    </a:lnTo>
                    <a:lnTo>
                      <a:pt x="216" y="36"/>
                    </a:lnTo>
                    <a:lnTo>
                      <a:pt x="240" y="54"/>
                    </a:lnTo>
                    <a:lnTo>
                      <a:pt x="246" y="48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40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80" name="Group 152"/>
            <p:cNvGrpSpPr>
              <a:grpSpLocks/>
            </p:cNvGrpSpPr>
            <p:nvPr/>
          </p:nvGrpSpPr>
          <p:grpSpPr bwMode="auto">
            <a:xfrm>
              <a:off x="669762" y="2444254"/>
              <a:ext cx="230638" cy="175984"/>
              <a:chOff x="1194" y="972"/>
              <a:chExt cx="114" cy="102"/>
            </a:xfrm>
            <a:solidFill>
              <a:srgbClr val="0070C0">
                <a:alpha val="27059"/>
              </a:srgbClr>
            </a:solidFill>
          </p:grpSpPr>
          <p:sp>
            <p:nvSpPr>
              <p:cNvPr id="1840" name="Freeform 153"/>
              <p:cNvSpPr>
                <a:spLocks/>
              </p:cNvSpPr>
              <p:nvPr/>
            </p:nvSpPr>
            <p:spPr bwMode="auto">
              <a:xfrm>
                <a:off x="1194" y="972"/>
                <a:ext cx="114" cy="102"/>
              </a:xfrm>
              <a:custGeom>
                <a:avLst/>
                <a:gdLst>
                  <a:gd name="T0" fmla="*/ 108 w 114"/>
                  <a:gd name="T1" fmla="*/ 36 h 102"/>
                  <a:gd name="T2" fmla="*/ 96 w 114"/>
                  <a:gd name="T3" fmla="*/ 42 h 102"/>
                  <a:gd name="T4" fmla="*/ 84 w 114"/>
                  <a:gd name="T5" fmla="*/ 54 h 102"/>
                  <a:gd name="T6" fmla="*/ 84 w 114"/>
                  <a:gd name="T7" fmla="*/ 66 h 102"/>
                  <a:gd name="T8" fmla="*/ 66 w 114"/>
                  <a:gd name="T9" fmla="*/ 90 h 102"/>
                  <a:gd name="T10" fmla="*/ 48 w 114"/>
                  <a:gd name="T11" fmla="*/ 90 h 102"/>
                  <a:gd name="T12" fmla="*/ 36 w 114"/>
                  <a:gd name="T13" fmla="*/ 90 h 102"/>
                  <a:gd name="T14" fmla="*/ 30 w 114"/>
                  <a:gd name="T15" fmla="*/ 90 h 102"/>
                  <a:gd name="T16" fmla="*/ 18 w 114"/>
                  <a:gd name="T17" fmla="*/ 96 h 102"/>
                  <a:gd name="T18" fmla="*/ 12 w 114"/>
                  <a:gd name="T19" fmla="*/ 102 h 102"/>
                  <a:gd name="T20" fmla="*/ 12 w 114"/>
                  <a:gd name="T21" fmla="*/ 96 h 102"/>
                  <a:gd name="T22" fmla="*/ 12 w 114"/>
                  <a:gd name="T23" fmla="*/ 84 h 102"/>
                  <a:gd name="T24" fmla="*/ 18 w 114"/>
                  <a:gd name="T25" fmla="*/ 78 h 102"/>
                  <a:gd name="T26" fmla="*/ 12 w 114"/>
                  <a:gd name="T27" fmla="*/ 72 h 102"/>
                  <a:gd name="T28" fmla="*/ 18 w 114"/>
                  <a:gd name="T29" fmla="*/ 60 h 102"/>
                  <a:gd name="T30" fmla="*/ 18 w 114"/>
                  <a:gd name="T31" fmla="*/ 48 h 102"/>
                  <a:gd name="T32" fmla="*/ 18 w 114"/>
                  <a:gd name="T33" fmla="*/ 36 h 102"/>
                  <a:gd name="T34" fmla="*/ 24 w 114"/>
                  <a:gd name="T35" fmla="*/ 30 h 102"/>
                  <a:gd name="T36" fmla="*/ 24 w 114"/>
                  <a:gd name="T37" fmla="*/ 24 h 102"/>
                  <a:gd name="T38" fmla="*/ 18 w 114"/>
                  <a:gd name="T39" fmla="*/ 24 h 102"/>
                  <a:gd name="T40" fmla="*/ 0 w 114"/>
                  <a:gd name="T41" fmla="*/ 24 h 102"/>
                  <a:gd name="T42" fmla="*/ 0 w 114"/>
                  <a:gd name="T43" fmla="*/ 18 h 102"/>
                  <a:gd name="T44" fmla="*/ 0 w 114"/>
                  <a:gd name="T45" fmla="*/ 12 h 102"/>
                  <a:gd name="T46" fmla="*/ 0 w 114"/>
                  <a:gd name="T47" fmla="*/ 12 h 102"/>
                  <a:gd name="T48" fmla="*/ 12 w 114"/>
                  <a:gd name="T49" fmla="*/ 0 h 102"/>
                  <a:gd name="T50" fmla="*/ 18 w 114"/>
                  <a:gd name="T51" fmla="*/ 6 h 102"/>
                  <a:gd name="T52" fmla="*/ 42 w 114"/>
                  <a:gd name="T53" fmla="*/ 6 h 102"/>
                  <a:gd name="T54" fmla="*/ 60 w 114"/>
                  <a:gd name="T55" fmla="*/ 6 h 102"/>
                  <a:gd name="T56" fmla="*/ 72 w 114"/>
                  <a:gd name="T57" fmla="*/ 6 h 102"/>
                  <a:gd name="T58" fmla="*/ 72 w 114"/>
                  <a:gd name="T59" fmla="*/ 12 h 102"/>
                  <a:gd name="T60" fmla="*/ 84 w 114"/>
                  <a:gd name="T61" fmla="*/ 18 h 102"/>
                  <a:gd name="T62" fmla="*/ 90 w 114"/>
                  <a:gd name="T63" fmla="*/ 24 h 102"/>
                  <a:gd name="T64" fmla="*/ 96 w 114"/>
                  <a:gd name="T65" fmla="*/ 30 h 102"/>
                  <a:gd name="T66" fmla="*/ 108 w 114"/>
                  <a:gd name="T67" fmla="*/ 36 h 102"/>
                  <a:gd name="T68" fmla="*/ 114 w 114"/>
                  <a:gd name="T69" fmla="*/ 36 h 10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14" h="102">
                    <a:moveTo>
                      <a:pt x="114" y="36"/>
                    </a:moveTo>
                    <a:lnTo>
                      <a:pt x="108" y="36"/>
                    </a:lnTo>
                    <a:lnTo>
                      <a:pt x="102" y="36"/>
                    </a:lnTo>
                    <a:lnTo>
                      <a:pt x="96" y="42"/>
                    </a:lnTo>
                    <a:lnTo>
                      <a:pt x="90" y="48"/>
                    </a:lnTo>
                    <a:lnTo>
                      <a:pt x="84" y="54"/>
                    </a:lnTo>
                    <a:lnTo>
                      <a:pt x="90" y="60"/>
                    </a:lnTo>
                    <a:lnTo>
                      <a:pt x="84" y="66"/>
                    </a:lnTo>
                    <a:lnTo>
                      <a:pt x="78" y="72"/>
                    </a:lnTo>
                    <a:lnTo>
                      <a:pt x="66" y="90"/>
                    </a:lnTo>
                    <a:lnTo>
                      <a:pt x="48" y="90"/>
                    </a:lnTo>
                    <a:lnTo>
                      <a:pt x="42" y="90"/>
                    </a:lnTo>
                    <a:lnTo>
                      <a:pt x="36" y="90"/>
                    </a:lnTo>
                    <a:lnTo>
                      <a:pt x="36" y="96"/>
                    </a:lnTo>
                    <a:lnTo>
                      <a:pt x="30" y="90"/>
                    </a:lnTo>
                    <a:lnTo>
                      <a:pt x="24" y="96"/>
                    </a:lnTo>
                    <a:lnTo>
                      <a:pt x="18" y="96"/>
                    </a:lnTo>
                    <a:lnTo>
                      <a:pt x="18" y="102"/>
                    </a:lnTo>
                    <a:lnTo>
                      <a:pt x="12" y="102"/>
                    </a:lnTo>
                    <a:lnTo>
                      <a:pt x="12" y="96"/>
                    </a:lnTo>
                    <a:lnTo>
                      <a:pt x="6" y="90"/>
                    </a:lnTo>
                    <a:lnTo>
                      <a:pt x="12" y="84"/>
                    </a:lnTo>
                    <a:lnTo>
                      <a:pt x="12" y="78"/>
                    </a:lnTo>
                    <a:lnTo>
                      <a:pt x="18" y="78"/>
                    </a:lnTo>
                    <a:lnTo>
                      <a:pt x="12" y="72"/>
                    </a:lnTo>
                    <a:lnTo>
                      <a:pt x="18" y="72"/>
                    </a:lnTo>
                    <a:lnTo>
                      <a:pt x="18" y="60"/>
                    </a:lnTo>
                    <a:lnTo>
                      <a:pt x="18" y="54"/>
                    </a:lnTo>
                    <a:lnTo>
                      <a:pt x="18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18" y="24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18" y="6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60" y="6"/>
                    </a:lnTo>
                    <a:lnTo>
                      <a:pt x="72" y="6"/>
                    </a:lnTo>
                    <a:lnTo>
                      <a:pt x="72" y="12"/>
                    </a:lnTo>
                    <a:lnTo>
                      <a:pt x="84" y="18"/>
                    </a:lnTo>
                    <a:lnTo>
                      <a:pt x="90" y="18"/>
                    </a:lnTo>
                    <a:lnTo>
                      <a:pt x="90" y="24"/>
                    </a:lnTo>
                    <a:lnTo>
                      <a:pt x="96" y="30"/>
                    </a:lnTo>
                    <a:lnTo>
                      <a:pt x="108" y="36"/>
                    </a:lnTo>
                    <a:lnTo>
                      <a:pt x="114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41" name="Freeform 154"/>
              <p:cNvSpPr>
                <a:spLocks/>
              </p:cNvSpPr>
              <p:nvPr/>
            </p:nvSpPr>
            <p:spPr bwMode="auto">
              <a:xfrm>
                <a:off x="1194" y="972"/>
                <a:ext cx="114" cy="102"/>
              </a:xfrm>
              <a:custGeom>
                <a:avLst/>
                <a:gdLst>
                  <a:gd name="T0" fmla="*/ 114 w 114"/>
                  <a:gd name="T1" fmla="*/ 36 h 102"/>
                  <a:gd name="T2" fmla="*/ 108 w 114"/>
                  <a:gd name="T3" fmla="*/ 36 h 102"/>
                  <a:gd name="T4" fmla="*/ 102 w 114"/>
                  <a:gd name="T5" fmla="*/ 36 h 102"/>
                  <a:gd name="T6" fmla="*/ 96 w 114"/>
                  <a:gd name="T7" fmla="*/ 42 h 102"/>
                  <a:gd name="T8" fmla="*/ 90 w 114"/>
                  <a:gd name="T9" fmla="*/ 48 h 102"/>
                  <a:gd name="T10" fmla="*/ 84 w 114"/>
                  <a:gd name="T11" fmla="*/ 54 h 102"/>
                  <a:gd name="T12" fmla="*/ 90 w 114"/>
                  <a:gd name="T13" fmla="*/ 60 h 102"/>
                  <a:gd name="T14" fmla="*/ 84 w 114"/>
                  <a:gd name="T15" fmla="*/ 66 h 102"/>
                  <a:gd name="T16" fmla="*/ 78 w 114"/>
                  <a:gd name="T17" fmla="*/ 72 h 102"/>
                  <a:gd name="T18" fmla="*/ 66 w 114"/>
                  <a:gd name="T19" fmla="*/ 90 h 102"/>
                  <a:gd name="T20" fmla="*/ 48 w 114"/>
                  <a:gd name="T21" fmla="*/ 90 h 102"/>
                  <a:gd name="T22" fmla="*/ 42 w 114"/>
                  <a:gd name="T23" fmla="*/ 90 h 102"/>
                  <a:gd name="T24" fmla="*/ 36 w 114"/>
                  <a:gd name="T25" fmla="*/ 90 h 102"/>
                  <a:gd name="T26" fmla="*/ 36 w 114"/>
                  <a:gd name="T27" fmla="*/ 96 h 102"/>
                  <a:gd name="T28" fmla="*/ 30 w 114"/>
                  <a:gd name="T29" fmla="*/ 90 h 102"/>
                  <a:gd name="T30" fmla="*/ 24 w 114"/>
                  <a:gd name="T31" fmla="*/ 96 h 102"/>
                  <a:gd name="T32" fmla="*/ 18 w 114"/>
                  <a:gd name="T33" fmla="*/ 96 h 102"/>
                  <a:gd name="T34" fmla="*/ 18 w 114"/>
                  <a:gd name="T35" fmla="*/ 102 h 102"/>
                  <a:gd name="T36" fmla="*/ 12 w 114"/>
                  <a:gd name="T37" fmla="*/ 102 h 102"/>
                  <a:gd name="T38" fmla="*/ 12 w 114"/>
                  <a:gd name="T39" fmla="*/ 96 h 102"/>
                  <a:gd name="T40" fmla="*/ 6 w 114"/>
                  <a:gd name="T41" fmla="*/ 90 h 102"/>
                  <a:gd name="T42" fmla="*/ 12 w 114"/>
                  <a:gd name="T43" fmla="*/ 84 h 102"/>
                  <a:gd name="T44" fmla="*/ 12 w 114"/>
                  <a:gd name="T45" fmla="*/ 78 h 102"/>
                  <a:gd name="T46" fmla="*/ 18 w 114"/>
                  <a:gd name="T47" fmla="*/ 78 h 102"/>
                  <a:gd name="T48" fmla="*/ 12 w 114"/>
                  <a:gd name="T49" fmla="*/ 72 h 102"/>
                  <a:gd name="T50" fmla="*/ 18 w 114"/>
                  <a:gd name="T51" fmla="*/ 72 h 102"/>
                  <a:gd name="T52" fmla="*/ 18 w 114"/>
                  <a:gd name="T53" fmla="*/ 60 h 102"/>
                  <a:gd name="T54" fmla="*/ 18 w 114"/>
                  <a:gd name="T55" fmla="*/ 54 h 102"/>
                  <a:gd name="T56" fmla="*/ 18 w 114"/>
                  <a:gd name="T57" fmla="*/ 48 h 102"/>
                  <a:gd name="T58" fmla="*/ 18 w 114"/>
                  <a:gd name="T59" fmla="*/ 42 h 102"/>
                  <a:gd name="T60" fmla="*/ 18 w 114"/>
                  <a:gd name="T61" fmla="*/ 36 h 102"/>
                  <a:gd name="T62" fmla="*/ 24 w 114"/>
                  <a:gd name="T63" fmla="*/ 30 h 102"/>
                  <a:gd name="T64" fmla="*/ 24 w 114"/>
                  <a:gd name="T65" fmla="*/ 24 h 102"/>
                  <a:gd name="T66" fmla="*/ 18 w 114"/>
                  <a:gd name="T67" fmla="*/ 24 h 102"/>
                  <a:gd name="T68" fmla="*/ 6 w 114"/>
                  <a:gd name="T69" fmla="*/ 24 h 102"/>
                  <a:gd name="T70" fmla="*/ 0 w 114"/>
                  <a:gd name="T71" fmla="*/ 24 h 102"/>
                  <a:gd name="T72" fmla="*/ 0 w 114"/>
                  <a:gd name="T73" fmla="*/ 18 h 102"/>
                  <a:gd name="T74" fmla="*/ 0 w 114"/>
                  <a:gd name="T75" fmla="*/ 12 h 102"/>
                  <a:gd name="T76" fmla="*/ 12 w 114"/>
                  <a:gd name="T77" fmla="*/ 6 h 102"/>
                  <a:gd name="T78" fmla="*/ 12 w 114"/>
                  <a:gd name="T79" fmla="*/ 0 h 102"/>
                  <a:gd name="T80" fmla="*/ 18 w 114"/>
                  <a:gd name="T81" fmla="*/ 6 h 102"/>
                  <a:gd name="T82" fmla="*/ 36 w 114"/>
                  <a:gd name="T83" fmla="*/ 6 h 102"/>
                  <a:gd name="T84" fmla="*/ 42 w 114"/>
                  <a:gd name="T85" fmla="*/ 6 h 102"/>
                  <a:gd name="T86" fmla="*/ 48 w 114"/>
                  <a:gd name="T87" fmla="*/ 6 h 102"/>
                  <a:gd name="T88" fmla="*/ 60 w 114"/>
                  <a:gd name="T89" fmla="*/ 6 h 102"/>
                  <a:gd name="T90" fmla="*/ 72 w 114"/>
                  <a:gd name="T91" fmla="*/ 6 h 102"/>
                  <a:gd name="T92" fmla="*/ 72 w 114"/>
                  <a:gd name="T93" fmla="*/ 12 h 102"/>
                  <a:gd name="T94" fmla="*/ 84 w 114"/>
                  <a:gd name="T95" fmla="*/ 18 h 102"/>
                  <a:gd name="T96" fmla="*/ 90 w 114"/>
                  <a:gd name="T97" fmla="*/ 18 h 102"/>
                  <a:gd name="T98" fmla="*/ 90 w 114"/>
                  <a:gd name="T99" fmla="*/ 24 h 102"/>
                  <a:gd name="T100" fmla="*/ 96 w 114"/>
                  <a:gd name="T101" fmla="*/ 30 h 102"/>
                  <a:gd name="T102" fmla="*/ 108 w 114"/>
                  <a:gd name="T103" fmla="*/ 36 h 102"/>
                  <a:gd name="T104" fmla="*/ 114 w 114"/>
                  <a:gd name="T105" fmla="*/ 36 h 10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14" h="102">
                    <a:moveTo>
                      <a:pt x="114" y="36"/>
                    </a:moveTo>
                    <a:lnTo>
                      <a:pt x="108" y="36"/>
                    </a:lnTo>
                    <a:lnTo>
                      <a:pt x="102" y="36"/>
                    </a:lnTo>
                    <a:lnTo>
                      <a:pt x="96" y="42"/>
                    </a:lnTo>
                    <a:lnTo>
                      <a:pt x="90" y="48"/>
                    </a:lnTo>
                    <a:lnTo>
                      <a:pt x="84" y="54"/>
                    </a:lnTo>
                    <a:lnTo>
                      <a:pt x="90" y="60"/>
                    </a:lnTo>
                    <a:lnTo>
                      <a:pt x="84" y="66"/>
                    </a:lnTo>
                    <a:lnTo>
                      <a:pt x="78" y="72"/>
                    </a:lnTo>
                    <a:lnTo>
                      <a:pt x="66" y="90"/>
                    </a:lnTo>
                    <a:lnTo>
                      <a:pt x="48" y="90"/>
                    </a:lnTo>
                    <a:lnTo>
                      <a:pt x="42" y="90"/>
                    </a:lnTo>
                    <a:lnTo>
                      <a:pt x="36" y="90"/>
                    </a:lnTo>
                    <a:lnTo>
                      <a:pt x="36" y="96"/>
                    </a:lnTo>
                    <a:lnTo>
                      <a:pt x="30" y="90"/>
                    </a:lnTo>
                    <a:lnTo>
                      <a:pt x="24" y="96"/>
                    </a:lnTo>
                    <a:lnTo>
                      <a:pt x="18" y="96"/>
                    </a:lnTo>
                    <a:lnTo>
                      <a:pt x="18" y="102"/>
                    </a:lnTo>
                    <a:lnTo>
                      <a:pt x="12" y="102"/>
                    </a:lnTo>
                    <a:lnTo>
                      <a:pt x="12" y="96"/>
                    </a:lnTo>
                    <a:lnTo>
                      <a:pt x="6" y="90"/>
                    </a:lnTo>
                    <a:lnTo>
                      <a:pt x="12" y="84"/>
                    </a:lnTo>
                    <a:lnTo>
                      <a:pt x="12" y="78"/>
                    </a:lnTo>
                    <a:lnTo>
                      <a:pt x="18" y="78"/>
                    </a:lnTo>
                    <a:lnTo>
                      <a:pt x="12" y="72"/>
                    </a:lnTo>
                    <a:lnTo>
                      <a:pt x="18" y="72"/>
                    </a:lnTo>
                    <a:lnTo>
                      <a:pt x="18" y="60"/>
                    </a:lnTo>
                    <a:lnTo>
                      <a:pt x="18" y="54"/>
                    </a:lnTo>
                    <a:lnTo>
                      <a:pt x="18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18" y="24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18" y="6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60" y="6"/>
                    </a:lnTo>
                    <a:lnTo>
                      <a:pt x="72" y="6"/>
                    </a:lnTo>
                    <a:lnTo>
                      <a:pt x="72" y="12"/>
                    </a:lnTo>
                    <a:lnTo>
                      <a:pt x="84" y="18"/>
                    </a:lnTo>
                    <a:lnTo>
                      <a:pt x="90" y="18"/>
                    </a:lnTo>
                    <a:lnTo>
                      <a:pt x="90" y="24"/>
                    </a:lnTo>
                    <a:lnTo>
                      <a:pt x="96" y="30"/>
                    </a:lnTo>
                    <a:lnTo>
                      <a:pt x="108" y="36"/>
                    </a:lnTo>
                    <a:lnTo>
                      <a:pt x="114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81" name="Group 155"/>
            <p:cNvGrpSpPr>
              <a:grpSpLocks/>
            </p:cNvGrpSpPr>
            <p:nvPr/>
          </p:nvGrpSpPr>
          <p:grpSpPr bwMode="auto">
            <a:xfrm>
              <a:off x="888868" y="2547417"/>
              <a:ext cx="11532" cy="10114"/>
              <a:chOff x="1302" y="1032"/>
              <a:chExt cx="6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838" name="Freeform 156"/>
              <p:cNvSpPr>
                <a:spLocks/>
              </p:cNvSpPr>
              <p:nvPr/>
            </p:nvSpPr>
            <p:spPr bwMode="auto">
              <a:xfrm>
                <a:off x="1302" y="1032"/>
                <a:ext cx="6" cy="6"/>
              </a:xfrm>
              <a:custGeom>
                <a:avLst/>
                <a:gdLst>
                  <a:gd name="T0" fmla="*/ 6 w 6"/>
                  <a:gd name="T1" fmla="*/ 0 h 6"/>
                  <a:gd name="T2" fmla="*/ 6 w 6"/>
                  <a:gd name="T3" fmla="*/ 0 h 6"/>
                  <a:gd name="T4" fmla="*/ 0 w 6"/>
                  <a:gd name="T5" fmla="*/ 0 h 6"/>
                  <a:gd name="T6" fmla="*/ 0 w 6"/>
                  <a:gd name="T7" fmla="*/ 0 h 6"/>
                  <a:gd name="T8" fmla="*/ 0 w 6"/>
                  <a:gd name="T9" fmla="*/ 6 h 6"/>
                  <a:gd name="T10" fmla="*/ 0 w 6"/>
                  <a:gd name="T11" fmla="*/ 6 h 6"/>
                  <a:gd name="T12" fmla="*/ 6 w 6"/>
                  <a:gd name="T13" fmla="*/ 6 h 6"/>
                  <a:gd name="T14" fmla="*/ 6 w 6"/>
                  <a:gd name="T15" fmla="*/ 0 h 6"/>
                  <a:gd name="T16" fmla="*/ 6 w 6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39" name="Rectangle 157"/>
              <p:cNvSpPr>
                <a:spLocks noChangeArrowheads="1"/>
              </p:cNvSpPr>
              <p:nvPr/>
            </p:nvSpPr>
            <p:spPr bwMode="auto">
              <a:xfrm>
                <a:off x="1305" y="1035"/>
                <a:ext cx="0" cy="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82" name="Group 158"/>
            <p:cNvGrpSpPr>
              <a:grpSpLocks/>
            </p:cNvGrpSpPr>
            <p:nvPr/>
          </p:nvGrpSpPr>
          <p:grpSpPr bwMode="auto">
            <a:xfrm>
              <a:off x="961904" y="2403798"/>
              <a:ext cx="244092" cy="206327"/>
              <a:chOff x="1338" y="948"/>
              <a:chExt cx="120" cy="120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1829" name="Group 159"/>
              <p:cNvGrpSpPr>
                <a:grpSpLocks/>
              </p:cNvGrpSpPr>
              <p:nvPr/>
            </p:nvGrpSpPr>
            <p:grpSpPr bwMode="auto">
              <a:xfrm>
                <a:off x="1338" y="948"/>
                <a:ext cx="120" cy="108"/>
                <a:chOff x="1338" y="948"/>
                <a:chExt cx="120" cy="108"/>
              </a:xfrm>
              <a:grpFill/>
            </p:grpSpPr>
            <p:sp>
              <p:nvSpPr>
                <p:cNvPr id="1836" name="Freeform 160"/>
                <p:cNvSpPr>
                  <a:spLocks/>
                </p:cNvSpPr>
                <p:nvPr/>
              </p:nvSpPr>
              <p:spPr bwMode="auto">
                <a:xfrm>
                  <a:off x="1338" y="948"/>
                  <a:ext cx="120" cy="108"/>
                </a:xfrm>
                <a:custGeom>
                  <a:avLst/>
                  <a:gdLst>
                    <a:gd name="T0" fmla="*/ 72 w 120"/>
                    <a:gd name="T1" fmla="*/ 12 h 108"/>
                    <a:gd name="T2" fmla="*/ 72 w 120"/>
                    <a:gd name="T3" fmla="*/ 12 h 108"/>
                    <a:gd name="T4" fmla="*/ 66 w 120"/>
                    <a:gd name="T5" fmla="*/ 18 h 108"/>
                    <a:gd name="T6" fmla="*/ 66 w 120"/>
                    <a:gd name="T7" fmla="*/ 30 h 108"/>
                    <a:gd name="T8" fmla="*/ 78 w 120"/>
                    <a:gd name="T9" fmla="*/ 36 h 108"/>
                    <a:gd name="T10" fmla="*/ 84 w 120"/>
                    <a:gd name="T11" fmla="*/ 42 h 108"/>
                    <a:gd name="T12" fmla="*/ 108 w 120"/>
                    <a:gd name="T13" fmla="*/ 66 h 108"/>
                    <a:gd name="T14" fmla="*/ 120 w 120"/>
                    <a:gd name="T15" fmla="*/ 90 h 108"/>
                    <a:gd name="T16" fmla="*/ 108 w 120"/>
                    <a:gd name="T17" fmla="*/ 84 h 108"/>
                    <a:gd name="T18" fmla="*/ 102 w 120"/>
                    <a:gd name="T19" fmla="*/ 90 h 108"/>
                    <a:gd name="T20" fmla="*/ 102 w 120"/>
                    <a:gd name="T21" fmla="*/ 102 h 108"/>
                    <a:gd name="T22" fmla="*/ 96 w 120"/>
                    <a:gd name="T23" fmla="*/ 108 h 108"/>
                    <a:gd name="T24" fmla="*/ 90 w 120"/>
                    <a:gd name="T25" fmla="*/ 96 h 108"/>
                    <a:gd name="T26" fmla="*/ 90 w 120"/>
                    <a:gd name="T27" fmla="*/ 96 h 108"/>
                    <a:gd name="T28" fmla="*/ 96 w 120"/>
                    <a:gd name="T29" fmla="*/ 84 h 108"/>
                    <a:gd name="T30" fmla="*/ 84 w 120"/>
                    <a:gd name="T31" fmla="*/ 78 h 108"/>
                    <a:gd name="T32" fmla="*/ 66 w 120"/>
                    <a:gd name="T33" fmla="*/ 60 h 108"/>
                    <a:gd name="T34" fmla="*/ 42 w 120"/>
                    <a:gd name="T35" fmla="*/ 36 h 108"/>
                    <a:gd name="T36" fmla="*/ 36 w 120"/>
                    <a:gd name="T37" fmla="*/ 30 h 108"/>
                    <a:gd name="T38" fmla="*/ 18 w 120"/>
                    <a:gd name="T39" fmla="*/ 36 h 108"/>
                    <a:gd name="T40" fmla="*/ 12 w 120"/>
                    <a:gd name="T41" fmla="*/ 36 h 108"/>
                    <a:gd name="T42" fmla="*/ 6 w 120"/>
                    <a:gd name="T43" fmla="*/ 24 h 108"/>
                    <a:gd name="T44" fmla="*/ 0 w 120"/>
                    <a:gd name="T45" fmla="*/ 12 h 108"/>
                    <a:gd name="T46" fmla="*/ 18 w 120"/>
                    <a:gd name="T47" fmla="*/ 18 h 108"/>
                    <a:gd name="T48" fmla="*/ 24 w 120"/>
                    <a:gd name="T49" fmla="*/ 6 h 108"/>
                    <a:gd name="T50" fmla="*/ 24 w 120"/>
                    <a:gd name="T51" fmla="*/ 6 h 108"/>
                    <a:gd name="T52" fmla="*/ 30 w 120"/>
                    <a:gd name="T53" fmla="*/ 6 h 108"/>
                    <a:gd name="T54" fmla="*/ 36 w 120"/>
                    <a:gd name="T55" fmla="*/ 6 h 108"/>
                    <a:gd name="T56" fmla="*/ 36 w 120"/>
                    <a:gd name="T57" fmla="*/ 6 h 108"/>
                    <a:gd name="T58" fmla="*/ 36 w 120"/>
                    <a:gd name="T59" fmla="*/ 6 h 108"/>
                    <a:gd name="T60" fmla="*/ 42 w 120"/>
                    <a:gd name="T61" fmla="*/ 0 h 108"/>
                    <a:gd name="T62" fmla="*/ 48 w 120"/>
                    <a:gd name="T63" fmla="*/ 0 h 108"/>
                    <a:gd name="T64" fmla="*/ 54 w 120"/>
                    <a:gd name="T65" fmla="*/ 0 h 108"/>
                    <a:gd name="T66" fmla="*/ 66 w 120"/>
                    <a:gd name="T67" fmla="*/ 6 h 10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120" h="108">
                      <a:moveTo>
                        <a:pt x="72" y="6"/>
                      </a:moveTo>
                      <a:lnTo>
                        <a:pt x="72" y="12"/>
                      </a:lnTo>
                      <a:lnTo>
                        <a:pt x="66" y="18"/>
                      </a:lnTo>
                      <a:lnTo>
                        <a:pt x="60" y="18"/>
                      </a:lnTo>
                      <a:lnTo>
                        <a:pt x="66" y="30"/>
                      </a:lnTo>
                      <a:lnTo>
                        <a:pt x="72" y="36"/>
                      </a:lnTo>
                      <a:lnTo>
                        <a:pt x="78" y="36"/>
                      </a:lnTo>
                      <a:lnTo>
                        <a:pt x="78" y="42"/>
                      </a:lnTo>
                      <a:lnTo>
                        <a:pt x="84" y="42"/>
                      </a:lnTo>
                      <a:lnTo>
                        <a:pt x="84" y="48"/>
                      </a:lnTo>
                      <a:lnTo>
                        <a:pt x="108" y="66"/>
                      </a:lnTo>
                      <a:lnTo>
                        <a:pt x="114" y="72"/>
                      </a:lnTo>
                      <a:lnTo>
                        <a:pt x="120" y="90"/>
                      </a:lnTo>
                      <a:lnTo>
                        <a:pt x="114" y="90"/>
                      </a:lnTo>
                      <a:lnTo>
                        <a:pt x="108" y="84"/>
                      </a:lnTo>
                      <a:lnTo>
                        <a:pt x="102" y="90"/>
                      </a:lnTo>
                      <a:lnTo>
                        <a:pt x="108" y="96"/>
                      </a:lnTo>
                      <a:lnTo>
                        <a:pt x="102" y="102"/>
                      </a:lnTo>
                      <a:lnTo>
                        <a:pt x="96" y="108"/>
                      </a:lnTo>
                      <a:lnTo>
                        <a:pt x="90" y="108"/>
                      </a:lnTo>
                      <a:lnTo>
                        <a:pt x="90" y="96"/>
                      </a:lnTo>
                      <a:lnTo>
                        <a:pt x="96" y="96"/>
                      </a:lnTo>
                      <a:lnTo>
                        <a:pt x="96" y="84"/>
                      </a:lnTo>
                      <a:lnTo>
                        <a:pt x="90" y="84"/>
                      </a:lnTo>
                      <a:lnTo>
                        <a:pt x="84" y="78"/>
                      </a:lnTo>
                      <a:lnTo>
                        <a:pt x="72" y="66"/>
                      </a:lnTo>
                      <a:lnTo>
                        <a:pt x="66" y="60"/>
                      </a:lnTo>
                      <a:lnTo>
                        <a:pt x="60" y="54"/>
                      </a:lnTo>
                      <a:lnTo>
                        <a:pt x="42" y="36"/>
                      </a:lnTo>
                      <a:lnTo>
                        <a:pt x="42" y="30"/>
                      </a:lnTo>
                      <a:lnTo>
                        <a:pt x="36" y="30"/>
                      </a:lnTo>
                      <a:lnTo>
                        <a:pt x="30" y="30"/>
                      </a:lnTo>
                      <a:lnTo>
                        <a:pt x="18" y="36"/>
                      </a:lnTo>
                      <a:lnTo>
                        <a:pt x="12" y="36"/>
                      </a:lnTo>
                      <a:lnTo>
                        <a:pt x="12" y="30"/>
                      </a:lnTo>
                      <a:lnTo>
                        <a:pt x="6" y="24"/>
                      </a:lnTo>
                      <a:lnTo>
                        <a:pt x="0" y="12"/>
                      </a:lnTo>
                      <a:lnTo>
                        <a:pt x="12" y="12"/>
                      </a:lnTo>
                      <a:lnTo>
                        <a:pt x="18" y="18"/>
                      </a:lnTo>
                      <a:lnTo>
                        <a:pt x="24" y="12"/>
                      </a:lnTo>
                      <a:lnTo>
                        <a:pt x="24" y="6"/>
                      </a:lnTo>
                      <a:lnTo>
                        <a:pt x="30" y="12"/>
                      </a:lnTo>
                      <a:lnTo>
                        <a:pt x="30" y="6"/>
                      </a:lnTo>
                      <a:lnTo>
                        <a:pt x="36" y="6"/>
                      </a:lnTo>
                      <a:lnTo>
                        <a:pt x="42" y="6"/>
                      </a:lnTo>
                      <a:lnTo>
                        <a:pt x="36" y="6"/>
                      </a:lnTo>
                      <a:lnTo>
                        <a:pt x="36" y="0"/>
                      </a:lnTo>
                      <a:lnTo>
                        <a:pt x="42" y="0"/>
                      </a:lnTo>
                      <a:lnTo>
                        <a:pt x="48" y="0"/>
                      </a:lnTo>
                      <a:lnTo>
                        <a:pt x="54" y="0"/>
                      </a:lnTo>
                      <a:lnTo>
                        <a:pt x="60" y="0"/>
                      </a:lnTo>
                      <a:lnTo>
                        <a:pt x="66" y="6"/>
                      </a:lnTo>
                      <a:lnTo>
                        <a:pt x="72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837" name="Freeform 161"/>
                <p:cNvSpPr>
                  <a:spLocks/>
                </p:cNvSpPr>
                <p:nvPr/>
              </p:nvSpPr>
              <p:spPr bwMode="auto">
                <a:xfrm>
                  <a:off x="1338" y="948"/>
                  <a:ext cx="120" cy="108"/>
                </a:xfrm>
                <a:custGeom>
                  <a:avLst/>
                  <a:gdLst>
                    <a:gd name="T0" fmla="*/ 72 w 120"/>
                    <a:gd name="T1" fmla="*/ 6 h 108"/>
                    <a:gd name="T2" fmla="*/ 72 w 120"/>
                    <a:gd name="T3" fmla="*/ 12 h 108"/>
                    <a:gd name="T4" fmla="*/ 66 w 120"/>
                    <a:gd name="T5" fmla="*/ 18 h 108"/>
                    <a:gd name="T6" fmla="*/ 60 w 120"/>
                    <a:gd name="T7" fmla="*/ 18 h 108"/>
                    <a:gd name="T8" fmla="*/ 66 w 120"/>
                    <a:gd name="T9" fmla="*/ 30 h 108"/>
                    <a:gd name="T10" fmla="*/ 72 w 120"/>
                    <a:gd name="T11" fmla="*/ 36 h 108"/>
                    <a:gd name="T12" fmla="*/ 78 w 120"/>
                    <a:gd name="T13" fmla="*/ 36 h 108"/>
                    <a:gd name="T14" fmla="*/ 78 w 120"/>
                    <a:gd name="T15" fmla="*/ 42 h 108"/>
                    <a:gd name="T16" fmla="*/ 84 w 120"/>
                    <a:gd name="T17" fmla="*/ 42 h 108"/>
                    <a:gd name="T18" fmla="*/ 84 w 120"/>
                    <a:gd name="T19" fmla="*/ 48 h 108"/>
                    <a:gd name="T20" fmla="*/ 108 w 120"/>
                    <a:gd name="T21" fmla="*/ 66 h 108"/>
                    <a:gd name="T22" fmla="*/ 114 w 120"/>
                    <a:gd name="T23" fmla="*/ 72 h 108"/>
                    <a:gd name="T24" fmla="*/ 120 w 120"/>
                    <a:gd name="T25" fmla="*/ 90 h 108"/>
                    <a:gd name="T26" fmla="*/ 114 w 120"/>
                    <a:gd name="T27" fmla="*/ 90 h 108"/>
                    <a:gd name="T28" fmla="*/ 108 w 120"/>
                    <a:gd name="T29" fmla="*/ 84 h 108"/>
                    <a:gd name="T30" fmla="*/ 102 w 120"/>
                    <a:gd name="T31" fmla="*/ 90 h 108"/>
                    <a:gd name="T32" fmla="*/ 108 w 120"/>
                    <a:gd name="T33" fmla="*/ 96 h 108"/>
                    <a:gd name="T34" fmla="*/ 102 w 120"/>
                    <a:gd name="T35" fmla="*/ 102 h 108"/>
                    <a:gd name="T36" fmla="*/ 96 w 120"/>
                    <a:gd name="T37" fmla="*/ 108 h 108"/>
                    <a:gd name="T38" fmla="*/ 90 w 120"/>
                    <a:gd name="T39" fmla="*/ 108 h 108"/>
                    <a:gd name="T40" fmla="*/ 90 w 120"/>
                    <a:gd name="T41" fmla="*/ 96 h 108"/>
                    <a:gd name="T42" fmla="*/ 96 w 120"/>
                    <a:gd name="T43" fmla="*/ 96 h 108"/>
                    <a:gd name="T44" fmla="*/ 96 w 120"/>
                    <a:gd name="T45" fmla="*/ 84 h 108"/>
                    <a:gd name="T46" fmla="*/ 90 w 120"/>
                    <a:gd name="T47" fmla="*/ 84 h 108"/>
                    <a:gd name="T48" fmla="*/ 84 w 120"/>
                    <a:gd name="T49" fmla="*/ 78 h 108"/>
                    <a:gd name="T50" fmla="*/ 72 w 120"/>
                    <a:gd name="T51" fmla="*/ 66 h 108"/>
                    <a:gd name="T52" fmla="*/ 66 w 120"/>
                    <a:gd name="T53" fmla="*/ 60 h 108"/>
                    <a:gd name="T54" fmla="*/ 60 w 120"/>
                    <a:gd name="T55" fmla="*/ 54 h 108"/>
                    <a:gd name="T56" fmla="*/ 42 w 120"/>
                    <a:gd name="T57" fmla="*/ 36 h 108"/>
                    <a:gd name="T58" fmla="*/ 42 w 120"/>
                    <a:gd name="T59" fmla="*/ 30 h 108"/>
                    <a:gd name="T60" fmla="*/ 36 w 120"/>
                    <a:gd name="T61" fmla="*/ 30 h 108"/>
                    <a:gd name="T62" fmla="*/ 30 w 120"/>
                    <a:gd name="T63" fmla="*/ 30 h 108"/>
                    <a:gd name="T64" fmla="*/ 18 w 120"/>
                    <a:gd name="T65" fmla="*/ 36 h 108"/>
                    <a:gd name="T66" fmla="*/ 12 w 120"/>
                    <a:gd name="T67" fmla="*/ 36 h 108"/>
                    <a:gd name="T68" fmla="*/ 12 w 120"/>
                    <a:gd name="T69" fmla="*/ 30 h 108"/>
                    <a:gd name="T70" fmla="*/ 6 w 120"/>
                    <a:gd name="T71" fmla="*/ 24 h 108"/>
                    <a:gd name="T72" fmla="*/ 0 w 120"/>
                    <a:gd name="T73" fmla="*/ 12 h 108"/>
                    <a:gd name="T74" fmla="*/ 12 w 120"/>
                    <a:gd name="T75" fmla="*/ 12 h 108"/>
                    <a:gd name="T76" fmla="*/ 18 w 120"/>
                    <a:gd name="T77" fmla="*/ 18 h 108"/>
                    <a:gd name="T78" fmla="*/ 24 w 120"/>
                    <a:gd name="T79" fmla="*/ 12 h 108"/>
                    <a:gd name="T80" fmla="*/ 24 w 120"/>
                    <a:gd name="T81" fmla="*/ 6 h 108"/>
                    <a:gd name="T82" fmla="*/ 30 w 120"/>
                    <a:gd name="T83" fmla="*/ 12 h 108"/>
                    <a:gd name="T84" fmla="*/ 30 w 120"/>
                    <a:gd name="T85" fmla="*/ 6 h 108"/>
                    <a:gd name="T86" fmla="*/ 36 w 120"/>
                    <a:gd name="T87" fmla="*/ 6 h 108"/>
                    <a:gd name="T88" fmla="*/ 42 w 120"/>
                    <a:gd name="T89" fmla="*/ 6 h 108"/>
                    <a:gd name="T90" fmla="*/ 36 w 120"/>
                    <a:gd name="T91" fmla="*/ 6 h 108"/>
                    <a:gd name="T92" fmla="*/ 36 w 120"/>
                    <a:gd name="T93" fmla="*/ 0 h 108"/>
                    <a:gd name="T94" fmla="*/ 42 w 120"/>
                    <a:gd name="T95" fmla="*/ 0 h 108"/>
                    <a:gd name="T96" fmla="*/ 48 w 120"/>
                    <a:gd name="T97" fmla="*/ 0 h 108"/>
                    <a:gd name="T98" fmla="*/ 54 w 120"/>
                    <a:gd name="T99" fmla="*/ 0 h 108"/>
                    <a:gd name="T100" fmla="*/ 60 w 120"/>
                    <a:gd name="T101" fmla="*/ 0 h 108"/>
                    <a:gd name="T102" fmla="*/ 66 w 120"/>
                    <a:gd name="T103" fmla="*/ 6 h 108"/>
                    <a:gd name="T104" fmla="*/ 72 w 120"/>
                    <a:gd name="T105" fmla="*/ 6 h 10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120" h="108">
                      <a:moveTo>
                        <a:pt x="72" y="6"/>
                      </a:moveTo>
                      <a:lnTo>
                        <a:pt x="72" y="12"/>
                      </a:lnTo>
                      <a:lnTo>
                        <a:pt x="66" y="18"/>
                      </a:lnTo>
                      <a:lnTo>
                        <a:pt x="60" y="18"/>
                      </a:lnTo>
                      <a:lnTo>
                        <a:pt x="66" y="30"/>
                      </a:lnTo>
                      <a:lnTo>
                        <a:pt x="72" y="36"/>
                      </a:lnTo>
                      <a:lnTo>
                        <a:pt x="78" y="36"/>
                      </a:lnTo>
                      <a:lnTo>
                        <a:pt x="78" y="42"/>
                      </a:lnTo>
                      <a:lnTo>
                        <a:pt x="84" y="42"/>
                      </a:lnTo>
                      <a:lnTo>
                        <a:pt x="84" y="48"/>
                      </a:lnTo>
                      <a:lnTo>
                        <a:pt x="108" y="66"/>
                      </a:lnTo>
                      <a:lnTo>
                        <a:pt x="114" y="72"/>
                      </a:lnTo>
                      <a:lnTo>
                        <a:pt x="120" y="90"/>
                      </a:lnTo>
                      <a:lnTo>
                        <a:pt x="114" y="90"/>
                      </a:lnTo>
                      <a:lnTo>
                        <a:pt x="108" y="84"/>
                      </a:lnTo>
                      <a:lnTo>
                        <a:pt x="102" y="90"/>
                      </a:lnTo>
                      <a:lnTo>
                        <a:pt x="108" y="96"/>
                      </a:lnTo>
                      <a:lnTo>
                        <a:pt x="102" y="102"/>
                      </a:lnTo>
                      <a:lnTo>
                        <a:pt x="96" y="108"/>
                      </a:lnTo>
                      <a:lnTo>
                        <a:pt x="90" y="108"/>
                      </a:lnTo>
                      <a:lnTo>
                        <a:pt x="90" y="96"/>
                      </a:lnTo>
                      <a:lnTo>
                        <a:pt x="96" y="96"/>
                      </a:lnTo>
                      <a:lnTo>
                        <a:pt x="96" y="84"/>
                      </a:lnTo>
                      <a:lnTo>
                        <a:pt x="90" y="84"/>
                      </a:lnTo>
                      <a:lnTo>
                        <a:pt x="84" y="78"/>
                      </a:lnTo>
                      <a:lnTo>
                        <a:pt x="72" y="66"/>
                      </a:lnTo>
                      <a:lnTo>
                        <a:pt x="66" y="60"/>
                      </a:lnTo>
                      <a:lnTo>
                        <a:pt x="60" y="54"/>
                      </a:lnTo>
                      <a:lnTo>
                        <a:pt x="42" y="36"/>
                      </a:lnTo>
                      <a:lnTo>
                        <a:pt x="42" y="30"/>
                      </a:lnTo>
                      <a:lnTo>
                        <a:pt x="36" y="30"/>
                      </a:lnTo>
                      <a:lnTo>
                        <a:pt x="30" y="30"/>
                      </a:lnTo>
                      <a:lnTo>
                        <a:pt x="18" y="36"/>
                      </a:lnTo>
                      <a:lnTo>
                        <a:pt x="12" y="36"/>
                      </a:lnTo>
                      <a:lnTo>
                        <a:pt x="12" y="30"/>
                      </a:lnTo>
                      <a:lnTo>
                        <a:pt x="6" y="24"/>
                      </a:lnTo>
                      <a:lnTo>
                        <a:pt x="0" y="12"/>
                      </a:lnTo>
                      <a:lnTo>
                        <a:pt x="12" y="12"/>
                      </a:lnTo>
                      <a:lnTo>
                        <a:pt x="18" y="18"/>
                      </a:lnTo>
                      <a:lnTo>
                        <a:pt x="24" y="12"/>
                      </a:lnTo>
                      <a:lnTo>
                        <a:pt x="24" y="6"/>
                      </a:lnTo>
                      <a:lnTo>
                        <a:pt x="30" y="12"/>
                      </a:lnTo>
                      <a:lnTo>
                        <a:pt x="30" y="6"/>
                      </a:lnTo>
                      <a:lnTo>
                        <a:pt x="36" y="6"/>
                      </a:lnTo>
                      <a:lnTo>
                        <a:pt x="42" y="6"/>
                      </a:lnTo>
                      <a:lnTo>
                        <a:pt x="36" y="6"/>
                      </a:lnTo>
                      <a:lnTo>
                        <a:pt x="36" y="0"/>
                      </a:lnTo>
                      <a:lnTo>
                        <a:pt x="42" y="0"/>
                      </a:lnTo>
                      <a:lnTo>
                        <a:pt x="48" y="0"/>
                      </a:lnTo>
                      <a:lnTo>
                        <a:pt x="54" y="0"/>
                      </a:lnTo>
                      <a:lnTo>
                        <a:pt x="60" y="0"/>
                      </a:lnTo>
                      <a:lnTo>
                        <a:pt x="66" y="6"/>
                      </a:lnTo>
                      <a:lnTo>
                        <a:pt x="72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830" name="Group 162"/>
              <p:cNvGrpSpPr>
                <a:grpSpLocks/>
              </p:cNvGrpSpPr>
              <p:nvPr/>
            </p:nvGrpSpPr>
            <p:grpSpPr bwMode="auto">
              <a:xfrm>
                <a:off x="1398" y="1050"/>
                <a:ext cx="30" cy="18"/>
                <a:chOff x="1398" y="1050"/>
                <a:chExt cx="30" cy="18"/>
              </a:xfrm>
              <a:grpFill/>
            </p:grpSpPr>
            <p:sp>
              <p:nvSpPr>
                <p:cNvPr id="1834" name="Freeform 163"/>
                <p:cNvSpPr>
                  <a:spLocks/>
                </p:cNvSpPr>
                <p:nvPr/>
              </p:nvSpPr>
              <p:spPr bwMode="auto">
                <a:xfrm>
                  <a:off x="1398" y="1050"/>
                  <a:ext cx="30" cy="18"/>
                </a:xfrm>
                <a:custGeom>
                  <a:avLst/>
                  <a:gdLst>
                    <a:gd name="T0" fmla="*/ 6 w 30"/>
                    <a:gd name="T1" fmla="*/ 0 h 18"/>
                    <a:gd name="T2" fmla="*/ 0 w 30"/>
                    <a:gd name="T3" fmla="*/ 0 h 18"/>
                    <a:gd name="T4" fmla="*/ 0 w 30"/>
                    <a:gd name="T5" fmla="*/ 6 h 18"/>
                    <a:gd name="T6" fmla="*/ 0 w 30"/>
                    <a:gd name="T7" fmla="*/ 6 h 18"/>
                    <a:gd name="T8" fmla="*/ 12 w 30"/>
                    <a:gd name="T9" fmla="*/ 12 h 18"/>
                    <a:gd name="T10" fmla="*/ 18 w 30"/>
                    <a:gd name="T11" fmla="*/ 12 h 18"/>
                    <a:gd name="T12" fmla="*/ 18 w 30"/>
                    <a:gd name="T13" fmla="*/ 18 h 18"/>
                    <a:gd name="T14" fmla="*/ 30 w 30"/>
                    <a:gd name="T15" fmla="*/ 12 h 18"/>
                    <a:gd name="T16" fmla="*/ 24 w 30"/>
                    <a:gd name="T17" fmla="*/ 6 h 18"/>
                    <a:gd name="T18" fmla="*/ 30 w 30"/>
                    <a:gd name="T19" fmla="*/ 0 h 18"/>
                    <a:gd name="T20" fmla="*/ 30 w 30"/>
                    <a:gd name="T21" fmla="*/ 0 h 18"/>
                    <a:gd name="T22" fmla="*/ 30 w 30"/>
                    <a:gd name="T23" fmla="*/ 0 h 18"/>
                    <a:gd name="T24" fmla="*/ 24 w 30"/>
                    <a:gd name="T25" fmla="*/ 0 h 18"/>
                    <a:gd name="T26" fmla="*/ 18 w 30"/>
                    <a:gd name="T27" fmla="*/ 0 h 18"/>
                    <a:gd name="T28" fmla="*/ 6 w 30"/>
                    <a:gd name="T29" fmla="*/ 0 h 1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30" h="18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2" y="12"/>
                      </a:lnTo>
                      <a:lnTo>
                        <a:pt x="18" y="12"/>
                      </a:lnTo>
                      <a:lnTo>
                        <a:pt x="18" y="18"/>
                      </a:lnTo>
                      <a:lnTo>
                        <a:pt x="30" y="12"/>
                      </a:lnTo>
                      <a:lnTo>
                        <a:pt x="24" y="6"/>
                      </a:lnTo>
                      <a:lnTo>
                        <a:pt x="30" y="0"/>
                      </a:lnTo>
                      <a:lnTo>
                        <a:pt x="24" y="0"/>
                      </a:lnTo>
                      <a:lnTo>
                        <a:pt x="18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835" name="Freeform 164"/>
                <p:cNvSpPr>
                  <a:spLocks/>
                </p:cNvSpPr>
                <p:nvPr/>
              </p:nvSpPr>
              <p:spPr bwMode="auto">
                <a:xfrm>
                  <a:off x="1398" y="1050"/>
                  <a:ext cx="30" cy="18"/>
                </a:xfrm>
                <a:custGeom>
                  <a:avLst/>
                  <a:gdLst>
                    <a:gd name="T0" fmla="*/ 6 w 30"/>
                    <a:gd name="T1" fmla="*/ 0 h 18"/>
                    <a:gd name="T2" fmla="*/ 0 w 30"/>
                    <a:gd name="T3" fmla="*/ 0 h 18"/>
                    <a:gd name="T4" fmla="*/ 0 w 30"/>
                    <a:gd name="T5" fmla="*/ 6 h 18"/>
                    <a:gd name="T6" fmla="*/ 12 w 30"/>
                    <a:gd name="T7" fmla="*/ 12 h 18"/>
                    <a:gd name="T8" fmla="*/ 18 w 30"/>
                    <a:gd name="T9" fmla="*/ 12 h 18"/>
                    <a:gd name="T10" fmla="*/ 18 w 30"/>
                    <a:gd name="T11" fmla="*/ 18 h 18"/>
                    <a:gd name="T12" fmla="*/ 30 w 30"/>
                    <a:gd name="T13" fmla="*/ 12 h 18"/>
                    <a:gd name="T14" fmla="*/ 24 w 30"/>
                    <a:gd name="T15" fmla="*/ 6 h 18"/>
                    <a:gd name="T16" fmla="*/ 30 w 30"/>
                    <a:gd name="T17" fmla="*/ 0 h 18"/>
                    <a:gd name="T18" fmla="*/ 24 w 30"/>
                    <a:gd name="T19" fmla="*/ 0 h 18"/>
                    <a:gd name="T20" fmla="*/ 18 w 30"/>
                    <a:gd name="T21" fmla="*/ 0 h 18"/>
                    <a:gd name="T22" fmla="*/ 6 w 30"/>
                    <a:gd name="T23" fmla="*/ 0 h 1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30" h="18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12" y="12"/>
                      </a:lnTo>
                      <a:lnTo>
                        <a:pt x="18" y="12"/>
                      </a:lnTo>
                      <a:lnTo>
                        <a:pt x="18" y="18"/>
                      </a:lnTo>
                      <a:lnTo>
                        <a:pt x="30" y="12"/>
                      </a:lnTo>
                      <a:lnTo>
                        <a:pt x="24" y="6"/>
                      </a:lnTo>
                      <a:lnTo>
                        <a:pt x="30" y="0"/>
                      </a:lnTo>
                      <a:lnTo>
                        <a:pt x="24" y="0"/>
                      </a:lnTo>
                      <a:lnTo>
                        <a:pt x="18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831" name="Group 165"/>
              <p:cNvGrpSpPr>
                <a:grpSpLocks/>
              </p:cNvGrpSpPr>
              <p:nvPr/>
            </p:nvGrpSpPr>
            <p:grpSpPr bwMode="auto">
              <a:xfrm>
                <a:off x="1356" y="1008"/>
                <a:ext cx="18" cy="30"/>
                <a:chOff x="1356" y="1008"/>
                <a:chExt cx="18" cy="30"/>
              </a:xfrm>
              <a:grpFill/>
            </p:grpSpPr>
            <p:sp>
              <p:nvSpPr>
                <p:cNvPr id="1832" name="Freeform 166"/>
                <p:cNvSpPr>
                  <a:spLocks/>
                </p:cNvSpPr>
                <p:nvPr/>
              </p:nvSpPr>
              <p:spPr bwMode="auto">
                <a:xfrm>
                  <a:off x="1356" y="1008"/>
                  <a:ext cx="18" cy="30"/>
                </a:xfrm>
                <a:custGeom>
                  <a:avLst/>
                  <a:gdLst>
                    <a:gd name="T0" fmla="*/ 12 w 18"/>
                    <a:gd name="T1" fmla="*/ 0 h 30"/>
                    <a:gd name="T2" fmla="*/ 12 w 18"/>
                    <a:gd name="T3" fmla="*/ 6 h 30"/>
                    <a:gd name="T4" fmla="*/ 6 w 18"/>
                    <a:gd name="T5" fmla="*/ 6 h 30"/>
                    <a:gd name="T6" fmla="*/ 6 w 18"/>
                    <a:gd name="T7" fmla="*/ 6 h 30"/>
                    <a:gd name="T8" fmla="*/ 6 w 18"/>
                    <a:gd name="T9" fmla="*/ 6 h 30"/>
                    <a:gd name="T10" fmla="*/ 6 w 18"/>
                    <a:gd name="T11" fmla="*/ 18 h 30"/>
                    <a:gd name="T12" fmla="*/ 0 w 18"/>
                    <a:gd name="T13" fmla="*/ 30 h 30"/>
                    <a:gd name="T14" fmla="*/ 12 w 18"/>
                    <a:gd name="T15" fmla="*/ 30 h 30"/>
                    <a:gd name="T16" fmla="*/ 12 w 18"/>
                    <a:gd name="T17" fmla="*/ 30 h 30"/>
                    <a:gd name="T18" fmla="*/ 12 w 18"/>
                    <a:gd name="T19" fmla="*/ 30 h 30"/>
                    <a:gd name="T20" fmla="*/ 18 w 18"/>
                    <a:gd name="T21" fmla="*/ 24 h 30"/>
                    <a:gd name="T22" fmla="*/ 18 w 18"/>
                    <a:gd name="T23" fmla="*/ 30 h 30"/>
                    <a:gd name="T24" fmla="*/ 18 w 18"/>
                    <a:gd name="T25" fmla="*/ 18 h 30"/>
                    <a:gd name="T26" fmla="*/ 18 w 18"/>
                    <a:gd name="T27" fmla="*/ 12 h 30"/>
                    <a:gd name="T28" fmla="*/ 18 w 18"/>
                    <a:gd name="T29" fmla="*/ 12 h 30"/>
                    <a:gd name="T30" fmla="*/ 18 w 18"/>
                    <a:gd name="T31" fmla="*/ 6 h 30"/>
                    <a:gd name="T32" fmla="*/ 18 w 18"/>
                    <a:gd name="T33" fmla="*/ 6 h 30"/>
                    <a:gd name="T34" fmla="*/ 12 w 18"/>
                    <a:gd name="T35" fmla="*/ 0 h 3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18" h="30">
                      <a:moveTo>
                        <a:pt x="12" y="0"/>
                      </a:move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6" y="18"/>
                      </a:lnTo>
                      <a:lnTo>
                        <a:pt x="0" y="30"/>
                      </a:lnTo>
                      <a:lnTo>
                        <a:pt x="12" y="30"/>
                      </a:lnTo>
                      <a:lnTo>
                        <a:pt x="18" y="24"/>
                      </a:lnTo>
                      <a:lnTo>
                        <a:pt x="18" y="30"/>
                      </a:lnTo>
                      <a:lnTo>
                        <a:pt x="18" y="18"/>
                      </a:lnTo>
                      <a:lnTo>
                        <a:pt x="18" y="12"/>
                      </a:lnTo>
                      <a:lnTo>
                        <a:pt x="18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833" name="Freeform 167"/>
                <p:cNvSpPr>
                  <a:spLocks/>
                </p:cNvSpPr>
                <p:nvPr/>
              </p:nvSpPr>
              <p:spPr bwMode="auto">
                <a:xfrm>
                  <a:off x="1356" y="1008"/>
                  <a:ext cx="18" cy="30"/>
                </a:xfrm>
                <a:custGeom>
                  <a:avLst/>
                  <a:gdLst>
                    <a:gd name="T0" fmla="*/ 12 w 18"/>
                    <a:gd name="T1" fmla="*/ 0 h 30"/>
                    <a:gd name="T2" fmla="*/ 12 w 18"/>
                    <a:gd name="T3" fmla="*/ 6 h 30"/>
                    <a:gd name="T4" fmla="*/ 6 w 18"/>
                    <a:gd name="T5" fmla="*/ 6 h 30"/>
                    <a:gd name="T6" fmla="*/ 6 w 18"/>
                    <a:gd name="T7" fmla="*/ 18 h 30"/>
                    <a:gd name="T8" fmla="*/ 0 w 18"/>
                    <a:gd name="T9" fmla="*/ 30 h 30"/>
                    <a:gd name="T10" fmla="*/ 12 w 18"/>
                    <a:gd name="T11" fmla="*/ 30 h 30"/>
                    <a:gd name="T12" fmla="*/ 18 w 18"/>
                    <a:gd name="T13" fmla="*/ 24 h 30"/>
                    <a:gd name="T14" fmla="*/ 18 w 18"/>
                    <a:gd name="T15" fmla="*/ 30 h 30"/>
                    <a:gd name="T16" fmla="*/ 18 w 18"/>
                    <a:gd name="T17" fmla="*/ 18 h 30"/>
                    <a:gd name="T18" fmla="*/ 18 w 18"/>
                    <a:gd name="T19" fmla="*/ 12 h 30"/>
                    <a:gd name="T20" fmla="*/ 18 w 18"/>
                    <a:gd name="T21" fmla="*/ 6 h 30"/>
                    <a:gd name="T22" fmla="*/ 12 w 18"/>
                    <a:gd name="T23" fmla="*/ 0 h 3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18" h="30">
                      <a:moveTo>
                        <a:pt x="12" y="0"/>
                      </a:move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6" y="18"/>
                      </a:lnTo>
                      <a:lnTo>
                        <a:pt x="0" y="30"/>
                      </a:lnTo>
                      <a:lnTo>
                        <a:pt x="12" y="30"/>
                      </a:lnTo>
                      <a:lnTo>
                        <a:pt x="18" y="24"/>
                      </a:lnTo>
                      <a:lnTo>
                        <a:pt x="18" y="30"/>
                      </a:lnTo>
                      <a:lnTo>
                        <a:pt x="18" y="18"/>
                      </a:lnTo>
                      <a:lnTo>
                        <a:pt x="18" y="12"/>
                      </a:lnTo>
                      <a:lnTo>
                        <a:pt x="18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583" name="Group 168"/>
            <p:cNvGrpSpPr>
              <a:grpSpLocks/>
            </p:cNvGrpSpPr>
            <p:nvPr/>
          </p:nvGrpSpPr>
          <p:grpSpPr bwMode="auto">
            <a:xfrm>
              <a:off x="1011875" y="2464482"/>
              <a:ext cx="23064" cy="42479"/>
              <a:chOff x="1362" y="984"/>
              <a:chExt cx="12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1827" name="Freeform 169"/>
              <p:cNvSpPr>
                <a:spLocks/>
              </p:cNvSpPr>
              <p:nvPr/>
            </p:nvSpPr>
            <p:spPr bwMode="auto">
              <a:xfrm>
                <a:off x="1362" y="984"/>
                <a:ext cx="12" cy="24"/>
              </a:xfrm>
              <a:custGeom>
                <a:avLst/>
                <a:gdLst>
                  <a:gd name="T0" fmla="*/ 6 w 12"/>
                  <a:gd name="T1" fmla="*/ 6 h 24"/>
                  <a:gd name="T2" fmla="*/ 6 w 12"/>
                  <a:gd name="T3" fmla="*/ 6 h 24"/>
                  <a:gd name="T4" fmla="*/ 0 w 12"/>
                  <a:gd name="T5" fmla="*/ 6 h 24"/>
                  <a:gd name="T6" fmla="*/ 0 w 12"/>
                  <a:gd name="T7" fmla="*/ 6 h 24"/>
                  <a:gd name="T8" fmla="*/ 0 w 12"/>
                  <a:gd name="T9" fmla="*/ 12 h 24"/>
                  <a:gd name="T10" fmla="*/ 6 w 12"/>
                  <a:gd name="T11" fmla="*/ 18 h 24"/>
                  <a:gd name="T12" fmla="*/ 6 w 12"/>
                  <a:gd name="T13" fmla="*/ 24 h 24"/>
                  <a:gd name="T14" fmla="*/ 12 w 12"/>
                  <a:gd name="T15" fmla="*/ 18 h 24"/>
                  <a:gd name="T16" fmla="*/ 12 w 12"/>
                  <a:gd name="T17" fmla="*/ 12 h 24"/>
                  <a:gd name="T18" fmla="*/ 12 w 12"/>
                  <a:gd name="T19" fmla="*/ 12 h 24"/>
                  <a:gd name="T20" fmla="*/ 12 w 12"/>
                  <a:gd name="T21" fmla="*/ 6 h 24"/>
                  <a:gd name="T22" fmla="*/ 6 w 12"/>
                  <a:gd name="T23" fmla="*/ 0 h 24"/>
                  <a:gd name="T24" fmla="*/ 6 w 12"/>
                  <a:gd name="T25" fmla="*/ 6 h 2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2" h="24">
                    <a:moveTo>
                      <a:pt x="6" y="6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12" y="18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28" name="Freeform 170"/>
              <p:cNvSpPr>
                <a:spLocks/>
              </p:cNvSpPr>
              <p:nvPr/>
            </p:nvSpPr>
            <p:spPr bwMode="auto">
              <a:xfrm>
                <a:off x="1362" y="984"/>
                <a:ext cx="12" cy="24"/>
              </a:xfrm>
              <a:custGeom>
                <a:avLst/>
                <a:gdLst>
                  <a:gd name="T0" fmla="*/ 6 w 12"/>
                  <a:gd name="T1" fmla="*/ 6 h 24"/>
                  <a:gd name="T2" fmla="*/ 0 w 12"/>
                  <a:gd name="T3" fmla="*/ 6 h 24"/>
                  <a:gd name="T4" fmla="*/ 0 w 12"/>
                  <a:gd name="T5" fmla="*/ 12 h 24"/>
                  <a:gd name="T6" fmla="*/ 6 w 12"/>
                  <a:gd name="T7" fmla="*/ 18 h 24"/>
                  <a:gd name="T8" fmla="*/ 6 w 12"/>
                  <a:gd name="T9" fmla="*/ 24 h 24"/>
                  <a:gd name="T10" fmla="*/ 12 w 12"/>
                  <a:gd name="T11" fmla="*/ 18 h 24"/>
                  <a:gd name="T12" fmla="*/ 12 w 12"/>
                  <a:gd name="T13" fmla="*/ 12 h 24"/>
                  <a:gd name="T14" fmla="*/ 12 w 12"/>
                  <a:gd name="T15" fmla="*/ 6 h 24"/>
                  <a:gd name="T16" fmla="*/ 6 w 12"/>
                  <a:gd name="T17" fmla="*/ 0 h 24"/>
                  <a:gd name="T18" fmla="*/ 6 w 12"/>
                  <a:gd name="T19" fmla="*/ 6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2" h="24">
                    <a:moveTo>
                      <a:pt x="6" y="6"/>
                    </a:moveTo>
                    <a:lnTo>
                      <a:pt x="0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12" y="18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84" name="Group 171"/>
            <p:cNvGrpSpPr>
              <a:grpSpLocks/>
            </p:cNvGrpSpPr>
            <p:nvPr/>
          </p:nvGrpSpPr>
          <p:grpSpPr bwMode="auto">
            <a:xfrm>
              <a:off x="1023407" y="2330977"/>
              <a:ext cx="157603" cy="72821"/>
              <a:chOff x="1368" y="906"/>
              <a:chExt cx="78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1825" name="Freeform 172"/>
              <p:cNvSpPr>
                <a:spLocks/>
              </p:cNvSpPr>
              <p:nvPr/>
            </p:nvSpPr>
            <p:spPr bwMode="auto">
              <a:xfrm>
                <a:off x="1368" y="906"/>
                <a:ext cx="78" cy="42"/>
              </a:xfrm>
              <a:custGeom>
                <a:avLst/>
                <a:gdLst>
                  <a:gd name="T0" fmla="*/ 30 w 78"/>
                  <a:gd name="T1" fmla="*/ 42 h 42"/>
                  <a:gd name="T2" fmla="*/ 24 w 78"/>
                  <a:gd name="T3" fmla="*/ 42 h 42"/>
                  <a:gd name="T4" fmla="*/ 24 w 78"/>
                  <a:gd name="T5" fmla="*/ 42 h 42"/>
                  <a:gd name="T6" fmla="*/ 12 w 78"/>
                  <a:gd name="T7" fmla="*/ 42 h 42"/>
                  <a:gd name="T8" fmla="*/ 12 w 78"/>
                  <a:gd name="T9" fmla="*/ 42 h 42"/>
                  <a:gd name="T10" fmla="*/ 6 w 78"/>
                  <a:gd name="T11" fmla="*/ 42 h 42"/>
                  <a:gd name="T12" fmla="*/ 6 w 78"/>
                  <a:gd name="T13" fmla="*/ 42 h 42"/>
                  <a:gd name="T14" fmla="*/ 6 w 78"/>
                  <a:gd name="T15" fmla="*/ 36 h 42"/>
                  <a:gd name="T16" fmla="*/ 0 w 78"/>
                  <a:gd name="T17" fmla="*/ 30 h 42"/>
                  <a:gd name="T18" fmla="*/ 6 w 78"/>
                  <a:gd name="T19" fmla="*/ 24 h 42"/>
                  <a:gd name="T20" fmla="*/ 18 w 78"/>
                  <a:gd name="T21" fmla="*/ 24 h 42"/>
                  <a:gd name="T22" fmla="*/ 24 w 78"/>
                  <a:gd name="T23" fmla="*/ 24 h 42"/>
                  <a:gd name="T24" fmla="*/ 24 w 78"/>
                  <a:gd name="T25" fmla="*/ 18 h 42"/>
                  <a:gd name="T26" fmla="*/ 24 w 78"/>
                  <a:gd name="T27" fmla="*/ 18 h 42"/>
                  <a:gd name="T28" fmla="*/ 24 w 78"/>
                  <a:gd name="T29" fmla="*/ 12 h 42"/>
                  <a:gd name="T30" fmla="*/ 36 w 78"/>
                  <a:gd name="T31" fmla="*/ 0 h 42"/>
                  <a:gd name="T32" fmla="*/ 42 w 78"/>
                  <a:gd name="T33" fmla="*/ 0 h 42"/>
                  <a:gd name="T34" fmla="*/ 42 w 78"/>
                  <a:gd name="T35" fmla="*/ 0 h 42"/>
                  <a:gd name="T36" fmla="*/ 42 w 78"/>
                  <a:gd name="T37" fmla="*/ 0 h 42"/>
                  <a:gd name="T38" fmla="*/ 48 w 78"/>
                  <a:gd name="T39" fmla="*/ 0 h 42"/>
                  <a:gd name="T40" fmla="*/ 54 w 78"/>
                  <a:gd name="T41" fmla="*/ 0 h 42"/>
                  <a:gd name="T42" fmla="*/ 54 w 78"/>
                  <a:gd name="T43" fmla="*/ 0 h 42"/>
                  <a:gd name="T44" fmla="*/ 60 w 78"/>
                  <a:gd name="T45" fmla="*/ 0 h 42"/>
                  <a:gd name="T46" fmla="*/ 60 w 78"/>
                  <a:gd name="T47" fmla="*/ 0 h 42"/>
                  <a:gd name="T48" fmla="*/ 60 w 78"/>
                  <a:gd name="T49" fmla="*/ 0 h 42"/>
                  <a:gd name="T50" fmla="*/ 72 w 78"/>
                  <a:gd name="T51" fmla="*/ 6 h 42"/>
                  <a:gd name="T52" fmla="*/ 78 w 78"/>
                  <a:gd name="T53" fmla="*/ 12 h 42"/>
                  <a:gd name="T54" fmla="*/ 72 w 78"/>
                  <a:gd name="T55" fmla="*/ 12 h 42"/>
                  <a:gd name="T56" fmla="*/ 72 w 78"/>
                  <a:gd name="T57" fmla="*/ 18 h 42"/>
                  <a:gd name="T58" fmla="*/ 72 w 78"/>
                  <a:gd name="T59" fmla="*/ 24 h 42"/>
                  <a:gd name="T60" fmla="*/ 72 w 78"/>
                  <a:gd name="T61" fmla="*/ 24 h 42"/>
                  <a:gd name="T62" fmla="*/ 72 w 78"/>
                  <a:gd name="T63" fmla="*/ 30 h 42"/>
                  <a:gd name="T64" fmla="*/ 72 w 78"/>
                  <a:gd name="T65" fmla="*/ 30 h 42"/>
                  <a:gd name="T66" fmla="*/ 54 w 78"/>
                  <a:gd name="T67" fmla="*/ 36 h 42"/>
                  <a:gd name="T68" fmla="*/ 36 w 78"/>
                  <a:gd name="T69" fmla="*/ 42 h 42"/>
                  <a:gd name="T70" fmla="*/ 30 w 78"/>
                  <a:gd name="T71" fmla="*/ 42 h 42"/>
                  <a:gd name="T72" fmla="*/ 30 w 78"/>
                  <a:gd name="T73" fmla="*/ 42 h 4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78" h="42">
                    <a:moveTo>
                      <a:pt x="30" y="42"/>
                    </a:moveTo>
                    <a:lnTo>
                      <a:pt x="24" y="42"/>
                    </a:lnTo>
                    <a:lnTo>
                      <a:pt x="12" y="42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0" y="30"/>
                    </a:lnTo>
                    <a:lnTo>
                      <a:pt x="6" y="24"/>
                    </a:lnTo>
                    <a:lnTo>
                      <a:pt x="18" y="24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72" y="6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72" y="18"/>
                    </a:lnTo>
                    <a:lnTo>
                      <a:pt x="72" y="24"/>
                    </a:lnTo>
                    <a:lnTo>
                      <a:pt x="72" y="30"/>
                    </a:lnTo>
                    <a:lnTo>
                      <a:pt x="54" y="36"/>
                    </a:lnTo>
                    <a:lnTo>
                      <a:pt x="36" y="42"/>
                    </a:lnTo>
                    <a:lnTo>
                      <a:pt x="30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26" name="Freeform 173"/>
              <p:cNvSpPr>
                <a:spLocks/>
              </p:cNvSpPr>
              <p:nvPr/>
            </p:nvSpPr>
            <p:spPr bwMode="auto">
              <a:xfrm>
                <a:off x="1368" y="906"/>
                <a:ext cx="78" cy="42"/>
              </a:xfrm>
              <a:custGeom>
                <a:avLst/>
                <a:gdLst>
                  <a:gd name="T0" fmla="*/ 30 w 78"/>
                  <a:gd name="T1" fmla="*/ 42 h 42"/>
                  <a:gd name="T2" fmla="*/ 24 w 78"/>
                  <a:gd name="T3" fmla="*/ 42 h 42"/>
                  <a:gd name="T4" fmla="*/ 12 w 78"/>
                  <a:gd name="T5" fmla="*/ 42 h 42"/>
                  <a:gd name="T6" fmla="*/ 6 w 78"/>
                  <a:gd name="T7" fmla="*/ 42 h 42"/>
                  <a:gd name="T8" fmla="*/ 6 w 78"/>
                  <a:gd name="T9" fmla="*/ 36 h 42"/>
                  <a:gd name="T10" fmla="*/ 0 w 78"/>
                  <a:gd name="T11" fmla="*/ 30 h 42"/>
                  <a:gd name="T12" fmla="*/ 6 w 78"/>
                  <a:gd name="T13" fmla="*/ 24 h 42"/>
                  <a:gd name="T14" fmla="*/ 18 w 78"/>
                  <a:gd name="T15" fmla="*/ 24 h 42"/>
                  <a:gd name="T16" fmla="*/ 24 w 78"/>
                  <a:gd name="T17" fmla="*/ 24 h 42"/>
                  <a:gd name="T18" fmla="*/ 24 w 78"/>
                  <a:gd name="T19" fmla="*/ 18 h 42"/>
                  <a:gd name="T20" fmla="*/ 24 w 78"/>
                  <a:gd name="T21" fmla="*/ 12 h 42"/>
                  <a:gd name="T22" fmla="*/ 36 w 78"/>
                  <a:gd name="T23" fmla="*/ 0 h 42"/>
                  <a:gd name="T24" fmla="*/ 42 w 78"/>
                  <a:gd name="T25" fmla="*/ 0 h 42"/>
                  <a:gd name="T26" fmla="*/ 48 w 78"/>
                  <a:gd name="T27" fmla="*/ 0 h 42"/>
                  <a:gd name="T28" fmla="*/ 54 w 78"/>
                  <a:gd name="T29" fmla="*/ 0 h 42"/>
                  <a:gd name="T30" fmla="*/ 60 w 78"/>
                  <a:gd name="T31" fmla="*/ 0 h 42"/>
                  <a:gd name="T32" fmla="*/ 72 w 78"/>
                  <a:gd name="T33" fmla="*/ 6 h 42"/>
                  <a:gd name="T34" fmla="*/ 78 w 78"/>
                  <a:gd name="T35" fmla="*/ 12 h 42"/>
                  <a:gd name="T36" fmla="*/ 72 w 78"/>
                  <a:gd name="T37" fmla="*/ 12 h 42"/>
                  <a:gd name="T38" fmla="*/ 72 w 78"/>
                  <a:gd name="T39" fmla="*/ 18 h 42"/>
                  <a:gd name="T40" fmla="*/ 72 w 78"/>
                  <a:gd name="T41" fmla="*/ 24 h 42"/>
                  <a:gd name="T42" fmla="*/ 72 w 78"/>
                  <a:gd name="T43" fmla="*/ 30 h 42"/>
                  <a:gd name="T44" fmla="*/ 54 w 78"/>
                  <a:gd name="T45" fmla="*/ 36 h 42"/>
                  <a:gd name="T46" fmla="*/ 36 w 78"/>
                  <a:gd name="T47" fmla="*/ 42 h 42"/>
                  <a:gd name="T48" fmla="*/ 30 w 78"/>
                  <a:gd name="T49" fmla="*/ 42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8" h="42">
                    <a:moveTo>
                      <a:pt x="30" y="42"/>
                    </a:moveTo>
                    <a:lnTo>
                      <a:pt x="24" y="42"/>
                    </a:lnTo>
                    <a:lnTo>
                      <a:pt x="12" y="42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0" y="30"/>
                    </a:lnTo>
                    <a:lnTo>
                      <a:pt x="6" y="24"/>
                    </a:lnTo>
                    <a:lnTo>
                      <a:pt x="18" y="24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72" y="6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72" y="18"/>
                    </a:lnTo>
                    <a:lnTo>
                      <a:pt x="72" y="24"/>
                    </a:lnTo>
                    <a:lnTo>
                      <a:pt x="72" y="30"/>
                    </a:lnTo>
                    <a:lnTo>
                      <a:pt x="54" y="36"/>
                    </a:lnTo>
                    <a:lnTo>
                      <a:pt x="36" y="42"/>
                    </a:lnTo>
                    <a:lnTo>
                      <a:pt x="30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85" name="Group 174"/>
            <p:cNvGrpSpPr>
              <a:grpSpLocks/>
            </p:cNvGrpSpPr>
            <p:nvPr/>
          </p:nvGrpSpPr>
          <p:grpSpPr bwMode="auto">
            <a:xfrm>
              <a:off x="961904" y="2383570"/>
              <a:ext cx="84567" cy="52593"/>
              <a:chOff x="1338" y="936"/>
              <a:chExt cx="42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1823" name="Freeform 175"/>
              <p:cNvSpPr>
                <a:spLocks/>
              </p:cNvSpPr>
              <p:nvPr/>
            </p:nvSpPr>
            <p:spPr bwMode="auto">
              <a:xfrm>
                <a:off x="1338" y="936"/>
                <a:ext cx="42" cy="30"/>
              </a:xfrm>
              <a:custGeom>
                <a:avLst/>
                <a:gdLst>
                  <a:gd name="T0" fmla="*/ 24 w 42"/>
                  <a:gd name="T1" fmla="*/ 0 h 30"/>
                  <a:gd name="T2" fmla="*/ 12 w 42"/>
                  <a:gd name="T3" fmla="*/ 0 h 30"/>
                  <a:gd name="T4" fmla="*/ 6 w 42"/>
                  <a:gd name="T5" fmla="*/ 12 h 30"/>
                  <a:gd name="T6" fmla="*/ 0 w 42"/>
                  <a:gd name="T7" fmla="*/ 18 h 30"/>
                  <a:gd name="T8" fmla="*/ 0 w 42"/>
                  <a:gd name="T9" fmla="*/ 18 h 30"/>
                  <a:gd name="T10" fmla="*/ 6 w 42"/>
                  <a:gd name="T11" fmla="*/ 18 h 30"/>
                  <a:gd name="T12" fmla="*/ 6 w 42"/>
                  <a:gd name="T13" fmla="*/ 24 h 30"/>
                  <a:gd name="T14" fmla="*/ 0 w 42"/>
                  <a:gd name="T15" fmla="*/ 24 h 30"/>
                  <a:gd name="T16" fmla="*/ 18 w 42"/>
                  <a:gd name="T17" fmla="*/ 30 h 30"/>
                  <a:gd name="T18" fmla="*/ 24 w 42"/>
                  <a:gd name="T19" fmla="*/ 24 h 30"/>
                  <a:gd name="T20" fmla="*/ 24 w 42"/>
                  <a:gd name="T21" fmla="*/ 18 h 30"/>
                  <a:gd name="T22" fmla="*/ 24 w 42"/>
                  <a:gd name="T23" fmla="*/ 18 h 30"/>
                  <a:gd name="T24" fmla="*/ 24 w 42"/>
                  <a:gd name="T25" fmla="*/ 18 h 30"/>
                  <a:gd name="T26" fmla="*/ 30 w 42"/>
                  <a:gd name="T27" fmla="*/ 24 h 30"/>
                  <a:gd name="T28" fmla="*/ 30 w 42"/>
                  <a:gd name="T29" fmla="*/ 18 h 30"/>
                  <a:gd name="T30" fmla="*/ 36 w 42"/>
                  <a:gd name="T31" fmla="*/ 18 h 30"/>
                  <a:gd name="T32" fmla="*/ 36 w 42"/>
                  <a:gd name="T33" fmla="*/ 18 h 30"/>
                  <a:gd name="T34" fmla="*/ 36 w 42"/>
                  <a:gd name="T35" fmla="*/ 18 h 30"/>
                  <a:gd name="T36" fmla="*/ 36 w 42"/>
                  <a:gd name="T37" fmla="*/ 18 h 30"/>
                  <a:gd name="T38" fmla="*/ 42 w 42"/>
                  <a:gd name="T39" fmla="*/ 18 h 30"/>
                  <a:gd name="T40" fmla="*/ 42 w 42"/>
                  <a:gd name="T41" fmla="*/ 18 h 30"/>
                  <a:gd name="T42" fmla="*/ 36 w 42"/>
                  <a:gd name="T43" fmla="*/ 12 h 30"/>
                  <a:gd name="T44" fmla="*/ 42 w 42"/>
                  <a:gd name="T45" fmla="*/ 12 h 30"/>
                  <a:gd name="T46" fmla="*/ 42 w 42"/>
                  <a:gd name="T47" fmla="*/ 12 h 30"/>
                  <a:gd name="T48" fmla="*/ 36 w 42"/>
                  <a:gd name="T49" fmla="*/ 12 h 30"/>
                  <a:gd name="T50" fmla="*/ 36 w 42"/>
                  <a:gd name="T51" fmla="*/ 6 h 30"/>
                  <a:gd name="T52" fmla="*/ 30 w 42"/>
                  <a:gd name="T53" fmla="*/ 0 h 30"/>
                  <a:gd name="T54" fmla="*/ 24 w 42"/>
                  <a:gd name="T55" fmla="*/ 0 h 30"/>
                  <a:gd name="T56" fmla="*/ 24 w 42"/>
                  <a:gd name="T57" fmla="*/ 0 h 3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42" h="30">
                    <a:moveTo>
                      <a:pt x="24" y="0"/>
                    </a:moveTo>
                    <a:lnTo>
                      <a:pt x="12" y="0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18" y="30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6" y="18"/>
                    </a:lnTo>
                    <a:lnTo>
                      <a:pt x="42" y="18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36" y="12"/>
                    </a:lnTo>
                    <a:lnTo>
                      <a:pt x="36" y="6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24" name="Freeform 176"/>
              <p:cNvSpPr>
                <a:spLocks/>
              </p:cNvSpPr>
              <p:nvPr/>
            </p:nvSpPr>
            <p:spPr bwMode="auto">
              <a:xfrm>
                <a:off x="1338" y="936"/>
                <a:ext cx="42" cy="30"/>
              </a:xfrm>
              <a:custGeom>
                <a:avLst/>
                <a:gdLst>
                  <a:gd name="T0" fmla="*/ 24 w 42"/>
                  <a:gd name="T1" fmla="*/ 0 h 30"/>
                  <a:gd name="T2" fmla="*/ 12 w 42"/>
                  <a:gd name="T3" fmla="*/ 0 h 30"/>
                  <a:gd name="T4" fmla="*/ 6 w 42"/>
                  <a:gd name="T5" fmla="*/ 12 h 30"/>
                  <a:gd name="T6" fmla="*/ 0 w 42"/>
                  <a:gd name="T7" fmla="*/ 18 h 30"/>
                  <a:gd name="T8" fmla="*/ 6 w 42"/>
                  <a:gd name="T9" fmla="*/ 18 h 30"/>
                  <a:gd name="T10" fmla="*/ 6 w 42"/>
                  <a:gd name="T11" fmla="*/ 24 h 30"/>
                  <a:gd name="T12" fmla="*/ 0 w 42"/>
                  <a:gd name="T13" fmla="*/ 24 h 30"/>
                  <a:gd name="T14" fmla="*/ 18 w 42"/>
                  <a:gd name="T15" fmla="*/ 30 h 30"/>
                  <a:gd name="T16" fmla="*/ 24 w 42"/>
                  <a:gd name="T17" fmla="*/ 24 h 30"/>
                  <a:gd name="T18" fmla="*/ 24 w 42"/>
                  <a:gd name="T19" fmla="*/ 18 h 30"/>
                  <a:gd name="T20" fmla="*/ 30 w 42"/>
                  <a:gd name="T21" fmla="*/ 24 h 30"/>
                  <a:gd name="T22" fmla="*/ 30 w 42"/>
                  <a:gd name="T23" fmla="*/ 18 h 30"/>
                  <a:gd name="T24" fmla="*/ 36 w 42"/>
                  <a:gd name="T25" fmla="*/ 18 h 30"/>
                  <a:gd name="T26" fmla="*/ 42 w 42"/>
                  <a:gd name="T27" fmla="*/ 18 h 30"/>
                  <a:gd name="T28" fmla="*/ 36 w 42"/>
                  <a:gd name="T29" fmla="*/ 12 h 30"/>
                  <a:gd name="T30" fmla="*/ 42 w 42"/>
                  <a:gd name="T31" fmla="*/ 12 h 30"/>
                  <a:gd name="T32" fmla="*/ 36 w 42"/>
                  <a:gd name="T33" fmla="*/ 12 h 30"/>
                  <a:gd name="T34" fmla="*/ 36 w 42"/>
                  <a:gd name="T35" fmla="*/ 6 h 30"/>
                  <a:gd name="T36" fmla="*/ 30 w 42"/>
                  <a:gd name="T37" fmla="*/ 0 h 30"/>
                  <a:gd name="T38" fmla="*/ 24 w 42"/>
                  <a:gd name="T39" fmla="*/ 0 h 3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2" h="30">
                    <a:moveTo>
                      <a:pt x="24" y="0"/>
                    </a:moveTo>
                    <a:lnTo>
                      <a:pt x="12" y="0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18" y="30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6" y="18"/>
                    </a:lnTo>
                    <a:lnTo>
                      <a:pt x="42" y="18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36" y="12"/>
                    </a:lnTo>
                    <a:lnTo>
                      <a:pt x="36" y="6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86" name="Group 177"/>
            <p:cNvGrpSpPr>
              <a:grpSpLocks/>
            </p:cNvGrpSpPr>
            <p:nvPr/>
          </p:nvGrpSpPr>
          <p:grpSpPr bwMode="auto">
            <a:xfrm>
              <a:off x="756251" y="2270292"/>
              <a:ext cx="242170" cy="236669"/>
              <a:chOff x="1236" y="870"/>
              <a:chExt cx="120" cy="138"/>
            </a:xfrm>
            <a:solidFill>
              <a:srgbClr val="0070C0">
                <a:alpha val="27059"/>
              </a:srgbClr>
            </a:solidFill>
          </p:grpSpPr>
          <p:sp>
            <p:nvSpPr>
              <p:cNvPr id="1821" name="Freeform 178"/>
              <p:cNvSpPr>
                <a:spLocks/>
              </p:cNvSpPr>
              <p:nvPr/>
            </p:nvSpPr>
            <p:spPr bwMode="auto">
              <a:xfrm>
                <a:off x="1236" y="870"/>
                <a:ext cx="120" cy="138"/>
              </a:xfrm>
              <a:custGeom>
                <a:avLst/>
                <a:gdLst>
                  <a:gd name="T0" fmla="*/ 102 w 120"/>
                  <a:gd name="T1" fmla="*/ 90 h 138"/>
                  <a:gd name="T2" fmla="*/ 108 w 120"/>
                  <a:gd name="T3" fmla="*/ 102 h 138"/>
                  <a:gd name="T4" fmla="*/ 114 w 120"/>
                  <a:gd name="T5" fmla="*/ 114 h 138"/>
                  <a:gd name="T6" fmla="*/ 84 w 120"/>
                  <a:gd name="T7" fmla="*/ 114 h 138"/>
                  <a:gd name="T8" fmla="*/ 78 w 120"/>
                  <a:gd name="T9" fmla="*/ 126 h 138"/>
                  <a:gd name="T10" fmla="*/ 78 w 120"/>
                  <a:gd name="T11" fmla="*/ 132 h 138"/>
                  <a:gd name="T12" fmla="*/ 66 w 120"/>
                  <a:gd name="T13" fmla="*/ 138 h 138"/>
                  <a:gd name="T14" fmla="*/ 54 w 120"/>
                  <a:gd name="T15" fmla="*/ 132 h 138"/>
                  <a:gd name="T16" fmla="*/ 48 w 120"/>
                  <a:gd name="T17" fmla="*/ 126 h 138"/>
                  <a:gd name="T18" fmla="*/ 42 w 120"/>
                  <a:gd name="T19" fmla="*/ 120 h 138"/>
                  <a:gd name="T20" fmla="*/ 30 w 120"/>
                  <a:gd name="T21" fmla="*/ 114 h 138"/>
                  <a:gd name="T22" fmla="*/ 30 w 120"/>
                  <a:gd name="T23" fmla="*/ 108 h 138"/>
                  <a:gd name="T24" fmla="*/ 30 w 120"/>
                  <a:gd name="T25" fmla="*/ 108 h 138"/>
                  <a:gd name="T26" fmla="*/ 30 w 120"/>
                  <a:gd name="T27" fmla="*/ 66 h 138"/>
                  <a:gd name="T28" fmla="*/ 18 w 120"/>
                  <a:gd name="T29" fmla="*/ 54 h 138"/>
                  <a:gd name="T30" fmla="*/ 6 w 120"/>
                  <a:gd name="T31" fmla="*/ 48 h 138"/>
                  <a:gd name="T32" fmla="*/ 0 w 120"/>
                  <a:gd name="T33" fmla="*/ 42 h 138"/>
                  <a:gd name="T34" fmla="*/ 12 w 120"/>
                  <a:gd name="T35" fmla="*/ 36 h 138"/>
                  <a:gd name="T36" fmla="*/ 18 w 120"/>
                  <a:gd name="T37" fmla="*/ 30 h 138"/>
                  <a:gd name="T38" fmla="*/ 36 w 120"/>
                  <a:gd name="T39" fmla="*/ 24 h 138"/>
                  <a:gd name="T40" fmla="*/ 42 w 120"/>
                  <a:gd name="T41" fmla="*/ 24 h 138"/>
                  <a:gd name="T42" fmla="*/ 54 w 120"/>
                  <a:gd name="T43" fmla="*/ 12 h 138"/>
                  <a:gd name="T44" fmla="*/ 72 w 120"/>
                  <a:gd name="T45" fmla="*/ 0 h 138"/>
                  <a:gd name="T46" fmla="*/ 84 w 120"/>
                  <a:gd name="T47" fmla="*/ 18 h 138"/>
                  <a:gd name="T48" fmla="*/ 84 w 120"/>
                  <a:gd name="T49" fmla="*/ 24 h 138"/>
                  <a:gd name="T50" fmla="*/ 90 w 120"/>
                  <a:gd name="T51" fmla="*/ 30 h 138"/>
                  <a:gd name="T52" fmla="*/ 96 w 120"/>
                  <a:gd name="T53" fmla="*/ 36 h 138"/>
                  <a:gd name="T54" fmla="*/ 120 w 120"/>
                  <a:gd name="T55" fmla="*/ 48 h 138"/>
                  <a:gd name="T56" fmla="*/ 114 w 120"/>
                  <a:gd name="T57" fmla="*/ 66 h 138"/>
                  <a:gd name="T58" fmla="*/ 108 w 120"/>
                  <a:gd name="T59" fmla="*/ 78 h 138"/>
                  <a:gd name="T60" fmla="*/ 102 w 120"/>
                  <a:gd name="T61" fmla="*/ 84 h 138"/>
                  <a:gd name="T62" fmla="*/ 108 w 120"/>
                  <a:gd name="T63" fmla="*/ 90 h 13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20" h="138">
                    <a:moveTo>
                      <a:pt x="108" y="90"/>
                    </a:moveTo>
                    <a:lnTo>
                      <a:pt x="102" y="90"/>
                    </a:lnTo>
                    <a:lnTo>
                      <a:pt x="108" y="96"/>
                    </a:lnTo>
                    <a:lnTo>
                      <a:pt x="108" y="102"/>
                    </a:lnTo>
                    <a:lnTo>
                      <a:pt x="114" y="108"/>
                    </a:lnTo>
                    <a:lnTo>
                      <a:pt x="114" y="114"/>
                    </a:lnTo>
                    <a:lnTo>
                      <a:pt x="108" y="120"/>
                    </a:lnTo>
                    <a:lnTo>
                      <a:pt x="84" y="114"/>
                    </a:lnTo>
                    <a:lnTo>
                      <a:pt x="78" y="120"/>
                    </a:lnTo>
                    <a:lnTo>
                      <a:pt x="78" y="126"/>
                    </a:lnTo>
                    <a:lnTo>
                      <a:pt x="78" y="132"/>
                    </a:lnTo>
                    <a:lnTo>
                      <a:pt x="72" y="138"/>
                    </a:lnTo>
                    <a:lnTo>
                      <a:pt x="66" y="138"/>
                    </a:lnTo>
                    <a:lnTo>
                      <a:pt x="54" y="132"/>
                    </a:lnTo>
                    <a:lnTo>
                      <a:pt x="48" y="126"/>
                    </a:lnTo>
                    <a:lnTo>
                      <a:pt x="48" y="120"/>
                    </a:lnTo>
                    <a:lnTo>
                      <a:pt x="42" y="120"/>
                    </a:lnTo>
                    <a:lnTo>
                      <a:pt x="30" y="114"/>
                    </a:lnTo>
                    <a:lnTo>
                      <a:pt x="30" y="108"/>
                    </a:lnTo>
                    <a:lnTo>
                      <a:pt x="30" y="72"/>
                    </a:lnTo>
                    <a:lnTo>
                      <a:pt x="30" y="66"/>
                    </a:lnTo>
                    <a:lnTo>
                      <a:pt x="24" y="60"/>
                    </a:lnTo>
                    <a:lnTo>
                      <a:pt x="18" y="54"/>
                    </a:lnTo>
                    <a:lnTo>
                      <a:pt x="6" y="48"/>
                    </a:lnTo>
                    <a:lnTo>
                      <a:pt x="0" y="42"/>
                    </a:lnTo>
                    <a:lnTo>
                      <a:pt x="6" y="36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36" y="24"/>
                    </a:lnTo>
                    <a:lnTo>
                      <a:pt x="42" y="24"/>
                    </a:lnTo>
                    <a:lnTo>
                      <a:pt x="48" y="24"/>
                    </a:lnTo>
                    <a:lnTo>
                      <a:pt x="54" y="12"/>
                    </a:lnTo>
                    <a:lnTo>
                      <a:pt x="60" y="12"/>
                    </a:lnTo>
                    <a:lnTo>
                      <a:pt x="72" y="0"/>
                    </a:lnTo>
                    <a:lnTo>
                      <a:pt x="84" y="12"/>
                    </a:lnTo>
                    <a:lnTo>
                      <a:pt x="84" y="18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0" y="30"/>
                    </a:lnTo>
                    <a:lnTo>
                      <a:pt x="96" y="36"/>
                    </a:lnTo>
                    <a:lnTo>
                      <a:pt x="102" y="42"/>
                    </a:lnTo>
                    <a:lnTo>
                      <a:pt x="120" y="48"/>
                    </a:lnTo>
                    <a:lnTo>
                      <a:pt x="120" y="60"/>
                    </a:lnTo>
                    <a:lnTo>
                      <a:pt x="114" y="66"/>
                    </a:lnTo>
                    <a:lnTo>
                      <a:pt x="108" y="78"/>
                    </a:lnTo>
                    <a:lnTo>
                      <a:pt x="102" y="84"/>
                    </a:lnTo>
                    <a:lnTo>
                      <a:pt x="108" y="84"/>
                    </a:lnTo>
                    <a:lnTo>
                      <a:pt x="108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22" name="Freeform 179"/>
              <p:cNvSpPr>
                <a:spLocks/>
              </p:cNvSpPr>
              <p:nvPr/>
            </p:nvSpPr>
            <p:spPr bwMode="auto">
              <a:xfrm>
                <a:off x="1236" y="870"/>
                <a:ext cx="120" cy="138"/>
              </a:xfrm>
              <a:custGeom>
                <a:avLst/>
                <a:gdLst>
                  <a:gd name="T0" fmla="*/ 108 w 120"/>
                  <a:gd name="T1" fmla="*/ 90 h 138"/>
                  <a:gd name="T2" fmla="*/ 102 w 120"/>
                  <a:gd name="T3" fmla="*/ 90 h 138"/>
                  <a:gd name="T4" fmla="*/ 108 w 120"/>
                  <a:gd name="T5" fmla="*/ 96 h 138"/>
                  <a:gd name="T6" fmla="*/ 108 w 120"/>
                  <a:gd name="T7" fmla="*/ 102 h 138"/>
                  <a:gd name="T8" fmla="*/ 114 w 120"/>
                  <a:gd name="T9" fmla="*/ 108 h 138"/>
                  <a:gd name="T10" fmla="*/ 114 w 120"/>
                  <a:gd name="T11" fmla="*/ 114 h 138"/>
                  <a:gd name="T12" fmla="*/ 108 w 120"/>
                  <a:gd name="T13" fmla="*/ 120 h 138"/>
                  <a:gd name="T14" fmla="*/ 84 w 120"/>
                  <a:gd name="T15" fmla="*/ 114 h 138"/>
                  <a:gd name="T16" fmla="*/ 78 w 120"/>
                  <a:gd name="T17" fmla="*/ 120 h 138"/>
                  <a:gd name="T18" fmla="*/ 78 w 120"/>
                  <a:gd name="T19" fmla="*/ 126 h 138"/>
                  <a:gd name="T20" fmla="*/ 78 w 120"/>
                  <a:gd name="T21" fmla="*/ 132 h 138"/>
                  <a:gd name="T22" fmla="*/ 72 w 120"/>
                  <a:gd name="T23" fmla="*/ 138 h 138"/>
                  <a:gd name="T24" fmla="*/ 66 w 120"/>
                  <a:gd name="T25" fmla="*/ 138 h 138"/>
                  <a:gd name="T26" fmla="*/ 54 w 120"/>
                  <a:gd name="T27" fmla="*/ 132 h 138"/>
                  <a:gd name="T28" fmla="*/ 48 w 120"/>
                  <a:gd name="T29" fmla="*/ 126 h 138"/>
                  <a:gd name="T30" fmla="*/ 48 w 120"/>
                  <a:gd name="T31" fmla="*/ 120 h 138"/>
                  <a:gd name="T32" fmla="*/ 42 w 120"/>
                  <a:gd name="T33" fmla="*/ 120 h 138"/>
                  <a:gd name="T34" fmla="*/ 30 w 120"/>
                  <a:gd name="T35" fmla="*/ 114 h 138"/>
                  <a:gd name="T36" fmla="*/ 30 w 120"/>
                  <a:gd name="T37" fmla="*/ 108 h 138"/>
                  <a:gd name="T38" fmla="*/ 30 w 120"/>
                  <a:gd name="T39" fmla="*/ 72 h 138"/>
                  <a:gd name="T40" fmla="*/ 30 w 120"/>
                  <a:gd name="T41" fmla="*/ 66 h 138"/>
                  <a:gd name="T42" fmla="*/ 24 w 120"/>
                  <a:gd name="T43" fmla="*/ 60 h 138"/>
                  <a:gd name="T44" fmla="*/ 18 w 120"/>
                  <a:gd name="T45" fmla="*/ 54 h 138"/>
                  <a:gd name="T46" fmla="*/ 6 w 120"/>
                  <a:gd name="T47" fmla="*/ 48 h 138"/>
                  <a:gd name="T48" fmla="*/ 0 w 120"/>
                  <a:gd name="T49" fmla="*/ 42 h 138"/>
                  <a:gd name="T50" fmla="*/ 6 w 120"/>
                  <a:gd name="T51" fmla="*/ 36 h 138"/>
                  <a:gd name="T52" fmla="*/ 12 w 120"/>
                  <a:gd name="T53" fmla="*/ 36 h 138"/>
                  <a:gd name="T54" fmla="*/ 12 w 120"/>
                  <a:gd name="T55" fmla="*/ 30 h 138"/>
                  <a:gd name="T56" fmla="*/ 18 w 120"/>
                  <a:gd name="T57" fmla="*/ 30 h 138"/>
                  <a:gd name="T58" fmla="*/ 24 w 120"/>
                  <a:gd name="T59" fmla="*/ 30 h 138"/>
                  <a:gd name="T60" fmla="*/ 36 w 120"/>
                  <a:gd name="T61" fmla="*/ 24 h 138"/>
                  <a:gd name="T62" fmla="*/ 42 w 120"/>
                  <a:gd name="T63" fmla="*/ 24 h 138"/>
                  <a:gd name="T64" fmla="*/ 48 w 120"/>
                  <a:gd name="T65" fmla="*/ 24 h 138"/>
                  <a:gd name="T66" fmla="*/ 54 w 120"/>
                  <a:gd name="T67" fmla="*/ 12 h 138"/>
                  <a:gd name="T68" fmla="*/ 60 w 120"/>
                  <a:gd name="T69" fmla="*/ 12 h 138"/>
                  <a:gd name="T70" fmla="*/ 72 w 120"/>
                  <a:gd name="T71" fmla="*/ 0 h 138"/>
                  <a:gd name="T72" fmla="*/ 84 w 120"/>
                  <a:gd name="T73" fmla="*/ 12 h 138"/>
                  <a:gd name="T74" fmla="*/ 84 w 120"/>
                  <a:gd name="T75" fmla="*/ 18 h 138"/>
                  <a:gd name="T76" fmla="*/ 84 w 120"/>
                  <a:gd name="T77" fmla="*/ 24 h 138"/>
                  <a:gd name="T78" fmla="*/ 90 w 120"/>
                  <a:gd name="T79" fmla="*/ 24 h 138"/>
                  <a:gd name="T80" fmla="*/ 90 w 120"/>
                  <a:gd name="T81" fmla="*/ 30 h 138"/>
                  <a:gd name="T82" fmla="*/ 96 w 120"/>
                  <a:gd name="T83" fmla="*/ 36 h 138"/>
                  <a:gd name="T84" fmla="*/ 102 w 120"/>
                  <a:gd name="T85" fmla="*/ 42 h 138"/>
                  <a:gd name="T86" fmla="*/ 120 w 120"/>
                  <a:gd name="T87" fmla="*/ 48 h 138"/>
                  <a:gd name="T88" fmla="*/ 120 w 120"/>
                  <a:gd name="T89" fmla="*/ 60 h 138"/>
                  <a:gd name="T90" fmla="*/ 114 w 120"/>
                  <a:gd name="T91" fmla="*/ 66 h 138"/>
                  <a:gd name="T92" fmla="*/ 108 w 120"/>
                  <a:gd name="T93" fmla="*/ 78 h 138"/>
                  <a:gd name="T94" fmla="*/ 102 w 120"/>
                  <a:gd name="T95" fmla="*/ 84 h 138"/>
                  <a:gd name="T96" fmla="*/ 108 w 120"/>
                  <a:gd name="T97" fmla="*/ 84 h 138"/>
                  <a:gd name="T98" fmla="*/ 108 w 120"/>
                  <a:gd name="T99" fmla="*/ 90 h 13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20" h="138">
                    <a:moveTo>
                      <a:pt x="108" y="90"/>
                    </a:moveTo>
                    <a:lnTo>
                      <a:pt x="102" y="90"/>
                    </a:lnTo>
                    <a:lnTo>
                      <a:pt x="108" y="96"/>
                    </a:lnTo>
                    <a:lnTo>
                      <a:pt x="108" y="102"/>
                    </a:lnTo>
                    <a:lnTo>
                      <a:pt x="114" y="108"/>
                    </a:lnTo>
                    <a:lnTo>
                      <a:pt x="114" y="114"/>
                    </a:lnTo>
                    <a:lnTo>
                      <a:pt x="108" y="120"/>
                    </a:lnTo>
                    <a:lnTo>
                      <a:pt x="84" y="114"/>
                    </a:lnTo>
                    <a:lnTo>
                      <a:pt x="78" y="120"/>
                    </a:lnTo>
                    <a:lnTo>
                      <a:pt x="78" y="126"/>
                    </a:lnTo>
                    <a:lnTo>
                      <a:pt x="78" y="132"/>
                    </a:lnTo>
                    <a:lnTo>
                      <a:pt x="72" y="138"/>
                    </a:lnTo>
                    <a:lnTo>
                      <a:pt x="66" y="138"/>
                    </a:lnTo>
                    <a:lnTo>
                      <a:pt x="54" y="132"/>
                    </a:lnTo>
                    <a:lnTo>
                      <a:pt x="48" y="126"/>
                    </a:lnTo>
                    <a:lnTo>
                      <a:pt x="48" y="120"/>
                    </a:lnTo>
                    <a:lnTo>
                      <a:pt x="42" y="120"/>
                    </a:lnTo>
                    <a:lnTo>
                      <a:pt x="30" y="114"/>
                    </a:lnTo>
                    <a:lnTo>
                      <a:pt x="30" y="108"/>
                    </a:lnTo>
                    <a:lnTo>
                      <a:pt x="30" y="72"/>
                    </a:lnTo>
                    <a:lnTo>
                      <a:pt x="30" y="66"/>
                    </a:lnTo>
                    <a:lnTo>
                      <a:pt x="24" y="60"/>
                    </a:lnTo>
                    <a:lnTo>
                      <a:pt x="18" y="54"/>
                    </a:lnTo>
                    <a:lnTo>
                      <a:pt x="6" y="48"/>
                    </a:lnTo>
                    <a:lnTo>
                      <a:pt x="0" y="42"/>
                    </a:lnTo>
                    <a:lnTo>
                      <a:pt x="6" y="36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36" y="24"/>
                    </a:lnTo>
                    <a:lnTo>
                      <a:pt x="42" y="24"/>
                    </a:lnTo>
                    <a:lnTo>
                      <a:pt x="48" y="24"/>
                    </a:lnTo>
                    <a:lnTo>
                      <a:pt x="54" y="12"/>
                    </a:lnTo>
                    <a:lnTo>
                      <a:pt x="60" y="12"/>
                    </a:lnTo>
                    <a:lnTo>
                      <a:pt x="72" y="0"/>
                    </a:lnTo>
                    <a:lnTo>
                      <a:pt x="84" y="12"/>
                    </a:lnTo>
                    <a:lnTo>
                      <a:pt x="84" y="18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0" y="30"/>
                    </a:lnTo>
                    <a:lnTo>
                      <a:pt x="96" y="36"/>
                    </a:lnTo>
                    <a:lnTo>
                      <a:pt x="102" y="42"/>
                    </a:lnTo>
                    <a:lnTo>
                      <a:pt x="120" y="48"/>
                    </a:lnTo>
                    <a:lnTo>
                      <a:pt x="120" y="60"/>
                    </a:lnTo>
                    <a:lnTo>
                      <a:pt x="114" y="66"/>
                    </a:lnTo>
                    <a:lnTo>
                      <a:pt x="108" y="78"/>
                    </a:lnTo>
                    <a:lnTo>
                      <a:pt x="102" y="84"/>
                    </a:lnTo>
                    <a:lnTo>
                      <a:pt x="108" y="84"/>
                    </a:lnTo>
                    <a:lnTo>
                      <a:pt x="108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87" name="Group 180"/>
            <p:cNvGrpSpPr>
              <a:grpSpLocks/>
            </p:cNvGrpSpPr>
            <p:nvPr/>
          </p:nvGrpSpPr>
          <p:grpSpPr bwMode="auto">
            <a:xfrm>
              <a:off x="656308" y="2486733"/>
              <a:ext cx="61504" cy="113277"/>
              <a:chOff x="1188" y="996"/>
              <a:chExt cx="30" cy="66"/>
            </a:xfrm>
            <a:solidFill>
              <a:srgbClr val="0070C0">
                <a:alpha val="27059"/>
              </a:srgbClr>
            </a:solidFill>
          </p:grpSpPr>
          <p:sp>
            <p:nvSpPr>
              <p:cNvPr id="1819" name="Freeform 181"/>
              <p:cNvSpPr>
                <a:spLocks/>
              </p:cNvSpPr>
              <p:nvPr/>
            </p:nvSpPr>
            <p:spPr bwMode="auto">
              <a:xfrm>
                <a:off x="1188" y="996"/>
                <a:ext cx="30" cy="66"/>
              </a:xfrm>
              <a:custGeom>
                <a:avLst/>
                <a:gdLst>
                  <a:gd name="T0" fmla="*/ 6 w 30"/>
                  <a:gd name="T1" fmla="*/ 0 h 66"/>
                  <a:gd name="T2" fmla="*/ 6 w 30"/>
                  <a:gd name="T3" fmla="*/ 24 h 66"/>
                  <a:gd name="T4" fmla="*/ 6 w 30"/>
                  <a:gd name="T5" fmla="*/ 36 h 66"/>
                  <a:gd name="T6" fmla="*/ 0 w 30"/>
                  <a:gd name="T7" fmla="*/ 42 h 66"/>
                  <a:gd name="T8" fmla="*/ 0 w 30"/>
                  <a:gd name="T9" fmla="*/ 48 h 66"/>
                  <a:gd name="T10" fmla="*/ 6 w 30"/>
                  <a:gd name="T11" fmla="*/ 48 h 66"/>
                  <a:gd name="T12" fmla="*/ 6 w 30"/>
                  <a:gd name="T13" fmla="*/ 66 h 66"/>
                  <a:gd name="T14" fmla="*/ 12 w 30"/>
                  <a:gd name="T15" fmla="*/ 66 h 66"/>
                  <a:gd name="T16" fmla="*/ 12 w 30"/>
                  <a:gd name="T17" fmla="*/ 66 h 66"/>
                  <a:gd name="T18" fmla="*/ 12 w 30"/>
                  <a:gd name="T19" fmla="*/ 66 h 66"/>
                  <a:gd name="T20" fmla="*/ 12 w 30"/>
                  <a:gd name="T21" fmla="*/ 66 h 66"/>
                  <a:gd name="T22" fmla="*/ 18 w 30"/>
                  <a:gd name="T23" fmla="*/ 60 h 66"/>
                  <a:gd name="T24" fmla="*/ 18 w 30"/>
                  <a:gd name="T25" fmla="*/ 54 h 66"/>
                  <a:gd name="T26" fmla="*/ 24 w 30"/>
                  <a:gd name="T27" fmla="*/ 54 h 66"/>
                  <a:gd name="T28" fmla="*/ 24 w 30"/>
                  <a:gd name="T29" fmla="*/ 54 h 66"/>
                  <a:gd name="T30" fmla="*/ 18 w 30"/>
                  <a:gd name="T31" fmla="*/ 48 h 66"/>
                  <a:gd name="T32" fmla="*/ 24 w 30"/>
                  <a:gd name="T33" fmla="*/ 48 h 66"/>
                  <a:gd name="T34" fmla="*/ 24 w 30"/>
                  <a:gd name="T35" fmla="*/ 36 h 66"/>
                  <a:gd name="T36" fmla="*/ 24 w 30"/>
                  <a:gd name="T37" fmla="*/ 30 h 66"/>
                  <a:gd name="T38" fmla="*/ 24 w 30"/>
                  <a:gd name="T39" fmla="*/ 24 h 66"/>
                  <a:gd name="T40" fmla="*/ 24 w 30"/>
                  <a:gd name="T41" fmla="*/ 18 h 66"/>
                  <a:gd name="T42" fmla="*/ 24 w 30"/>
                  <a:gd name="T43" fmla="*/ 12 h 66"/>
                  <a:gd name="T44" fmla="*/ 30 w 30"/>
                  <a:gd name="T45" fmla="*/ 6 h 66"/>
                  <a:gd name="T46" fmla="*/ 30 w 30"/>
                  <a:gd name="T47" fmla="*/ 6 h 66"/>
                  <a:gd name="T48" fmla="*/ 30 w 30"/>
                  <a:gd name="T49" fmla="*/ 6 h 66"/>
                  <a:gd name="T50" fmla="*/ 24 w 30"/>
                  <a:gd name="T51" fmla="*/ 0 h 66"/>
                  <a:gd name="T52" fmla="*/ 24 w 30"/>
                  <a:gd name="T53" fmla="*/ 0 h 66"/>
                  <a:gd name="T54" fmla="*/ 12 w 30"/>
                  <a:gd name="T55" fmla="*/ 0 h 66"/>
                  <a:gd name="T56" fmla="*/ 6 w 30"/>
                  <a:gd name="T57" fmla="*/ 0 h 6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0" h="66">
                    <a:moveTo>
                      <a:pt x="6" y="0"/>
                    </a:moveTo>
                    <a:lnTo>
                      <a:pt x="6" y="24"/>
                    </a:lnTo>
                    <a:lnTo>
                      <a:pt x="6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8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18" y="60"/>
                    </a:lnTo>
                    <a:lnTo>
                      <a:pt x="18" y="54"/>
                    </a:lnTo>
                    <a:lnTo>
                      <a:pt x="24" y="54"/>
                    </a:lnTo>
                    <a:lnTo>
                      <a:pt x="18" y="48"/>
                    </a:lnTo>
                    <a:lnTo>
                      <a:pt x="24" y="48"/>
                    </a:lnTo>
                    <a:lnTo>
                      <a:pt x="24" y="36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20" name="Freeform 182"/>
              <p:cNvSpPr>
                <a:spLocks/>
              </p:cNvSpPr>
              <p:nvPr/>
            </p:nvSpPr>
            <p:spPr bwMode="auto">
              <a:xfrm>
                <a:off x="1188" y="996"/>
                <a:ext cx="30" cy="66"/>
              </a:xfrm>
              <a:custGeom>
                <a:avLst/>
                <a:gdLst>
                  <a:gd name="T0" fmla="*/ 6 w 30"/>
                  <a:gd name="T1" fmla="*/ 0 h 66"/>
                  <a:gd name="T2" fmla="*/ 6 w 30"/>
                  <a:gd name="T3" fmla="*/ 24 h 66"/>
                  <a:gd name="T4" fmla="*/ 6 w 30"/>
                  <a:gd name="T5" fmla="*/ 36 h 66"/>
                  <a:gd name="T6" fmla="*/ 0 w 30"/>
                  <a:gd name="T7" fmla="*/ 42 h 66"/>
                  <a:gd name="T8" fmla="*/ 0 w 30"/>
                  <a:gd name="T9" fmla="*/ 48 h 66"/>
                  <a:gd name="T10" fmla="*/ 6 w 30"/>
                  <a:gd name="T11" fmla="*/ 48 h 66"/>
                  <a:gd name="T12" fmla="*/ 6 w 30"/>
                  <a:gd name="T13" fmla="*/ 66 h 66"/>
                  <a:gd name="T14" fmla="*/ 12 w 30"/>
                  <a:gd name="T15" fmla="*/ 66 h 66"/>
                  <a:gd name="T16" fmla="*/ 18 w 30"/>
                  <a:gd name="T17" fmla="*/ 60 h 66"/>
                  <a:gd name="T18" fmla="*/ 18 w 30"/>
                  <a:gd name="T19" fmla="*/ 54 h 66"/>
                  <a:gd name="T20" fmla="*/ 24 w 30"/>
                  <a:gd name="T21" fmla="*/ 54 h 66"/>
                  <a:gd name="T22" fmla="*/ 18 w 30"/>
                  <a:gd name="T23" fmla="*/ 48 h 66"/>
                  <a:gd name="T24" fmla="*/ 24 w 30"/>
                  <a:gd name="T25" fmla="*/ 48 h 66"/>
                  <a:gd name="T26" fmla="*/ 24 w 30"/>
                  <a:gd name="T27" fmla="*/ 36 h 66"/>
                  <a:gd name="T28" fmla="*/ 24 w 30"/>
                  <a:gd name="T29" fmla="*/ 30 h 66"/>
                  <a:gd name="T30" fmla="*/ 24 w 30"/>
                  <a:gd name="T31" fmla="*/ 24 h 66"/>
                  <a:gd name="T32" fmla="*/ 24 w 30"/>
                  <a:gd name="T33" fmla="*/ 18 h 66"/>
                  <a:gd name="T34" fmla="*/ 24 w 30"/>
                  <a:gd name="T35" fmla="*/ 12 h 66"/>
                  <a:gd name="T36" fmla="*/ 30 w 30"/>
                  <a:gd name="T37" fmla="*/ 6 h 66"/>
                  <a:gd name="T38" fmla="*/ 24 w 30"/>
                  <a:gd name="T39" fmla="*/ 0 h 66"/>
                  <a:gd name="T40" fmla="*/ 12 w 30"/>
                  <a:gd name="T41" fmla="*/ 0 h 66"/>
                  <a:gd name="T42" fmla="*/ 6 w 30"/>
                  <a:gd name="T43" fmla="*/ 0 h 6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0" h="66">
                    <a:moveTo>
                      <a:pt x="6" y="0"/>
                    </a:moveTo>
                    <a:lnTo>
                      <a:pt x="6" y="24"/>
                    </a:lnTo>
                    <a:lnTo>
                      <a:pt x="6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8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18" y="60"/>
                    </a:lnTo>
                    <a:lnTo>
                      <a:pt x="18" y="54"/>
                    </a:lnTo>
                    <a:lnTo>
                      <a:pt x="24" y="54"/>
                    </a:lnTo>
                    <a:lnTo>
                      <a:pt x="18" y="48"/>
                    </a:lnTo>
                    <a:lnTo>
                      <a:pt x="24" y="48"/>
                    </a:lnTo>
                    <a:lnTo>
                      <a:pt x="24" y="36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sp>
          <p:nvSpPr>
            <p:cNvPr id="588" name="Freeform 184"/>
            <p:cNvSpPr>
              <a:spLocks/>
            </p:cNvSpPr>
            <p:nvPr/>
          </p:nvSpPr>
          <p:spPr bwMode="auto">
            <a:xfrm>
              <a:off x="950372" y="2154992"/>
              <a:ext cx="157603" cy="228577"/>
            </a:xfrm>
            <a:custGeom>
              <a:avLst/>
              <a:gdLst>
                <a:gd name="T0" fmla="*/ 18 w 78"/>
                <a:gd name="T1" fmla="*/ 108 h 132"/>
                <a:gd name="T2" fmla="*/ 6 w 78"/>
                <a:gd name="T3" fmla="*/ 90 h 132"/>
                <a:gd name="T4" fmla="*/ 0 w 78"/>
                <a:gd name="T5" fmla="*/ 84 h 132"/>
                <a:gd name="T6" fmla="*/ 6 w 78"/>
                <a:gd name="T7" fmla="*/ 66 h 132"/>
                <a:gd name="T8" fmla="*/ 6 w 78"/>
                <a:gd name="T9" fmla="*/ 66 h 132"/>
                <a:gd name="T10" fmla="*/ 12 w 78"/>
                <a:gd name="T11" fmla="*/ 60 h 132"/>
                <a:gd name="T12" fmla="*/ 12 w 78"/>
                <a:gd name="T13" fmla="*/ 48 h 132"/>
                <a:gd name="T14" fmla="*/ 12 w 78"/>
                <a:gd name="T15" fmla="*/ 42 h 132"/>
                <a:gd name="T16" fmla="*/ 18 w 78"/>
                <a:gd name="T17" fmla="*/ 36 h 132"/>
                <a:gd name="T18" fmla="*/ 18 w 78"/>
                <a:gd name="T19" fmla="*/ 24 h 132"/>
                <a:gd name="T20" fmla="*/ 24 w 78"/>
                <a:gd name="T21" fmla="*/ 24 h 132"/>
                <a:gd name="T22" fmla="*/ 30 w 78"/>
                <a:gd name="T23" fmla="*/ 24 h 132"/>
                <a:gd name="T24" fmla="*/ 48 w 78"/>
                <a:gd name="T25" fmla="*/ 0 h 132"/>
                <a:gd name="T26" fmla="*/ 48 w 78"/>
                <a:gd name="T27" fmla="*/ 12 h 132"/>
                <a:gd name="T28" fmla="*/ 54 w 78"/>
                <a:gd name="T29" fmla="*/ 18 h 132"/>
                <a:gd name="T30" fmla="*/ 54 w 78"/>
                <a:gd name="T31" fmla="*/ 18 h 132"/>
                <a:gd name="T32" fmla="*/ 54 w 78"/>
                <a:gd name="T33" fmla="*/ 30 h 132"/>
                <a:gd name="T34" fmla="*/ 60 w 78"/>
                <a:gd name="T35" fmla="*/ 30 h 132"/>
                <a:gd name="T36" fmla="*/ 54 w 78"/>
                <a:gd name="T37" fmla="*/ 36 h 132"/>
                <a:gd name="T38" fmla="*/ 60 w 78"/>
                <a:gd name="T39" fmla="*/ 42 h 132"/>
                <a:gd name="T40" fmla="*/ 54 w 78"/>
                <a:gd name="T41" fmla="*/ 42 h 132"/>
                <a:gd name="T42" fmla="*/ 54 w 78"/>
                <a:gd name="T43" fmla="*/ 48 h 132"/>
                <a:gd name="T44" fmla="*/ 54 w 78"/>
                <a:gd name="T45" fmla="*/ 54 h 132"/>
                <a:gd name="T46" fmla="*/ 48 w 78"/>
                <a:gd name="T47" fmla="*/ 60 h 132"/>
                <a:gd name="T48" fmla="*/ 48 w 78"/>
                <a:gd name="T49" fmla="*/ 66 h 132"/>
                <a:gd name="T50" fmla="*/ 48 w 78"/>
                <a:gd name="T51" fmla="*/ 72 h 132"/>
                <a:gd name="T52" fmla="*/ 60 w 78"/>
                <a:gd name="T53" fmla="*/ 72 h 132"/>
                <a:gd name="T54" fmla="*/ 66 w 78"/>
                <a:gd name="T55" fmla="*/ 84 h 132"/>
                <a:gd name="T56" fmla="*/ 72 w 78"/>
                <a:gd name="T57" fmla="*/ 90 h 132"/>
                <a:gd name="T58" fmla="*/ 78 w 78"/>
                <a:gd name="T59" fmla="*/ 102 h 132"/>
                <a:gd name="T60" fmla="*/ 66 w 78"/>
                <a:gd name="T61" fmla="*/ 108 h 132"/>
                <a:gd name="T62" fmla="*/ 60 w 78"/>
                <a:gd name="T63" fmla="*/ 120 h 132"/>
                <a:gd name="T64" fmla="*/ 60 w 78"/>
                <a:gd name="T65" fmla="*/ 126 h 132"/>
                <a:gd name="T66" fmla="*/ 42 w 78"/>
                <a:gd name="T67" fmla="*/ 126 h 132"/>
                <a:gd name="T68" fmla="*/ 30 w 78"/>
                <a:gd name="T69" fmla="*/ 132 h 132"/>
                <a:gd name="T70" fmla="*/ 24 w 78"/>
                <a:gd name="T71" fmla="*/ 114 h 13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78" h="132">
                  <a:moveTo>
                    <a:pt x="24" y="114"/>
                  </a:moveTo>
                  <a:lnTo>
                    <a:pt x="18" y="108"/>
                  </a:lnTo>
                  <a:lnTo>
                    <a:pt x="6" y="108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2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6"/>
                  </a:lnTo>
                  <a:lnTo>
                    <a:pt x="48" y="0"/>
                  </a:lnTo>
                  <a:lnTo>
                    <a:pt x="48" y="6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54" y="24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54" y="36"/>
                  </a:lnTo>
                  <a:lnTo>
                    <a:pt x="60" y="36"/>
                  </a:lnTo>
                  <a:lnTo>
                    <a:pt x="60" y="42"/>
                  </a:lnTo>
                  <a:lnTo>
                    <a:pt x="54" y="42"/>
                  </a:lnTo>
                  <a:lnTo>
                    <a:pt x="54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60"/>
                  </a:lnTo>
                  <a:lnTo>
                    <a:pt x="48" y="66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6" y="72"/>
                  </a:lnTo>
                  <a:lnTo>
                    <a:pt x="66" y="84"/>
                  </a:lnTo>
                  <a:lnTo>
                    <a:pt x="72" y="84"/>
                  </a:lnTo>
                  <a:lnTo>
                    <a:pt x="72" y="90"/>
                  </a:lnTo>
                  <a:lnTo>
                    <a:pt x="78" y="102"/>
                  </a:lnTo>
                  <a:lnTo>
                    <a:pt x="72" y="102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54" y="126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30" y="132"/>
                  </a:lnTo>
                  <a:lnTo>
                    <a:pt x="18" y="132"/>
                  </a:lnTo>
                  <a:lnTo>
                    <a:pt x="24" y="114"/>
                  </a:lnTo>
                  <a:close/>
                </a:path>
              </a:pathLst>
            </a:custGeom>
            <a:solidFill>
              <a:srgbClr val="0070C0">
                <a:alpha val="27059"/>
              </a:srgb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grpSp>
          <p:nvGrpSpPr>
            <p:cNvPr id="589" name="Group 186"/>
            <p:cNvGrpSpPr>
              <a:grpSpLocks/>
            </p:cNvGrpSpPr>
            <p:nvPr/>
          </p:nvGrpSpPr>
          <p:grpSpPr bwMode="auto">
            <a:xfrm>
              <a:off x="911932" y="2207585"/>
              <a:ext cx="74957" cy="72821"/>
              <a:chOff x="1314" y="834"/>
              <a:chExt cx="36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1817" name="Freeform 187"/>
              <p:cNvSpPr>
                <a:spLocks/>
              </p:cNvSpPr>
              <p:nvPr/>
            </p:nvSpPr>
            <p:spPr bwMode="auto">
              <a:xfrm>
                <a:off x="1314" y="834"/>
                <a:ext cx="36" cy="42"/>
              </a:xfrm>
              <a:custGeom>
                <a:avLst/>
                <a:gdLst>
                  <a:gd name="T0" fmla="*/ 18 w 36"/>
                  <a:gd name="T1" fmla="*/ 42 h 42"/>
                  <a:gd name="T2" fmla="*/ 12 w 36"/>
                  <a:gd name="T3" fmla="*/ 42 h 42"/>
                  <a:gd name="T4" fmla="*/ 12 w 36"/>
                  <a:gd name="T5" fmla="*/ 42 h 42"/>
                  <a:gd name="T6" fmla="*/ 0 w 36"/>
                  <a:gd name="T7" fmla="*/ 36 h 42"/>
                  <a:gd name="T8" fmla="*/ 6 w 36"/>
                  <a:gd name="T9" fmla="*/ 30 h 42"/>
                  <a:gd name="T10" fmla="*/ 6 w 36"/>
                  <a:gd name="T11" fmla="*/ 24 h 42"/>
                  <a:gd name="T12" fmla="*/ 12 w 36"/>
                  <a:gd name="T13" fmla="*/ 18 h 42"/>
                  <a:gd name="T14" fmla="*/ 12 w 36"/>
                  <a:gd name="T15" fmla="*/ 6 h 42"/>
                  <a:gd name="T16" fmla="*/ 18 w 36"/>
                  <a:gd name="T17" fmla="*/ 0 h 42"/>
                  <a:gd name="T18" fmla="*/ 24 w 36"/>
                  <a:gd name="T19" fmla="*/ 0 h 42"/>
                  <a:gd name="T20" fmla="*/ 30 w 36"/>
                  <a:gd name="T21" fmla="*/ 0 h 42"/>
                  <a:gd name="T22" fmla="*/ 36 w 36"/>
                  <a:gd name="T23" fmla="*/ 6 h 42"/>
                  <a:gd name="T24" fmla="*/ 36 w 36"/>
                  <a:gd name="T25" fmla="*/ 12 h 42"/>
                  <a:gd name="T26" fmla="*/ 30 w 36"/>
                  <a:gd name="T27" fmla="*/ 12 h 42"/>
                  <a:gd name="T28" fmla="*/ 30 w 36"/>
                  <a:gd name="T29" fmla="*/ 12 h 42"/>
                  <a:gd name="T30" fmla="*/ 30 w 36"/>
                  <a:gd name="T31" fmla="*/ 18 h 42"/>
                  <a:gd name="T32" fmla="*/ 30 w 36"/>
                  <a:gd name="T33" fmla="*/ 18 h 42"/>
                  <a:gd name="T34" fmla="*/ 30 w 36"/>
                  <a:gd name="T35" fmla="*/ 24 h 42"/>
                  <a:gd name="T36" fmla="*/ 30 w 36"/>
                  <a:gd name="T37" fmla="*/ 30 h 42"/>
                  <a:gd name="T38" fmla="*/ 24 w 36"/>
                  <a:gd name="T39" fmla="*/ 30 h 42"/>
                  <a:gd name="T40" fmla="*/ 24 w 36"/>
                  <a:gd name="T41" fmla="*/ 30 h 42"/>
                  <a:gd name="T42" fmla="*/ 24 w 36"/>
                  <a:gd name="T43" fmla="*/ 36 h 42"/>
                  <a:gd name="T44" fmla="*/ 24 w 36"/>
                  <a:gd name="T45" fmla="*/ 36 h 42"/>
                  <a:gd name="T46" fmla="*/ 18 w 36"/>
                  <a:gd name="T47" fmla="*/ 42 h 4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36" h="42">
                    <a:moveTo>
                      <a:pt x="18" y="42"/>
                    </a:moveTo>
                    <a:lnTo>
                      <a:pt x="12" y="42"/>
                    </a:lnTo>
                    <a:lnTo>
                      <a:pt x="0" y="36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12" y="18"/>
                    </a:lnTo>
                    <a:lnTo>
                      <a:pt x="12" y="6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6" y="6"/>
                    </a:lnTo>
                    <a:lnTo>
                      <a:pt x="36" y="12"/>
                    </a:lnTo>
                    <a:lnTo>
                      <a:pt x="30" y="12"/>
                    </a:lnTo>
                    <a:lnTo>
                      <a:pt x="30" y="18"/>
                    </a:lnTo>
                    <a:lnTo>
                      <a:pt x="30" y="24"/>
                    </a:lnTo>
                    <a:lnTo>
                      <a:pt x="30" y="30"/>
                    </a:lnTo>
                    <a:lnTo>
                      <a:pt x="24" y="30"/>
                    </a:lnTo>
                    <a:lnTo>
                      <a:pt x="24" y="36"/>
                    </a:lnTo>
                    <a:lnTo>
                      <a:pt x="18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18" name="Freeform 188"/>
              <p:cNvSpPr>
                <a:spLocks/>
              </p:cNvSpPr>
              <p:nvPr/>
            </p:nvSpPr>
            <p:spPr bwMode="auto">
              <a:xfrm>
                <a:off x="1314" y="834"/>
                <a:ext cx="36" cy="42"/>
              </a:xfrm>
              <a:custGeom>
                <a:avLst/>
                <a:gdLst>
                  <a:gd name="T0" fmla="*/ 18 w 36"/>
                  <a:gd name="T1" fmla="*/ 42 h 42"/>
                  <a:gd name="T2" fmla="*/ 12 w 36"/>
                  <a:gd name="T3" fmla="*/ 42 h 42"/>
                  <a:gd name="T4" fmla="*/ 0 w 36"/>
                  <a:gd name="T5" fmla="*/ 36 h 42"/>
                  <a:gd name="T6" fmla="*/ 6 w 36"/>
                  <a:gd name="T7" fmla="*/ 30 h 42"/>
                  <a:gd name="T8" fmla="*/ 6 w 36"/>
                  <a:gd name="T9" fmla="*/ 24 h 42"/>
                  <a:gd name="T10" fmla="*/ 12 w 36"/>
                  <a:gd name="T11" fmla="*/ 18 h 42"/>
                  <a:gd name="T12" fmla="*/ 12 w 36"/>
                  <a:gd name="T13" fmla="*/ 6 h 42"/>
                  <a:gd name="T14" fmla="*/ 18 w 36"/>
                  <a:gd name="T15" fmla="*/ 0 h 42"/>
                  <a:gd name="T16" fmla="*/ 24 w 36"/>
                  <a:gd name="T17" fmla="*/ 0 h 42"/>
                  <a:gd name="T18" fmla="*/ 30 w 36"/>
                  <a:gd name="T19" fmla="*/ 0 h 42"/>
                  <a:gd name="T20" fmla="*/ 36 w 36"/>
                  <a:gd name="T21" fmla="*/ 6 h 42"/>
                  <a:gd name="T22" fmla="*/ 36 w 36"/>
                  <a:gd name="T23" fmla="*/ 12 h 42"/>
                  <a:gd name="T24" fmla="*/ 30 w 36"/>
                  <a:gd name="T25" fmla="*/ 12 h 42"/>
                  <a:gd name="T26" fmla="*/ 30 w 36"/>
                  <a:gd name="T27" fmla="*/ 18 h 42"/>
                  <a:gd name="T28" fmla="*/ 30 w 36"/>
                  <a:gd name="T29" fmla="*/ 24 h 42"/>
                  <a:gd name="T30" fmla="*/ 30 w 36"/>
                  <a:gd name="T31" fmla="*/ 30 h 42"/>
                  <a:gd name="T32" fmla="*/ 24 w 36"/>
                  <a:gd name="T33" fmla="*/ 30 h 42"/>
                  <a:gd name="T34" fmla="*/ 24 w 36"/>
                  <a:gd name="T35" fmla="*/ 36 h 42"/>
                  <a:gd name="T36" fmla="*/ 18 w 36"/>
                  <a:gd name="T37" fmla="*/ 42 h 4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6" h="42">
                    <a:moveTo>
                      <a:pt x="18" y="42"/>
                    </a:moveTo>
                    <a:lnTo>
                      <a:pt x="12" y="42"/>
                    </a:lnTo>
                    <a:lnTo>
                      <a:pt x="0" y="36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12" y="18"/>
                    </a:lnTo>
                    <a:lnTo>
                      <a:pt x="12" y="6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6" y="6"/>
                    </a:lnTo>
                    <a:lnTo>
                      <a:pt x="36" y="12"/>
                    </a:lnTo>
                    <a:lnTo>
                      <a:pt x="30" y="12"/>
                    </a:lnTo>
                    <a:lnTo>
                      <a:pt x="30" y="18"/>
                    </a:lnTo>
                    <a:lnTo>
                      <a:pt x="30" y="24"/>
                    </a:lnTo>
                    <a:lnTo>
                      <a:pt x="30" y="30"/>
                    </a:lnTo>
                    <a:lnTo>
                      <a:pt x="24" y="30"/>
                    </a:lnTo>
                    <a:lnTo>
                      <a:pt x="24" y="36"/>
                    </a:lnTo>
                    <a:lnTo>
                      <a:pt x="18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90" name="Group 189"/>
            <p:cNvGrpSpPr>
              <a:grpSpLocks/>
            </p:cNvGrpSpPr>
            <p:nvPr/>
          </p:nvGrpSpPr>
          <p:grpSpPr bwMode="auto">
            <a:xfrm>
              <a:off x="900400" y="2270292"/>
              <a:ext cx="61504" cy="50570"/>
              <a:chOff x="1308" y="870"/>
              <a:chExt cx="30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1815" name="Freeform 190"/>
              <p:cNvSpPr>
                <a:spLocks/>
              </p:cNvSpPr>
              <p:nvPr/>
            </p:nvSpPr>
            <p:spPr bwMode="auto">
              <a:xfrm>
                <a:off x="1308" y="870"/>
                <a:ext cx="30" cy="30"/>
              </a:xfrm>
              <a:custGeom>
                <a:avLst/>
                <a:gdLst>
                  <a:gd name="T0" fmla="*/ 6 w 30"/>
                  <a:gd name="T1" fmla="*/ 0 h 30"/>
                  <a:gd name="T2" fmla="*/ 18 w 30"/>
                  <a:gd name="T3" fmla="*/ 6 h 30"/>
                  <a:gd name="T4" fmla="*/ 18 w 30"/>
                  <a:gd name="T5" fmla="*/ 6 h 30"/>
                  <a:gd name="T6" fmla="*/ 24 w 30"/>
                  <a:gd name="T7" fmla="*/ 6 h 30"/>
                  <a:gd name="T8" fmla="*/ 24 w 30"/>
                  <a:gd name="T9" fmla="*/ 18 h 30"/>
                  <a:gd name="T10" fmla="*/ 30 w 30"/>
                  <a:gd name="T11" fmla="*/ 18 h 30"/>
                  <a:gd name="T12" fmla="*/ 30 w 30"/>
                  <a:gd name="T13" fmla="*/ 24 h 30"/>
                  <a:gd name="T14" fmla="*/ 24 w 30"/>
                  <a:gd name="T15" fmla="*/ 24 h 30"/>
                  <a:gd name="T16" fmla="*/ 24 w 30"/>
                  <a:gd name="T17" fmla="*/ 30 h 30"/>
                  <a:gd name="T18" fmla="*/ 24 w 30"/>
                  <a:gd name="T19" fmla="*/ 30 h 30"/>
                  <a:gd name="T20" fmla="*/ 18 w 30"/>
                  <a:gd name="T21" fmla="*/ 24 h 30"/>
                  <a:gd name="T22" fmla="*/ 12 w 30"/>
                  <a:gd name="T23" fmla="*/ 24 h 30"/>
                  <a:gd name="T24" fmla="*/ 12 w 30"/>
                  <a:gd name="T25" fmla="*/ 24 h 30"/>
                  <a:gd name="T26" fmla="*/ 12 w 30"/>
                  <a:gd name="T27" fmla="*/ 18 h 30"/>
                  <a:gd name="T28" fmla="*/ 12 w 30"/>
                  <a:gd name="T29" fmla="*/ 12 h 30"/>
                  <a:gd name="T30" fmla="*/ 0 w 30"/>
                  <a:gd name="T31" fmla="*/ 0 h 30"/>
                  <a:gd name="T32" fmla="*/ 6 w 30"/>
                  <a:gd name="T33" fmla="*/ 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0" h="30">
                    <a:moveTo>
                      <a:pt x="6" y="0"/>
                    </a:moveTo>
                    <a:lnTo>
                      <a:pt x="18" y="6"/>
                    </a:lnTo>
                    <a:lnTo>
                      <a:pt x="24" y="6"/>
                    </a:lnTo>
                    <a:lnTo>
                      <a:pt x="24" y="18"/>
                    </a:lnTo>
                    <a:lnTo>
                      <a:pt x="30" y="18"/>
                    </a:lnTo>
                    <a:lnTo>
                      <a:pt x="30" y="24"/>
                    </a:lnTo>
                    <a:lnTo>
                      <a:pt x="24" y="24"/>
                    </a:lnTo>
                    <a:lnTo>
                      <a:pt x="24" y="30"/>
                    </a:lnTo>
                    <a:lnTo>
                      <a:pt x="18" y="24"/>
                    </a:lnTo>
                    <a:lnTo>
                      <a:pt x="12" y="24"/>
                    </a:lnTo>
                    <a:lnTo>
                      <a:pt x="12" y="18"/>
                    </a:lnTo>
                    <a:lnTo>
                      <a:pt x="12" y="12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16" name="Freeform 191"/>
              <p:cNvSpPr>
                <a:spLocks/>
              </p:cNvSpPr>
              <p:nvPr/>
            </p:nvSpPr>
            <p:spPr bwMode="auto">
              <a:xfrm>
                <a:off x="1308" y="870"/>
                <a:ext cx="30" cy="30"/>
              </a:xfrm>
              <a:custGeom>
                <a:avLst/>
                <a:gdLst>
                  <a:gd name="T0" fmla="*/ 6 w 30"/>
                  <a:gd name="T1" fmla="*/ 0 h 30"/>
                  <a:gd name="T2" fmla="*/ 18 w 30"/>
                  <a:gd name="T3" fmla="*/ 6 h 30"/>
                  <a:gd name="T4" fmla="*/ 24 w 30"/>
                  <a:gd name="T5" fmla="*/ 6 h 30"/>
                  <a:gd name="T6" fmla="*/ 24 w 30"/>
                  <a:gd name="T7" fmla="*/ 18 h 30"/>
                  <a:gd name="T8" fmla="*/ 30 w 30"/>
                  <a:gd name="T9" fmla="*/ 18 h 30"/>
                  <a:gd name="T10" fmla="*/ 30 w 30"/>
                  <a:gd name="T11" fmla="*/ 24 h 30"/>
                  <a:gd name="T12" fmla="*/ 24 w 30"/>
                  <a:gd name="T13" fmla="*/ 24 h 30"/>
                  <a:gd name="T14" fmla="*/ 24 w 30"/>
                  <a:gd name="T15" fmla="*/ 30 h 30"/>
                  <a:gd name="T16" fmla="*/ 18 w 30"/>
                  <a:gd name="T17" fmla="*/ 24 h 30"/>
                  <a:gd name="T18" fmla="*/ 12 w 30"/>
                  <a:gd name="T19" fmla="*/ 24 h 30"/>
                  <a:gd name="T20" fmla="*/ 12 w 30"/>
                  <a:gd name="T21" fmla="*/ 18 h 30"/>
                  <a:gd name="T22" fmla="*/ 12 w 30"/>
                  <a:gd name="T23" fmla="*/ 12 h 30"/>
                  <a:gd name="T24" fmla="*/ 0 w 30"/>
                  <a:gd name="T25" fmla="*/ 0 h 30"/>
                  <a:gd name="T26" fmla="*/ 6 w 30"/>
                  <a:gd name="T27" fmla="*/ 0 h 3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0" h="30">
                    <a:moveTo>
                      <a:pt x="6" y="0"/>
                    </a:moveTo>
                    <a:lnTo>
                      <a:pt x="18" y="6"/>
                    </a:lnTo>
                    <a:lnTo>
                      <a:pt x="24" y="6"/>
                    </a:lnTo>
                    <a:lnTo>
                      <a:pt x="24" y="18"/>
                    </a:lnTo>
                    <a:lnTo>
                      <a:pt x="30" y="18"/>
                    </a:lnTo>
                    <a:lnTo>
                      <a:pt x="30" y="24"/>
                    </a:lnTo>
                    <a:lnTo>
                      <a:pt x="24" y="24"/>
                    </a:lnTo>
                    <a:lnTo>
                      <a:pt x="24" y="30"/>
                    </a:lnTo>
                    <a:lnTo>
                      <a:pt x="18" y="24"/>
                    </a:lnTo>
                    <a:lnTo>
                      <a:pt x="12" y="24"/>
                    </a:lnTo>
                    <a:lnTo>
                      <a:pt x="12" y="18"/>
                    </a:lnTo>
                    <a:lnTo>
                      <a:pt x="12" y="12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91" name="Group 192"/>
            <p:cNvGrpSpPr>
              <a:grpSpLocks/>
            </p:cNvGrpSpPr>
            <p:nvPr/>
          </p:nvGrpSpPr>
          <p:grpSpPr bwMode="auto">
            <a:xfrm>
              <a:off x="950372" y="2310749"/>
              <a:ext cx="11532" cy="32365"/>
              <a:chOff x="1332" y="894"/>
              <a:chExt cx="6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1813" name="Freeform 193"/>
              <p:cNvSpPr>
                <a:spLocks/>
              </p:cNvSpPr>
              <p:nvPr/>
            </p:nvSpPr>
            <p:spPr bwMode="auto">
              <a:xfrm>
                <a:off x="1332" y="894"/>
                <a:ext cx="6" cy="18"/>
              </a:xfrm>
              <a:custGeom>
                <a:avLst/>
                <a:gdLst>
                  <a:gd name="T0" fmla="*/ 6 w 6"/>
                  <a:gd name="T1" fmla="*/ 0 h 18"/>
                  <a:gd name="T2" fmla="*/ 0 w 6"/>
                  <a:gd name="T3" fmla="*/ 0 h 18"/>
                  <a:gd name="T4" fmla="*/ 0 w 6"/>
                  <a:gd name="T5" fmla="*/ 0 h 18"/>
                  <a:gd name="T6" fmla="*/ 0 w 6"/>
                  <a:gd name="T7" fmla="*/ 6 h 18"/>
                  <a:gd name="T8" fmla="*/ 0 w 6"/>
                  <a:gd name="T9" fmla="*/ 12 h 18"/>
                  <a:gd name="T10" fmla="*/ 6 w 6"/>
                  <a:gd name="T11" fmla="*/ 18 h 18"/>
                  <a:gd name="T12" fmla="*/ 6 w 6"/>
                  <a:gd name="T13" fmla="*/ 18 h 18"/>
                  <a:gd name="T14" fmla="*/ 6 w 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8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14" name="Freeform 194"/>
              <p:cNvSpPr>
                <a:spLocks/>
              </p:cNvSpPr>
              <p:nvPr/>
            </p:nvSpPr>
            <p:spPr bwMode="auto">
              <a:xfrm>
                <a:off x="1332" y="894"/>
                <a:ext cx="6" cy="18"/>
              </a:xfrm>
              <a:custGeom>
                <a:avLst/>
                <a:gdLst>
                  <a:gd name="T0" fmla="*/ 6 w 6"/>
                  <a:gd name="T1" fmla="*/ 0 h 18"/>
                  <a:gd name="T2" fmla="*/ 0 w 6"/>
                  <a:gd name="T3" fmla="*/ 0 h 18"/>
                  <a:gd name="T4" fmla="*/ 0 w 6"/>
                  <a:gd name="T5" fmla="*/ 6 h 18"/>
                  <a:gd name="T6" fmla="*/ 0 w 6"/>
                  <a:gd name="T7" fmla="*/ 12 h 18"/>
                  <a:gd name="T8" fmla="*/ 6 w 6"/>
                  <a:gd name="T9" fmla="*/ 18 h 18"/>
                  <a:gd name="T10" fmla="*/ 6 w 6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" h="18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92" name="Group 195"/>
            <p:cNvGrpSpPr>
              <a:grpSpLocks/>
            </p:cNvGrpSpPr>
            <p:nvPr/>
          </p:nvGrpSpPr>
          <p:grpSpPr bwMode="auto">
            <a:xfrm>
              <a:off x="633244" y="2146901"/>
              <a:ext cx="109553" cy="113277"/>
              <a:chOff x="1176" y="798"/>
              <a:chExt cx="54" cy="66"/>
            </a:xfrm>
            <a:solidFill>
              <a:srgbClr val="0070C0">
                <a:alpha val="27059"/>
              </a:srgbClr>
            </a:solidFill>
          </p:grpSpPr>
          <p:sp>
            <p:nvSpPr>
              <p:cNvPr id="1811" name="Freeform 196"/>
              <p:cNvSpPr>
                <a:spLocks/>
              </p:cNvSpPr>
              <p:nvPr/>
            </p:nvSpPr>
            <p:spPr bwMode="auto">
              <a:xfrm>
                <a:off x="1176" y="798"/>
                <a:ext cx="54" cy="66"/>
              </a:xfrm>
              <a:custGeom>
                <a:avLst/>
                <a:gdLst>
                  <a:gd name="T0" fmla="*/ 48 w 54"/>
                  <a:gd name="T1" fmla="*/ 24 h 66"/>
                  <a:gd name="T2" fmla="*/ 42 w 54"/>
                  <a:gd name="T3" fmla="*/ 24 h 66"/>
                  <a:gd name="T4" fmla="*/ 36 w 54"/>
                  <a:gd name="T5" fmla="*/ 18 h 66"/>
                  <a:gd name="T6" fmla="*/ 36 w 54"/>
                  <a:gd name="T7" fmla="*/ 18 h 66"/>
                  <a:gd name="T8" fmla="*/ 36 w 54"/>
                  <a:gd name="T9" fmla="*/ 18 h 66"/>
                  <a:gd name="T10" fmla="*/ 30 w 54"/>
                  <a:gd name="T11" fmla="*/ 18 h 66"/>
                  <a:gd name="T12" fmla="*/ 30 w 54"/>
                  <a:gd name="T13" fmla="*/ 12 h 66"/>
                  <a:gd name="T14" fmla="*/ 30 w 54"/>
                  <a:gd name="T15" fmla="*/ 6 h 66"/>
                  <a:gd name="T16" fmla="*/ 36 w 54"/>
                  <a:gd name="T17" fmla="*/ 6 h 66"/>
                  <a:gd name="T18" fmla="*/ 30 w 54"/>
                  <a:gd name="T19" fmla="*/ 0 h 66"/>
                  <a:gd name="T20" fmla="*/ 24 w 54"/>
                  <a:gd name="T21" fmla="*/ 6 h 66"/>
                  <a:gd name="T22" fmla="*/ 24 w 54"/>
                  <a:gd name="T23" fmla="*/ 12 h 66"/>
                  <a:gd name="T24" fmla="*/ 24 w 54"/>
                  <a:gd name="T25" fmla="*/ 12 h 66"/>
                  <a:gd name="T26" fmla="*/ 24 w 54"/>
                  <a:gd name="T27" fmla="*/ 18 h 66"/>
                  <a:gd name="T28" fmla="*/ 18 w 54"/>
                  <a:gd name="T29" fmla="*/ 24 h 66"/>
                  <a:gd name="T30" fmla="*/ 6 w 54"/>
                  <a:gd name="T31" fmla="*/ 18 h 66"/>
                  <a:gd name="T32" fmla="*/ 0 w 54"/>
                  <a:gd name="T33" fmla="*/ 18 h 66"/>
                  <a:gd name="T34" fmla="*/ 0 w 54"/>
                  <a:gd name="T35" fmla="*/ 24 h 66"/>
                  <a:gd name="T36" fmla="*/ 0 w 54"/>
                  <a:gd name="T37" fmla="*/ 30 h 66"/>
                  <a:gd name="T38" fmla="*/ 6 w 54"/>
                  <a:gd name="T39" fmla="*/ 30 h 66"/>
                  <a:gd name="T40" fmla="*/ 12 w 54"/>
                  <a:gd name="T41" fmla="*/ 36 h 66"/>
                  <a:gd name="T42" fmla="*/ 12 w 54"/>
                  <a:gd name="T43" fmla="*/ 42 h 66"/>
                  <a:gd name="T44" fmla="*/ 12 w 54"/>
                  <a:gd name="T45" fmla="*/ 54 h 66"/>
                  <a:gd name="T46" fmla="*/ 12 w 54"/>
                  <a:gd name="T47" fmla="*/ 60 h 66"/>
                  <a:gd name="T48" fmla="*/ 12 w 54"/>
                  <a:gd name="T49" fmla="*/ 60 h 66"/>
                  <a:gd name="T50" fmla="*/ 12 w 54"/>
                  <a:gd name="T51" fmla="*/ 66 h 66"/>
                  <a:gd name="T52" fmla="*/ 18 w 54"/>
                  <a:gd name="T53" fmla="*/ 66 h 66"/>
                  <a:gd name="T54" fmla="*/ 30 w 54"/>
                  <a:gd name="T55" fmla="*/ 60 h 66"/>
                  <a:gd name="T56" fmla="*/ 48 w 54"/>
                  <a:gd name="T57" fmla="*/ 54 h 66"/>
                  <a:gd name="T58" fmla="*/ 54 w 54"/>
                  <a:gd name="T59" fmla="*/ 42 h 66"/>
                  <a:gd name="T60" fmla="*/ 54 w 54"/>
                  <a:gd name="T61" fmla="*/ 42 h 66"/>
                  <a:gd name="T62" fmla="*/ 48 w 54"/>
                  <a:gd name="T63" fmla="*/ 24 h 6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54" h="66">
                    <a:moveTo>
                      <a:pt x="48" y="24"/>
                    </a:moveTo>
                    <a:lnTo>
                      <a:pt x="42" y="24"/>
                    </a:lnTo>
                    <a:lnTo>
                      <a:pt x="36" y="18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24" y="18"/>
                    </a:lnTo>
                    <a:lnTo>
                      <a:pt x="18" y="24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12" y="36"/>
                    </a:lnTo>
                    <a:lnTo>
                      <a:pt x="12" y="42"/>
                    </a:lnTo>
                    <a:lnTo>
                      <a:pt x="12" y="54"/>
                    </a:lnTo>
                    <a:lnTo>
                      <a:pt x="12" y="60"/>
                    </a:lnTo>
                    <a:lnTo>
                      <a:pt x="12" y="66"/>
                    </a:lnTo>
                    <a:lnTo>
                      <a:pt x="18" y="66"/>
                    </a:lnTo>
                    <a:lnTo>
                      <a:pt x="30" y="60"/>
                    </a:lnTo>
                    <a:lnTo>
                      <a:pt x="48" y="54"/>
                    </a:lnTo>
                    <a:lnTo>
                      <a:pt x="54" y="42"/>
                    </a:lnTo>
                    <a:lnTo>
                      <a:pt x="4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12" name="Freeform 197"/>
              <p:cNvSpPr>
                <a:spLocks/>
              </p:cNvSpPr>
              <p:nvPr/>
            </p:nvSpPr>
            <p:spPr bwMode="auto">
              <a:xfrm>
                <a:off x="1176" y="798"/>
                <a:ext cx="54" cy="66"/>
              </a:xfrm>
              <a:custGeom>
                <a:avLst/>
                <a:gdLst>
                  <a:gd name="T0" fmla="*/ 48 w 54"/>
                  <a:gd name="T1" fmla="*/ 24 h 66"/>
                  <a:gd name="T2" fmla="*/ 42 w 54"/>
                  <a:gd name="T3" fmla="*/ 24 h 66"/>
                  <a:gd name="T4" fmla="*/ 36 w 54"/>
                  <a:gd name="T5" fmla="*/ 18 h 66"/>
                  <a:gd name="T6" fmla="*/ 30 w 54"/>
                  <a:gd name="T7" fmla="*/ 18 h 66"/>
                  <a:gd name="T8" fmla="*/ 30 w 54"/>
                  <a:gd name="T9" fmla="*/ 12 h 66"/>
                  <a:gd name="T10" fmla="*/ 30 w 54"/>
                  <a:gd name="T11" fmla="*/ 6 h 66"/>
                  <a:gd name="T12" fmla="*/ 36 w 54"/>
                  <a:gd name="T13" fmla="*/ 6 h 66"/>
                  <a:gd name="T14" fmla="*/ 30 w 54"/>
                  <a:gd name="T15" fmla="*/ 0 h 66"/>
                  <a:gd name="T16" fmla="*/ 24 w 54"/>
                  <a:gd name="T17" fmla="*/ 6 h 66"/>
                  <a:gd name="T18" fmla="*/ 24 w 54"/>
                  <a:gd name="T19" fmla="*/ 12 h 66"/>
                  <a:gd name="T20" fmla="*/ 24 w 54"/>
                  <a:gd name="T21" fmla="*/ 18 h 66"/>
                  <a:gd name="T22" fmla="*/ 18 w 54"/>
                  <a:gd name="T23" fmla="*/ 24 h 66"/>
                  <a:gd name="T24" fmla="*/ 6 w 54"/>
                  <a:gd name="T25" fmla="*/ 18 h 66"/>
                  <a:gd name="T26" fmla="*/ 0 w 54"/>
                  <a:gd name="T27" fmla="*/ 18 h 66"/>
                  <a:gd name="T28" fmla="*/ 0 w 54"/>
                  <a:gd name="T29" fmla="*/ 24 h 66"/>
                  <a:gd name="T30" fmla="*/ 0 w 54"/>
                  <a:gd name="T31" fmla="*/ 30 h 66"/>
                  <a:gd name="T32" fmla="*/ 6 w 54"/>
                  <a:gd name="T33" fmla="*/ 30 h 66"/>
                  <a:gd name="T34" fmla="*/ 12 w 54"/>
                  <a:gd name="T35" fmla="*/ 36 h 66"/>
                  <a:gd name="T36" fmla="*/ 12 w 54"/>
                  <a:gd name="T37" fmla="*/ 42 h 66"/>
                  <a:gd name="T38" fmla="*/ 12 w 54"/>
                  <a:gd name="T39" fmla="*/ 54 h 66"/>
                  <a:gd name="T40" fmla="*/ 12 w 54"/>
                  <a:gd name="T41" fmla="*/ 60 h 66"/>
                  <a:gd name="T42" fmla="*/ 12 w 54"/>
                  <a:gd name="T43" fmla="*/ 66 h 66"/>
                  <a:gd name="T44" fmla="*/ 18 w 54"/>
                  <a:gd name="T45" fmla="*/ 66 h 66"/>
                  <a:gd name="T46" fmla="*/ 30 w 54"/>
                  <a:gd name="T47" fmla="*/ 60 h 66"/>
                  <a:gd name="T48" fmla="*/ 48 w 54"/>
                  <a:gd name="T49" fmla="*/ 54 h 66"/>
                  <a:gd name="T50" fmla="*/ 54 w 54"/>
                  <a:gd name="T51" fmla="*/ 42 h 66"/>
                  <a:gd name="T52" fmla="*/ 48 w 54"/>
                  <a:gd name="T53" fmla="*/ 24 h 6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54" h="66">
                    <a:moveTo>
                      <a:pt x="48" y="24"/>
                    </a:moveTo>
                    <a:lnTo>
                      <a:pt x="42" y="24"/>
                    </a:lnTo>
                    <a:lnTo>
                      <a:pt x="36" y="18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24" y="18"/>
                    </a:lnTo>
                    <a:lnTo>
                      <a:pt x="18" y="24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12" y="36"/>
                    </a:lnTo>
                    <a:lnTo>
                      <a:pt x="12" y="42"/>
                    </a:lnTo>
                    <a:lnTo>
                      <a:pt x="12" y="54"/>
                    </a:lnTo>
                    <a:lnTo>
                      <a:pt x="12" y="60"/>
                    </a:lnTo>
                    <a:lnTo>
                      <a:pt x="12" y="66"/>
                    </a:lnTo>
                    <a:lnTo>
                      <a:pt x="18" y="66"/>
                    </a:lnTo>
                    <a:lnTo>
                      <a:pt x="30" y="60"/>
                    </a:lnTo>
                    <a:lnTo>
                      <a:pt x="48" y="54"/>
                    </a:lnTo>
                    <a:lnTo>
                      <a:pt x="54" y="42"/>
                    </a:lnTo>
                    <a:lnTo>
                      <a:pt x="4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93" name="Group 198"/>
            <p:cNvGrpSpPr>
              <a:grpSpLocks/>
            </p:cNvGrpSpPr>
            <p:nvPr/>
          </p:nvGrpSpPr>
          <p:grpSpPr bwMode="auto">
            <a:xfrm>
              <a:off x="694748" y="2041715"/>
              <a:ext cx="194121" cy="258920"/>
              <a:chOff x="1206" y="738"/>
              <a:chExt cx="96" cy="150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1805" name="Group 199"/>
              <p:cNvGrpSpPr>
                <a:grpSpLocks/>
              </p:cNvGrpSpPr>
              <p:nvPr/>
            </p:nvGrpSpPr>
            <p:grpSpPr bwMode="auto">
              <a:xfrm>
                <a:off x="1218" y="738"/>
                <a:ext cx="84" cy="150"/>
                <a:chOff x="1218" y="738"/>
                <a:chExt cx="84" cy="150"/>
              </a:xfrm>
              <a:grpFill/>
            </p:grpSpPr>
            <p:sp>
              <p:nvSpPr>
                <p:cNvPr id="1809" name="Freeform 200"/>
                <p:cNvSpPr>
                  <a:spLocks/>
                </p:cNvSpPr>
                <p:nvPr/>
              </p:nvSpPr>
              <p:spPr bwMode="auto">
                <a:xfrm>
                  <a:off x="1218" y="738"/>
                  <a:ext cx="84" cy="150"/>
                </a:xfrm>
                <a:custGeom>
                  <a:avLst/>
                  <a:gdLst>
                    <a:gd name="T0" fmla="*/ 30 w 84"/>
                    <a:gd name="T1" fmla="*/ 0 h 150"/>
                    <a:gd name="T2" fmla="*/ 24 w 84"/>
                    <a:gd name="T3" fmla="*/ 0 h 150"/>
                    <a:gd name="T4" fmla="*/ 12 w 84"/>
                    <a:gd name="T5" fmla="*/ 18 h 150"/>
                    <a:gd name="T6" fmla="*/ 12 w 84"/>
                    <a:gd name="T7" fmla="*/ 24 h 150"/>
                    <a:gd name="T8" fmla="*/ 6 w 84"/>
                    <a:gd name="T9" fmla="*/ 36 h 150"/>
                    <a:gd name="T10" fmla="*/ 12 w 84"/>
                    <a:gd name="T11" fmla="*/ 42 h 150"/>
                    <a:gd name="T12" fmla="*/ 12 w 84"/>
                    <a:gd name="T13" fmla="*/ 54 h 150"/>
                    <a:gd name="T14" fmla="*/ 18 w 84"/>
                    <a:gd name="T15" fmla="*/ 60 h 150"/>
                    <a:gd name="T16" fmla="*/ 18 w 84"/>
                    <a:gd name="T17" fmla="*/ 66 h 150"/>
                    <a:gd name="T18" fmla="*/ 18 w 84"/>
                    <a:gd name="T19" fmla="*/ 78 h 150"/>
                    <a:gd name="T20" fmla="*/ 36 w 84"/>
                    <a:gd name="T21" fmla="*/ 72 h 150"/>
                    <a:gd name="T22" fmla="*/ 30 w 84"/>
                    <a:gd name="T23" fmla="*/ 84 h 150"/>
                    <a:gd name="T24" fmla="*/ 36 w 84"/>
                    <a:gd name="T25" fmla="*/ 96 h 150"/>
                    <a:gd name="T26" fmla="*/ 18 w 84"/>
                    <a:gd name="T27" fmla="*/ 108 h 150"/>
                    <a:gd name="T28" fmla="*/ 18 w 84"/>
                    <a:gd name="T29" fmla="*/ 114 h 150"/>
                    <a:gd name="T30" fmla="*/ 18 w 84"/>
                    <a:gd name="T31" fmla="*/ 120 h 150"/>
                    <a:gd name="T32" fmla="*/ 30 w 84"/>
                    <a:gd name="T33" fmla="*/ 126 h 150"/>
                    <a:gd name="T34" fmla="*/ 42 w 84"/>
                    <a:gd name="T35" fmla="*/ 120 h 150"/>
                    <a:gd name="T36" fmla="*/ 36 w 84"/>
                    <a:gd name="T37" fmla="*/ 126 h 150"/>
                    <a:gd name="T38" fmla="*/ 0 w 84"/>
                    <a:gd name="T39" fmla="*/ 150 h 150"/>
                    <a:gd name="T40" fmla="*/ 24 w 84"/>
                    <a:gd name="T41" fmla="*/ 144 h 150"/>
                    <a:gd name="T42" fmla="*/ 48 w 84"/>
                    <a:gd name="T43" fmla="*/ 144 h 150"/>
                    <a:gd name="T44" fmla="*/ 84 w 84"/>
                    <a:gd name="T45" fmla="*/ 132 h 150"/>
                    <a:gd name="T46" fmla="*/ 78 w 84"/>
                    <a:gd name="T47" fmla="*/ 120 h 150"/>
                    <a:gd name="T48" fmla="*/ 78 w 84"/>
                    <a:gd name="T49" fmla="*/ 114 h 150"/>
                    <a:gd name="T50" fmla="*/ 72 w 84"/>
                    <a:gd name="T51" fmla="*/ 102 h 150"/>
                    <a:gd name="T52" fmla="*/ 66 w 84"/>
                    <a:gd name="T53" fmla="*/ 90 h 150"/>
                    <a:gd name="T54" fmla="*/ 60 w 84"/>
                    <a:gd name="T55" fmla="*/ 78 h 150"/>
                    <a:gd name="T56" fmla="*/ 48 w 84"/>
                    <a:gd name="T57" fmla="*/ 66 h 150"/>
                    <a:gd name="T58" fmla="*/ 42 w 84"/>
                    <a:gd name="T59" fmla="*/ 54 h 150"/>
                    <a:gd name="T60" fmla="*/ 42 w 84"/>
                    <a:gd name="T61" fmla="*/ 36 h 150"/>
                    <a:gd name="T62" fmla="*/ 42 w 84"/>
                    <a:gd name="T63" fmla="*/ 30 h 150"/>
                    <a:gd name="T64" fmla="*/ 30 w 84"/>
                    <a:gd name="T65" fmla="*/ 24 h 150"/>
                    <a:gd name="T66" fmla="*/ 30 w 84"/>
                    <a:gd name="T67" fmla="*/ 18 h 150"/>
                    <a:gd name="T68" fmla="*/ 36 w 84"/>
                    <a:gd name="T69" fmla="*/ 6 h 150"/>
                    <a:gd name="T70" fmla="*/ 30 w 84"/>
                    <a:gd name="T71" fmla="*/ 0 h 15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0" t="0" r="r" b="b"/>
                  <a:pathLst>
                    <a:path w="84" h="150">
                      <a:moveTo>
                        <a:pt x="30" y="0"/>
                      </a:moveTo>
                      <a:lnTo>
                        <a:pt x="30" y="0"/>
                      </a:lnTo>
                      <a:lnTo>
                        <a:pt x="24" y="0"/>
                      </a:lnTo>
                      <a:lnTo>
                        <a:pt x="12" y="12"/>
                      </a:lnTo>
                      <a:lnTo>
                        <a:pt x="12" y="18"/>
                      </a:lnTo>
                      <a:lnTo>
                        <a:pt x="18" y="18"/>
                      </a:lnTo>
                      <a:lnTo>
                        <a:pt x="12" y="24"/>
                      </a:lnTo>
                      <a:lnTo>
                        <a:pt x="6" y="30"/>
                      </a:lnTo>
                      <a:lnTo>
                        <a:pt x="6" y="36"/>
                      </a:lnTo>
                      <a:lnTo>
                        <a:pt x="6" y="42"/>
                      </a:lnTo>
                      <a:lnTo>
                        <a:pt x="12" y="42"/>
                      </a:lnTo>
                      <a:lnTo>
                        <a:pt x="12" y="48"/>
                      </a:lnTo>
                      <a:lnTo>
                        <a:pt x="12" y="54"/>
                      </a:lnTo>
                      <a:lnTo>
                        <a:pt x="18" y="54"/>
                      </a:lnTo>
                      <a:lnTo>
                        <a:pt x="18" y="60"/>
                      </a:lnTo>
                      <a:lnTo>
                        <a:pt x="24" y="60"/>
                      </a:lnTo>
                      <a:lnTo>
                        <a:pt x="18" y="66"/>
                      </a:lnTo>
                      <a:lnTo>
                        <a:pt x="18" y="72"/>
                      </a:lnTo>
                      <a:lnTo>
                        <a:pt x="18" y="78"/>
                      </a:lnTo>
                      <a:lnTo>
                        <a:pt x="30" y="72"/>
                      </a:lnTo>
                      <a:lnTo>
                        <a:pt x="36" y="72"/>
                      </a:lnTo>
                      <a:lnTo>
                        <a:pt x="30" y="78"/>
                      </a:lnTo>
                      <a:lnTo>
                        <a:pt x="30" y="84"/>
                      </a:lnTo>
                      <a:lnTo>
                        <a:pt x="36" y="90"/>
                      </a:lnTo>
                      <a:lnTo>
                        <a:pt x="36" y="96"/>
                      </a:lnTo>
                      <a:lnTo>
                        <a:pt x="18" y="96"/>
                      </a:lnTo>
                      <a:lnTo>
                        <a:pt x="18" y="108"/>
                      </a:lnTo>
                      <a:lnTo>
                        <a:pt x="24" y="108"/>
                      </a:lnTo>
                      <a:lnTo>
                        <a:pt x="18" y="114"/>
                      </a:lnTo>
                      <a:lnTo>
                        <a:pt x="18" y="120"/>
                      </a:lnTo>
                      <a:lnTo>
                        <a:pt x="30" y="126"/>
                      </a:lnTo>
                      <a:lnTo>
                        <a:pt x="36" y="120"/>
                      </a:lnTo>
                      <a:lnTo>
                        <a:pt x="42" y="120"/>
                      </a:lnTo>
                      <a:lnTo>
                        <a:pt x="36" y="126"/>
                      </a:lnTo>
                      <a:lnTo>
                        <a:pt x="18" y="132"/>
                      </a:lnTo>
                      <a:lnTo>
                        <a:pt x="0" y="150"/>
                      </a:lnTo>
                      <a:lnTo>
                        <a:pt x="12" y="150"/>
                      </a:lnTo>
                      <a:lnTo>
                        <a:pt x="24" y="144"/>
                      </a:lnTo>
                      <a:lnTo>
                        <a:pt x="30" y="144"/>
                      </a:lnTo>
                      <a:lnTo>
                        <a:pt x="48" y="144"/>
                      </a:lnTo>
                      <a:lnTo>
                        <a:pt x="66" y="138"/>
                      </a:lnTo>
                      <a:lnTo>
                        <a:pt x="84" y="132"/>
                      </a:lnTo>
                      <a:lnTo>
                        <a:pt x="78" y="126"/>
                      </a:lnTo>
                      <a:lnTo>
                        <a:pt x="78" y="120"/>
                      </a:lnTo>
                      <a:lnTo>
                        <a:pt x="78" y="114"/>
                      </a:lnTo>
                      <a:lnTo>
                        <a:pt x="78" y="108"/>
                      </a:lnTo>
                      <a:lnTo>
                        <a:pt x="72" y="102"/>
                      </a:lnTo>
                      <a:lnTo>
                        <a:pt x="66" y="102"/>
                      </a:lnTo>
                      <a:lnTo>
                        <a:pt x="66" y="90"/>
                      </a:lnTo>
                      <a:lnTo>
                        <a:pt x="60" y="84"/>
                      </a:lnTo>
                      <a:lnTo>
                        <a:pt x="60" y="78"/>
                      </a:lnTo>
                      <a:lnTo>
                        <a:pt x="54" y="78"/>
                      </a:lnTo>
                      <a:lnTo>
                        <a:pt x="48" y="66"/>
                      </a:lnTo>
                      <a:lnTo>
                        <a:pt x="48" y="54"/>
                      </a:lnTo>
                      <a:lnTo>
                        <a:pt x="42" y="54"/>
                      </a:lnTo>
                      <a:lnTo>
                        <a:pt x="36" y="48"/>
                      </a:lnTo>
                      <a:lnTo>
                        <a:pt x="42" y="36"/>
                      </a:lnTo>
                      <a:lnTo>
                        <a:pt x="42" y="30"/>
                      </a:lnTo>
                      <a:lnTo>
                        <a:pt x="36" y="24"/>
                      </a:lnTo>
                      <a:lnTo>
                        <a:pt x="30" y="24"/>
                      </a:lnTo>
                      <a:lnTo>
                        <a:pt x="30" y="18"/>
                      </a:lnTo>
                      <a:lnTo>
                        <a:pt x="30" y="12"/>
                      </a:lnTo>
                      <a:lnTo>
                        <a:pt x="36" y="6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810" name="Freeform 201"/>
                <p:cNvSpPr>
                  <a:spLocks/>
                </p:cNvSpPr>
                <p:nvPr/>
              </p:nvSpPr>
              <p:spPr bwMode="auto">
                <a:xfrm>
                  <a:off x="1218" y="738"/>
                  <a:ext cx="84" cy="150"/>
                </a:xfrm>
                <a:custGeom>
                  <a:avLst/>
                  <a:gdLst>
                    <a:gd name="T0" fmla="*/ 30 w 84"/>
                    <a:gd name="T1" fmla="*/ 0 h 150"/>
                    <a:gd name="T2" fmla="*/ 24 w 84"/>
                    <a:gd name="T3" fmla="*/ 0 h 150"/>
                    <a:gd name="T4" fmla="*/ 12 w 84"/>
                    <a:gd name="T5" fmla="*/ 12 h 150"/>
                    <a:gd name="T6" fmla="*/ 12 w 84"/>
                    <a:gd name="T7" fmla="*/ 18 h 150"/>
                    <a:gd name="T8" fmla="*/ 18 w 84"/>
                    <a:gd name="T9" fmla="*/ 18 h 150"/>
                    <a:gd name="T10" fmla="*/ 12 w 84"/>
                    <a:gd name="T11" fmla="*/ 24 h 150"/>
                    <a:gd name="T12" fmla="*/ 6 w 84"/>
                    <a:gd name="T13" fmla="*/ 30 h 150"/>
                    <a:gd name="T14" fmla="*/ 6 w 84"/>
                    <a:gd name="T15" fmla="*/ 36 h 150"/>
                    <a:gd name="T16" fmla="*/ 6 w 84"/>
                    <a:gd name="T17" fmla="*/ 42 h 150"/>
                    <a:gd name="T18" fmla="*/ 12 w 84"/>
                    <a:gd name="T19" fmla="*/ 42 h 150"/>
                    <a:gd name="T20" fmla="*/ 12 w 84"/>
                    <a:gd name="T21" fmla="*/ 48 h 150"/>
                    <a:gd name="T22" fmla="*/ 12 w 84"/>
                    <a:gd name="T23" fmla="*/ 54 h 150"/>
                    <a:gd name="T24" fmla="*/ 18 w 84"/>
                    <a:gd name="T25" fmla="*/ 54 h 150"/>
                    <a:gd name="T26" fmla="*/ 18 w 84"/>
                    <a:gd name="T27" fmla="*/ 60 h 150"/>
                    <a:gd name="T28" fmla="*/ 24 w 84"/>
                    <a:gd name="T29" fmla="*/ 60 h 150"/>
                    <a:gd name="T30" fmla="*/ 18 w 84"/>
                    <a:gd name="T31" fmla="*/ 66 h 150"/>
                    <a:gd name="T32" fmla="*/ 18 w 84"/>
                    <a:gd name="T33" fmla="*/ 72 h 150"/>
                    <a:gd name="T34" fmla="*/ 18 w 84"/>
                    <a:gd name="T35" fmla="*/ 78 h 150"/>
                    <a:gd name="T36" fmla="*/ 30 w 84"/>
                    <a:gd name="T37" fmla="*/ 72 h 150"/>
                    <a:gd name="T38" fmla="*/ 36 w 84"/>
                    <a:gd name="T39" fmla="*/ 72 h 150"/>
                    <a:gd name="T40" fmla="*/ 30 w 84"/>
                    <a:gd name="T41" fmla="*/ 78 h 150"/>
                    <a:gd name="T42" fmla="*/ 30 w 84"/>
                    <a:gd name="T43" fmla="*/ 84 h 150"/>
                    <a:gd name="T44" fmla="*/ 36 w 84"/>
                    <a:gd name="T45" fmla="*/ 90 h 150"/>
                    <a:gd name="T46" fmla="*/ 36 w 84"/>
                    <a:gd name="T47" fmla="*/ 96 h 150"/>
                    <a:gd name="T48" fmla="*/ 18 w 84"/>
                    <a:gd name="T49" fmla="*/ 96 h 150"/>
                    <a:gd name="T50" fmla="*/ 18 w 84"/>
                    <a:gd name="T51" fmla="*/ 108 h 150"/>
                    <a:gd name="T52" fmla="*/ 24 w 84"/>
                    <a:gd name="T53" fmla="*/ 108 h 150"/>
                    <a:gd name="T54" fmla="*/ 18 w 84"/>
                    <a:gd name="T55" fmla="*/ 114 h 150"/>
                    <a:gd name="T56" fmla="*/ 18 w 84"/>
                    <a:gd name="T57" fmla="*/ 120 h 150"/>
                    <a:gd name="T58" fmla="*/ 30 w 84"/>
                    <a:gd name="T59" fmla="*/ 126 h 150"/>
                    <a:gd name="T60" fmla="*/ 36 w 84"/>
                    <a:gd name="T61" fmla="*/ 120 h 150"/>
                    <a:gd name="T62" fmla="*/ 42 w 84"/>
                    <a:gd name="T63" fmla="*/ 120 h 150"/>
                    <a:gd name="T64" fmla="*/ 36 w 84"/>
                    <a:gd name="T65" fmla="*/ 126 h 150"/>
                    <a:gd name="T66" fmla="*/ 18 w 84"/>
                    <a:gd name="T67" fmla="*/ 132 h 150"/>
                    <a:gd name="T68" fmla="*/ 0 w 84"/>
                    <a:gd name="T69" fmla="*/ 150 h 150"/>
                    <a:gd name="T70" fmla="*/ 12 w 84"/>
                    <a:gd name="T71" fmla="*/ 150 h 150"/>
                    <a:gd name="T72" fmla="*/ 24 w 84"/>
                    <a:gd name="T73" fmla="*/ 144 h 150"/>
                    <a:gd name="T74" fmla="*/ 30 w 84"/>
                    <a:gd name="T75" fmla="*/ 144 h 150"/>
                    <a:gd name="T76" fmla="*/ 48 w 84"/>
                    <a:gd name="T77" fmla="*/ 144 h 150"/>
                    <a:gd name="T78" fmla="*/ 66 w 84"/>
                    <a:gd name="T79" fmla="*/ 138 h 150"/>
                    <a:gd name="T80" fmla="*/ 84 w 84"/>
                    <a:gd name="T81" fmla="*/ 132 h 150"/>
                    <a:gd name="T82" fmla="*/ 78 w 84"/>
                    <a:gd name="T83" fmla="*/ 126 h 150"/>
                    <a:gd name="T84" fmla="*/ 78 w 84"/>
                    <a:gd name="T85" fmla="*/ 120 h 150"/>
                    <a:gd name="T86" fmla="*/ 78 w 84"/>
                    <a:gd name="T87" fmla="*/ 114 h 150"/>
                    <a:gd name="T88" fmla="*/ 78 w 84"/>
                    <a:gd name="T89" fmla="*/ 108 h 150"/>
                    <a:gd name="T90" fmla="*/ 72 w 84"/>
                    <a:gd name="T91" fmla="*/ 102 h 150"/>
                    <a:gd name="T92" fmla="*/ 66 w 84"/>
                    <a:gd name="T93" fmla="*/ 102 h 150"/>
                    <a:gd name="T94" fmla="*/ 66 w 84"/>
                    <a:gd name="T95" fmla="*/ 90 h 150"/>
                    <a:gd name="T96" fmla="*/ 60 w 84"/>
                    <a:gd name="T97" fmla="*/ 84 h 150"/>
                    <a:gd name="T98" fmla="*/ 60 w 84"/>
                    <a:gd name="T99" fmla="*/ 78 h 150"/>
                    <a:gd name="T100" fmla="*/ 54 w 84"/>
                    <a:gd name="T101" fmla="*/ 78 h 150"/>
                    <a:gd name="T102" fmla="*/ 48 w 84"/>
                    <a:gd name="T103" fmla="*/ 66 h 150"/>
                    <a:gd name="T104" fmla="*/ 48 w 84"/>
                    <a:gd name="T105" fmla="*/ 54 h 150"/>
                    <a:gd name="T106" fmla="*/ 42 w 84"/>
                    <a:gd name="T107" fmla="*/ 54 h 150"/>
                    <a:gd name="T108" fmla="*/ 36 w 84"/>
                    <a:gd name="T109" fmla="*/ 48 h 150"/>
                    <a:gd name="T110" fmla="*/ 42 w 84"/>
                    <a:gd name="T111" fmla="*/ 36 h 150"/>
                    <a:gd name="T112" fmla="*/ 42 w 84"/>
                    <a:gd name="T113" fmla="*/ 30 h 150"/>
                    <a:gd name="T114" fmla="*/ 36 w 84"/>
                    <a:gd name="T115" fmla="*/ 24 h 150"/>
                    <a:gd name="T116" fmla="*/ 30 w 84"/>
                    <a:gd name="T117" fmla="*/ 24 h 150"/>
                    <a:gd name="T118" fmla="*/ 30 w 84"/>
                    <a:gd name="T119" fmla="*/ 18 h 150"/>
                    <a:gd name="T120" fmla="*/ 30 w 84"/>
                    <a:gd name="T121" fmla="*/ 12 h 150"/>
                    <a:gd name="T122" fmla="*/ 36 w 84"/>
                    <a:gd name="T123" fmla="*/ 6 h 150"/>
                    <a:gd name="T124" fmla="*/ 30 w 84"/>
                    <a:gd name="T125" fmla="*/ 0 h 150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0" t="0" r="r" b="b"/>
                  <a:pathLst>
                    <a:path w="84" h="150">
                      <a:moveTo>
                        <a:pt x="30" y="0"/>
                      </a:moveTo>
                      <a:lnTo>
                        <a:pt x="24" y="0"/>
                      </a:lnTo>
                      <a:lnTo>
                        <a:pt x="12" y="12"/>
                      </a:lnTo>
                      <a:lnTo>
                        <a:pt x="12" y="18"/>
                      </a:lnTo>
                      <a:lnTo>
                        <a:pt x="18" y="18"/>
                      </a:lnTo>
                      <a:lnTo>
                        <a:pt x="12" y="24"/>
                      </a:lnTo>
                      <a:lnTo>
                        <a:pt x="6" y="30"/>
                      </a:lnTo>
                      <a:lnTo>
                        <a:pt x="6" y="36"/>
                      </a:lnTo>
                      <a:lnTo>
                        <a:pt x="6" y="42"/>
                      </a:lnTo>
                      <a:lnTo>
                        <a:pt x="12" y="42"/>
                      </a:lnTo>
                      <a:lnTo>
                        <a:pt x="12" y="48"/>
                      </a:lnTo>
                      <a:lnTo>
                        <a:pt x="12" y="54"/>
                      </a:lnTo>
                      <a:lnTo>
                        <a:pt x="18" y="54"/>
                      </a:lnTo>
                      <a:lnTo>
                        <a:pt x="18" y="60"/>
                      </a:lnTo>
                      <a:lnTo>
                        <a:pt x="24" y="60"/>
                      </a:lnTo>
                      <a:lnTo>
                        <a:pt x="18" y="66"/>
                      </a:lnTo>
                      <a:lnTo>
                        <a:pt x="18" y="72"/>
                      </a:lnTo>
                      <a:lnTo>
                        <a:pt x="18" y="78"/>
                      </a:lnTo>
                      <a:lnTo>
                        <a:pt x="30" y="72"/>
                      </a:lnTo>
                      <a:lnTo>
                        <a:pt x="36" y="72"/>
                      </a:lnTo>
                      <a:lnTo>
                        <a:pt x="30" y="78"/>
                      </a:lnTo>
                      <a:lnTo>
                        <a:pt x="30" y="84"/>
                      </a:lnTo>
                      <a:lnTo>
                        <a:pt x="36" y="90"/>
                      </a:lnTo>
                      <a:lnTo>
                        <a:pt x="36" y="96"/>
                      </a:lnTo>
                      <a:lnTo>
                        <a:pt x="18" y="96"/>
                      </a:lnTo>
                      <a:lnTo>
                        <a:pt x="18" y="108"/>
                      </a:lnTo>
                      <a:lnTo>
                        <a:pt x="24" y="108"/>
                      </a:lnTo>
                      <a:lnTo>
                        <a:pt x="18" y="114"/>
                      </a:lnTo>
                      <a:lnTo>
                        <a:pt x="18" y="120"/>
                      </a:lnTo>
                      <a:lnTo>
                        <a:pt x="30" y="126"/>
                      </a:lnTo>
                      <a:lnTo>
                        <a:pt x="36" y="120"/>
                      </a:lnTo>
                      <a:lnTo>
                        <a:pt x="42" y="120"/>
                      </a:lnTo>
                      <a:lnTo>
                        <a:pt x="36" y="126"/>
                      </a:lnTo>
                      <a:lnTo>
                        <a:pt x="18" y="132"/>
                      </a:lnTo>
                      <a:lnTo>
                        <a:pt x="0" y="150"/>
                      </a:lnTo>
                      <a:lnTo>
                        <a:pt x="12" y="150"/>
                      </a:lnTo>
                      <a:lnTo>
                        <a:pt x="24" y="144"/>
                      </a:lnTo>
                      <a:lnTo>
                        <a:pt x="30" y="144"/>
                      </a:lnTo>
                      <a:lnTo>
                        <a:pt x="48" y="144"/>
                      </a:lnTo>
                      <a:lnTo>
                        <a:pt x="66" y="138"/>
                      </a:lnTo>
                      <a:lnTo>
                        <a:pt x="84" y="132"/>
                      </a:lnTo>
                      <a:lnTo>
                        <a:pt x="78" y="126"/>
                      </a:lnTo>
                      <a:lnTo>
                        <a:pt x="78" y="120"/>
                      </a:lnTo>
                      <a:lnTo>
                        <a:pt x="78" y="114"/>
                      </a:lnTo>
                      <a:lnTo>
                        <a:pt x="78" y="108"/>
                      </a:lnTo>
                      <a:lnTo>
                        <a:pt x="72" y="102"/>
                      </a:lnTo>
                      <a:lnTo>
                        <a:pt x="66" y="102"/>
                      </a:lnTo>
                      <a:lnTo>
                        <a:pt x="66" y="90"/>
                      </a:lnTo>
                      <a:lnTo>
                        <a:pt x="60" y="84"/>
                      </a:lnTo>
                      <a:lnTo>
                        <a:pt x="60" y="78"/>
                      </a:lnTo>
                      <a:lnTo>
                        <a:pt x="54" y="78"/>
                      </a:lnTo>
                      <a:lnTo>
                        <a:pt x="48" y="66"/>
                      </a:lnTo>
                      <a:lnTo>
                        <a:pt x="48" y="54"/>
                      </a:lnTo>
                      <a:lnTo>
                        <a:pt x="42" y="54"/>
                      </a:lnTo>
                      <a:lnTo>
                        <a:pt x="36" y="48"/>
                      </a:lnTo>
                      <a:lnTo>
                        <a:pt x="42" y="36"/>
                      </a:lnTo>
                      <a:lnTo>
                        <a:pt x="42" y="30"/>
                      </a:lnTo>
                      <a:lnTo>
                        <a:pt x="36" y="24"/>
                      </a:lnTo>
                      <a:lnTo>
                        <a:pt x="30" y="24"/>
                      </a:lnTo>
                      <a:lnTo>
                        <a:pt x="30" y="18"/>
                      </a:lnTo>
                      <a:lnTo>
                        <a:pt x="30" y="12"/>
                      </a:lnTo>
                      <a:lnTo>
                        <a:pt x="36" y="6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806" name="Group 202"/>
              <p:cNvGrpSpPr>
                <a:grpSpLocks/>
              </p:cNvGrpSpPr>
              <p:nvPr/>
            </p:nvGrpSpPr>
            <p:grpSpPr bwMode="auto">
              <a:xfrm>
                <a:off x="1206" y="798"/>
                <a:ext cx="24" cy="24"/>
                <a:chOff x="1206" y="798"/>
                <a:chExt cx="24" cy="24"/>
              </a:xfrm>
              <a:grpFill/>
            </p:grpSpPr>
            <p:sp>
              <p:nvSpPr>
                <p:cNvPr id="1807" name="Freeform 203"/>
                <p:cNvSpPr>
                  <a:spLocks/>
                </p:cNvSpPr>
                <p:nvPr/>
              </p:nvSpPr>
              <p:spPr bwMode="auto">
                <a:xfrm>
                  <a:off x="1206" y="798"/>
                  <a:ext cx="24" cy="24"/>
                </a:xfrm>
                <a:custGeom>
                  <a:avLst/>
                  <a:gdLst>
                    <a:gd name="T0" fmla="*/ 12 w 24"/>
                    <a:gd name="T1" fmla="*/ 0 h 24"/>
                    <a:gd name="T2" fmla="*/ 18 w 24"/>
                    <a:gd name="T3" fmla="*/ 0 h 24"/>
                    <a:gd name="T4" fmla="*/ 18 w 24"/>
                    <a:gd name="T5" fmla="*/ 6 h 24"/>
                    <a:gd name="T6" fmla="*/ 24 w 24"/>
                    <a:gd name="T7" fmla="*/ 6 h 24"/>
                    <a:gd name="T8" fmla="*/ 24 w 24"/>
                    <a:gd name="T9" fmla="*/ 12 h 24"/>
                    <a:gd name="T10" fmla="*/ 24 w 24"/>
                    <a:gd name="T11" fmla="*/ 18 h 24"/>
                    <a:gd name="T12" fmla="*/ 24 w 24"/>
                    <a:gd name="T13" fmla="*/ 24 h 24"/>
                    <a:gd name="T14" fmla="*/ 18 w 24"/>
                    <a:gd name="T15" fmla="*/ 24 h 24"/>
                    <a:gd name="T16" fmla="*/ 12 w 24"/>
                    <a:gd name="T17" fmla="*/ 24 h 24"/>
                    <a:gd name="T18" fmla="*/ 12 w 24"/>
                    <a:gd name="T19" fmla="*/ 24 h 24"/>
                    <a:gd name="T20" fmla="*/ 6 w 24"/>
                    <a:gd name="T21" fmla="*/ 18 h 24"/>
                    <a:gd name="T22" fmla="*/ 6 w 24"/>
                    <a:gd name="T23" fmla="*/ 18 h 24"/>
                    <a:gd name="T24" fmla="*/ 6 w 24"/>
                    <a:gd name="T25" fmla="*/ 18 h 24"/>
                    <a:gd name="T26" fmla="*/ 0 w 24"/>
                    <a:gd name="T27" fmla="*/ 18 h 24"/>
                    <a:gd name="T28" fmla="*/ 0 w 24"/>
                    <a:gd name="T29" fmla="*/ 12 h 24"/>
                    <a:gd name="T30" fmla="*/ 0 w 24"/>
                    <a:gd name="T31" fmla="*/ 6 h 24"/>
                    <a:gd name="T32" fmla="*/ 12 w 24"/>
                    <a:gd name="T33" fmla="*/ 0 h 2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24" h="24">
                      <a:moveTo>
                        <a:pt x="12" y="0"/>
                      </a:moveTo>
                      <a:lnTo>
                        <a:pt x="18" y="0"/>
                      </a:lnTo>
                      <a:lnTo>
                        <a:pt x="18" y="6"/>
                      </a:lnTo>
                      <a:lnTo>
                        <a:pt x="24" y="6"/>
                      </a:lnTo>
                      <a:lnTo>
                        <a:pt x="24" y="12"/>
                      </a:lnTo>
                      <a:lnTo>
                        <a:pt x="24" y="18"/>
                      </a:lnTo>
                      <a:lnTo>
                        <a:pt x="24" y="24"/>
                      </a:lnTo>
                      <a:lnTo>
                        <a:pt x="18" y="24"/>
                      </a:lnTo>
                      <a:lnTo>
                        <a:pt x="12" y="24"/>
                      </a:lnTo>
                      <a:lnTo>
                        <a:pt x="6" y="18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808" name="Freeform 204"/>
                <p:cNvSpPr>
                  <a:spLocks/>
                </p:cNvSpPr>
                <p:nvPr/>
              </p:nvSpPr>
              <p:spPr bwMode="auto">
                <a:xfrm>
                  <a:off x="1206" y="798"/>
                  <a:ext cx="24" cy="24"/>
                </a:xfrm>
                <a:custGeom>
                  <a:avLst/>
                  <a:gdLst>
                    <a:gd name="T0" fmla="*/ 12 w 24"/>
                    <a:gd name="T1" fmla="*/ 0 h 24"/>
                    <a:gd name="T2" fmla="*/ 18 w 24"/>
                    <a:gd name="T3" fmla="*/ 0 h 24"/>
                    <a:gd name="T4" fmla="*/ 18 w 24"/>
                    <a:gd name="T5" fmla="*/ 6 h 24"/>
                    <a:gd name="T6" fmla="*/ 24 w 24"/>
                    <a:gd name="T7" fmla="*/ 6 h 24"/>
                    <a:gd name="T8" fmla="*/ 24 w 24"/>
                    <a:gd name="T9" fmla="*/ 12 h 24"/>
                    <a:gd name="T10" fmla="*/ 24 w 24"/>
                    <a:gd name="T11" fmla="*/ 18 h 24"/>
                    <a:gd name="T12" fmla="*/ 24 w 24"/>
                    <a:gd name="T13" fmla="*/ 24 h 24"/>
                    <a:gd name="T14" fmla="*/ 18 w 24"/>
                    <a:gd name="T15" fmla="*/ 24 h 24"/>
                    <a:gd name="T16" fmla="*/ 12 w 24"/>
                    <a:gd name="T17" fmla="*/ 24 h 24"/>
                    <a:gd name="T18" fmla="*/ 6 w 24"/>
                    <a:gd name="T19" fmla="*/ 18 h 24"/>
                    <a:gd name="T20" fmla="*/ 0 w 24"/>
                    <a:gd name="T21" fmla="*/ 18 h 24"/>
                    <a:gd name="T22" fmla="*/ 0 w 24"/>
                    <a:gd name="T23" fmla="*/ 12 h 24"/>
                    <a:gd name="T24" fmla="*/ 0 w 24"/>
                    <a:gd name="T25" fmla="*/ 6 h 24"/>
                    <a:gd name="T26" fmla="*/ 12 w 24"/>
                    <a:gd name="T27" fmla="*/ 0 h 2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24" h="24">
                      <a:moveTo>
                        <a:pt x="12" y="0"/>
                      </a:moveTo>
                      <a:lnTo>
                        <a:pt x="18" y="0"/>
                      </a:lnTo>
                      <a:lnTo>
                        <a:pt x="18" y="6"/>
                      </a:lnTo>
                      <a:lnTo>
                        <a:pt x="24" y="6"/>
                      </a:lnTo>
                      <a:lnTo>
                        <a:pt x="24" y="12"/>
                      </a:lnTo>
                      <a:lnTo>
                        <a:pt x="24" y="18"/>
                      </a:lnTo>
                      <a:lnTo>
                        <a:pt x="24" y="24"/>
                      </a:lnTo>
                      <a:lnTo>
                        <a:pt x="18" y="24"/>
                      </a:lnTo>
                      <a:lnTo>
                        <a:pt x="12" y="24"/>
                      </a:lnTo>
                      <a:lnTo>
                        <a:pt x="6" y="18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594" name="Group 205"/>
            <p:cNvGrpSpPr>
              <a:grpSpLocks/>
            </p:cNvGrpSpPr>
            <p:nvPr/>
          </p:nvGrpSpPr>
          <p:grpSpPr bwMode="auto">
            <a:xfrm>
              <a:off x="998421" y="2084194"/>
              <a:ext cx="61504" cy="82935"/>
              <a:chOff x="1356" y="762"/>
              <a:chExt cx="30" cy="48"/>
            </a:xfrm>
            <a:solidFill>
              <a:srgbClr val="0070C0">
                <a:alpha val="27059"/>
              </a:srgbClr>
            </a:solidFill>
          </p:grpSpPr>
          <p:sp>
            <p:nvSpPr>
              <p:cNvPr id="1803" name="Freeform 206"/>
              <p:cNvSpPr>
                <a:spLocks/>
              </p:cNvSpPr>
              <p:nvPr/>
            </p:nvSpPr>
            <p:spPr bwMode="auto">
              <a:xfrm>
                <a:off x="1356" y="762"/>
                <a:ext cx="30" cy="48"/>
              </a:xfrm>
              <a:custGeom>
                <a:avLst/>
                <a:gdLst>
                  <a:gd name="T0" fmla="*/ 24 w 30"/>
                  <a:gd name="T1" fmla="*/ 42 h 48"/>
                  <a:gd name="T2" fmla="*/ 24 w 30"/>
                  <a:gd name="T3" fmla="*/ 36 h 48"/>
                  <a:gd name="T4" fmla="*/ 24 w 30"/>
                  <a:gd name="T5" fmla="*/ 30 h 48"/>
                  <a:gd name="T6" fmla="*/ 24 w 30"/>
                  <a:gd name="T7" fmla="*/ 24 h 48"/>
                  <a:gd name="T8" fmla="*/ 30 w 30"/>
                  <a:gd name="T9" fmla="*/ 24 h 48"/>
                  <a:gd name="T10" fmla="*/ 30 w 30"/>
                  <a:gd name="T11" fmla="*/ 18 h 48"/>
                  <a:gd name="T12" fmla="*/ 30 w 30"/>
                  <a:gd name="T13" fmla="*/ 18 h 48"/>
                  <a:gd name="T14" fmla="*/ 24 w 30"/>
                  <a:gd name="T15" fmla="*/ 12 h 48"/>
                  <a:gd name="T16" fmla="*/ 24 w 30"/>
                  <a:gd name="T17" fmla="*/ 0 h 48"/>
                  <a:gd name="T18" fmla="*/ 18 w 30"/>
                  <a:gd name="T19" fmla="*/ 0 h 48"/>
                  <a:gd name="T20" fmla="*/ 6 w 30"/>
                  <a:gd name="T21" fmla="*/ 12 h 48"/>
                  <a:gd name="T22" fmla="*/ 0 w 30"/>
                  <a:gd name="T23" fmla="*/ 18 h 48"/>
                  <a:gd name="T24" fmla="*/ 0 w 30"/>
                  <a:gd name="T25" fmla="*/ 24 h 48"/>
                  <a:gd name="T26" fmla="*/ 0 w 30"/>
                  <a:gd name="T27" fmla="*/ 36 h 48"/>
                  <a:gd name="T28" fmla="*/ 6 w 30"/>
                  <a:gd name="T29" fmla="*/ 42 h 48"/>
                  <a:gd name="T30" fmla="*/ 6 w 30"/>
                  <a:gd name="T31" fmla="*/ 48 h 48"/>
                  <a:gd name="T32" fmla="*/ 24 w 30"/>
                  <a:gd name="T33" fmla="*/ 42 h 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0" h="48">
                    <a:moveTo>
                      <a:pt x="24" y="42"/>
                    </a:moveTo>
                    <a:lnTo>
                      <a:pt x="24" y="36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24" y="12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2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04" name="Freeform 207"/>
              <p:cNvSpPr>
                <a:spLocks/>
              </p:cNvSpPr>
              <p:nvPr/>
            </p:nvSpPr>
            <p:spPr bwMode="auto">
              <a:xfrm>
                <a:off x="1356" y="762"/>
                <a:ext cx="30" cy="48"/>
              </a:xfrm>
              <a:custGeom>
                <a:avLst/>
                <a:gdLst>
                  <a:gd name="T0" fmla="*/ 24 w 30"/>
                  <a:gd name="T1" fmla="*/ 42 h 48"/>
                  <a:gd name="T2" fmla="*/ 24 w 30"/>
                  <a:gd name="T3" fmla="*/ 36 h 48"/>
                  <a:gd name="T4" fmla="*/ 24 w 30"/>
                  <a:gd name="T5" fmla="*/ 30 h 48"/>
                  <a:gd name="T6" fmla="*/ 24 w 30"/>
                  <a:gd name="T7" fmla="*/ 24 h 48"/>
                  <a:gd name="T8" fmla="*/ 30 w 30"/>
                  <a:gd name="T9" fmla="*/ 24 h 48"/>
                  <a:gd name="T10" fmla="*/ 30 w 30"/>
                  <a:gd name="T11" fmla="*/ 18 h 48"/>
                  <a:gd name="T12" fmla="*/ 24 w 30"/>
                  <a:gd name="T13" fmla="*/ 12 h 48"/>
                  <a:gd name="T14" fmla="*/ 24 w 30"/>
                  <a:gd name="T15" fmla="*/ 0 h 48"/>
                  <a:gd name="T16" fmla="*/ 18 w 30"/>
                  <a:gd name="T17" fmla="*/ 0 h 48"/>
                  <a:gd name="T18" fmla="*/ 6 w 30"/>
                  <a:gd name="T19" fmla="*/ 12 h 48"/>
                  <a:gd name="T20" fmla="*/ 0 w 30"/>
                  <a:gd name="T21" fmla="*/ 18 h 48"/>
                  <a:gd name="T22" fmla="*/ 0 w 30"/>
                  <a:gd name="T23" fmla="*/ 24 h 48"/>
                  <a:gd name="T24" fmla="*/ 0 w 30"/>
                  <a:gd name="T25" fmla="*/ 36 h 48"/>
                  <a:gd name="T26" fmla="*/ 6 w 30"/>
                  <a:gd name="T27" fmla="*/ 42 h 48"/>
                  <a:gd name="T28" fmla="*/ 6 w 30"/>
                  <a:gd name="T29" fmla="*/ 48 h 48"/>
                  <a:gd name="T30" fmla="*/ 24 w 30"/>
                  <a:gd name="T31" fmla="*/ 42 h 4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0" h="48">
                    <a:moveTo>
                      <a:pt x="24" y="42"/>
                    </a:moveTo>
                    <a:lnTo>
                      <a:pt x="24" y="36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24" y="12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2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95" name="Group 208"/>
            <p:cNvGrpSpPr>
              <a:grpSpLocks/>
            </p:cNvGrpSpPr>
            <p:nvPr/>
          </p:nvGrpSpPr>
          <p:grpSpPr bwMode="auto">
            <a:xfrm>
              <a:off x="1071457" y="1651313"/>
              <a:ext cx="255624" cy="495588"/>
              <a:chOff x="1392" y="510"/>
              <a:chExt cx="126" cy="288"/>
            </a:xfrm>
            <a:solidFill>
              <a:srgbClr val="0070C0">
                <a:alpha val="27059"/>
              </a:srgbClr>
            </a:solidFill>
          </p:grpSpPr>
          <p:sp>
            <p:nvSpPr>
              <p:cNvPr id="1801" name="Freeform 209"/>
              <p:cNvSpPr>
                <a:spLocks/>
              </p:cNvSpPr>
              <p:nvPr/>
            </p:nvSpPr>
            <p:spPr bwMode="auto">
              <a:xfrm>
                <a:off x="1392" y="510"/>
                <a:ext cx="126" cy="288"/>
              </a:xfrm>
              <a:custGeom>
                <a:avLst/>
                <a:gdLst>
                  <a:gd name="T0" fmla="*/ 6 w 126"/>
                  <a:gd name="T1" fmla="*/ 222 h 288"/>
                  <a:gd name="T2" fmla="*/ 0 w 126"/>
                  <a:gd name="T3" fmla="*/ 258 h 288"/>
                  <a:gd name="T4" fmla="*/ 18 w 126"/>
                  <a:gd name="T5" fmla="*/ 288 h 288"/>
                  <a:gd name="T6" fmla="*/ 30 w 126"/>
                  <a:gd name="T7" fmla="*/ 288 h 288"/>
                  <a:gd name="T8" fmla="*/ 36 w 126"/>
                  <a:gd name="T9" fmla="*/ 276 h 288"/>
                  <a:gd name="T10" fmla="*/ 48 w 126"/>
                  <a:gd name="T11" fmla="*/ 258 h 288"/>
                  <a:gd name="T12" fmla="*/ 54 w 126"/>
                  <a:gd name="T13" fmla="*/ 240 h 288"/>
                  <a:gd name="T14" fmla="*/ 72 w 126"/>
                  <a:gd name="T15" fmla="*/ 216 h 288"/>
                  <a:gd name="T16" fmla="*/ 72 w 126"/>
                  <a:gd name="T17" fmla="*/ 204 h 288"/>
                  <a:gd name="T18" fmla="*/ 66 w 126"/>
                  <a:gd name="T19" fmla="*/ 198 h 288"/>
                  <a:gd name="T20" fmla="*/ 60 w 126"/>
                  <a:gd name="T21" fmla="*/ 168 h 288"/>
                  <a:gd name="T22" fmla="*/ 60 w 126"/>
                  <a:gd name="T23" fmla="*/ 174 h 288"/>
                  <a:gd name="T24" fmla="*/ 66 w 126"/>
                  <a:gd name="T25" fmla="*/ 156 h 288"/>
                  <a:gd name="T26" fmla="*/ 78 w 126"/>
                  <a:gd name="T27" fmla="*/ 138 h 288"/>
                  <a:gd name="T28" fmla="*/ 90 w 126"/>
                  <a:gd name="T29" fmla="*/ 126 h 288"/>
                  <a:gd name="T30" fmla="*/ 96 w 126"/>
                  <a:gd name="T31" fmla="*/ 114 h 288"/>
                  <a:gd name="T32" fmla="*/ 102 w 126"/>
                  <a:gd name="T33" fmla="*/ 96 h 288"/>
                  <a:gd name="T34" fmla="*/ 114 w 126"/>
                  <a:gd name="T35" fmla="*/ 90 h 288"/>
                  <a:gd name="T36" fmla="*/ 126 w 126"/>
                  <a:gd name="T37" fmla="*/ 90 h 288"/>
                  <a:gd name="T38" fmla="*/ 120 w 126"/>
                  <a:gd name="T39" fmla="*/ 72 h 288"/>
                  <a:gd name="T40" fmla="*/ 120 w 126"/>
                  <a:gd name="T41" fmla="*/ 54 h 288"/>
                  <a:gd name="T42" fmla="*/ 120 w 126"/>
                  <a:gd name="T43" fmla="*/ 42 h 288"/>
                  <a:gd name="T44" fmla="*/ 108 w 126"/>
                  <a:gd name="T45" fmla="*/ 30 h 288"/>
                  <a:gd name="T46" fmla="*/ 102 w 126"/>
                  <a:gd name="T47" fmla="*/ 18 h 288"/>
                  <a:gd name="T48" fmla="*/ 90 w 126"/>
                  <a:gd name="T49" fmla="*/ 0 h 288"/>
                  <a:gd name="T50" fmla="*/ 72 w 126"/>
                  <a:gd name="T51" fmla="*/ 18 h 288"/>
                  <a:gd name="T52" fmla="*/ 66 w 126"/>
                  <a:gd name="T53" fmla="*/ 30 h 288"/>
                  <a:gd name="T54" fmla="*/ 60 w 126"/>
                  <a:gd name="T55" fmla="*/ 42 h 288"/>
                  <a:gd name="T56" fmla="*/ 48 w 126"/>
                  <a:gd name="T57" fmla="*/ 66 h 288"/>
                  <a:gd name="T58" fmla="*/ 36 w 126"/>
                  <a:gd name="T59" fmla="*/ 90 h 288"/>
                  <a:gd name="T60" fmla="*/ 30 w 126"/>
                  <a:gd name="T61" fmla="*/ 120 h 288"/>
                  <a:gd name="T62" fmla="*/ 12 w 126"/>
                  <a:gd name="T63" fmla="*/ 138 h 288"/>
                  <a:gd name="T64" fmla="*/ 12 w 126"/>
                  <a:gd name="T65" fmla="*/ 192 h 288"/>
                  <a:gd name="T66" fmla="*/ 12 w 126"/>
                  <a:gd name="T67" fmla="*/ 204 h 28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26" h="288">
                    <a:moveTo>
                      <a:pt x="0" y="210"/>
                    </a:moveTo>
                    <a:lnTo>
                      <a:pt x="6" y="222"/>
                    </a:lnTo>
                    <a:lnTo>
                      <a:pt x="0" y="240"/>
                    </a:lnTo>
                    <a:lnTo>
                      <a:pt x="0" y="258"/>
                    </a:lnTo>
                    <a:lnTo>
                      <a:pt x="12" y="276"/>
                    </a:lnTo>
                    <a:lnTo>
                      <a:pt x="18" y="288"/>
                    </a:lnTo>
                    <a:lnTo>
                      <a:pt x="24" y="288"/>
                    </a:lnTo>
                    <a:lnTo>
                      <a:pt x="30" y="288"/>
                    </a:lnTo>
                    <a:lnTo>
                      <a:pt x="30" y="282"/>
                    </a:lnTo>
                    <a:lnTo>
                      <a:pt x="36" y="276"/>
                    </a:lnTo>
                    <a:lnTo>
                      <a:pt x="42" y="276"/>
                    </a:lnTo>
                    <a:lnTo>
                      <a:pt x="48" y="258"/>
                    </a:lnTo>
                    <a:lnTo>
                      <a:pt x="54" y="246"/>
                    </a:lnTo>
                    <a:lnTo>
                      <a:pt x="54" y="240"/>
                    </a:lnTo>
                    <a:lnTo>
                      <a:pt x="66" y="222"/>
                    </a:lnTo>
                    <a:lnTo>
                      <a:pt x="72" y="216"/>
                    </a:lnTo>
                    <a:lnTo>
                      <a:pt x="72" y="210"/>
                    </a:lnTo>
                    <a:lnTo>
                      <a:pt x="72" y="204"/>
                    </a:lnTo>
                    <a:lnTo>
                      <a:pt x="72" y="198"/>
                    </a:lnTo>
                    <a:lnTo>
                      <a:pt x="66" y="198"/>
                    </a:lnTo>
                    <a:lnTo>
                      <a:pt x="60" y="198"/>
                    </a:lnTo>
                    <a:lnTo>
                      <a:pt x="60" y="168"/>
                    </a:lnTo>
                    <a:lnTo>
                      <a:pt x="60" y="174"/>
                    </a:lnTo>
                    <a:lnTo>
                      <a:pt x="60" y="168"/>
                    </a:lnTo>
                    <a:lnTo>
                      <a:pt x="66" y="156"/>
                    </a:lnTo>
                    <a:lnTo>
                      <a:pt x="72" y="150"/>
                    </a:lnTo>
                    <a:lnTo>
                      <a:pt x="78" y="138"/>
                    </a:lnTo>
                    <a:lnTo>
                      <a:pt x="84" y="132"/>
                    </a:lnTo>
                    <a:lnTo>
                      <a:pt x="90" y="126"/>
                    </a:lnTo>
                    <a:lnTo>
                      <a:pt x="96" y="120"/>
                    </a:lnTo>
                    <a:lnTo>
                      <a:pt x="96" y="114"/>
                    </a:lnTo>
                    <a:lnTo>
                      <a:pt x="96" y="102"/>
                    </a:lnTo>
                    <a:lnTo>
                      <a:pt x="102" y="96"/>
                    </a:lnTo>
                    <a:lnTo>
                      <a:pt x="108" y="90"/>
                    </a:lnTo>
                    <a:lnTo>
                      <a:pt x="114" y="90"/>
                    </a:lnTo>
                    <a:lnTo>
                      <a:pt x="120" y="84"/>
                    </a:lnTo>
                    <a:lnTo>
                      <a:pt x="126" y="90"/>
                    </a:lnTo>
                    <a:lnTo>
                      <a:pt x="126" y="84"/>
                    </a:lnTo>
                    <a:lnTo>
                      <a:pt x="120" y="72"/>
                    </a:lnTo>
                    <a:lnTo>
                      <a:pt x="114" y="60"/>
                    </a:lnTo>
                    <a:lnTo>
                      <a:pt x="120" y="54"/>
                    </a:lnTo>
                    <a:lnTo>
                      <a:pt x="120" y="48"/>
                    </a:lnTo>
                    <a:lnTo>
                      <a:pt x="120" y="42"/>
                    </a:lnTo>
                    <a:lnTo>
                      <a:pt x="114" y="36"/>
                    </a:lnTo>
                    <a:lnTo>
                      <a:pt x="108" y="30"/>
                    </a:lnTo>
                    <a:lnTo>
                      <a:pt x="108" y="24"/>
                    </a:lnTo>
                    <a:lnTo>
                      <a:pt x="102" y="18"/>
                    </a:lnTo>
                    <a:lnTo>
                      <a:pt x="96" y="12"/>
                    </a:lnTo>
                    <a:lnTo>
                      <a:pt x="90" y="0"/>
                    </a:lnTo>
                    <a:lnTo>
                      <a:pt x="84" y="6"/>
                    </a:lnTo>
                    <a:lnTo>
                      <a:pt x="72" y="18"/>
                    </a:lnTo>
                    <a:lnTo>
                      <a:pt x="66" y="24"/>
                    </a:lnTo>
                    <a:lnTo>
                      <a:pt x="66" y="30"/>
                    </a:lnTo>
                    <a:lnTo>
                      <a:pt x="60" y="36"/>
                    </a:lnTo>
                    <a:lnTo>
                      <a:pt x="60" y="42"/>
                    </a:lnTo>
                    <a:lnTo>
                      <a:pt x="54" y="60"/>
                    </a:lnTo>
                    <a:lnTo>
                      <a:pt x="48" y="66"/>
                    </a:lnTo>
                    <a:lnTo>
                      <a:pt x="42" y="78"/>
                    </a:lnTo>
                    <a:lnTo>
                      <a:pt x="36" y="90"/>
                    </a:lnTo>
                    <a:lnTo>
                      <a:pt x="30" y="102"/>
                    </a:lnTo>
                    <a:lnTo>
                      <a:pt x="30" y="120"/>
                    </a:lnTo>
                    <a:lnTo>
                      <a:pt x="12" y="132"/>
                    </a:lnTo>
                    <a:lnTo>
                      <a:pt x="12" y="138"/>
                    </a:lnTo>
                    <a:lnTo>
                      <a:pt x="12" y="174"/>
                    </a:lnTo>
                    <a:lnTo>
                      <a:pt x="12" y="192"/>
                    </a:lnTo>
                    <a:lnTo>
                      <a:pt x="12" y="204"/>
                    </a:lnTo>
                    <a:lnTo>
                      <a:pt x="0" y="2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02" name="Freeform 210"/>
              <p:cNvSpPr>
                <a:spLocks/>
              </p:cNvSpPr>
              <p:nvPr/>
            </p:nvSpPr>
            <p:spPr bwMode="auto">
              <a:xfrm>
                <a:off x="1392" y="510"/>
                <a:ext cx="126" cy="288"/>
              </a:xfrm>
              <a:custGeom>
                <a:avLst/>
                <a:gdLst>
                  <a:gd name="T0" fmla="*/ 6 w 126"/>
                  <a:gd name="T1" fmla="*/ 222 h 288"/>
                  <a:gd name="T2" fmla="*/ 0 w 126"/>
                  <a:gd name="T3" fmla="*/ 258 h 288"/>
                  <a:gd name="T4" fmla="*/ 18 w 126"/>
                  <a:gd name="T5" fmla="*/ 288 h 288"/>
                  <a:gd name="T6" fmla="*/ 30 w 126"/>
                  <a:gd name="T7" fmla="*/ 288 h 288"/>
                  <a:gd name="T8" fmla="*/ 36 w 126"/>
                  <a:gd name="T9" fmla="*/ 276 h 288"/>
                  <a:gd name="T10" fmla="*/ 48 w 126"/>
                  <a:gd name="T11" fmla="*/ 258 h 288"/>
                  <a:gd name="T12" fmla="*/ 54 w 126"/>
                  <a:gd name="T13" fmla="*/ 240 h 288"/>
                  <a:gd name="T14" fmla="*/ 72 w 126"/>
                  <a:gd name="T15" fmla="*/ 216 h 288"/>
                  <a:gd name="T16" fmla="*/ 72 w 126"/>
                  <a:gd name="T17" fmla="*/ 204 h 288"/>
                  <a:gd name="T18" fmla="*/ 66 w 126"/>
                  <a:gd name="T19" fmla="*/ 198 h 288"/>
                  <a:gd name="T20" fmla="*/ 60 w 126"/>
                  <a:gd name="T21" fmla="*/ 168 h 288"/>
                  <a:gd name="T22" fmla="*/ 60 w 126"/>
                  <a:gd name="T23" fmla="*/ 168 h 288"/>
                  <a:gd name="T24" fmla="*/ 72 w 126"/>
                  <a:gd name="T25" fmla="*/ 150 h 288"/>
                  <a:gd name="T26" fmla="*/ 84 w 126"/>
                  <a:gd name="T27" fmla="*/ 132 h 288"/>
                  <a:gd name="T28" fmla="*/ 96 w 126"/>
                  <a:gd name="T29" fmla="*/ 120 h 288"/>
                  <a:gd name="T30" fmla="*/ 96 w 126"/>
                  <a:gd name="T31" fmla="*/ 102 h 288"/>
                  <a:gd name="T32" fmla="*/ 108 w 126"/>
                  <a:gd name="T33" fmla="*/ 90 h 288"/>
                  <a:gd name="T34" fmla="*/ 120 w 126"/>
                  <a:gd name="T35" fmla="*/ 84 h 288"/>
                  <a:gd name="T36" fmla="*/ 126 w 126"/>
                  <a:gd name="T37" fmla="*/ 84 h 288"/>
                  <a:gd name="T38" fmla="*/ 114 w 126"/>
                  <a:gd name="T39" fmla="*/ 60 h 288"/>
                  <a:gd name="T40" fmla="*/ 120 w 126"/>
                  <a:gd name="T41" fmla="*/ 48 h 288"/>
                  <a:gd name="T42" fmla="*/ 114 w 126"/>
                  <a:gd name="T43" fmla="*/ 36 h 288"/>
                  <a:gd name="T44" fmla="*/ 108 w 126"/>
                  <a:gd name="T45" fmla="*/ 24 h 288"/>
                  <a:gd name="T46" fmla="*/ 96 w 126"/>
                  <a:gd name="T47" fmla="*/ 12 h 288"/>
                  <a:gd name="T48" fmla="*/ 84 w 126"/>
                  <a:gd name="T49" fmla="*/ 6 h 288"/>
                  <a:gd name="T50" fmla="*/ 66 w 126"/>
                  <a:gd name="T51" fmla="*/ 24 h 288"/>
                  <a:gd name="T52" fmla="*/ 60 w 126"/>
                  <a:gd name="T53" fmla="*/ 36 h 288"/>
                  <a:gd name="T54" fmla="*/ 54 w 126"/>
                  <a:gd name="T55" fmla="*/ 60 h 288"/>
                  <a:gd name="T56" fmla="*/ 42 w 126"/>
                  <a:gd name="T57" fmla="*/ 78 h 288"/>
                  <a:gd name="T58" fmla="*/ 30 w 126"/>
                  <a:gd name="T59" fmla="*/ 102 h 288"/>
                  <a:gd name="T60" fmla="*/ 12 w 126"/>
                  <a:gd name="T61" fmla="*/ 132 h 288"/>
                  <a:gd name="T62" fmla="*/ 12 w 126"/>
                  <a:gd name="T63" fmla="*/ 174 h 288"/>
                  <a:gd name="T64" fmla="*/ 12 w 126"/>
                  <a:gd name="T65" fmla="*/ 204 h 2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26" h="288">
                    <a:moveTo>
                      <a:pt x="0" y="210"/>
                    </a:moveTo>
                    <a:lnTo>
                      <a:pt x="6" y="222"/>
                    </a:lnTo>
                    <a:lnTo>
                      <a:pt x="0" y="240"/>
                    </a:lnTo>
                    <a:lnTo>
                      <a:pt x="0" y="258"/>
                    </a:lnTo>
                    <a:lnTo>
                      <a:pt x="12" y="276"/>
                    </a:lnTo>
                    <a:lnTo>
                      <a:pt x="18" y="288"/>
                    </a:lnTo>
                    <a:lnTo>
                      <a:pt x="24" y="288"/>
                    </a:lnTo>
                    <a:lnTo>
                      <a:pt x="30" y="288"/>
                    </a:lnTo>
                    <a:lnTo>
                      <a:pt x="30" y="282"/>
                    </a:lnTo>
                    <a:lnTo>
                      <a:pt x="36" y="276"/>
                    </a:lnTo>
                    <a:lnTo>
                      <a:pt x="42" y="276"/>
                    </a:lnTo>
                    <a:lnTo>
                      <a:pt x="48" y="258"/>
                    </a:lnTo>
                    <a:lnTo>
                      <a:pt x="54" y="246"/>
                    </a:lnTo>
                    <a:lnTo>
                      <a:pt x="54" y="240"/>
                    </a:lnTo>
                    <a:lnTo>
                      <a:pt x="66" y="222"/>
                    </a:lnTo>
                    <a:lnTo>
                      <a:pt x="72" y="216"/>
                    </a:lnTo>
                    <a:lnTo>
                      <a:pt x="72" y="210"/>
                    </a:lnTo>
                    <a:lnTo>
                      <a:pt x="72" y="204"/>
                    </a:lnTo>
                    <a:lnTo>
                      <a:pt x="72" y="198"/>
                    </a:lnTo>
                    <a:lnTo>
                      <a:pt x="66" y="198"/>
                    </a:lnTo>
                    <a:lnTo>
                      <a:pt x="60" y="198"/>
                    </a:lnTo>
                    <a:lnTo>
                      <a:pt x="60" y="168"/>
                    </a:lnTo>
                    <a:lnTo>
                      <a:pt x="60" y="174"/>
                    </a:lnTo>
                    <a:lnTo>
                      <a:pt x="60" y="168"/>
                    </a:lnTo>
                    <a:lnTo>
                      <a:pt x="66" y="156"/>
                    </a:lnTo>
                    <a:lnTo>
                      <a:pt x="72" y="150"/>
                    </a:lnTo>
                    <a:lnTo>
                      <a:pt x="78" y="138"/>
                    </a:lnTo>
                    <a:lnTo>
                      <a:pt x="84" y="132"/>
                    </a:lnTo>
                    <a:lnTo>
                      <a:pt x="90" y="126"/>
                    </a:lnTo>
                    <a:lnTo>
                      <a:pt x="96" y="120"/>
                    </a:lnTo>
                    <a:lnTo>
                      <a:pt x="96" y="114"/>
                    </a:lnTo>
                    <a:lnTo>
                      <a:pt x="96" y="102"/>
                    </a:lnTo>
                    <a:lnTo>
                      <a:pt x="102" y="96"/>
                    </a:lnTo>
                    <a:lnTo>
                      <a:pt x="108" y="90"/>
                    </a:lnTo>
                    <a:lnTo>
                      <a:pt x="114" y="90"/>
                    </a:lnTo>
                    <a:lnTo>
                      <a:pt x="120" y="84"/>
                    </a:lnTo>
                    <a:lnTo>
                      <a:pt x="126" y="90"/>
                    </a:lnTo>
                    <a:lnTo>
                      <a:pt x="126" y="84"/>
                    </a:lnTo>
                    <a:lnTo>
                      <a:pt x="120" y="72"/>
                    </a:lnTo>
                    <a:lnTo>
                      <a:pt x="114" y="60"/>
                    </a:lnTo>
                    <a:lnTo>
                      <a:pt x="120" y="54"/>
                    </a:lnTo>
                    <a:lnTo>
                      <a:pt x="120" y="48"/>
                    </a:lnTo>
                    <a:lnTo>
                      <a:pt x="120" y="42"/>
                    </a:lnTo>
                    <a:lnTo>
                      <a:pt x="114" y="36"/>
                    </a:lnTo>
                    <a:lnTo>
                      <a:pt x="108" y="30"/>
                    </a:lnTo>
                    <a:lnTo>
                      <a:pt x="108" y="24"/>
                    </a:lnTo>
                    <a:lnTo>
                      <a:pt x="102" y="18"/>
                    </a:lnTo>
                    <a:lnTo>
                      <a:pt x="96" y="12"/>
                    </a:lnTo>
                    <a:lnTo>
                      <a:pt x="90" y="0"/>
                    </a:lnTo>
                    <a:lnTo>
                      <a:pt x="84" y="6"/>
                    </a:lnTo>
                    <a:lnTo>
                      <a:pt x="72" y="18"/>
                    </a:lnTo>
                    <a:lnTo>
                      <a:pt x="66" y="24"/>
                    </a:lnTo>
                    <a:lnTo>
                      <a:pt x="66" y="30"/>
                    </a:lnTo>
                    <a:lnTo>
                      <a:pt x="60" y="36"/>
                    </a:lnTo>
                    <a:lnTo>
                      <a:pt x="60" y="42"/>
                    </a:lnTo>
                    <a:lnTo>
                      <a:pt x="54" y="60"/>
                    </a:lnTo>
                    <a:lnTo>
                      <a:pt x="48" y="66"/>
                    </a:lnTo>
                    <a:lnTo>
                      <a:pt x="42" y="78"/>
                    </a:lnTo>
                    <a:lnTo>
                      <a:pt x="36" y="90"/>
                    </a:lnTo>
                    <a:lnTo>
                      <a:pt x="30" y="102"/>
                    </a:lnTo>
                    <a:lnTo>
                      <a:pt x="30" y="120"/>
                    </a:lnTo>
                    <a:lnTo>
                      <a:pt x="12" y="132"/>
                    </a:lnTo>
                    <a:lnTo>
                      <a:pt x="12" y="138"/>
                    </a:lnTo>
                    <a:lnTo>
                      <a:pt x="12" y="174"/>
                    </a:lnTo>
                    <a:lnTo>
                      <a:pt x="12" y="192"/>
                    </a:lnTo>
                    <a:lnTo>
                      <a:pt x="12" y="204"/>
                    </a:lnTo>
                    <a:lnTo>
                      <a:pt x="0" y="2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96" name="Group 211"/>
            <p:cNvGrpSpPr>
              <a:grpSpLocks/>
            </p:cNvGrpSpPr>
            <p:nvPr/>
          </p:nvGrpSpPr>
          <p:grpSpPr bwMode="auto">
            <a:xfrm>
              <a:off x="1254046" y="1608834"/>
              <a:ext cx="196043" cy="402539"/>
              <a:chOff x="1482" y="486"/>
              <a:chExt cx="96" cy="234"/>
            </a:xfrm>
            <a:solidFill>
              <a:srgbClr val="0070C0">
                <a:alpha val="27059"/>
              </a:srgbClr>
            </a:solidFill>
          </p:grpSpPr>
          <p:sp>
            <p:nvSpPr>
              <p:cNvPr id="1799" name="Freeform 212"/>
              <p:cNvSpPr>
                <a:spLocks/>
              </p:cNvSpPr>
              <p:nvPr/>
            </p:nvSpPr>
            <p:spPr bwMode="auto">
              <a:xfrm>
                <a:off x="1482" y="486"/>
                <a:ext cx="96" cy="234"/>
              </a:xfrm>
              <a:custGeom>
                <a:avLst/>
                <a:gdLst>
                  <a:gd name="T0" fmla="*/ 78 w 96"/>
                  <a:gd name="T1" fmla="*/ 48 h 234"/>
                  <a:gd name="T2" fmla="*/ 96 w 96"/>
                  <a:gd name="T3" fmla="*/ 84 h 234"/>
                  <a:gd name="T4" fmla="*/ 90 w 96"/>
                  <a:gd name="T5" fmla="*/ 114 h 234"/>
                  <a:gd name="T6" fmla="*/ 84 w 96"/>
                  <a:gd name="T7" fmla="*/ 156 h 234"/>
                  <a:gd name="T8" fmla="*/ 90 w 96"/>
                  <a:gd name="T9" fmla="*/ 168 h 234"/>
                  <a:gd name="T10" fmla="*/ 96 w 96"/>
                  <a:gd name="T11" fmla="*/ 180 h 234"/>
                  <a:gd name="T12" fmla="*/ 96 w 96"/>
                  <a:gd name="T13" fmla="*/ 198 h 234"/>
                  <a:gd name="T14" fmla="*/ 72 w 96"/>
                  <a:gd name="T15" fmla="*/ 222 h 234"/>
                  <a:gd name="T16" fmla="*/ 60 w 96"/>
                  <a:gd name="T17" fmla="*/ 222 h 234"/>
                  <a:gd name="T18" fmla="*/ 54 w 96"/>
                  <a:gd name="T19" fmla="*/ 228 h 234"/>
                  <a:gd name="T20" fmla="*/ 36 w 96"/>
                  <a:gd name="T21" fmla="*/ 228 h 234"/>
                  <a:gd name="T22" fmla="*/ 30 w 96"/>
                  <a:gd name="T23" fmla="*/ 234 h 234"/>
                  <a:gd name="T24" fmla="*/ 12 w 96"/>
                  <a:gd name="T25" fmla="*/ 228 h 234"/>
                  <a:gd name="T26" fmla="*/ 6 w 96"/>
                  <a:gd name="T27" fmla="*/ 216 h 234"/>
                  <a:gd name="T28" fmla="*/ 6 w 96"/>
                  <a:gd name="T29" fmla="*/ 204 h 234"/>
                  <a:gd name="T30" fmla="*/ 6 w 96"/>
                  <a:gd name="T31" fmla="*/ 174 h 234"/>
                  <a:gd name="T32" fmla="*/ 12 w 96"/>
                  <a:gd name="T33" fmla="*/ 162 h 234"/>
                  <a:gd name="T34" fmla="*/ 36 w 96"/>
                  <a:gd name="T35" fmla="*/ 144 h 234"/>
                  <a:gd name="T36" fmla="*/ 42 w 96"/>
                  <a:gd name="T37" fmla="*/ 120 h 234"/>
                  <a:gd name="T38" fmla="*/ 36 w 96"/>
                  <a:gd name="T39" fmla="*/ 114 h 234"/>
                  <a:gd name="T40" fmla="*/ 36 w 96"/>
                  <a:gd name="T41" fmla="*/ 108 h 234"/>
                  <a:gd name="T42" fmla="*/ 30 w 96"/>
                  <a:gd name="T43" fmla="*/ 84 h 234"/>
                  <a:gd name="T44" fmla="*/ 30 w 96"/>
                  <a:gd name="T45" fmla="*/ 72 h 234"/>
                  <a:gd name="T46" fmla="*/ 30 w 96"/>
                  <a:gd name="T47" fmla="*/ 66 h 234"/>
                  <a:gd name="T48" fmla="*/ 18 w 96"/>
                  <a:gd name="T49" fmla="*/ 54 h 234"/>
                  <a:gd name="T50" fmla="*/ 12 w 96"/>
                  <a:gd name="T51" fmla="*/ 42 h 234"/>
                  <a:gd name="T52" fmla="*/ 0 w 96"/>
                  <a:gd name="T53" fmla="*/ 24 h 234"/>
                  <a:gd name="T54" fmla="*/ 12 w 96"/>
                  <a:gd name="T55" fmla="*/ 12 h 234"/>
                  <a:gd name="T56" fmla="*/ 18 w 96"/>
                  <a:gd name="T57" fmla="*/ 12 h 234"/>
                  <a:gd name="T58" fmla="*/ 30 w 96"/>
                  <a:gd name="T59" fmla="*/ 18 h 234"/>
                  <a:gd name="T60" fmla="*/ 48 w 96"/>
                  <a:gd name="T61" fmla="*/ 18 h 234"/>
                  <a:gd name="T62" fmla="*/ 60 w 96"/>
                  <a:gd name="T63" fmla="*/ 6 h 234"/>
                  <a:gd name="T64" fmla="*/ 72 w 96"/>
                  <a:gd name="T65" fmla="*/ 6 h 234"/>
                  <a:gd name="T66" fmla="*/ 90 w 96"/>
                  <a:gd name="T67" fmla="*/ 18 h 234"/>
                  <a:gd name="T68" fmla="*/ 78 w 96"/>
                  <a:gd name="T69" fmla="*/ 36 h 23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96" h="234">
                    <a:moveTo>
                      <a:pt x="78" y="36"/>
                    </a:moveTo>
                    <a:lnTo>
                      <a:pt x="78" y="48"/>
                    </a:lnTo>
                    <a:lnTo>
                      <a:pt x="96" y="66"/>
                    </a:lnTo>
                    <a:lnTo>
                      <a:pt x="96" y="84"/>
                    </a:lnTo>
                    <a:lnTo>
                      <a:pt x="84" y="96"/>
                    </a:lnTo>
                    <a:lnTo>
                      <a:pt x="90" y="114"/>
                    </a:lnTo>
                    <a:lnTo>
                      <a:pt x="84" y="138"/>
                    </a:lnTo>
                    <a:lnTo>
                      <a:pt x="84" y="156"/>
                    </a:lnTo>
                    <a:lnTo>
                      <a:pt x="90" y="162"/>
                    </a:lnTo>
                    <a:lnTo>
                      <a:pt x="90" y="168"/>
                    </a:lnTo>
                    <a:lnTo>
                      <a:pt x="96" y="174"/>
                    </a:lnTo>
                    <a:lnTo>
                      <a:pt x="96" y="180"/>
                    </a:lnTo>
                    <a:lnTo>
                      <a:pt x="96" y="192"/>
                    </a:lnTo>
                    <a:lnTo>
                      <a:pt x="96" y="198"/>
                    </a:lnTo>
                    <a:lnTo>
                      <a:pt x="72" y="222"/>
                    </a:lnTo>
                    <a:lnTo>
                      <a:pt x="66" y="222"/>
                    </a:lnTo>
                    <a:lnTo>
                      <a:pt x="60" y="222"/>
                    </a:lnTo>
                    <a:lnTo>
                      <a:pt x="54" y="222"/>
                    </a:lnTo>
                    <a:lnTo>
                      <a:pt x="54" y="228"/>
                    </a:lnTo>
                    <a:lnTo>
                      <a:pt x="42" y="228"/>
                    </a:lnTo>
                    <a:lnTo>
                      <a:pt x="36" y="228"/>
                    </a:lnTo>
                    <a:lnTo>
                      <a:pt x="30" y="228"/>
                    </a:lnTo>
                    <a:lnTo>
                      <a:pt x="30" y="234"/>
                    </a:lnTo>
                    <a:lnTo>
                      <a:pt x="18" y="228"/>
                    </a:lnTo>
                    <a:lnTo>
                      <a:pt x="12" y="228"/>
                    </a:lnTo>
                    <a:lnTo>
                      <a:pt x="6" y="222"/>
                    </a:lnTo>
                    <a:lnTo>
                      <a:pt x="6" y="216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6" y="198"/>
                    </a:lnTo>
                    <a:lnTo>
                      <a:pt x="6" y="174"/>
                    </a:lnTo>
                    <a:lnTo>
                      <a:pt x="6" y="168"/>
                    </a:lnTo>
                    <a:lnTo>
                      <a:pt x="12" y="162"/>
                    </a:lnTo>
                    <a:lnTo>
                      <a:pt x="18" y="156"/>
                    </a:lnTo>
                    <a:lnTo>
                      <a:pt x="36" y="144"/>
                    </a:lnTo>
                    <a:lnTo>
                      <a:pt x="42" y="132"/>
                    </a:lnTo>
                    <a:lnTo>
                      <a:pt x="42" y="120"/>
                    </a:lnTo>
                    <a:lnTo>
                      <a:pt x="42" y="114"/>
                    </a:lnTo>
                    <a:lnTo>
                      <a:pt x="36" y="114"/>
                    </a:lnTo>
                    <a:lnTo>
                      <a:pt x="36" y="108"/>
                    </a:lnTo>
                    <a:lnTo>
                      <a:pt x="30" y="96"/>
                    </a:lnTo>
                    <a:lnTo>
                      <a:pt x="30" y="84"/>
                    </a:lnTo>
                    <a:lnTo>
                      <a:pt x="30" y="78"/>
                    </a:lnTo>
                    <a:lnTo>
                      <a:pt x="30" y="72"/>
                    </a:lnTo>
                    <a:lnTo>
                      <a:pt x="30" y="66"/>
                    </a:lnTo>
                    <a:lnTo>
                      <a:pt x="24" y="60"/>
                    </a:lnTo>
                    <a:lnTo>
                      <a:pt x="18" y="54"/>
                    </a:lnTo>
                    <a:lnTo>
                      <a:pt x="18" y="48"/>
                    </a:lnTo>
                    <a:lnTo>
                      <a:pt x="12" y="42"/>
                    </a:lnTo>
                    <a:lnTo>
                      <a:pt x="6" y="36"/>
                    </a:lnTo>
                    <a:lnTo>
                      <a:pt x="0" y="24"/>
                    </a:lnTo>
                    <a:lnTo>
                      <a:pt x="6" y="18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0" y="18"/>
                    </a:lnTo>
                    <a:lnTo>
                      <a:pt x="42" y="18"/>
                    </a:lnTo>
                    <a:lnTo>
                      <a:pt x="48" y="18"/>
                    </a:lnTo>
                    <a:lnTo>
                      <a:pt x="54" y="12"/>
                    </a:lnTo>
                    <a:lnTo>
                      <a:pt x="60" y="6"/>
                    </a:lnTo>
                    <a:lnTo>
                      <a:pt x="60" y="0"/>
                    </a:lnTo>
                    <a:lnTo>
                      <a:pt x="72" y="6"/>
                    </a:lnTo>
                    <a:lnTo>
                      <a:pt x="90" y="18"/>
                    </a:lnTo>
                    <a:lnTo>
                      <a:pt x="84" y="24"/>
                    </a:lnTo>
                    <a:lnTo>
                      <a:pt x="7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800" name="Freeform 213"/>
              <p:cNvSpPr>
                <a:spLocks/>
              </p:cNvSpPr>
              <p:nvPr/>
            </p:nvSpPr>
            <p:spPr bwMode="auto">
              <a:xfrm>
                <a:off x="1482" y="486"/>
                <a:ext cx="96" cy="234"/>
              </a:xfrm>
              <a:custGeom>
                <a:avLst/>
                <a:gdLst>
                  <a:gd name="T0" fmla="*/ 78 w 96"/>
                  <a:gd name="T1" fmla="*/ 48 h 234"/>
                  <a:gd name="T2" fmla="*/ 96 w 96"/>
                  <a:gd name="T3" fmla="*/ 84 h 234"/>
                  <a:gd name="T4" fmla="*/ 90 w 96"/>
                  <a:gd name="T5" fmla="*/ 114 h 234"/>
                  <a:gd name="T6" fmla="*/ 84 w 96"/>
                  <a:gd name="T7" fmla="*/ 156 h 234"/>
                  <a:gd name="T8" fmla="*/ 90 w 96"/>
                  <a:gd name="T9" fmla="*/ 168 h 234"/>
                  <a:gd name="T10" fmla="*/ 96 w 96"/>
                  <a:gd name="T11" fmla="*/ 180 h 234"/>
                  <a:gd name="T12" fmla="*/ 96 w 96"/>
                  <a:gd name="T13" fmla="*/ 198 h 234"/>
                  <a:gd name="T14" fmla="*/ 66 w 96"/>
                  <a:gd name="T15" fmla="*/ 222 h 234"/>
                  <a:gd name="T16" fmla="*/ 54 w 96"/>
                  <a:gd name="T17" fmla="*/ 222 h 234"/>
                  <a:gd name="T18" fmla="*/ 42 w 96"/>
                  <a:gd name="T19" fmla="*/ 228 h 234"/>
                  <a:gd name="T20" fmla="*/ 30 w 96"/>
                  <a:gd name="T21" fmla="*/ 228 h 234"/>
                  <a:gd name="T22" fmla="*/ 18 w 96"/>
                  <a:gd name="T23" fmla="*/ 228 h 234"/>
                  <a:gd name="T24" fmla="*/ 6 w 96"/>
                  <a:gd name="T25" fmla="*/ 222 h 234"/>
                  <a:gd name="T26" fmla="*/ 6 w 96"/>
                  <a:gd name="T27" fmla="*/ 210 h 234"/>
                  <a:gd name="T28" fmla="*/ 6 w 96"/>
                  <a:gd name="T29" fmla="*/ 198 h 234"/>
                  <a:gd name="T30" fmla="*/ 6 w 96"/>
                  <a:gd name="T31" fmla="*/ 168 h 234"/>
                  <a:gd name="T32" fmla="*/ 18 w 96"/>
                  <a:gd name="T33" fmla="*/ 156 h 234"/>
                  <a:gd name="T34" fmla="*/ 42 w 96"/>
                  <a:gd name="T35" fmla="*/ 132 h 234"/>
                  <a:gd name="T36" fmla="*/ 42 w 96"/>
                  <a:gd name="T37" fmla="*/ 114 h 234"/>
                  <a:gd name="T38" fmla="*/ 36 w 96"/>
                  <a:gd name="T39" fmla="*/ 108 h 234"/>
                  <a:gd name="T40" fmla="*/ 30 w 96"/>
                  <a:gd name="T41" fmla="*/ 84 h 234"/>
                  <a:gd name="T42" fmla="*/ 30 w 96"/>
                  <a:gd name="T43" fmla="*/ 72 h 234"/>
                  <a:gd name="T44" fmla="*/ 24 w 96"/>
                  <a:gd name="T45" fmla="*/ 60 h 234"/>
                  <a:gd name="T46" fmla="*/ 18 w 96"/>
                  <a:gd name="T47" fmla="*/ 48 h 234"/>
                  <a:gd name="T48" fmla="*/ 6 w 96"/>
                  <a:gd name="T49" fmla="*/ 36 h 234"/>
                  <a:gd name="T50" fmla="*/ 6 w 96"/>
                  <a:gd name="T51" fmla="*/ 18 h 234"/>
                  <a:gd name="T52" fmla="*/ 18 w 96"/>
                  <a:gd name="T53" fmla="*/ 12 h 234"/>
                  <a:gd name="T54" fmla="*/ 30 w 96"/>
                  <a:gd name="T55" fmla="*/ 18 h 234"/>
                  <a:gd name="T56" fmla="*/ 48 w 96"/>
                  <a:gd name="T57" fmla="*/ 18 h 234"/>
                  <a:gd name="T58" fmla="*/ 60 w 96"/>
                  <a:gd name="T59" fmla="*/ 6 h 234"/>
                  <a:gd name="T60" fmla="*/ 72 w 96"/>
                  <a:gd name="T61" fmla="*/ 6 h 234"/>
                  <a:gd name="T62" fmla="*/ 84 w 96"/>
                  <a:gd name="T63" fmla="*/ 24 h 23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96" h="234">
                    <a:moveTo>
                      <a:pt x="78" y="36"/>
                    </a:moveTo>
                    <a:lnTo>
                      <a:pt x="78" y="48"/>
                    </a:lnTo>
                    <a:lnTo>
                      <a:pt x="96" y="66"/>
                    </a:lnTo>
                    <a:lnTo>
                      <a:pt x="96" y="84"/>
                    </a:lnTo>
                    <a:lnTo>
                      <a:pt x="84" y="96"/>
                    </a:lnTo>
                    <a:lnTo>
                      <a:pt x="90" y="114"/>
                    </a:lnTo>
                    <a:lnTo>
                      <a:pt x="84" y="138"/>
                    </a:lnTo>
                    <a:lnTo>
                      <a:pt x="84" y="156"/>
                    </a:lnTo>
                    <a:lnTo>
                      <a:pt x="90" y="162"/>
                    </a:lnTo>
                    <a:lnTo>
                      <a:pt x="90" y="168"/>
                    </a:lnTo>
                    <a:lnTo>
                      <a:pt x="96" y="174"/>
                    </a:lnTo>
                    <a:lnTo>
                      <a:pt x="96" y="180"/>
                    </a:lnTo>
                    <a:lnTo>
                      <a:pt x="96" y="192"/>
                    </a:lnTo>
                    <a:lnTo>
                      <a:pt x="96" y="198"/>
                    </a:lnTo>
                    <a:lnTo>
                      <a:pt x="72" y="222"/>
                    </a:lnTo>
                    <a:lnTo>
                      <a:pt x="66" y="222"/>
                    </a:lnTo>
                    <a:lnTo>
                      <a:pt x="60" y="222"/>
                    </a:lnTo>
                    <a:lnTo>
                      <a:pt x="54" y="222"/>
                    </a:lnTo>
                    <a:lnTo>
                      <a:pt x="54" y="228"/>
                    </a:lnTo>
                    <a:lnTo>
                      <a:pt x="42" y="228"/>
                    </a:lnTo>
                    <a:lnTo>
                      <a:pt x="36" y="228"/>
                    </a:lnTo>
                    <a:lnTo>
                      <a:pt x="30" y="228"/>
                    </a:lnTo>
                    <a:lnTo>
                      <a:pt x="30" y="234"/>
                    </a:lnTo>
                    <a:lnTo>
                      <a:pt x="18" y="228"/>
                    </a:lnTo>
                    <a:lnTo>
                      <a:pt x="12" y="228"/>
                    </a:lnTo>
                    <a:lnTo>
                      <a:pt x="6" y="222"/>
                    </a:lnTo>
                    <a:lnTo>
                      <a:pt x="6" y="216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6" y="198"/>
                    </a:lnTo>
                    <a:lnTo>
                      <a:pt x="6" y="174"/>
                    </a:lnTo>
                    <a:lnTo>
                      <a:pt x="6" y="168"/>
                    </a:lnTo>
                    <a:lnTo>
                      <a:pt x="12" y="162"/>
                    </a:lnTo>
                    <a:lnTo>
                      <a:pt x="18" y="156"/>
                    </a:lnTo>
                    <a:lnTo>
                      <a:pt x="36" y="144"/>
                    </a:lnTo>
                    <a:lnTo>
                      <a:pt x="42" y="132"/>
                    </a:lnTo>
                    <a:lnTo>
                      <a:pt x="42" y="120"/>
                    </a:lnTo>
                    <a:lnTo>
                      <a:pt x="42" y="114"/>
                    </a:lnTo>
                    <a:lnTo>
                      <a:pt x="36" y="114"/>
                    </a:lnTo>
                    <a:lnTo>
                      <a:pt x="36" y="108"/>
                    </a:lnTo>
                    <a:lnTo>
                      <a:pt x="30" y="96"/>
                    </a:lnTo>
                    <a:lnTo>
                      <a:pt x="30" y="84"/>
                    </a:lnTo>
                    <a:lnTo>
                      <a:pt x="30" y="78"/>
                    </a:lnTo>
                    <a:lnTo>
                      <a:pt x="30" y="72"/>
                    </a:lnTo>
                    <a:lnTo>
                      <a:pt x="30" y="66"/>
                    </a:lnTo>
                    <a:lnTo>
                      <a:pt x="24" y="60"/>
                    </a:lnTo>
                    <a:lnTo>
                      <a:pt x="18" y="54"/>
                    </a:lnTo>
                    <a:lnTo>
                      <a:pt x="18" y="48"/>
                    </a:lnTo>
                    <a:lnTo>
                      <a:pt x="12" y="42"/>
                    </a:lnTo>
                    <a:lnTo>
                      <a:pt x="6" y="36"/>
                    </a:lnTo>
                    <a:lnTo>
                      <a:pt x="0" y="24"/>
                    </a:lnTo>
                    <a:lnTo>
                      <a:pt x="6" y="18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0" y="18"/>
                    </a:lnTo>
                    <a:lnTo>
                      <a:pt x="42" y="18"/>
                    </a:lnTo>
                    <a:lnTo>
                      <a:pt x="48" y="18"/>
                    </a:lnTo>
                    <a:lnTo>
                      <a:pt x="54" y="12"/>
                    </a:lnTo>
                    <a:lnTo>
                      <a:pt x="60" y="6"/>
                    </a:lnTo>
                    <a:lnTo>
                      <a:pt x="60" y="0"/>
                    </a:lnTo>
                    <a:lnTo>
                      <a:pt x="72" y="6"/>
                    </a:lnTo>
                    <a:lnTo>
                      <a:pt x="90" y="18"/>
                    </a:lnTo>
                    <a:lnTo>
                      <a:pt x="84" y="24"/>
                    </a:lnTo>
                    <a:lnTo>
                      <a:pt x="7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97" name="Group 214"/>
            <p:cNvGrpSpPr>
              <a:grpSpLocks/>
            </p:cNvGrpSpPr>
            <p:nvPr/>
          </p:nvGrpSpPr>
          <p:grpSpPr bwMode="auto">
            <a:xfrm>
              <a:off x="1034939" y="2179266"/>
              <a:ext cx="76879" cy="105186"/>
              <a:chOff x="1378" y="815"/>
              <a:chExt cx="38" cy="61"/>
            </a:xfrm>
            <a:solidFill>
              <a:srgbClr val="0070C0">
                <a:alpha val="27059"/>
              </a:srgbClr>
            </a:solidFill>
          </p:grpSpPr>
          <p:sp>
            <p:nvSpPr>
              <p:cNvPr id="1797" name="Freeform 215"/>
              <p:cNvSpPr>
                <a:spLocks/>
              </p:cNvSpPr>
              <p:nvPr/>
            </p:nvSpPr>
            <p:spPr bwMode="auto">
              <a:xfrm>
                <a:off x="1380" y="816"/>
                <a:ext cx="36" cy="60"/>
              </a:xfrm>
              <a:custGeom>
                <a:avLst/>
                <a:gdLst>
                  <a:gd name="T0" fmla="*/ 18 w 36"/>
                  <a:gd name="T1" fmla="*/ 60 h 60"/>
                  <a:gd name="T2" fmla="*/ 12 w 36"/>
                  <a:gd name="T3" fmla="*/ 60 h 60"/>
                  <a:gd name="T4" fmla="*/ 6 w 36"/>
                  <a:gd name="T5" fmla="*/ 60 h 60"/>
                  <a:gd name="T6" fmla="*/ 0 w 36"/>
                  <a:gd name="T7" fmla="*/ 60 h 60"/>
                  <a:gd name="T8" fmla="*/ 0 w 36"/>
                  <a:gd name="T9" fmla="*/ 60 h 60"/>
                  <a:gd name="T10" fmla="*/ 0 w 36"/>
                  <a:gd name="T11" fmla="*/ 54 h 60"/>
                  <a:gd name="T12" fmla="*/ 0 w 36"/>
                  <a:gd name="T13" fmla="*/ 54 h 60"/>
                  <a:gd name="T14" fmla="*/ 0 w 36"/>
                  <a:gd name="T15" fmla="*/ 48 h 60"/>
                  <a:gd name="T16" fmla="*/ 0 w 36"/>
                  <a:gd name="T17" fmla="*/ 42 h 60"/>
                  <a:gd name="T18" fmla="*/ 6 w 36"/>
                  <a:gd name="T19" fmla="*/ 42 h 60"/>
                  <a:gd name="T20" fmla="*/ 6 w 36"/>
                  <a:gd name="T21" fmla="*/ 42 h 60"/>
                  <a:gd name="T22" fmla="*/ 6 w 36"/>
                  <a:gd name="T23" fmla="*/ 36 h 60"/>
                  <a:gd name="T24" fmla="*/ 6 w 36"/>
                  <a:gd name="T25" fmla="*/ 36 h 60"/>
                  <a:gd name="T26" fmla="*/ 6 w 36"/>
                  <a:gd name="T27" fmla="*/ 30 h 60"/>
                  <a:gd name="T28" fmla="*/ 12 w 36"/>
                  <a:gd name="T29" fmla="*/ 30 h 60"/>
                  <a:gd name="T30" fmla="*/ 12 w 36"/>
                  <a:gd name="T31" fmla="*/ 30 h 60"/>
                  <a:gd name="T32" fmla="*/ 12 w 36"/>
                  <a:gd name="T33" fmla="*/ 24 h 60"/>
                  <a:gd name="T34" fmla="*/ 6 w 36"/>
                  <a:gd name="T35" fmla="*/ 24 h 60"/>
                  <a:gd name="T36" fmla="*/ 6 w 36"/>
                  <a:gd name="T37" fmla="*/ 18 h 60"/>
                  <a:gd name="T38" fmla="*/ 12 w 36"/>
                  <a:gd name="T39" fmla="*/ 18 h 60"/>
                  <a:gd name="T40" fmla="*/ 12 w 36"/>
                  <a:gd name="T41" fmla="*/ 18 h 60"/>
                  <a:gd name="T42" fmla="*/ 6 w 36"/>
                  <a:gd name="T43" fmla="*/ 18 h 60"/>
                  <a:gd name="T44" fmla="*/ 6 w 36"/>
                  <a:gd name="T45" fmla="*/ 18 h 60"/>
                  <a:gd name="T46" fmla="*/ 6 w 36"/>
                  <a:gd name="T47" fmla="*/ 12 h 60"/>
                  <a:gd name="T48" fmla="*/ 6 w 36"/>
                  <a:gd name="T49" fmla="*/ 12 h 60"/>
                  <a:gd name="T50" fmla="*/ 12 w 36"/>
                  <a:gd name="T51" fmla="*/ 12 h 60"/>
                  <a:gd name="T52" fmla="*/ 12 w 36"/>
                  <a:gd name="T53" fmla="*/ 6 h 60"/>
                  <a:gd name="T54" fmla="*/ 24 w 36"/>
                  <a:gd name="T55" fmla="*/ 0 h 60"/>
                  <a:gd name="T56" fmla="*/ 30 w 36"/>
                  <a:gd name="T57" fmla="*/ 0 h 60"/>
                  <a:gd name="T58" fmla="*/ 30 w 36"/>
                  <a:gd name="T59" fmla="*/ 6 h 60"/>
                  <a:gd name="T60" fmla="*/ 30 w 36"/>
                  <a:gd name="T61" fmla="*/ 12 h 60"/>
                  <a:gd name="T62" fmla="*/ 36 w 36"/>
                  <a:gd name="T63" fmla="*/ 18 h 60"/>
                  <a:gd name="T64" fmla="*/ 30 w 36"/>
                  <a:gd name="T65" fmla="*/ 24 h 60"/>
                  <a:gd name="T66" fmla="*/ 30 w 36"/>
                  <a:gd name="T67" fmla="*/ 24 h 60"/>
                  <a:gd name="T68" fmla="*/ 30 w 36"/>
                  <a:gd name="T69" fmla="*/ 24 h 60"/>
                  <a:gd name="T70" fmla="*/ 30 w 36"/>
                  <a:gd name="T71" fmla="*/ 30 h 60"/>
                  <a:gd name="T72" fmla="*/ 36 w 36"/>
                  <a:gd name="T73" fmla="*/ 30 h 60"/>
                  <a:gd name="T74" fmla="*/ 36 w 36"/>
                  <a:gd name="T75" fmla="*/ 36 h 60"/>
                  <a:gd name="T76" fmla="*/ 36 w 36"/>
                  <a:gd name="T77" fmla="*/ 36 h 60"/>
                  <a:gd name="T78" fmla="*/ 36 w 36"/>
                  <a:gd name="T79" fmla="*/ 36 h 60"/>
                  <a:gd name="T80" fmla="*/ 36 w 36"/>
                  <a:gd name="T81" fmla="*/ 42 h 60"/>
                  <a:gd name="T82" fmla="*/ 36 w 36"/>
                  <a:gd name="T83" fmla="*/ 42 h 60"/>
                  <a:gd name="T84" fmla="*/ 36 w 36"/>
                  <a:gd name="T85" fmla="*/ 48 h 60"/>
                  <a:gd name="T86" fmla="*/ 36 w 36"/>
                  <a:gd name="T87" fmla="*/ 48 h 60"/>
                  <a:gd name="T88" fmla="*/ 36 w 36"/>
                  <a:gd name="T89" fmla="*/ 48 h 60"/>
                  <a:gd name="T90" fmla="*/ 36 w 36"/>
                  <a:gd name="T91" fmla="*/ 54 h 60"/>
                  <a:gd name="T92" fmla="*/ 36 w 36"/>
                  <a:gd name="T93" fmla="*/ 54 h 60"/>
                  <a:gd name="T94" fmla="*/ 36 w 36"/>
                  <a:gd name="T95" fmla="*/ 60 h 60"/>
                  <a:gd name="T96" fmla="*/ 30 w 36"/>
                  <a:gd name="T97" fmla="*/ 54 h 60"/>
                  <a:gd name="T98" fmla="*/ 30 w 36"/>
                  <a:gd name="T99" fmla="*/ 54 h 60"/>
                  <a:gd name="T100" fmla="*/ 30 w 36"/>
                  <a:gd name="T101" fmla="*/ 60 h 60"/>
                  <a:gd name="T102" fmla="*/ 30 w 36"/>
                  <a:gd name="T103" fmla="*/ 60 h 60"/>
                  <a:gd name="T104" fmla="*/ 24 w 36"/>
                  <a:gd name="T105" fmla="*/ 60 h 60"/>
                  <a:gd name="T106" fmla="*/ 18 w 36"/>
                  <a:gd name="T107" fmla="*/ 60 h 6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6" h="60">
                    <a:moveTo>
                      <a:pt x="18" y="60"/>
                    </a:moveTo>
                    <a:lnTo>
                      <a:pt x="12" y="60"/>
                    </a:lnTo>
                    <a:lnTo>
                      <a:pt x="6" y="60"/>
                    </a:lnTo>
                    <a:lnTo>
                      <a:pt x="0" y="60"/>
                    </a:lnTo>
                    <a:lnTo>
                      <a:pt x="0" y="54"/>
                    </a:lnTo>
                    <a:lnTo>
                      <a:pt x="0" y="48"/>
                    </a:lnTo>
                    <a:lnTo>
                      <a:pt x="0" y="42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6" y="30"/>
                    </a:lnTo>
                    <a:lnTo>
                      <a:pt x="12" y="30"/>
                    </a:lnTo>
                    <a:lnTo>
                      <a:pt x="12" y="24"/>
                    </a:lnTo>
                    <a:lnTo>
                      <a:pt x="6" y="24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30" y="12"/>
                    </a:lnTo>
                    <a:lnTo>
                      <a:pt x="36" y="18"/>
                    </a:lnTo>
                    <a:lnTo>
                      <a:pt x="30" y="24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36" y="36"/>
                    </a:lnTo>
                    <a:lnTo>
                      <a:pt x="36" y="42"/>
                    </a:lnTo>
                    <a:lnTo>
                      <a:pt x="36" y="48"/>
                    </a:lnTo>
                    <a:lnTo>
                      <a:pt x="36" y="54"/>
                    </a:lnTo>
                    <a:lnTo>
                      <a:pt x="36" y="60"/>
                    </a:lnTo>
                    <a:lnTo>
                      <a:pt x="30" y="54"/>
                    </a:lnTo>
                    <a:lnTo>
                      <a:pt x="30" y="60"/>
                    </a:lnTo>
                    <a:lnTo>
                      <a:pt x="24" y="60"/>
                    </a:lnTo>
                    <a:lnTo>
                      <a:pt x="18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98" name="Freeform 216"/>
              <p:cNvSpPr>
                <a:spLocks/>
              </p:cNvSpPr>
              <p:nvPr/>
            </p:nvSpPr>
            <p:spPr bwMode="auto">
              <a:xfrm>
                <a:off x="1378" y="815"/>
                <a:ext cx="36" cy="60"/>
              </a:xfrm>
              <a:custGeom>
                <a:avLst/>
                <a:gdLst>
                  <a:gd name="T0" fmla="*/ 18 w 36"/>
                  <a:gd name="T1" fmla="*/ 60 h 60"/>
                  <a:gd name="T2" fmla="*/ 12 w 36"/>
                  <a:gd name="T3" fmla="*/ 60 h 60"/>
                  <a:gd name="T4" fmla="*/ 6 w 36"/>
                  <a:gd name="T5" fmla="*/ 60 h 60"/>
                  <a:gd name="T6" fmla="*/ 0 w 36"/>
                  <a:gd name="T7" fmla="*/ 60 h 60"/>
                  <a:gd name="T8" fmla="*/ 0 w 36"/>
                  <a:gd name="T9" fmla="*/ 54 h 60"/>
                  <a:gd name="T10" fmla="*/ 0 w 36"/>
                  <a:gd name="T11" fmla="*/ 48 h 60"/>
                  <a:gd name="T12" fmla="*/ 0 w 36"/>
                  <a:gd name="T13" fmla="*/ 42 h 60"/>
                  <a:gd name="T14" fmla="*/ 6 w 36"/>
                  <a:gd name="T15" fmla="*/ 42 h 60"/>
                  <a:gd name="T16" fmla="*/ 6 w 36"/>
                  <a:gd name="T17" fmla="*/ 36 h 60"/>
                  <a:gd name="T18" fmla="*/ 6 w 36"/>
                  <a:gd name="T19" fmla="*/ 30 h 60"/>
                  <a:gd name="T20" fmla="*/ 12 w 36"/>
                  <a:gd name="T21" fmla="*/ 30 h 60"/>
                  <a:gd name="T22" fmla="*/ 12 w 36"/>
                  <a:gd name="T23" fmla="*/ 24 h 60"/>
                  <a:gd name="T24" fmla="*/ 6 w 36"/>
                  <a:gd name="T25" fmla="*/ 24 h 60"/>
                  <a:gd name="T26" fmla="*/ 6 w 36"/>
                  <a:gd name="T27" fmla="*/ 18 h 60"/>
                  <a:gd name="T28" fmla="*/ 12 w 36"/>
                  <a:gd name="T29" fmla="*/ 18 h 60"/>
                  <a:gd name="T30" fmla="*/ 6 w 36"/>
                  <a:gd name="T31" fmla="*/ 18 h 60"/>
                  <a:gd name="T32" fmla="*/ 6 w 36"/>
                  <a:gd name="T33" fmla="*/ 12 h 60"/>
                  <a:gd name="T34" fmla="*/ 12 w 36"/>
                  <a:gd name="T35" fmla="*/ 12 h 60"/>
                  <a:gd name="T36" fmla="*/ 12 w 36"/>
                  <a:gd name="T37" fmla="*/ 6 h 60"/>
                  <a:gd name="T38" fmla="*/ 24 w 36"/>
                  <a:gd name="T39" fmla="*/ 0 h 60"/>
                  <a:gd name="T40" fmla="*/ 30 w 36"/>
                  <a:gd name="T41" fmla="*/ 0 h 60"/>
                  <a:gd name="T42" fmla="*/ 30 w 36"/>
                  <a:gd name="T43" fmla="*/ 6 h 60"/>
                  <a:gd name="T44" fmla="*/ 30 w 36"/>
                  <a:gd name="T45" fmla="*/ 12 h 60"/>
                  <a:gd name="T46" fmla="*/ 36 w 36"/>
                  <a:gd name="T47" fmla="*/ 18 h 60"/>
                  <a:gd name="T48" fmla="*/ 30 w 36"/>
                  <a:gd name="T49" fmla="*/ 24 h 60"/>
                  <a:gd name="T50" fmla="*/ 30 w 36"/>
                  <a:gd name="T51" fmla="*/ 30 h 60"/>
                  <a:gd name="T52" fmla="*/ 36 w 36"/>
                  <a:gd name="T53" fmla="*/ 30 h 60"/>
                  <a:gd name="T54" fmla="*/ 36 w 36"/>
                  <a:gd name="T55" fmla="*/ 36 h 60"/>
                  <a:gd name="T56" fmla="*/ 36 w 36"/>
                  <a:gd name="T57" fmla="*/ 42 h 60"/>
                  <a:gd name="T58" fmla="*/ 36 w 36"/>
                  <a:gd name="T59" fmla="*/ 48 h 60"/>
                  <a:gd name="T60" fmla="*/ 36 w 36"/>
                  <a:gd name="T61" fmla="*/ 54 h 60"/>
                  <a:gd name="T62" fmla="*/ 36 w 36"/>
                  <a:gd name="T63" fmla="*/ 60 h 60"/>
                  <a:gd name="T64" fmla="*/ 30 w 36"/>
                  <a:gd name="T65" fmla="*/ 54 h 60"/>
                  <a:gd name="T66" fmla="*/ 30 w 36"/>
                  <a:gd name="T67" fmla="*/ 60 h 60"/>
                  <a:gd name="T68" fmla="*/ 24 w 36"/>
                  <a:gd name="T69" fmla="*/ 60 h 60"/>
                  <a:gd name="T70" fmla="*/ 18 w 36"/>
                  <a:gd name="T71" fmla="*/ 60 h 6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6" h="60">
                    <a:moveTo>
                      <a:pt x="18" y="60"/>
                    </a:moveTo>
                    <a:lnTo>
                      <a:pt x="12" y="60"/>
                    </a:lnTo>
                    <a:lnTo>
                      <a:pt x="6" y="60"/>
                    </a:lnTo>
                    <a:lnTo>
                      <a:pt x="0" y="60"/>
                    </a:lnTo>
                    <a:lnTo>
                      <a:pt x="0" y="54"/>
                    </a:lnTo>
                    <a:lnTo>
                      <a:pt x="0" y="48"/>
                    </a:lnTo>
                    <a:lnTo>
                      <a:pt x="0" y="42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6" y="30"/>
                    </a:lnTo>
                    <a:lnTo>
                      <a:pt x="12" y="30"/>
                    </a:lnTo>
                    <a:lnTo>
                      <a:pt x="12" y="24"/>
                    </a:lnTo>
                    <a:lnTo>
                      <a:pt x="6" y="24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30" y="12"/>
                    </a:lnTo>
                    <a:lnTo>
                      <a:pt x="36" y="18"/>
                    </a:lnTo>
                    <a:lnTo>
                      <a:pt x="30" y="24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36" y="36"/>
                    </a:lnTo>
                    <a:lnTo>
                      <a:pt x="36" y="42"/>
                    </a:lnTo>
                    <a:lnTo>
                      <a:pt x="36" y="48"/>
                    </a:lnTo>
                    <a:lnTo>
                      <a:pt x="36" y="54"/>
                    </a:lnTo>
                    <a:lnTo>
                      <a:pt x="36" y="60"/>
                    </a:lnTo>
                    <a:lnTo>
                      <a:pt x="30" y="54"/>
                    </a:lnTo>
                    <a:lnTo>
                      <a:pt x="30" y="60"/>
                    </a:lnTo>
                    <a:lnTo>
                      <a:pt x="24" y="60"/>
                    </a:lnTo>
                    <a:lnTo>
                      <a:pt x="18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98" name="Group 217"/>
            <p:cNvGrpSpPr>
              <a:grpSpLocks/>
            </p:cNvGrpSpPr>
            <p:nvPr/>
          </p:nvGrpSpPr>
          <p:grpSpPr bwMode="auto">
            <a:xfrm>
              <a:off x="1352067" y="2486733"/>
              <a:ext cx="342114" cy="143619"/>
              <a:chOff x="1530" y="996"/>
              <a:chExt cx="168" cy="84"/>
            </a:xfrm>
            <a:solidFill>
              <a:srgbClr val="0070C0">
                <a:alpha val="27059"/>
              </a:srgbClr>
            </a:solidFill>
          </p:grpSpPr>
          <p:sp>
            <p:nvSpPr>
              <p:cNvPr id="1795" name="Freeform 218"/>
              <p:cNvSpPr>
                <a:spLocks/>
              </p:cNvSpPr>
              <p:nvPr/>
            </p:nvSpPr>
            <p:spPr bwMode="auto">
              <a:xfrm>
                <a:off x="1530" y="996"/>
                <a:ext cx="168" cy="84"/>
              </a:xfrm>
              <a:custGeom>
                <a:avLst/>
                <a:gdLst>
                  <a:gd name="T0" fmla="*/ 156 w 168"/>
                  <a:gd name="T1" fmla="*/ 30 h 84"/>
                  <a:gd name="T2" fmla="*/ 168 w 168"/>
                  <a:gd name="T3" fmla="*/ 60 h 84"/>
                  <a:gd name="T4" fmla="*/ 162 w 168"/>
                  <a:gd name="T5" fmla="*/ 60 h 84"/>
                  <a:gd name="T6" fmla="*/ 156 w 168"/>
                  <a:gd name="T7" fmla="*/ 60 h 84"/>
                  <a:gd name="T8" fmla="*/ 144 w 168"/>
                  <a:gd name="T9" fmla="*/ 66 h 84"/>
                  <a:gd name="T10" fmla="*/ 132 w 168"/>
                  <a:gd name="T11" fmla="*/ 72 h 84"/>
                  <a:gd name="T12" fmla="*/ 126 w 168"/>
                  <a:gd name="T13" fmla="*/ 72 h 84"/>
                  <a:gd name="T14" fmla="*/ 120 w 168"/>
                  <a:gd name="T15" fmla="*/ 72 h 84"/>
                  <a:gd name="T16" fmla="*/ 108 w 168"/>
                  <a:gd name="T17" fmla="*/ 78 h 84"/>
                  <a:gd name="T18" fmla="*/ 96 w 168"/>
                  <a:gd name="T19" fmla="*/ 72 h 84"/>
                  <a:gd name="T20" fmla="*/ 90 w 168"/>
                  <a:gd name="T21" fmla="*/ 78 h 84"/>
                  <a:gd name="T22" fmla="*/ 84 w 168"/>
                  <a:gd name="T23" fmla="*/ 84 h 84"/>
                  <a:gd name="T24" fmla="*/ 84 w 168"/>
                  <a:gd name="T25" fmla="*/ 78 h 84"/>
                  <a:gd name="T26" fmla="*/ 78 w 168"/>
                  <a:gd name="T27" fmla="*/ 78 h 84"/>
                  <a:gd name="T28" fmla="*/ 72 w 168"/>
                  <a:gd name="T29" fmla="*/ 78 h 84"/>
                  <a:gd name="T30" fmla="*/ 54 w 168"/>
                  <a:gd name="T31" fmla="*/ 78 h 84"/>
                  <a:gd name="T32" fmla="*/ 42 w 168"/>
                  <a:gd name="T33" fmla="*/ 78 h 84"/>
                  <a:gd name="T34" fmla="*/ 30 w 168"/>
                  <a:gd name="T35" fmla="*/ 84 h 84"/>
                  <a:gd name="T36" fmla="*/ 18 w 168"/>
                  <a:gd name="T37" fmla="*/ 78 h 84"/>
                  <a:gd name="T38" fmla="*/ 6 w 168"/>
                  <a:gd name="T39" fmla="*/ 66 h 84"/>
                  <a:gd name="T40" fmla="*/ 0 w 168"/>
                  <a:gd name="T41" fmla="*/ 54 h 84"/>
                  <a:gd name="T42" fmla="*/ 0 w 168"/>
                  <a:gd name="T43" fmla="*/ 42 h 84"/>
                  <a:gd name="T44" fmla="*/ 6 w 168"/>
                  <a:gd name="T45" fmla="*/ 36 h 84"/>
                  <a:gd name="T46" fmla="*/ 24 w 168"/>
                  <a:gd name="T47" fmla="*/ 36 h 84"/>
                  <a:gd name="T48" fmla="*/ 30 w 168"/>
                  <a:gd name="T49" fmla="*/ 30 h 84"/>
                  <a:gd name="T50" fmla="*/ 36 w 168"/>
                  <a:gd name="T51" fmla="*/ 30 h 84"/>
                  <a:gd name="T52" fmla="*/ 30 w 168"/>
                  <a:gd name="T53" fmla="*/ 30 h 84"/>
                  <a:gd name="T54" fmla="*/ 30 w 168"/>
                  <a:gd name="T55" fmla="*/ 18 h 84"/>
                  <a:gd name="T56" fmla="*/ 48 w 168"/>
                  <a:gd name="T57" fmla="*/ 12 h 84"/>
                  <a:gd name="T58" fmla="*/ 66 w 168"/>
                  <a:gd name="T59" fmla="*/ 6 h 84"/>
                  <a:gd name="T60" fmla="*/ 72 w 168"/>
                  <a:gd name="T61" fmla="*/ 0 h 84"/>
                  <a:gd name="T62" fmla="*/ 96 w 168"/>
                  <a:gd name="T63" fmla="*/ 12 h 84"/>
                  <a:gd name="T64" fmla="*/ 108 w 168"/>
                  <a:gd name="T65" fmla="*/ 12 h 84"/>
                  <a:gd name="T66" fmla="*/ 120 w 168"/>
                  <a:gd name="T67" fmla="*/ 12 h 84"/>
                  <a:gd name="T68" fmla="*/ 132 w 168"/>
                  <a:gd name="T69" fmla="*/ 18 h 84"/>
                  <a:gd name="T70" fmla="*/ 144 w 168"/>
                  <a:gd name="T71" fmla="*/ 24 h 8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68" h="84">
                    <a:moveTo>
                      <a:pt x="144" y="24"/>
                    </a:moveTo>
                    <a:lnTo>
                      <a:pt x="156" y="30"/>
                    </a:lnTo>
                    <a:lnTo>
                      <a:pt x="162" y="42"/>
                    </a:lnTo>
                    <a:lnTo>
                      <a:pt x="168" y="60"/>
                    </a:lnTo>
                    <a:lnTo>
                      <a:pt x="162" y="60"/>
                    </a:lnTo>
                    <a:lnTo>
                      <a:pt x="156" y="60"/>
                    </a:lnTo>
                    <a:lnTo>
                      <a:pt x="150" y="60"/>
                    </a:lnTo>
                    <a:lnTo>
                      <a:pt x="144" y="66"/>
                    </a:lnTo>
                    <a:lnTo>
                      <a:pt x="138" y="66"/>
                    </a:lnTo>
                    <a:lnTo>
                      <a:pt x="132" y="72"/>
                    </a:lnTo>
                    <a:lnTo>
                      <a:pt x="126" y="72"/>
                    </a:lnTo>
                    <a:lnTo>
                      <a:pt x="120" y="72"/>
                    </a:lnTo>
                    <a:lnTo>
                      <a:pt x="114" y="78"/>
                    </a:lnTo>
                    <a:lnTo>
                      <a:pt x="108" y="78"/>
                    </a:lnTo>
                    <a:lnTo>
                      <a:pt x="96" y="78"/>
                    </a:lnTo>
                    <a:lnTo>
                      <a:pt x="96" y="72"/>
                    </a:lnTo>
                    <a:lnTo>
                      <a:pt x="96" y="78"/>
                    </a:lnTo>
                    <a:lnTo>
                      <a:pt x="90" y="78"/>
                    </a:lnTo>
                    <a:lnTo>
                      <a:pt x="84" y="84"/>
                    </a:lnTo>
                    <a:lnTo>
                      <a:pt x="90" y="78"/>
                    </a:lnTo>
                    <a:lnTo>
                      <a:pt x="84" y="78"/>
                    </a:lnTo>
                    <a:lnTo>
                      <a:pt x="78" y="78"/>
                    </a:lnTo>
                    <a:lnTo>
                      <a:pt x="72" y="78"/>
                    </a:lnTo>
                    <a:lnTo>
                      <a:pt x="60" y="84"/>
                    </a:lnTo>
                    <a:lnTo>
                      <a:pt x="54" y="78"/>
                    </a:lnTo>
                    <a:lnTo>
                      <a:pt x="42" y="78"/>
                    </a:lnTo>
                    <a:lnTo>
                      <a:pt x="36" y="84"/>
                    </a:lnTo>
                    <a:lnTo>
                      <a:pt x="30" y="84"/>
                    </a:lnTo>
                    <a:lnTo>
                      <a:pt x="24" y="78"/>
                    </a:lnTo>
                    <a:lnTo>
                      <a:pt x="18" y="78"/>
                    </a:lnTo>
                    <a:lnTo>
                      <a:pt x="12" y="66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0" y="54"/>
                    </a:lnTo>
                    <a:lnTo>
                      <a:pt x="0" y="48"/>
                    </a:lnTo>
                    <a:lnTo>
                      <a:pt x="0" y="42"/>
                    </a:lnTo>
                    <a:lnTo>
                      <a:pt x="6" y="36"/>
                    </a:lnTo>
                    <a:lnTo>
                      <a:pt x="12" y="36"/>
                    </a:lnTo>
                    <a:lnTo>
                      <a:pt x="24" y="36"/>
                    </a:lnTo>
                    <a:lnTo>
                      <a:pt x="24" y="30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6" y="12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66" y="6"/>
                    </a:lnTo>
                    <a:lnTo>
                      <a:pt x="66" y="0"/>
                    </a:lnTo>
                    <a:lnTo>
                      <a:pt x="72" y="0"/>
                    </a:lnTo>
                    <a:lnTo>
                      <a:pt x="84" y="6"/>
                    </a:lnTo>
                    <a:lnTo>
                      <a:pt x="96" y="12"/>
                    </a:lnTo>
                    <a:lnTo>
                      <a:pt x="102" y="12"/>
                    </a:lnTo>
                    <a:lnTo>
                      <a:pt x="108" y="12"/>
                    </a:lnTo>
                    <a:lnTo>
                      <a:pt x="114" y="12"/>
                    </a:lnTo>
                    <a:lnTo>
                      <a:pt x="120" y="12"/>
                    </a:lnTo>
                    <a:lnTo>
                      <a:pt x="120" y="18"/>
                    </a:lnTo>
                    <a:lnTo>
                      <a:pt x="132" y="18"/>
                    </a:lnTo>
                    <a:lnTo>
                      <a:pt x="138" y="24"/>
                    </a:lnTo>
                    <a:lnTo>
                      <a:pt x="144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96" name="Freeform 219"/>
              <p:cNvSpPr>
                <a:spLocks/>
              </p:cNvSpPr>
              <p:nvPr/>
            </p:nvSpPr>
            <p:spPr bwMode="auto">
              <a:xfrm>
                <a:off x="1530" y="996"/>
                <a:ext cx="168" cy="84"/>
              </a:xfrm>
              <a:custGeom>
                <a:avLst/>
                <a:gdLst>
                  <a:gd name="T0" fmla="*/ 144 w 168"/>
                  <a:gd name="T1" fmla="*/ 24 h 84"/>
                  <a:gd name="T2" fmla="*/ 156 w 168"/>
                  <a:gd name="T3" fmla="*/ 30 h 84"/>
                  <a:gd name="T4" fmla="*/ 162 w 168"/>
                  <a:gd name="T5" fmla="*/ 42 h 84"/>
                  <a:gd name="T6" fmla="*/ 168 w 168"/>
                  <a:gd name="T7" fmla="*/ 60 h 84"/>
                  <a:gd name="T8" fmla="*/ 162 w 168"/>
                  <a:gd name="T9" fmla="*/ 60 h 84"/>
                  <a:gd name="T10" fmla="*/ 156 w 168"/>
                  <a:gd name="T11" fmla="*/ 60 h 84"/>
                  <a:gd name="T12" fmla="*/ 150 w 168"/>
                  <a:gd name="T13" fmla="*/ 60 h 84"/>
                  <a:gd name="T14" fmla="*/ 144 w 168"/>
                  <a:gd name="T15" fmla="*/ 66 h 84"/>
                  <a:gd name="T16" fmla="*/ 138 w 168"/>
                  <a:gd name="T17" fmla="*/ 66 h 84"/>
                  <a:gd name="T18" fmla="*/ 132 w 168"/>
                  <a:gd name="T19" fmla="*/ 72 h 84"/>
                  <a:gd name="T20" fmla="*/ 126 w 168"/>
                  <a:gd name="T21" fmla="*/ 72 h 84"/>
                  <a:gd name="T22" fmla="*/ 120 w 168"/>
                  <a:gd name="T23" fmla="*/ 72 h 84"/>
                  <a:gd name="T24" fmla="*/ 114 w 168"/>
                  <a:gd name="T25" fmla="*/ 78 h 84"/>
                  <a:gd name="T26" fmla="*/ 108 w 168"/>
                  <a:gd name="T27" fmla="*/ 78 h 84"/>
                  <a:gd name="T28" fmla="*/ 96 w 168"/>
                  <a:gd name="T29" fmla="*/ 78 h 84"/>
                  <a:gd name="T30" fmla="*/ 96 w 168"/>
                  <a:gd name="T31" fmla="*/ 72 h 84"/>
                  <a:gd name="T32" fmla="*/ 96 w 168"/>
                  <a:gd name="T33" fmla="*/ 78 h 84"/>
                  <a:gd name="T34" fmla="*/ 90 w 168"/>
                  <a:gd name="T35" fmla="*/ 78 h 84"/>
                  <a:gd name="T36" fmla="*/ 84 w 168"/>
                  <a:gd name="T37" fmla="*/ 84 h 84"/>
                  <a:gd name="T38" fmla="*/ 90 w 168"/>
                  <a:gd name="T39" fmla="*/ 78 h 84"/>
                  <a:gd name="T40" fmla="*/ 84 w 168"/>
                  <a:gd name="T41" fmla="*/ 78 h 84"/>
                  <a:gd name="T42" fmla="*/ 78 w 168"/>
                  <a:gd name="T43" fmla="*/ 78 h 84"/>
                  <a:gd name="T44" fmla="*/ 72 w 168"/>
                  <a:gd name="T45" fmla="*/ 78 h 84"/>
                  <a:gd name="T46" fmla="*/ 60 w 168"/>
                  <a:gd name="T47" fmla="*/ 84 h 84"/>
                  <a:gd name="T48" fmla="*/ 54 w 168"/>
                  <a:gd name="T49" fmla="*/ 78 h 84"/>
                  <a:gd name="T50" fmla="*/ 42 w 168"/>
                  <a:gd name="T51" fmla="*/ 78 h 84"/>
                  <a:gd name="T52" fmla="*/ 36 w 168"/>
                  <a:gd name="T53" fmla="*/ 84 h 84"/>
                  <a:gd name="T54" fmla="*/ 30 w 168"/>
                  <a:gd name="T55" fmla="*/ 84 h 84"/>
                  <a:gd name="T56" fmla="*/ 24 w 168"/>
                  <a:gd name="T57" fmla="*/ 78 h 84"/>
                  <a:gd name="T58" fmla="*/ 18 w 168"/>
                  <a:gd name="T59" fmla="*/ 78 h 84"/>
                  <a:gd name="T60" fmla="*/ 12 w 168"/>
                  <a:gd name="T61" fmla="*/ 66 h 84"/>
                  <a:gd name="T62" fmla="*/ 6 w 168"/>
                  <a:gd name="T63" fmla="*/ 66 h 84"/>
                  <a:gd name="T64" fmla="*/ 6 w 168"/>
                  <a:gd name="T65" fmla="*/ 60 h 84"/>
                  <a:gd name="T66" fmla="*/ 0 w 168"/>
                  <a:gd name="T67" fmla="*/ 54 h 84"/>
                  <a:gd name="T68" fmla="*/ 0 w 168"/>
                  <a:gd name="T69" fmla="*/ 48 h 84"/>
                  <a:gd name="T70" fmla="*/ 0 w 168"/>
                  <a:gd name="T71" fmla="*/ 42 h 84"/>
                  <a:gd name="T72" fmla="*/ 6 w 168"/>
                  <a:gd name="T73" fmla="*/ 36 h 84"/>
                  <a:gd name="T74" fmla="*/ 12 w 168"/>
                  <a:gd name="T75" fmla="*/ 36 h 84"/>
                  <a:gd name="T76" fmla="*/ 24 w 168"/>
                  <a:gd name="T77" fmla="*/ 36 h 84"/>
                  <a:gd name="T78" fmla="*/ 24 w 168"/>
                  <a:gd name="T79" fmla="*/ 30 h 84"/>
                  <a:gd name="T80" fmla="*/ 30 w 168"/>
                  <a:gd name="T81" fmla="*/ 30 h 84"/>
                  <a:gd name="T82" fmla="*/ 36 w 168"/>
                  <a:gd name="T83" fmla="*/ 30 h 84"/>
                  <a:gd name="T84" fmla="*/ 30 w 168"/>
                  <a:gd name="T85" fmla="*/ 30 h 84"/>
                  <a:gd name="T86" fmla="*/ 30 w 168"/>
                  <a:gd name="T87" fmla="*/ 24 h 84"/>
                  <a:gd name="T88" fmla="*/ 30 w 168"/>
                  <a:gd name="T89" fmla="*/ 18 h 84"/>
                  <a:gd name="T90" fmla="*/ 36 w 168"/>
                  <a:gd name="T91" fmla="*/ 12 h 84"/>
                  <a:gd name="T92" fmla="*/ 48 w 168"/>
                  <a:gd name="T93" fmla="*/ 12 h 84"/>
                  <a:gd name="T94" fmla="*/ 54 w 168"/>
                  <a:gd name="T95" fmla="*/ 12 h 84"/>
                  <a:gd name="T96" fmla="*/ 66 w 168"/>
                  <a:gd name="T97" fmla="*/ 6 h 84"/>
                  <a:gd name="T98" fmla="*/ 66 w 168"/>
                  <a:gd name="T99" fmla="*/ 0 h 84"/>
                  <a:gd name="T100" fmla="*/ 72 w 168"/>
                  <a:gd name="T101" fmla="*/ 0 h 84"/>
                  <a:gd name="T102" fmla="*/ 84 w 168"/>
                  <a:gd name="T103" fmla="*/ 6 h 84"/>
                  <a:gd name="T104" fmla="*/ 96 w 168"/>
                  <a:gd name="T105" fmla="*/ 12 h 84"/>
                  <a:gd name="T106" fmla="*/ 102 w 168"/>
                  <a:gd name="T107" fmla="*/ 12 h 84"/>
                  <a:gd name="T108" fmla="*/ 108 w 168"/>
                  <a:gd name="T109" fmla="*/ 12 h 84"/>
                  <a:gd name="T110" fmla="*/ 114 w 168"/>
                  <a:gd name="T111" fmla="*/ 12 h 84"/>
                  <a:gd name="T112" fmla="*/ 120 w 168"/>
                  <a:gd name="T113" fmla="*/ 12 h 84"/>
                  <a:gd name="T114" fmla="*/ 120 w 168"/>
                  <a:gd name="T115" fmla="*/ 18 h 84"/>
                  <a:gd name="T116" fmla="*/ 132 w 168"/>
                  <a:gd name="T117" fmla="*/ 18 h 84"/>
                  <a:gd name="T118" fmla="*/ 138 w 168"/>
                  <a:gd name="T119" fmla="*/ 24 h 84"/>
                  <a:gd name="T120" fmla="*/ 144 w 168"/>
                  <a:gd name="T121" fmla="*/ 24 h 8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68" h="84">
                    <a:moveTo>
                      <a:pt x="144" y="24"/>
                    </a:moveTo>
                    <a:lnTo>
                      <a:pt x="156" y="30"/>
                    </a:lnTo>
                    <a:lnTo>
                      <a:pt x="162" y="42"/>
                    </a:lnTo>
                    <a:lnTo>
                      <a:pt x="168" y="60"/>
                    </a:lnTo>
                    <a:lnTo>
                      <a:pt x="162" y="60"/>
                    </a:lnTo>
                    <a:lnTo>
                      <a:pt x="156" y="60"/>
                    </a:lnTo>
                    <a:lnTo>
                      <a:pt x="150" y="60"/>
                    </a:lnTo>
                    <a:lnTo>
                      <a:pt x="144" y="66"/>
                    </a:lnTo>
                    <a:lnTo>
                      <a:pt x="138" y="66"/>
                    </a:lnTo>
                    <a:lnTo>
                      <a:pt x="132" y="72"/>
                    </a:lnTo>
                    <a:lnTo>
                      <a:pt x="126" y="72"/>
                    </a:lnTo>
                    <a:lnTo>
                      <a:pt x="120" y="72"/>
                    </a:lnTo>
                    <a:lnTo>
                      <a:pt x="114" y="78"/>
                    </a:lnTo>
                    <a:lnTo>
                      <a:pt x="108" y="78"/>
                    </a:lnTo>
                    <a:lnTo>
                      <a:pt x="96" y="78"/>
                    </a:lnTo>
                    <a:lnTo>
                      <a:pt x="96" y="72"/>
                    </a:lnTo>
                    <a:lnTo>
                      <a:pt x="96" y="78"/>
                    </a:lnTo>
                    <a:lnTo>
                      <a:pt x="90" y="78"/>
                    </a:lnTo>
                    <a:lnTo>
                      <a:pt x="84" y="84"/>
                    </a:lnTo>
                    <a:lnTo>
                      <a:pt x="90" y="78"/>
                    </a:lnTo>
                    <a:lnTo>
                      <a:pt x="84" y="78"/>
                    </a:lnTo>
                    <a:lnTo>
                      <a:pt x="78" y="78"/>
                    </a:lnTo>
                    <a:lnTo>
                      <a:pt x="72" y="78"/>
                    </a:lnTo>
                    <a:lnTo>
                      <a:pt x="60" y="84"/>
                    </a:lnTo>
                    <a:lnTo>
                      <a:pt x="54" y="78"/>
                    </a:lnTo>
                    <a:lnTo>
                      <a:pt x="42" y="78"/>
                    </a:lnTo>
                    <a:lnTo>
                      <a:pt x="36" y="84"/>
                    </a:lnTo>
                    <a:lnTo>
                      <a:pt x="30" y="84"/>
                    </a:lnTo>
                    <a:lnTo>
                      <a:pt x="24" y="78"/>
                    </a:lnTo>
                    <a:lnTo>
                      <a:pt x="18" y="78"/>
                    </a:lnTo>
                    <a:lnTo>
                      <a:pt x="12" y="66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0" y="54"/>
                    </a:lnTo>
                    <a:lnTo>
                      <a:pt x="0" y="48"/>
                    </a:lnTo>
                    <a:lnTo>
                      <a:pt x="0" y="42"/>
                    </a:lnTo>
                    <a:lnTo>
                      <a:pt x="6" y="36"/>
                    </a:lnTo>
                    <a:lnTo>
                      <a:pt x="12" y="36"/>
                    </a:lnTo>
                    <a:lnTo>
                      <a:pt x="24" y="36"/>
                    </a:lnTo>
                    <a:lnTo>
                      <a:pt x="24" y="30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6" y="12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66" y="6"/>
                    </a:lnTo>
                    <a:lnTo>
                      <a:pt x="66" y="0"/>
                    </a:lnTo>
                    <a:lnTo>
                      <a:pt x="72" y="0"/>
                    </a:lnTo>
                    <a:lnTo>
                      <a:pt x="84" y="6"/>
                    </a:lnTo>
                    <a:lnTo>
                      <a:pt x="96" y="12"/>
                    </a:lnTo>
                    <a:lnTo>
                      <a:pt x="102" y="12"/>
                    </a:lnTo>
                    <a:lnTo>
                      <a:pt x="108" y="12"/>
                    </a:lnTo>
                    <a:lnTo>
                      <a:pt x="114" y="12"/>
                    </a:lnTo>
                    <a:lnTo>
                      <a:pt x="120" y="12"/>
                    </a:lnTo>
                    <a:lnTo>
                      <a:pt x="120" y="18"/>
                    </a:lnTo>
                    <a:lnTo>
                      <a:pt x="132" y="18"/>
                    </a:lnTo>
                    <a:lnTo>
                      <a:pt x="138" y="24"/>
                    </a:lnTo>
                    <a:lnTo>
                      <a:pt x="144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599" name="Group 220"/>
            <p:cNvGrpSpPr>
              <a:grpSpLocks/>
            </p:cNvGrpSpPr>
            <p:nvPr/>
          </p:nvGrpSpPr>
          <p:grpSpPr bwMode="auto">
            <a:xfrm>
              <a:off x="1242514" y="2393684"/>
              <a:ext cx="171057" cy="123391"/>
              <a:chOff x="1476" y="942"/>
              <a:chExt cx="84" cy="72"/>
            </a:xfrm>
            <a:solidFill>
              <a:srgbClr val="0070C0">
                <a:alpha val="27059"/>
              </a:srgbClr>
            </a:solidFill>
          </p:grpSpPr>
          <p:sp>
            <p:nvSpPr>
              <p:cNvPr id="1793" name="Freeform 221"/>
              <p:cNvSpPr>
                <a:spLocks/>
              </p:cNvSpPr>
              <p:nvPr/>
            </p:nvSpPr>
            <p:spPr bwMode="auto">
              <a:xfrm>
                <a:off x="1476" y="942"/>
                <a:ext cx="84" cy="72"/>
              </a:xfrm>
              <a:custGeom>
                <a:avLst/>
                <a:gdLst>
                  <a:gd name="T0" fmla="*/ 24 w 84"/>
                  <a:gd name="T1" fmla="*/ 72 h 72"/>
                  <a:gd name="T2" fmla="*/ 18 w 84"/>
                  <a:gd name="T3" fmla="*/ 60 h 72"/>
                  <a:gd name="T4" fmla="*/ 18 w 84"/>
                  <a:gd name="T5" fmla="*/ 54 h 72"/>
                  <a:gd name="T6" fmla="*/ 24 w 84"/>
                  <a:gd name="T7" fmla="*/ 48 h 72"/>
                  <a:gd name="T8" fmla="*/ 24 w 84"/>
                  <a:gd name="T9" fmla="*/ 48 h 72"/>
                  <a:gd name="T10" fmla="*/ 24 w 84"/>
                  <a:gd name="T11" fmla="*/ 42 h 72"/>
                  <a:gd name="T12" fmla="*/ 24 w 84"/>
                  <a:gd name="T13" fmla="*/ 42 h 72"/>
                  <a:gd name="T14" fmla="*/ 18 w 84"/>
                  <a:gd name="T15" fmla="*/ 36 h 72"/>
                  <a:gd name="T16" fmla="*/ 18 w 84"/>
                  <a:gd name="T17" fmla="*/ 30 h 72"/>
                  <a:gd name="T18" fmla="*/ 18 w 84"/>
                  <a:gd name="T19" fmla="*/ 24 h 72"/>
                  <a:gd name="T20" fmla="*/ 12 w 84"/>
                  <a:gd name="T21" fmla="*/ 18 h 72"/>
                  <a:gd name="T22" fmla="*/ 12 w 84"/>
                  <a:gd name="T23" fmla="*/ 18 h 72"/>
                  <a:gd name="T24" fmla="*/ 12 w 84"/>
                  <a:gd name="T25" fmla="*/ 18 h 72"/>
                  <a:gd name="T26" fmla="*/ 0 w 84"/>
                  <a:gd name="T27" fmla="*/ 12 h 72"/>
                  <a:gd name="T28" fmla="*/ 6 w 84"/>
                  <a:gd name="T29" fmla="*/ 6 h 72"/>
                  <a:gd name="T30" fmla="*/ 0 w 84"/>
                  <a:gd name="T31" fmla="*/ 6 h 72"/>
                  <a:gd name="T32" fmla="*/ 0 w 84"/>
                  <a:gd name="T33" fmla="*/ 0 h 72"/>
                  <a:gd name="T34" fmla="*/ 6 w 84"/>
                  <a:gd name="T35" fmla="*/ 0 h 72"/>
                  <a:gd name="T36" fmla="*/ 12 w 84"/>
                  <a:gd name="T37" fmla="*/ 6 h 72"/>
                  <a:gd name="T38" fmla="*/ 18 w 84"/>
                  <a:gd name="T39" fmla="*/ 12 h 72"/>
                  <a:gd name="T40" fmla="*/ 24 w 84"/>
                  <a:gd name="T41" fmla="*/ 12 h 72"/>
                  <a:gd name="T42" fmla="*/ 36 w 84"/>
                  <a:gd name="T43" fmla="*/ 18 h 72"/>
                  <a:gd name="T44" fmla="*/ 36 w 84"/>
                  <a:gd name="T45" fmla="*/ 12 h 72"/>
                  <a:gd name="T46" fmla="*/ 42 w 84"/>
                  <a:gd name="T47" fmla="*/ 12 h 72"/>
                  <a:gd name="T48" fmla="*/ 54 w 84"/>
                  <a:gd name="T49" fmla="*/ 12 h 72"/>
                  <a:gd name="T50" fmla="*/ 60 w 84"/>
                  <a:gd name="T51" fmla="*/ 12 h 72"/>
                  <a:gd name="T52" fmla="*/ 60 w 84"/>
                  <a:gd name="T53" fmla="*/ 18 h 72"/>
                  <a:gd name="T54" fmla="*/ 72 w 84"/>
                  <a:gd name="T55" fmla="*/ 18 h 72"/>
                  <a:gd name="T56" fmla="*/ 78 w 84"/>
                  <a:gd name="T57" fmla="*/ 24 h 72"/>
                  <a:gd name="T58" fmla="*/ 84 w 84"/>
                  <a:gd name="T59" fmla="*/ 24 h 72"/>
                  <a:gd name="T60" fmla="*/ 84 w 84"/>
                  <a:gd name="T61" fmla="*/ 24 h 72"/>
                  <a:gd name="T62" fmla="*/ 78 w 84"/>
                  <a:gd name="T63" fmla="*/ 36 h 72"/>
                  <a:gd name="T64" fmla="*/ 72 w 84"/>
                  <a:gd name="T65" fmla="*/ 42 h 72"/>
                  <a:gd name="T66" fmla="*/ 72 w 84"/>
                  <a:gd name="T67" fmla="*/ 48 h 72"/>
                  <a:gd name="T68" fmla="*/ 72 w 84"/>
                  <a:gd name="T69" fmla="*/ 48 h 72"/>
                  <a:gd name="T70" fmla="*/ 72 w 84"/>
                  <a:gd name="T71" fmla="*/ 54 h 72"/>
                  <a:gd name="T72" fmla="*/ 72 w 84"/>
                  <a:gd name="T73" fmla="*/ 54 h 72"/>
                  <a:gd name="T74" fmla="*/ 66 w 84"/>
                  <a:gd name="T75" fmla="*/ 54 h 72"/>
                  <a:gd name="T76" fmla="*/ 60 w 84"/>
                  <a:gd name="T77" fmla="*/ 60 h 72"/>
                  <a:gd name="T78" fmla="*/ 54 w 84"/>
                  <a:gd name="T79" fmla="*/ 66 h 72"/>
                  <a:gd name="T80" fmla="*/ 54 w 84"/>
                  <a:gd name="T81" fmla="*/ 66 h 72"/>
                  <a:gd name="T82" fmla="*/ 42 w 84"/>
                  <a:gd name="T83" fmla="*/ 66 h 72"/>
                  <a:gd name="T84" fmla="*/ 42 w 84"/>
                  <a:gd name="T85" fmla="*/ 66 h 72"/>
                  <a:gd name="T86" fmla="*/ 24 w 84"/>
                  <a:gd name="T87" fmla="*/ 72 h 7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84" h="72">
                    <a:moveTo>
                      <a:pt x="24" y="72"/>
                    </a:moveTo>
                    <a:lnTo>
                      <a:pt x="18" y="60"/>
                    </a:lnTo>
                    <a:lnTo>
                      <a:pt x="18" y="54"/>
                    </a:lnTo>
                    <a:lnTo>
                      <a:pt x="24" y="48"/>
                    </a:lnTo>
                    <a:lnTo>
                      <a:pt x="24" y="42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8" y="24"/>
                    </a:lnTo>
                    <a:lnTo>
                      <a:pt x="12" y="18"/>
                    </a:lnTo>
                    <a:lnTo>
                      <a:pt x="0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2" y="6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54" y="12"/>
                    </a:lnTo>
                    <a:lnTo>
                      <a:pt x="60" y="12"/>
                    </a:lnTo>
                    <a:lnTo>
                      <a:pt x="60" y="18"/>
                    </a:lnTo>
                    <a:lnTo>
                      <a:pt x="72" y="18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78" y="36"/>
                    </a:lnTo>
                    <a:lnTo>
                      <a:pt x="72" y="42"/>
                    </a:lnTo>
                    <a:lnTo>
                      <a:pt x="72" y="48"/>
                    </a:lnTo>
                    <a:lnTo>
                      <a:pt x="72" y="54"/>
                    </a:lnTo>
                    <a:lnTo>
                      <a:pt x="66" y="54"/>
                    </a:lnTo>
                    <a:lnTo>
                      <a:pt x="60" y="60"/>
                    </a:lnTo>
                    <a:lnTo>
                      <a:pt x="54" y="66"/>
                    </a:lnTo>
                    <a:lnTo>
                      <a:pt x="42" y="66"/>
                    </a:lnTo>
                    <a:lnTo>
                      <a:pt x="24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94" name="Freeform 222"/>
              <p:cNvSpPr>
                <a:spLocks/>
              </p:cNvSpPr>
              <p:nvPr/>
            </p:nvSpPr>
            <p:spPr bwMode="auto">
              <a:xfrm>
                <a:off x="1476" y="942"/>
                <a:ext cx="84" cy="72"/>
              </a:xfrm>
              <a:custGeom>
                <a:avLst/>
                <a:gdLst>
                  <a:gd name="T0" fmla="*/ 24 w 84"/>
                  <a:gd name="T1" fmla="*/ 72 h 72"/>
                  <a:gd name="T2" fmla="*/ 18 w 84"/>
                  <a:gd name="T3" fmla="*/ 60 h 72"/>
                  <a:gd name="T4" fmla="*/ 18 w 84"/>
                  <a:gd name="T5" fmla="*/ 54 h 72"/>
                  <a:gd name="T6" fmla="*/ 24 w 84"/>
                  <a:gd name="T7" fmla="*/ 48 h 72"/>
                  <a:gd name="T8" fmla="*/ 24 w 84"/>
                  <a:gd name="T9" fmla="*/ 42 h 72"/>
                  <a:gd name="T10" fmla="*/ 18 w 84"/>
                  <a:gd name="T11" fmla="*/ 36 h 72"/>
                  <a:gd name="T12" fmla="*/ 18 w 84"/>
                  <a:gd name="T13" fmla="*/ 30 h 72"/>
                  <a:gd name="T14" fmla="*/ 18 w 84"/>
                  <a:gd name="T15" fmla="*/ 24 h 72"/>
                  <a:gd name="T16" fmla="*/ 12 w 84"/>
                  <a:gd name="T17" fmla="*/ 18 h 72"/>
                  <a:gd name="T18" fmla="*/ 0 w 84"/>
                  <a:gd name="T19" fmla="*/ 12 h 72"/>
                  <a:gd name="T20" fmla="*/ 6 w 84"/>
                  <a:gd name="T21" fmla="*/ 6 h 72"/>
                  <a:gd name="T22" fmla="*/ 0 w 84"/>
                  <a:gd name="T23" fmla="*/ 6 h 72"/>
                  <a:gd name="T24" fmla="*/ 0 w 84"/>
                  <a:gd name="T25" fmla="*/ 0 h 72"/>
                  <a:gd name="T26" fmla="*/ 6 w 84"/>
                  <a:gd name="T27" fmla="*/ 0 h 72"/>
                  <a:gd name="T28" fmla="*/ 12 w 84"/>
                  <a:gd name="T29" fmla="*/ 6 h 72"/>
                  <a:gd name="T30" fmla="*/ 18 w 84"/>
                  <a:gd name="T31" fmla="*/ 12 h 72"/>
                  <a:gd name="T32" fmla="*/ 24 w 84"/>
                  <a:gd name="T33" fmla="*/ 12 h 72"/>
                  <a:gd name="T34" fmla="*/ 36 w 84"/>
                  <a:gd name="T35" fmla="*/ 18 h 72"/>
                  <a:gd name="T36" fmla="*/ 36 w 84"/>
                  <a:gd name="T37" fmla="*/ 12 h 72"/>
                  <a:gd name="T38" fmla="*/ 42 w 84"/>
                  <a:gd name="T39" fmla="*/ 12 h 72"/>
                  <a:gd name="T40" fmla="*/ 54 w 84"/>
                  <a:gd name="T41" fmla="*/ 12 h 72"/>
                  <a:gd name="T42" fmla="*/ 60 w 84"/>
                  <a:gd name="T43" fmla="*/ 12 h 72"/>
                  <a:gd name="T44" fmla="*/ 60 w 84"/>
                  <a:gd name="T45" fmla="*/ 18 h 72"/>
                  <a:gd name="T46" fmla="*/ 72 w 84"/>
                  <a:gd name="T47" fmla="*/ 18 h 72"/>
                  <a:gd name="T48" fmla="*/ 78 w 84"/>
                  <a:gd name="T49" fmla="*/ 24 h 72"/>
                  <a:gd name="T50" fmla="*/ 84 w 84"/>
                  <a:gd name="T51" fmla="*/ 24 h 72"/>
                  <a:gd name="T52" fmla="*/ 78 w 84"/>
                  <a:gd name="T53" fmla="*/ 36 h 72"/>
                  <a:gd name="T54" fmla="*/ 72 w 84"/>
                  <a:gd name="T55" fmla="*/ 42 h 72"/>
                  <a:gd name="T56" fmla="*/ 72 w 84"/>
                  <a:gd name="T57" fmla="*/ 48 h 72"/>
                  <a:gd name="T58" fmla="*/ 72 w 84"/>
                  <a:gd name="T59" fmla="*/ 54 h 72"/>
                  <a:gd name="T60" fmla="*/ 66 w 84"/>
                  <a:gd name="T61" fmla="*/ 54 h 72"/>
                  <a:gd name="T62" fmla="*/ 60 w 84"/>
                  <a:gd name="T63" fmla="*/ 60 h 72"/>
                  <a:gd name="T64" fmla="*/ 54 w 84"/>
                  <a:gd name="T65" fmla="*/ 66 h 72"/>
                  <a:gd name="T66" fmla="*/ 42 w 84"/>
                  <a:gd name="T67" fmla="*/ 66 h 72"/>
                  <a:gd name="T68" fmla="*/ 24 w 84"/>
                  <a:gd name="T69" fmla="*/ 72 h 7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84" h="72">
                    <a:moveTo>
                      <a:pt x="24" y="72"/>
                    </a:moveTo>
                    <a:lnTo>
                      <a:pt x="18" y="60"/>
                    </a:lnTo>
                    <a:lnTo>
                      <a:pt x="18" y="54"/>
                    </a:lnTo>
                    <a:lnTo>
                      <a:pt x="24" y="48"/>
                    </a:lnTo>
                    <a:lnTo>
                      <a:pt x="24" y="42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8" y="24"/>
                    </a:lnTo>
                    <a:lnTo>
                      <a:pt x="12" y="18"/>
                    </a:lnTo>
                    <a:lnTo>
                      <a:pt x="0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2" y="6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54" y="12"/>
                    </a:lnTo>
                    <a:lnTo>
                      <a:pt x="60" y="12"/>
                    </a:lnTo>
                    <a:lnTo>
                      <a:pt x="60" y="18"/>
                    </a:lnTo>
                    <a:lnTo>
                      <a:pt x="72" y="18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78" y="36"/>
                    </a:lnTo>
                    <a:lnTo>
                      <a:pt x="72" y="42"/>
                    </a:lnTo>
                    <a:lnTo>
                      <a:pt x="72" y="48"/>
                    </a:lnTo>
                    <a:lnTo>
                      <a:pt x="72" y="54"/>
                    </a:lnTo>
                    <a:lnTo>
                      <a:pt x="66" y="54"/>
                    </a:lnTo>
                    <a:lnTo>
                      <a:pt x="60" y="60"/>
                    </a:lnTo>
                    <a:lnTo>
                      <a:pt x="54" y="66"/>
                    </a:lnTo>
                    <a:lnTo>
                      <a:pt x="42" y="66"/>
                    </a:lnTo>
                    <a:lnTo>
                      <a:pt x="24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00" name="Group 223"/>
            <p:cNvGrpSpPr>
              <a:grpSpLocks/>
            </p:cNvGrpSpPr>
            <p:nvPr/>
          </p:nvGrpSpPr>
          <p:grpSpPr bwMode="auto">
            <a:xfrm>
              <a:off x="1219450" y="2506961"/>
              <a:ext cx="132617" cy="113277"/>
              <a:chOff x="1464" y="1008"/>
              <a:chExt cx="66" cy="66"/>
            </a:xfrm>
            <a:solidFill>
              <a:srgbClr val="0070C0">
                <a:alpha val="27059"/>
              </a:srgbClr>
            </a:solidFill>
          </p:grpSpPr>
          <p:sp>
            <p:nvSpPr>
              <p:cNvPr id="1791" name="Freeform 224"/>
              <p:cNvSpPr>
                <a:spLocks/>
              </p:cNvSpPr>
              <p:nvPr/>
            </p:nvSpPr>
            <p:spPr bwMode="auto">
              <a:xfrm>
                <a:off x="1464" y="1008"/>
                <a:ext cx="66" cy="66"/>
              </a:xfrm>
              <a:custGeom>
                <a:avLst/>
                <a:gdLst>
                  <a:gd name="T0" fmla="*/ 66 w 66"/>
                  <a:gd name="T1" fmla="*/ 0 h 66"/>
                  <a:gd name="T2" fmla="*/ 54 w 66"/>
                  <a:gd name="T3" fmla="*/ 6 h 66"/>
                  <a:gd name="T4" fmla="*/ 54 w 66"/>
                  <a:gd name="T5" fmla="*/ 6 h 66"/>
                  <a:gd name="T6" fmla="*/ 54 w 66"/>
                  <a:gd name="T7" fmla="*/ 0 h 66"/>
                  <a:gd name="T8" fmla="*/ 36 w 66"/>
                  <a:gd name="T9" fmla="*/ 6 h 66"/>
                  <a:gd name="T10" fmla="*/ 30 w 66"/>
                  <a:gd name="T11" fmla="*/ 6 h 66"/>
                  <a:gd name="T12" fmla="*/ 18 w 66"/>
                  <a:gd name="T13" fmla="*/ 6 h 66"/>
                  <a:gd name="T14" fmla="*/ 18 w 66"/>
                  <a:gd name="T15" fmla="*/ 12 h 66"/>
                  <a:gd name="T16" fmla="*/ 12 w 66"/>
                  <a:gd name="T17" fmla="*/ 18 h 66"/>
                  <a:gd name="T18" fmla="*/ 6 w 66"/>
                  <a:gd name="T19" fmla="*/ 24 h 66"/>
                  <a:gd name="T20" fmla="*/ 0 w 66"/>
                  <a:gd name="T21" fmla="*/ 30 h 66"/>
                  <a:gd name="T22" fmla="*/ 6 w 66"/>
                  <a:gd name="T23" fmla="*/ 36 h 66"/>
                  <a:gd name="T24" fmla="*/ 24 w 66"/>
                  <a:gd name="T25" fmla="*/ 66 h 66"/>
                  <a:gd name="T26" fmla="*/ 36 w 66"/>
                  <a:gd name="T27" fmla="*/ 66 h 66"/>
                  <a:gd name="T28" fmla="*/ 36 w 66"/>
                  <a:gd name="T29" fmla="*/ 48 h 66"/>
                  <a:gd name="T30" fmla="*/ 42 w 66"/>
                  <a:gd name="T31" fmla="*/ 48 h 66"/>
                  <a:gd name="T32" fmla="*/ 48 w 66"/>
                  <a:gd name="T33" fmla="*/ 36 h 66"/>
                  <a:gd name="T34" fmla="*/ 48 w 66"/>
                  <a:gd name="T35" fmla="*/ 30 h 66"/>
                  <a:gd name="T36" fmla="*/ 48 w 66"/>
                  <a:gd name="T37" fmla="*/ 30 h 66"/>
                  <a:gd name="T38" fmla="*/ 48 w 66"/>
                  <a:gd name="T39" fmla="*/ 18 h 66"/>
                  <a:gd name="T40" fmla="*/ 54 w 66"/>
                  <a:gd name="T41" fmla="*/ 12 h 66"/>
                  <a:gd name="T42" fmla="*/ 60 w 66"/>
                  <a:gd name="T43" fmla="*/ 12 h 66"/>
                  <a:gd name="T44" fmla="*/ 66 w 66"/>
                  <a:gd name="T45" fmla="*/ 12 h 66"/>
                  <a:gd name="T46" fmla="*/ 66 w 66"/>
                  <a:gd name="T47" fmla="*/ 0 h 6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66" h="66">
                    <a:moveTo>
                      <a:pt x="66" y="0"/>
                    </a:moveTo>
                    <a:lnTo>
                      <a:pt x="54" y="6"/>
                    </a:lnTo>
                    <a:lnTo>
                      <a:pt x="54" y="0"/>
                    </a:lnTo>
                    <a:lnTo>
                      <a:pt x="36" y="6"/>
                    </a:lnTo>
                    <a:lnTo>
                      <a:pt x="30" y="6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12" y="18"/>
                    </a:lnTo>
                    <a:lnTo>
                      <a:pt x="6" y="24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24" y="66"/>
                    </a:lnTo>
                    <a:lnTo>
                      <a:pt x="36" y="66"/>
                    </a:lnTo>
                    <a:lnTo>
                      <a:pt x="36" y="48"/>
                    </a:lnTo>
                    <a:lnTo>
                      <a:pt x="42" y="48"/>
                    </a:lnTo>
                    <a:lnTo>
                      <a:pt x="48" y="36"/>
                    </a:lnTo>
                    <a:lnTo>
                      <a:pt x="48" y="30"/>
                    </a:lnTo>
                    <a:lnTo>
                      <a:pt x="48" y="18"/>
                    </a:lnTo>
                    <a:lnTo>
                      <a:pt x="54" y="12"/>
                    </a:lnTo>
                    <a:lnTo>
                      <a:pt x="60" y="12"/>
                    </a:lnTo>
                    <a:lnTo>
                      <a:pt x="66" y="12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92" name="Freeform 225"/>
              <p:cNvSpPr>
                <a:spLocks/>
              </p:cNvSpPr>
              <p:nvPr/>
            </p:nvSpPr>
            <p:spPr bwMode="auto">
              <a:xfrm>
                <a:off x="1464" y="1008"/>
                <a:ext cx="66" cy="66"/>
              </a:xfrm>
              <a:custGeom>
                <a:avLst/>
                <a:gdLst>
                  <a:gd name="T0" fmla="*/ 66 w 66"/>
                  <a:gd name="T1" fmla="*/ 0 h 66"/>
                  <a:gd name="T2" fmla="*/ 54 w 66"/>
                  <a:gd name="T3" fmla="*/ 6 h 66"/>
                  <a:gd name="T4" fmla="*/ 54 w 66"/>
                  <a:gd name="T5" fmla="*/ 0 h 66"/>
                  <a:gd name="T6" fmla="*/ 36 w 66"/>
                  <a:gd name="T7" fmla="*/ 6 h 66"/>
                  <a:gd name="T8" fmla="*/ 30 w 66"/>
                  <a:gd name="T9" fmla="*/ 6 h 66"/>
                  <a:gd name="T10" fmla="*/ 18 w 66"/>
                  <a:gd name="T11" fmla="*/ 6 h 66"/>
                  <a:gd name="T12" fmla="*/ 18 w 66"/>
                  <a:gd name="T13" fmla="*/ 12 h 66"/>
                  <a:gd name="T14" fmla="*/ 12 w 66"/>
                  <a:gd name="T15" fmla="*/ 18 h 66"/>
                  <a:gd name="T16" fmla="*/ 6 w 66"/>
                  <a:gd name="T17" fmla="*/ 24 h 66"/>
                  <a:gd name="T18" fmla="*/ 0 w 66"/>
                  <a:gd name="T19" fmla="*/ 30 h 66"/>
                  <a:gd name="T20" fmla="*/ 6 w 66"/>
                  <a:gd name="T21" fmla="*/ 36 h 66"/>
                  <a:gd name="T22" fmla="*/ 24 w 66"/>
                  <a:gd name="T23" fmla="*/ 66 h 66"/>
                  <a:gd name="T24" fmla="*/ 36 w 66"/>
                  <a:gd name="T25" fmla="*/ 66 h 66"/>
                  <a:gd name="T26" fmla="*/ 36 w 66"/>
                  <a:gd name="T27" fmla="*/ 48 h 66"/>
                  <a:gd name="T28" fmla="*/ 42 w 66"/>
                  <a:gd name="T29" fmla="*/ 48 h 66"/>
                  <a:gd name="T30" fmla="*/ 48 w 66"/>
                  <a:gd name="T31" fmla="*/ 36 h 66"/>
                  <a:gd name="T32" fmla="*/ 48 w 66"/>
                  <a:gd name="T33" fmla="*/ 30 h 66"/>
                  <a:gd name="T34" fmla="*/ 48 w 66"/>
                  <a:gd name="T35" fmla="*/ 18 h 66"/>
                  <a:gd name="T36" fmla="*/ 54 w 66"/>
                  <a:gd name="T37" fmla="*/ 12 h 66"/>
                  <a:gd name="T38" fmla="*/ 60 w 66"/>
                  <a:gd name="T39" fmla="*/ 12 h 66"/>
                  <a:gd name="T40" fmla="*/ 66 w 66"/>
                  <a:gd name="T41" fmla="*/ 12 h 66"/>
                  <a:gd name="T42" fmla="*/ 66 w 66"/>
                  <a:gd name="T43" fmla="*/ 0 h 6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6" h="66">
                    <a:moveTo>
                      <a:pt x="66" y="0"/>
                    </a:moveTo>
                    <a:lnTo>
                      <a:pt x="54" y="6"/>
                    </a:lnTo>
                    <a:lnTo>
                      <a:pt x="54" y="0"/>
                    </a:lnTo>
                    <a:lnTo>
                      <a:pt x="36" y="6"/>
                    </a:lnTo>
                    <a:lnTo>
                      <a:pt x="30" y="6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12" y="18"/>
                    </a:lnTo>
                    <a:lnTo>
                      <a:pt x="6" y="24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24" y="66"/>
                    </a:lnTo>
                    <a:lnTo>
                      <a:pt x="36" y="66"/>
                    </a:lnTo>
                    <a:lnTo>
                      <a:pt x="36" y="48"/>
                    </a:lnTo>
                    <a:lnTo>
                      <a:pt x="42" y="48"/>
                    </a:lnTo>
                    <a:lnTo>
                      <a:pt x="48" y="36"/>
                    </a:lnTo>
                    <a:lnTo>
                      <a:pt x="48" y="30"/>
                    </a:lnTo>
                    <a:lnTo>
                      <a:pt x="48" y="18"/>
                    </a:lnTo>
                    <a:lnTo>
                      <a:pt x="54" y="12"/>
                    </a:lnTo>
                    <a:lnTo>
                      <a:pt x="60" y="12"/>
                    </a:lnTo>
                    <a:lnTo>
                      <a:pt x="66" y="12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01" name="Group 226"/>
            <p:cNvGrpSpPr>
              <a:grpSpLocks/>
            </p:cNvGrpSpPr>
            <p:nvPr/>
          </p:nvGrpSpPr>
          <p:grpSpPr bwMode="auto">
            <a:xfrm>
              <a:off x="1219450" y="2476619"/>
              <a:ext cx="34596" cy="80912"/>
              <a:chOff x="1464" y="990"/>
              <a:chExt cx="18" cy="48"/>
            </a:xfrm>
            <a:solidFill>
              <a:srgbClr val="0070C0">
                <a:alpha val="27059"/>
              </a:srgbClr>
            </a:solidFill>
          </p:grpSpPr>
          <p:sp>
            <p:nvSpPr>
              <p:cNvPr id="1789" name="Freeform 227"/>
              <p:cNvSpPr>
                <a:spLocks/>
              </p:cNvSpPr>
              <p:nvPr/>
            </p:nvSpPr>
            <p:spPr bwMode="auto">
              <a:xfrm>
                <a:off x="1464" y="990"/>
                <a:ext cx="18" cy="48"/>
              </a:xfrm>
              <a:custGeom>
                <a:avLst/>
                <a:gdLst>
                  <a:gd name="T0" fmla="*/ 0 w 18"/>
                  <a:gd name="T1" fmla="*/ 12 h 48"/>
                  <a:gd name="T2" fmla="*/ 6 w 18"/>
                  <a:gd name="T3" fmla="*/ 18 h 48"/>
                  <a:gd name="T4" fmla="*/ 6 w 18"/>
                  <a:gd name="T5" fmla="*/ 24 h 48"/>
                  <a:gd name="T6" fmla="*/ 6 w 18"/>
                  <a:gd name="T7" fmla="*/ 30 h 48"/>
                  <a:gd name="T8" fmla="*/ 6 w 18"/>
                  <a:gd name="T9" fmla="*/ 30 h 48"/>
                  <a:gd name="T10" fmla="*/ 6 w 18"/>
                  <a:gd name="T11" fmla="*/ 36 h 48"/>
                  <a:gd name="T12" fmla="*/ 6 w 18"/>
                  <a:gd name="T13" fmla="*/ 36 h 48"/>
                  <a:gd name="T14" fmla="*/ 0 w 18"/>
                  <a:gd name="T15" fmla="*/ 42 h 48"/>
                  <a:gd name="T16" fmla="*/ 0 w 18"/>
                  <a:gd name="T17" fmla="*/ 48 h 48"/>
                  <a:gd name="T18" fmla="*/ 6 w 18"/>
                  <a:gd name="T19" fmla="*/ 42 h 48"/>
                  <a:gd name="T20" fmla="*/ 6 w 18"/>
                  <a:gd name="T21" fmla="*/ 36 h 48"/>
                  <a:gd name="T22" fmla="*/ 18 w 18"/>
                  <a:gd name="T23" fmla="*/ 30 h 48"/>
                  <a:gd name="T24" fmla="*/ 18 w 18"/>
                  <a:gd name="T25" fmla="*/ 24 h 48"/>
                  <a:gd name="T26" fmla="*/ 18 w 18"/>
                  <a:gd name="T27" fmla="*/ 24 h 48"/>
                  <a:gd name="T28" fmla="*/ 18 w 18"/>
                  <a:gd name="T29" fmla="*/ 18 h 48"/>
                  <a:gd name="T30" fmla="*/ 18 w 18"/>
                  <a:gd name="T31" fmla="*/ 18 h 48"/>
                  <a:gd name="T32" fmla="*/ 18 w 18"/>
                  <a:gd name="T33" fmla="*/ 12 h 48"/>
                  <a:gd name="T34" fmla="*/ 12 w 18"/>
                  <a:gd name="T35" fmla="*/ 0 h 48"/>
                  <a:gd name="T36" fmla="*/ 12 w 18"/>
                  <a:gd name="T37" fmla="*/ 0 h 48"/>
                  <a:gd name="T38" fmla="*/ 6 w 18"/>
                  <a:gd name="T39" fmla="*/ 0 h 48"/>
                  <a:gd name="T40" fmla="*/ 0 w 18"/>
                  <a:gd name="T41" fmla="*/ 0 h 48"/>
                  <a:gd name="T42" fmla="*/ 0 w 18"/>
                  <a:gd name="T43" fmla="*/ 0 h 48"/>
                  <a:gd name="T44" fmla="*/ 0 w 18"/>
                  <a:gd name="T45" fmla="*/ 12 h 4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8" h="48">
                    <a:moveTo>
                      <a:pt x="0" y="12"/>
                    </a:moveTo>
                    <a:lnTo>
                      <a:pt x="6" y="18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18" y="30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90" name="Freeform 228"/>
              <p:cNvSpPr>
                <a:spLocks/>
              </p:cNvSpPr>
              <p:nvPr/>
            </p:nvSpPr>
            <p:spPr bwMode="auto">
              <a:xfrm>
                <a:off x="1464" y="990"/>
                <a:ext cx="18" cy="48"/>
              </a:xfrm>
              <a:custGeom>
                <a:avLst/>
                <a:gdLst>
                  <a:gd name="T0" fmla="*/ 0 w 18"/>
                  <a:gd name="T1" fmla="*/ 12 h 48"/>
                  <a:gd name="T2" fmla="*/ 6 w 18"/>
                  <a:gd name="T3" fmla="*/ 18 h 48"/>
                  <a:gd name="T4" fmla="*/ 6 w 18"/>
                  <a:gd name="T5" fmla="*/ 24 h 48"/>
                  <a:gd name="T6" fmla="*/ 6 w 18"/>
                  <a:gd name="T7" fmla="*/ 30 h 48"/>
                  <a:gd name="T8" fmla="*/ 6 w 18"/>
                  <a:gd name="T9" fmla="*/ 36 h 48"/>
                  <a:gd name="T10" fmla="*/ 0 w 18"/>
                  <a:gd name="T11" fmla="*/ 42 h 48"/>
                  <a:gd name="T12" fmla="*/ 0 w 18"/>
                  <a:gd name="T13" fmla="*/ 48 h 48"/>
                  <a:gd name="T14" fmla="*/ 6 w 18"/>
                  <a:gd name="T15" fmla="*/ 42 h 48"/>
                  <a:gd name="T16" fmla="*/ 6 w 18"/>
                  <a:gd name="T17" fmla="*/ 36 h 48"/>
                  <a:gd name="T18" fmla="*/ 18 w 18"/>
                  <a:gd name="T19" fmla="*/ 30 h 48"/>
                  <a:gd name="T20" fmla="*/ 18 w 18"/>
                  <a:gd name="T21" fmla="*/ 24 h 48"/>
                  <a:gd name="T22" fmla="*/ 18 w 18"/>
                  <a:gd name="T23" fmla="*/ 18 h 48"/>
                  <a:gd name="T24" fmla="*/ 18 w 18"/>
                  <a:gd name="T25" fmla="*/ 12 h 48"/>
                  <a:gd name="T26" fmla="*/ 12 w 18"/>
                  <a:gd name="T27" fmla="*/ 0 h 48"/>
                  <a:gd name="T28" fmla="*/ 6 w 18"/>
                  <a:gd name="T29" fmla="*/ 0 h 48"/>
                  <a:gd name="T30" fmla="*/ 0 w 18"/>
                  <a:gd name="T31" fmla="*/ 0 h 48"/>
                  <a:gd name="T32" fmla="*/ 0 w 18"/>
                  <a:gd name="T33" fmla="*/ 12 h 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8" h="48">
                    <a:moveTo>
                      <a:pt x="0" y="12"/>
                    </a:moveTo>
                    <a:lnTo>
                      <a:pt x="6" y="18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18" y="30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02" name="Group 229"/>
            <p:cNvGrpSpPr>
              <a:grpSpLocks/>
            </p:cNvGrpSpPr>
            <p:nvPr/>
          </p:nvGrpSpPr>
          <p:grpSpPr bwMode="auto">
            <a:xfrm>
              <a:off x="1084911" y="2371433"/>
              <a:ext cx="207575" cy="145642"/>
              <a:chOff x="1398" y="930"/>
              <a:chExt cx="102" cy="84"/>
            </a:xfrm>
            <a:solidFill>
              <a:srgbClr val="0070C0">
                <a:alpha val="27059"/>
              </a:srgbClr>
            </a:solidFill>
          </p:grpSpPr>
          <p:sp>
            <p:nvSpPr>
              <p:cNvPr id="1787" name="Freeform 230"/>
              <p:cNvSpPr>
                <a:spLocks/>
              </p:cNvSpPr>
              <p:nvPr/>
            </p:nvSpPr>
            <p:spPr bwMode="auto">
              <a:xfrm>
                <a:off x="1398" y="930"/>
                <a:ext cx="102" cy="84"/>
              </a:xfrm>
              <a:custGeom>
                <a:avLst/>
                <a:gdLst>
                  <a:gd name="T0" fmla="*/ 18 w 102"/>
                  <a:gd name="T1" fmla="*/ 36 h 84"/>
                  <a:gd name="T2" fmla="*/ 12 w 102"/>
                  <a:gd name="T3" fmla="*/ 30 h 84"/>
                  <a:gd name="T4" fmla="*/ 12 w 102"/>
                  <a:gd name="T5" fmla="*/ 30 h 84"/>
                  <a:gd name="T6" fmla="*/ 12 w 102"/>
                  <a:gd name="T7" fmla="*/ 30 h 84"/>
                  <a:gd name="T8" fmla="*/ 12 w 102"/>
                  <a:gd name="T9" fmla="*/ 24 h 84"/>
                  <a:gd name="T10" fmla="*/ 6 w 102"/>
                  <a:gd name="T11" fmla="*/ 24 h 84"/>
                  <a:gd name="T12" fmla="*/ 0 w 102"/>
                  <a:gd name="T13" fmla="*/ 18 h 84"/>
                  <a:gd name="T14" fmla="*/ 12 w 102"/>
                  <a:gd name="T15" fmla="*/ 12 h 84"/>
                  <a:gd name="T16" fmla="*/ 24 w 102"/>
                  <a:gd name="T17" fmla="*/ 12 h 84"/>
                  <a:gd name="T18" fmla="*/ 42 w 102"/>
                  <a:gd name="T19" fmla="*/ 6 h 84"/>
                  <a:gd name="T20" fmla="*/ 42 w 102"/>
                  <a:gd name="T21" fmla="*/ 6 h 84"/>
                  <a:gd name="T22" fmla="*/ 42 w 102"/>
                  <a:gd name="T23" fmla="*/ 0 h 84"/>
                  <a:gd name="T24" fmla="*/ 42 w 102"/>
                  <a:gd name="T25" fmla="*/ 0 h 84"/>
                  <a:gd name="T26" fmla="*/ 42 w 102"/>
                  <a:gd name="T27" fmla="*/ 6 h 84"/>
                  <a:gd name="T28" fmla="*/ 48 w 102"/>
                  <a:gd name="T29" fmla="*/ 18 h 84"/>
                  <a:gd name="T30" fmla="*/ 60 w 102"/>
                  <a:gd name="T31" fmla="*/ 18 h 84"/>
                  <a:gd name="T32" fmla="*/ 66 w 102"/>
                  <a:gd name="T33" fmla="*/ 18 h 84"/>
                  <a:gd name="T34" fmla="*/ 72 w 102"/>
                  <a:gd name="T35" fmla="*/ 12 h 84"/>
                  <a:gd name="T36" fmla="*/ 78 w 102"/>
                  <a:gd name="T37" fmla="*/ 12 h 84"/>
                  <a:gd name="T38" fmla="*/ 78 w 102"/>
                  <a:gd name="T39" fmla="*/ 18 h 84"/>
                  <a:gd name="T40" fmla="*/ 84 w 102"/>
                  <a:gd name="T41" fmla="*/ 18 h 84"/>
                  <a:gd name="T42" fmla="*/ 78 w 102"/>
                  <a:gd name="T43" fmla="*/ 24 h 84"/>
                  <a:gd name="T44" fmla="*/ 90 w 102"/>
                  <a:gd name="T45" fmla="*/ 30 h 84"/>
                  <a:gd name="T46" fmla="*/ 90 w 102"/>
                  <a:gd name="T47" fmla="*/ 30 h 84"/>
                  <a:gd name="T48" fmla="*/ 90 w 102"/>
                  <a:gd name="T49" fmla="*/ 30 h 84"/>
                  <a:gd name="T50" fmla="*/ 96 w 102"/>
                  <a:gd name="T51" fmla="*/ 36 h 84"/>
                  <a:gd name="T52" fmla="*/ 96 w 102"/>
                  <a:gd name="T53" fmla="*/ 42 h 84"/>
                  <a:gd name="T54" fmla="*/ 96 w 102"/>
                  <a:gd name="T55" fmla="*/ 48 h 84"/>
                  <a:gd name="T56" fmla="*/ 102 w 102"/>
                  <a:gd name="T57" fmla="*/ 54 h 84"/>
                  <a:gd name="T58" fmla="*/ 102 w 102"/>
                  <a:gd name="T59" fmla="*/ 54 h 84"/>
                  <a:gd name="T60" fmla="*/ 102 w 102"/>
                  <a:gd name="T61" fmla="*/ 60 h 84"/>
                  <a:gd name="T62" fmla="*/ 102 w 102"/>
                  <a:gd name="T63" fmla="*/ 60 h 84"/>
                  <a:gd name="T64" fmla="*/ 96 w 102"/>
                  <a:gd name="T65" fmla="*/ 66 h 84"/>
                  <a:gd name="T66" fmla="*/ 96 w 102"/>
                  <a:gd name="T67" fmla="*/ 72 h 84"/>
                  <a:gd name="T68" fmla="*/ 102 w 102"/>
                  <a:gd name="T69" fmla="*/ 84 h 84"/>
                  <a:gd name="T70" fmla="*/ 96 w 102"/>
                  <a:gd name="T71" fmla="*/ 84 h 84"/>
                  <a:gd name="T72" fmla="*/ 84 w 102"/>
                  <a:gd name="T73" fmla="*/ 84 h 84"/>
                  <a:gd name="T74" fmla="*/ 84 w 102"/>
                  <a:gd name="T75" fmla="*/ 78 h 84"/>
                  <a:gd name="T76" fmla="*/ 84 w 102"/>
                  <a:gd name="T77" fmla="*/ 78 h 84"/>
                  <a:gd name="T78" fmla="*/ 78 w 102"/>
                  <a:gd name="T79" fmla="*/ 66 h 84"/>
                  <a:gd name="T80" fmla="*/ 78 w 102"/>
                  <a:gd name="T81" fmla="*/ 60 h 84"/>
                  <a:gd name="T82" fmla="*/ 72 w 102"/>
                  <a:gd name="T83" fmla="*/ 60 h 84"/>
                  <a:gd name="T84" fmla="*/ 72 w 102"/>
                  <a:gd name="T85" fmla="*/ 60 h 84"/>
                  <a:gd name="T86" fmla="*/ 66 w 102"/>
                  <a:gd name="T87" fmla="*/ 60 h 84"/>
                  <a:gd name="T88" fmla="*/ 66 w 102"/>
                  <a:gd name="T89" fmla="*/ 72 h 84"/>
                  <a:gd name="T90" fmla="*/ 48 w 102"/>
                  <a:gd name="T91" fmla="*/ 60 h 84"/>
                  <a:gd name="T92" fmla="*/ 42 w 102"/>
                  <a:gd name="T93" fmla="*/ 54 h 84"/>
                  <a:gd name="T94" fmla="*/ 36 w 102"/>
                  <a:gd name="T95" fmla="*/ 54 h 84"/>
                  <a:gd name="T96" fmla="*/ 36 w 102"/>
                  <a:gd name="T97" fmla="*/ 48 h 84"/>
                  <a:gd name="T98" fmla="*/ 30 w 102"/>
                  <a:gd name="T99" fmla="*/ 42 h 84"/>
                  <a:gd name="T100" fmla="*/ 24 w 102"/>
                  <a:gd name="T101" fmla="*/ 48 h 84"/>
                  <a:gd name="T102" fmla="*/ 18 w 102"/>
                  <a:gd name="T103" fmla="*/ 36 h 8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02" h="84">
                    <a:moveTo>
                      <a:pt x="18" y="36"/>
                    </a:moveTo>
                    <a:lnTo>
                      <a:pt x="12" y="30"/>
                    </a:lnTo>
                    <a:lnTo>
                      <a:pt x="12" y="24"/>
                    </a:lnTo>
                    <a:lnTo>
                      <a:pt x="6" y="24"/>
                    </a:lnTo>
                    <a:lnTo>
                      <a:pt x="0" y="18"/>
                    </a:lnTo>
                    <a:lnTo>
                      <a:pt x="12" y="12"/>
                    </a:lnTo>
                    <a:lnTo>
                      <a:pt x="24" y="12"/>
                    </a:lnTo>
                    <a:lnTo>
                      <a:pt x="42" y="6"/>
                    </a:lnTo>
                    <a:lnTo>
                      <a:pt x="42" y="0"/>
                    </a:lnTo>
                    <a:lnTo>
                      <a:pt x="42" y="6"/>
                    </a:lnTo>
                    <a:lnTo>
                      <a:pt x="48" y="18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72" y="12"/>
                    </a:lnTo>
                    <a:lnTo>
                      <a:pt x="78" y="12"/>
                    </a:lnTo>
                    <a:lnTo>
                      <a:pt x="78" y="18"/>
                    </a:lnTo>
                    <a:lnTo>
                      <a:pt x="84" y="18"/>
                    </a:lnTo>
                    <a:lnTo>
                      <a:pt x="78" y="24"/>
                    </a:lnTo>
                    <a:lnTo>
                      <a:pt x="90" y="30"/>
                    </a:lnTo>
                    <a:lnTo>
                      <a:pt x="96" y="36"/>
                    </a:lnTo>
                    <a:lnTo>
                      <a:pt x="96" y="42"/>
                    </a:lnTo>
                    <a:lnTo>
                      <a:pt x="96" y="48"/>
                    </a:lnTo>
                    <a:lnTo>
                      <a:pt x="102" y="54"/>
                    </a:lnTo>
                    <a:lnTo>
                      <a:pt x="102" y="60"/>
                    </a:lnTo>
                    <a:lnTo>
                      <a:pt x="96" y="66"/>
                    </a:lnTo>
                    <a:lnTo>
                      <a:pt x="96" y="72"/>
                    </a:lnTo>
                    <a:lnTo>
                      <a:pt x="102" y="84"/>
                    </a:lnTo>
                    <a:lnTo>
                      <a:pt x="96" y="84"/>
                    </a:lnTo>
                    <a:lnTo>
                      <a:pt x="84" y="84"/>
                    </a:lnTo>
                    <a:lnTo>
                      <a:pt x="84" y="78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72" y="60"/>
                    </a:lnTo>
                    <a:lnTo>
                      <a:pt x="66" y="60"/>
                    </a:lnTo>
                    <a:lnTo>
                      <a:pt x="66" y="72"/>
                    </a:lnTo>
                    <a:lnTo>
                      <a:pt x="48" y="60"/>
                    </a:lnTo>
                    <a:lnTo>
                      <a:pt x="42" y="54"/>
                    </a:lnTo>
                    <a:lnTo>
                      <a:pt x="36" y="54"/>
                    </a:lnTo>
                    <a:lnTo>
                      <a:pt x="36" y="48"/>
                    </a:lnTo>
                    <a:lnTo>
                      <a:pt x="30" y="42"/>
                    </a:lnTo>
                    <a:lnTo>
                      <a:pt x="24" y="48"/>
                    </a:lnTo>
                    <a:lnTo>
                      <a:pt x="1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88" name="Freeform 231"/>
              <p:cNvSpPr>
                <a:spLocks/>
              </p:cNvSpPr>
              <p:nvPr/>
            </p:nvSpPr>
            <p:spPr bwMode="auto">
              <a:xfrm>
                <a:off x="1398" y="930"/>
                <a:ext cx="102" cy="84"/>
              </a:xfrm>
              <a:custGeom>
                <a:avLst/>
                <a:gdLst>
                  <a:gd name="T0" fmla="*/ 18 w 102"/>
                  <a:gd name="T1" fmla="*/ 36 h 84"/>
                  <a:gd name="T2" fmla="*/ 12 w 102"/>
                  <a:gd name="T3" fmla="*/ 30 h 84"/>
                  <a:gd name="T4" fmla="*/ 12 w 102"/>
                  <a:gd name="T5" fmla="*/ 24 h 84"/>
                  <a:gd name="T6" fmla="*/ 6 w 102"/>
                  <a:gd name="T7" fmla="*/ 24 h 84"/>
                  <a:gd name="T8" fmla="*/ 0 w 102"/>
                  <a:gd name="T9" fmla="*/ 18 h 84"/>
                  <a:gd name="T10" fmla="*/ 12 w 102"/>
                  <a:gd name="T11" fmla="*/ 12 h 84"/>
                  <a:gd name="T12" fmla="*/ 24 w 102"/>
                  <a:gd name="T13" fmla="*/ 12 h 84"/>
                  <a:gd name="T14" fmla="*/ 42 w 102"/>
                  <a:gd name="T15" fmla="*/ 6 h 84"/>
                  <a:gd name="T16" fmla="*/ 42 w 102"/>
                  <a:gd name="T17" fmla="*/ 0 h 84"/>
                  <a:gd name="T18" fmla="*/ 42 w 102"/>
                  <a:gd name="T19" fmla="*/ 6 h 84"/>
                  <a:gd name="T20" fmla="*/ 48 w 102"/>
                  <a:gd name="T21" fmla="*/ 18 h 84"/>
                  <a:gd name="T22" fmla="*/ 60 w 102"/>
                  <a:gd name="T23" fmla="*/ 18 h 84"/>
                  <a:gd name="T24" fmla="*/ 66 w 102"/>
                  <a:gd name="T25" fmla="*/ 18 h 84"/>
                  <a:gd name="T26" fmla="*/ 72 w 102"/>
                  <a:gd name="T27" fmla="*/ 12 h 84"/>
                  <a:gd name="T28" fmla="*/ 78 w 102"/>
                  <a:gd name="T29" fmla="*/ 12 h 84"/>
                  <a:gd name="T30" fmla="*/ 78 w 102"/>
                  <a:gd name="T31" fmla="*/ 18 h 84"/>
                  <a:gd name="T32" fmla="*/ 84 w 102"/>
                  <a:gd name="T33" fmla="*/ 18 h 84"/>
                  <a:gd name="T34" fmla="*/ 78 w 102"/>
                  <a:gd name="T35" fmla="*/ 24 h 84"/>
                  <a:gd name="T36" fmla="*/ 90 w 102"/>
                  <a:gd name="T37" fmla="*/ 30 h 84"/>
                  <a:gd name="T38" fmla="*/ 96 w 102"/>
                  <a:gd name="T39" fmla="*/ 36 h 84"/>
                  <a:gd name="T40" fmla="*/ 96 w 102"/>
                  <a:gd name="T41" fmla="*/ 42 h 84"/>
                  <a:gd name="T42" fmla="*/ 96 w 102"/>
                  <a:gd name="T43" fmla="*/ 48 h 84"/>
                  <a:gd name="T44" fmla="*/ 102 w 102"/>
                  <a:gd name="T45" fmla="*/ 54 h 84"/>
                  <a:gd name="T46" fmla="*/ 102 w 102"/>
                  <a:gd name="T47" fmla="*/ 60 h 84"/>
                  <a:gd name="T48" fmla="*/ 96 w 102"/>
                  <a:gd name="T49" fmla="*/ 66 h 84"/>
                  <a:gd name="T50" fmla="*/ 96 w 102"/>
                  <a:gd name="T51" fmla="*/ 72 h 84"/>
                  <a:gd name="T52" fmla="*/ 102 w 102"/>
                  <a:gd name="T53" fmla="*/ 84 h 84"/>
                  <a:gd name="T54" fmla="*/ 96 w 102"/>
                  <a:gd name="T55" fmla="*/ 84 h 84"/>
                  <a:gd name="T56" fmla="*/ 84 w 102"/>
                  <a:gd name="T57" fmla="*/ 84 h 84"/>
                  <a:gd name="T58" fmla="*/ 84 w 102"/>
                  <a:gd name="T59" fmla="*/ 78 h 84"/>
                  <a:gd name="T60" fmla="*/ 78 w 102"/>
                  <a:gd name="T61" fmla="*/ 66 h 84"/>
                  <a:gd name="T62" fmla="*/ 78 w 102"/>
                  <a:gd name="T63" fmla="*/ 60 h 84"/>
                  <a:gd name="T64" fmla="*/ 72 w 102"/>
                  <a:gd name="T65" fmla="*/ 60 h 84"/>
                  <a:gd name="T66" fmla="*/ 66 w 102"/>
                  <a:gd name="T67" fmla="*/ 60 h 84"/>
                  <a:gd name="T68" fmla="*/ 66 w 102"/>
                  <a:gd name="T69" fmla="*/ 72 h 84"/>
                  <a:gd name="T70" fmla="*/ 48 w 102"/>
                  <a:gd name="T71" fmla="*/ 60 h 84"/>
                  <a:gd name="T72" fmla="*/ 42 w 102"/>
                  <a:gd name="T73" fmla="*/ 54 h 84"/>
                  <a:gd name="T74" fmla="*/ 36 w 102"/>
                  <a:gd name="T75" fmla="*/ 54 h 84"/>
                  <a:gd name="T76" fmla="*/ 36 w 102"/>
                  <a:gd name="T77" fmla="*/ 48 h 84"/>
                  <a:gd name="T78" fmla="*/ 30 w 102"/>
                  <a:gd name="T79" fmla="*/ 42 h 84"/>
                  <a:gd name="T80" fmla="*/ 24 w 102"/>
                  <a:gd name="T81" fmla="*/ 48 h 84"/>
                  <a:gd name="T82" fmla="*/ 18 w 102"/>
                  <a:gd name="T83" fmla="*/ 36 h 8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02" h="84">
                    <a:moveTo>
                      <a:pt x="18" y="36"/>
                    </a:moveTo>
                    <a:lnTo>
                      <a:pt x="12" y="30"/>
                    </a:lnTo>
                    <a:lnTo>
                      <a:pt x="12" y="24"/>
                    </a:lnTo>
                    <a:lnTo>
                      <a:pt x="6" y="24"/>
                    </a:lnTo>
                    <a:lnTo>
                      <a:pt x="0" y="18"/>
                    </a:lnTo>
                    <a:lnTo>
                      <a:pt x="12" y="12"/>
                    </a:lnTo>
                    <a:lnTo>
                      <a:pt x="24" y="12"/>
                    </a:lnTo>
                    <a:lnTo>
                      <a:pt x="42" y="6"/>
                    </a:lnTo>
                    <a:lnTo>
                      <a:pt x="42" y="0"/>
                    </a:lnTo>
                    <a:lnTo>
                      <a:pt x="42" y="6"/>
                    </a:lnTo>
                    <a:lnTo>
                      <a:pt x="48" y="18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72" y="12"/>
                    </a:lnTo>
                    <a:lnTo>
                      <a:pt x="78" y="12"/>
                    </a:lnTo>
                    <a:lnTo>
                      <a:pt x="78" y="18"/>
                    </a:lnTo>
                    <a:lnTo>
                      <a:pt x="84" y="18"/>
                    </a:lnTo>
                    <a:lnTo>
                      <a:pt x="78" y="24"/>
                    </a:lnTo>
                    <a:lnTo>
                      <a:pt x="90" y="30"/>
                    </a:lnTo>
                    <a:lnTo>
                      <a:pt x="96" y="36"/>
                    </a:lnTo>
                    <a:lnTo>
                      <a:pt x="96" y="42"/>
                    </a:lnTo>
                    <a:lnTo>
                      <a:pt x="96" y="48"/>
                    </a:lnTo>
                    <a:lnTo>
                      <a:pt x="102" y="54"/>
                    </a:lnTo>
                    <a:lnTo>
                      <a:pt x="102" y="60"/>
                    </a:lnTo>
                    <a:lnTo>
                      <a:pt x="96" y="66"/>
                    </a:lnTo>
                    <a:lnTo>
                      <a:pt x="96" y="72"/>
                    </a:lnTo>
                    <a:lnTo>
                      <a:pt x="102" y="84"/>
                    </a:lnTo>
                    <a:lnTo>
                      <a:pt x="96" y="84"/>
                    </a:lnTo>
                    <a:lnTo>
                      <a:pt x="84" y="84"/>
                    </a:lnTo>
                    <a:lnTo>
                      <a:pt x="84" y="78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72" y="60"/>
                    </a:lnTo>
                    <a:lnTo>
                      <a:pt x="66" y="60"/>
                    </a:lnTo>
                    <a:lnTo>
                      <a:pt x="66" y="72"/>
                    </a:lnTo>
                    <a:lnTo>
                      <a:pt x="48" y="60"/>
                    </a:lnTo>
                    <a:lnTo>
                      <a:pt x="42" y="54"/>
                    </a:lnTo>
                    <a:lnTo>
                      <a:pt x="36" y="54"/>
                    </a:lnTo>
                    <a:lnTo>
                      <a:pt x="36" y="48"/>
                    </a:lnTo>
                    <a:lnTo>
                      <a:pt x="30" y="42"/>
                    </a:lnTo>
                    <a:lnTo>
                      <a:pt x="24" y="48"/>
                    </a:lnTo>
                    <a:lnTo>
                      <a:pt x="1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03" name="Group 232"/>
            <p:cNvGrpSpPr>
              <a:grpSpLocks/>
            </p:cNvGrpSpPr>
            <p:nvPr/>
          </p:nvGrpSpPr>
          <p:grpSpPr bwMode="auto">
            <a:xfrm>
              <a:off x="1169478" y="2330977"/>
              <a:ext cx="123007" cy="72821"/>
              <a:chOff x="1440" y="906"/>
              <a:chExt cx="60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1785" name="Freeform 233"/>
              <p:cNvSpPr>
                <a:spLocks/>
              </p:cNvSpPr>
              <p:nvPr/>
            </p:nvSpPr>
            <p:spPr bwMode="auto">
              <a:xfrm>
                <a:off x="1440" y="906"/>
                <a:ext cx="60" cy="42"/>
              </a:xfrm>
              <a:custGeom>
                <a:avLst/>
                <a:gdLst>
                  <a:gd name="T0" fmla="*/ 30 w 60"/>
                  <a:gd name="T1" fmla="*/ 12 h 42"/>
                  <a:gd name="T2" fmla="*/ 30 w 60"/>
                  <a:gd name="T3" fmla="*/ 12 h 42"/>
                  <a:gd name="T4" fmla="*/ 24 w 60"/>
                  <a:gd name="T5" fmla="*/ 12 h 42"/>
                  <a:gd name="T6" fmla="*/ 18 w 60"/>
                  <a:gd name="T7" fmla="*/ 18 h 42"/>
                  <a:gd name="T8" fmla="*/ 12 w 60"/>
                  <a:gd name="T9" fmla="*/ 18 h 42"/>
                  <a:gd name="T10" fmla="*/ 6 w 60"/>
                  <a:gd name="T11" fmla="*/ 12 h 42"/>
                  <a:gd name="T12" fmla="*/ 0 w 60"/>
                  <a:gd name="T13" fmla="*/ 12 h 42"/>
                  <a:gd name="T14" fmla="*/ 0 w 60"/>
                  <a:gd name="T15" fmla="*/ 18 h 42"/>
                  <a:gd name="T16" fmla="*/ 0 w 60"/>
                  <a:gd name="T17" fmla="*/ 24 h 42"/>
                  <a:gd name="T18" fmla="*/ 0 w 60"/>
                  <a:gd name="T19" fmla="*/ 24 h 42"/>
                  <a:gd name="T20" fmla="*/ 6 w 60"/>
                  <a:gd name="T21" fmla="*/ 42 h 42"/>
                  <a:gd name="T22" fmla="*/ 18 w 60"/>
                  <a:gd name="T23" fmla="*/ 42 h 42"/>
                  <a:gd name="T24" fmla="*/ 30 w 60"/>
                  <a:gd name="T25" fmla="*/ 36 h 42"/>
                  <a:gd name="T26" fmla="*/ 36 w 60"/>
                  <a:gd name="T27" fmla="*/ 36 h 42"/>
                  <a:gd name="T28" fmla="*/ 42 w 60"/>
                  <a:gd name="T29" fmla="*/ 36 h 42"/>
                  <a:gd name="T30" fmla="*/ 42 w 60"/>
                  <a:gd name="T31" fmla="*/ 36 h 42"/>
                  <a:gd name="T32" fmla="*/ 42 w 60"/>
                  <a:gd name="T33" fmla="*/ 36 h 42"/>
                  <a:gd name="T34" fmla="*/ 48 w 60"/>
                  <a:gd name="T35" fmla="*/ 36 h 42"/>
                  <a:gd name="T36" fmla="*/ 54 w 60"/>
                  <a:gd name="T37" fmla="*/ 30 h 42"/>
                  <a:gd name="T38" fmla="*/ 54 w 60"/>
                  <a:gd name="T39" fmla="*/ 18 h 42"/>
                  <a:gd name="T40" fmla="*/ 54 w 60"/>
                  <a:gd name="T41" fmla="*/ 12 h 42"/>
                  <a:gd name="T42" fmla="*/ 60 w 60"/>
                  <a:gd name="T43" fmla="*/ 6 h 42"/>
                  <a:gd name="T44" fmla="*/ 54 w 60"/>
                  <a:gd name="T45" fmla="*/ 0 h 42"/>
                  <a:gd name="T46" fmla="*/ 54 w 60"/>
                  <a:gd name="T47" fmla="*/ 0 h 42"/>
                  <a:gd name="T48" fmla="*/ 42 w 60"/>
                  <a:gd name="T49" fmla="*/ 0 h 42"/>
                  <a:gd name="T50" fmla="*/ 42 w 60"/>
                  <a:gd name="T51" fmla="*/ 0 h 42"/>
                  <a:gd name="T52" fmla="*/ 36 w 60"/>
                  <a:gd name="T53" fmla="*/ 6 h 42"/>
                  <a:gd name="T54" fmla="*/ 36 w 60"/>
                  <a:gd name="T55" fmla="*/ 6 h 42"/>
                  <a:gd name="T56" fmla="*/ 30 w 60"/>
                  <a:gd name="T57" fmla="*/ 12 h 4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0" h="42">
                    <a:moveTo>
                      <a:pt x="30" y="12"/>
                    </a:moveTo>
                    <a:lnTo>
                      <a:pt x="30" y="12"/>
                    </a:lnTo>
                    <a:lnTo>
                      <a:pt x="24" y="12"/>
                    </a:lnTo>
                    <a:lnTo>
                      <a:pt x="18" y="18"/>
                    </a:lnTo>
                    <a:lnTo>
                      <a:pt x="12" y="18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6" y="42"/>
                    </a:lnTo>
                    <a:lnTo>
                      <a:pt x="18" y="42"/>
                    </a:lnTo>
                    <a:lnTo>
                      <a:pt x="30" y="36"/>
                    </a:lnTo>
                    <a:lnTo>
                      <a:pt x="36" y="36"/>
                    </a:lnTo>
                    <a:lnTo>
                      <a:pt x="42" y="36"/>
                    </a:lnTo>
                    <a:lnTo>
                      <a:pt x="48" y="36"/>
                    </a:lnTo>
                    <a:lnTo>
                      <a:pt x="54" y="30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60" y="6"/>
                    </a:lnTo>
                    <a:lnTo>
                      <a:pt x="54" y="0"/>
                    </a:lnTo>
                    <a:lnTo>
                      <a:pt x="42" y="0"/>
                    </a:lnTo>
                    <a:lnTo>
                      <a:pt x="36" y="6"/>
                    </a:lnTo>
                    <a:lnTo>
                      <a:pt x="3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86" name="Freeform 234"/>
              <p:cNvSpPr>
                <a:spLocks/>
              </p:cNvSpPr>
              <p:nvPr/>
            </p:nvSpPr>
            <p:spPr bwMode="auto">
              <a:xfrm>
                <a:off x="1440" y="906"/>
                <a:ext cx="60" cy="42"/>
              </a:xfrm>
              <a:custGeom>
                <a:avLst/>
                <a:gdLst>
                  <a:gd name="T0" fmla="*/ 30 w 60"/>
                  <a:gd name="T1" fmla="*/ 12 h 42"/>
                  <a:gd name="T2" fmla="*/ 24 w 60"/>
                  <a:gd name="T3" fmla="*/ 12 h 42"/>
                  <a:gd name="T4" fmla="*/ 18 w 60"/>
                  <a:gd name="T5" fmla="*/ 18 h 42"/>
                  <a:gd name="T6" fmla="*/ 12 w 60"/>
                  <a:gd name="T7" fmla="*/ 18 h 42"/>
                  <a:gd name="T8" fmla="*/ 6 w 60"/>
                  <a:gd name="T9" fmla="*/ 12 h 42"/>
                  <a:gd name="T10" fmla="*/ 0 w 60"/>
                  <a:gd name="T11" fmla="*/ 12 h 42"/>
                  <a:gd name="T12" fmla="*/ 0 w 60"/>
                  <a:gd name="T13" fmla="*/ 18 h 42"/>
                  <a:gd name="T14" fmla="*/ 0 w 60"/>
                  <a:gd name="T15" fmla="*/ 24 h 42"/>
                  <a:gd name="T16" fmla="*/ 6 w 60"/>
                  <a:gd name="T17" fmla="*/ 42 h 42"/>
                  <a:gd name="T18" fmla="*/ 18 w 60"/>
                  <a:gd name="T19" fmla="*/ 42 h 42"/>
                  <a:gd name="T20" fmla="*/ 30 w 60"/>
                  <a:gd name="T21" fmla="*/ 36 h 42"/>
                  <a:gd name="T22" fmla="*/ 36 w 60"/>
                  <a:gd name="T23" fmla="*/ 36 h 42"/>
                  <a:gd name="T24" fmla="*/ 42 w 60"/>
                  <a:gd name="T25" fmla="*/ 36 h 42"/>
                  <a:gd name="T26" fmla="*/ 48 w 60"/>
                  <a:gd name="T27" fmla="*/ 36 h 42"/>
                  <a:gd name="T28" fmla="*/ 54 w 60"/>
                  <a:gd name="T29" fmla="*/ 30 h 42"/>
                  <a:gd name="T30" fmla="*/ 54 w 60"/>
                  <a:gd name="T31" fmla="*/ 18 h 42"/>
                  <a:gd name="T32" fmla="*/ 54 w 60"/>
                  <a:gd name="T33" fmla="*/ 12 h 42"/>
                  <a:gd name="T34" fmla="*/ 60 w 60"/>
                  <a:gd name="T35" fmla="*/ 6 h 42"/>
                  <a:gd name="T36" fmla="*/ 54 w 60"/>
                  <a:gd name="T37" fmla="*/ 0 h 42"/>
                  <a:gd name="T38" fmla="*/ 42 w 60"/>
                  <a:gd name="T39" fmla="*/ 0 h 42"/>
                  <a:gd name="T40" fmla="*/ 36 w 60"/>
                  <a:gd name="T41" fmla="*/ 6 h 42"/>
                  <a:gd name="T42" fmla="*/ 30 w 60"/>
                  <a:gd name="T43" fmla="*/ 12 h 4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0" h="42">
                    <a:moveTo>
                      <a:pt x="30" y="12"/>
                    </a:moveTo>
                    <a:lnTo>
                      <a:pt x="24" y="12"/>
                    </a:lnTo>
                    <a:lnTo>
                      <a:pt x="18" y="18"/>
                    </a:lnTo>
                    <a:lnTo>
                      <a:pt x="12" y="18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6" y="42"/>
                    </a:lnTo>
                    <a:lnTo>
                      <a:pt x="18" y="42"/>
                    </a:lnTo>
                    <a:lnTo>
                      <a:pt x="30" y="36"/>
                    </a:lnTo>
                    <a:lnTo>
                      <a:pt x="36" y="36"/>
                    </a:lnTo>
                    <a:lnTo>
                      <a:pt x="42" y="36"/>
                    </a:lnTo>
                    <a:lnTo>
                      <a:pt x="48" y="36"/>
                    </a:lnTo>
                    <a:lnTo>
                      <a:pt x="54" y="30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60" y="6"/>
                    </a:lnTo>
                    <a:lnTo>
                      <a:pt x="54" y="0"/>
                    </a:lnTo>
                    <a:lnTo>
                      <a:pt x="42" y="0"/>
                    </a:lnTo>
                    <a:lnTo>
                      <a:pt x="36" y="6"/>
                    </a:lnTo>
                    <a:lnTo>
                      <a:pt x="3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04" name="Group 235"/>
            <p:cNvGrpSpPr>
              <a:grpSpLocks/>
            </p:cNvGrpSpPr>
            <p:nvPr/>
          </p:nvGrpSpPr>
          <p:grpSpPr bwMode="auto">
            <a:xfrm>
              <a:off x="1084911" y="2270292"/>
              <a:ext cx="207575" cy="93049"/>
              <a:chOff x="1398" y="870"/>
              <a:chExt cx="102" cy="54"/>
            </a:xfrm>
            <a:solidFill>
              <a:srgbClr val="0070C0">
                <a:alpha val="27059"/>
              </a:srgbClr>
            </a:solidFill>
          </p:grpSpPr>
          <p:sp>
            <p:nvSpPr>
              <p:cNvPr id="1783" name="Freeform 236"/>
              <p:cNvSpPr>
                <a:spLocks/>
              </p:cNvSpPr>
              <p:nvPr/>
            </p:nvSpPr>
            <p:spPr bwMode="auto">
              <a:xfrm>
                <a:off x="1398" y="870"/>
                <a:ext cx="102" cy="54"/>
              </a:xfrm>
              <a:custGeom>
                <a:avLst/>
                <a:gdLst>
                  <a:gd name="T0" fmla="*/ 96 w 102"/>
                  <a:gd name="T1" fmla="*/ 12 h 54"/>
                  <a:gd name="T2" fmla="*/ 84 w 102"/>
                  <a:gd name="T3" fmla="*/ 12 h 54"/>
                  <a:gd name="T4" fmla="*/ 78 w 102"/>
                  <a:gd name="T5" fmla="*/ 18 h 54"/>
                  <a:gd name="T6" fmla="*/ 72 w 102"/>
                  <a:gd name="T7" fmla="*/ 18 h 54"/>
                  <a:gd name="T8" fmla="*/ 66 w 102"/>
                  <a:gd name="T9" fmla="*/ 24 h 54"/>
                  <a:gd name="T10" fmla="*/ 60 w 102"/>
                  <a:gd name="T11" fmla="*/ 18 h 54"/>
                  <a:gd name="T12" fmla="*/ 48 w 102"/>
                  <a:gd name="T13" fmla="*/ 12 h 54"/>
                  <a:gd name="T14" fmla="*/ 42 w 102"/>
                  <a:gd name="T15" fmla="*/ 6 h 54"/>
                  <a:gd name="T16" fmla="*/ 30 w 102"/>
                  <a:gd name="T17" fmla="*/ 6 h 54"/>
                  <a:gd name="T18" fmla="*/ 24 w 102"/>
                  <a:gd name="T19" fmla="*/ 0 h 54"/>
                  <a:gd name="T20" fmla="*/ 18 w 102"/>
                  <a:gd name="T21" fmla="*/ 6 h 54"/>
                  <a:gd name="T22" fmla="*/ 18 w 102"/>
                  <a:gd name="T23" fmla="*/ 6 h 54"/>
                  <a:gd name="T24" fmla="*/ 18 w 102"/>
                  <a:gd name="T25" fmla="*/ 6 h 54"/>
                  <a:gd name="T26" fmla="*/ 12 w 102"/>
                  <a:gd name="T27" fmla="*/ 0 h 54"/>
                  <a:gd name="T28" fmla="*/ 12 w 102"/>
                  <a:gd name="T29" fmla="*/ 6 h 54"/>
                  <a:gd name="T30" fmla="*/ 0 w 102"/>
                  <a:gd name="T31" fmla="*/ 6 h 54"/>
                  <a:gd name="T32" fmla="*/ 6 w 102"/>
                  <a:gd name="T33" fmla="*/ 18 h 54"/>
                  <a:gd name="T34" fmla="*/ 12 w 102"/>
                  <a:gd name="T35" fmla="*/ 36 h 54"/>
                  <a:gd name="T36" fmla="*/ 18 w 102"/>
                  <a:gd name="T37" fmla="*/ 36 h 54"/>
                  <a:gd name="T38" fmla="*/ 24 w 102"/>
                  <a:gd name="T39" fmla="*/ 36 h 54"/>
                  <a:gd name="T40" fmla="*/ 30 w 102"/>
                  <a:gd name="T41" fmla="*/ 36 h 54"/>
                  <a:gd name="T42" fmla="*/ 36 w 102"/>
                  <a:gd name="T43" fmla="*/ 42 h 54"/>
                  <a:gd name="T44" fmla="*/ 48 w 102"/>
                  <a:gd name="T45" fmla="*/ 48 h 54"/>
                  <a:gd name="T46" fmla="*/ 60 w 102"/>
                  <a:gd name="T47" fmla="*/ 54 h 54"/>
                  <a:gd name="T48" fmla="*/ 66 w 102"/>
                  <a:gd name="T49" fmla="*/ 48 h 54"/>
                  <a:gd name="T50" fmla="*/ 72 w 102"/>
                  <a:gd name="T51" fmla="*/ 48 h 54"/>
                  <a:gd name="T52" fmla="*/ 78 w 102"/>
                  <a:gd name="T53" fmla="*/ 42 h 54"/>
                  <a:gd name="T54" fmla="*/ 84 w 102"/>
                  <a:gd name="T55" fmla="*/ 36 h 54"/>
                  <a:gd name="T56" fmla="*/ 90 w 102"/>
                  <a:gd name="T57" fmla="*/ 36 h 54"/>
                  <a:gd name="T58" fmla="*/ 102 w 102"/>
                  <a:gd name="T59" fmla="*/ 30 h 54"/>
                  <a:gd name="T60" fmla="*/ 102 w 102"/>
                  <a:gd name="T61" fmla="*/ 30 h 54"/>
                  <a:gd name="T62" fmla="*/ 102 w 102"/>
                  <a:gd name="T63" fmla="*/ 24 h 5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02" h="54">
                    <a:moveTo>
                      <a:pt x="102" y="18"/>
                    </a:moveTo>
                    <a:lnTo>
                      <a:pt x="96" y="12"/>
                    </a:lnTo>
                    <a:lnTo>
                      <a:pt x="90" y="12"/>
                    </a:lnTo>
                    <a:lnTo>
                      <a:pt x="84" y="12"/>
                    </a:lnTo>
                    <a:lnTo>
                      <a:pt x="78" y="18"/>
                    </a:lnTo>
                    <a:lnTo>
                      <a:pt x="72" y="18"/>
                    </a:lnTo>
                    <a:lnTo>
                      <a:pt x="66" y="18"/>
                    </a:lnTo>
                    <a:lnTo>
                      <a:pt x="66" y="24"/>
                    </a:lnTo>
                    <a:lnTo>
                      <a:pt x="66" y="18"/>
                    </a:lnTo>
                    <a:lnTo>
                      <a:pt x="60" y="18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30" y="36"/>
                    </a:lnTo>
                    <a:lnTo>
                      <a:pt x="36" y="42"/>
                    </a:lnTo>
                    <a:lnTo>
                      <a:pt x="42" y="42"/>
                    </a:lnTo>
                    <a:lnTo>
                      <a:pt x="48" y="48"/>
                    </a:lnTo>
                    <a:lnTo>
                      <a:pt x="54" y="54"/>
                    </a:lnTo>
                    <a:lnTo>
                      <a:pt x="60" y="54"/>
                    </a:lnTo>
                    <a:lnTo>
                      <a:pt x="66" y="48"/>
                    </a:lnTo>
                    <a:lnTo>
                      <a:pt x="72" y="48"/>
                    </a:lnTo>
                    <a:lnTo>
                      <a:pt x="78" y="48"/>
                    </a:lnTo>
                    <a:lnTo>
                      <a:pt x="78" y="42"/>
                    </a:lnTo>
                    <a:lnTo>
                      <a:pt x="84" y="36"/>
                    </a:lnTo>
                    <a:lnTo>
                      <a:pt x="90" y="36"/>
                    </a:lnTo>
                    <a:lnTo>
                      <a:pt x="96" y="36"/>
                    </a:lnTo>
                    <a:lnTo>
                      <a:pt x="102" y="30"/>
                    </a:lnTo>
                    <a:lnTo>
                      <a:pt x="102" y="24"/>
                    </a:lnTo>
                    <a:lnTo>
                      <a:pt x="102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84" name="Freeform 237"/>
              <p:cNvSpPr>
                <a:spLocks/>
              </p:cNvSpPr>
              <p:nvPr/>
            </p:nvSpPr>
            <p:spPr bwMode="auto">
              <a:xfrm>
                <a:off x="1398" y="870"/>
                <a:ext cx="102" cy="54"/>
              </a:xfrm>
              <a:custGeom>
                <a:avLst/>
                <a:gdLst>
                  <a:gd name="T0" fmla="*/ 102 w 102"/>
                  <a:gd name="T1" fmla="*/ 18 h 54"/>
                  <a:gd name="T2" fmla="*/ 96 w 102"/>
                  <a:gd name="T3" fmla="*/ 12 h 54"/>
                  <a:gd name="T4" fmla="*/ 90 w 102"/>
                  <a:gd name="T5" fmla="*/ 12 h 54"/>
                  <a:gd name="T6" fmla="*/ 84 w 102"/>
                  <a:gd name="T7" fmla="*/ 12 h 54"/>
                  <a:gd name="T8" fmla="*/ 78 w 102"/>
                  <a:gd name="T9" fmla="*/ 18 h 54"/>
                  <a:gd name="T10" fmla="*/ 72 w 102"/>
                  <a:gd name="T11" fmla="*/ 18 h 54"/>
                  <a:gd name="T12" fmla="*/ 66 w 102"/>
                  <a:gd name="T13" fmla="*/ 18 h 54"/>
                  <a:gd name="T14" fmla="*/ 66 w 102"/>
                  <a:gd name="T15" fmla="*/ 24 h 54"/>
                  <a:gd name="T16" fmla="*/ 66 w 102"/>
                  <a:gd name="T17" fmla="*/ 18 h 54"/>
                  <a:gd name="T18" fmla="*/ 60 w 102"/>
                  <a:gd name="T19" fmla="*/ 18 h 54"/>
                  <a:gd name="T20" fmla="*/ 48 w 102"/>
                  <a:gd name="T21" fmla="*/ 12 h 54"/>
                  <a:gd name="T22" fmla="*/ 42 w 102"/>
                  <a:gd name="T23" fmla="*/ 6 h 54"/>
                  <a:gd name="T24" fmla="*/ 36 w 102"/>
                  <a:gd name="T25" fmla="*/ 6 h 54"/>
                  <a:gd name="T26" fmla="*/ 30 w 102"/>
                  <a:gd name="T27" fmla="*/ 6 h 54"/>
                  <a:gd name="T28" fmla="*/ 24 w 102"/>
                  <a:gd name="T29" fmla="*/ 0 h 54"/>
                  <a:gd name="T30" fmla="*/ 24 w 102"/>
                  <a:gd name="T31" fmla="*/ 6 h 54"/>
                  <a:gd name="T32" fmla="*/ 18 w 102"/>
                  <a:gd name="T33" fmla="*/ 6 h 54"/>
                  <a:gd name="T34" fmla="*/ 12 w 102"/>
                  <a:gd name="T35" fmla="*/ 0 h 54"/>
                  <a:gd name="T36" fmla="*/ 12 w 102"/>
                  <a:gd name="T37" fmla="*/ 6 h 54"/>
                  <a:gd name="T38" fmla="*/ 6 w 102"/>
                  <a:gd name="T39" fmla="*/ 6 h 54"/>
                  <a:gd name="T40" fmla="*/ 0 w 102"/>
                  <a:gd name="T41" fmla="*/ 6 h 54"/>
                  <a:gd name="T42" fmla="*/ 0 w 102"/>
                  <a:gd name="T43" fmla="*/ 18 h 54"/>
                  <a:gd name="T44" fmla="*/ 6 w 102"/>
                  <a:gd name="T45" fmla="*/ 18 h 54"/>
                  <a:gd name="T46" fmla="*/ 6 w 102"/>
                  <a:gd name="T47" fmla="*/ 24 h 54"/>
                  <a:gd name="T48" fmla="*/ 12 w 102"/>
                  <a:gd name="T49" fmla="*/ 36 h 54"/>
                  <a:gd name="T50" fmla="*/ 18 w 102"/>
                  <a:gd name="T51" fmla="*/ 36 h 54"/>
                  <a:gd name="T52" fmla="*/ 24 w 102"/>
                  <a:gd name="T53" fmla="*/ 36 h 54"/>
                  <a:gd name="T54" fmla="*/ 30 w 102"/>
                  <a:gd name="T55" fmla="*/ 36 h 54"/>
                  <a:gd name="T56" fmla="*/ 36 w 102"/>
                  <a:gd name="T57" fmla="*/ 42 h 54"/>
                  <a:gd name="T58" fmla="*/ 42 w 102"/>
                  <a:gd name="T59" fmla="*/ 42 h 54"/>
                  <a:gd name="T60" fmla="*/ 48 w 102"/>
                  <a:gd name="T61" fmla="*/ 48 h 54"/>
                  <a:gd name="T62" fmla="*/ 54 w 102"/>
                  <a:gd name="T63" fmla="*/ 54 h 54"/>
                  <a:gd name="T64" fmla="*/ 60 w 102"/>
                  <a:gd name="T65" fmla="*/ 54 h 54"/>
                  <a:gd name="T66" fmla="*/ 66 w 102"/>
                  <a:gd name="T67" fmla="*/ 48 h 54"/>
                  <a:gd name="T68" fmla="*/ 72 w 102"/>
                  <a:gd name="T69" fmla="*/ 48 h 54"/>
                  <a:gd name="T70" fmla="*/ 78 w 102"/>
                  <a:gd name="T71" fmla="*/ 48 h 54"/>
                  <a:gd name="T72" fmla="*/ 78 w 102"/>
                  <a:gd name="T73" fmla="*/ 42 h 54"/>
                  <a:gd name="T74" fmla="*/ 84 w 102"/>
                  <a:gd name="T75" fmla="*/ 36 h 54"/>
                  <a:gd name="T76" fmla="*/ 90 w 102"/>
                  <a:gd name="T77" fmla="*/ 36 h 54"/>
                  <a:gd name="T78" fmla="*/ 96 w 102"/>
                  <a:gd name="T79" fmla="*/ 36 h 54"/>
                  <a:gd name="T80" fmla="*/ 102 w 102"/>
                  <a:gd name="T81" fmla="*/ 30 h 54"/>
                  <a:gd name="T82" fmla="*/ 102 w 102"/>
                  <a:gd name="T83" fmla="*/ 24 h 54"/>
                  <a:gd name="T84" fmla="*/ 102 w 102"/>
                  <a:gd name="T85" fmla="*/ 18 h 5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02" h="54">
                    <a:moveTo>
                      <a:pt x="102" y="18"/>
                    </a:moveTo>
                    <a:lnTo>
                      <a:pt x="96" y="12"/>
                    </a:lnTo>
                    <a:lnTo>
                      <a:pt x="90" y="12"/>
                    </a:lnTo>
                    <a:lnTo>
                      <a:pt x="84" y="12"/>
                    </a:lnTo>
                    <a:lnTo>
                      <a:pt x="78" y="18"/>
                    </a:lnTo>
                    <a:lnTo>
                      <a:pt x="72" y="18"/>
                    </a:lnTo>
                    <a:lnTo>
                      <a:pt x="66" y="18"/>
                    </a:lnTo>
                    <a:lnTo>
                      <a:pt x="66" y="24"/>
                    </a:lnTo>
                    <a:lnTo>
                      <a:pt x="66" y="18"/>
                    </a:lnTo>
                    <a:lnTo>
                      <a:pt x="60" y="18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30" y="36"/>
                    </a:lnTo>
                    <a:lnTo>
                      <a:pt x="36" y="42"/>
                    </a:lnTo>
                    <a:lnTo>
                      <a:pt x="42" y="42"/>
                    </a:lnTo>
                    <a:lnTo>
                      <a:pt x="48" y="48"/>
                    </a:lnTo>
                    <a:lnTo>
                      <a:pt x="54" y="54"/>
                    </a:lnTo>
                    <a:lnTo>
                      <a:pt x="60" y="54"/>
                    </a:lnTo>
                    <a:lnTo>
                      <a:pt x="66" y="48"/>
                    </a:lnTo>
                    <a:lnTo>
                      <a:pt x="72" y="48"/>
                    </a:lnTo>
                    <a:lnTo>
                      <a:pt x="78" y="48"/>
                    </a:lnTo>
                    <a:lnTo>
                      <a:pt x="78" y="42"/>
                    </a:lnTo>
                    <a:lnTo>
                      <a:pt x="84" y="36"/>
                    </a:lnTo>
                    <a:lnTo>
                      <a:pt x="90" y="36"/>
                    </a:lnTo>
                    <a:lnTo>
                      <a:pt x="96" y="36"/>
                    </a:lnTo>
                    <a:lnTo>
                      <a:pt x="102" y="30"/>
                    </a:lnTo>
                    <a:lnTo>
                      <a:pt x="102" y="24"/>
                    </a:lnTo>
                    <a:lnTo>
                      <a:pt x="102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05" name="Group 238"/>
            <p:cNvGrpSpPr>
              <a:grpSpLocks/>
            </p:cNvGrpSpPr>
            <p:nvPr/>
          </p:nvGrpSpPr>
          <p:grpSpPr bwMode="auto">
            <a:xfrm>
              <a:off x="1107975" y="2146901"/>
              <a:ext cx="232560" cy="163848"/>
              <a:chOff x="1410" y="798"/>
              <a:chExt cx="114" cy="96"/>
            </a:xfrm>
            <a:solidFill>
              <a:srgbClr val="0070C0">
                <a:alpha val="27059"/>
              </a:srgbClr>
            </a:solidFill>
          </p:grpSpPr>
          <p:sp>
            <p:nvSpPr>
              <p:cNvPr id="1781" name="Freeform 239"/>
              <p:cNvSpPr>
                <a:spLocks/>
              </p:cNvSpPr>
              <p:nvPr/>
            </p:nvSpPr>
            <p:spPr bwMode="auto">
              <a:xfrm>
                <a:off x="1410" y="798"/>
                <a:ext cx="114" cy="96"/>
              </a:xfrm>
              <a:custGeom>
                <a:avLst/>
                <a:gdLst>
                  <a:gd name="T0" fmla="*/ 60 w 114"/>
                  <a:gd name="T1" fmla="*/ 0 h 96"/>
                  <a:gd name="T2" fmla="*/ 60 w 114"/>
                  <a:gd name="T3" fmla="*/ 12 h 96"/>
                  <a:gd name="T4" fmla="*/ 42 w 114"/>
                  <a:gd name="T5" fmla="*/ 18 h 96"/>
                  <a:gd name="T6" fmla="*/ 36 w 114"/>
                  <a:gd name="T7" fmla="*/ 12 h 96"/>
                  <a:gd name="T8" fmla="*/ 24 w 114"/>
                  <a:gd name="T9" fmla="*/ 24 h 96"/>
                  <a:gd name="T10" fmla="*/ 0 w 114"/>
                  <a:gd name="T11" fmla="*/ 30 h 96"/>
                  <a:gd name="T12" fmla="*/ 0 w 114"/>
                  <a:gd name="T13" fmla="*/ 42 h 96"/>
                  <a:gd name="T14" fmla="*/ 0 w 114"/>
                  <a:gd name="T15" fmla="*/ 42 h 96"/>
                  <a:gd name="T16" fmla="*/ 6 w 114"/>
                  <a:gd name="T17" fmla="*/ 48 h 96"/>
                  <a:gd name="T18" fmla="*/ 6 w 114"/>
                  <a:gd name="T19" fmla="*/ 54 h 96"/>
                  <a:gd name="T20" fmla="*/ 6 w 114"/>
                  <a:gd name="T21" fmla="*/ 60 h 96"/>
                  <a:gd name="T22" fmla="*/ 6 w 114"/>
                  <a:gd name="T23" fmla="*/ 66 h 96"/>
                  <a:gd name="T24" fmla="*/ 6 w 114"/>
                  <a:gd name="T25" fmla="*/ 66 h 96"/>
                  <a:gd name="T26" fmla="*/ 6 w 114"/>
                  <a:gd name="T27" fmla="*/ 72 h 96"/>
                  <a:gd name="T28" fmla="*/ 6 w 114"/>
                  <a:gd name="T29" fmla="*/ 78 h 96"/>
                  <a:gd name="T30" fmla="*/ 6 w 114"/>
                  <a:gd name="T31" fmla="*/ 78 h 96"/>
                  <a:gd name="T32" fmla="*/ 12 w 114"/>
                  <a:gd name="T33" fmla="*/ 72 h 96"/>
                  <a:gd name="T34" fmla="*/ 18 w 114"/>
                  <a:gd name="T35" fmla="*/ 78 h 96"/>
                  <a:gd name="T36" fmla="*/ 30 w 114"/>
                  <a:gd name="T37" fmla="*/ 78 h 96"/>
                  <a:gd name="T38" fmla="*/ 36 w 114"/>
                  <a:gd name="T39" fmla="*/ 84 h 96"/>
                  <a:gd name="T40" fmla="*/ 48 w 114"/>
                  <a:gd name="T41" fmla="*/ 90 h 96"/>
                  <a:gd name="T42" fmla="*/ 54 w 114"/>
                  <a:gd name="T43" fmla="*/ 96 h 96"/>
                  <a:gd name="T44" fmla="*/ 60 w 114"/>
                  <a:gd name="T45" fmla="*/ 90 h 96"/>
                  <a:gd name="T46" fmla="*/ 66 w 114"/>
                  <a:gd name="T47" fmla="*/ 90 h 96"/>
                  <a:gd name="T48" fmla="*/ 72 w 114"/>
                  <a:gd name="T49" fmla="*/ 84 h 96"/>
                  <a:gd name="T50" fmla="*/ 84 w 114"/>
                  <a:gd name="T51" fmla="*/ 84 h 96"/>
                  <a:gd name="T52" fmla="*/ 96 w 114"/>
                  <a:gd name="T53" fmla="*/ 96 h 96"/>
                  <a:gd name="T54" fmla="*/ 114 w 114"/>
                  <a:gd name="T55" fmla="*/ 78 h 96"/>
                  <a:gd name="T56" fmla="*/ 108 w 114"/>
                  <a:gd name="T57" fmla="*/ 66 h 96"/>
                  <a:gd name="T58" fmla="*/ 102 w 114"/>
                  <a:gd name="T59" fmla="*/ 48 h 96"/>
                  <a:gd name="T60" fmla="*/ 96 w 114"/>
                  <a:gd name="T61" fmla="*/ 42 h 96"/>
                  <a:gd name="T62" fmla="*/ 102 w 114"/>
                  <a:gd name="T63" fmla="*/ 30 h 96"/>
                  <a:gd name="T64" fmla="*/ 90 w 114"/>
                  <a:gd name="T65" fmla="*/ 18 h 96"/>
                  <a:gd name="T66" fmla="*/ 72 w 114"/>
                  <a:gd name="T67" fmla="*/ 6 h 96"/>
                  <a:gd name="T68" fmla="*/ 66 w 114"/>
                  <a:gd name="T69" fmla="*/ 6 h 9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14" h="96">
                    <a:moveTo>
                      <a:pt x="66" y="6"/>
                    </a:moveTo>
                    <a:lnTo>
                      <a:pt x="60" y="0"/>
                    </a:lnTo>
                    <a:lnTo>
                      <a:pt x="60" y="6"/>
                    </a:lnTo>
                    <a:lnTo>
                      <a:pt x="60" y="12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30" y="18"/>
                    </a:lnTo>
                    <a:lnTo>
                      <a:pt x="24" y="24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8"/>
                    </a:lnTo>
                    <a:lnTo>
                      <a:pt x="6" y="54"/>
                    </a:lnTo>
                    <a:lnTo>
                      <a:pt x="6" y="60"/>
                    </a:lnTo>
                    <a:lnTo>
                      <a:pt x="6" y="66"/>
                    </a:lnTo>
                    <a:lnTo>
                      <a:pt x="6" y="72"/>
                    </a:lnTo>
                    <a:lnTo>
                      <a:pt x="6" y="78"/>
                    </a:lnTo>
                    <a:lnTo>
                      <a:pt x="12" y="78"/>
                    </a:lnTo>
                    <a:lnTo>
                      <a:pt x="12" y="72"/>
                    </a:lnTo>
                    <a:lnTo>
                      <a:pt x="18" y="78"/>
                    </a:lnTo>
                    <a:lnTo>
                      <a:pt x="24" y="78"/>
                    </a:lnTo>
                    <a:lnTo>
                      <a:pt x="30" y="78"/>
                    </a:lnTo>
                    <a:lnTo>
                      <a:pt x="36" y="84"/>
                    </a:lnTo>
                    <a:lnTo>
                      <a:pt x="48" y="90"/>
                    </a:lnTo>
                    <a:lnTo>
                      <a:pt x="54" y="90"/>
                    </a:lnTo>
                    <a:lnTo>
                      <a:pt x="54" y="96"/>
                    </a:lnTo>
                    <a:lnTo>
                      <a:pt x="54" y="90"/>
                    </a:lnTo>
                    <a:lnTo>
                      <a:pt x="60" y="90"/>
                    </a:lnTo>
                    <a:lnTo>
                      <a:pt x="66" y="90"/>
                    </a:lnTo>
                    <a:lnTo>
                      <a:pt x="72" y="84"/>
                    </a:lnTo>
                    <a:lnTo>
                      <a:pt x="78" y="84"/>
                    </a:lnTo>
                    <a:lnTo>
                      <a:pt x="84" y="84"/>
                    </a:lnTo>
                    <a:lnTo>
                      <a:pt x="90" y="90"/>
                    </a:lnTo>
                    <a:lnTo>
                      <a:pt x="96" y="96"/>
                    </a:lnTo>
                    <a:lnTo>
                      <a:pt x="96" y="90"/>
                    </a:lnTo>
                    <a:lnTo>
                      <a:pt x="114" y="78"/>
                    </a:lnTo>
                    <a:lnTo>
                      <a:pt x="108" y="66"/>
                    </a:lnTo>
                    <a:lnTo>
                      <a:pt x="102" y="54"/>
                    </a:lnTo>
                    <a:lnTo>
                      <a:pt x="102" y="48"/>
                    </a:lnTo>
                    <a:lnTo>
                      <a:pt x="96" y="48"/>
                    </a:lnTo>
                    <a:lnTo>
                      <a:pt x="96" y="42"/>
                    </a:lnTo>
                    <a:lnTo>
                      <a:pt x="102" y="36"/>
                    </a:lnTo>
                    <a:lnTo>
                      <a:pt x="102" y="30"/>
                    </a:lnTo>
                    <a:lnTo>
                      <a:pt x="96" y="24"/>
                    </a:lnTo>
                    <a:lnTo>
                      <a:pt x="90" y="18"/>
                    </a:lnTo>
                    <a:lnTo>
                      <a:pt x="84" y="6"/>
                    </a:lnTo>
                    <a:lnTo>
                      <a:pt x="72" y="6"/>
                    </a:lnTo>
                    <a:lnTo>
                      <a:pt x="6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82" name="Freeform 240"/>
              <p:cNvSpPr>
                <a:spLocks/>
              </p:cNvSpPr>
              <p:nvPr/>
            </p:nvSpPr>
            <p:spPr bwMode="auto">
              <a:xfrm>
                <a:off x="1410" y="798"/>
                <a:ext cx="114" cy="96"/>
              </a:xfrm>
              <a:custGeom>
                <a:avLst/>
                <a:gdLst>
                  <a:gd name="T0" fmla="*/ 66 w 114"/>
                  <a:gd name="T1" fmla="*/ 6 h 96"/>
                  <a:gd name="T2" fmla="*/ 60 w 114"/>
                  <a:gd name="T3" fmla="*/ 0 h 96"/>
                  <a:gd name="T4" fmla="*/ 60 w 114"/>
                  <a:gd name="T5" fmla="*/ 6 h 96"/>
                  <a:gd name="T6" fmla="*/ 60 w 114"/>
                  <a:gd name="T7" fmla="*/ 12 h 96"/>
                  <a:gd name="T8" fmla="*/ 48 w 114"/>
                  <a:gd name="T9" fmla="*/ 18 h 96"/>
                  <a:gd name="T10" fmla="*/ 42 w 114"/>
                  <a:gd name="T11" fmla="*/ 18 h 96"/>
                  <a:gd name="T12" fmla="*/ 36 w 114"/>
                  <a:gd name="T13" fmla="*/ 18 h 96"/>
                  <a:gd name="T14" fmla="*/ 36 w 114"/>
                  <a:gd name="T15" fmla="*/ 12 h 96"/>
                  <a:gd name="T16" fmla="*/ 30 w 114"/>
                  <a:gd name="T17" fmla="*/ 18 h 96"/>
                  <a:gd name="T18" fmla="*/ 24 w 114"/>
                  <a:gd name="T19" fmla="*/ 24 h 96"/>
                  <a:gd name="T20" fmla="*/ 0 w 114"/>
                  <a:gd name="T21" fmla="*/ 24 h 96"/>
                  <a:gd name="T22" fmla="*/ 0 w 114"/>
                  <a:gd name="T23" fmla="*/ 30 h 96"/>
                  <a:gd name="T24" fmla="*/ 6 w 114"/>
                  <a:gd name="T25" fmla="*/ 36 h 96"/>
                  <a:gd name="T26" fmla="*/ 0 w 114"/>
                  <a:gd name="T27" fmla="*/ 42 h 96"/>
                  <a:gd name="T28" fmla="*/ 0 w 114"/>
                  <a:gd name="T29" fmla="*/ 48 h 96"/>
                  <a:gd name="T30" fmla="*/ 6 w 114"/>
                  <a:gd name="T31" fmla="*/ 48 h 96"/>
                  <a:gd name="T32" fmla="*/ 6 w 114"/>
                  <a:gd name="T33" fmla="*/ 54 h 96"/>
                  <a:gd name="T34" fmla="*/ 6 w 114"/>
                  <a:gd name="T35" fmla="*/ 60 h 96"/>
                  <a:gd name="T36" fmla="*/ 6 w 114"/>
                  <a:gd name="T37" fmla="*/ 66 h 96"/>
                  <a:gd name="T38" fmla="*/ 6 w 114"/>
                  <a:gd name="T39" fmla="*/ 72 h 96"/>
                  <a:gd name="T40" fmla="*/ 6 w 114"/>
                  <a:gd name="T41" fmla="*/ 78 h 96"/>
                  <a:gd name="T42" fmla="*/ 12 w 114"/>
                  <a:gd name="T43" fmla="*/ 78 h 96"/>
                  <a:gd name="T44" fmla="*/ 12 w 114"/>
                  <a:gd name="T45" fmla="*/ 72 h 96"/>
                  <a:gd name="T46" fmla="*/ 18 w 114"/>
                  <a:gd name="T47" fmla="*/ 78 h 96"/>
                  <a:gd name="T48" fmla="*/ 24 w 114"/>
                  <a:gd name="T49" fmla="*/ 78 h 96"/>
                  <a:gd name="T50" fmla="*/ 30 w 114"/>
                  <a:gd name="T51" fmla="*/ 78 h 96"/>
                  <a:gd name="T52" fmla="*/ 36 w 114"/>
                  <a:gd name="T53" fmla="*/ 84 h 96"/>
                  <a:gd name="T54" fmla="*/ 48 w 114"/>
                  <a:gd name="T55" fmla="*/ 90 h 96"/>
                  <a:gd name="T56" fmla="*/ 54 w 114"/>
                  <a:gd name="T57" fmla="*/ 90 h 96"/>
                  <a:gd name="T58" fmla="*/ 54 w 114"/>
                  <a:gd name="T59" fmla="*/ 96 h 96"/>
                  <a:gd name="T60" fmla="*/ 54 w 114"/>
                  <a:gd name="T61" fmla="*/ 90 h 96"/>
                  <a:gd name="T62" fmla="*/ 60 w 114"/>
                  <a:gd name="T63" fmla="*/ 90 h 96"/>
                  <a:gd name="T64" fmla="*/ 66 w 114"/>
                  <a:gd name="T65" fmla="*/ 90 h 96"/>
                  <a:gd name="T66" fmla="*/ 72 w 114"/>
                  <a:gd name="T67" fmla="*/ 84 h 96"/>
                  <a:gd name="T68" fmla="*/ 78 w 114"/>
                  <a:gd name="T69" fmla="*/ 84 h 96"/>
                  <a:gd name="T70" fmla="*/ 84 w 114"/>
                  <a:gd name="T71" fmla="*/ 84 h 96"/>
                  <a:gd name="T72" fmla="*/ 90 w 114"/>
                  <a:gd name="T73" fmla="*/ 90 h 96"/>
                  <a:gd name="T74" fmla="*/ 96 w 114"/>
                  <a:gd name="T75" fmla="*/ 96 h 96"/>
                  <a:gd name="T76" fmla="*/ 96 w 114"/>
                  <a:gd name="T77" fmla="*/ 90 h 96"/>
                  <a:gd name="T78" fmla="*/ 114 w 114"/>
                  <a:gd name="T79" fmla="*/ 78 h 96"/>
                  <a:gd name="T80" fmla="*/ 108 w 114"/>
                  <a:gd name="T81" fmla="*/ 66 h 96"/>
                  <a:gd name="T82" fmla="*/ 102 w 114"/>
                  <a:gd name="T83" fmla="*/ 54 h 96"/>
                  <a:gd name="T84" fmla="*/ 102 w 114"/>
                  <a:gd name="T85" fmla="*/ 48 h 96"/>
                  <a:gd name="T86" fmla="*/ 96 w 114"/>
                  <a:gd name="T87" fmla="*/ 48 h 96"/>
                  <a:gd name="T88" fmla="*/ 96 w 114"/>
                  <a:gd name="T89" fmla="*/ 42 h 96"/>
                  <a:gd name="T90" fmla="*/ 102 w 114"/>
                  <a:gd name="T91" fmla="*/ 36 h 96"/>
                  <a:gd name="T92" fmla="*/ 102 w 114"/>
                  <a:gd name="T93" fmla="*/ 30 h 96"/>
                  <a:gd name="T94" fmla="*/ 96 w 114"/>
                  <a:gd name="T95" fmla="*/ 24 h 96"/>
                  <a:gd name="T96" fmla="*/ 90 w 114"/>
                  <a:gd name="T97" fmla="*/ 18 h 96"/>
                  <a:gd name="T98" fmla="*/ 84 w 114"/>
                  <a:gd name="T99" fmla="*/ 6 h 96"/>
                  <a:gd name="T100" fmla="*/ 72 w 114"/>
                  <a:gd name="T101" fmla="*/ 6 h 96"/>
                  <a:gd name="T102" fmla="*/ 66 w 114"/>
                  <a:gd name="T103" fmla="*/ 6 h 9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14" h="96">
                    <a:moveTo>
                      <a:pt x="66" y="6"/>
                    </a:moveTo>
                    <a:lnTo>
                      <a:pt x="60" y="0"/>
                    </a:lnTo>
                    <a:lnTo>
                      <a:pt x="60" y="6"/>
                    </a:lnTo>
                    <a:lnTo>
                      <a:pt x="60" y="12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30" y="18"/>
                    </a:lnTo>
                    <a:lnTo>
                      <a:pt x="24" y="24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8"/>
                    </a:lnTo>
                    <a:lnTo>
                      <a:pt x="6" y="54"/>
                    </a:lnTo>
                    <a:lnTo>
                      <a:pt x="6" y="60"/>
                    </a:lnTo>
                    <a:lnTo>
                      <a:pt x="6" y="66"/>
                    </a:lnTo>
                    <a:lnTo>
                      <a:pt x="6" y="72"/>
                    </a:lnTo>
                    <a:lnTo>
                      <a:pt x="6" y="78"/>
                    </a:lnTo>
                    <a:lnTo>
                      <a:pt x="12" y="78"/>
                    </a:lnTo>
                    <a:lnTo>
                      <a:pt x="12" y="72"/>
                    </a:lnTo>
                    <a:lnTo>
                      <a:pt x="18" y="78"/>
                    </a:lnTo>
                    <a:lnTo>
                      <a:pt x="24" y="78"/>
                    </a:lnTo>
                    <a:lnTo>
                      <a:pt x="30" y="78"/>
                    </a:lnTo>
                    <a:lnTo>
                      <a:pt x="36" y="84"/>
                    </a:lnTo>
                    <a:lnTo>
                      <a:pt x="48" y="90"/>
                    </a:lnTo>
                    <a:lnTo>
                      <a:pt x="54" y="90"/>
                    </a:lnTo>
                    <a:lnTo>
                      <a:pt x="54" y="96"/>
                    </a:lnTo>
                    <a:lnTo>
                      <a:pt x="54" y="90"/>
                    </a:lnTo>
                    <a:lnTo>
                      <a:pt x="60" y="90"/>
                    </a:lnTo>
                    <a:lnTo>
                      <a:pt x="66" y="90"/>
                    </a:lnTo>
                    <a:lnTo>
                      <a:pt x="72" y="84"/>
                    </a:lnTo>
                    <a:lnTo>
                      <a:pt x="78" y="84"/>
                    </a:lnTo>
                    <a:lnTo>
                      <a:pt x="84" y="84"/>
                    </a:lnTo>
                    <a:lnTo>
                      <a:pt x="90" y="90"/>
                    </a:lnTo>
                    <a:lnTo>
                      <a:pt x="96" y="96"/>
                    </a:lnTo>
                    <a:lnTo>
                      <a:pt x="96" y="90"/>
                    </a:lnTo>
                    <a:lnTo>
                      <a:pt x="114" y="78"/>
                    </a:lnTo>
                    <a:lnTo>
                      <a:pt x="108" y="66"/>
                    </a:lnTo>
                    <a:lnTo>
                      <a:pt x="102" y="54"/>
                    </a:lnTo>
                    <a:lnTo>
                      <a:pt x="102" y="48"/>
                    </a:lnTo>
                    <a:lnTo>
                      <a:pt x="96" y="48"/>
                    </a:lnTo>
                    <a:lnTo>
                      <a:pt x="96" y="42"/>
                    </a:lnTo>
                    <a:lnTo>
                      <a:pt x="102" y="36"/>
                    </a:lnTo>
                    <a:lnTo>
                      <a:pt x="102" y="30"/>
                    </a:lnTo>
                    <a:lnTo>
                      <a:pt x="96" y="24"/>
                    </a:lnTo>
                    <a:lnTo>
                      <a:pt x="90" y="18"/>
                    </a:lnTo>
                    <a:lnTo>
                      <a:pt x="84" y="6"/>
                    </a:lnTo>
                    <a:lnTo>
                      <a:pt x="72" y="6"/>
                    </a:lnTo>
                    <a:lnTo>
                      <a:pt x="6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06" name="Group 241"/>
            <p:cNvGrpSpPr>
              <a:grpSpLocks/>
            </p:cNvGrpSpPr>
            <p:nvPr/>
          </p:nvGrpSpPr>
          <p:grpSpPr bwMode="auto">
            <a:xfrm>
              <a:off x="1254046" y="2330977"/>
              <a:ext cx="159525" cy="105186"/>
              <a:chOff x="1482" y="906"/>
              <a:chExt cx="78" cy="60"/>
            </a:xfrm>
            <a:solidFill>
              <a:srgbClr val="0070C0">
                <a:alpha val="27059"/>
              </a:srgbClr>
            </a:solidFill>
          </p:grpSpPr>
          <p:sp>
            <p:nvSpPr>
              <p:cNvPr id="1779" name="Freeform 242"/>
              <p:cNvSpPr>
                <a:spLocks/>
              </p:cNvSpPr>
              <p:nvPr/>
            </p:nvSpPr>
            <p:spPr bwMode="auto">
              <a:xfrm>
                <a:off x="1482" y="906"/>
                <a:ext cx="78" cy="60"/>
              </a:xfrm>
              <a:custGeom>
                <a:avLst/>
                <a:gdLst>
                  <a:gd name="T0" fmla="*/ 18 w 78"/>
                  <a:gd name="T1" fmla="*/ 0 h 60"/>
                  <a:gd name="T2" fmla="*/ 24 w 78"/>
                  <a:gd name="T3" fmla="*/ 0 h 60"/>
                  <a:gd name="T4" fmla="*/ 30 w 78"/>
                  <a:gd name="T5" fmla="*/ 0 h 60"/>
                  <a:gd name="T6" fmla="*/ 36 w 78"/>
                  <a:gd name="T7" fmla="*/ 0 h 60"/>
                  <a:gd name="T8" fmla="*/ 48 w 78"/>
                  <a:gd name="T9" fmla="*/ 0 h 60"/>
                  <a:gd name="T10" fmla="*/ 54 w 78"/>
                  <a:gd name="T11" fmla="*/ 0 h 60"/>
                  <a:gd name="T12" fmla="*/ 54 w 78"/>
                  <a:gd name="T13" fmla="*/ 0 h 60"/>
                  <a:gd name="T14" fmla="*/ 60 w 78"/>
                  <a:gd name="T15" fmla="*/ 0 h 60"/>
                  <a:gd name="T16" fmla="*/ 66 w 78"/>
                  <a:gd name="T17" fmla="*/ 6 h 60"/>
                  <a:gd name="T18" fmla="*/ 72 w 78"/>
                  <a:gd name="T19" fmla="*/ 6 h 60"/>
                  <a:gd name="T20" fmla="*/ 72 w 78"/>
                  <a:gd name="T21" fmla="*/ 18 h 60"/>
                  <a:gd name="T22" fmla="*/ 72 w 78"/>
                  <a:gd name="T23" fmla="*/ 24 h 60"/>
                  <a:gd name="T24" fmla="*/ 72 w 78"/>
                  <a:gd name="T25" fmla="*/ 30 h 60"/>
                  <a:gd name="T26" fmla="*/ 72 w 78"/>
                  <a:gd name="T27" fmla="*/ 42 h 60"/>
                  <a:gd name="T28" fmla="*/ 78 w 78"/>
                  <a:gd name="T29" fmla="*/ 42 h 60"/>
                  <a:gd name="T30" fmla="*/ 78 w 78"/>
                  <a:gd name="T31" fmla="*/ 48 h 60"/>
                  <a:gd name="T32" fmla="*/ 78 w 78"/>
                  <a:gd name="T33" fmla="*/ 48 h 60"/>
                  <a:gd name="T34" fmla="*/ 78 w 78"/>
                  <a:gd name="T35" fmla="*/ 48 h 60"/>
                  <a:gd name="T36" fmla="*/ 78 w 78"/>
                  <a:gd name="T37" fmla="*/ 60 h 60"/>
                  <a:gd name="T38" fmla="*/ 72 w 78"/>
                  <a:gd name="T39" fmla="*/ 60 h 60"/>
                  <a:gd name="T40" fmla="*/ 66 w 78"/>
                  <a:gd name="T41" fmla="*/ 54 h 60"/>
                  <a:gd name="T42" fmla="*/ 54 w 78"/>
                  <a:gd name="T43" fmla="*/ 54 h 60"/>
                  <a:gd name="T44" fmla="*/ 54 w 78"/>
                  <a:gd name="T45" fmla="*/ 48 h 60"/>
                  <a:gd name="T46" fmla="*/ 48 w 78"/>
                  <a:gd name="T47" fmla="*/ 48 h 60"/>
                  <a:gd name="T48" fmla="*/ 42 w 78"/>
                  <a:gd name="T49" fmla="*/ 48 h 60"/>
                  <a:gd name="T50" fmla="*/ 36 w 78"/>
                  <a:gd name="T51" fmla="*/ 48 h 60"/>
                  <a:gd name="T52" fmla="*/ 30 w 78"/>
                  <a:gd name="T53" fmla="*/ 54 h 60"/>
                  <a:gd name="T54" fmla="*/ 24 w 78"/>
                  <a:gd name="T55" fmla="*/ 54 h 60"/>
                  <a:gd name="T56" fmla="*/ 6 w 78"/>
                  <a:gd name="T57" fmla="*/ 42 h 60"/>
                  <a:gd name="T58" fmla="*/ 6 w 78"/>
                  <a:gd name="T59" fmla="*/ 42 h 60"/>
                  <a:gd name="T60" fmla="*/ 0 w 78"/>
                  <a:gd name="T61" fmla="*/ 36 h 60"/>
                  <a:gd name="T62" fmla="*/ 6 w 78"/>
                  <a:gd name="T63" fmla="*/ 36 h 60"/>
                  <a:gd name="T64" fmla="*/ 12 w 78"/>
                  <a:gd name="T65" fmla="*/ 24 h 60"/>
                  <a:gd name="T66" fmla="*/ 12 w 78"/>
                  <a:gd name="T67" fmla="*/ 18 h 60"/>
                  <a:gd name="T68" fmla="*/ 18 w 78"/>
                  <a:gd name="T69" fmla="*/ 6 h 60"/>
                  <a:gd name="T70" fmla="*/ 18 w 78"/>
                  <a:gd name="T71" fmla="*/ 0 h 6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78" h="60">
                    <a:moveTo>
                      <a:pt x="18" y="0"/>
                    </a:moveTo>
                    <a:lnTo>
                      <a:pt x="24" y="0"/>
                    </a:lnTo>
                    <a:lnTo>
                      <a:pt x="30" y="0"/>
                    </a:lnTo>
                    <a:lnTo>
                      <a:pt x="36" y="0"/>
                    </a:lnTo>
                    <a:lnTo>
                      <a:pt x="48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6" y="6"/>
                    </a:lnTo>
                    <a:lnTo>
                      <a:pt x="72" y="6"/>
                    </a:lnTo>
                    <a:lnTo>
                      <a:pt x="72" y="18"/>
                    </a:lnTo>
                    <a:lnTo>
                      <a:pt x="72" y="24"/>
                    </a:lnTo>
                    <a:lnTo>
                      <a:pt x="72" y="30"/>
                    </a:lnTo>
                    <a:lnTo>
                      <a:pt x="72" y="42"/>
                    </a:lnTo>
                    <a:lnTo>
                      <a:pt x="78" y="42"/>
                    </a:lnTo>
                    <a:lnTo>
                      <a:pt x="78" y="48"/>
                    </a:lnTo>
                    <a:lnTo>
                      <a:pt x="78" y="60"/>
                    </a:lnTo>
                    <a:lnTo>
                      <a:pt x="72" y="60"/>
                    </a:lnTo>
                    <a:lnTo>
                      <a:pt x="66" y="54"/>
                    </a:lnTo>
                    <a:lnTo>
                      <a:pt x="54" y="54"/>
                    </a:lnTo>
                    <a:lnTo>
                      <a:pt x="54" y="48"/>
                    </a:lnTo>
                    <a:lnTo>
                      <a:pt x="48" y="48"/>
                    </a:lnTo>
                    <a:lnTo>
                      <a:pt x="42" y="48"/>
                    </a:lnTo>
                    <a:lnTo>
                      <a:pt x="36" y="48"/>
                    </a:lnTo>
                    <a:lnTo>
                      <a:pt x="30" y="54"/>
                    </a:lnTo>
                    <a:lnTo>
                      <a:pt x="24" y="54"/>
                    </a:lnTo>
                    <a:lnTo>
                      <a:pt x="6" y="42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2" y="24"/>
                    </a:lnTo>
                    <a:lnTo>
                      <a:pt x="12" y="18"/>
                    </a:lnTo>
                    <a:lnTo>
                      <a:pt x="18" y="6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80" name="Freeform 243"/>
              <p:cNvSpPr>
                <a:spLocks/>
              </p:cNvSpPr>
              <p:nvPr/>
            </p:nvSpPr>
            <p:spPr bwMode="auto">
              <a:xfrm>
                <a:off x="1482" y="906"/>
                <a:ext cx="78" cy="60"/>
              </a:xfrm>
              <a:custGeom>
                <a:avLst/>
                <a:gdLst>
                  <a:gd name="T0" fmla="*/ 18 w 78"/>
                  <a:gd name="T1" fmla="*/ 0 h 60"/>
                  <a:gd name="T2" fmla="*/ 24 w 78"/>
                  <a:gd name="T3" fmla="*/ 0 h 60"/>
                  <a:gd name="T4" fmla="*/ 30 w 78"/>
                  <a:gd name="T5" fmla="*/ 0 h 60"/>
                  <a:gd name="T6" fmla="*/ 36 w 78"/>
                  <a:gd name="T7" fmla="*/ 0 h 60"/>
                  <a:gd name="T8" fmla="*/ 48 w 78"/>
                  <a:gd name="T9" fmla="*/ 0 h 60"/>
                  <a:gd name="T10" fmla="*/ 54 w 78"/>
                  <a:gd name="T11" fmla="*/ 0 h 60"/>
                  <a:gd name="T12" fmla="*/ 60 w 78"/>
                  <a:gd name="T13" fmla="*/ 0 h 60"/>
                  <a:gd name="T14" fmla="*/ 66 w 78"/>
                  <a:gd name="T15" fmla="*/ 6 h 60"/>
                  <a:gd name="T16" fmla="*/ 72 w 78"/>
                  <a:gd name="T17" fmla="*/ 6 h 60"/>
                  <a:gd name="T18" fmla="*/ 72 w 78"/>
                  <a:gd name="T19" fmla="*/ 18 h 60"/>
                  <a:gd name="T20" fmla="*/ 72 w 78"/>
                  <a:gd name="T21" fmla="*/ 24 h 60"/>
                  <a:gd name="T22" fmla="*/ 72 w 78"/>
                  <a:gd name="T23" fmla="*/ 30 h 60"/>
                  <a:gd name="T24" fmla="*/ 72 w 78"/>
                  <a:gd name="T25" fmla="*/ 42 h 60"/>
                  <a:gd name="T26" fmla="*/ 78 w 78"/>
                  <a:gd name="T27" fmla="*/ 42 h 60"/>
                  <a:gd name="T28" fmla="*/ 78 w 78"/>
                  <a:gd name="T29" fmla="*/ 48 h 60"/>
                  <a:gd name="T30" fmla="*/ 78 w 78"/>
                  <a:gd name="T31" fmla="*/ 60 h 60"/>
                  <a:gd name="T32" fmla="*/ 72 w 78"/>
                  <a:gd name="T33" fmla="*/ 60 h 60"/>
                  <a:gd name="T34" fmla="*/ 66 w 78"/>
                  <a:gd name="T35" fmla="*/ 54 h 60"/>
                  <a:gd name="T36" fmla="*/ 54 w 78"/>
                  <a:gd name="T37" fmla="*/ 54 h 60"/>
                  <a:gd name="T38" fmla="*/ 54 w 78"/>
                  <a:gd name="T39" fmla="*/ 48 h 60"/>
                  <a:gd name="T40" fmla="*/ 48 w 78"/>
                  <a:gd name="T41" fmla="*/ 48 h 60"/>
                  <a:gd name="T42" fmla="*/ 42 w 78"/>
                  <a:gd name="T43" fmla="*/ 48 h 60"/>
                  <a:gd name="T44" fmla="*/ 36 w 78"/>
                  <a:gd name="T45" fmla="*/ 48 h 60"/>
                  <a:gd name="T46" fmla="*/ 30 w 78"/>
                  <a:gd name="T47" fmla="*/ 54 h 60"/>
                  <a:gd name="T48" fmla="*/ 24 w 78"/>
                  <a:gd name="T49" fmla="*/ 54 h 60"/>
                  <a:gd name="T50" fmla="*/ 6 w 78"/>
                  <a:gd name="T51" fmla="*/ 42 h 60"/>
                  <a:gd name="T52" fmla="*/ 0 w 78"/>
                  <a:gd name="T53" fmla="*/ 36 h 60"/>
                  <a:gd name="T54" fmla="*/ 6 w 78"/>
                  <a:gd name="T55" fmla="*/ 36 h 60"/>
                  <a:gd name="T56" fmla="*/ 12 w 78"/>
                  <a:gd name="T57" fmla="*/ 24 h 60"/>
                  <a:gd name="T58" fmla="*/ 12 w 78"/>
                  <a:gd name="T59" fmla="*/ 18 h 60"/>
                  <a:gd name="T60" fmla="*/ 18 w 78"/>
                  <a:gd name="T61" fmla="*/ 6 h 60"/>
                  <a:gd name="T62" fmla="*/ 18 w 78"/>
                  <a:gd name="T63" fmla="*/ 0 h 6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78" h="60">
                    <a:moveTo>
                      <a:pt x="18" y="0"/>
                    </a:moveTo>
                    <a:lnTo>
                      <a:pt x="24" y="0"/>
                    </a:lnTo>
                    <a:lnTo>
                      <a:pt x="30" y="0"/>
                    </a:lnTo>
                    <a:lnTo>
                      <a:pt x="36" y="0"/>
                    </a:lnTo>
                    <a:lnTo>
                      <a:pt x="48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6" y="6"/>
                    </a:lnTo>
                    <a:lnTo>
                      <a:pt x="72" y="6"/>
                    </a:lnTo>
                    <a:lnTo>
                      <a:pt x="72" y="18"/>
                    </a:lnTo>
                    <a:lnTo>
                      <a:pt x="72" y="24"/>
                    </a:lnTo>
                    <a:lnTo>
                      <a:pt x="72" y="30"/>
                    </a:lnTo>
                    <a:lnTo>
                      <a:pt x="72" y="42"/>
                    </a:lnTo>
                    <a:lnTo>
                      <a:pt x="78" y="42"/>
                    </a:lnTo>
                    <a:lnTo>
                      <a:pt x="78" y="48"/>
                    </a:lnTo>
                    <a:lnTo>
                      <a:pt x="78" y="60"/>
                    </a:lnTo>
                    <a:lnTo>
                      <a:pt x="72" y="60"/>
                    </a:lnTo>
                    <a:lnTo>
                      <a:pt x="66" y="54"/>
                    </a:lnTo>
                    <a:lnTo>
                      <a:pt x="54" y="54"/>
                    </a:lnTo>
                    <a:lnTo>
                      <a:pt x="54" y="48"/>
                    </a:lnTo>
                    <a:lnTo>
                      <a:pt x="48" y="48"/>
                    </a:lnTo>
                    <a:lnTo>
                      <a:pt x="42" y="48"/>
                    </a:lnTo>
                    <a:lnTo>
                      <a:pt x="36" y="48"/>
                    </a:lnTo>
                    <a:lnTo>
                      <a:pt x="30" y="54"/>
                    </a:lnTo>
                    <a:lnTo>
                      <a:pt x="24" y="54"/>
                    </a:lnTo>
                    <a:lnTo>
                      <a:pt x="6" y="42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2" y="24"/>
                    </a:lnTo>
                    <a:lnTo>
                      <a:pt x="12" y="18"/>
                    </a:lnTo>
                    <a:lnTo>
                      <a:pt x="18" y="6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07" name="Group 244"/>
            <p:cNvGrpSpPr>
              <a:grpSpLocks/>
            </p:cNvGrpSpPr>
            <p:nvPr/>
          </p:nvGrpSpPr>
          <p:grpSpPr bwMode="auto">
            <a:xfrm>
              <a:off x="1352067" y="2486733"/>
              <a:ext cx="61504" cy="60684"/>
              <a:chOff x="1530" y="996"/>
              <a:chExt cx="30" cy="36"/>
            </a:xfrm>
            <a:solidFill>
              <a:srgbClr val="0070C0">
                <a:alpha val="27059"/>
              </a:srgbClr>
            </a:solidFill>
          </p:grpSpPr>
          <p:sp>
            <p:nvSpPr>
              <p:cNvPr id="1777" name="Freeform 245"/>
              <p:cNvSpPr>
                <a:spLocks/>
              </p:cNvSpPr>
              <p:nvPr/>
            </p:nvSpPr>
            <p:spPr bwMode="auto">
              <a:xfrm>
                <a:off x="1530" y="996"/>
                <a:ext cx="30" cy="36"/>
              </a:xfrm>
              <a:custGeom>
                <a:avLst/>
                <a:gdLst>
                  <a:gd name="T0" fmla="*/ 18 w 30"/>
                  <a:gd name="T1" fmla="*/ 0 h 36"/>
                  <a:gd name="T2" fmla="*/ 30 w 30"/>
                  <a:gd name="T3" fmla="*/ 18 h 36"/>
                  <a:gd name="T4" fmla="*/ 24 w 30"/>
                  <a:gd name="T5" fmla="*/ 24 h 36"/>
                  <a:gd name="T6" fmla="*/ 18 w 30"/>
                  <a:gd name="T7" fmla="*/ 24 h 36"/>
                  <a:gd name="T8" fmla="*/ 12 w 30"/>
                  <a:gd name="T9" fmla="*/ 24 h 36"/>
                  <a:gd name="T10" fmla="*/ 12 w 30"/>
                  <a:gd name="T11" fmla="*/ 24 h 36"/>
                  <a:gd name="T12" fmla="*/ 12 w 30"/>
                  <a:gd name="T13" fmla="*/ 30 h 36"/>
                  <a:gd name="T14" fmla="*/ 6 w 30"/>
                  <a:gd name="T15" fmla="*/ 30 h 36"/>
                  <a:gd name="T16" fmla="*/ 6 w 30"/>
                  <a:gd name="T17" fmla="*/ 36 h 36"/>
                  <a:gd name="T18" fmla="*/ 0 w 30"/>
                  <a:gd name="T19" fmla="*/ 30 h 36"/>
                  <a:gd name="T20" fmla="*/ 0 w 30"/>
                  <a:gd name="T21" fmla="*/ 24 h 36"/>
                  <a:gd name="T22" fmla="*/ 0 w 30"/>
                  <a:gd name="T23" fmla="*/ 12 h 36"/>
                  <a:gd name="T24" fmla="*/ 0 w 30"/>
                  <a:gd name="T25" fmla="*/ 12 h 36"/>
                  <a:gd name="T26" fmla="*/ 6 w 30"/>
                  <a:gd name="T27" fmla="*/ 6 h 36"/>
                  <a:gd name="T28" fmla="*/ 6 w 30"/>
                  <a:gd name="T29" fmla="*/ 0 h 36"/>
                  <a:gd name="T30" fmla="*/ 12 w 30"/>
                  <a:gd name="T31" fmla="*/ 0 h 36"/>
                  <a:gd name="T32" fmla="*/ 18 w 30"/>
                  <a:gd name="T33" fmla="*/ 0 h 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0" h="36">
                    <a:moveTo>
                      <a:pt x="18" y="0"/>
                    </a:moveTo>
                    <a:lnTo>
                      <a:pt x="30" y="18"/>
                    </a:lnTo>
                    <a:lnTo>
                      <a:pt x="24" y="24"/>
                    </a:lnTo>
                    <a:lnTo>
                      <a:pt x="18" y="24"/>
                    </a:lnTo>
                    <a:lnTo>
                      <a:pt x="12" y="24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36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2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78" name="Freeform 246"/>
              <p:cNvSpPr>
                <a:spLocks/>
              </p:cNvSpPr>
              <p:nvPr/>
            </p:nvSpPr>
            <p:spPr bwMode="auto">
              <a:xfrm>
                <a:off x="1530" y="996"/>
                <a:ext cx="30" cy="36"/>
              </a:xfrm>
              <a:custGeom>
                <a:avLst/>
                <a:gdLst>
                  <a:gd name="T0" fmla="*/ 18 w 30"/>
                  <a:gd name="T1" fmla="*/ 0 h 36"/>
                  <a:gd name="T2" fmla="*/ 30 w 30"/>
                  <a:gd name="T3" fmla="*/ 18 h 36"/>
                  <a:gd name="T4" fmla="*/ 24 w 30"/>
                  <a:gd name="T5" fmla="*/ 24 h 36"/>
                  <a:gd name="T6" fmla="*/ 18 w 30"/>
                  <a:gd name="T7" fmla="*/ 24 h 36"/>
                  <a:gd name="T8" fmla="*/ 12 w 30"/>
                  <a:gd name="T9" fmla="*/ 24 h 36"/>
                  <a:gd name="T10" fmla="*/ 12 w 30"/>
                  <a:gd name="T11" fmla="*/ 30 h 36"/>
                  <a:gd name="T12" fmla="*/ 6 w 30"/>
                  <a:gd name="T13" fmla="*/ 30 h 36"/>
                  <a:gd name="T14" fmla="*/ 6 w 30"/>
                  <a:gd name="T15" fmla="*/ 36 h 36"/>
                  <a:gd name="T16" fmla="*/ 0 w 30"/>
                  <a:gd name="T17" fmla="*/ 30 h 36"/>
                  <a:gd name="T18" fmla="*/ 0 w 30"/>
                  <a:gd name="T19" fmla="*/ 24 h 36"/>
                  <a:gd name="T20" fmla="*/ 0 w 30"/>
                  <a:gd name="T21" fmla="*/ 12 h 36"/>
                  <a:gd name="T22" fmla="*/ 6 w 30"/>
                  <a:gd name="T23" fmla="*/ 6 h 36"/>
                  <a:gd name="T24" fmla="*/ 6 w 30"/>
                  <a:gd name="T25" fmla="*/ 0 h 36"/>
                  <a:gd name="T26" fmla="*/ 12 w 30"/>
                  <a:gd name="T27" fmla="*/ 0 h 36"/>
                  <a:gd name="T28" fmla="*/ 18 w 30"/>
                  <a:gd name="T29" fmla="*/ 0 h 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0" h="36">
                    <a:moveTo>
                      <a:pt x="18" y="0"/>
                    </a:moveTo>
                    <a:lnTo>
                      <a:pt x="30" y="18"/>
                    </a:lnTo>
                    <a:lnTo>
                      <a:pt x="24" y="24"/>
                    </a:lnTo>
                    <a:lnTo>
                      <a:pt x="18" y="24"/>
                    </a:lnTo>
                    <a:lnTo>
                      <a:pt x="12" y="24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36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2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08" name="Group 247"/>
            <p:cNvGrpSpPr>
              <a:grpSpLocks/>
            </p:cNvGrpSpPr>
            <p:nvPr/>
          </p:nvGrpSpPr>
          <p:grpSpPr bwMode="auto">
            <a:xfrm>
              <a:off x="1511592" y="2713288"/>
              <a:ext cx="413227" cy="299376"/>
              <a:chOff x="1608" y="1128"/>
              <a:chExt cx="204" cy="174"/>
            </a:xfrm>
            <a:solidFill>
              <a:srgbClr val="0070C0">
                <a:alpha val="27059"/>
              </a:srgbClr>
            </a:solidFill>
          </p:grpSpPr>
          <p:sp>
            <p:nvSpPr>
              <p:cNvPr id="1775" name="Freeform 248"/>
              <p:cNvSpPr>
                <a:spLocks/>
              </p:cNvSpPr>
              <p:nvPr/>
            </p:nvSpPr>
            <p:spPr bwMode="auto">
              <a:xfrm>
                <a:off x="1608" y="1128"/>
                <a:ext cx="204" cy="174"/>
              </a:xfrm>
              <a:custGeom>
                <a:avLst/>
                <a:gdLst>
                  <a:gd name="T0" fmla="*/ 42 w 204"/>
                  <a:gd name="T1" fmla="*/ 6 h 174"/>
                  <a:gd name="T2" fmla="*/ 24 w 204"/>
                  <a:gd name="T3" fmla="*/ 6 h 174"/>
                  <a:gd name="T4" fmla="*/ 30 w 204"/>
                  <a:gd name="T5" fmla="*/ 18 h 174"/>
                  <a:gd name="T6" fmla="*/ 30 w 204"/>
                  <a:gd name="T7" fmla="*/ 18 h 174"/>
                  <a:gd name="T8" fmla="*/ 24 w 204"/>
                  <a:gd name="T9" fmla="*/ 24 h 174"/>
                  <a:gd name="T10" fmla="*/ 18 w 204"/>
                  <a:gd name="T11" fmla="*/ 30 h 174"/>
                  <a:gd name="T12" fmla="*/ 0 w 204"/>
                  <a:gd name="T13" fmla="*/ 30 h 174"/>
                  <a:gd name="T14" fmla="*/ 0 w 204"/>
                  <a:gd name="T15" fmla="*/ 36 h 174"/>
                  <a:gd name="T16" fmla="*/ 6 w 204"/>
                  <a:gd name="T17" fmla="*/ 42 h 174"/>
                  <a:gd name="T18" fmla="*/ 18 w 204"/>
                  <a:gd name="T19" fmla="*/ 60 h 174"/>
                  <a:gd name="T20" fmla="*/ 30 w 204"/>
                  <a:gd name="T21" fmla="*/ 84 h 174"/>
                  <a:gd name="T22" fmla="*/ 42 w 204"/>
                  <a:gd name="T23" fmla="*/ 114 h 174"/>
                  <a:gd name="T24" fmla="*/ 48 w 204"/>
                  <a:gd name="T25" fmla="*/ 126 h 174"/>
                  <a:gd name="T26" fmla="*/ 72 w 204"/>
                  <a:gd name="T27" fmla="*/ 162 h 174"/>
                  <a:gd name="T28" fmla="*/ 72 w 204"/>
                  <a:gd name="T29" fmla="*/ 162 h 174"/>
                  <a:gd name="T30" fmla="*/ 78 w 204"/>
                  <a:gd name="T31" fmla="*/ 156 h 174"/>
                  <a:gd name="T32" fmla="*/ 78 w 204"/>
                  <a:gd name="T33" fmla="*/ 156 h 174"/>
                  <a:gd name="T34" fmla="*/ 78 w 204"/>
                  <a:gd name="T35" fmla="*/ 150 h 174"/>
                  <a:gd name="T36" fmla="*/ 78 w 204"/>
                  <a:gd name="T37" fmla="*/ 150 h 174"/>
                  <a:gd name="T38" fmla="*/ 78 w 204"/>
                  <a:gd name="T39" fmla="*/ 156 h 174"/>
                  <a:gd name="T40" fmla="*/ 84 w 204"/>
                  <a:gd name="T41" fmla="*/ 156 h 174"/>
                  <a:gd name="T42" fmla="*/ 102 w 204"/>
                  <a:gd name="T43" fmla="*/ 174 h 174"/>
                  <a:gd name="T44" fmla="*/ 102 w 204"/>
                  <a:gd name="T45" fmla="*/ 174 h 174"/>
                  <a:gd name="T46" fmla="*/ 114 w 204"/>
                  <a:gd name="T47" fmla="*/ 162 h 174"/>
                  <a:gd name="T48" fmla="*/ 120 w 204"/>
                  <a:gd name="T49" fmla="*/ 150 h 174"/>
                  <a:gd name="T50" fmla="*/ 138 w 204"/>
                  <a:gd name="T51" fmla="*/ 144 h 174"/>
                  <a:gd name="T52" fmla="*/ 156 w 204"/>
                  <a:gd name="T53" fmla="*/ 138 h 174"/>
                  <a:gd name="T54" fmla="*/ 162 w 204"/>
                  <a:gd name="T55" fmla="*/ 138 h 174"/>
                  <a:gd name="T56" fmla="*/ 168 w 204"/>
                  <a:gd name="T57" fmla="*/ 138 h 174"/>
                  <a:gd name="T58" fmla="*/ 174 w 204"/>
                  <a:gd name="T59" fmla="*/ 138 h 174"/>
                  <a:gd name="T60" fmla="*/ 186 w 204"/>
                  <a:gd name="T61" fmla="*/ 126 h 174"/>
                  <a:gd name="T62" fmla="*/ 198 w 204"/>
                  <a:gd name="T63" fmla="*/ 120 h 174"/>
                  <a:gd name="T64" fmla="*/ 204 w 204"/>
                  <a:gd name="T65" fmla="*/ 108 h 174"/>
                  <a:gd name="T66" fmla="*/ 204 w 204"/>
                  <a:gd name="T67" fmla="*/ 102 h 174"/>
                  <a:gd name="T68" fmla="*/ 198 w 204"/>
                  <a:gd name="T69" fmla="*/ 96 h 174"/>
                  <a:gd name="T70" fmla="*/ 204 w 204"/>
                  <a:gd name="T71" fmla="*/ 90 h 174"/>
                  <a:gd name="T72" fmla="*/ 192 w 204"/>
                  <a:gd name="T73" fmla="*/ 96 h 174"/>
                  <a:gd name="T74" fmla="*/ 174 w 204"/>
                  <a:gd name="T75" fmla="*/ 96 h 174"/>
                  <a:gd name="T76" fmla="*/ 174 w 204"/>
                  <a:gd name="T77" fmla="*/ 90 h 174"/>
                  <a:gd name="T78" fmla="*/ 174 w 204"/>
                  <a:gd name="T79" fmla="*/ 90 h 174"/>
                  <a:gd name="T80" fmla="*/ 174 w 204"/>
                  <a:gd name="T81" fmla="*/ 84 h 174"/>
                  <a:gd name="T82" fmla="*/ 162 w 204"/>
                  <a:gd name="T83" fmla="*/ 84 h 174"/>
                  <a:gd name="T84" fmla="*/ 162 w 204"/>
                  <a:gd name="T85" fmla="*/ 84 h 174"/>
                  <a:gd name="T86" fmla="*/ 156 w 204"/>
                  <a:gd name="T87" fmla="*/ 84 h 174"/>
                  <a:gd name="T88" fmla="*/ 156 w 204"/>
                  <a:gd name="T89" fmla="*/ 78 h 174"/>
                  <a:gd name="T90" fmla="*/ 144 w 204"/>
                  <a:gd name="T91" fmla="*/ 60 h 174"/>
                  <a:gd name="T92" fmla="*/ 132 w 204"/>
                  <a:gd name="T93" fmla="*/ 42 h 174"/>
                  <a:gd name="T94" fmla="*/ 114 w 204"/>
                  <a:gd name="T95" fmla="*/ 42 h 174"/>
                  <a:gd name="T96" fmla="*/ 114 w 204"/>
                  <a:gd name="T97" fmla="*/ 36 h 174"/>
                  <a:gd name="T98" fmla="*/ 108 w 204"/>
                  <a:gd name="T99" fmla="*/ 36 h 174"/>
                  <a:gd name="T100" fmla="*/ 102 w 204"/>
                  <a:gd name="T101" fmla="*/ 30 h 174"/>
                  <a:gd name="T102" fmla="*/ 96 w 204"/>
                  <a:gd name="T103" fmla="*/ 24 h 174"/>
                  <a:gd name="T104" fmla="*/ 84 w 204"/>
                  <a:gd name="T105" fmla="*/ 24 h 174"/>
                  <a:gd name="T106" fmla="*/ 78 w 204"/>
                  <a:gd name="T107" fmla="*/ 12 h 174"/>
                  <a:gd name="T108" fmla="*/ 72 w 204"/>
                  <a:gd name="T109" fmla="*/ 12 h 174"/>
                  <a:gd name="T110" fmla="*/ 48 w 204"/>
                  <a:gd name="T111" fmla="*/ 6 h 174"/>
                  <a:gd name="T112" fmla="*/ 48 w 204"/>
                  <a:gd name="T113" fmla="*/ 0 h 174"/>
                  <a:gd name="T114" fmla="*/ 42 w 204"/>
                  <a:gd name="T115" fmla="*/ 6 h 17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204" h="174">
                    <a:moveTo>
                      <a:pt x="42" y="6"/>
                    </a:moveTo>
                    <a:lnTo>
                      <a:pt x="24" y="6"/>
                    </a:lnTo>
                    <a:lnTo>
                      <a:pt x="30" y="18"/>
                    </a:lnTo>
                    <a:lnTo>
                      <a:pt x="24" y="24"/>
                    </a:lnTo>
                    <a:lnTo>
                      <a:pt x="18" y="30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6" y="42"/>
                    </a:lnTo>
                    <a:lnTo>
                      <a:pt x="18" y="60"/>
                    </a:lnTo>
                    <a:lnTo>
                      <a:pt x="30" y="84"/>
                    </a:lnTo>
                    <a:lnTo>
                      <a:pt x="42" y="114"/>
                    </a:lnTo>
                    <a:lnTo>
                      <a:pt x="48" y="126"/>
                    </a:lnTo>
                    <a:lnTo>
                      <a:pt x="72" y="162"/>
                    </a:lnTo>
                    <a:lnTo>
                      <a:pt x="78" y="156"/>
                    </a:lnTo>
                    <a:lnTo>
                      <a:pt x="78" y="150"/>
                    </a:lnTo>
                    <a:lnTo>
                      <a:pt x="78" y="156"/>
                    </a:lnTo>
                    <a:lnTo>
                      <a:pt x="84" y="156"/>
                    </a:lnTo>
                    <a:lnTo>
                      <a:pt x="102" y="174"/>
                    </a:lnTo>
                    <a:lnTo>
                      <a:pt x="114" y="162"/>
                    </a:lnTo>
                    <a:lnTo>
                      <a:pt x="120" y="150"/>
                    </a:lnTo>
                    <a:lnTo>
                      <a:pt x="138" y="144"/>
                    </a:lnTo>
                    <a:lnTo>
                      <a:pt x="156" y="138"/>
                    </a:lnTo>
                    <a:lnTo>
                      <a:pt x="162" y="138"/>
                    </a:lnTo>
                    <a:lnTo>
                      <a:pt x="168" y="138"/>
                    </a:lnTo>
                    <a:lnTo>
                      <a:pt x="174" y="138"/>
                    </a:lnTo>
                    <a:lnTo>
                      <a:pt x="186" y="126"/>
                    </a:lnTo>
                    <a:lnTo>
                      <a:pt x="198" y="120"/>
                    </a:lnTo>
                    <a:lnTo>
                      <a:pt x="204" y="108"/>
                    </a:lnTo>
                    <a:lnTo>
                      <a:pt x="204" y="102"/>
                    </a:lnTo>
                    <a:lnTo>
                      <a:pt x="198" y="96"/>
                    </a:lnTo>
                    <a:lnTo>
                      <a:pt x="204" y="90"/>
                    </a:lnTo>
                    <a:lnTo>
                      <a:pt x="192" y="96"/>
                    </a:lnTo>
                    <a:lnTo>
                      <a:pt x="174" y="96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62" y="84"/>
                    </a:lnTo>
                    <a:lnTo>
                      <a:pt x="156" y="84"/>
                    </a:lnTo>
                    <a:lnTo>
                      <a:pt x="156" y="78"/>
                    </a:lnTo>
                    <a:lnTo>
                      <a:pt x="144" y="60"/>
                    </a:lnTo>
                    <a:lnTo>
                      <a:pt x="132" y="42"/>
                    </a:lnTo>
                    <a:lnTo>
                      <a:pt x="114" y="42"/>
                    </a:lnTo>
                    <a:lnTo>
                      <a:pt x="114" y="36"/>
                    </a:lnTo>
                    <a:lnTo>
                      <a:pt x="108" y="36"/>
                    </a:lnTo>
                    <a:lnTo>
                      <a:pt x="102" y="30"/>
                    </a:lnTo>
                    <a:lnTo>
                      <a:pt x="96" y="24"/>
                    </a:lnTo>
                    <a:lnTo>
                      <a:pt x="84" y="24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4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76" name="Freeform 249"/>
              <p:cNvSpPr>
                <a:spLocks/>
              </p:cNvSpPr>
              <p:nvPr/>
            </p:nvSpPr>
            <p:spPr bwMode="auto">
              <a:xfrm>
                <a:off x="1608" y="1128"/>
                <a:ext cx="204" cy="174"/>
              </a:xfrm>
              <a:custGeom>
                <a:avLst/>
                <a:gdLst>
                  <a:gd name="T0" fmla="*/ 42 w 204"/>
                  <a:gd name="T1" fmla="*/ 6 h 174"/>
                  <a:gd name="T2" fmla="*/ 24 w 204"/>
                  <a:gd name="T3" fmla="*/ 6 h 174"/>
                  <a:gd name="T4" fmla="*/ 30 w 204"/>
                  <a:gd name="T5" fmla="*/ 18 h 174"/>
                  <a:gd name="T6" fmla="*/ 24 w 204"/>
                  <a:gd name="T7" fmla="*/ 24 h 174"/>
                  <a:gd name="T8" fmla="*/ 18 w 204"/>
                  <a:gd name="T9" fmla="*/ 30 h 174"/>
                  <a:gd name="T10" fmla="*/ 0 w 204"/>
                  <a:gd name="T11" fmla="*/ 30 h 174"/>
                  <a:gd name="T12" fmla="*/ 0 w 204"/>
                  <a:gd name="T13" fmla="*/ 36 h 174"/>
                  <a:gd name="T14" fmla="*/ 6 w 204"/>
                  <a:gd name="T15" fmla="*/ 42 h 174"/>
                  <a:gd name="T16" fmla="*/ 18 w 204"/>
                  <a:gd name="T17" fmla="*/ 60 h 174"/>
                  <a:gd name="T18" fmla="*/ 30 w 204"/>
                  <a:gd name="T19" fmla="*/ 84 h 174"/>
                  <a:gd name="T20" fmla="*/ 42 w 204"/>
                  <a:gd name="T21" fmla="*/ 114 h 174"/>
                  <a:gd name="T22" fmla="*/ 48 w 204"/>
                  <a:gd name="T23" fmla="*/ 126 h 174"/>
                  <a:gd name="T24" fmla="*/ 72 w 204"/>
                  <a:gd name="T25" fmla="*/ 162 h 174"/>
                  <a:gd name="T26" fmla="*/ 78 w 204"/>
                  <a:gd name="T27" fmla="*/ 156 h 174"/>
                  <a:gd name="T28" fmla="*/ 78 w 204"/>
                  <a:gd name="T29" fmla="*/ 150 h 174"/>
                  <a:gd name="T30" fmla="*/ 78 w 204"/>
                  <a:gd name="T31" fmla="*/ 156 h 174"/>
                  <a:gd name="T32" fmla="*/ 84 w 204"/>
                  <a:gd name="T33" fmla="*/ 156 h 174"/>
                  <a:gd name="T34" fmla="*/ 102 w 204"/>
                  <a:gd name="T35" fmla="*/ 174 h 174"/>
                  <a:gd name="T36" fmla="*/ 114 w 204"/>
                  <a:gd name="T37" fmla="*/ 162 h 174"/>
                  <a:gd name="T38" fmla="*/ 120 w 204"/>
                  <a:gd name="T39" fmla="*/ 150 h 174"/>
                  <a:gd name="T40" fmla="*/ 138 w 204"/>
                  <a:gd name="T41" fmla="*/ 144 h 174"/>
                  <a:gd name="T42" fmla="*/ 156 w 204"/>
                  <a:gd name="T43" fmla="*/ 138 h 174"/>
                  <a:gd name="T44" fmla="*/ 162 w 204"/>
                  <a:gd name="T45" fmla="*/ 138 h 174"/>
                  <a:gd name="T46" fmla="*/ 168 w 204"/>
                  <a:gd name="T47" fmla="*/ 138 h 174"/>
                  <a:gd name="T48" fmla="*/ 174 w 204"/>
                  <a:gd name="T49" fmla="*/ 138 h 174"/>
                  <a:gd name="T50" fmla="*/ 186 w 204"/>
                  <a:gd name="T51" fmla="*/ 126 h 174"/>
                  <a:gd name="T52" fmla="*/ 198 w 204"/>
                  <a:gd name="T53" fmla="*/ 120 h 174"/>
                  <a:gd name="T54" fmla="*/ 204 w 204"/>
                  <a:gd name="T55" fmla="*/ 108 h 174"/>
                  <a:gd name="T56" fmla="*/ 204 w 204"/>
                  <a:gd name="T57" fmla="*/ 102 h 174"/>
                  <a:gd name="T58" fmla="*/ 198 w 204"/>
                  <a:gd name="T59" fmla="*/ 96 h 174"/>
                  <a:gd name="T60" fmla="*/ 204 w 204"/>
                  <a:gd name="T61" fmla="*/ 90 h 174"/>
                  <a:gd name="T62" fmla="*/ 192 w 204"/>
                  <a:gd name="T63" fmla="*/ 96 h 174"/>
                  <a:gd name="T64" fmla="*/ 174 w 204"/>
                  <a:gd name="T65" fmla="*/ 96 h 174"/>
                  <a:gd name="T66" fmla="*/ 174 w 204"/>
                  <a:gd name="T67" fmla="*/ 90 h 174"/>
                  <a:gd name="T68" fmla="*/ 174 w 204"/>
                  <a:gd name="T69" fmla="*/ 84 h 174"/>
                  <a:gd name="T70" fmla="*/ 162 w 204"/>
                  <a:gd name="T71" fmla="*/ 84 h 174"/>
                  <a:gd name="T72" fmla="*/ 156 w 204"/>
                  <a:gd name="T73" fmla="*/ 84 h 174"/>
                  <a:gd name="T74" fmla="*/ 156 w 204"/>
                  <a:gd name="T75" fmla="*/ 78 h 174"/>
                  <a:gd name="T76" fmla="*/ 144 w 204"/>
                  <a:gd name="T77" fmla="*/ 60 h 174"/>
                  <a:gd name="T78" fmla="*/ 132 w 204"/>
                  <a:gd name="T79" fmla="*/ 42 h 174"/>
                  <a:gd name="T80" fmla="*/ 114 w 204"/>
                  <a:gd name="T81" fmla="*/ 42 h 174"/>
                  <a:gd name="T82" fmla="*/ 114 w 204"/>
                  <a:gd name="T83" fmla="*/ 36 h 174"/>
                  <a:gd name="T84" fmla="*/ 108 w 204"/>
                  <a:gd name="T85" fmla="*/ 36 h 174"/>
                  <a:gd name="T86" fmla="*/ 102 w 204"/>
                  <a:gd name="T87" fmla="*/ 30 h 174"/>
                  <a:gd name="T88" fmla="*/ 96 w 204"/>
                  <a:gd name="T89" fmla="*/ 24 h 174"/>
                  <a:gd name="T90" fmla="*/ 84 w 204"/>
                  <a:gd name="T91" fmla="*/ 24 h 174"/>
                  <a:gd name="T92" fmla="*/ 78 w 204"/>
                  <a:gd name="T93" fmla="*/ 12 h 174"/>
                  <a:gd name="T94" fmla="*/ 72 w 204"/>
                  <a:gd name="T95" fmla="*/ 12 h 174"/>
                  <a:gd name="T96" fmla="*/ 48 w 204"/>
                  <a:gd name="T97" fmla="*/ 6 h 174"/>
                  <a:gd name="T98" fmla="*/ 48 w 204"/>
                  <a:gd name="T99" fmla="*/ 0 h 174"/>
                  <a:gd name="T100" fmla="*/ 42 w 204"/>
                  <a:gd name="T101" fmla="*/ 6 h 17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04" h="174">
                    <a:moveTo>
                      <a:pt x="42" y="6"/>
                    </a:moveTo>
                    <a:lnTo>
                      <a:pt x="24" y="6"/>
                    </a:lnTo>
                    <a:lnTo>
                      <a:pt x="30" y="18"/>
                    </a:lnTo>
                    <a:lnTo>
                      <a:pt x="24" y="24"/>
                    </a:lnTo>
                    <a:lnTo>
                      <a:pt x="18" y="30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6" y="42"/>
                    </a:lnTo>
                    <a:lnTo>
                      <a:pt x="18" y="60"/>
                    </a:lnTo>
                    <a:lnTo>
                      <a:pt x="30" y="84"/>
                    </a:lnTo>
                    <a:lnTo>
                      <a:pt x="42" y="114"/>
                    </a:lnTo>
                    <a:lnTo>
                      <a:pt x="48" y="126"/>
                    </a:lnTo>
                    <a:lnTo>
                      <a:pt x="72" y="162"/>
                    </a:lnTo>
                    <a:lnTo>
                      <a:pt x="78" y="156"/>
                    </a:lnTo>
                    <a:lnTo>
                      <a:pt x="78" y="150"/>
                    </a:lnTo>
                    <a:lnTo>
                      <a:pt x="78" y="156"/>
                    </a:lnTo>
                    <a:lnTo>
                      <a:pt x="84" y="156"/>
                    </a:lnTo>
                    <a:lnTo>
                      <a:pt x="102" y="174"/>
                    </a:lnTo>
                    <a:lnTo>
                      <a:pt x="114" y="162"/>
                    </a:lnTo>
                    <a:lnTo>
                      <a:pt x="120" y="150"/>
                    </a:lnTo>
                    <a:lnTo>
                      <a:pt x="138" y="144"/>
                    </a:lnTo>
                    <a:lnTo>
                      <a:pt x="156" y="138"/>
                    </a:lnTo>
                    <a:lnTo>
                      <a:pt x="162" y="138"/>
                    </a:lnTo>
                    <a:lnTo>
                      <a:pt x="168" y="138"/>
                    </a:lnTo>
                    <a:lnTo>
                      <a:pt x="174" y="138"/>
                    </a:lnTo>
                    <a:lnTo>
                      <a:pt x="186" y="126"/>
                    </a:lnTo>
                    <a:lnTo>
                      <a:pt x="198" y="120"/>
                    </a:lnTo>
                    <a:lnTo>
                      <a:pt x="204" y="108"/>
                    </a:lnTo>
                    <a:lnTo>
                      <a:pt x="204" y="102"/>
                    </a:lnTo>
                    <a:lnTo>
                      <a:pt x="198" y="96"/>
                    </a:lnTo>
                    <a:lnTo>
                      <a:pt x="204" y="90"/>
                    </a:lnTo>
                    <a:lnTo>
                      <a:pt x="192" y="96"/>
                    </a:lnTo>
                    <a:lnTo>
                      <a:pt x="174" y="96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62" y="84"/>
                    </a:lnTo>
                    <a:lnTo>
                      <a:pt x="156" y="84"/>
                    </a:lnTo>
                    <a:lnTo>
                      <a:pt x="156" y="78"/>
                    </a:lnTo>
                    <a:lnTo>
                      <a:pt x="144" y="60"/>
                    </a:lnTo>
                    <a:lnTo>
                      <a:pt x="132" y="42"/>
                    </a:lnTo>
                    <a:lnTo>
                      <a:pt x="114" y="42"/>
                    </a:lnTo>
                    <a:lnTo>
                      <a:pt x="114" y="36"/>
                    </a:lnTo>
                    <a:lnTo>
                      <a:pt x="108" y="36"/>
                    </a:lnTo>
                    <a:lnTo>
                      <a:pt x="102" y="30"/>
                    </a:lnTo>
                    <a:lnTo>
                      <a:pt x="96" y="24"/>
                    </a:lnTo>
                    <a:lnTo>
                      <a:pt x="84" y="24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4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09" name="Group 250"/>
            <p:cNvGrpSpPr>
              <a:grpSpLocks/>
            </p:cNvGrpSpPr>
            <p:nvPr/>
          </p:nvGrpSpPr>
          <p:grpSpPr bwMode="auto">
            <a:xfrm>
              <a:off x="1657663" y="2970185"/>
              <a:ext cx="59582" cy="93049"/>
              <a:chOff x="1680" y="1278"/>
              <a:chExt cx="30" cy="54"/>
            </a:xfrm>
            <a:solidFill>
              <a:srgbClr val="0070C0">
                <a:alpha val="27059"/>
              </a:srgbClr>
            </a:solidFill>
          </p:grpSpPr>
          <p:sp>
            <p:nvSpPr>
              <p:cNvPr id="1773" name="Freeform 251"/>
              <p:cNvSpPr>
                <a:spLocks/>
              </p:cNvSpPr>
              <p:nvPr/>
            </p:nvSpPr>
            <p:spPr bwMode="auto">
              <a:xfrm>
                <a:off x="1680" y="1278"/>
                <a:ext cx="30" cy="54"/>
              </a:xfrm>
              <a:custGeom>
                <a:avLst/>
                <a:gdLst>
                  <a:gd name="T0" fmla="*/ 12 w 30"/>
                  <a:gd name="T1" fmla="*/ 54 h 54"/>
                  <a:gd name="T2" fmla="*/ 6 w 30"/>
                  <a:gd name="T3" fmla="*/ 48 h 54"/>
                  <a:gd name="T4" fmla="*/ 6 w 30"/>
                  <a:gd name="T5" fmla="*/ 36 h 54"/>
                  <a:gd name="T6" fmla="*/ 0 w 30"/>
                  <a:gd name="T7" fmla="*/ 30 h 54"/>
                  <a:gd name="T8" fmla="*/ 0 w 30"/>
                  <a:gd name="T9" fmla="*/ 24 h 54"/>
                  <a:gd name="T10" fmla="*/ 0 w 30"/>
                  <a:gd name="T11" fmla="*/ 12 h 54"/>
                  <a:gd name="T12" fmla="*/ 0 w 30"/>
                  <a:gd name="T13" fmla="*/ 12 h 54"/>
                  <a:gd name="T14" fmla="*/ 6 w 30"/>
                  <a:gd name="T15" fmla="*/ 6 h 54"/>
                  <a:gd name="T16" fmla="*/ 6 w 30"/>
                  <a:gd name="T17" fmla="*/ 6 h 54"/>
                  <a:gd name="T18" fmla="*/ 6 w 30"/>
                  <a:gd name="T19" fmla="*/ 0 h 54"/>
                  <a:gd name="T20" fmla="*/ 6 w 30"/>
                  <a:gd name="T21" fmla="*/ 6 h 54"/>
                  <a:gd name="T22" fmla="*/ 12 w 30"/>
                  <a:gd name="T23" fmla="*/ 6 h 54"/>
                  <a:gd name="T24" fmla="*/ 30 w 30"/>
                  <a:gd name="T25" fmla="*/ 24 h 54"/>
                  <a:gd name="T26" fmla="*/ 30 w 30"/>
                  <a:gd name="T27" fmla="*/ 24 h 54"/>
                  <a:gd name="T28" fmla="*/ 30 w 30"/>
                  <a:gd name="T29" fmla="*/ 30 h 54"/>
                  <a:gd name="T30" fmla="*/ 30 w 30"/>
                  <a:gd name="T31" fmla="*/ 36 h 54"/>
                  <a:gd name="T32" fmla="*/ 30 w 30"/>
                  <a:gd name="T33" fmla="*/ 36 h 54"/>
                  <a:gd name="T34" fmla="*/ 24 w 30"/>
                  <a:gd name="T35" fmla="*/ 36 h 54"/>
                  <a:gd name="T36" fmla="*/ 24 w 30"/>
                  <a:gd name="T37" fmla="*/ 36 h 54"/>
                  <a:gd name="T38" fmla="*/ 18 w 30"/>
                  <a:gd name="T39" fmla="*/ 48 h 54"/>
                  <a:gd name="T40" fmla="*/ 18 w 30"/>
                  <a:gd name="T41" fmla="*/ 48 h 54"/>
                  <a:gd name="T42" fmla="*/ 18 w 30"/>
                  <a:gd name="T43" fmla="*/ 48 h 54"/>
                  <a:gd name="T44" fmla="*/ 18 w 30"/>
                  <a:gd name="T45" fmla="*/ 48 h 54"/>
                  <a:gd name="T46" fmla="*/ 12 w 30"/>
                  <a:gd name="T47" fmla="*/ 54 h 5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30" h="54">
                    <a:moveTo>
                      <a:pt x="12" y="54"/>
                    </a:moveTo>
                    <a:lnTo>
                      <a:pt x="6" y="48"/>
                    </a:lnTo>
                    <a:lnTo>
                      <a:pt x="6" y="36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2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30" y="24"/>
                    </a:lnTo>
                    <a:lnTo>
                      <a:pt x="30" y="30"/>
                    </a:lnTo>
                    <a:lnTo>
                      <a:pt x="30" y="36"/>
                    </a:lnTo>
                    <a:lnTo>
                      <a:pt x="24" y="36"/>
                    </a:lnTo>
                    <a:lnTo>
                      <a:pt x="18" y="48"/>
                    </a:lnTo>
                    <a:lnTo>
                      <a:pt x="12" y="5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74" name="Freeform 252"/>
              <p:cNvSpPr>
                <a:spLocks/>
              </p:cNvSpPr>
              <p:nvPr/>
            </p:nvSpPr>
            <p:spPr bwMode="auto">
              <a:xfrm>
                <a:off x="1680" y="1278"/>
                <a:ext cx="30" cy="54"/>
              </a:xfrm>
              <a:custGeom>
                <a:avLst/>
                <a:gdLst>
                  <a:gd name="T0" fmla="*/ 12 w 30"/>
                  <a:gd name="T1" fmla="*/ 54 h 54"/>
                  <a:gd name="T2" fmla="*/ 6 w 30"/>
                  <a:gd name="T3" fmla="*/ 48 h 54"/>
                  <a:gd name="T4" fmla="*/ 6 w 30"/>
                  <a:gd name="T5" fmla="*/ 36 h 54"/>
                  <a:gd name="T6" fmla="*/ 0 w 30"/>
                  <a:gd name="T7" fmla="*/ 30 h 54"/>
                  <a:gd name="T8" fmla="*/ 0 w 30"/>
                  <a:gd name="T9" fmla="*/ 24 h 54"/>
                  <a:gd name="T10" fmla="*/ 0 w 30"/>
                  <a:gd name="T11" fmla="*/ 12 h 54"/>
                  <a:gd name="T12" fmla="*/ 6 w 30"/>
                  <a:gd name="T13" fmla="*/ 6 h 54"/>
                  <a:gd name="T14" fmla="*/ 6 w 30"/>
                  <a:gd name="T15" fmla="*/ 0 h 54"/>
                  <a:gd name="T16" fmla="*/ 6 w 30"/>
                  <a:gd name="T17" fmla="*/ 6 h 54"/>
                  <a:gd name="T18" fmla="*/ 12 w 30"/>
                  <a:gd name="T19" fmla="*/ 6 h 54"/>
                  <a:gd name="T20" fmla="*/ 30 w 30"/>
                  <a:gd name="T21" fmla="*/ 24 h 54"/>
                  <a:gd name="T22" fmla="*/ 30 w 30"/>
                  <a:gd name="T23" fmla="*/ 30 h 54"/>
                  <a:gd name="T24" fmla="*/ 30 w 30"/>
                  <a:gd name="T25" fmla="*/ 36 h 54"/>
                  <a:gd name="T26" fmla="*/ 24 w 30"/>
                  <a:gd name="T27" fmla="*/ 36 h 54"/>
                  <a:gd name="T28" fmla="*/ 18 w 30"/>
                  <a:gd name="T29" fmla="*/ 48 h 54"/>
                  <a:gd name="T30" fmla="*/ 12 w 30"/>
                  <a:gd name="T31" fmla="*/ 54 h 5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0" h="54">
                    <a:moveTo>
                      <a:pt x="12" y="54"/>
                    </a:moveTo>
                    <a:lnTo>
                      <a:pt x="6" y="48"/>
                    </a:lnTo>
                    <a:lnTo>
                      <a:pt x="6" y="36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2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30" y="24"/>
                    </a:lnTo>
                    <a:lnTo>
                      <a:pt x="30" y="30"/>
                    </a:lnTo>
                    <a:lnTo>
                      <a:pt x="30" y="36"/>
                    </a:lnTo>
                    <a:lnTo>
                      <a:pt x="24" y="36"/>
                    </a:lnTo>
                    <a:lnTo>
                      <a:pt x="18" y="48"/>
                    </a:lnTo>
                    <a:lnTo>
                      <a:pt x="12" y="5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10" name="Group 253"/>
            <p:cNvGrpSpPr>
              <a:grpSpLocks/>
            </p:cNvGrpSpPr>
            <p:nvPr/>
          </p:nvGrpSpPr>
          <p:grpSpPr bwMode="auto">
            <a:xfrm>
              <a:off x="1682649" y="2949956"/>
              <a:ext cx="182589" cy="113277"/>
              <a:chOff x="1692" y="1266"/>
              <a:chExt cx="90" cy="66"/>
            </a:xfrm>
            <a:solidFill>
              <a:srgbClr val="0070C0">
                <a:alpha val="27059"/>
              </a:srgbClr>
            </a:solidFill>
          </p:grpSpPr>
          <p:sp>
            <p:nvSpPr>
              <p:cNvPr id="1771" name="Freeform 254"/>
              <p:cNvSpPr>
                <a:spLocks/>
              </p:cNvSpPr>
              <p:nvPr/>
            </p:nvSpPr>
            <p:spPr bwMode="auto">
              <a:xfrm>
                <a:off x="1692" y="1266"/>
                <a:ext cx="90" cy="66"/>
              </a:xfrm>
              <a:custGeom>
                <a:avLst/>
                <a:gdLst>
                  <a:gd name="T0" fmla="*/ 90 w 90"/>
                  <a:gd name="T1" fmla="*/ 24 h 66"/>
                  <a:gd name="T2" fmla="*/ 78 w 90"/>
                  <a:gd name="T3" fmla="*/ 24 h 66"/>
                  <a:gd name="T4" fmla="*/ 72 w 90"/>
                  <a:gd name="T5" fmla="*/ 30 h 66"/>
                  <a:gd name="T6" fmla="*/ 60 w 90"/>
                  <a:gd name="T7" fmla="*/ 42 h 66"/>
                  <a:gd name="T8" fmla="*/ 48 w 90"/>
                  <a:gd name="T9" fmla="*/ 48 h 66"/>
                  <a:gd name="T10" fmla="*/ 42 w 90"/>
                  <a:gd name="T11" fmla="*/ 48 h 66"/>
                  <a:gd name="T12" fmla="*/ 30 w 90"/>
                  <a:gd name="T13" fmla="*/ 60 h 66"/>
                  <a:gd name="T14" fmla="*/ 6 w 90"/>
                  <a:gd name="T15" fmla="*/ 66 h 66"/>
                  <a:gd name="T16" fmla="*/ 0 w 90"/>
                  <a:gd name="T17" fmla="*/ 66 h 66"/>
                  <a:gd name="T18" fmla="*/ 6 w 90"/>
                  <a:gd name="T19" fmla="*/ 60 h 66"/>
                  <a:gd name="T20" fmla="*/ 6 w 90"/>
                  <a:gd name="T21" fmla="*/ 60 h 66"/>
                  <a:gd name="T22" fmla="*/ 6 w 90"/>
                  <a:gd name="T23" fmla="*/ 60 h 66"/>
                  <a:gd name="T24" fmla="*/ 6 w 90"/>
                  <a:gd name="T25" fmla="*/ 60 h 66"/>
                  <a:gd name="T26" fmla="*/ 12 w 90"/>
                  <a:gd name="T27" fmla="*/ 54 h 66"/>
                  <a:gd name="T28" fmla="*/ 12 w 90"/>
                  <a:gd name="T29" fmla="*/ 54 h 66"/>
                  <a:gd name="T30" fmla="*/ 18 w 90"/>
                  <a:gd name="T31" fmla="*/ 48 h 66"/>
                  <a:gd name="T32" fmla="*/ 18 w 90"/>
                  <a:gd name="T33" fmla="*/ 48 h 66"/>
                  <a:gd name="T34" fmla="*/ 18 w 90"/>
                  <a:gd name="T35" fmla="*/ 48 h 66"/>
                  <a:gd name="T36" fmla="*/ 12 w 90"/>
                  <a:gd name="T37" fmla="*/ 42 h 66"/>
                  <a:gd name="T38" fmla="*/ 12 w 90"/>
                  <a:gd name="T39" fmla="*/ 42 h 66"/>
                  <a:gd name="T40" fmla="*/ 18 w 90"/>
                  <a:gd name="T41" fmla="*/ 36 h 66"/>
                  <a:gd name="T42" fmla="*/ 18 w 90"/>
                  <a:gd name="T43" fmla="*/ 36 h 66"/>
                  <a:gd name="T44" fmla="*/ 30 w 90"/>
                  <a:gd name="T45" fmla="*/ 24 h 66"/>
                  <a:gd name="T46" fmla="*/ 36 w 90"/>
                  <a:gd name="T47" fmla="*/ 12 h 66"/>
                  <a:gd name="T48" fmla="*/ 54 w 90"/>
                  <a:gd name="T49" fmla="*/ 6 h 66"/>
                  <a:gd name="T50" fmla="*/ 72 w 90"/>
                  <a:gd name="T51" fmla="*/ 0 h 66"/>
                  <a:gd name="T52" fmla="*/ 78 w 90"/>
                  <a:gd name="T53" fmla="*/ 0 h 66"/>
                  <a:gd name="T54" fmla="*/ 78 w 90"/>
                  <a:gd name="T55" fmla="*/ 0 h 66"/>
                  <a:gd name="T56" fmla="*/ 84 w 90"/>
                  <a:gd name="T57" fmla="*/ 0 h 66"/>
                  <a:gd name="T58" fmla="*/ 90 w 90"/>
                  <a:gd name="T59" fmla="*/ 24 h 6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90" h="66">
                    <a:moveTo>
                      <a:pt x="90" y="24"/>
                    </a:moveTo>
                    <a:lnTo>
                      <a:pt x="78" y="24"/>
                    </a:lnTo>
                    <a:lnTo>
                      <a:pt x="72" y="30"/>
                    </a:lnTo>
                    <a:lnTo>
                      <a:pt x="60" y="42"/>
                    </a:lnTo>
                    <a:lnTo>
                      <a:pt x="48" y="48"/>
                    </a:lnTo>
                    <a:lnTo>
                      <a:pt x="42" y="48"/>
                    </a:lnTo>
                    <a:lnTo>
                      <a:pt x="30" y="60"/>
                    </a:lnTo>
                    <a:lnTo>
                      <a:pt x="6" y="66"/>
                    </a:lnTo>
                    <a:lnTo>
                      <a:pt x="0" y="66"/>
                    </a:lnTo>
                    <a:lnTo>
                      <a:pt x="6" y="60"/>
                    </a:lnTo>
                    <a:lnTo>
                      <a:pt x="12" y="54"/>
                    </a:lnTo>
                    <a:lnTo>
                      <a:pt x="18" y="48"/>
                    </a:lnTo>
                    <a:lnTo>
                      <a:pt x="12" y="42"/>
                    </a:lnTo>
                    <a:lnTo>
                      <a:pt x="18" y="36"/>
                    </a:lnTo>
                    <a:lnTo>
                      <a:pt x="30" y="24"/>
                    </a:lnTo>
                    <a:lnTo>
                      <a:pt x="36" y="12"/>
                    </a:lnTo>
                    <a:lnTo>
                      <a:pt x="54" y="6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0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72" name="Freeform 255"/>
              <p:cNvSpPr>
                <a:spLocks/>
              </p:cNvSpPr>
              <p:nvPr/>
            </p:nvSpPr>
            <p:spPr bwMode="auto">
              <a:xfrm>
                <a:off x="1692" y="1266"/>
                <a:ext cx="90" cy="66"/>
              </a:xfrm>
              <a:custGeom>
                <a:avLst/>
                <a:gdLst>
                  <a:gd name="T0" fmla="*/ 90 w 90"/>
                  <a:gd name="T1" fmla="*/ 24 h 66"/>
                  <a:gd name="T2" fmla="*/ 78 w 90"/>
                  <a:gd name="T3" fmla="*/ 24 h 66"/>
                  <a:gd name="T4" fmla="*/ 72 w 90"/>
                  <a:gd name="T5" fmla="*/ 30 h 66"/>
                  <a:gd name="T6" fmla="*/ 60 w 90"/>
                  <a:gd name="T7" fmla="*/ 42 h 66"/>
                  <a:gd name="T8" fmla="*/ 48 w 90"/>
                  <a:gd name="T9" fmla="*/ 48 h 66"/>
                  <a:gd name="T10" fmla="*/ 42 w 90"/>
                  <a:gd name="T11" fmla="*/ 48 h 66"/>
                  <a:gd name="T12" fmla="*/ 30 w 90"/>
                  <a:gd name="T13" fmla="*/ 60 h 66"/>
                  <a:gd name="T14" fmla="*/ 6 w 90"/>
                  <a:gd name="T15" fmla="*/ 66 h 66"/>
                  <a:gd name="T16" fmla="*/ 0 w 90"/>
                  <a:gd name="T17" fmla="*/ 66 h 66"/>
                  <a:gd name="T18" fmla="*/ 6 w 90"/>
                  <a:gd name="T19" fmla="*/ 60 h 66"/>
                  <a:gd name="T20" fmla="*/ 12 w 90"/>
                  <a:gd name="T21" fmla="*/ 54 h 66"/>
                  <a:gd name="T22" fmla="*/ 18 w 90"/>
                  <a:gd name="T23" fmla="*/ 48 h 66"/>
                  <a:gd name="T24" fmla="*/ 12 w 90"/>
                  <a:gd name="T25" fmla="*/ 42 h 66"/>
                  <a:gd name="T26" fmla="*/ 18 w 90"/>
                  <a:gd name="T27" fmla="*/ 36 h 66"/>
                  <a:gd name="T28" fmla="*/ 30 w 90"/>
                  <a:gd name="T29" fmla="*/ 24 h 66"/>
                  <a:gd name="T30" fmla="*/ 36 w 90"/>
                  <a:gd name="T31" fmla="*/ 12 h 66"/>
                  <a:gd name="T32" fmla="*/ 54 w 90"/>
                  <a:gd name="T33" fmla="*/ 6 h 66"/>
                  <a:gd name="T34" fmla="*/ 72 w 90"/>
                  <a:gd name="T35" fmla="*/ 0 h 66"/>
                  <a:gd name="T36" fmla="*/ 78 w 90"/>
                  <a:gd name="T37" fmla="*/ 0 h 66"/>
                  <a:gd name="T38" fmla="*/ 84 w 90"/>
                  <a:gd name="T39" fmla="*/ 0 h 66"/>
                  <a:gd name="T40" fmla="*/ 90 w 90"/>
                  <a:gd name="T41" fmla="*/ 24 h 6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90" h="66">
                    <a:moveTo>
                      <a:pt x="90" y="24"/>
                    </a:moveTo>
                    <a:lnTo>
                      <a:pt x="78" y="24"/>
                    </a:lnTo>
                    <a:lnTo>
                      <a:pt x="72" y="30"/>
                    </a:lnTo>
                    <a:lnTo>
                      <a:pt x="60" y="42"/>
                    </a:lnTo>
                    <a:lnTo>
                      <a:pt x="48" y="48"/>
                    </a:lnTo>
                    <a:lnTo>
                      <a:pt x="42" y="48"/>
                    </a:lnTo>
                    <a:lnTo>
                      <a:pt x="30" y="60"/>
                    </a:lnTo>
                    <a:lnTo>
                      <a:pt x="6" y="66"/>
                    </a:lnTo>
                    <a:lnTo>
                      <a:pt x="0" y="66"/>
                    </a:lnTo>
                    <a:lnTo>
                      <a:pt x="6" y="60"/>
                    </a:lnTo>
                    <a:lnTo>
                      <a:pt x="12" y="54"/>
                    </a:lnTo>
                    <a:lnTo>
                      <a:pt x="18" y="48"/>
                    </a:lnTo>
                    <a:lnTo>
                      <a:pt x="12" y="42"/>
                    </a:lnTo>
                    <a:lnTo>
                      <a:pt x="18" y="36"/>
                    </a:lnTo>
                    <a:lnTo>
                      <a:pt x="30" y="24"/>
                    </a:lnTo>
                    <a:lnTo>
                      <a:pt x="36" y="12"/>
                    </a:lnTo>
                    <a:lnTo>
                      <a:pt x="54" y="6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0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11" name="Group 256"/>
            <p:cNvGrpSpPr>
              <a:grpSpLocks/>
            </p:cNvGrpSpPr>
            <p:nvPr/>
          </p:nvGrpSpPr>
          <p:grpSpPr bwMode="auto">
            <a:xfrm>
              <a:off x="1840252" y="2856907"/>
              <a:ext cx="146071" cy="133505"/>
              <a:chOff x="1770" y="1212"/>
              <a:chExt cx="72" cy="78"/>
            </a:xfrm>
            <a:solidFill>
              <a:srgbClr val="0070C0">
                <a:alpha val="27059"/>
              </a:srgbClr>
            </a:solidFill>
          </p:grpSpPr>
          <p:sp>
            <p:nvSpPr>
              <p:cNvPr id="1769" name="Freeform 257"/>
              <p:cNvSpPr>
                <a:spLocks/>
              </p:cNvSpPr>
              <p:nvPr/>
            </p:nvSpPr>
            <p:spPr bwMode="auto">
              <a:xfrm>
                <a:off x="1770" y="1212"/>
                <a:ext cx="72" cy="78"/>
              </a:xfrm>
              <a:custGeom>
                <a:avLst/>
                <a:gdLst>
                  <a:gd name="T0" fmla="*/ 54 w 72"/>
                  <a:gd name="T1" fmla="*/ 0 h 78"/>
                  <a:gd name="T2" fmla="*/ 60 w 72"/>
                  <a:gd name="T3" fmla="*/ 6 h 78"/>
                  <a:gd name="T4" fmla="*/ 60 w 72"/>
                  <a:gd name="T5" fmla="*/ 12 h 78"/>
                  <a:gd name="T6" fmla="*/ 66 w 72"/>
                  <a:gd name="T7" fmla="*/ 18 h 78"/>
                  <a:gd name="T8" fmla="*/ 72 w 72"/>
                  <a:gd name="T9" fmla="*/ 18 h 78"/>
                  <a:gd name="T10" fmla="*/ 72 w 72"/>
                  <a:gd name="T11" fmla="*/ 24 h 78"/>
                  <a:gd name="T12" fmla="*/ 72 w 72"/>
                  <a:gd name="T13" fmla="*/ 24 h 78"/>
                  <a:gd name="T14" fmla="*/ 66 w 72"/>
                  <a:gd name="T15" fmla="*/ 30 h 78"/>
                  <a:gd name="T16" fmla="*/ 60 w 72"/>
                  <a:gd name="T17" fmla="*/ 36 h 78"/>
                  <a:gd name="T18" fmla="*/ 60 w 72"/>
                  <a:gd name="T19" fmla="*/ 42 h 78"/>
                  <a:gd name="T20" fmla="*/ 54 w 72"/>
                  <a:gd name="T21" fmla="*/ 48 h 78"/>
                  <a:gd name="T22" fmla="*/ 48 w 72"/>
                  <a:gd name="T23" fmla="*/ 48 h 78"/>
                  <a:gd name="T24" fmla="*/ 48 w 72"/>
                  <a:gd name="T25" fmla="*/ 48 h 78"/>
                  <a:gd name="T26" fmla="*/ 42 w 72"/>
                  <a:gd name="T27" fmla="*/ 48 h 78"/>
                  <a:gd name="T28" fmla="*/ 42 w 72"/>
                  <a:gd name="T29" fmla="*/ 54 h 78"/>
                  <a:gd name="T30" fmla="*/ 42 w 72"/>
                  <a:gd name="T31" fmla="*/ 60 h 78"/>
                  <a:gd name="T32" fmla="*/ 36 w 72"/>
                  <a:gd name="T33" fmla="*/ 66 h 78"/>
                  <a:gd name="T34" fmla="*/ 24 w 72"/>
                  <a:gd name="T35" fmla="*/ 72 h 78"/>
                  <a:gd name="T36" fmla="*/ 12 w 72"/>
                  <a:gd name="T37" fmla="*/ 78 h 78"/>
                  <a:gd name="T38" fmla="*/ 6 w 72"/>
                  <a:gd name="T39" fmla="*/ 54 h 78"/>
                  <a:gd name="T40" fmla="*/ 0 w 72"/>
                  <a:gd name="T41" fmla="*/ 54 h 78"/>
                  <a:gd name="T42" fmla="*/ 24 w 72"/>
                  <a:gd name="T43" fmla="*/ 48 h 78"/>
                  <a:gd name="T44" fmla="*/ 36 w 72"/>
                  <a:gd name="T45" fmla="*/ 36 h 78"/>
                  <a:gd name="T46" fmla="*/ 36 w 72"/>
                  <a:gd name="T47" fmla="*/ 30 h 78"/>
                  <a:gd name="T48" fmla="*/ 42 w 72"/>
                  <a:gd name="T49" fmla="*/ 18 h 78"/>
                  <a:gd name="T50" fmla="*/ 36 w 72"/>
                  <a:gd name="T51" fmla="*/ 12 h 78"/>
                  <a:gd name="T52" fmla="*/ 36 w 72"/>
                  <a:gd name="T53" fmla="*/ 12 h 78"/>
                  <a:gd name="T54" fmla="*/ 42 w 72"/>
                  <a:gd name="T55" fmla="*/ 6 h 78"/>
                  <a:gd name="T56" fmla="*/ 42 w 72"/>
                  <a:gd name="T57" fmla="*/ 6 h 78"/>
                  <a:gd name="T58" fmla="*/ 48 w 72"/>
                  <a:gd name="T59" fmla="*/ 6 h 78"/>
                  <a:gd name="T60" fmla="*/ 48 w 72"/>
                  <a:gd name="T61" fmla="*/ 6 h 78"/>
                  <a:gd name="T62" fmla="*/ 48 w 72"/>
                  <a:gd name="T63" fmla="*/ 0 h 78"/>
                  <a:gd name="T64" fmla="*/ 54 w 72"/>
                  <a:gd name="T65" fmla="*/ 0 h 78"/>
                  <a:gd name="T66" fmla="*/ 54 w 72"/>
                  <a:gd name="T67" fmla="*/ 0 h 7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72" h="78">
                    <a:moveTo>
                      <a:pt x="54" y="0"/>
                    </a:moveTo>
                    <a:lnTo>
                      <a:pt x="60" y="6"/>
                    </a:lnTo>
                    <a:lnTo>
                      <a:pt x="60" y="12"/>
                    </a:lnTo>
                    <a:lnTo>
                      <a:pt x="66" y="18"/>
                    </a:lnTo>
                    <a:lnTo>
                      <a:pt x="72" y="18"/>
                    </a:lnTo>
                    <a:lnTo>
                      <a:pt x="72" y="24"/>
                    </a:lnTo>
                    <a:lnTo>
                      <a:pt x="66" y="30"/>
                    </a:lnTo>
                    <a:lnTo>
                      <a:pt x="60" y="36"/>
                    </a:lnTo>
                    <a:lnTo>
                      <a:pt x="60" y="42"/>
                    </a:lnTo>
                    <a:lnTo>
                      <a:pt x="54" y="48"/>
                    </a:lnTo>
                    <a:lnTo>
                      <a:pt x="48" y="48"/>
                    </a:lnTo>
                    <a:lnTo>
                      <a:pt x="42" y="48"/>
                    </a:lnTo>
                    <a:lnTo>
                      <a:pt x="42" y="54"/>
                    </a:lnTo>
                    <a:lnTo>
                      <a:pt x="42" y="60"/>
                    </a:lnTo>
                    <a:lnTo>
                      <a:pt x="36" y="66"/>
                    </a:lnTo>
                    <a:lnTo>
                      <a:pt x="24" y="72"/>
                    </a:lnTo>
                    <a:lnTo>
                      <a:pt x="12" y="78"/>
                    </a:lnTo>
                    <a:lnTo>
                      <a:pt x="6" y="54"/>
                    </a:lnTo>
                    <a:lnTo>
                      <a:pt x="0" y="54"/>
                    </a:lnTo>
                    <a:lnTo>
                      <a:pt x="24" y="48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42" y="18"/>
                    </a:lnTo>
                    <a:lnTo>
                      <a:pt x="36" y="12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70" name="Freeform 258"/>
              <p:cNvSpPr>
                <a:spLocks/>
              </p:cNvSpPr>
              <p:nvPr/>
            </p:nvSpPr>
            <p:spPr bwMode="auto">
              <a:xfrm>
                <a:off x="1770" y="1212"/>
                <a:ext cx="72" cy="78"/>
              </a:xfrm>
              <a:custGeom>
                <a:avLst/>
                <a:gdLst>
                  <a:gd name="T0" fmla="*/ 54 w 72"/>
                  <a:gd name="T1" fmla="*/ 0 h 78"/>
                  <a:gd name="T2" fmla="*/ 60 w 72"/>
                  <a:gd name="T3" fmla="*/ 6 h 78"/>
                  <a:gd name="T4" fmla="*/ 60 w 72"/>
                  <a:gd name="T5" fmla="*/ 12 h 78"/>
                  <a:gd name="T6" fmla="*/ 66 w 72"/>
                  <a:gd name="T7" fmla="*/ 18 h 78"/>
                  <a:gd name="T8" fmla="*/ 72 w 72"/>
                  <a:gd name="T9" fmla="*/ 18 h 78"/>
                  <a:gd name="T10" fmla="*/ 72 w 72"/>
                  <a:gd name="T11" fmla="*/ 24 h 78"/>
                  <a:gd name="T12" fmla="*/ 66 w 72"/>
                  <a:gd name="T13" fmla="*/ 30 h 78"/>
                  <a:gd name="T14" fmla="*/ 60 w 72"/>
                  <a:gd name="T15" fmla="*/ 36 h 78"/>
                  <a:gd name="T16" fmla="*/ 60 w 72"/>
                  <a:gd name="T17" fmla="*/ 42 h 78"/>
                  <a:gd name="T18" fmla="*/ 54 w 72"/>
                  <a:gd name="T19" fmla="*/ 48 h 78"/>
                  <a:gd name="T20" fmla="*/ 48 w 72"/>
                  <a:gd name="T21" fmla="*/ 48 h 78"/>
                  <a:gd name="T22" fmla="*/ 42 w 72"/>
                  <a:gd name="T23" fmla="*/ 48 h 78"/>
                  <a:gd name="T24" fmla="*/ 42 w 72"/>
                  <a:gd name="T25" fmla="*/ 54 h 78"/>
                  <a:gd name="T26" fmla="*/ 42 w 72"/>
                  <a:gd name="T27" fmla="*/ 60 h 78"/>
                  <a:gd name="T28" fmla="*/ 36 w 72"/>
                  <a:gd name="T29" fmla="*/ 66 h 78"/>
                  <a:gd name="T30" fmla="*/ 24 w 72"/>
                  <a:gd name="T31" fmla="*/ 72 h 78"/>
                  <a:gd name="T32" fmla="*/ 12 w 72"/>
                  <a:gd name="T33" fmla="*/ 78 h 78"/>
                  <a:gd name="T34" fmla="*/ 6 w 72"/>
                  <a:gd name="T35" fmla="*/ 54 h 78"/>
                  <a:gd name="T36" fmla="*/ 0 w 72"/>
                  <a:gd name="T37" fmla="*/ 54 h 78"/>
                  <a:gd name="T38" fmla="*/ 24 w 72"/>
                  <a:gd name="T39" fmla="*/ 48 h 78"/>
                  <a:gd name="T40" fmla="*/ 36 w 72"/>
                  <a:gd name="T41" fmla="*/ 36 h 78"/>
                  <a:gd name="T42" fmla="*/ 36 w 72"/>
                  <a:gd name="T43" fmla="*/ 30 h 78"/>
                  <a:gd name="T44" fmla="*/ 42 w 72"/>
                  <a:gd name="T45" fmla="*/ 18 h 78"/>
                  <a:gd name="T46" fmla="*/ 36 w 72"/>
                  <a:gd name="T47" fmla="*/ 12 h 78"/>
                  <a:gd name="T48" fmla="*/ 42 w 72"/>
                  <a:gd name="T49" fmla="*/ 6 h 78"/>
                  <a:gd name="T50" fmla="*/ 48 w 72"/>
                  <a:gd name="T51" fmla="*/ 6 h 78"/>
                  <a:gd name="T52" fmla="*/ 48 w 72"/>
                  <a:gd name="T53" fmla="*/ 0 h 78"/>
                  <a:gd name="T54" fmla="*/ 54 w 72"/>
                  <a:gd name="T55" fmla="*/ 0 h 78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72" h="78">
                    <a:moveTo>
                      <a:pt x="54" y="0"/>
                    </a:moveTo>
                    <a:lnTo>
                      <a:pt x="60" y="6"/>
                    </a:lnTo>
                    <a:lnTo>
                      <a:pt x="60" y="12"/>
                    </a:lnTo>
                    <a:lnTo>
                      <a:pt x="66" y="18"/>
                    </a:lnTo>
                    <a:lnTo>
                      <a:pt x="72" y="18"/>
                    </a:lnTo>
                    <a:lnTo>
                      <a:pt x="72" y="24"/>
                    </a:lnTo>
                    <a:lnTo>
                      <a:pt x="66" y="30"/>
                    </a:lnTo>
                    <a:lnTo>
                      <a:pt x="60" y="36"/>
                    </a:lnTo>
                    <a:lnTo>
                      <a:pt x="60" y="42"/>
                    </a:lnTo>
                    <a:lnTo>
                      <a:pt x="54" y="48"/>
                    </a:lnTo>
                    <a:lnTo>
                      <a:pt x="48" y="48"/>
                    </a:lnTo>
                    <a:lnTo>
                      <a:pt x="42" y="48"/>
                    </a:lnTo>
                    <a:lnTo>
                      <a:pt x="42" y="54"/>
                    </a:lnTo>
                    <a:lnTo>
                      <a:pt x="42" y="60"/>
                    </a:lnTo>
                    <a:lnTo>
                      <a:pt x="36" y="66"/>
                    </a:lnTo>
                    <a:lnTo>
                      <a:pt x="24" y="72"/>
                    </a:lnTo>
                    <a:lnTo>
                      <a:pt x="12" y="78"/>
                    </a:lnTo>
                    <a:lnTo>
                      <a:pt x="6" y="54"/>
                    </a:lnTo>
                    <a:lnTo>
                      <a:pt x="0" y="54"/>
                    </a:lnTo>
                    <a:lnTo>
                      <a:pt x="24" y="48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42" y="18"/>
                    </a:lnTo>
                    <a:lnTo>
                      <a:pt x="36" y="12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12" name="Group 259"/>
            <p:cNvGrpSpPr>
              <a:grpSpLocks/>
            </p:cNvGrpSpPr>
            <p:nvPr/>
          </p:nvGrpSpPr>
          <p:grpSpPr bwMode="auto">
            <a:xfrm>
              <a:off x="1582705" y="2587874"/>
              <a:ext cx="172979" cy="175984"/>
              <a:chOff x="1644" y="1056"/>
              <a:chExt cx="84" cy="102"/>
            </a:xfrm>
            <a:solidFill>
              <a:srgbClr val="0070C0">
                <a:alpha val="27059"/>
              </a:srgbClr>
            </a:solidFill>
          </p:grpSpPr>
          <p:sp>
            <p:nvSpPr>
              <p:cNvPr id="1767" name="Freeform 260"/>
              <p:cNvSpPr>
                <a:spLocks/>
              </p:cNvSpPr>
              <p:nvPr/>
            </p:nvSpPr>
            <p:spPr bwMode="auto">
              <a:xfrm>
                <a:off x="1644" y="1056"/>
                <a:ext cx="84" cy="102"/>
              </a:xfrm>
              <a:custGeom>
                <a:avLst/>
                <a:gdLst>
                  <a:gd name="T0" fmla="*/ 60 w 84"/>
                  <a:gd name="T1" fmla="*/ 102 h 102"/>
                  <a:gd name="T2" fmla="*/ 60 w 84"/>
                  <a:gd name="T3" fmla="*/ 96 h 102"/>
                  <a:gd name="T4" fmla="*/ 48 w 84"/>
                  <a:gd name="T5" fmla="*/ 96 h 102"/>
                  <a:gd name="T6" fmla="*/ 42 w 84"/>
                  <a:gd name="T7" fmla="*/ 84 h 102"/>
                  <a:gd name="T8" fmla="*/ 36 w 84"/>
                  <a:gd name="T9" fmla="*/ 84 h 102"/>
                  <a:gd name="T10" fmla="*/ 12 w 84"/>
                  <a:gd name="T11" fmla="*/ 78 h 102"/>
                  <a:gd name="T12" fmla="*/ 12 w 84"/>
                  <a:gd name="T13" fmla="*/ 72 h 102"/>
                  <a:gd name="T14" fmla="*/ 12 w 84"/>
                  <a:gd name="T15" fmla="*/ 72 h 102"/>
                  <a:gd name="T16" fmla="*/ 6 w 84"/>
                  <a:gd name="T17" fmla="*/ 66 h 102"/>
                  <a:gd name="T18" fmla="*/ 0 w 84"/>
                  <a:gd name="T19" fmla="*/ 54 h 102"/>
                  <a:gd name="T20" fmla="*/ 0 w 84"/>
                  <a:gd name="T21" fmla="*/ 48 h 102"/>
                  <a:gd name="T22" fmla="*/ 18 w 84"/>
                  <a:gd name="T23" fmla="*/ 36 h 102"/>
                  <a:gd name="T24" fmla="*/ 18 w 84"/>
                  <a:gd name="T25" fmla="*/ 30 h 102"/>
                  <a:gd name="T26" fmla="*/ 18 w 84"/>
                  <a:gd name="T27" fmla="*/ 24 h 102"/>
                  <a:gd name="T28" fmla="*/ 18 w 84"/>
                  <a:gd name="T29" fmla="*/ 24 h 102"/>
                  <a:gd name="T30" fmla="*/ 24 w 84"/>
                  <a:gd name="T31" fmla="*/ 18 h 102"/>
                  <a:gd name="T32" fmla="*/ 24 w 84"/>
                  <a:gd name="T33" fmla="*/ 6 h 102"/>
                  <a:gd name="T34" fmla="*/ 30 w 84"/>
                  <a:gd name="T35" fmla="*/ 0 h 102"/>
                  <a:gd name="T36" fmla="*/ 36 w 84"/>
                  <a:gd name="T37" fmla="*/ 0 h 102"/>
                  <a:gd name="T38" fmla="*/ 42 w 84"/>
                  <a:gd name="T39" fmla="*/ 0 h 102"/>
                  <a:gd name="T40" fmla="*/ 48 w 84"/>
                  <a:gd name="T41" fmla="*/ 0 h 102"/>
                  <a:gd name="T42" fmla="*/ 48 w 84"/>
                  <a:gd name="T43" fmla="*/ 0 h 102"/>
                  <a:gd name="T44" fmla="*/ 54 w 84"/>
                  <a:gd name="T45" fmla="*/ 0 h 102"/>
                  <a:gd name="T46" fmla="*/ 60 w 84"/>
                  <a:gd name="T47" fmla="*/ 0 h 102"/>
                  <a:gd name="T48" fmla="*/ 60 w 84"/>
                  <a:gd name="T49" fmla="*/ 6 h 102"/>
                  <a:gd name="T50" fmla="*/ 60 w 84"/>
                  <a:gd name="T51" fmla="*/ 12 h 102"/>
                  <a:gd name="T52" fmla="*/ 60 w 84"/>
                  <a:gd name="T53" fmla="*/ 18 h 102"/>
                  <a:gd name="T54" fmla="*/ 66 w 84"/>
                  <a:gd name="T55" fmla="*/ 18 h 102"/>
                  <a:gd name="T56" fmla="*/ 72 w 84"/>
                  <a:gd name="T57" fmla="*/ 24 h 102"/>
                  <a:gd name="T58" fmla="*/ 72 w 84"/>
                  <a:gd name="T59" fmla="*/ 30 h 102"/>
                  <a:gd name="T60" fmla="*/ 66 w 84"/>
                  <a:gd name="T61" fmla="*/ 36 h 102"/>
                  <a:gd name="T62" fmla="*/ 66 w 84"/>
                  <a:gd name="T63" fmla="*/ 42 h 102"/>
                  <a:gd name="T64" fmla="*/ 66 w 84"/>
                  <a:gd name="T65" fmla="*/ 48 h 102"/>
                  <a:gd name="T66" fmla="*/ 66 w 84"/>
                  <a:gd name="T67" fmla="*/ 54 h 102"/>
                  <a:gd name="T68" fmla="*/ 72 w 84"/>
                  <a:gd name="T69" fmla="*/ 60 h 102"/>
                  <a:gd name="T70" fmla="*/ 78 w 84"/>
                  <a:gd name="T71" fmla="*/ 66 h 102"/>
                  <a:gd name="T72" fmla="*/ 78 w 84"/>
                  <a:gd name="T73" fmla="*/ 72 h 102"/>
                  <a:gd name="T74" fmla="*/ 84 w 84"/>
                  <a:gd name="T75" fmla="*/ 78 h 102"/>
                  <a:gd name="T76" fmla="*/ 84 w 84"/>
                  <a:gd name="T77" fmla="*/ 84 h 102"/>
                  <a:gd name="T78" fmla="*/ 84 w 84"/>
                  <a:gd name="T79" fmla="*/ 90 h 102"/>
                  <a:gd name="T80" fmla="*/ 84 w 84"/>
                  <a:gd name="T81" fmla="*/ 90 h 102"/>
                  <a:gd name="T82" fmla="*/ 78 w 84"/>
                  <a:gd name="T83" fmla="*/ 96 h 102"/>
                  <a:gd name="T84" fmla="*/ 60 w 84"/>
                  <a:gd name="T85" fmla="*/ 102 h 10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84" h="102">
                    <a:moveTo>
                      <a:pt x="60" y="102"/>
                    </a:moveTo>
                    <a:lnTo>
                      <a:pt x="60" y="96"/>
                    </a:lnTo>
                    <a:lnTo>
                      <a:pt x="48" y="96"/>
                    </a:lnTo>
                    <a:lnTo>
                      <a:pt x="42" y="84"/>
                    </a:lnTo>
                    <a:lnTo>
                      <a:pt x="36" y="84"/>
                    </a:lnTo>
                    <a:lnTo>
                      <a:pt x="12" y="78"/>
                    </a:lnTo>
                    <a:lnTo>
                      <a:pt x="12" y="72"/>
                    </a:lnTo>
                    <a:lnTo>
                      <a:pt x="6" y="66"/>
                    </a:lnTo>
                    <a:lnTo>
                      <a:pt x="0" y="54"/>
                    </a:lnTo>
                    <a:lnTo>
                      <a:pt x="0" y="48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8" y="24"/>
                    </a:lnTo>
                    <a:lnTo>
                      <a:pt x="24" y="18"/>
                    </a:lnTo>
                    <a:lnTo>
                      <a:pt x="24" y="6"/>
                    </a:lnTo>
                    <a:lnTo>
                      <a:pt x="30" y="0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60" y="12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72" y="24"/>
                    </a:lnTo>
                    <a:lnTo>
                      <a:pt x="72" y="30"/>
                    </a:lnTo>
                    <a:lnTo>
                      <a:pt x="66" y="36"/>
                    </a:lnTo>
                    <a:lnTo>
                      <a:pt x="66" y="42"/>
                    </a:lnTo>
                    <a:lnTo>
                      <a:pt x="66" y="48"/>
                    </a:lnTo>
                    <a:lnTo>
                      <a:pt x="66" y="54"/>
                    </a:lnTo>
                    <a:lnTo>
                      <a:pt x="72" y="60"/>
                    </a:lnTo>
                    <a:lnTo>
                      <a:pt x="78" y="66"/>
                    </a:lnTo>
                    <a:lnTo>
                      <a:pt x="78" y="72"/>
                    </a:lnTo>
                    <a:lnTo>
                      <a:pt x="84" y="78"/>
                    </a:lnTo>
                    <a:lnTo>
                      <a:pt x="84" y="84"/>
                    </a:lnTo>
                    <a:lnTo>
                      <a:pt x="84" y="90"/>
                    </a:lnTo>
                    <a:lnTo>
                      <a:pt x="78" y="96"/>
                    </a:lnTo>
                    <a:lnTo>
                      <a:pt x="60" y="10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68" name="Freeform 261"/>
              <p:cNvSpPr>
                <a:spLocks/>
              </p:cNvSpPr>
              <p:nvPr/>
            </p:nvSpPr>
            <p:spPr bwMode="auto">
              <a:xfrm>
                <a:off x="1644" y="1056"/>
                <a:ext cx="84" cy="102"/>
              </a:xfrm>
              <a:custGeom>
                <a:avLst/>
                <a:gdLst>
                  <a:gd name="T0" fmla="*/ 60 w 84"/>
                  <a:gd name="T1" fmla="*/ 102 h 102"/>
                  <a:gd name="T2" fmla="*/ 60 w 84"/>
                  <a:gd name="T3" fmla="*/ 96 h 102"/>
                  <a:gd name="T4" fmla="*/ 48 w 84"/>
                  <a:gd name="T5" fmla="*/ 96 h 102"/>
                  <a:gd name="T6" fmla="*/ 42 w 84"/>
                  <a:gd name="T7" fmla="*/ 84 h 102"/>
                  <a:gd name="T8" fmla="*/ 36 w 84"/>
                  <a:gd name="T9" fmla="*/ 84 h 102"/>
                  <a:gd name="T10" fmla="*/ 12 w 84"/>
                  <a:gd name="T11" fmla="*/ 78 h 102"/>
                  <a:gd name="T12" fmla="*/ 12 w 84"/>
                  <a:gd name="T13" fmla="*/ 72 h 102"/>
                  <a:gd name="T14" fmla="*/ 6 w 84"/>
                  <a:gd name="T15" fmla="*/ 66 h 102"/>
                  <a:gd name="T16" fmla="*/ 0 w 84"/>
                  <a:gd name="T17" fmla="*/ 54 h 102"/>
                  <a:gd name="T18" fmla="*/ 0 w 84"/>
                  <a:gd name="T19" fmla="*/ 48 h 102"/>
                  <a:gd name="T20" fmla="*/ 18 w 84"/>
                  <a:gd name="T21" fmla="*/ 36 h 102"/>
                  <a:gd name="T22" fmla="*/ 18 w 84"/>
                  <a:gd name="T23" fmla="*/ 30 h 102"/>
                  <a:gd name="T24" fmla="*/ 18 w 84"/>
                  <a:gd name="T25" fmla="*/ 24 h 102"/>
                  <a:gd name="T26" fmla="*/ 24 w 84"/>
                  <a:gd name="T27" fmla="*/ 18 h 102"/>
                  <a:gd name="T28" fmla="*/ 24 w 84"/>
                  <a:gd name="T29" fmla="*/ 6 h 102"/>
                  <a:gd name="T30" fmla="*/ 30 w 84"/>
                  <a:gd name="T31" fmla="*/ 0 h 102"/>
                  <a:gd name="T32" fmla="*/ 36 w 84"/>
                  <a:gd name="T33" fmla="*/ 0 h 102"/>
                  <a:gd name="T34" fmla="*/ 42 w 84"/>
                  <a:gd name="T35" fmla="*/ 0 h 102"/>
                  <a:gd name="T36" fmla="*/ 48 w 84"/>
                  <a:gd name="T37" fmla="*/ 0 h 102"/>
                  <a:gd name="T38" fmla="*/ 54 w 84"/>
                  <a:gd name="T39" fmla="*/ 0 h 102"/>
                  <a:gd name="T40" fmla="*/ 60 w 84"/>
                  <a:gd name="T41" fmla="*/ 0 h 102"/>
                  <a:gd name="T42" fmla="*/ 60 w 84"/>
                  <a:gd name="T43" fmla="*/ 6 h 102"/>
                  <a:gd name="T44" fmla="*/ 60 w 84"/>
                  <a:gd name="T45" fmla="*/ 12 h 102"/>
                  <a:gd name="T46" fmla="*/ 60 w 84"/>
                  <a:gd name="T47" fmla="*/ 18 h 102"/>
                  <a:gd name="T48" fmla="*/ 66 w 84"/>
                  <a:gd name="T49" fmla="*/ 18 h 102"/>
                  <a:gd name="T50" fmla="*/ 72 w 84"/>
                  <a:gd name="T51" fmla="*/ 24 h 102"/>
                  <a:gd name="T52" fmla="*/ 72 w 84"/>
                  <a:gd name="T53" fmla="*/ 30 h 102"/>
                  <a:gd name="T54" fmla="*/ 66 w 84"/>
                  <a:gd name="T55" fmla="*/ 36 h 102"/>
                  <a:gd name="T56" fmla="*/ 66 w 84"/>
                  <a:gd name="T57" fmla="*/ 42 h 102"/>
                  <a:gd name="T58" fmla="*/ 66 w 84"/>
                  <a:gd name="T59" fmla="*/ 48 h 102"/>
                  <a:gd name="T60" fmla="*/ 66 w 84"/>
                  <a:gd name="T61" fmla="*/ 54 h 102"/>
                  <a:gd name="T62" fmla="*/ 72 w 84"/>
                  <a:gd name="T63" fmla="*/ 60 h 102"/>
                  <a:gd name="T64" fmla="*/ 78 w 84"/>
                  <a:gd name="T65" fmla="*/ 66 h 102"/>
                  <a:gd name="T66" fmla="*/ 78 w 84"/>
                  <a:gd name="T67" fmla="*/ 72 h 102"/>
                  <a:gd name="T68" fmla="*/ 84 w 84"/>
                  <a:gd name="T69" fmla="*/ 78 h 102"/>
                  <a:gd name="T70" fmla="*/ 84 w 84"/>
                  <a:gd name="T71" fmla="*/ 84 h 102"/>
                  <a:gd name="T72" fmla="*/ 84 w 84"/>
                  <a:gd name="T73" fmla="*/ 90 h 102"/>
                  <a:gd name="T74" fmla="*/ 78 w 84"/>
                  <a:gd name="T75" fmla="*/ 96 h 102"/>
                  <a:gd name="T76" fmla="*/ 60 w 84"/>
                  <a:gd name="T77" fmla="*/ 102 h 10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84" h="102">
                    <a:moveTo>
                      <a:pt x="60" y="102"/>
                    </a:moveTo>
                    <a:lnTo>
                      <a:pt x="60" y="96"/>
                    </a:lnTo>
                    <a:lnTo>
                      <a:pt x="48" y="96"/>
                    </a:lnTo>
                    <a:lnTo>
                      <a:pt x="42" y="84"/>
                    </a:lnTo>
                    <a:lnTo>
                      <a:pt x="36" y="84"/>
                    </a:lnTo>
                    <a:lnTo>
                      <a:pt x="12" y="78"/>
                    </a:lnTo>
                    <a:lnTo>
                      <a:pt x="12" y="72"/>
                    </a:lnTo>
                    <a:lnTo>
                      <a:pt x="6" y="66"/>
                    </a:lnTo>
                    <a:lnTo>
                      <a:pt x="0" y="54"/>
                    </a:lnTo>
                    <a:lnTo>
                      <a:pt x="0" y="48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8" y="24"/>
                    </a:lnTo>
                    <a:lnTo>
                      <a:pt x="24" y="18"/>
                    </a:lnTo>
                    <a:lnTo>
                      <a:pt x="24" y="6"/>
                    </a:lnTo>
                    <a:lnTo>
                      <a:pt x="30" y="0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60" y="12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72" y="24"/>
                    </a:lnTo>
                    <a:lnTo>
                      <a:pt x="72" y="30"/>
                    </a:lnTo>
                    <a:lnTo>
                      <a:pt x="66" y="36"/>
                    </a:lnTo>
                    <a:lnTo>
                      <a:pt x="66" y="42"/>
                    </a:lnTo>
                    <a:lnTo>
                      <a:pt x="66" y="48"/>
                    </a:lnTo>
                    <a:lnTo>
                      <a:pt x="66" y="54"/>
                    </a:lnTo>
                    <a:lnTo>
                      <a:pt x="72" y="60"/>
                    </a:lnTo>
                    <a:lnTo>
                      <a:pt x="78" y="66"/>
                    </a:lnTo>
                    <a:lnTo>
                      <a:pt x="78" y="72"/>
                    </a:lnTo>
                    <a:lnTo>
                      <a:pt x="84" y="78"/>
                    </a:lnTo>
                    <a:lnTo>
                      <a:pt x="84" y="84"/>
                    </a:lnTo>
                    <a:lnTo>
                      <a:pt x="84" y="90"/>
                    </a:lnTo>
                    <a:lnTo>
                      <a:pt x="78" y="96"/>
                    </a:lnTo>
                    <a:lnTo>
                      <a:pt x="60" y="10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13" name="Group 262"/>
            <p:cNvGrpSpPr>
              <a:grpSpLocks/>
            </p:cNvGrpSpPr>
            <p:nvPr/>
          </p:nvGrpSpPr>
          <p:grpSpPr bwMode="auto">
            <a:xfrm>
              <a:off x="1511592" y="2672832"/>
              <a:ext cx="96099" cy="91026"/>
              <a:chOff x="1608" y="1104"/>
              <a:chExt cx="48" cy="54"/>
            </a:xfrm>
            <a:solidFill>
              <a:srgbClr val="0070C0">
                <a:alpha val="27059"/>
              </a:srgbClr>
            </a:solidFill>
          </p:grpSpPr>
          <p:sp>
            <p:nvSpPr>
              <p:cNvPr id="1765" name="Freeform 263"/>
              <p:cNvSpPr>
                <a:spLocks/>
              </p:cNvSpPr>
              <p:nvPr/>
            </p:nvSpPr>
            <p:spPr bwMode="auto">
              <a:xfrm>
                <a:off x="1608" y="1104"/>
                <a:ext cx="48" cy="54"/>
              </a:xfrm>
              <a:custGeom>
                <a:avLst/>
                <a:gdLst>
                  <a:gd name="T0" fmla="*/ 0 w 48"/>
                  <a:gd name="T1" fmla="*/ 36 h 54"/>
                  <a:gd name="T2" fmla="*/ 6 w 48"/>
                  <a:gd name="T3" fmla="*/ 6 h 54"/>
                  <a:gd name="T4" fmla="*/ 6 w 48"/>
                  <a:gd name="T5" fmla="*/ 12 h 54"/>
                  <a:gd name="T6" fmla="*/ 6 w 48"/>
                  <a:gd name="T7" fmla="*/ 12 h 54"/>
                  <a:gd name="T8" fmla="*/ 12 w 48"/>
                  <a:gd name="T9" fmla="*/ 12 h 54"/>
                  <a:gd name="T10" fmla="*/ 18 w 48"/>
                  <a:gd name="T11" fmla="*/ 12 h 54"/>
                  <a:gd name="T12" fmla="*/ 36 w 48"/>
                  <a:gd name="T13" fmla="*/ 0 h 54"/>
                  <a:gd name="T14" fmla="*/ 36 w 48"/>
                  <a:gd name="T15" fmla="*/ 6 h 54"/>
                  <a:gd name="T16" fmla="*/ 48 w 48"/>
                  <a:gd name="T17" fmla="*/ 24 h 54"/>
                  <a:gd name="T18" fmla="*/ 48 w 48"/>
                  <a:gd name="T19" fmla="*/ 24 h 54"/>
                  <a:gd name="T20" fmla="*/ 42 w 48"/>
                  <a:gd name="T21" fmla="*/ 30 h 54"/>
                  <a:gd name="T22" fmla="*/ 24 w 48"/>
                  <a:gd name="T23" fmla="*/ 30 h 54"/>
                  <a:gd name="T24" fmla="*/ 30 w 48"/>
                  <a:gd name="T25" fmla="*/ 36 h 54"/>
                  <a:gd name="T26" fmla="*/ 30 w 48"/>
                  <a:gd name="T27" fmla="*/ 42 h 54"/>
                  <a:gd name="T28" fmla="*/ 24 w 48"/>
                  <a:gd name="T29" fmla="*/ 48 h 54"/>
                  <a:gd name="T30" fmla="*/ 18 w 48"/>
                  <a:gd name="T31" fmla="*/ 54 h 54"/>
                  <a:gd name="T32" fmla="*/ 18 w 48"/>
                  <a:gd name="T33" fmla="*/ 54 h 54"/>
                  <a:gd name="T34" fmla="*/ 0 w 48"/>
                  <a:gd name="T35" fmla="*/ 54 h 54"/>
                  <a:gd name="T36" fmla="*/ 0 w 48"/>
                  <a:gd name="T37" fmla="*/ 54 h 54"/>
                  <a:gd name="T38" fmla="*/ 0 w 48"/>
                  <a:gd name="T39" fmla="*/ 36 h 5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8" h="54">
                    <a:moveTo>
                      <a:pt x="0" y="36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36" y="0"/>
                    </a:lnTo>
                    <a:lnTo>
                      <a:pt x="36" y="6"/>
                    </a:lnTo>
                    <a:lnTo>
                      <a:pt x="48" y="24"/>
                    </a:lnTo>
                    <a:lnTo>
                      <a:pt x="42" y="30"/>
                    </a:lnTo>
                    <a:lnTo>
                      <a:pt x="24" y="30"/>
                    </a:lnTo>
                    <a:lnTo>
                      <a:pt x="30" y="36"/>
                    </a:lnTo>
                    <a:lnTo>
                      <a:pt x="30" y="42"/>
                    </a:lnTo>
                    <a:lnTo>
                      <a:pt x="24" y="48"/>
                    </a:lnTo>
                    <a:lnTo>
                      <a:pt x="18" y="54"/>
                    </a:lnTo>
                    <a:lnTo>
                      <a:pt x="0" y="54"/>
                    </a:lnTo>
                    <a:lnTo>
                      <a:pt x="0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66" name="Freeform 264"/>
              <p:cNvSpPr>
                <a:spLocks/>
              </p:cNvSpPr>
              <p:nvPr/>
            </p:nvSpPr>
            <p:spPr bwMode="auto">
              <a:xfrm>
                <a:off x="1608" y="1104"/>
                <a:ext cx="48" cy="54"/>
              </a:xfrm>
              <a:custGeom>
                <a:avLst/>
                <a:gdLst>
                  <a:gd name="T0" fmla="*/ 0 w 48"/>
                  <a:gd name="T1" fmla="*/ 36 h 54"/>
                  <a:gd name="T2" fmla="*/ 6 w 48"/>
                  <a:gd name="T3" fmla="*/ 6 h 54"/>
                  <a:gd name="T4" fmla="*/ 6 w 48"/>
                  <a:gd name="T5" fmla="*/ 12 h 54"/>
                  <a:gd name="T6" fmla="*/ 12 w 48"/>
                  <a:gd name="T7" fmla="*/ 12 h 54"/>
                  <a:gd name="T8" fmla="*/ 18 w 48"/>
                  <a:gd name="T9" fmla="*/ 12 h 54"/>
                  <a:gd name="T10" fmla="*/ 36 w 48"/>
                  <a:gd name="T11" fmla="*/ 0 h 54"/>
                  <a:gd name="T12" fmla="*/ 36 w 48"/>
                  <a:gd name="T13" fmla="*/ 6 h 54"/>
                  <a:gd name="T14" fmla="*/ 48 w 48"/>
                  <a:gd name="T15" fmla="*/ 24 h 54"/>
                  <a:gd name="T16" fmla="*/ 42 w 48"/>
                  <a:gd name="T17" fmla="*/ 30 h 54"/>
                  <a:gd name="T18" fmla="*/ 24 w 48"/>
                  <a:gd name="T19" fmla="*/ 30 h 54"/>
                  <a:gd name="T20" fmla="*/ 30 w 48"/>
                  <a:gd name="T21" fmla="*/ 36 h 54"/>
                  <a:gd name="T22" fmla="*/ 30 w 48"/>
                  <a:gd name="T23" fmla="*/ 42 h 54"/>
                  <a:gd name="T24" fmla="*/ 24 w 48"/>
                  <a:gd name="T25" fmla="*/ 48 h 54"/>
                  <a:gd name="T26" fmla="*/ 18 w 48"/>
                  <a:gd name="T27" fmla="*/ 54 h 54"/>
                  <a:gd name="T28" fmla="*/ 0 w 48"/>
                  <a:gd name="T29" fmla="*/ 54 h 5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54">
                    <a:moveTo>
                      <a:pt x="0" y="36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36" y="0"/>
                    </a:lnTo>
                    <a:lnTo>
                      <a:pt x="36" y="6"/>
                    </a:lnTo>
                    <a:lnTo>
                      <a:pt x="48" y="24"/>
                    </a:lnTo>
                    <a:lnTo>
                      <a:pt x="42" y="30"/>
                    </a:lnTo>
                    <a:lnTo>
                      <a:pt x="24" y="30"/>
                    </a:lnTo>
                    <a:lnTo>
                      <a:pt x="30" y="36"/>
                    </a:lnTo>
                    <a:lnTo>
                      <a:pt x="30" y="42"/>
                    </a:lnTo>
                    <a:lnTo>
                      <a:pt x="24" y="48"/>
                    </a:lnTo>
                    <a:lnTo>
                      <a:pt x="18" y="54"/>
                    </a:lnTo>
                    <a:lnTo>
                      <a:pt x="0" y="54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14" name="Group 265"/>
            <p:cNvGrpSpPr>
              <a:grpSpLocks/>
            </p:cNvGrpSpPr>
            <p:nvPr/>
          </p:nvGrpSpPr>
          <p:grpSpPr bwMode="auto">
            <a:xfrm>
              <a:off x="1486606" y="2680923"/>
              <a:ext cx="36518" cy="82935"/>
              <a:chOff x="1596" y="1110"/>
              <a:chExt cx="18" cy="48"/>
            </a:xfrm>
            <a:solidFill>
              <a:srgbClr val="0070C0">
                <a:alpha val="27059"/>
              </a:srgbClr>
            </a:solidFill>
          </p:grpSpPr>
          <p:sp>
            <p:nvSpPr>
              <p:cNvPr id="1763" name="Freeform 266"/>
              <p:cNvSpPr>
                <a:spLocks/>
              </p:cNvSpPr>
              <p:nvPr/>
            </p:nvSpPr>
            <p:spPr bwMode="auto">
              <a:xfrm>
                <a:off x="1596" y="1110"/>
                <a:ext cx="18" cy="48"/>
              </a:xfrm>
              <a:custGeom>
                <a:avLst/>
                <a:gdLst>
                  <a:gd name="T0" fmla="*/ 18 w 18"/>
                  <a:gd name="T1" fmla="*/ 0 h 48"/>
                  <a:gd name="T2" fmla="*/ 12 w 18"/>
                  <a:gd name="T3" fmla="*/ 6 h 48"/>
                  <a:gd name="T4" fmla="*/ 6 w 18"/>
                  <a:gd name="T5" fmla="*/ 12 h 48"/>
                  <a:gd name="T6" fmla="*/ 6 w 18"/>
                  <a:gd name="T7" fmla="*/ 18 h 48"/>
                  <a:gd name="T8" fmla="*/ 0 w 18"/>
                  <a:gd name="T9" fmla="*/ 24 h 48"/>
                  <a:gd name="T10" fmla="*/ 0 w 18"/>
                  <a:gd name="T11" fmla="*/ 30 h 48"/>
                  <a:gd name="T12" fmla="*/ 12 w 18"/>
                  <a:gd name="T13" fmla="*/ 48 h 48"/>
                  <a:gd name="T14" fmla="*/ 12 w 18"/>
                  <a:gd name="T15" fmla="*/ 36 h 48"/>
                  <a:gd name="T16" fmla="*/ 12 w 18"/>
                  <a:gd name="T17" fmla="*/ 30 h 48"/>
                  <a:gd name="T18" fmla="*/ 12 w 18"/>
                  <a:gd name="T19" fmla="*/ 30 h 48"/>
                  <a:gd name="T20" fmla="*/ 18 w 18"/>
                  <a:gd name="T21" fmla="*/ 0 h 4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8" h="48">
                    <a:moveTo>
                      <a:pt x="18" y="0"/>
                    </a:moveTo>
                    <a:lnTo>
                      <a:pt x="12" y="6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12" y="48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64" name="Freeform 267"/>
              <p:cNvSpPr>
                <a:spLocks/>
              </p:cNvSpPr>
              <p:nvPr/>
            </p:nvSpPr>
            <p:spPr bwMode="auto">
              <a:xfrm>
                <a:off x="1596" y="1110"/>
                <a:ext cx="18" cy="48"/>
              </a:xfrm>
              <a:custGeom>
                <a:avLst/>
                <a:gdLst>
                  <a:gd name="T0" fmla="*/ 18 w 18"/>
                  <a:gd name="T1" fmla="*/ 0 h 48"/>
                  <a:gd name="T2" fmla="*/ 12 w 18"/>
                  <a:gd name="T3" fmla="*/ 6 h 48"/>
                  <a:gd name="T4" fmla="*/ 6 w 18"/>
                  <a:gd name="T5" fmla="*/ 12 h 48"/>
                  <a:gd name="T6" fmla="*/ 6 w 18"/>
                  <a:gd name="T7" fmla="*/ 18 h 48"/>
                  <a:gd name="T8" fmla="*/ 0 w 18"/>
                  <a:gd name="T9" fmla="*/ 24 h 48"/>
                  <a:gd name="T10" fmla="*/ 0 w 18"/>
                  <a:gd name="T11" fmla="*/ 30 h 48"/>
                  <a:gd name="T12" fmla="*/ 12 w 18"/>
                  <a:gd name="T13" fmla="*/ 48 h 48"/>
                  <a:gd name="T14" fmla="*/ 12 w 18"/>
                  <a:gd name="T15" fmla="*/ 36 h 48"/>
                  <a:gd name="T16" fmla="*/ 12 w 18"/>
                  <a:gd name="T17" fmla="*/ 30 h 48"/>
                  <a:gd name="T18" fmla="*/ 18 w 18"/>
                  <a:gd name="T19" fmla="*/ 0 h 4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8" h="48">
                    <a:moveTo>
                      <a:pt x="18" y="0"/>
                    </a:moveTo>
                    <a:lnTo>
                      <a:pt x="12" y="6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12" y="48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15" name="Group 268"/>
            <p:cNvGrpSpPr>
              <a:grpSpLocks/>
            </p:cNvGrpSpPr>
            <p:nvPr/>
          </p:nvGrpSpPr>
          <p:grpSpPr bwMode="auto">
            <a:xfrm>
              <a:off x="1523124" y="2600010"/>
              <a:ext cx="111475" cy="93049"/>
              <a:chOff x="1614" y="1062"/>
              <a:chExt cx="54" cy="54"/>
            </a:xfrm>
            <a:solidFill>
              <a:srgbClr val="0070C0">
                <a:alpha val="27059"/>
              </a:srgbClr>
            </a:solidFill>
          </p:grpSpPr>
          <p:sp>
            <p:nvSpPr>
              <p:cNvPr id="1761" name="Freeform 269"/>
              <p:cNvSpPr>
                <a:spLocks/>
              </p:cNvSpPr>
              <p:nvPr/>
            </p:nvSpPr>
            <p:spPr bwMode="auto">
              <a:xfrm>
                <a:off x="1614" y="1062"/>
                <a:ext cx="54" cy="54"/>
              </a:xfrm>
              <a:custGeom>
                <a:avLst/>
                <a:gdLst>
                  <a:gd name="T0" fmla="*/ 54 w 54"/>
                  <a:gd name="T1" fmla="*/ 0 h 54"/>
                  <a:gd name="T2" fmla="*/ 48 w 54"/>
                  <a:gd name="T3" fmla="*/ 6 h 54"/>
                  <a:gd name="T4" fmla="*/ 42 w 54"/>
                  <a:gd name="T5" fmla="*/ 6 h 54"/>
                  <a:gd name="T6" fmla="*/ 42 w 54"/>
                  <a:gd name="T7" fmla="*/ 6 h 54"/>
                  <a:gd name="T8" fmla="*/ 42 w 54"/>
                  <a:gd name="T9" fmla="*/ 6 h 54"/>
                  <a:gd name="T10" fmla="*/ 36 w 54"/>
                  <a:gd name="T11" fmla="*/ 6 h 54"/>
                  <a:gd name="T12" fmla="*/ 30 w 54"/>
                  <a:gd name="T13" fmla="*/ 12 h 54"/>
                  <a:gd name="T14" fmla="*/ 24 w 54"/>
                  <a:gd name="T15" fmla="*/ 12 h 54"/>
                  <a:gd name="T16" fmla="*/ 12 w 54"/>
                  <a:gd name="T17" fmla="*/ 12 h 54"/>
                  <a:gd name="T18" fmla="*/ 12 w 54"/>
                  <a:gd name="T19" fmla="*/ 6 h 54"/>
                  <a:gd name="T20" fmla="*/ 12 w 54"/>
                  <a:gd name="T21" fmla="*/ 12 h 54"/>
                  <a:gd name="T22" fmla="*/ 6 w 54"/>
                  <a:gd name="T23" fmla="*/ 12 h 54"/>
                  <a:gd name="T24" fmla="*/ 0 w 54"/>
                  <a:gd name="T25" fmla="*/ 18 h 54"/>
                  <a:gd name="T26" fmla="*/ 0 w 54"/>
                  <a:gd name="T27" fmla="*/ 18 h 54"/>
                  <a:gd name="T28" fmla="*/ 0 w 54"/>
                  <a:gd name="T29" fmla="*/ 18 h 54"/>
                  <a:gd name="T30" fmla="*/ 0 w 54"/>
                  <a:gd name="T31" fmla="*/ 24 h 54"/>
                  <a:gd name="T32" fmla="*/ 0 w 54"/>
                  <a:gd name="T33" fmla="*/ 24 h 54"/>
                  <a:gd name="T34" fmla="*/ 0 w 54"/>
                  <a:gd name="T35" fmla="*/ 24 h 54"/>
                  <a:gd name="T36" fmla="*/ 0 w 54"/>
                  <a:gd name="T37" fmla="*/ 30 h 54"/>
                  <a:gd name="T38" fmla="*/ 0 w 54"/>
                  <a:gd name="T39" fmla="*/ 30 h 54"/>
                  <a:gd name="T40" fmla="*/ 6 w 54"/>
                  <a:gd name="T41" fmla="*/ 30 h 54"/>
                  <a:gd name="T42" fmla="*/ 6 w 54"/>
                  <a:gd name="T43" fmla="*/ 36 h 54"/>
                  <a:gd name="T44" fmla="*/ 6 w 54"/>
                  <a:gd name="T45" fmla="*/ 36 h 54"/>
                  <a:gd name="T46" fmla="*/ 0 w 54"/>
                  <a:gd name="T47" fmla="*/ 42 h 54"/>
                  <a:gd name="T48" fmla="*/ 0 w 54"/>
                  <a:gd name="T49" fmla="*/ 48 h 54"/>
                  <a:gd name="T50" fmla="*/ 0 w 54"/>
                  <a:gd name="T51" fmla="*/ 48 h 54"/>
                  <a:gd name="T52" fmla="*/ 0 w 54"/>
                  <a:gd name="T53" fmla="*/ 48 h 54"/>
                  <a:gd name="T54" fmla="*/ 0 w 54"/>
                  <a:gd name="T55" fmla="*/ 54 h 54"/>
                  <a:gd name="T56" fmla="*/ 0 w 54"/>
                  <a:gd name="T57" fmla="*/ 54 h 54"/>
                  <a:gd name="T58" fmla="*/ 6 w 54"/>
                  <a:gd name="T59" fmla="*/ 54 h 54"/>
                  <a:gd name="T60" fmla="*/ 12 w 54"/>
                  <a:gd name="T61" fmla="*/ 54 h 54"/>
                  <a:gd name="T62" fmla="*/ 48 w 54"/>
                  <a:gd name="T63" fmla="*/ 30 h 54"/>
                  <a:gd name="T64" fmla="*/ 48 w 54"/>
                  <a:gd name="T65" fmla="*/ 24 h 54"/>
                  <a:gd name="T66" fmla="*/ 48 w 54"/>
                  <a:gd name="T67" fmla="*/ 18 h 54"/>
                  <a:gd name="T68" fmla="*/ 48 w 54"/>
                  <a:gd name="T69" fmla="*/ 18 h 54"/>
                  <a:gd name="T70" fmla="*/ 54 w 54"/>
                  <a:gd name="T71" fmla="*/ 12 h 54"/>
                  <a:gd name="T72" fmla="*/ 54 w 54"/>
                  <a:gd name="T73" fmla="*/ 0 h 54"/>
                  <a:gd name="T74" fmla="*/ 54 w 54"/>
                  <a:gd name="T75" fmla="*/ 0 h 5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54" h="54">
                    <a:moveTo>
                      <a:pt x="54" y="0"/>
                    </a:moveTo>
                    <a:lnTo>
                      <a:pt x="48" y="6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6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48" y="30"/>
                    </a:lnTo>
                    <a:lnTo>
                      <a:pt x="48" y="24"/>
                    </a:lnTo>
                    <a:lnTo>
                      <a:pt x="48" y="18"/>
                    </a:lnTo>
                    <a:lnTo>
                      <a:pt x="54" y="1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62" name="Freeform 270"/>
              <p:cNvSpPr>
                <a:spLocks/>
              </p:cNvSpPr>
              <p:nvPr/>
            </p:nvSpPr>
            <p:spPr bwMode="auto">
              <a:xfrm>
                <a:off x="1614" y="1062"/>
                <a:ext cx="54" cy="54"/>
              </a:xfrm>
              <a:custGeom>
                <a:avLst/>
                <a:gdLst>
                  <a:gd name="T0" fmla="*/ 54 w 54"/>
                  <a:gd name="T1" fmla="*/ 0 h 54"/>
                  <a:gd name="T2" fmla="*/ 48 w 54"/>
                  <a:gd name="T3" fmla="*/ 6 h 54"/>
                  <a:gd name="T4" fmla="*/ 42 w 54"/>
                  <a:gd name="T5" fmla="*/ 6 h 54"/>
                  <a:gd name="T6" fmla="*/ 36 w 54"/>
                  <a:gd name="T7" fmla="*/ 6 h 54"/>
                  <a:gd name="T8" fmla="*/ 30 w 54"/>
                  <a:gd name="T9" fmla="*/ 12 h 54"/>
                  <a:gd name="T10" fmla="*/ 24 w 54"/>
                  <a:gd name="T11" fmla="*/ 12 h 54"/>
                  <a:gd name="T12" fmla="*/ 12 w 54"/>
                  <a:gd name="T13" fmla="*/ 12 h 54"/>
                  <a:gd name="T14" fmla="*/ 12 w 54"/>
                  <a:gd name="T15" fmla="*/ 6 h 54"/>
                  <a:gd name="T16" fmla="*/ 12 w 54"/>
                  <a:gd name="T17" fmla="*/ 12 h 54"/>
                  <a:gd name="T18" fmla="*/ 6 w 54"/>
                  <a:gd name="T19" fmla="*/ 12 h 54"/>
                  <a:gd name="T20" fmla="*/ 0 w 54"/>
                  <a:gd name="T21" fmla="*/ 18 h 54"/>
                  <a:gd name="T22" fmla="*/ 0 w 54"/>
                  <a:gd name="T23" fmla="*/ 24 h 54"/>
                  <a:gd name="T24" fmla="*/ 0 w 54"/>
                  <a:gd name="T25" fmla="*/ 30 h 54"/>
                  <a:gd name="T26" fmla="*/ 6 w 54"/>
                  <a:gd name="T27" fmla="*/ 30 h 54"/>
                  <a:gd name="T28" fmla="*/ 6 w 54"/>
                  <a:gd name="T29" fmla="*/ 36 h 54"/>
                  <a:gd name="T30" fmla="*/ 0 w 54"/>
                  <a:gd name="T31" fmla="*/ 42 h 54"/>
                  <a:gd name="T32" fmla="*/ 0 w 54"/>
                  <a:gd name="T33" fmla="*/ 48 h 54"/>
                  <a:gd name="T34" fmla="*/ 0 w 54"/>
                  <a:gd name="T35" fmla="*/ 54 h 54"/>
                  <a:gd name="T36" fmla="*/ 6 w 54"/>
                  <a:gd name="T37" fmla="*/ 54 h 54"/>
                  <a:gd name="T38" fmla="*/ 12 w 54"/>
                  <a:gd name="T39" fmla="*/ 54 h 54"/>
                  <a:gd name="T40" fmla="*/ 48 w 54"/>
                  <a:gd name="T41" fmla="*/ 30 h 54"/>
                  <a:gd name="T42" fmla="*/ 48 w 54"/>
                  <a:gd name="T43" fmla="*/ 24 h 54"/>
                  <a:gd name="T44" fmla="*/ 48 w 54"/>
                  <a:gd name="T45" fmla="*/ 18 h 54"/>
                  <a:gd name="T46" fmla="*/ 54 w 54"/>
                  <a:gd name="T47" fmla="*/ 12 h 54"/>
                  <a:gd name="T48" fmla="*/ 54 w 54"/>
                  <a:gd name="T49" fmla="*/ 0 h 5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4" h="54">
                    <a:moveTo>
                      <a:pt x="54" y="0"/>
                    </a:moveTo>
                    <a:lnTo>
                      <a:pt x="48" y="6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6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48" y="30"/>
                    </a:lnTo>
                    <a:lnTo>
                      <a:pt x="48" y="24"/>
                    </a:lnTo>
                    <a:lnTo>
                      <a:pt x="48" y="18"/>
                    </a:lnTo>
                    <a:lnTo>
                      <a:pt x="54" y="12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16" name="Group 271"/>
            <p:cNvGrpSpPr>
              <a:grpSpLocks/>
            </p:cNvGrpSpPr>
            <p:nvPr/>
          </p:nvGrpSpPr>
          <p:grpSpPr bwMode="auto">
            <a:xfrm>
              <a:off x="1669195" y="2537303"/>
              <a:ext cx="367100" cy="319604"/>
              <a:chOff x="1686" y="1026"/>
              <a:chExt cx="180" cy="186"/>
            </a:xfrm>
            <a:solidFill>
              <a:srgbClr val="0070C0">
                <a:alpha val="27059"/>
              </a:srgbClr>
            </a:solidFill>
          </p:grpSpPr>
          <p:sp>
            <p:nvSpPr>
              <p:cNvPr id="1759" name="Freeform 272"/>
              <p:cNvSpPr>
                <a:spLocks/>
              </p:cNvSpPr>
              <p:nvPr/>
            </p:nvSpPr>
            <p:spPr bwMode="auto">
              <a:xfrm>
                <a:off x="1686" y="1026"/>
                <a:ext cx="180" cy="186"/>
              </a:xfrm>
              <a:custGeom>
                <a:avLst/>
                <a:gdLst>
                  <a:gd name="T0" fmla="*/ 18 w 180"/>
                  <a:gd name="T1" fmla="*/ 30 h 186"/>
                  <a:gd name="T2" fmla="*/ 18 w 180"/>
                  <a:gd name="T3" fmla="*/ 42 h 186"/>
                  <a:gd name="T4" fmla="*/ 24 w 180"/>
                  <a:gd name="T5" fmla="*/ 48 h 186"/>
                  <a:gd name="T6" fmla="*/ 30 w 180"/>
                  <a:gd name="T7" fmla="*/ 60 h 186"/>
                  <a:gd name="T8" fmla="*/ 24 w 180"/>
                  <a:gd name="T9" fmla="*/ 72 h 186"/>
                  <a:gd name="T10" fmla="*/ 24 w 180"/>
                  <a:gd name="T11" fmla="*/ 84 h 186"/>
                  <a:gd name="T12" fmla="*/ 36 w 180"/>
                  <a:gd name="T13" fmla="*/ 96 h 186"/>
                  <a:gd name="T14" fmla="*/ 42 w 180"/>
                  <a:gd name="T15" fmla="*/ 108 h 186"/>
                  <a:gd name="T16" fmla="*/ 42 w 180"/>
                  <a:gd name="T17" fmla="*/ 120 h 186"/>
                  <a:gd name="T18" fmla="*/ 60 w 180"/>
                  <a:gd name="T19" fmla="*/ 120 h 186"/>
                  <a:gd name="T20" fmla="*/ 90 w 180"/>
                  <a:gd name="T21" fmla="*/ 150 h 186"/>
                  <a:gd name="T22" fmla="*/ 108 w 180"/>
                  <a:gd name="T23" fmla="*/ 156 h 186"/>
                  <a:gd name="T24" fmla="*/ 120 w 180"/>
                  <a:gd name="T25" fmla="*/ 156 h 186"/>
                  <a:gd name="T26" fmla="*/ 126 w 180"/>
                  <a:gd name="T27" fmla="*/ 168 h 186"/>
                  <a:gd name="T28" fmla="*/ 144 w 180"/>
                  <a:gd name="T29" fmla="*/ 174 h 186"/>
                  <a:gd name="T30" fmla="*/ 150 w 180"/>
                  <a:gd name="T31" fmla="*/ 174 h 186"/>
                  <a:gd name="T32" fmla="*/ 156 w 180"/>
                  <a:gd name="T33" fmla="*/ 186 h 186"/>
                  <a:gd name="T34" fmla="*/ 168 w 180"/>
                  <a:gd name="T35" fmla="*/ 168 h 186"/>
                  <a:gd name="T36" fmla="*/ 180 w 180"/>
                  <a:gd name="T37" fmla="*/ 156 h 186"/>
                  <a:gd name="T38" fmla="*/ 180 w 180"/>
                  <a:gd name="T39" fmla="*/ 150 h 186"/>
                  <a:gd name="T40" fmla="*/ 168 w 180"/>
                  <a:gd name="T41" fmla="*/ 132 h 186"/>
                  <a:gd name="T42" fmla="*/ 156 w 180"/>
                  <a:gd name="T43" fmla="*/ 90 h 186"/>
                  <a:gd name="T44" fmla="*/ 168 w 180"/>
                  <a:gd name="T45" fmla="*/ 60 h 186"/>
                  <a:gd name="T46" fmla="*/ 150 w 180"/>
                  <a:gd name="T47" fmla="*/ 42 h 186"/>
                  <a:gd name="T48" fmla="*/ 132 w 180"/>
                  <a:gd name="T49" fmla="*/ 36 h 186"/>
                  <a:gd name="T50" fmla="*/ 120 w 180"/>
                  <a:gd name="T51" fmla="*/ 36 h 186"/>
                  <a:gd name="T52" fmla="*/ 96 w 180"/>
                  <a:gd name="T53" fmla="*/ 42 h 186"/>
                  <a:gd name="T54" fmla="*/ 78 w 180"/>
                  <a:gd name="T55" fmla="*/ 42 h 186"/>
                  <a:gd name="T56" fmla="*/ 66 w 180"/>
                  <a:gd name="T57" fmla="*/ 42 h 186"/>
                  <a:gd name="T58" fmla="*/ 54 w 180"/>
                  <a:gd name="T59" fmla="*/ 24 h 186"/>
                  <a:gd name="T60" fmla="*/ 48 w 180"/>
                  <a:gd name="T61" fmla="*/ 6 h 186"/>
                  <a:gd name="T62" fmla="*/ 30 w 180"/>
                  <a:gd name="T63" fmla="*/ 12 h 186"/>
                  <a:gd name="T64" fmla="*/ 24 w 180"/>
                  <a:gd name="T65" fmla="*/ 12 h 186"/>
                  <a:gd name="T66" fmla="*/ 0 w 180"/>
                  <a:gd name="T67" fmla="*/ 6 h 186"/>
                  <a:gd name="T68" fmla="*/ 12 w 180"/>
                  <a:gd name="T69" fmla="*/ 30 h 186"/>
                  <a:gd name="T70" fmla="*/ 12 w 180"/>
                  <a:gd name="T71" fmla="*/ 30 h 18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80" h="186">
                    <a:moveTo>
                      <a:pt x="12" y="30"/>
                    </a:moveTo>
                    <a:lnTo>
                      <a:pt x="18" y="30"/>
                    </a:lnTo>
                    <a:lnTo>
                      <a:pt x="18" y="36"/>
                    </a:lnTo>
                    <a:lnTo>
                      <a:pt x="18" y="42"/>
                    </a:lnTo>
                    <a:lnTo>
                      <a:pt x="18" y="48"/>
                    </a:lnTo>
                    <a:lnTo>
                      <a:pt x="24" y="48"/>
                    </a:lnTo>
                    <a:lnTo>
                      <a:pt x="30" y="54"/>
                    </a:lnTo>
                    <a:lnTo>
                      <a:pt x="30" y="60"/>
                    </a:lnTo>
                    <a:lnTo>
                      <a:pt x="24" y="66"/>
                    </a:lnTo>
                    <a:lnTo>
                      <a:pt x="24" y="72"/>
                    </a:lnTo>
                    <a:lnTo>
                      <a:pt x="24" y="78"/>
                    </a:lnTo>
                    <a:lnTo>
                      <a:pt x="24" y="84"/>
                    </a:lnTo>
                    <a:lnTo>
                      <a:pt x="30" y="90"/>
                    </a:lnTo>
                    <a:lnTo>
                      <a:pt x="36" y="96"/>
                    </a:lnTo>
                    <a:lnTo>
                      <a:pt x="36" y="102"/>
                    </a:lnTo>
                    <a:lnTo>
                      <a:pt x="42" y="108"/>
                    </a:lnTo>
                    <a:lnTo>
                      <a:pt x="42" y="114"/>
                    </a:lnTo>
                    <a:lnTo>
                      <a:pt x="42" y="120"/>
                    </a:lnTo>
                    <a:lnTo>
                      <a:pt x="54" y="126"/>
                    </a:lnTo>
                    <a:lnTo>
                      <a:pt x="60" y="120"/>
                    </a:lnTo>
                    <a:lnTo>
                      <a:pt x="72" y="138"/>
                    </a:lnTo>
                    <a:lnTo>
                      <a:pt x="90" y="150"/>
                    </a:lnTo>
                    <a:lnTo>
                      <a:pt x="96" y="156"/>
                    </a:lnTo>
                    <a:lnTo>
                      <a:pt x="108" y="156"/>
                    </a:lnTo>
                    <a:lnTo>
                      <a:pt x="120" y="156"/>
                    </a:lnTo>
                    <a:lnTo>
                      <a:pt x="126" y="162"/>
                    </a:lnTo>
                    <a:lnTo>
                      <a:pt x="126" y="168"/>
                    </a:lnTo>
                    <a:lnTo>
                      <a:pt x="132" y="174"/>
                    </a:lnTo>
                    <a:lnTo>
                      <a:pt x="144" y="174"/>
                    </a:lnTo>
                    <a:lnTo>
                      <a:pt x="150" y="174"/>
                    </a:lnTo>
                    <a:lnTo>
                      <a:pt x="156" y="180"/>
                    </a:lnTo>
                    <a:lnTo>
                      <a:pt x="156" y="186"/>
                    </a:lnTo>
                    <a:lnTo>
                      <a:pt x="168" y="180"/>
                    </a:lnTo>
                    <a:lnTo>
                      <a:pt x="168" y="168"/>
                    </a:lnTo>
                    <a:lnTo>
                      <a:pt x="168" y="162"/>
                    </a:lnTo>
                    <a:lnTo>
                      <a:pt x="180" y="156"/>
                    </a:lnTo>
                    <a:lnTo>
                      <a:pt x="180" y="150"/>
                    </a:lnTo>
                    <a:lnTo>
                      <a:pt x="174" y="144"/>
                    </a:lnTo>
                    <a:lnTo>
                      <a:pt x="168" y="132"/>
                    </a:lnTo>
                    <a:lnTo>
                      <a:pt x="156" y="114"/>
                    </a:lnTo>
                    <a:lnTo>
                      <a:pt x="156" y="90"/>
                    </a:lnTo>
                    <a:lnTo>
                      <a:pt x="162" y="78"/>
                    </a:lnTo>
                    <a:lnTo>
                      <a:pt x="168" y="60"/>
                    </a:lnTo>
                    <a:lnTo>
                      <a:pt x="162" y="48"/>
                    </a:lnTo>
                    <a:lnTo>
                      <a:pt x="150" y="42"/>
                    </a:lnTo>
                    <a:lnTo>
                      <a:pt x="138" y="42"/>
                    </a:lnTo>
                    <a:lnTo>
                      <a:pt x="132" y="36"/>
                    </a:lnTo>
                    <a:lnTo>
                      <a:pt x="126" y="36"/>
                    </a:lnTo>
                    <a:lnTo>
                      <a:pt x="120" y="36"/>
                    </a:lnTo>
                    <a:lnTo>
                      <a:pt x="108" y="36"/>
                    </a:lnTo>
                    <a:lnTo>
                      <a:pt x="96" y="42"/>
                    </a:lnTo>
                    <a:lnTo>
                      <a:pt x="78" y="42"/>
                    </a:lnTo>
                    <a:lnTo>
                      <a:pt x="78" y="48"/>
                    </a:lnTo>
                    <a:lnTo>
                      <a:pt x="66" y="42"/>
                    </a:lnTo>
                    <a:lnTo>
                      <a:pt x="60" y="36"/>
                    </a:lnTo>
                    <a:lnTo>
                      <a:pt x="54" y="24"/>
                    </a:lnTo>
                    <a:lnTo>
                      <a:pt x="48" y="12"/>
                    </a:lnTo>
                    <a:lnTo>
                      <a:pt x="48" y="6"/>
                    </a:lnTo>
                    <a:lnTo>
                      <a:pt x="42" y="0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18" y="12"/>
                    </a:lnTo>
                    <a:lnTo>
                      <a:pt x="0" y="6"/>
                    </a:lnTo>
                    <a:lnTo>
                      <a:pt x="6" y="24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60" name="Freeform 273"/>
              <p:cNvSpPr>
                <a:spLocks/>
              </p:cNvSpPr>
              <p:nvPr/>
            </p:nvSpPr>
            <p:spPr bwMode="auto">
              <a:xfrm>
                <a:off x="1686" y="1026"/>
                <a:ext cx="180" cy="186"/>
              </a:xfrm>
              <a:custGeom>
                <a:avLst/>
                <a:gdLst>
                  <a:gd name="T0" fmla="*/ 18 w 180"/>
                  <a:gd name="T1" fmla="*/ 30 h 186"/>
                  <a:gd name="T2" fmla="*/ 18 w 180"/>
                  <a:gd name="T3" fmla="*/ 42 h 186"/>
                  <a:gd name="T4" fmla="*/ 24 w 180"/>
                  <a:gd name="T5" fmla="*/ 48 h 186"/>
                  <a:gd name="T6" fmla="*/ 30 w 180"/>
                  <a:gd name="T7" fmla="*/ 60 h 186"/>
                  <a:gd name="T8" fmla="*/ 24 w 180"/>
                  <a:gd name="T9" fmla="*/ 72 h 186"/>
                  <a:gd name="T10" fmla="*/ 24 w 180"/>
                  <a:gd name="T11" fmla="*/ 84 h 186"/>
                  <a:gd name="T12" fmla="*/ 36 w 180"/>
                  <a:gd name="T13" fmla="*/ 96 h 186"/>
                  <a:gd name="T14" fmla="*/ 42 w 180"/>
                  <a:gd name="T15" fmla="*/ 108 h 186"/>
                  <a:gd name="T16" fmla="*/ 42 w 180"/>
                  <a:gd name="T17" fmla="*/ 120 h 186"/>
                  <a:gd name="T18" fmla="*/ 60 w 180"/>
                  <a:gd name="T19" fmla="*/ 120 h 186"/>
                  <a:gd name="T20" fmla="*/ 90 w 180"/>
                  <a:gd name="T21" fmla="*/ 150 h 186"/>
                  <a:gd name="T22" fmla="*/ 108 w 180"/>
                  <a:gd name="T23" fmla="*/ 156 h 186"/>
                  <a:gd name="T24" fmla="*/ 126 w 180"/>
                  <a:gd name="T25" fmla="*/ 162 h 186"/>
                  <a:gd name="T26" fmla="*/ 132 w 180"/>
                  <a:gd name="T27" fmla="*/ 174 h 186"/>
                  <a:gd name="T28" fmla="*/ 150 w 180"/>
                  <a:gd name="T29" fmla="*/ 174 h 186"/>
                  <a:gd name="T30" fmla="*/ 156 w 180"/>
                  <a:gd name="T31" fmla="*/ 186 h 186"/>
                  <a:gd name="T32" fmla="*/ 168 w 180"/>
                  <a:gd name="T33" fmla="*/ 168 h 186"/>
                  <a:gd name="T34" fmla="*/ 180 w 180"/>
                  <a:gd name="T35" fmla="*/ 156 h 186"/>
                  <a:gd name="T36" fmla="*/ 174 w 180"/>
                  <a:gd name="T37" fmla="*/ 144 h 186"/>
                  <a:gd name="T38" fmla="*/ 156 w 180"/>
                  <a:gd name="T39" fmla="*/ 114 h 186"/>
                  <a:gd name="T40" fmla="*/ 162 w 180"/>
                  <a:gd name="T41" fmla="*/ 78 h 186"/>
                  <a:gd name="T42" fmla="*/ 162 w 180"/>
                  <a:gd name="T43" fmla="*/ 48 h 186"/>
                  <a:gd name="T44" fmla="*/ 138 w 180"/>
                  <a:gd name="T45" fmla="*/ 42 h 186"/>
                  <a:gd name="T46" fmla="*/ 126 w 180"/>
                  <a:gd name="T47" fmla="*/ 36 h 186"/>
                  <a:gd name="T48" fmla="*/ 108 w 180"/>
                  <a:gd name="T49" fmla="*/ 36 h 186"/>
                  <a:gd name="T50" fmla="*/ 78 w 180"/>
                  <a:gd name="T51" fmla="*/ 42 h 186"/>
                  <a:gd name="T52" fmla="*/ 66 w 180"/>
                  <a:gd name="T53" fmla="*/ 42 h 186"/>
                  <a:gd name="T54" fmla="*/ 54 w 180"/>
                  <a:gd name="T55" fmla="*/ 24 h 186"/>
                  <a:gd name="T56" fmla="*/ 48 w 180"/>
                  <a:gd name="T57" fmla="*/ 6 h 186"/>
                  <a:gd name="T58" fmla="*/ 30 w 180"/>
                  <a:gd name="T59" fmla="*/ 12 h 186"/>
                  <a:gd name="T60" fmla="*/ 18 w 180"/>
                  <a:gd name="T61" fmla="*/ 12 h 186"/>
                  <a:gd name="T62" fmla="*/ 6 w 180"/>
                  <a:gd name="T63" fmla="*/ 24 h 18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80" h="186">
                    <a:moveTo>
                      <a:pt x="12" y="30"/>
                    </a:moveTo>
                    <a:lnTo>
                      <a:pt x="18" y="30"/>
                    </a:lnTo>
                    <a:lnTo>
                      <a:pt x="18" y="36"/>
                    </a:lnTo>
                    <a:lnTo>
                      <a:pt x="18" y="42"/>
                    </a:lnTo>
                    <a:lnTo>
                      <a:pt x="18" y="48"/>
                    </a:lnTo>
                    <a:lnTo>
                      <a:pt x="24" y="48"/>
                    </a:lnTo>
                    <a:lnTo>
                      <a:pt x="30" y="54"/>
                    </a:lnTo>
                    <a:lnTo>
                      <a:pt x="30" y="60"/>
                    </a:lnTo>
                    <a:lnTo>
                      <a:pt x="24" y="66"/>
                    </a:lnTo>
                    <a:lnTo>
                      <a:pt x="24" y="72"/>
                    </a:lnTo>
                    <a:lnTo>
                      <a:pt x="24" y="78"/>
                    </a:lnTo>
                    <a:lnTo>
                      <a:pt x="24" y="84"/>
                    </a:lnTo>
                    <a:lnTo>
                      <a:pt x="30" y="90"/>
                    </a:lnTo>
                    <a:lnTo>
                      <a:pt x="36" y="96"/>
                    </a:lnTo>
                    <a:lnTo>
                      <a:pt x="36" y="102"/>
                    </a:lnTo>
                    <a:lnTo>
                      <a:pt x="42" y="108"/>
                    </a:lnTo>
                    <a:lnTo>
                      <a:pt x="42" y="114"/>
                    </a:lnTo>
                    <a:lnTo>
                      <a:pt x="42" y="120"/>
                    </a:lnTo>
                    <a:lnTo>
                      <a:pt x="54" y="126"/>
                    </a:lnTo>
                    <a:lnTo>
                      <a:pt x="60" y="120"/>
                    </a:lnTo>
                    <a:lnTo>
                      <a:pt x="72" y="138"/>
                    </a:lnTo>
                    <a:lnTo>
                      <a:pt x="90" y="150"/>
                    </a:lnTo>
                    <a:lnTo>
                      <a:pt x="96" y="156"/>
                    </a:lnTo>
                    <a:lnTo>
                      <a:pt x="108" y="156"/>
                    </a:lnTo>
                    <a:lnTo>
                      <a:pt x="120" y="156"/>
                    </a:lnTo>
                    <a:lnTo>
                      <a:pt x="126" y="162"/>
                    </a:lnTo>
                    <a:lnTo>
                      <a:pt x="126" y="168"/>
                    </a:lnTo>
                    <a:lnTo>
                      <a:pt x="132" y="174"/>
                    </a:lnTo>
                    <a:lnTo>
                      <a:pt x="144" y="174"/>
                    </a:lnTo>
                    <a:lnTo>
                      <a:pt x="150" y="174"/>
                    </a:lnTo>
                    <a:lnTo>
                      <a:pt x="156" y="180"/>
                    </a:lnTo>
                    <a:lnTo>
                      <a:pt x="156" y="186"/>
                    </a:lnTo>
                    <a:lnTo>
                      <a:pt x="168" y="180"/>
                    </a:lnTo>
                    <a:lnTo>
                      <a:pt x="168" y="168"/>
                    </a:lnTo>
                    <a:lnTo>
                      <a:pt x="168" y="162"/>
                    </a:lnTo>
                    <a:lnTo>
                      <a:pt x="180" y="156"/>
                    </a:lnTo>
                    <a:lnTo>
                      <a:pt x="180" y="150"/>
                    </a:lnTo>
                    <a:lnTo>
                      <a:pt x="174" y="144"/>
                    </a:lnTo>
                    <a:lnTo>
                      <a:pt x="168" y="132"/>
                    </a:lnTo>
                    <a:lnTo>
                      <a:pt x="156" y="114"/>
                    </a:lnTo>
                    <a:lnTo>
                      <a:pt x="156" y="90"/>
                    </a:lnTo>
                    <a:lnTo>
                      <a:pt x="162" y="78"/>
                    </a:lnTo>
                    <a:lnTo>
                      <a:pt x="168" y="60"/>
                    </a:lnTo>
                    <a:lnTo>
                      <a:pt x="162" y="48"/>
                    </a:lnTo>
                    <a:lnTo>
                      <a:pt x="150" y="42"/>
                    </a:lnTo>
                    <a:lnTo>
                      <a:pt x="138" y="42"/>
                    </a:lnTo>
                    <a:lnTo>
                      <a:pt x="132" y="36"/>
                    </a:lnTo>
                    <a:lnTo>
                      <a:pt x="126" y="36"/>
                    </a:lnTo>
                    <a:lnTo>
                      <a:pt x="120" y="36"/>
                    </a:lnTo>
                    <a:lnTo>
                      <a:pt x="108" y="36"/>
                    </a:lnTo>
                    <a:lnTo>
                      <a:pt x="96" y="42"/>
                    </a:lnTo>
                    <a:lnTo>
                      <a:pt x="78" y="42"/>
                    </a:lnTo>
                    <a:lnTo>
                      <a:pt x="78" y="48"/>
                    </a:lnTo>
                    <a:lnTo>
                      <a:pt x="66" y="42"/>
                    </a:lnTo>
                    <a:lnTo>
                      <a:pt x="60" y="36"/>
                    </a:lnTo>
                    <a:lnTo>
                      <a:pt x="54" y="24"/>
                    </a:lnTo>
                    <a:lnTo>
                      <a:pt x="48" y="12"/>
                    </a:lnTo>
                    <a:lnTo>
                      <a:pt x="48" y="6"/>
                    </a:lnTo>
                    <a:lnTo>
                      <a:pt x="42" y="0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18" y="12"/>
                    </a:lnTo>
                    <a:lnTo>
                      <a:pt x="0" y="6"/>
                    </a:lnTo>
                    <a:lnTo>
                      <a:pt x="6" y="24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17" name="Group 274"/>
            <p:cNvGrpSpPr>
              <a:grpSpLocks/>
            </p:cNvGrpSpPr>
            <p:nvPr/>
          </p:nvGrpSpPr>
          <p:grpSpPr bwMode="auto">
            <a:xfrm>
              <a:off x="327648" y="2877135"/>
              <a:ext cx="24986" cy="42479"/>
              <a:chOff x="1026" y="1224"/>
              <a:chExt cx="12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1757" name="Freeform 275"/>
              <p:cNvSpPr>
                <a:spLocks/>
              </p:cNvSpPr>
              <p:nvPr/>
            </p:nvSpPr>
            <p:spPr bwMode="auto">
              <a:xfrm>
                <a:off x="1026" y="1224"/>
                <a:ext cx="12" cy="24"/>
              </a:xfrm>
              <a:custGeom>
                <a:avLst/>
                <a:gdLst>
                  <a:gd name="T0" fmla="*/ 6 w 12"/>
                  <a:gd name="T1" fmla="*/ 24 h 24"/>
                  <a:gd name="T2" fmla="*/ 6 w 12"/>
                  <a:gd name="T3" fmla="*/ 18 h 24"/>
                  <a:gd name="T4" fmla="*/ 12 w 12"/>
                  <a:gd name="T5" fmla="*/ 12 h 24"/>
                  <a:gd name="T6" fmla="*/ 12 w 12"/>
                  <a:gd name="T7" fmla="*/ 6 h 24"/>
                  <a:gd name="T8" fmla="*/ 12 w 12"/>
                  <a:gd name="T9" fmla="*/ 6 h 24"/>
                  <a:gd name="T10" fmla="*/ 12 w 12"/>
                  <a:gd name="T11" fmla="*/ 6 h 24"/>
                  <a:gd name="T12" fmla="*/ 12 w 12"/>
                  <a:gd name="T13" fmla="*/ 0 h 24"/>
                  <a:gd name="T14" fmla="*/ 6 w 12"/>
                  <a:gd name="T15" fmla="*/ 6 h 24"/>
                  <a:gd name="T16" fmla="*/ 6 w 12"/>
                  <a:gd name="T17" fmla="*/ 6 h 24"/>
                  <a:gd name="T18" fmla="*/ 6 w 12"/>
                  <a:gd name="T19" fmla="*/ 12 h 24"/>
                  <a:gd name="T20" fmla="*/ 0 w 12"/>
                  <a:gd name="T21" fmla="*/ 24 h 24"/>
                  <a:gd name="T22" fmla="*/ 6 w 12"/>
                  <a:gd name="T23" fmla="*/ 24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2" h="24">
                    <a:moveTo>
                      <a:pt x="6" y="24"/>
                    </a:moveTo>
                    <a:lnTo>
                      <a:pt x="6" y="18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0" y="24"/>
                    </a:lnTo>
                    <a:lnTo>
                      <a:pt x="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58" name="Freeform 276"/>
              <p:cNvSpPr>
                <a:spLocks/>
              </p:cNvSpPr>
              <p:nvPr/>
            </p:nvSpPr>
            <p:spPr bwMode="auto">
              <a:xfrm>
                <a:off x="1026" y="1224"/>
                <a:ext cx="12" cy="24"/>
              </a:xfrm>
              <a:custGeom>
                <a:avLst/>
                <a:gdLst>
                  <a:gd name="T0" fmla="*/ 6 w 12"/>
                  <a:gd name="T1" fmla="*/ 24 h 24"/>
                  <a:gd name="T2" fmla="*/ 6 w 12"/>
                  <a:gd name="T3" fmla="*/ 18 h 24"/>
                  <a:gd name="T4" fmla="*/ 12 w 12"/>
                  <a:gd name="T5" fmla="*/ 12 h 24"/>
                  <a:gd name="T6" fmla="*/ 12 w 12"/>
                  <a:gd name="T7" fmla="*/ 6 h 24"/>
                  <a:gd name="T8" fmla="*/ 12 w 12"/>
                  <a:gd name="T9" fmla="*/ 0 h 24"/>
                  <a:gd name="T10" fmla="*/ 6 w 12"/>
                  <a:gd name="T11" fmla="*/ 6 h 24"/>
                  <a:gd name="T12" fmla="*/ 6 w 12"/>
                  <a:gd name="T13" fmla="*/ 12 h 24"/>
                  <a:gd name="T14" fmla="*/ 0 w 12"/>
                  <a:gd name="T15" fmla="*/ 24 h 24"/>
                  <a:gd name="T16" fmla="*/ 6 w 12"/>
                  <a:gd name="T17" fmla="*/ 24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24">
                    <a:moveTo>
                      <a:pt x="6" y="24"/>
                    </a:moveTo>
                    <a:lnTo>
                      <a:pt x="6" y="18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0" y="24"/>
                    </a:lnTo>
                    <a:lnTo>
                      <a:pt x="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18" name="Group 277"/>
            <p:cNvGrpSpPr>
              <a:grpSpLocks/>
            </p:cNvGrpSpPr>
            <p:nvPr/>
          </p:nvGrpSpPr>
          <p:grpSpPr bwMode="auto">
            <a:xfrm>
              <a:off x="1046471" y="3342382"/>
              <a:ext cx="38440" cy="30342"/>
              <a:chOff x="1380" y="1494"/>
              <a:chExt cx="18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1755" name="Freeform 278"/>
              <p:cNvSpPr>
                <a:spLocks/>
              </p:cNvSpPr>
              <p:nvPr/>
            </p:nvSpPr>
            <p:spPr bwMode="auto">
              <a:xfrm>
                <a:off x="1380" y="1494"/>
                <a:ext cx="18" cy="18"/>
              </a:xfrm>
              <a:custGeom>
                <a:avLst/>
                <a:gdLst>
                  <a:gd name="T0" fmla="*/ 0 w 18"/>
                  <a:gd name="T1" fmla="*/ 6 h 18"/>
                  <a:gd name="T2" fmla="*/ 0 w 18"/>
                  <a:gd name="T3" fmla="*/ 18 h 18"/>
                  <a:gd name="T4" fmla="*/ 18 w 18"/>
                  <a:gd name="T5" fmla="*/ 6 h 18"/>
                  <a:gd name="T6" fmla="*/ 18 w 18"/>
                  <a:gd name="T7" fmla="*/ 0 h 18"/>
                  <a:gd name="T8" fmla="*/ 12 w 18"/>
                  <a:gd name="T9" fmla="*/ 0 h 18"/>
                  <a:gd name="T10" fmla="*/ 6 w 18"/>
                  <a:gd name="T11" fmla="*/ 0 h 18"/>
                  <a:gd name="T12" fmla="*/ 0 w 18"/>
                  <a:gd name="T13" fmla="*/ 6 h 18"/>
                  <a:gd name="T14" fmla="*/ 0 w 18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18">
                    <a:moveTo>
                      <a:pt x="0" y="6"/>
                    </a:moveTo>
                    <a:lnTo>
                      <a:pt x="0" y="18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56" name="Freeform 279"/>
              <p:cNvSpPr>
                <a:spLocks/>
              </p:cNvSpPr>
              <p:nvPr/>
            </p:nvSpPr>
            <p:spPr bwMode="auto">
              <a:xfrm>
                <a:off x="1380" y="1494"/>
                <a:ext cx="18" cy="18"/>
              </a:xfrm>
              <a:custGeom>
                <a:avLst/>
                <a:gdLst>
                  <a:gd name="T0" fmla="*/ 0 w 18"/>
                  <a:gd name="T1" fmla="*/ 6 h 18"/>
                  <a:gd name="T2" fmla="*/ 0 w 18"/>
                  <a:gd name="T3" fmla="*/ 18 h 18"/>
                  <a:gd name="T4" fmla="*/ 18 w 18"/>
                  <a:gd name="T5" fmla="*/ 6 h 18"/>
                  <a:gd name="T6" fmla="*/ 18 w 18"/>
                  <a:gd name="T7" fmla="*/ 0 h 18"/>
                  <a:gd name="T8" fmla="*/ 12 w 18"/>
                  <a:gd name="T9" fmla="*/ 0 h 18"/>
                  <a:gd name="T10" fmla="*/ 6 w 18"/>
                  <a:gd name="T11" fmla="*/ 0 h 18"/>
                  <a:gd name="T12" fmla="*/ 0 w 18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" h="18">
                    <a:moveTo>
                      <a:pt x="0" y="6"/>
                    </a:moveTo>
                    <a:lnTo>
                      <a:pt x="0" y="18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19" name="Group 280"/>
            <p:cNvGrpSpPr>
              <a:grpSpLocks/>
            </p:cNvGrpSpPr>
            <p:nvPr/>
          </p:nvGrpSpPr>
          <p:grpSpPr bwMode="auto">
            <a:xfrm>
              <a:off x="656308" y="2600010"/>
              <a:ext cx="390163" cy="319604"/>
              <a:chOff x="1188" y="1062"/>
              <a:chExt cx="192" cy="186"/>
            </a:xfrm>
            <a:solidFill>
              <a:srgbClr val="0070C0">
                <a:alpha val="27059"/>
              </a:srgbClr>
            </a:solidFill>
          </p:grpSpPr>
          <p:sp>
            <p:nvSpPr>
              <p:cNvPr id="1753" name="Freeform 281"/>
              <p:cNvSpPr>
                <a:spLocks/>
              </p:cNvSpPr>
              <p:nvPr/>
            </p:nvSpPr>
            <p:spPr bwMode="auto">
              <a:xfrm>
                <a:off x="1188" y="1062"/>
                <a:ext cx="192" cy="186"/>
              </a:xfrm>
              <a:custGeom>
                <a:avLst/>
                <a:gdLst>
                  <a:gd name="T0" fmla="*/ 0 w 192"/>
                  <a:gd name="T1" fmla="*/ 108 h 186"/>
                  <a:gd name="T2" fmla="*/ 0 w 192"/>
                  <a:gd name="T3" fmla="*/ 96 h 186"/>
                  <a:gd name="T4" fmla="*/ 6 w 192"/>
                  <a:gd name="T5" fmla="*/ 90 h 186"/>
                  <a:gd name="T6" fmla="*/ 12 w 192"/>
                  <a:gd name="T7" fmla="*/ 90 h 186"/>
                  <a:gd name="T8" fmla="*/ 24 w 192"/>
                  <a:gd name="T9" fmla="*/ 84 h 186"/>
                  <a:gd name="T10" fmla="*/ 60 w 192"/>
                  <a:gd name="T11" fmla="*/ 72 h 186"/>
                  <a:gd name="T12" fmla="*/ 60 w 192"/>
                  <a:gd name="T13" fmla="*/ 60 h 186"/>
                  <a:gd name="T14" fmla="*/ 66 w 192"/>
                  <a:gd name="T15" fmla="*/ 60 h 186"/>
                  <a:gd name="T16" fmla="*/ 66 w 192"/>
                  <a:gd name="T17" fmla="*/ 54 h 186"/>
                  <a:gd name="T18" fmla="*/ 72 w 192"/>
                  <a:gd name="T19" fmla="*/ 54 h 186"/>
                  <a:gd name="T20" fmla="*/ 78 w 192"/>
                  <a:gd name="T21" fmla="*/ 54 h 186"/>
                  <a:gd name="T22" fmla="*/ 72 w 192"/>
                  <a:gd name="T23" fmla="*/ 48 h 186"/>
                  <a:gd name="T24" fmla="*/ 72 w 192"/>
                  <a:gd name="T25" fmla="*/ 42 h 186"/>
                  <a:gd name="T26" fmla="*/ 72 w 192"/>
                  <a:gd name="T27" fmla="*/ 30 h 186"/>
                  <a:gd name="T28" fmla="*/ 66 w 192"/>
                  <a:gd name="T29" fmla="*/ 30 h 186"/>
                  <a:gd name="T30" fmla="*/ 66 w 192"/>
                  <a:gd name="T31" fmla="*/ 24 h 186"/>
                  <a:gd name="T32" fmla="*/ 60 w 192"/>
                  <a:gd name="T33" fmla="*/ 24 h 186"/>
                  <a:gd name="T34" fmla="*/ 66 w 192"/>
                  <a:gd name="T35" fmla="*/ 24 h 186"/>
                  <a:gd name="T36" fmla="*/ 66 w 192"/>
                  <a:gd name="T37" fmla="*/ 18 h 186"/>
                  <a:gd name="T38" fmla="*/ 84 w 192"/>
                  <a:gd name="T39" fmla="*/ 12 h 186"/>
                  <a:gd name="T40" fmla="*/ 102 w 192"/>
                  <a:gd name="T41" fmla="*/ 6 h 186"/>
                  <a:gd name="T42" fmla="*/ 114 w 192"/>
                  <a:gd name="T43" fmla="*/ 6 h 186"/>
                  <a:gd name="T44" fmla="*/ 126 w 192"/>
                  <a:gd name="T45" fmla="*/ 6 h 186"/>
                  <a:gd name="T46" fmla="*/ 132 w 192"/>
                  <a:gd name="T47" fmla="*/ 6 h 186"/>
                  <a:gd name="T48" fmla="*/ 144 w 192"/>
                  <a:gd name="T49" fmla="*/ 0 h 186"/>
                  <a:gd name="T50" fmla="*/ 150 w 192"/>
                  <a:gd name="T51" fmla="*/ 0 h 186"/>
                  <a:gd name="T52" fmla="*/ 156 w 192"/>
                  <a:gd name="T53" fmla="*/ 0 h 186"/>
                  <a:gd name="T54" fmla="*/ 162 w 192"/>
                  <a:gd name="T55" fmla="*/ 6 h 186"/>
                  <a:gd name="T56" fmla="*/ 162 w 192"/>
                  <a:gd name="T57" fmla="*/ 6 h 186"/>
                  <a:gd name="T58" fmla="*/ 156 w 192"/>
                  <a:gd name="T59" fmla="*/ 12 h 186"/>
                  <a:gd name="T60" fmla="*/ 156 w 192"/>
                  <a:gd name="T61" fmla="*/ 18 h 186"/>
                  <a:gd name="T62" fmla="*/ 156 w 192"/>
                  <a:gd name="T63" fmla="*/ 24 h 186"/>
                  <a:gd name="T64" fmla="*/ 156 w 192"/>
                  <a:gd name="T65" fmla="*/ 30 h 186"/>
                  <a:gd name="T66" fmla="*/ 156 w 192"/>
                  <a:gd name="T67" fmla="*/ 30 h 186"/>
                  <a:gd name="T68" fmla="*/ 156 w 192"/>
                  <a:gd name="T69" fmla="*/ 36 h 186"/>
                  <a:gd name="T70" fmla="*/ 156 w 192"/>
                  <a:gd name="T71" fmla="*/ 36 h 186"/>
                  <a:gd name="T72" fmla="*/ 156 w 192"/>
                  <a:gd name="T73" fmla="*/ 42 h 186"/>
                  <a:gd name="T74" fmla="*/ 162 w 192"/>
                  <a:gd name="T75" fmla="*/ 48 h 186"/>
                  <a:gd name="T76" fmla="*/ 162 w 192"/>
                  <a:gd name="T77" fmla="*/ 48 h 186"/>
                  <a:gd name="T78" fmla="*/ 162 w 192"/>
                  <a:gd name="T79" fmla="*/ 48 h 186"/>
                  <a:gd name="T80" fmla="*/ 168 w 192"/>
                  <a:gd name="T81" fmla="*/ 66 h 186"/>
                  <a:gd name="T82" fmla="*/ 168 w 192"/>
                  <a:gd name="T83" fmla="*/ 78 h 186"/>
                  <a:gd name="T84" fmla="*/ 174 w 192"/>
                  <a:gd name="T85" fmla="*/ 84 h 186"/>
                  <a:gd name="T86" fmla="*/ 174 w 192"/>
                  <a:gd name="T87" fmla="*/ 84 h 186"/>
                  <a:gd name="T88" fmla="*/ 174 w 192"/>
                  <a:gd name="T89" fmla="*/ 90 h 186"/>
                  <a:gd name="T90" fmla="*/ 174 w 192"/>
                  <a:gd name="T91" fmla="*/ 108 h 186"/>
                  <a:gd name="T92" fmla="*/ 180 w 192"/>
                  <a:gd name="T93" fmla="*/ 108 h 186"/>
                  <a:gd name="T94" fmla="*/ 180 w 192"/>
                  <a:gd name="T95" fmla="*/ 120 h 186"/>
                  <a:gd name="T96" fmla="*/ 180 w 192"/>
                  <a:gd name="T97" fmla="*/ 126 h 186"/>
                  <a:gd name="T98" fmla="*/ 180 w 192"/>
                  <a:gd name="T99" fmla="*/ 132 h 186"/>
                  <a:gd name="T100" fmla="*/ 180 w 192"/>
                  <a:gd name="T101" fmla="*/ 138 h 186"/>
                  <a:gd name="T102" fmla="*/ 186 w 192"/>
                  <a:gd name="T103" fmla="*/ 138 h 186"/>
                  <a:gd name="T104" fmla="*/ 192 w 192"/>
                  <a:gd name="T105" fmla="*/ 150 h 186"/>
                  <a:gd name="T106" fmla="*/ 138 w 192"/>
                  <a:gd name="T107" fmla="*/ 180 h 186"/>
                  <a:gd name="T108" fmla="*/ 108 w 192"/>
                  <a:gd name="T109" fmla="*/ 186 h 186"/>
                  <a:gd name="T110" fmla="*/ 108 w 192"/>
                  <a:gd name="T111" fmla="*/ 174 h 186"/>
                  <a:gd name="T112" fmla="*/ 90 w 192"/>
                  <a:gd name="T113" fmla="*/ 174 h 186"/>
                  <a:gd name="T114" fmla="*/ 0 w 192"/>
                  <a:gd name="T115" fmla="*/ 108 h 18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92" h="186">
                    <a:moveTo>
                      <a:pt x="0" y="108"/>
                    </a:moveTo>
                    <a:lnTo>
                      <a:pt x="0" y="96"/>
                    </a:lnTo>
                    <a:lnTo>
                      <a:pt x="6" y="90"/>
                    </a:lnTo>
                    <a:lnTo>
                      <a:pt x="12" y="90"/>
                    </a:lnTo>
                    <a:lnTo>
                      <a:pt x="24" y="84"/>
                    </a:lnTo>
                    <a:lnTo>
                      <a:pt x="60" y="72"/>
                    </a:lnTo>
                    <a:lnTo>
                      <a:pt x="60" y="60"/>
                    </a:lnTo>
                    <a:lnTo>
                      <a:pt x="66" y="60"/>
                    </a:lnTo>
                    <a:lnTo>
                      <a:pt x="66" y="54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72" y="48"/>
                    </a:lnTo>
                    <a:lnTo>
                      <a:pt x="72" y="42"/>
                    </a:lnTo>
                    <a:lnTo>
                      <a:pt x="72" y="30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0" y="24"/>
                    </a:lnTo>
                    <a:lnTo>
                      <a:pt x="66" y="24"/>
                    </a:lnTo>
                    <a:lnTo>
                      <a:pt x="66" y="18"/>
                    </a:lnTo>
                    <a:lnTo>
                      <a:pt x="84" y="12"/>
                    </a:lnTo>
                    <a:lnTo>
                      <a:pt x="102" y="6"/>
                    </a:lnTo>
                    <a:lnTo>
                      <a:pt x="114" y="6"/>
                    </a:lnTo>
                    <a:lnTo>
                      <a:pt x="126" y="6"/>
                    </a:lnTo>
                    <a:lnTo>
                      <a:pt x="132" y="6"/>
                    </a:lnTo>
                    <a:lnTo>
                      <a:pt x="144" y="0"/>
                    </a:lnTo>
                    <a:lnTo>
                      <a:pt x="150" y="0"/>
                    </a:lnTo>
                    <a:lnTo>
                      <a:pt x="156" y="0"/>
                    </a:lnTo>
                    <a:lnTo>
                      <a:pt x="162" y="6"/>
                    </a:lnTo>
                    <a:lnTo>
                      <a:pt x="156" y="12"/>
                    </a:lnTo>
                    <a:lnTo>
                      <a:pt x="156" y="18"/>
                    </a:lnTo>
                    <a:lnTo>
                      <a:pt x="156" y="24"/>
                    </a:lnTo>
                    <a:lnTo>
                      <a:pt x="156" y="30"/>
                    </a:lnTo>
                    <a:lnTo>
                      <a:pt x="156" y="36"/>
                    </a:lnTo>
                    <a:lnTo>
                      <a:pt x="156" y="42"/>
                    </a:lnTo>
                    <a:lnTo>
                      <a:pt x="162" y="48"/>
                    </a:lnTo>
                    <a:lnTo>
                      <a:pt x="168" y="66"/>
                    </a:lnTo>
                    <a:lnTo>
                      <a:pt x="168" y="78"/>
                    </a:lnTo>
                    <a:lnTo>
                      <a:pt x="174" y="84"/>
                    </a:lnTo>
                    <a:lnTo>
                      <a:pt x="174" y="90"/>
                    </a:lnTo>
                    <a:lnTo>
                      <a:pt x="174" y="108"/>
                    </a:lnTo>
                    <a:lnTo>
                      <a:pt x="180" y="108"/>
                    </a:lnTo>
                    <a:lnTo>
                      <a:pt x="180" y="120"/>
                    </a:lnTo>
                    <a:lnTo>
                      <a:pt x="180" y="126"/>
                    </a:lnTo>
                    <a:lnTo>
                      <a:pt x="180" y="132"/>
                    </a:lnTo>
                    <a:lnTo>
                      <a:pt x="180" y="138"/>
                    </a:lnTo>
                    <a:lnTo>
                      <a:pt x="186" y="138"/>
                    </a:lnTo>
                    <a:lnTo>
                      <a:pt x="192" y="150"/>
                    </a:lnTo>
                    <a:lnTo>
                      <a:pt x="138" y="180"/>
                    </a:lnTo>
                    <a:lnTo>
                      <a:pt x="108" y="186"/>
                    </a:lnTo>
                    <a:lnTo>
                      <a:pt x="108" y="174"/>
                    </a:lnTo>
                    <a:lnTo>
                      <a:pt x="90" y="174"/>
                    </a:lnTo>
                    <a:lnTo>
                      <a:pt x="0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54" name="Freeform 282"/>
              <p:cNvSpPr>
                <a:spLocks/>
              </p:cNvSpPr>
              <p:nvPr/>
            </p:nvSpPr>
            <p:spPr bwMode="auto">
              <a:xfrm>
                <a:off x="1188" y="1062"/>
                <a:ext cx="192" cy="186"/>
              </a:xfrm>
              <a:custGeom>
                <a:avLst/>
                <a:gdLst>
                  <a:gd name="T0" fmla="*/ 0 w 192"/>
                  <a:gd name="T1" fmla="*/ 108 h 186"/>
                  <a:gd name="T2" fmla="*/ 0 w 192"/>
                  <a:gd name="T3" fmla="*/ 96 h 186"/>
                  <a:gd name="T4" fmla="*/ 6 w 192"/>
                  <a:gd name="T5" fmla="*/ 90 h 186"/>
                  <a:gd name="T6" fmla="*/ 12 w 192"/>
                  <a:gd name="T7" fmla="*/ 90 h 186"/>
                  <a:gd name="T8" fmla="*/ 24 w 192"/>
                  <a:gd name="T9" fmla="*/ 84 h 186"/>
                  <a:gd name="T10" fmla="*/ 60 w 192"/>
                  <a:gd name="T11" fmla="*/ 72 h 186"/>
                  <a:gd name="T12" fmla="*/ 60 w 192"/>
                  <a:gd name="T13" fmla="*/ 60 h 186"/>
                  <a:gd name="T14" fmla="*/ 66 w 192"/>
                  <a:gd name="T15" fmla="*/ 60 h 186"/>
                  <a:gd name="T16" fmla="*/ 66 w 192"/>
                  <a:gd name="T17" fmla="*/ 54 h 186"/>
                  <a:gd name="T18" fmla="*/ 72 w 192"/>
                  <a:gd name="T19" fmla="*/ 54 h 186"/>
                  <a:gd name="T20" fmla="*/ 78 w 192"/>
                  <a:gd name="T21" fmla="*/ 54 h 186"/>
                  <a:gd name="T22" fmla="*/ 72 w 192"/>
                  <a:gd name="T23" fmla="*/ 48 h 186"/>
                  <a:gd name="T24" fmla="*/ 72 w 192"/>
                  <a:gd name="T25" fmla="*/ 42 h 186"/>
                  <a:gd name="T26" fmla="*/ 72 w 192"/>
                  <a:gd name="T27" fmla="*/ 30 h 186"/>
                  <a:gd name="T28" fmla="*/ 66 w 192"/>
                  <a:gd name="T29" fmla="*/ 30 h 186"/>
                  <a:gd name="T30" fmla="*/ 66 w 192"/>
                  <a:gd name="T31" fmla="*/ 24 h 186"/>
                  <a:gd name="T32" fmla="*/ 60 w 192"/>
                  <a:gd name="T33" fmla="*/ 24 h 186"/>
                  <a:gd name="T34" fmla="*/ 66 w 192"/>
                  <a:gd name="T35" fmla="*/ 24 h 186"/>
                  <a:gd name="T36" fmla="*/ 66 w 192"/>
                  <a:gd name="T37" fmla="*/ 18 h 186"/>
                  <a:gd name="T38" fmla="*/ 84 w 192"/>
                  <a:gd name="T39" fmla="*/ 12 h 186"/>
                  <a:gd name="T40" fmla="*/ 102 w 192"/>
                  <a:gd name="T41" fmla="*/ 6 h 186"/>
                  <a:gd name="T42" fmla="*/ 114 w 192"/>
                  <a:gd name="T43" fmla="*/ 6 h 186"/>
                  <a:gd name="T44" fmla="*/ 126 w 192"/>
                  <a:gd name="T45" fmla="*/ 6 h 186"/>
                  <a:gd name="T46" fmla="*/ 132 w 192"/>
                  <a:gd name="T47" fmla="*/ 6 h 186"/>
                  <a:gd name="T48" fmla="*/ 144 w 192"/>
                  <a:gd name="T49" fmla="*/ 0 h 186"/>
                  <a:gd name="T50" fmla="*/ 150 w 192"/>
                  <a:gd name="T51" fmla="*/ 0 h 186"/>
                  <a:gd name="T52" fmla="*/ 156 w 192"/>
                  <a:gd name="T53" fmla="*/ 0 h 186"/>
                  <a:gd name="T54" fmla="*/ 162 w 192"/>
                  <a:gd name="T55" fmla="*/ 6 h 186"/>
                  <a:gd name="T56" fmla="*/ 156 w 192"/>
                  <a:gd name="T57" fmla="*/ 12 h 186"/>
                  <a:gd name="T58" fmla="*/ 156 w 192"/>
                  <a:gd name="T59" fmla="*/ 18 h 186"/>
                  <a:gd name="T60" fmla="*/ 156 w 192"/>
                  <a:gd name="T61" fmla="*/ 24 h 186"/>
                  <a:gd name="T62" fmla="*/ 156 w 192"/>
                  <a:gd name="T63" fmla="*/ 30 h 186"/>
                  <a:gd name="T64" fmla="*/ 156 w 192"/>
                  <a:gd name="T65" fmla="*/ 36 h 186"/>
                  <a:gd name="T66" fmla="*/ 156 w 192"/>
                  <a:gd name="T67" fmla="*/ 42 h 186"/>
                  <a:gd name="T68" fmla="*/ 162 w 192"/>
                  <a:gd name="T69" fmla="*/ 48 h 186"/>
                  <a:gd name="T70" fmla="*/ 168 w 192"/>
                  <a:gd name="T71" fmla="*/ 66 h 186"/>
                  <a:gd name="T72" fmla="*/ 168 w 192"/>
                  <a:gd name="T73" fmla="*/ 78 h 186"/>
                  <a:gd name="T74" fmla="*/ 174 w 192"/>
                  <a:gd name="T75" fmla="*/ 84 h 186"/>
                  <a:gd name="T76" fmla="*/ 174 w 192"/>
                  <a:gd name="T77" fmla="*/ 90 h 186"/>
                  <a:gd name="T78" fmla="*/ 174 w 192"/>
                  <a:gd name="T79" fmla="*/ 108 h 186"/>
                  <a:gd name="T80" fmla="*/ 180 w 192"/>
                  <a:gd name="T81" fmla="*/ 108 h 186"/>
                  <a:gd name="T82" fmla="*/ 180 w 192"/>
                  <a:gd name="T83" fmla="*/ 120 h 186"/>
                  <a:gd name="T84" fmla="*/ 180 w 192"/>
                  <a:gd name="T85" fmla="*/ 126 h 186"/>
                  <a:gd name="T86" fmla="*/ 180 w 192"/>
                  <a:gd name="T87" fmla="*/ 132 h 186"/>
                  <a:gd name="T88" fmla="*/ 180 w 192"/>
                  <a:gd name="T89" fmla="*/ 138 h 186"/>
                  <a:gd name="T90" fmla="*/ 186 w 192"/>
                  <a:gd name="T91" fmla="*/ 138 h 186"/>
                  <a:gd name="T92" fmla="*/ 192 w 192"/>
                  <a:gd name="T93" fmla="*/ 150 h 186"/>
                  <a:gd name="T94" fmla="*/ 138 w 192"/>
                  <a:gd name="T95" fmla="*/ 180 h 186"/>
                  <a:gd name="T96" fmla="*/ 108 w 192"/>
                  <a:gd name="T97" fmla="*/ 186 h 186"/>
                  <a:gd name="T98" fmla="*/ 108 w 192"/>
                  <a:gd name="T99" fmla="*/ 174 h 186"/>
                  <a:gd name="T100" fmla="*/ 90 w 192"/>
                  <a:gd name="T101" fmla="*/ 174 h 186"/>
                  <a:gd name="T102" fmla="*/ 0 w 192"/>
                  <a:gd name="T103" fmla="*/ 108 h 18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92" h="186">
                    <a:moveTo>
                      <a:pt x="0" y="108"/>
                    </a:moveTo>
                    <a:lnTo>
                      <a:pt x="0" y="96"/>
                    </a:lnTo>
                    <a:lnTo>
                      <a:pt x="6" y="90"/>
                    </a:lnTo>
                    <a:lnTo>
                      <a:pt x="12" y="90"/>
                    </a:lnTo>
                    <a:lnTo>
                      <a:pt x="24" y="84"/>
                    </a:lnTo>
                    <a:lnTo>
                      <a:pt x="60" y="72"/>
                    </a:lnTo>
                    <a:lnTo>
                      <a:pt x="60" y="60"/>
                    </a:lnTo>
                    <a:lnTo>
                      <a:pt x="66" y="60"/>
                    </a:lnTo>
                    <a:lnTo>
                      <a:pt x="66" y="54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72" y="48"/>
                    </a:lnTo>
                    <a:lnTo>
                      <a:pt x="72" y="42"/>
                    </a:lnTo>
                    <a:lnTo>
                      <a:pt x="72" y="30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0" y="24"/>
                    </a:lnTo>
                    <a:lnTo>
                      <a:pt x="66" y="24"/>
                    </a:lnTo>
                    <a:lnTo>
                      <a:pt x="66" y="18"/>
                    </a:lnTo>
                    <a:lnTo>
                      <a:pt x="84" y="12"/>
                    </a:lnTo>
                    <a:lnTo>
                      <a:pt x="102" y="6"/>
                    </a:lnTo>
                    <a:lnTo>
                      <a:pt x="114" y="6"/>
                    </a:lnTo>
                    <a:lnTo>
                      <a:pt x="126" y="6"/>
                    </a:lnTo>
                    <a:lnTo>
                      <a:pt x="132" y="6"/>
                    </a:lnTo>
                    <a:lnTo>
                      <a:pt x="144" y="0"/>
                    </a:lnTo>
                    <a:lnTo>
                      <a:pt x="150" y="0"/>
                    </a:lnTo>
                    <a:lnTo>
                      <a:pt x="156" y="0"/>
                    </a:lnTo>
                    <a:lnTo>
                      <a:pt x="162" y="6"/>
                    </a:lnTo>
                    <a:lnTo>
                      <a:pt x="156" y="12"/>
                    </a:lnTo>
                    <a:lnTo>
                      <a:pt x="156" y="18"/>
                    </a:lnTo>
                    <a:lnTo>
                      <a:pt x="156" y="24"/>
                    </a:lnTo>
                    <a:lnTo>
                      <a:pt x="156" y="30"/>
                    </a:lnTo>
                    <a:lnTo>
                      <a:pt x="156" y="36"/>
                    </a:lnTo>
                    <a:lnTo>
                      <a:pt x="156" y="42"/>
                    </a:lnTo>
                    <a:lnTo>
                      <a:pt x="162" y="48"/>
                    </a:lnTo>
                    <a:lnTo>
                      <a:pt x="168" y="66"/>
                    </a:lnTo>
                    <a:lnTo>
                      <a:pt x="168" y="78"/>
                    </a:lnTo>
                    <a:lnTo>
                      <a:pt x="174" y="84"/>
                    </a:lnTo>
                    <a:lnTo>
                      <a:pt x="174" y="90"/>
                    </a:lnTo>
                    <a:lnTo>
                      <a:pt x="174" y="108"/>
                    </a:lnTo>
                    <a:lnTo>
                      <a:pt x="180" y="108"/>
                    </a:lnTo>
                    <a:lnTo>
                      <a:pt x="180" y="120"/>
                    </a:lnTo>
                    <a:lnTo>
                      <a:pt x="180" y="126"/>
                    </a:lnTo>
                    <a:lnTo>
                      <a:pt x="180" y="132"/>
                    </a:lnTo>
                    <a:lnTo>
                      <a:pt x="180" y="138"/>
                    </a:lnTo>
                    <a:lnTo>
                      <a:pt x="186" y="138"/>
                    </a:lnTo>
                    <a:lnTo>
                      <a:pt x="192" y="150"/>
                    </a:lnTo>
                    <a:lnTo>
                      <a:pt x="138" y="180"/>
                    </a:lnTo>
                    <a:lnTo>
                      <a:pt x="108" y="186"/>
                    </a:lnTo>
                    <a:lnTo>
                      <a:pt x="108" y="174"/>
                    </a:lnTo>
                    <a:lnTo>
                      <a:pt x="90" y="174"/>
                    </a:lnTo>
                    <a:lnTo>
                      <a:pt x="0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20" name="Group 283"/>
            <p:cNvGrpSpPr>
              <a:grpSpLocks/>
            </p:cNvGrpSpPr>
            <p:nvPr/>
          </p:nvGrpSpPr>
          <p:grpSpPr bwMode="auto">
            <a:xfrm>
              <a:off x="487173" y="2773972"/>
              <a:ext cx="169135" cy="135528"/>
              <a:chOff x="1104" y="1164"/>
              <a:chExt cx="84" cy="78"/>
            </a:xfrm>
            <a:solidFill>
              <a:srgbClr val="0070C0">
                <a:alpha val="27059"/>
              </a:srgbClr>
            </a:solidFill>
          </p:grpSpPr>
          <p:sp>
            <p:nvSpPr>
              <p:cNvPr id="1751" name="Freeform 284"/>
              <p:cNvSpPr>
                <a:spLocks/>
              </p:cNvSpPr>
              <p:nvPr/>
            </p:nvSpPr>
            <p:spPr bwMode="auto">
              <a:xfrm>
                <a:off x="1104" y="1164"/>
                <a:ext cx="84" cy="78"/>
              </a:xfrm>
              <a:custGeom>
                <a:avLst/>
                <a:gdLst>
                  <a:gd name="T0" fmla="*/ 0 w 84"/>
                  <a:gd name="T1" fmla="*/ 72 h 78"/>
                  <a:gd name="T2" fmla="*/ 0 w 84"/>
                  <a:gd name="T3" fmla="*/ 66 h 78"/>
                  <a:gd name="T4" fmla="*/ 0 w 84"/>
                  <a:gd name="T5" fmla="*/ 66 h 78"/>
                  <a:gd name="T6" fmla="*/ 6 w 84"/>
                  <a:gd name="T7" fmla="*/ 60 h 78"/>
                  <a:gd name="T8" fmla="*/ 12 w 84"/>
                  <a:gd name="T9" fmla="*/ 54 h 78"/>
                  <a:gd name="T10" fmla="*/ 18 w 84"/>
                  <a:gd name="T11" fmla="*/ 48 h 78"/>
                  <a:gd name="T12" fmla="*/ 24 w 84"/>
                  <a:gd name="T13" fmla="*/ 48 h 78"/>
                  <a:gd name="T14" fmla="*/ 24 w 84"/>
                  <a:gd name="T15" fmla="*/ 48 h 78"/>
                  <a:gd name="T16" fmla="*/ 18 w 84"/>
                  <a:gd name="T17" fmla="*/ 42 h 78"/>
                  <a:gd name="T18" fmla="*/ 18 w 84"/>
                  <a:gd name="T19" fmla="*/ 36 h 78"/>
                  <a:gd name="T20" fmla="*/ 24 w 84"/>
                  <a:gd name="T21" fmla="*/ 30 h 78"/>
                  <a:gd name="T22" fmla="*/ 30 w 84"/>
                  <a:gd name="T23" fmla="*/ 24 h 78"/>
                  <a:gd name="T24" fmla="*/ 36 w 84"/>
                  <a:gd name="T25" fmla="*/ 18 h 78"/>
                  <a:gd name="T26" fmla="*/ 36 w 84"/>
                  <a:gd name="T27" fmla="*/ 12 h 78"/>
                  <a:gd name="T28" fmla="*/ 42 w 84"/>
                  <a:gd name="T29" fmla="*/ 12 h 78"/>
                  <a:gd name="T30" fmla="*/ 42 w 84"/>
                  <a:gd name="T31" fmla="*/ 0 h 78"/>
                  <a:gd name="T32" fmla="*/ 48 w 84"/>
                  <a:gd name="T33" fmla="*/ 0 h 78"/>
                  <a:gd name="T34" fmla="*/ 84 w 84"/>
                  <a:gd name="T35" fmla="*/ 6 h 78"/>
                  <a:gd name="T36" fmla="*/ 84 w 84"/>
                  <a:gd name="T37" fmla="*/ 18 h 78"/>
                  <a:gd name="T38" fmla="*/ 66 w 84"/>
                  <a:gd name="T39" fmla="*/ 18 h 78"/>
                  <a:gd name="T40" fmla="*/ 66 w 84"/>
                  <a:gd name="T41" fmla="*/ 18 h 78"/>
                  <a:gd name="T42" fmla="*/ 60 w 84"/>
                  <a:gd name="T43" fmla="*/ 18 h 78"/>
                  <a:gd name="T44" fmla="*/ 60 w 84"/>
                  <a:gd name="T45" fmla="*/ 24 h 78"/>
                  <a:gd name="T46" fmla="*/ 60 w 84"/>
                  <a:gd name="T47" fmla="*/ 42 h 78"/>
                  <a:gd name="T48" fmla="*/ 60 w 84"/>
                  <a:gd name="T49" fmla="*/ 48 h 78"/>
                  <a:gd name="T50" fmla="*/ 60 w 84"/>
                  <a:gd name="T51" fmla="*/ 48 h 78"/>
                  <a:gd name="T52" fmla="*/ 48 w 84"/>
                  <a:gd name="T53" fmla="*/ 48 h 78"/>
                  <a:gd name="T54" fmla="*/ 48 w 84"/>
                  <a:gd name="T55" fmla="*/ 48 h 78"/>
                  <a:gd name="T56" fmla="*/ 48 w 84"/>
                  <a:gd name="T57" fmla="*/ 54 h 78"/>
                  <a:gd name="T58" fmla="*/ 42 w 84"/>
                  <a:gd name="T59" fmla="*/ 60 h 78"/>
                  <a:gd name="T60" fmla="*/ 42 w 84"/>
                  <a:gd name="T61" fmla="*/ 78 h 78"/>
                  <a:gd name="T62" fmla="*/ 0 w 84"/>
                  <a:gd name="T63" fmla="*/ 72 h 7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84" h="78">
                    <a:moveTo>
                      <a:pt x="0" y="72"/>
                    </a:moveTo>
                    <a:lnTo>
                      <a:pt x="0" y="66"/>
                    </a:lnTo>
                    <a:lnTo>
                      <a:pt x="6" y="60"/>
                    </a:lnTo>
                    <a:lnTo>
                      <a:pt x="12" y="54"/>
                    </a:lnTo>
                    <a:lnTo>
                      <a:pt x="18" y="48"/>
                    </a:lnTo>
                    <a:lnTo>
                      <a:pt x="24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24" y="30"/>
                    </a:lnTo>
                    <a:lnTo>
                      <a:pt x="30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84" y="6"/>
                    </a:lnTo>
                    <a:lnTo>
                      <a:pt x="84" y="18"/>
                    </a:lnTo>
                    <a:lnTo>
                      <a:pt x="66" y="18"/>
                    </a:lnTo>
                    <a:lnTo>
                      <a:pt x="60" y="18"/>
                    </a:lnTo>
                    <a:lnTo>
                      <a:pt x="60" y="24"/>
                    </a:lnTo>
                    <a:lnTo>
                      <a:pt x="60" y="42"/>
                    </a:lnTo>
                    <a:lnTo>
                      <a:pt x="60" y="48"/>
                    </a:lnTo>
                    <a:lnTo>
                      <a:pt x="48" y="48"/>
                    </a:lnTo>
                    <a:lnTo>
                      <a:pt x="48" y="54"/>
                    </a:lnTo>
                    <a:lnTo>
                      <a:pt x="42" y="60"/>
                    </a:lnTo>
                    <a:lnTo>
                      <a:pt x="42" y="78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52" name="Freeform 285"/>
              <p:cNvSpPr>
                <a:spLocks/>
              </p:cNvSpPr>
              <p:nvPr/>
            </p:nvSpPr>
            <p:spPr bwMode="auto">
              <a:xfrm>
                <a:off x="1104" y="1164"/>
                <a:ext cx="84" cy="78"/>
              </a:xfrm>
              <a:custGeom>
                <a:avLst/>
                <a:gdLst>
                  <a:gd name="T0" fmla="*/ 0 w 84"/>
                  <a:gd name="T1" fmla="*/ 72 h 78"/>
                  <a:gd name="T2" fmla="*/ 0 w 84"/>
                  <a:gd name="T3" fmla="*/ 66 h 78"/>
                  <a:gd name="T4" fmla="*/ 6 w 84"/>
                  <a:gd name="T5" fmla="*/ 60 h 78"/>
                  <a:gd name="T6" fmla="*/ 12 w 84"/>
                  <a:gd name="T7" fmla="*/ 54 h 78"/>
                  <a:gd name="T8" fmla="*/ 18 w 84"/>
                  <a:gd name="T9" fmla="*/ 48 h 78"/>
                  <a:gd name="T10" fmla="*/ 24 w 84"/>
                  <a:gd name="T11" fmla="*/ 48 h 78"/>
                  <a:gd name="T12" fmla="*/ 18 w 84"/>
                  <a:gd name="T13" fmla="*/ 42 h 78"/>
                  <a:gd name="T14" fmla="*/ 18 w 84"/>
                  <a:gd name="T15" fmla="*/ 36 h 78"/>
                  <a:gd name="T16" fmla="*/ 24 w 84"/>
                  <a:gd name="T17" fmla="*/ 30 h 78"/>
                  <a:gd name="T18" fmla="*/ 30 w 84"/>
                  <a:gd name="T19" fmla="*/ 24 h 78"/>
                  <a:gd name="T20" fmla="*/ 36 w 84"/>
                  <a:gd name="T21" fmla="*/ 18 h 78"/>
                  <a:gd name="T22" fmla="*/ 36 w 84"/>
                  <a:gd name="T23" fmla="*/ 12 h 78"/>
                  <a:gd name="T24" fmla="*/ 42 w 84"/>
                  <a:gd name="T25" fmla="*/ 12 h 78"/>
                  <a:gd name="T26" fmla="*/ 42 w 84"/>
                  <a:gd name="T27" fmla="*/ 0 h 78"/>
                  <a:gd name="T28" fmla="*/ 48 w 84"/>
                  <a:gd name="T29" fmla="*/ 0 h 78"/>
                  <a:gd name="T30" fmla="*/ 84 w 84"/>
                  <a:gd name="T31" fmla="*/ 6 h 78"/>
                  <a:gd name="T32" fmla="*/ 84 w 84"/>
                  <a:gd name="T33" fmla="*/ 18 h 78"/>
                  <a:gd name="T34" fmla="*/ 66 w 84"/>
                  <a:gd name="T35" fmla="*/ 18 h 78"/>
                  <a:gd name="T36" fmla="*/ 60 w 84"/>
                  <a:gd name="T37" fmla="*/ 18 h 78"/>
                  <a:gd name="T38" fmla="*/ 60 w 84"/>
                  <a:gd name="T39" fmla="*/ 24 h 78"/>
                  <a:gd name="T40" fmla="*/ 60 w 84"/>
                  <a:gd name="T41" fmla="*/ 42 h 78"/>
                  <a:gd name="T42" fmla="*/ 60 w 84"/>
                  <a:gd name="T43" fmla="*/ 48 h 78"/>
                  <a:gd name="T44" fmla="*/ 48 w 84"/>
                  <a:gd name="T45" fmla="*/ 48 h 78"/>
                  <a:gd name="T46" fmla="*/ 48 w 84"/>
                  <a:gd name="T47" fmla="*/ 54 h 78"/>
                  <a:gd name="T48" fmla="*/ 42 w 84"/>
                  <a:gd name="T49" fmla="*/ 60 h 78"/>
                  <a:gd name="T50" fmla="*/ 42 w 84"/>
                  <a:gd name="T51" fmla="*/ 78 h 78"/>
                  <a:gd name="T52" fmla="*/ 0 w 84"/>
                  <a:gd name="T53" fmla="*/ 72 h 7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84" h="78">
                    <a:moveTo>
                      <a:pt x="0" y="72"/>
                    </a:moveTo>
                    <a:lnTo>
                      <a:pt x="0" y="66"/>
                    </a:lnTo>
                    <a:lnTo>
                      <a:pt x="6" y="60"/>
                    </a:lnTo>
                    <a:lnTo>
                      <a:pt x="12" y="54"/>
                    </a:lnTo>
                    <a:lnTo>
                      <a:pt x="18" y="48"/>
                    </a:lnTo>
                    <a:lnTo>
                      <a:pt x="24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24" y="30"/>
                    </a:lnTo>
                    <a:lnTo>
                      <a:pt x="30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84" y="6"/>
                    </a:lnTo>
                    <a:lnTo>
                      <a:pt x="84" y="18"/>
                    </a:lnTo>
                    <a:lnTo>
                      <a:pt x="66" y="18"/>
                    </a:lnTo>
                    <a:lnTo>
                      <a:pt x="60" y="18"/>
                    </a:lnTo>
                    <a:lnTo>
                      <a:pt x="60" y="24"/>
                    </a:lnTo>
                    <a:lnTo>
                      <a:pt x="60" y="42"/>
                    </a:lnTo>
                    <a:lnTo>
                      <a:pt x="60" y="48"/>
                    </a:lnTo>
                    <a:lnTo>
                      <a:pt x="48" y="48"/>
                    </a:lnTo>
                    <a:lnTo>
                      <a:pt x="48" y="54"/>
                    </a:lnTo>
                    <a:lnTo>
                      <a:pt x="42" y="60"/>
                    </a:lnTo>
                    <a:lnTo>
                      <a:pt x="42" y="78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21" name="Group 286"/>
            <p:cNvGrpSpPr>
              <a:grpSpLocks/>
            </p:cNvGrpSpPr>
            <p:nvPr/>
          </p:nvGrpSpPr>
          <p:grpSpPr bwMode="auto">
            <a:xfrm>
              <a:off x="473719" y="2786109"/>
              <a:ext cx="244092" cy="236669"/>
              <a:chOff x="1098" y="1170"/>
              <a:chExt cx="120" cy="138"/>
            </a:xfrm>
            <a:solidFill>
              <a:srgbClr val="0070C0">
                <a:alpha val="27059"/>
              </a:srgbClr>
            </a:solidFill>
          </p:grpSpPr>
          <p:sp>
            <p:nvSpPr>
              <p:cNvPr id="1749" name="Freeform 287"/>
              <p:cNvSpPr>
                <a:spLocks/>
              </p:cNvSpPr>
              <p:nvPr/>
            </p:nvSpPr>
            <p:spPr bwMode="auto">
              <a:xfrm>
                <a:off x="1098" y="1170"/>
                <a:ext cx="120" cy="138"/>
              </a:xfrm>
              <a:custGeom>
                <a:avLst/>
                <a:gdLst>
                  <a:gd name="T0" fmla="*/ 0 w 120"/>
                  <a:gd name="T1" fmla="*/ 126 h 138"/>
                  <a:gd name="T2" fmla="*/ 6 w 120"/>
                  <a:gd name="T3" fmla="*/ 114 h 138"/>
                  <a:gd name="T4" fmla="*/ 12 w 120"/>
                  <a:gd name="T5" fmla="*/ 108 h 138"/>
                  <a:gd name="T6" fmla="*/ 18 w 120"/>
                  <a:gd name="T7" fmla="*/ 102 h 138"/>
                  <a:gd name="T8" fmla="*/ 12 w 120"/>
                  <a:gd name="T9" fmla="*/ 96 h 138"/>
                  <a:gd name="T10" fmla="*/ 12 w 120"/>
                  <a:gd name="T11" fmla="*/ 90 h 138"/>
                  <a:gd name="T12" fmla="*/ 6 w 120"/>
                  <a:gd name="T13" fmla="*/ 84 h 138"/>
                  <a:gd name="T14" fmla="*/ 12 w 120"/>
                  <a:gd name="T15" fmla="*/ 72 h 138"/>
                  <a:gd name="T16" fmla="*/ 6 w 120"/>
                  <a:gd name="T17" fmla="*/ 66 h 138"/>
                  <a:gd name="T18" fmla="*/ 12 w 120"/>
                  <a:gd name="T19" fmla="*/ 66 h 138"/>
                  <a:gd name="T20" fmla="*/ 48 w 120"/>
                  <a:gd name="T21" fmla="*/ 72 h 138"/>
                  <a:gd name="T22" fmla="*/ 48 w 120"/>
                  <a:gd name="T23" fmla="*/ 54 h 138"/>
                  <a:gd name="T24" fmla="*/ 54 w 120"/>
                  <a:gd name="T25" fmla="*/ 48 h 138"/>
                  <a:gd name="T26" fmla="*/ 54 w 120"/>
                  <a:gd name="T27" fmla="*/ 42 h 138"/>
                  <a:gd name="T28" fmla="*/ 54 w 120"/>
                  <a:gd name="T29" fmla="*/ 42 h 138"/>
                  <a:gd name="T30" fmla="*/ 66 w 120"/>
                  <a:gd name="T31" fmla="*/ 42 h 138"/>
                  <a:gd name="T32" fmla="*/ 66 w 120"/>
                  <a:gd name="T33" fmla="*/ 42 h 138"/>
                  <a:gd name="T34" fmla="*/ 66 w 120"/>
                  <a:gd name="T35" fmla="*/ 36 h 138"/>
                  <a:gd name="T36" fmla="*/ 66 w 120"/>
                  <a:gd name="T37" fmla="*/ 18 h 138"/>
                  <a:gd name="T38" fmla="*/ 66 w 120"/>
                  <a:gd name="T39" fmla="*/ 12 h 138"/>
                  <a:gd name="T40" fmla="*/ 72 w 120"/>
                  <a:gd name="T41" fmla="*/ 12 h 138"/>
                  <a:gd name="T42" fmla="*/ 72 w 120"/>
                  <a:gd name="T43" fmla="*/ 12 h 138"/>
                  <a:gd name="T44" fmla="*/ 90 w 120"/>
                  <a:gd name="T45" fmla="*/ 12 h 138"/>
                  <a:gd name="T46" fmla="*/ 90 w 120"/>
                  <a:gd name="T47" fmla="*/ 6 h 138"/>
                  <a:gd name="T48" fmla="*/ 90 w 120"/>
                  <a:gd name="T49" fmla="*/ 0 h 138"/>
                  <a:gd name="T50" fmla="*/ 120 w 120"/>
                  <a:gd name="T51" fmla="*/ 24 h 138"/>
                  <a:gd name="T52" fmla="*/ 108 w 120"/>
                  <a:gd name="T53" fmla="*/ 24 h 138"/>
                  <a:gd name="T54" fmla="*/ 102 w 120"/>
                  <a:gd name="T55" fmla="*/ 24 h 138"/>
                  <a:gd name="T56" fmla="*/ 102 w 120"/>
                  <a:gd name="T57" fmla="*/ 24 h 138"/>
                  <a:gd name="T58" fmla="*/ 108 w 120"/>
                  <a:gd name="T59" fmla="*/ 108 h 138"/>
                  <a:gd name="T60" fmla="*/ 108 w 120"/>
                  <a:gd name="T61" fmla="*/ 108 h 138"/>
                  <a:gd name="T62" fmla="*/ 114 w 120"/>
                  <a:gd name="T63" fmla="*/ 120 h 138"/>
                  <a:gd name="T64" fmla="*/ 108 w 120"/>
                  <a:gd name="T65" fmla="*/ 126 h 138"/>
                  <a:gd name="T66" fmla="*/ 66 w 120"/>
                  <a:gd name="T67" fmla="*/ 120 h 138"/>
                  <a:gd name="T68" fmla="*/ 66 w 120"/>
                  <a:gd name="T69" fmla="*/ 120 h 138"/>
                  <a:gd name="T70" fmla="*/ 60 w 120"/>
                  <a:gd name="T71" fmla="*/ 120 h 138"/>
                  <a:gd name="T72" fmla="*/ 60 w 120"/>
                  <a:gd name="T73" fmla="*/ 120 h 138"/>
                  <a:gd name="T74" fmla="*/ 60 w 120"/>
                  <a:gd name="T75" fmla="*/ 120 h 138"/>
                  <a:gd name="T76" fmla="*/ 60 w 120"/>
                  <a:gd name="T77" fmla="*/ 126 h 138"/>
                  <a:gd name="T78" fmla="*/ 60 w 120"/>
                  <a:gd name="T79" fmla="*/ 132 h 138"/>
                  <a:gd name="T80" fmla="*/ 54 w 120"/>
                  <a:gd name="T81" fmla="*/ 132 h 138"/>
                  <a:gd name="T82" fmla="*/ 54 w 120"/>
                  <a:gd name="T83" fmla="*/ 138 h 138"/>
                  <a:gd name="T84" fmla="*/ 48 w 120"/>
                  <a:gd name="T85" fmla="*/ 138 h 138"/>
                  <a:gd name="T86" fmla="*/ 48 w 120"/>
                  <a:gd name="T87" fmla="*/ 138 h 138"/>
                  <a:gd name="T88" fmla="*/ 48 w 120"/>
                  <a:gd name="T89" fmla="*/ 138 h 138"/>
                  <a:gd name="T90" fmla="*/ 42 w 120"/>
                  <a:gd name="T91" fmla="*/ 132 h 138"/>
                  <a:gd name="T92" fmla="*/ 36 w 120"/>
                  <a:gd name="T93" fmla="*/ 132 h 138"/>
                  <a:gd name="T94" fmla="*/ 36 w 120"/>
                  <a:gd name="T95" fmla="*/ 126 h 138"/>
                  <a:gd name="T96" fmla="*/ 30 w 120"/>
                  <a:gd name="T97" fmla="*/ 120 h 138"/>
                  <a:gd name="T98" fmla="*/ 24 w 120"/>
                  <a:gd name="T99" fmla="*/ 120 h 138"/>
                  <a:gd name="T100" fmla="*/ 18 w 120"/>
                  <a:gd name="T101" fmla="*/ 120 h 138"/>
                  <a:gd name="T102" fmla="*/ 0 w 120"/>
                  <a:gd name="T103" fmla="*/ 126 h 13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20" h="138">
                    <a:moveTo>
                      <a:pt x="0" y="126"/>
                    </a:moveTo>
                    <a:lnTo>
                      <a:pt x="6" y="114"/>
                    </a:lnTo>
                    <a:lnTo>
                      <a:pt x="12" y="108"/>
                    </a:lnTo>
                    <a:lnTo>
                      <a:pt x="18" y="102"/>
                    </a:lnTo>
                    <a:lnTo>
                      <a:pt x="12" y="96"/>
                    </a:lnTo>
                    <a:lnTo>
                      <a:pt x="12" y="90"/>
                    </a:lnTo>
                    <a:lnTo>
                      <a:pt x="6" y="84"/>
                    </a:lnTo>
                    <a:lnTo>
                      <a:pt x="12" y="72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48" y="72"/>
                    </a:lnTo>
                    <a:lnTo>
                      <a:pt x="48" y="54"/>
                    </a:lnTo>
                    <a:lnTo>
                      <a:pt x="54" y="48"/>
                    </a:lnTo>
                    <a:lnTo>
                      <a:pt x="54" y="42"/>
                    </a:lnTo>
                    <a:lnTo>
                      <a:pt x="66" y="42"/>
                    </a:lnTo>
                    <a:lnTo>
                      <a:pt x="66" y="36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72" y="12"/>
                    </a:lnTo>
                    <a:lnTo>
                      <a:pt x="90" y="12"/>
                    </a:lnTo>
                    <a:lnTo>
                      <a:pt x="90" y="6"/>
                    </a:lnTo>
                    <a:lnTo>
                      <a:pt x="90" y="0"/>
                    </a:lnTo>
                    <a:lnTo>
                      <a:pt x="120" y="24"/>
                    </a:lnTo>
                    <a:lnTo>
                      <a:pt x="108" y="24"/>
                    </a:lnTo>
                    <a:lnTo>
                      <a:pt x="102" y="24"/>
                    </a:lnTo>
                    <a:lnTo>
                      <a:pt x="108" y="108"/>
                    </a:lnTo>
                    <a:lnTo>
                      <a:pt x="114" y="120"/>
                    </a:lnTo>
                    <a:lnTo>
                      <a:pt x="108" y="126"/>
                    </a:lnTo>
                    <a:lnTo>
                      <a:pt x="66" y="120"/>
                    </a:lnTo>
                    <a:lnTo>
                      <a:pt x="60" y="120"/>
                    </a:lnTo>
                    <a:lnTo>
                      <a:pt x="60" y="126"/>
                    </a:lnTo>
                    <a:lnTo>
                      <a:pt x="60" y="132"/>
                    </a:lnTo>
                    <a:lnTo>
                      <a:pt x="54" y="132"/>
                    </a:lnTo>
                    <a:lnTo>
                      <a:pt x="54" y="138"/>
                    </a:lnTo>
                    <a:lnTo>
                      <a:pt x="48" y="138"/>
                    </a:lnTo>
                    <a:lnTo>
                      <a:pt x="42" y="132"/>
                    </a:lnTo>
                    <a:lnTo>
                      <a:pt x="36" y="132"/>
                    </a:lnTo>
                    <a:lnTo>
                      <a:pt x="36" y="126"/>
                    </a:lnTo>
                    <a:lnTo>
                      <a:pt x="30" y="120"/>
                    </a:lnTo>
                    <a:lnTo>
                      <a:pt x="24" y="120"/>
                    </a:lnTo>
                    <a:lnTo>
                      <a:pt x="18" y="120"/>
                    </a:lnTo>
                    <a:lnTo>
                      <a:pt x="0" y="12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50" name="Freeform 288"/>
              <p:cNvSpPr>
                <a:spLocks/>
              </p:cNvSpPr>
              <p:nvPr/>
            </p:nvSpPr>
            <p:spPr bwMode="auto">
              <a:xfrm>
                <a:off x="1098" y="1170"/>
                <a:ext cx="120" cy="138"/>
              </a:xfrm>
              <a:custGeom>
                <a:avLst/>
                <a:gdLst>
                  <a:gd name="T0" fmla="*/ 0 w 120"/>
                  <a:gd name="T1" fmla="*/ 126 h 138"/>
                  <a:gd name="T2" fmla="*/ 6 w 120"/>
                  <a:gd name="T3" fmla="*/ 114 h 138"/>
                  <a:gd name="T4" fmla="*/ 12 w 120"/>
                  <a:gd name="T5" fmla="*/ 108 h 138"/>
                  <a:gd name="T6" fmla="*/ 18 w 120"/>
                  <a:gd name="T7" fmla="*/ 102 h 138"/>
                  <a:gd name="T8" fmla="*/ 12 w 120"/>
                  <a:gd name="T9" fmla="*/ 96 h 138"/>
                  <a:gd name="T10" fmla="*/ 12 w 120"/>
                  <a:gd name="T11" fmla="*/ 90 h 138"/>
                  <a:gd name="T12" fmla="*/ 6 w 120"/>
                  <a:gd name="T13" fmla="*/ 84 h 138"/>
                  <a:gd name="T14" fmla="*/ 12 w 120"/>
                  <a:gd name="T15" fmla="*/ 72 h 138"/>
                  <a:gd name="T16" fmla="*/ 6 w 120"/>
                  <a:gd name="T17" fmla="*/ 66 h 138"/>
                  <a:gd name="T18" fmla="*/ 12 w 120"/>
                  <a:gd name="T19" fmla="*/ 66 h 138"/>
                  <a:gd name="T20" fmla="*/ 48 w 120"/>
                  <a:gd name="T21" fmla="*/ 72 h 138"/>
                  <a:gd name="T22" fmla="*/ 48 w 120"/>
                  <a:gd name="T23" fmla="*/ 54 h 138"/>
                  <a:gd name="T24" fmla="*/ 54 w 120"/>
                  <a:gd name="T25" fmla="*/ 48 h 138"/>
                  <a:gd name="T26" fmla="*/ 54 w 120"/>
                  <a:gd name="T27" fmla="*/ 42 h 138"/>
                  <a:gd name="T28" fmla="*/ 66 w 120"/>
                  <a:gd name="T29" fmla="*/ 42 h 138"/>
                  <a:gd name="T30" fmla="*/ 66 w 120"/>
                  <a:gd name="T31" fmla="*/ 36 h 138"/>
                  <a:gd name="T32" fmla="*/ 66 w 120"/>
                  <a:gd name="T33" fmla="*/ 18 h 138"/>
                  <a:gd name="T34" fmla="*/ 66 w 120"/>
                  <a:gd name="T35" fmla="*/ 12 h 138"/>
                  <a:gd name="T36" fmla="*/ 72 w 120"/>
                  <a:gd name="T37" fmla="*/ 12 h 138"/>
                  <a:gd name="T38" fmla="*/ 90 w 120"/>
                  <a:gd name="T39" fmla="*/ 12 h 138"/>
                  <a:gd name="T40" fmla="*/ 90 w 120"/>
                  <a:gd name="T41" fmla="*/ 6 h 138"/>
                  <a:gd name="T42" fmla="*/ 90 w 120"/>
                  <a:gd name="T43" fmla="*/ 0 h 138"/>
                  <a:gd name="T44" fmla="*/ 120 w 120"/>
                  <a:gd name="T45" fmla="*/ 24 h 138"/>
                  <a:gd name="T46" fmla="*/ 108 w 120"/>
                  <a:gd name="T47" fmla="*/ 24 h 138"/>
                  <a:gd name="T48" fmla="*/ 102 w 120"/>
                  <a:gd name="T49" fmla="*/ 24 h 138"/>
                  <a:gd name="T50" fmla="*/ 108 w 120"/>
                  <a:gd name="T51" fmla="*/ 108 h 138"/>
                  <a:gd name="T52" fmla="*/ 114 w 120"/>
                  <a:gd name="T53" fmla="*/ 120 h 138"/>
                  <a:gd name="T54" fmla="*/ 108 w 120"/>
                  <a:gd name="T55" fmla="*/ 126 h 138"/>
                  <a:gd name="T56" fmla="*/ 66 w 120"/>
                  <a:gd name="T57" fmla="*/ 120 h 138"/>
                  <a:gd name="T58" fmla="*/ 60 w 120"/>
                  <a:gd name="T59" fmla="*/ 120 h 138"/>
                  <a:gd name="T60" fmla="*/ 60 w 120"/>
                  <a:gd name="T61" fmla="*/ 126 h 138"/>
                  <a:gd name="T62" fmla="*/ 60 w 120"/>
                  <a:gd name="T63" fmla="*/ 132 h 138"/>
                  <a:gd name="T64" fmla="*/ 54 w 120"/>
                  <a:gd name="T65" fmla="*/ 132 h 138"/>
                  <a:gd name="T66" fmla="*/ 54 w 120"/>
                  <a:gd name="T67" fmla="*/ 138 h 138"/>
                  <a:gd name="T68" fmla="*/ 48 w 120"/>
                  <a:gd name="T69" fmla="*/ 138 h 138"/>
                  <a:gd name="T70" fmla="*/ 42 w 120"/>
                  <a:gd name="T71" fmla="*/ 132 h 138"/>
                  <a:gd name="T72" fmla="*/ 36 w 120"/>
                  <a:gd name="T73" fmla="*/ 132 h 138"/>
                  <a:gd name="T74" fmla="*/ 36 w 120"/>
                  <a:gd name="T75" fmla="*/ 126 h 138"/>
                  <a:gd name="T76" fmla="*/ 30 w 120"/>
                  <a:gd name="T77" fmla="*/ 120 h 138"/>
                  <a:gd name="T78" fmla="*/ 24 w 120"/>
                  <a:gd name="T79" fmla="*/ 120 h 138"/>
                  <a:gd name="T80" fmla="*/ 18 w 120"/>
                  <a:gd name="T81" fmla="*/ 120 h 138"/>
                  <a:gd name="T82" fmla="*/ 0 w 120"/>
                  <a:gd name="T83" fmla="*/ 126 h 13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20" h="138">
                    <a:moveTo>
                      <a:pt x="0" y="126"/>
                    </a:moveTo>
                    <a:lnTo>
                      <a:pt x="6" y="114"/>
                    </a:lnTo>
                    <a:lnTo>
                      <a:pt x="12" y="108"/>
                    </a:lnTo>
                    <a:lnTo>
                      <a:pt x="18" y="102"/>
                    </a:lnTo>
                    <a:lnTo>
                      <a:pt x="12" y="96"/>
                    </a:lnTo>
                    <a:lnTo>
                      <a:pt x="12" y="90"/>
                    </a:lnTo>
                    <a:lnTo>
                      <a:pt x="6" y="84"/>
                    </a:lnTo>
                    <a:lnTo>
                      <a:pt x="12" y="72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48" y="72"/>
                    </a:lnTo>
                    <a:lnTo>
                      <a:pt x="48" y="54"/>
                    </a:lnTo>
                    <a:lnTo>
                      <a:pt x="54" y="48"/>
                    </a:lnTo>
                    <a:lnTo>
                      <a:pt x="54" y="42"/>
                    </a:lnTo>
                    <a:lnTo>
                      <a:pt x="66" y="42"/>
                    </a:lnTo>
                    <a:lnTo>
                      <a:pt x="66" y="36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72" y="12"/>
                    </a:lnTo>
                    <a:lnTo>
                      <a:pt x="90" y="12"/>
                    </a:lnTo>
                    <a:lnTo>
                      <a:pt x="90" y="6"/>
                    </a:lnTo>
                    <a:lnTo>
                      <a:pt x="90" y="0"/>
                    </a:lnTo>
                    <a:lnTo>
                      <a:pt x="120" y="24"/>
                    </a:lnTo>
                    <a:lnTo>
                      <a:pt x="108" y="24"/>
                    </a:lnTo>
                    <a:lnTo>
                      <a:pt x="102" y="24"/>
                    </a:lnTo>
                    <a:lnTo>
                      <a:pt x="108" y="108"/>
                    </a:lnTo>
                    <a:lnTo>
                      <a:pt x="114" y="120"/>
                    </a:lnTo>
                    <a:lnTo>
                      <a:pt x="108" y="126"/>
                    </a:lnTo>
                    <a:lnTo>
                      <a:pt x="66" y="120"/>
                    </a:lnTo>
                    <a:lnTo>
                      <a:pt x="60" y="120"/>
                    </a:lnTo>
                    <a:lnTo>
                      <a:pt x="60" y="126"/>
                    </a:lnTo>
                    <a:lnTo>
                      <a:pt x="60" y="132"/>
                    </a:lnTo>
                    <a:lnTo>
                      <a:pt x="54" y="132"/>
                    </a:lnTo>
                    <a:lnTo>
                      <a:pt x="54" y="138"/>
                    </a:lnTo>
                    <a:lnTo>
                      <a:pt x="48" y="138"/>
                    </a:lnTo>
                    <a:lnTo>
                      <a:pt x="42" y="132"/>
                    </a:lnTo>
                    <a:lnTo>
                      <a:pt x="36" y="132"/>
                    </a:lnTo>
                    <a:lnTo>
                      <a:pt x="36" y="126"/>
                    </a:lnTo>
                    <a:lnTo>
                      <a:pt x="30" y="120"/>
                    </a:lnTo>
                    <a:lnTo>
                      <a:pt x="24" y="120"/>
                    </a:lnTo>
                    <a:lnTo>
                      <a:pt x="18" y="120"/>
                    </a:lnTo>
                    <a:lnTo>
                      <a:pt x="0" y="12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22" name="Group 289"/>
            <p:cNvGrpSpPr>
              <a:grpSpLocks/>
            </p:cNvGrpSpPr>
            <p:nvPr/>
          </p:nvGrpSpPr>
          <p:grpSpPr bwMode="auto">
            <a:xfrm>
              <a:off x="498705" y="3043006"/>
              <a:ext cx="61504" cy="30342"/>
              <a:chOff x="1110" y="1320"/>
              <a:chExt cx="30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1747" name="Freeform 290"/>
              <p:cNvSpPr>
                <a:spLocks/>
              </p:cNvSpPr>
              <p:nvPr/>
            </p:nvSpPr>
            <p:spPr bwMode="auto">
              <a:xfrm>
                <a:off x="1110" y="1320"/>
                <a:ext cx="30" cy="18"/>
              </a:xfrm>
              <a:custGeom>
                <a:avLst/>
                <a:gdLst>
                  <a:gd name="T0" fmla="*/ 18 w 30"/>
                  <a:gd name="T1" fmla="*/ 0 h 18"/>
                  <a:gd name="T2" fmla="*/ 12 w 30"/>
                  <a:gd name="T3" fmla="*/ 0 h 18"/>
                  <a:gd name="T4" fmla="*/ 0 w 30"/>
                  <a:gd name="T5" fmla="*/ 6 h 18"/>
                  <a:gd name="T6" fmla="*/ 0 w 30"/>
                  <a:gd name="T7" fmla="*/ 12 h 18"/>
                  <a:gd name="T8" fmla="*/ 12 w 30"/>
                  <a:gd name="T9" fmla="*/ 18 h 18"/>
                  <a:gd name="T10" fmla="*/ 24 w 30"/>
                  <a:gd name="T11" fmla="*/ 18 h 18"/>
                  <a:gd name="T12" fmla="*/ 30 w 30"/>
                  <a:gd name="T13" fmla="*/ 12 h 18"/>
                  <a:gd name="T14" fmla="*/ 30 w 30"/>
                  <a:gd name="T15" fmla="*/ 6 h 18"/>
                  <a:gd name="T16" fmla="*/ 30 w 30"/>
                  <a:gd name="T17" fmla="*/ 0 h 18"/>
                  <a:gd name="T18" fmla="*/ 18 w 30"/>
                  <a:gd name="T19" fmla="*/ 0 h 1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0" h="18">
                    <a:moveTo>
                      <a:pt x="18" y="0"/>
                    </a:moveTo>
                    <a:lnTo>
                      <a:pt x="12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12" y="18"/>
                    </a:lnTo>
                    <a:lnTo>
                      <a:pt x="24" y="18"/>
                    </a:lnTo>
                    <a:lnTo>
                      <a:pt x="30" y="12"/>
                    </a:lnTo>
                    <a:lnTo>
                      <a:pt x="30" y="6"/>
                    </a:lnTo>
                    <a:lnTo>
                      <a:pt x="30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48" name="Freeform 291"/>
              <p:cNvSpPr>
                <a:spLocks/>
              </p:cNvSpPr>
              <p:nvPr/>
            </p:nvSpPr>
            <p:spPr bwMode="auto">
              <a:xfrm>
                <a:off x="1110" y="1320"/>
                <a:ext cx="30" cy="18"/>
              </a:xfrm>
              <a:custGeom>
                <a:avLst/>
                <a:gdLst>
                  <a:gd name="T0" fmla="*/ 18 w 30"/>
                  <a:gd name="T1" fmla="*/ 0 h 18"/>
                  <a:gd name="T2" fmla="*/ 12 w 30"/>
                  <a:gd name="T3" fmla="*/ 0 h 18"/>
                  <a:gd name="T4" fmla="*/ 0 w 30"/>
                  <a:gd name="T5" fmla="*/ 6 h 18"/>
                  <a:gd name="T6" fmla="*/ 0 w 30"/>
                  <a:gd name="T7" fmla="*/ 12 h 18"/>
                  <a:gd name="T8" fmla="*/ 12 w 30"/>
                  <a:gd name="T9" fmla="*/ 18 h 18"/>
                  <a:gd name="T10" fmla="*/ 24 w 30"/>
                  <a:gd name="T11" fmla="*/ 18 h 18"/>
                  <a:gd name="T12" fmla="*/ 30 w 30"/>
                  <a:gd name="T13" fmla="*/ 12 h 18"/>
                  <a:gd name="T14" fmla="*/ 30 w 30"/>
                  <a:gd name="T15" fmla="*/ 6 h 18"/>
                  <a:gd name="T16" fmla="*/ 30 w 30"/>
                  <a:gd name="T17" fmla="*/ 0 h 18"/>
                  <a:gd name="T18" fmla="*/ 18 w 30"/>
                  <a:gd name="T19" fmla="*/ 0 h 1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0" h="18">
                    <a:moveTo>
                      <a:pt x="18" y="0"/>
                    </a:moveTo>
                    <a:lnTo>
                      <a:pt x="12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12" y="18"/>
                    </a:lnTo>
                    <a:lnTo>
                      <a:pt x="24" y="18"/>
                    </a:lnTo>
                    <a:lnTo>
                      <a:pt x="30" y="12"/>
                    </a:lnTo>
                    <a:lnTo>
                      <a:pt x="30" y="6"/>
                    </a:lnTo>
                    <a:lnTo>
                      <a:pt x="30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23" name="Group 292"/>
            <p:cNvGrpSpPr>
              <a:grpSpLocks/>
            </p:cNvGrpSpPr>
            <p:nvPr/>
          </p:nvGrpSpPr>
          <p:grpSpPr bwMode="auto">
            <a:xfrm>
              <a:off x="473719" y="2990413"/>
              <a:ext cx="98021" cy="62707"/>
              <a:chOff x="1098" y="1290"/>
              <a:chExt cx="48" cy="36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1741" name="Group 293"/>
              <p:cNvGrpSpPr>
                <a:grpSpLocks/>
              </p:cNvGrpSpPr>
              <p:nvPr/>
            </p:nvGrpSpPr>
            <p:grpSpPr bwMode="auto">
              <a:xfrm>
                <a:off x="1098" y="1290"/>
                <a:ext cx="48" cy="36"/>
                <a:chOff x="1098" y="1290"/>
                <a:chExt cx="48" cy="36"/>
              </a:xfrm>
              <a:grpFill/>
            </p:grpSpPr>
            <p:sp>
              <p:nvSpPr>
                <p:cNvPr id="1745" name="Freeform 294"/>
                <p:cNvSpPr>
                  <a:spLocks/>
                </p:cNvSpPr>
                <p:nvPr/>
              </p:nvSpPr>
              <p:spPr bwMode="auto">
                <a:xfrm>
                  <a:off x="1098" y="1290"/>
                  <a:ext cx="48" cy="36"/>
                </a:xfrm>
                <a:custGeom>
                  <a:avLst/>
                  <a:gdLst>
                    <a:gd name="T0" fmla="*/ 6 w 48"/>
                    <a:gd name="T1" fmla="*/ 18 h 36"/>
                    <a:gd name="T2" fmla="*/ 0 w 48"/>
                    <a:gd name="T3" fmla="*/ 6 h 36"/>
                    <a:gd name="T4" fmla="*/ 0 w 48"/>
                    <a:gd name="T5" fmla="*/ 0 h 36"/>
                    <a:gd name="T6" fmla="*/ 0 w 48"/>
                    <a:gd name="T7" fmla="*/ 0 h 36"/>
                    <a:gd name="T8" fmla="*/ 18 w 48"/>
                    <a:gd name="T9" fmla="*/ 0 h 36"/>
                    <a:gd name="T10" fmla="*/ 24 w 48"/>
                    <a:gd name="T11" fmla="*/ 0 h 36"/>
                    <a:gd name="T12" fmla="*/ 30 w 48"/>
                    <a:gd name="T13" fmla="*/ 0 h 36"/>
                    <a:gd name="T14" fmla="*/ 36 w 48"/>
                    <a:gd name="T15" fmla="*/ 6 h 36"/>
                    <a:gd name="T16" fmla="*/ 36 w 48"/>
                    <a:gd name="T17" fmla="*/ 12 h 36"/>
                    <a:gd name="T18" fmla="*/ 42 w 48"/>
                    <a:gd name="T19" fmla="*/ 12 h 36"/>
                    <a:gd name="T20" fmla="*/ 48 w 48"/>
                    <a:gd name="T21" fmla="*/ 18 h 36"/>
                    <a:gd name="T22" fmla="*/ 48 w 48"/>
                    <a:gd name="T23" fmla="*/ 18 h 36"/>
                    <a:gd name="T24" fmla="*/ 48 w 48"/>
                    <a:gd name="T25" fmla="*/ 24 h 36"/>
                    <a:gd name="T26" fmla="*/ 48 w 48"/>
                    <a:gd name="T27" fmla="*/ 30 h 36"/>
                    <a:gd name="T28" fmla="*/ 42 w 48"/>
                    <a:gd name="T29" fmla="*/ 30 h 36"/>
                    <a:gd name="T30" fmla="*/ 30 w 48"/>
                    <a:gd name="T31" fmla="*/ 30 h 36"/>
                    <a:gd name="T32" fmla="*/ 24 w 48"/>
                    <a:gd name="T33" fmla="*/ 30 h 36"/>
                    <a:gd name="T34" fmla="*/ 18 w 48"/>
                    <a:gd name="T35" fmla="*/ 30 h 36"/>
                    <a:gd name="T36" fmla="*/ 12 w 48"/>
                    <a:gd name="T37" fmla="*/ 36 h 36"/>
                    <a:gd name="T38" fmla="*/ 12 w 48"/>
                    <a:gd name="T39" fmla="*/ 30 h 36"/>
                    <a:gd name="T40" fmla="*/ 6 w 48"/>
                    <a:gd name="T41" fmla="*/ 30 h 36"/>
                    <a:gd name="T42" fmla="*/ 6 w 48"/>
                    <a:gd name="T43" fmla="*/ 18 h 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48" h="36">
                      <a:moveTo>
                        <a:pt x="6" y="18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18" y="0"/>
                      </a:lnTo>
                      <a:lnTo>
                        <a:pt x="24" y="0"/>
                      </a:lnTo>
                      <a:lnTo>
                        <a:pt x="30" y="0"/>
                      </a:lnTo>
                      <a:lnTo>
                        <a:pt x="36" y="6"/>
                      </a:lnTo>
                      <a:lnTo>
                        <a:pt x="36" y="12"/>
                      </a:lnTo>
                      <a:lnTo>
                        <a:pt x="42" y="12"/>
                      </a:lnTo>
                      <a:lnTo>
                        <a:pt x="48" y="18"/>
                      </a:lnTo>
                      <a:lnTo>
                        <a:pt x="48" y="24"/>
                      </a:lnTo>
                      <a:lnTo>
                        <a:pt x="48" y="30"/>
                      </a:lnTo>
                      <a:lnTo>
                        <a:pt x="42" y="30"/>
                      </a:lnTo>
                      <a:lnTo>
                        <a:pt x="30" y="30"/>
                      </a:lnTo>
                      <a:lnTo>
                        <a:pt x="24" y="30"/>
                      </a:lnTo>
                      <a:lnTo>
                        <a:pt x="18" y="30"/>
                      </a:lnTo>
                      <a:lnTo>
                        <a:pt x="12" y="36"/>
                      </a:lnTo>
                      <a:lnTo>
                        <a:pt x="12" y="30"/>
                      </a:lnTo>
                      <a:lnTo>
                        <a:pt x="6" y="30"/>
                      </a:lnTo>
                      <a:lnTo>
                        <a:pt x="6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746" name="Freeform 295"/>
                <p:cNvSpPr>
                  <a:spLocks/>
                </p:cNvSpPr>
                <p:nvPr/>
              </p:nvSpPr>
              <p:spPr bwMode="auto">
                <a:xfrm>
                  <a:off x="1098" y="1290"/>
                  <a:ext cx="48" cy="36"/>
                </a:xfrm>
                <a:custGeom>
                  <a:avLst/>
                  <a:gdLst>
                    <a:gd name="T0" fmla="*/ 6 w 48"/>
                    <a:gd name="T1" fmla="*/ 18 h 36"/>
                    <a:gd name="T2" fmla="*/ 0 w 48"/>
                    <a:gd name="T3" fmla="*/ 6 h 36"/>
                    <a:gd name="T4" fmla="*/ 0 w 48"/>
                    <a:gd name="T5" fmla="*/ 0 h 36"/>
                    <a:gd name="T6" fmla="*/ 18 w 48"/>
                    <a:gd name="T7" fmla="*/ 0 h 36"/>
                    <a:gd name="T8" fmla="*/ 24 w 48"/>
                    <a:gd name="T9" fmla="*/ 0 h 36"/>
                    <a:gd name="T10" fmla="*/ 30 w 48"/>
                    <a:gd name="T11" fmla="*/ 0 h 36"/>
                    <a:gd name="T12" fmla="*/ 36 w 48"/>
                    <a:gd name="T13" fmla="*/ 6 h 36"/>
                    <a:gd name="T14" fmla="*/ 36 w 48"/>
                    <a:gd name="T15" fmla="*/ 12 h 36"/>
                    <a:gd name="T16" fmla="*/ 42 w 48"/>
                    <a:gd name="T17" fmla="*/ 12 h 36"/>
                    <a:gd name="T18" fmla="*/ 48 w 48"/>
                    <a:gd name="T19" fmla="*/ 18 h 36"/>
                    <a:gd name="T20" fmla="*/ 48 w 48"/>
                    <a:gd name="T21" fmla="*/ 24 h 36"/>
                    <a:gd name="T22" fmla="*/ 48 w 48"/>
                    <a:gd name="T23" fmla="*/ 30 h 36"/>
                    <a:gd name="T24" fmla="*/ 42 w 48"/>
                    <a:gd name="T25" fmla="*/ 30 h 36"/>
                    <a:gd name="T26" fmla="*/ 30 w 48"/>
                    <a:gd name="T27" fmla="*/ 30 h 36"/>
                    <a:gd name="T28" fmla="*/ 24 w 48"/>
                    <a:gd name="T29" fmla="*/ 30 h 36"/>
                    <a:gd name="T30" fmla="*/ 18 w 48"/>
                    <a:gd name="T31" fmla="*/ 30 h 36"/>
                    <a:gd name="T32" fmla="*/ 12 w 48"/>
                    <a:gd name="T33" fmla="*/ 36 h 36"/>
                    <a:gd name="T34" fmla="*/ 12 w 48"/>
                    <a:gd name="T35" fmla="*/ 30 h 36"/>
                    <a:gd name="T36" fmla="*/ 6 w 48"/>
                    <a:gd name="T37" fmla="*/ 30 h 36"/>
                    <a:gd name="T38" fmla="*/ 6 w 48"/>
                    <a:gd name="T39" fmla="*/ 18 h 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48" h="36">
                      <a:moveTo>
                        <a:pt x="6" y="18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18" y="0"/>
                      </a:lnTo>
                      <a:lnTo>
                        <a:pt x="24" y="0"/>
                      </a:lnTo>
                      <a:lnTo>
                        <a:pt x="30" y="0"/>
                      </a:lnTo>
                      <a:lnTo>
                        <a:pt x="36" y="6"/>
                      </a:lnTo>
                      <a:lnTo>
                        <a:pt x="36" y="12"/>
                      </a:lnTo>
                      <a:lnTo>
                        <a:pt x="42" y="12"/>
                      </a:lnTo>
                      <a:lnTo>
                        <a:pt x="48" y="18"/>
                      </a:lnTo>
                      <a:lnTo>
                        <a:pt x="48" y="24"/>
                      </a:lnTo>
                      <a:lnTo>
                        <a:pt x="48" y="30"/>
                      </a:lnTo>
                      <a:lnTo>
                        <a:pt x="42" y="30"/>
                      </a:lnTo>
                      <a:lnTo>
                        <a:pt x="30" y="30"/>
                      </a:lnTo>
                      <a:lnTo>
                        <a:pt x="24" y="30"/>
                      </a:lnTo>
                      <a:lnTo>
                        <a:pt x="18" y="30"/>
                      </a:lnTo>
                      <a:lnTo>
                        <a:pt x="12" y="36"/>
                      </a:lnTo>
                      <a:lnTo>
                        <a:pt x="12" y="30"/>
                      </a:lnTo>
                      <a:lnTo>
                        <a:pt x="6" y="30"/>
                      </a:lnTo>
                      <a:lnTo>
                        <a:pt x="6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742" name="Group 296"/>
              <p:cNvGrpSpPr>
                <a:grpSpLocks/>
              </p:cNvGrpSpPr>
              <p:nvPr/>
            </p:nvGrpSpPr>
            <p:grpSpPr bwMode="auto">
              <a:xfrm>
                <a:off x="1104" y="1302"/>
                <a:ext cx="30" cy="6"/>
                <a:chOff x="1104" y="1302"/>
                <a:chExt cx="30" cy="6"/>
              </a:xfrm>
              <a:grpFill/>
            </p:grpSpPr>
            <p:sp>
              <p:nvSpPr>
                <p:cNvPr id="1743" name="Freeform 297"/>
                <p:cNvSpPr>
                  <a:spLocks/>
                </p:cNvSpPr>
                <p:nvPr/>
              </p:nvSpPr>
              <p:spPr bwMode="auto">
                <a:xfrm>
                  <a:off x="1104" y="1302"/>
                  <a:ext cx="30" cy="6"/>
                </a:xfrm>
                <a:custGeom>
                  <a:avLst/>
                  <a:gdLst>
                    <a:gd name="T0" fmla="*/ 0 w 30"/>
                    <a:gd name="T1" fmla="*/ 0 h 6"/>
                    <a:gd name="T2" fmla="*/ 0 w 30"/>
                    <a:gd name="T3" fmla="*/ 6 h 6"/>
                    <a:gd name="T4" fmla="*/ 0 w 30"/>
                    <a:gd name="T5" fmla="*/ 6 h 6"/>
                    <a:gd name="T6" fmla="*/ 12 w 30"/>
                    <a:gd name="T7" fmla="*/ 6 h 6"/>
                    <a:gd name="T8" fmla="*/ 18 w 30"/>
                    <a:gd name="T9" fmla="*/ 6 h 6"/>
                    <a:gd name="T10" fmla="*/ 18 w 30"/>
                    <a:gd name="T11" fmla="*/ 6 h 6"/>
                    <a:gd name="T12" fmla="*/ 24 w 30"/>
                    <a:gd name="T13" fmla="*/ 6 h 6"/>
                    <a:gd name="T14" fmla="*/ 30 w 30"/>
                    <a:gd name="T15" fmla="*/ 6 h 6"/>
                    <a:gd name="T16" fmla="*/ 30 w 30"/>
                    <a:gd name="T17" fmla="*/ 6 h 6"/>
                    <a:gd name="T18" fmla="*/ 24 w 30"/>
                    <a:gd name="T19" fmla="*/ 0 h 6"/>
                    <a:gd name="T20" fmla="*/ 18 w 30"/>
                    <a:gd name="T21" fmla="*/ 0 h 6"/>
                    <a:gd name="T22" fmla="*/ 12 w 30"/>
                    <a:gd name="T23" fmla="*/ 6 h 6"/>
                    <a:gd name="T24" fmla="*/ 6 w 30"/>
                    <a:gd name="T25" fmla="*/ 0 h 6"/>
                    <a:gd name="T26" fmla="*/ 0 w 30"/>
                    <a:gd name="T27" fmla="*/ 0 h 6"/>
                    <a:gd name="T28" fmla="*/ 0 w 30"/>
                    <a:gd name="T29" fmla="*/ 0 h 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30" h="6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12" y="6"/>
                      </a:lnTo>
                      <a:lnTo>
                        <a:pt x="18" y="6"/>
                      </a:lnTo>
                      <a:lnTo>
                        <a:pt x="24" y="6"/>
                      </a:lnTo>
                      <a:lnTo>
                        <a:pt x="30" y="6"/>
                      </a:lnTo>
                      <a:lnTo>
                        <a:pt x="24" y="0"/>
                      </a:lnTo>
                      <a:lnTo>
                        <a:pt x="18" y="0"/>
                      </a:lnTo>
                      <a:lnTo>
                        <a:pt x="12" y="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744" name="Freeform 298"/>
                <p:cNvSpPr>
                  <a:spLocks/>
                </p:cNvSpPr>
                <p:nvPr/>
              </p:nvSpPr>
              <p:spPr bwMode="auto">
                <a:xfrm>
                  <a:off x="1104" y="1302"/>
                  <a:ext cx="30" cy="6"/>
                </a:xfrm>
                <a:custGeom>
                  <a:avLst/>
                  <a:gdLst>
                    <a:gd name="T0" fmla="*/ 0 w 30"/>
                    <a:gd name="T1" fmla="*/ 0 h 6"/>
                    <a:gd name="T2" fmla="*/ 0 w 30"/>
                    <a:gd name="T3" fmla="*/ 6 h 6"/>
                    <a:gd name="T4" fmla="*/ 12 w 30"/>
                    <a:gd name="T5" fmla="*/ 6 h 6"/>
                    <a:gd name="T6" fmla="*/ 18 w 30"/>
                    <a:gd name="T7" fmla="*/ 6 h 6"/>
                    <a:gd name="T8" fmla="*/ 24 w 30"/>
                    <a:gd name="T9" fmla="*/ 6 h 6"/>
                    <a:gd name="T10" fmla="*/ 30 w 30"/>
                    <a:gd name="T11" fmla="*/ 6 h 6"/>
                    <a:gd name="T12" fmla="*/ 24 w 30"/>
                    <a:gd name="T13" fmla="*/ 0 h 6"/>
                    <a:gd name="T14" fmla="*/ 18 w 30"/>
                    <a:gd name="T15" fmla="*/ 0 h 6"/>
                    <a:gd name="T16" fmla="*/ 12 w 30"/>
                    <a:gd name="T17" fmla="*/ 6 h 6"/>
                    <a:gd name="T18" fmla="*/ 6 w 30"/>
                    <a:gd name="T19" fmla="*/ 0 h 6"/>
                    <a:gd name="T20" fmla="*/ 0 w 30"/>
                    <a:gd name="T21" fmla="*/ 0 h 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30" h="6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12" y="6"/>
                      </a:lnTo>
                      <a:lnTo>
                        <a:pt x="18" y="6"/>
                      </a:lnTo>
                      <a:lnTo>
                        <a:pt x="24" y="6"/>
                      </a:lnTo>
                      <a:lnTo>
                        <a:pt x="30" y="6"/>
                      </a:lnTo>
                      <a:lnTo>
                        <a:pt x="24" y="0"/>
                      </a:lnTo>
                      <a:lnTo>
                        <a:pt x="18" y="0"/>
                      </a:lnTo>
                      <a:lnTo>
                        <a:pt x="12" y="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624" name="Group 299"/>
            <p:cNvGrpSpPr>
              <a:grpSpLocks/>
            </p:cNvGrpSpPr>
            <p:nvPr/>
          </p:nvGrpSpPr>
          <p:grpSpPr bwMode="auto">
            <a:xfrm>
              <a:off x="596726" y="3125941"/>
              <a:ext cx="121085" cy="72821"/>
              <a:chOff x="1158" y="1368"/>
              <a:chExt cx="60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1739" name="Freeform 300"/>
              <p:cNvSpPr>
                <a:spLocks/>
              </p:cNvSpPr>
              <p:nvPr/>
            </p:nvSpPr>
            <p:spPr bwMode="auto">
              <a:xfrm>
                <a:off x="1158" y="1368"/>
                <a:ext cx="60" cy="42"/>
              </a:xfrm>
              <a:custGeom>
                <a:avLst/>
                <a:gdLst>
                  <a:gd name="T0" fmla="*/ 18 w 60"/>
                  <a:gd name="T1" fmla="*/ 30 h 42"/>
                  <a:gd name="T2" fmla="*/ 18 w 60"/>
                  <a:gd name="T3" fmla="*/ 24 h 42"/>
                  <a:gd name="T4" fmla="*/ 0 w 60"/>
                  <a:gd name="T5" fmla="*/ 12 h 42"/>
                  <a:gd name="T6" fmla="*/ 6 w 60"/>
                  <a:gd name="T7" fmla="*/ 12 h 42"/>
                  <a:gd name="T8" fmla="*/ 12 w 60"/>
                  <a:gd name="T9" fmla="*/ 6 h 42"/>
                  <a:gd name="T10" fmla="*/ 12 w 60"/>
                  <a:gd name="T11" fmla="*/ 0 h 42"/>
                  <a:gd name="T12" fmla="*/ 24 w 60"/>
                  <a:gd name="T13" fmla="*/ 0 h 42"/>
                  <a:gd name="T14" fmla="*/ 30 w 60"/>
                  <a:gd name="T15" fmla="*/ 0 h 42"/>
                  <a:gd name="T16" fmla="*/ 36 w 60"/>
                  <a:gd name="T17" fmla="*/ 6 h 42"/>
                  <a:gd name="T18" fmla="*/ 42 w 60"/>
                  <a:gd name="T19" fmla="*/ 0 h 42"/>
                  <a:gd name="T20" fmla="*/ 48 w 60"/>
                  <a:gd name="T21" fmla="*/ 0 h 42"/>
                  <a:gd name="T22" fmla="*/ 48 w 60"/>
                  <a:gd name="T23" fmla="*/ 6 h 42"/>
                  <a:gd name="T24" fmla="*/ 48 w 60"/>
                  <a:gd name="T25" fmla="*/ 12 h 42"/>
                  <a:gd name="T26" fmla="*/ 48 w 60"/>
                  <a:gd name="T27" fmla="*/ 12 h 42"/>
                  <a:gd name="T28" fmla="*/ 54 w 60"/>
                  <a:gd name="T29" fmla="*/ 18 h 42"/>
                  <a:gd name="T30" fmla="*/ 60 w 60"/>
                  <a:gd name="T31" fmla="*/ 18 h 42"/>
                  <a:gd name="T32" fmla="*/ 60 w 60"/>
                  <a:gd name="T33" fmla="*/ 18 h 42"/>
                  <a:gd name="T34" fmla="*/ 60 w 60"/>
                  <a:gd name="T35" fmla="*/ 18 h 42"/>
                  <a:gd name="T36" fmla="*/ 60 w 60"/>
                  <a:gd name="T37" fmla="*/ 30 h 42"/>
                  <a:gd name="T38" fmla="*/ 60 w 60"/>
                  <a:gd name="T39" fmla="*/ 30 h 42"/>
                  <a:gd name="T40" fmla="*/ 36 w 60"/>
                  <a:gd name="T41" fmla="*/ 42 h 42"/>
                  <a:gd name="T42" fmla="*/ 36 w 60"/>
                  <a:gd name="T43" fmla="*/ 42 h 42"/>
                  <a:gd name="T44" fmla="*/ 24 w 60"/>
                  <a:gd name="T45" fmla="*/ 36 h 42"/>
                  <a:gd name="T46" fmla="*/ 24 w 60"/>
                  <a:gd name="T47" fmla="*/ 36 h 42"/>
                  <a:gd name="T48" fmla="*/ 18 w 60"/>
                  <a:gd name="T49" fmla="*/ 30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0" h="42">
                    <a:moveTo>
                      <a:pt x="18" y="30"/>
                    </a:moveTo>
                    <a:lnTo>
                      <a:pt x="18" y="24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6" y="6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8"/>
                    </a:lnTo>
                    <a:lnTo>
                      <a:pt x="60" y="18"/>
                    </a:lnTo>
                    <a:lnTo>
                      <a:pt x="60" y="30"/>
                    </a:lnTo>
                    <a:lnTo>
                      <a:pt x="36" y="42"/>
                    </a:lnTo>
                    <a:lnTo>
                      <a:pt x="24" y="36"/>
                    </a:lnTo>
                    <a:lnTo>
                      <a:pt x="1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40" name="Freeform 301"/>
              <p:cNvSpPr>
                <a:spLocks/>
              </p:cNvSpPr>
              <p:nvPr/>
            </p:nvSpPr>
            <p:spPr bwMode="auto">
              <a:xfrm>
                <a:off x="1158" y="1368"/>
                <a:ext cx="60" cy="42"/>
              </a:xfrm>
              <a:custGeom>
                <a:avLst/>
                <a:gdLst>
                  <a:gd name="T0" fmla="*/ 18 w 60"/>
                  <a:gd name="T1" fmla="*/ 30 h 42"/>
                  <a:gd name="T2" fmla="*/ 18 w 60"/>
                  <a:gd name="T3" fmla="*/ 24 h 42"/>
                  <a:gd name="T4" fmla="*/ 0 w 60"/>
                  <a:gd name="T5" fmla="*/ 12 h 42"/>
                  <a:gd name="T6" fmla="*/ 6 w 60"/>
                  <a:gd name="T7" fmla="*/ 12 h 42"/>
                  <a:gd name="T8" fmla="*/ 12 w 60"/>
                  <a:gd name="T9" fmla="*/ 6 h 42"/>
                  <a:gd name="T10" fmla="*/ 12 w 60"/>
                  <a:gd name="T11" fmla="*/ 0 h 42"/>
                  <a:gd name="T12" fmla="*/ 24 w 60"/>
                  <a:gd name="T13" fmla="*/ 0 h 42"/>
                  <a:gd name="T14" fmla="*/ 30 w 60"/>
                  <a:gd name="T15" fmla="*/ 0 h 42"/>
                  <a:gd name="T16" fmla="*/ 36 w 60"/>
                  <a:gd name="T17" fmla="*/ 6 h 42"/>
                  <a:gd name="T18" fmla="*/ 42 w 60"/>
                  <a:gd name="T19" fmla="*/ 0 h 42"/>
                  <a:gd name="T20" fmla="*/ 48 w 60"/>
                  <a:gd name="T21" fmla="*/ 0 h 42"/>
                  <a:gd name="T22" fmla="*/ 48 w 60"/>
                  <a:gd name="T23" fmla="*/ 6 h 42"/>
                  <a:gd name="T24" fmla="*/ 48 w 60"/>
                  <a:gd name="T25" fmla="*/ 12 h 42"/>
                  <a:gd name="T26" fmla="*/ 54 w 60"/>
                  <a:gd name="T27" fmla="*/ 18 h 42"/>
                  <a:gd name="T28" fmla="*/ 60 w 60"/>
                  <a:gd name="T29" fmla="*/ 18 h 42"/>
                  <a:gd name="T30" fmla="*/ 60 w 60"/>
                  <a:gd name="T31" fmla="*/ 30 h 42"/>
                  <a:gd name="T32" fmla="*/ 36 w 60"/>
                  <a:gd name="T33" fmla="*/ 42 h 42"/>
                  <a:gd name="T34" fmla="*/ 24 w 60"/>
                  <a:gd name="T35" fmla="*/ 36 h 42"/>
                  <a:gd name="T36" fmla="*/ 18 w 60"/>
                  <a:gd name="T37" fmla="*/ 30 h 4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0" h="42">
                    <a:moveTo>
                      <a:pt x="18" y="30"/>
                    </a:moveTo>
                    <a:lnTo>
                      <a:pt x="18" y="24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6" y="6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8"/>
                    </a:lnTo>
                    <a:lnTo>
                      <a:pt x="60" y="18"/>
                    </a:lnTo>
                    <a:lnTo>
                      <a:pt x="60" y="30"/>
                    </a:lnTo>
                    <a:lnTo>
                      <a:pt x="36" y="42"/>
                    </a:lnTo>
                    <a:lnTo>
                      <a:pt x="24" y="36"/>
                    </a:lnTo>
                    <a:lnTo>
                      <a:pt x="1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25" name="Group 302"/>
            <p:cNvGrpSpPr>
              <a:grpSpLocks/>
            </p:cNvGrpSpPr>
            <p:nvPr/>
          </p:nvGrpSpPr>
          <p:grpSpPr bwMode="auto">
            <a:xfrm>
              <a:off x="571740" y="3093576"/>
              <a:ext cx="49972" cy="52593"/>
              <a:chOff x="1146" y="1350"/>
              <a:chExt cx="24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1736" name="Freeform 303"/>
              <p:cNvSpPr>
                <a:spLocks/>
              </p:cNvSpPr>
              <p:nvPr/>
            </p:nvSpPr>
            <p:spPr bwMode="auto">
              <a:xfrm>
                <a:off x="1146" y="1350"/>
                <a:ext cx="24" cy="30"/>
              </a:xfrm>
              <a:custGeom>
                <a:avLst/>
                <a:gdLst>
                  <a:gd name="T0" fmla="*/ 0 w 24"/>
                  <a:gd name="T1" fmla="*/ 12 h 30"/>
                  <a:gd name="T2" fmla="*/ 0 w 24"/>
                  <a:gd name="T3" fmla="*/ 6 h 30"/>
                  <a:gd name="T4" fmla="*/ 0 w 24"/>
                  <a:gd name="T5" fmla="*/ 6 h 30"/>
                  <a:gd name="T6" fmla="*/ 6 w 24"/>
                  <a:gd name="T7" fmla="*/ 0 h 30"/>
                  <a:gd name="T8" fmla="*/ 12 w 24"/>
                  <a:gd name="T9" fmla="*/ 0 h 30"/>
                  <a:gd name="T10" fmla="*/ 18 w 24"/>
                  <a:gd name="T11" fmla="*/ 0 h 30"/>
                  <a:gd name="T12" fmla="*/ 24 w 24"/>
                  <a:gd name="T13" fmla="*/ 0 h 30"/>
                  <a:gd name="T14" fmla="*/ 24 w 24"/>
                  <a:gd name="T15" fmla="*/ 6 h 30"/>
                  <a:gd name="T16" fmla="*/ 24 w 24"/>
                  <a:gd name="T17" fmla="*/ 18 h 30"/>
                  <a:gd name="T18" fmla="*/ 24 w 24"/>
                  <a:gd name="T19" fmla="*/ 24 h 30"/>
                  <a:gd name="T20" fmla="*/ 24 w 24"/>
                  <a:gd name="T21" fmla="*/ 24 h 30"/>
                  <a:gd name="T22" fmla="*/ 12 w 24"/>
                  <a:gd name="T23" fmla="*/ 30 h 30"/>
                  <a:gd name="T24" fmla="*/ 12 w 24"/>
                  <a:gd name="T25" fmla="*/ 30 h 30"/>
                  <a:gd name="T26" fmla="*/ 6 w 24"/>
                  <a:gd name="T27" fmla="*/ 30 h 30"/>
                  <a:gd name="T28" fmla="*/ 6 w 24"/>
                  <a:gd name="T29" fmla="*/ 24 h 30"/>
                  <a:gd name="T30" fmla="*/ 0 w 24"/>
                  <a:gd name="T31" fmla="*/ 12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4" h="30">
                    <a:moveTo>
                      <a:pt x="0" y="12"/>
                    </a:moveTo>
                    <a:lnTo>
                      <a:pt x="0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24" y="6"/>
                    </a:lnTo>
                    <a:lnTo>
                      <a:pt x="24" y="18"/>
                    </a:lnTo>
                    <a:lnTo>
                      <a:pt x="24" y="24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38" name="Freeform 304"/>
              <p:cNvSpPr>
                <a:spLocks/>
              </p:cNvSpPr>
              <p:nvPr/>
            </p:nvSpPr>
            <p:spPr bwMode="auto">
              <a:xfrm>
                <a:off x="1146" y="1350"/>
                <a:ext cx="24" cy="30"/>
              </a:xfrm>
              <a:custGeom>
                <a:avLst/>
                <a:gdLst>
                  <a:gd name="T0" fmla="*/ 0 w 24"/>
                  <a:gd name="T1" fmla="*/ 12 h 30"/>
                  <a:gd name="T2" fmla="*/ 0 w 24"/>
                  <a:gd name="T3" fmla="*/ 6 h 30"/>
                  <a:gd name="T4" fmla="*/ 6 w 24"/>
                  <a:gd name="T5" fmla="*/ 0 h 30"/>
                  <a:gd name="T6" fmla="*/ 12 w 24"/>
                  <a:gd name="T7" fmla="*/ 0 h 30"/>
                  <a:gd name="T8" fmla="*/ 18 w 24"/>
                  <a:gd name="T9" fmla="*/ 0 h 30"/>
                  <a:gd name="T10" fmla="*/ 24 w 24"/>
                  <a:gd name="T11" fmla="*/ 0 h 30"/>
                  <a:gd name="T12" fmla="*/ 24 w 24"/>
                  <a:gd name="T13" fmla="*/ 6 h 30"/>
                  <a:gd name="T14" fmla="*/ 24 w 24"/>
                  <a:gd name="T15" fmla="*/ 18 h 30"/>
                  <a:gd name="T16" fmla="*/ 24 w 24"/>
                  <a:gd name="T17" fmla="*/ 24 h 30"/>
                  <a:gd name="T18" fmla="*/ 12 w 24"/>
                  <a:gd name="T19" fmla="*/ 30 h 30"/>
                  <a:gd name="T20" fmla="*/ 6 w 24"/>
                  <a:gd name="T21" fmla="*/ 30 h 30"/>
                  <a:gd name="T22" fmla="*/ 6 w 24"/>
                  <a:gd name="T23" fmla="*/ 24 h 30"/>
                  <a:gd name="T24" fmla="*/ 0 w 24"/>
                  <a:gd name="T25" fmla="*/ 12 h 3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4" h="30">
                    <a:moveTo>
                      <a:pt x="0" y="12"/>
                    </a:moveTo>
                    <a:lnTo>
                      <a:pt x="0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24" y="6"/>
                    </a:lnTo>
                    <a:lnTo>
                      <a:pt x="24" y="18"/>
                    </a:lnTo>
                    <a:lnTo>
                      <a:pt x="24" y="24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26" name="Group 305"/>
            <p:cNvGrpSpPr>
              <a:grpSpLocks/>
            </p:cNvGrpSpPr>
            <p:nvPr/>
          </p:nvGrpSpPr>
          <p:grpSpPr bwMode="auto">
            <a:xfrm>
              <a:off x="521769" y="3043006"/>
              <a:ext cx="147993" cy="91026"/>
              <a:chOff x="1122" y="1320"/>
              <a:chExt cx="72" cy="54"/>
            </a:xfrm>
            <a:solidFill>
              <a:srgbClr val="0070C0">
                <a:alpha val="27059"/>
              </a:srgbClr>
            </a:solidFill>
          </p:grpSpPr>
          <p:sp>
            <p:nvSpPr>
              <p:cNvPr id="1734" name="Freeform 306"/>
              <p:cNvSpPr>
                <a:spLocks/>
              </p:cNvSpPr>
              <p:nvPr/>
            </p:nvSpPr>
            <p:spPr bwMode="auto">
              <a:xfrm>
                <a:off x="1122" y="1320"/>
                <a:ext cx="72" cy="54"/>
              </a:xfrm>
              <a:custGeom>
                <a:avLst/>
                <a:gdLst>
                  <a:gd name="T0" fmla="*/ 12 w 72"/>
                  <a:gd name="T1" fmla="*/ 30 h 54"/>
                  <a:gd name="T2" fmla="*/ 0 w 72"/>
                  <a:gd name="T3" fmla="*/ 18 h 54"/>
                  <a:gd name="T4" fmla="*/ 12 w 72"/>
                  <a:gd name="T5" fmla="*/ 18 h 54"/>
                  <a:gd name="T6" fmla="*/ 18 w 72"/>
                  <a:gd name="T7" fmla="*/ 12 h 54"/>
                  <a:gd name="T8" fmla="*/ 18 w 72"/>
                  <a:gd name="T9" fmla="*/ 12 h 54"/>
                  <a:gd name="T10" fmla="*/ 18 w 72"/>
                  <a:gd name="T11" fmla="*/ 0 h 54"/>
                  <a:gd name="T12" fmla="*/ 24 w 72"/>
                  <a:gd name="T13" fmla="*/ 0 h 54"/>
                  <a:gd name="T14" fmla="*/ 24 w 72"/>
                  <a:gd name="T15" fmla="*/ 0 h 54"/>
                  <a:gd name="T16" fmla="*/ 30 w 72"/>
                  <a:gd name="T17" fmla="*/ 6 h 54"/>
                  <a:gd name="T18" fmla="*/ 30 w 72"/>
                  <a:gd name="T19" fmla="*/ 6 h 54"/>
                  <a:gd name="T20" fmla="*/ 36 w 72"/>
                  <a:gd name="T21" fmla="*/ 6 h 54"/>
                  <a:gd name="T22" fmla="*/ 42 w 72"/>
                  <a:gd name="T23" fmla="*/ 6 h 54"/>
                  <a:gd name="T24" fmla="*/ 48 w 72"/>
                  <a:gd name="T25" fmla="*/ 6 h 54"/>
                  <a:gd name="T26" fmla="*/ 48 w 72"/>
                  <a:gd name="T27" fmla="*/ 6 h 54"/>
                  <a:gd name="T28" fmla="*/ 48 w 72"/>
                  <a:gd name="T29" fmla="*/ 6 h 54"/>
                  <a:gd name="T30" fmla="*/ 54 w 72"/>
                  <a:gd name="T31" fmla="*/ 0 h 54"/>
                  <a:gd name="T32" fmla="*/ 54 w 72"/>
                  <a:gd name="T33" fmla="*/ 0 h 54"/>
                  <a:gd name="T34" fmla="*/ 60 w 72"/>
                  <a:gd name="T35" fmla="*/ 6 h 54"/>
                  <a:gd name="T36" fmla="*/ 60 w 72"/>
                  <a:gd name="T37" fmla="*/ 12 h 54"/>
                  <a:gd name="T38" fmla="*/ 60 w 72"/>
                  <a:gd name="T39" fmla="*/ 18 h 54"/>
                  <a:gd name="T40" fmla="*/ 66 w 72"/>
                  <a:gd name="T41" fmla="*/ 18 h 54"/>
                  <a:gd name="T42" fmla="*/ 66 w 72"/>
                  <a:gd name="T43" fmla="*/ 24 h 54"/>
                  <a:gd name="T44" fmla="*/ 66 w 72"/>
                  <a:gd name="T45" fmla="*/ 30 h 54"/>
                  <a:gd name="T46" fmla="*/ 72 w 72"/>
                  <a:gd name="T47" fmla="*/ 48 h 54"/>
                  <a:gd name="T48" fmla="*/ 72 w 72"/>
                  <a:gd name="T49" fmla="*/ 48 h 54"/>
                  <a:gd name="T50" fmla="*/ 72 w 72"/>
                  <a:gd name="T51" fmla="*/ 54 h 54"/>
                  <a:gd name="T52" fmla="*/ 66 w 72"/>
                  <a:gd name="T53" fmla="*/ 54 h 54"/>
                  <a:gd name="T54" fmla="*/ 60 w 72"/>
                  <a:gd name="T55" fmla="*/ 48 h 54"/>
                  <a:gd name="T56" fmla="*/ 48 w 72"/>
                  <a:gd name="T57" fmla="*/ 48 h 54"/>
                  <a:gd name="T58" fmla="*/ 48 w 72"/>
                  <a:gd name="T59" fmla="*/ 36 h 54"/>
                  <a:gd name="T60" fmla="*/ 48 w 72"/>
                  <a:gd name="T61" fmla="*/ 30 h 54"/>
                  <a:gd name="T62" fmla="*/ 36 w 72"/>
                  <a:gd name="T63" fmla="*/ 30 h 54"/>
                  <a:gd name="T64" fmla="*/ 30 w 72"/>
                  <a:gd name="T65" fmla="*/ 30 h 54"/>
                  <a:gd name="T66" fmla="*/ 24 w 72"/>
                  <a:gd name="T67" fmla="*/ 36 h 54"/>
                  <a:gd name="T68" fmla="*/ 24 w 72"/>
                  <a:gd name="T69" fmla="*/ 42 h 54"/>
                  <a:gd name="T70" fmla="*/ 12 w 72"/>
                  <a:gd name="T71" fmla="*/ 30 h 5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72" h="54">
                    <a:moveTo>
                      <a:pt x="12" y="30"/>
                    </a:moveTo>
                    <a:lnTo>
                      <a:pt x="0" y="18"/>
                    </a:lnTo>
                    <a:lnTo>
                      <a:pt x="12" y="18"/>
                    </a:lnTo>
                    <a:lnTo>
                      <a:pt x="18" y="12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54" y="0"/>
                    </a:lnTo>
                    <a:lnTo>
                      <a:pt x="60" y="6"/>
                    </a:lnTo>
                    <a:lnTo>
                      <a:pt x="60" y="12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6" y="24"/>
                    </a:lnTo>
                    <a:lnTo>
                      <a:pt x="66" y="30"/>
                    </a:lnTo>
                    <a:lnTo>
                      <a:pt x="72" y="48"/>
                    </a:lnTo>
                    <a:lnTo>
                      <a:pt x="72" y="54"/>
                    </a:lnTo>
                    <a:lnTo>
                      <a:pt x="66" y="54"/>
                    </a:lnTo>
                    <a:lnTo>
                      <a:pt x="60" y="48"/>
                    </a:lnTo>
                    <a:lnTo>
                      <a:pt x="48" y="48"/>
                    </a:lnTo>
                    <a:lnTo>
                      <a:pt x="48" y="36"/>
                    </a:lnTo>
                    <a:lnTo>
                      <a:pt x="48" y="30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35" name="Freeform 307"/>
              <p:cNvSpPr>
                <a:spLocks/>
              </p:cNvSpPr>
              <p:nvPr/>
            </p:nvSpPr>
            <p:spPr bwMode="auto">
              <a:xfrm>
                <a:off x="1122" y="1320"/>
                <a:ext cx="72" cy="54"/>
              </a:xfrm>
              <a:custGeom>
                <a:avLst/>
                <a:gdLst>
                  <a:gd name="T0" fmla="*/ 12 w 72"/>
                  <a:gd name="T1" fmla="*/ 30 h 54"/>
                  <a:gd name="T2" fmla="*/ 0 w 72"/>
                  <a:gd name="T3" fmla="*/ 18 h 54"/>
                  <a:gd name="T4" fmla="*/ 12 w 72"/>
                  <a:gd name="T5" fmla="*/ 18 h 54"/>
                  <a:gd name="T6" fmla="*/ 18 w 72"/>
                  <a:gd name="T7" fmla="*/ 12 h 54"/>
                  <a:gd name="T8" fmla="*/ 18 w 72"/>
                  <a:gd name="T9" fmla="*/ 0 h 54"/>
                  <a:gd name="T10" fmla="*/ 24 w 72"/>
                  <a:gd name="T11" fmla="*/ 0 h 54"/>
                  <a:gd name="T12" fmla="*/ 30 w 72"/>
                  <a:gd name="T13" fmla="*/ 6 h 54"/>
                  <a:gd name="T14" fmla="*/ 36 w 72"/>
                  <a:gd name="T15" fmla="*/ 6 h 54"/>
                  <a:gd name="T16" fmla="*/ 42 w 72"/>
                  <a:gd name="T17" fmla="*/ 6 h 54"/>
                  <a:gd name="T18" fmla="*/ 48 w 72"/>
                  <a:gd name="T19" fmla="*/ 6 h 54"/>
                  <a:gd name="T20" fmla="*/ 54 w 72"/>
                  <a:gd name="T21" fmla="*/ 0 h 54"/>
                  <a:gd name="T22" fmla="*/ 60 w 72"/>
                  <a:gd name="T23" fmla="*/ 6 h 54"/>
                  <a:gd name="T24" fmla="*/ 60 w 72"/>
                  <a:gd name="T25" fmla="*/ 12 h 54"/>
                  <a:gd name="T26" fmla="*/ 60 w 72"/>
                  <a:gd name="T27" fmla="*/ 18 h 54"/>
                  <a:gd name="T28" fmla="*/ 66 w 72"/>
                  <a:gd name="T29" fmla="*/ 18 h 54"/>
                  <a:gd name="T30" fmla="*/ 66 w 72"/>
                  <a:gd name="T31" fmla="*/ 24 h 54"/>
                  <a:gd name="T32" fmla="*/ 66 w 72"/>
                  <a:gd name="T33" fmla="*/ 30 h 54"/>
                  <a:gd name="T34" fmla="*/ 72 w 72"/>
                  <a:gd name="T35" fmla="*/ 48 h 54"/>
                  <a:gd name="T36" fmla="*/ 72 w 72"/>
                  <a:gd name="T37" fmla="*/ 54 h 54"/>
                  <a:gd name="T38" fmla="*/ 66 w 72"/>
                  <a:gd name="T39" fmla="*/ 54 h 54"/>
                  <a:gd name="T40" fmla="*/ 60 w 72"/>
                  <a:gd name="T41" fmla="*/ 48 h 54"/>
                  <a:gd name="T42" fmla="*/ 48 w 72"/>
                  <a:gd name="T43" fmla="*/ 48 h 54"/>
                  <a:gd name="T44" fmla="*/ 48 w 72"/>
                  <a:gd name="T45" fmla="*/ 36 h 54"/>
                  <a:gd name="T46" fmla="*/ 48 w 72"/>
                  <a:gd name="T47" fmla="*/ 30 h 54"/>
                  <a:gd name="T48" fmla="*/ 36 w 72"/>
                  <a:gd name="T49" fmla="*/ 30 h 54"/>
                  <a:gd name="T50" fmla="*/ 30 w 72"/>
                  <a:gd name="T51" fmla="*/ 30 h 54"/>
                  <a:gd name="T52" fmla="*/ 24 w 72"/>
                  <a:gd name="T53" fmla="*/ 36 h 54"/>
                  <a:gd name="T54" fmla="*/ 24 w 72"/>
                  <a:gd name="T55" fmla="*/ 42 h 54"/>
                  <a:gd name="T56" fmla="*/ 12 w 72"/>
                  <a:gd name="T57" fmla="*/ 30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2" h="54">
                    <a:moveTo>
                      <a:pt x="12" y="30"/>
                    </a:moveTo>
                    <a:lnTo>
                      <a:pt x="0" y="18"/>
                    </a:lnTo>
                    <a:lnTo>
                      <a:pt x="12" y="18"/>
                    </a:lnTo>
                    <a:lnTo>
                      <a:pt x="18" y="12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54" y="0"/>
                    </a:lnTo>
                    <a:lnTo>
                      <a:pt x="60" y="6"/>
                    </a:lnTo>
                    <a:lnTo>
                      <a:pt x="60" y="12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6" y="24"/>
                    </a:lnTo>
                    <a:lnTo>
                      <a:pt x="66" y="30"/>
                    </a:lnTo>
                    <a:lnTo>
                      <a:pt x="72" y="48"/>
                    </a:lnTo>
                    <a:lnTo>
                      <a:pt x="72" y="54"/>
                    </a:lnTo>
                    <a:lnTo>
                      <a:pt x="66" y="54"/>
                    </a:lnTo>
                    <a:lnTo>
                      <a:pt x="60" y="48"/>
                    </a:lnTo>
                    <a:lnTo>
                      <a:pt x="48" y="48"/>
                    </a:lnTo>
                    <a:lnTo>
                      <a:pt x="48" y="36"/>
                    </a:lnTo>
                    <a:lnTo>
                      <a:pt x="48" y="30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27" name="Group 308"/>
            <p:cNvGrpSpPr>
              <a:grpSpLocks/>
            </p:cNvGrpSpPr>
            <p:nvPr/>
          </p:nvGrpSpPr>
          <p:grpSpPr bwMode="auto">
            <a:xfrm>
              <a:off x="656308" y="3073348"/>
              <a:ext cx="134539" cy="113277"/>
              <a:chOff x="1188" y="1338"/>
              <a:chExt cx="66" cy="66"/>
            </a:xfrm>
            <a:solidFill>
              <a:srgbClr val="0070C0">
                <a:alpha val="27059"/>
              </a:srgbClr>
            </a:solidFill>
          </p:grpSpPr>
          <p:sp>
            <p:nvSpPr>
              <p:cNvPr id="1732" name="Freeform 309"/>
              <p:cNvSpPr>
                <a:spLocks/>
              </p:cNvSpPr>
              <p:nvPr/>
            </p:nvSpPr>
            <p:spPr bwMode="auto">
              <a:xfrm>
                <a:off x="1188" y="1338"/>
                <a:ext cx="66" cy="66"/>
              </a:xfrm>
              <a:custGeom>
                <a:avLst/>
                <a:gdLst>
                  <a:gd name="T0" fmla="*/ 30 w 66"/>
                  <a:gd name="T1" fmla="*/ 60 h 66"/>
                  <a:gd name="T2" fmla="*/ 30 w 66"/>
                  <a:gd name="T3" fmla="*/ 60 h 66"/>
                  <a:gd name="T4" fmla="*/ 36 w 66"/>
                  <a:gd name="T5" fmla="*/ 54 h 66"/>
                  <a:gd name="T6" fmla="*/ 30 w 66"/>
                  <a:gd name="T7" fmla="*/ 48 h 66"/>
                  <a:gd name="T8" fmla="*/ 30 w 66"/>
                  <a:gd name="T9" fmla="*/ 48 h 66"/>
                  <a:gd name="T10" fmla="*/ 24 w 66"/>
                  <a:gd name="T11" fmla="*/ 48 h 66"/>
                  <a:gd name="T12" fmla="*/ 18 w 66"/>
                  <a:gd name="T13" fmla="*/ 42 h 66"/>
                  <a:gd name="T14" fmla="*/ 18 w 66"/>
                  <a:gd name="T15" fmla="*/ 42 h 66"/>
                  <a:gd name="T16" fmla="*/ 18 w 66"/>
                  <a:gd name="T17" fmla="*/ 36 h 66"/>
                  <a:gd name="T18" fmla="*/ 18 w 66"/>
                  <a:gd name="T19" fmla="*/ 30 h 66"/>
                  <a:gd name="T20" fmla="*/ 12 w 66"/>
                  <a:gd name="T21" fmla="*/ 30 h 66"/>
                  <a:gd name="T22" fmla="*/ 6 w 66"/>
                  <a:gd name="T23" fmla="*/ 36 h 66"/>
                  <a:gd name="T24" fmla="*/ 6 w 66"/>
                  <a:gd name="T25" fmla="*/ 24 h 66"/>
                  <a:gd name="T26" fmla="*/ 6 w 66"/>
                  <a:gd name="T27" fmla="*/ 18 h 66"/>
                  <a:gd name="T28" fmla="*/ 0 w 66"/>
                  <a:gd name="T29" fmla="*/ 6 h 66"/>
                  <a:gd name="T30" fmla="*/ 0 w 66"/>
                  <a:gd name="T31" fmla="*/ 0 h 66"/>
                  <a:gd name="T32" fmla="*/ 6 w 66"/>
                  <a:gd name="T33" fmla="*/ 6 h 66"/>
                  <a:gd name="T34" fmla="*/ 18 w 66"/>
                  <a:gd name="T35" fmla="*/ 0 h 66"/>
                  <a:gd name="T36" fmla="*/ 18 w 66"/>
                  <a:gd name="T37" fmla="*/ 0 h 66"/>
                  <a:gd name="T38" fmla="*/ 18 w 66"/>
                  <a:gd name="T39" fmla="*/ 0 h 66"/>
                  <a:gd name="T40" fmla="*/ 24 w 66"/>
                  <a:gd name="T41" fmla="*/ 0 h 66"/>
                  <a:gd name="T42" fmla="*/ 24 w 66"/>
                  <a:gd name="T43" fmla="*/ 0 h 66"/>
                  <a:gd name="T44" fmla="*/ 24 w 66"/>
                  <a:gd name="T45" fmla="*/ 0 h 66"/>
                  <a:gd name="T46" fmla="*/ 30 w 66"/>
                  <a:gd name="T47" fmla="*/ 0 h 66"/>
                  <a:gd name="T48" fmla="*/ 30 w 66"/>
                  <a:gd name="T49" fmla="*/ 0 h 66"/>
                  <a:gd name="T50" fmla="*/ 36 w 66"/>
                  <a:gd name="T51" fmla="*/ 0 h 66"/>
                  <a:gd name="T52" fmla="*/ 42 w 66"/>
                  <a:gd name="T53" fmla="*/ 0 h 66"/>
                  <a:gd name="T54" fmla="*/ 48 w 66"/>
                  <a:gd name="T55" fmla="*/ 0 h 66"/>
                  <a:gd name="T56" fmla="*/ 54 w 66"/>
                  <a:gd name="T57" fmla="*/ 0 h 66"/>
                  <a:gd name="T58" fmla="*/ 60 w 66"/>
                  <a:gd name="T59" fmla="*/ 6 h 66"/>
                  <a:gd name="T60" fmla="*/ 60 w 66"/>
                  <a:gd name="T61" fmla="*/ 12 h 66"/>
                  <a:gd name="T62" fmla="*/ 60 w 66"/>
                  <a:gd name="T63" fmla="*/ 24 h 66"/>
                  <a:gd name="T64" fmla="*/ 60 w 66"/>
                  <a:gd name="T65" fmla="*/ 30 h 66"/>
                  <a:gd name="T66" fmla="*/ 60 w 66"/>
                  <a:gd name="T67" fmla="*/ 42 h 66"/>
                  <a:gd name="T68" fmla="*/ 60 w 66"/>
                  <a:gd name="T69" fmla="*/ 48 h 66"/>
                  <a:gd name="T70" fmla="*/ 60 w 66"/>
                  <a:gd name="T71" fmla="*/ 54 h 66"/>
                  <a:gd name="T72" fmla="*/ 66 w 66"/>
                  <a:gd name="T73" fmla="*/ 66 h 66"/>
                  <a:gd name="T74" fmla="*/ 48 w 66"/>
                  <a:gd name="T75" fmla="*/ 60 h 66"/>
                  <a:gd name="T76" fmla="*/ 30 w 66"/>
                  <a:gd name="T77" fmla="*/ 60 h 6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66" h="66">
                    <a:moveTo>
                      <a:pt x="30" y="60"/>
                    </a:moveTo>
                    <a:lnTo>
                      <a:pt x="30" y="60"/>
                    </a:lnTo>
                    <a:lnTo>
                      <a:pt x="36" y="54"/>
                    </a:lnTo>
                    <a:lnTo>
                      <a:pt x="30" y="48"/>
                    </a:lnTo>
                    <a:lnTo>
                      <a:pt x="24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2" y="30"/>
                    </a:lnTo>
                    <a:lnTo>
                      <a:pt x="6" y="36"/>
                    </a:lnTo>
                    <a:lnTo>
                      <a:pt x="6" y="24"/>
                    </a:lnTo>
                    <a:lnTo>
                      <a:pt x="6" y="18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54" y="0"/>
                    </a:lnTo>
                    <a:lnTo>
                      <a:pt x="60" y="6"/>
                    </a:lnTo>
                    <a:lnTo>
                      <a:pt x="60" y="12"/>
                    </a:lnTo>
                    <a:lnTo>
                      <a:pt x="60" y="24"/>
                    </a:lnTo>
                    <a:lnTo>
                      <a:pt x="60" y="30"/>
                    </a:lnTo>
                    <a:lnTo>
                      <a:pt x="60" y="42"/>
                    </a:lnTo>
                    <a:lnTo>
                      <a:pt x="60" y="48"/>
                    </a:lnTo>
                    <a:lnTo>
                      <a:pt x="60" y="54"/>
                    </a:lnTo>
                    <a:lnTo>
                      <a:pt x="66" y="66"/>
                    </a:lnTo>
                    <a:lnTo>
                      <a:pt x="48" y="60"/>
                    </a:lnTo>
                    <a:lnTo>
                      <a:pt x="3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33" name="Freeform 310"/>
              <p:cNvSpPr>
                <a:spLocks/>
              </p:cNvSpPr>
              <p:nvPr/>
            </p:nvSpPr>
            <p:spPr bwMode="auto">
              <a:xfrm>
                <a:off x="1188" y="1338"/>
                <a:ext cx="66" cy="66"/>
              </a:xfrm>
              <a:custGeom>
                <a:avLst/>
                <a:gdLst>
                  <a:gd name="T0" fmla="*/ 30 w 66"/>
                  <a:gd name="T1" fmla="*/ 60 h 66"/>
                  <a:gd name="T2" fmla="*/ 36 w 66"/>
                  <a:gd name="T3" fmla="*/ 54 h 66"/>
                  <a:gd name="T4" fmla="*/ 30 w 66"/>
                  <a:gd name="T5" fmla="*/ 48 h 66"/>
                  <a:gd name="T6" fmla="*/ 24 w 66"/>
                  <a:gd name="T7" fmla="*/ 48 h 66"/>
                  <a:gd name="T8" fmla="*/ 18 w 66"/>
                  <a:gd name="T9" fmla="*/ 42 h 66"/>
                  <a:gd name="T10" fmla="*/ 18 w 66"/>
                  <a:gd name="T11" fmla="*/ 36 h 66"/>
                  <a:gd name="T12" fmla="*/ 18 w 66"/>
                  <a:gd name="T13" fmla="*/ 30 h 66"/>
                  <a:gd name="T14" fmla="*/ 12 w 66"/>
                  <a:gd name="T15" fmla="*/ 30 h 66"/>
                  <a:gd name="T16" fmla="*/ 6 w 66"/>
                  <a:gd name="T17" fmla="*/ 36 h 66"/>
                  <a:gd name="T18" fmla="*/ 6 w 66"/>
                  <a:gd name="T19" fmla="*/ 24 h 66"/>
                  <a:gd name="T20" fmla="*/ 6 w 66"/>
                  <a:gd name="T21" fmla="*/ 18 h 66"/>
                  <a:gd name="T22" fmla="*/ 0 w 66"/>
                  <a:gd name="T23" fmla="*/ 6 h 66"/>
                  <a:gd name="T24" fmla="*/ 0 w 66"/>
                  <a:gd name="T25" fmla="*/ 0 h 66"/>
                  <a:gd name="T26" fmla="*/ 6 w 66"/>
                  <a:gd name="T27" fmla="*/ 6 h 66"/>
                  <a:gd name="T28" fmla="*/ 18 w 66"/>
                  <a:gd name="T29" fmla="*/ 0 h 66"/>
                  <a:gd name="T30" fmla="*/ 24 w 66"/>
                  <a:gd name="T31" fmla="*/ 0 h 66"/>
                  <a:gd name="T32" fmla="*/ 30 w 66"/>
                  <a:gd name="T33" fmla="*/ 0 h 66"/>
                  <a:gd name="T34" fmla="*/ 36 w 66"/>
                  <a:gd name="T35" fmla="*/ 0 h 66"/>
                  <a:gd name="T36" fmla="*/ 42 w 66"/>
                  <a:gd name="T37" fmla="*/ 0 h 66"/>
                  <a:gd name="T38" fmla="*/ 48 w 66"/>
                  <a:gd name="T39" fmla="*/ 0 h 66"/>
                  <a:gd name="T40" fmla="*/ 54 w 66"/>
                  <a:gd name="T41" fmla="*/ 0 h 66"/>
                  <a:gd name="T42" fmla="*/ 60 w 66"/>
                  <a:gd name="T43" fmla="*/ 6 h 66"/>
                  <a:gd name="T44" fmla="*/ 60 w 66"/>
                  <a:gd name="T45" fmla="*/ 12 h 66"/>
                  <a:gd name="T46" fmla="*/ 60 w 66"/>
                  <a:gd name="T47" fmla="*/ 24 h 66"/>
                  <a:gd name="T48" fmla="*/ 60 w 66"/>
                  <a:gd name="T49" fmla="*/ 30 h 66"/>
                  <a:gd name="T50" fmla="*/ 60 w 66"/>
                  <a:gd name="T51" fmla="*/ 42 h 66"/>
                  <a:gd name="T52" fmla="*/ 60 w 66"/>
                  <a:gd name="T53" fmla="*/ 48 h 66"/>
                  <a:gd name="T54" fmla="*/ 60 w 66"/>
                  <a:gd name="T55" fmla="*/ 54 h 66"/>
                  <a:gd name="T56" fmla="*/ 66 w 66"/>
                  <a:gd name="T57" fmla="*/ 66 h 66"/>
                  <a:gd name="T58" fmla="*/ 48 w 66"/>
                  <a:gd name="T59" fmla="*/ 60 h 66"/>
                  <a:gd name="T60" fmla="*/ 30 w 66"/>
                  <a:gd name="T61" fmla="*/ 60 h 6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66" h="66">
                    <a:moveTo>
                      <a:pt x="30" y="60"/>
                    </a:moveTo>
                    <a:lnTo>
                      <a:pt x="36" y="54"/>
                    </a:lnTo>
                    <a:lnTo>
                      <a:pt x="30" y="48"/>
                    </a:lnTo>
                    <a:lnTo>
                      <a:pt x="24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2" y="30"/>
                    </a:lnTo>
                    <a:lnTo>
                      <a:pt x="6" y="36"/>
                    </a:lnTo>
                    <a:lnTo>
                      <a:pt x="6" y="24"/>
                    </a:lnTo>
                    <a:lnTo>
                      <a:pt x="6" y="18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0" y="0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54" y="0"/>
                    </a:lnTo>
                    <a:lnTo>
                      <a:pt x="60" y="6"/>
                    </a:lnTo>
                    <a:lnTo>
                      <a:pt x="60" y="12"/>
                    </a:lnTo>
                    <a:lnTo>
                      <a:pt x="60" y="24"/>
                    </a:lnTo>
                    <a:lnTo>
                      <a:pt x="60" y="30"/>
                    </a:lnTo>
                    <a:lnTo>
                      <a:pt x="60" y="42"/>
                    </a:lnTo>
                    <a:lnTo>
                      <a:pt x="60" y="48"/>
                    </a:lnTo>
                    <a:lnTo>
                      <a:pt x="60" y="54"/>
                    </a:lnTo>
                    <a:lnTo>
                      <a:pt x="66" y="66"/>
                    </a:lnTo>
                    <a:lnTo>
                      <a:pt x="48" y="60"/>
                    </a:lnTo>
                    <a:lnTo>
                      <a:pt x="3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28" name="Group 311"/>
            <p:cNvGrpSpPr>
              <a:grpSpLocks/>
            </p:cNvGrpSpPr>
            <p:nvPr/>
          </p:nvGrpSpPr>
          <p:grpSpPr bwMode="auto">
            <a:xfrm>
              <a:off x="717811" y="3022778"/>
              <a:ext cx="109553" cy="50570"/>
              <a:chOff x="1218" y="1308"/>
              <a:chExt cx="54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1730" name="Freeform 312"/>
              <p:cNvSpPr>
                <a:spLocks/>
              </p:cNvSpPr>
              <p:nvPr/>
            </p:nvSpPr>
            <p:spPr bwMode="auto">
              <a:xfrm>
                <a:off x="1218" y="1308"/>
                <a:ext cx="54" cy="30"/>
              </a:xfrm>
              <a:custGeom>
                <a:avLst/>
                <a:gdLst>
                  <a:gd name="T0" fmla="*/ 18 w 54"/>
                  <a:gd name="T1" fmla="*/ 6 h 30"/>
                  <a:gd name="T2" fmla="*/ 12 w 54"/>
                  <a:gd name="T3" fmla="*/ 6 h 30"/>
                  <a:gd name="T4" fmla="*/ 6 w 54"/>
                  <a:gd name="T5" fmla="*/ 12 h 30"/>
                  <a:gd name="T6" fmla="*/ 0 w 54"/>
                  <a:gd name="T7" fmla="*/ 18 h 30"/>
                  <a:gd name="T8" fmla="*/ 0 w 54"/>
                  <a:gd name="T9" fmla="*/ 30 h 30"/>
                  <a:gd name="T10" fmla="*/ 0 w 54"/>
                  <a:gd name="T11" fmla="*/ 30 h 30"/>
                  <a:gd name="T12" fmla="*/ 12 w 54"/>
                  <a:gd name="T13" fmla="*/ 30 h 30"/>
                  <a:gd name="T14" fmla="*/ 18 w 54"/>
                  <a:gd name="T15" fmla="*/ 30 h 30"/>
                  <a:gd name="T16" fmla="*/ 18 w 54"/>
                  <a:gd name="T17" fmla="*/ 30 h 30"/>
                  <a:gd name="T18" fmla="*/ 24 w 54"/>
                  <a:gd name="T19" fmla="*/ 30 h 30"/>
                  <a:gd name="T20" fmla="*/ 24 w 54"/>
                  <a:gd name="T21" fmla="*/ 30 h 30"/>
                  <a:gd name="T22" fmla="*/ 24 w 54"/>
                  <a:gd name="T23" fmla="*/ 24 h 30"/>
                  <a:gd name="T24" fmla="*/ 30 w 54"/>
                  <a:gd name="T25" fmla="*/ 18 h 30"/>
                  <a:gd name="T26" fmla="*/ 30 w 54"/>
                  <a:gd name="T27" fmla="*/ 18 h 30"/>
                  <a:gd name="T28" fmla="*/ 36 w 54"/>
                  <a:gd name="T29" fmla="*/ 18 h 30"/>
                  <a:gd name="T30" fmla="*/ 42 w 54"/>
                  <a:gd name="T31" fmla="*/ 18 h 30"/>
                  <a:gd name="T32" fmla="*/ 48 w 54"/>
                  <a:gd name="T33" fmla="*/ 18 h 30"/>
                  <a:gd name="T34" fmla="*/ 54 w 54"/>
                  <a:gd name="T35" fmla="*/ 18 h 30"/>
                  <a:gd name="T36" fmla="*/ 54 w 54"/>
                  <a:gd name="T37" fmla="*/ 12 h 30"/>
                  <a:gd name="T38" fmla="*/ 54 w 54"/>
                  <a:gd name="T39" fmla="*/ 12 h 30"/>
                  <a:gd name="T40" fmla="*/ 48 w 54"/>
                  <a:gd name="T41" fmla="*/ 12 h 30"/>
                  <a:gd name="T42" fmla="*/ 48 w 54"/>
                  <a:gd name="T43" fmla="*/ 12 h 30"/>
                  <a:gd name="T44" fmla="*/ 42 w 54"/>
                  <a:gd name="T45" fmla="*/ 6 h 30"/>
                  <a:gd name="T46" fmla="*/ 42 w 54"/>
                  <a:gd name="T47" fmla="*/ 0 h 30"/>
                  <a:gd name="T48" fmla="*/ 24 w 54"/>
                  <a:gd name="T49" fmla="*/ 6 h 30"/>
                  <a:gd name="T50" fmla="*/ 18 w 54"/>
                  <a:gd name="T51" fmla="*/ 6 h 3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54" h="30">
                    <a:moveTo>
                      <a:pt x="18" y="6"/>
                    </a:moveTo>
                    <a:lnTo>
                      <a:pt x="12" y="6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30" y="18"/>
                    </a:lnTo>
                    <a:lnTo>
                      <a:pt x="36" y="18"/>
                    </a:lnTo>
                    <a:lnTo>
                      <a:pt x="42" y="18"/>
                    </a:lnTo>
                    <a:lnTo>
                      <a:pt x="48" y="18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42" y="0"/>
                    </a:lnTo>
                    <a:lnTo>
                      <a:pt x="24" y="6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31" name="Freeform 313"/>
              <p:cNvSpPr>
                <a:spLocks/>
              </p:cNvSpPr>
              <p:nvPr/>
            </p:nvSpPr>
            <p:spPr bwMode="auto">
              <a:xfrm>
                <a:off x="1218" y="1308"/>
                <a:ext cx="54" cy="30"/>
              </a:xfrm>
              <a:custGeom>
                <a:avLst/>
                <a:gdLst>
                  <a:gd name="T0" fmla="*/ 18 w 54"/>
                  <a:gd name="T1" fmla="*/ 6 h 30"/>
                  <a:gd name="T2" fmla="*/ 12 w 54"/>
                  <a:gd name="T3" fmla="*/ 6 h 30"/>
                  <a:gd name="T4" fmla="*/ 6 w 54"/>
                  <a:gd name="T5" fmla="*/ 12 h 30"/>
                  <a:gd name="T6" fmla="*/ 0 w 54"/>
                  <a:gd name="T7" fmla="*/ 18 h 30"/>
                  <a:gd name="T8" fmla="*/ 0 w 54"/>
                  <a:gd name="T9" fmla="*/ 30 h 30"/>
                  <a:gd name="T10" fmla="*/ 12 w 54"/>
                  <a:gd name="T11" fmla="*/ 30 h 30"/>
                  <a:gd name="T12" fmla="*/ 18 w 54"/>
                  <a:gd name="T13" fmla="*/ 30 h 30"/>
                  <a:gd name="T14" fmla="*/ 24 w 54"/>
                  <a:gd name="T15" fmla="*/ 30 h 30"/>
                  <a:gd name="T16" fmla="*/ 24 w 54"/>
                  <a:gd name="T17" fmla="*/ 24 h 30"/>
                  <a:gd name="T18" fmla="*/ 30 w 54"/>
                  <a:gd name="T19" fmla="*/ 18 h 30"/>
                  <a:gd name="T20" fmla="*/ 36 w 54"/>
                  <a:gd name="T21" fmla="*/ 18 h 30"/>
                  <a:gd name="T22" fmla="*/ 42 w 54"/>
                  <a:gd name="T23" fmla="*/ 18 h 30"/>
                  <a:gd name="T24" fmla="*/ 48 w 54"/>
                  <a:gd name="T25" fmla="*/ 18 h 30"/>
                  <a:gd name="T26" fmla="*/ 54 w 54"/>
                  <a:gd name="T27" fmla="*/ 18 h 30"/>
                  <a:gd name="T28" fmla="*/ 54 w 54"/>
                  <a:gd name="T29" fmla="*/ 12 h 30"/>
                  <a:gd name="T30" fmla="*/ 48 w 54"/>
                  <a:gd name="T31" fmla="*/ 12 h 30"/>
                  <a:gd name="T32" fmla="*/ 42 w 54"/>
                  <a:gd name="T33" fmla="*/ 6 h 30"/>
                  <a:gd name="T34" fmla="*/ 42 w 54"/>
                  <a:gd name="T35" fmla="*/ 0 h 30"/>
                  <a:gd name="T36" fmla="*/ 24 w 54"/>
                  <a:gd name="T37" fmla="*/ 6 h 30"/>
                  <a:gd name="T38" fmla="*/ 18 w 54"/>
                  <a:gd name="T39" fmla="*/ 6 h 3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4" h="30">
                    <a:moveTo>
                      <a:pt x="18" y="6"/>
                    </a:moveTo>
                    <a:lnTo>
                      <a:pt x="12" y="6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30" y="18"/>
                    </a:lnTo>
                    <a:lnTo>
                      <a:pt x="36" y="18"/>
                    </a:lnTo>
                    <a:lnTo>
                      <a:pt x="42" y="18"/>
                    </a:lnTo>
                    <a:lnTo>
                      <a:pt x="48" y="18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42" y="0"/>
                    </a:lnTo>
                    <a:lnTo>
                      <a:pt x="24" y="6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29" name="Group 314"/>
            <p:cNvGrpSpPr>
              <a:grpSpLocks/>
            </p:cNvGrpSpPr>
            <p:nvPr/>
          </p:nvGrpSpPr>
          <p:grpSpPr bwMode="auto">
            <a:xfrm>
              <a:off x="765861" y="3053120"/>
              <a:ext cx="49972" cy="133505"/>
              <a:chOff x="1242" y="1326"/>
              <a:chExt cx="24" cy="78"/>
            </a:xfrm>
            <a:solidFill>
              <a:srgbClr val="0070C0">
                <a:alpha val="27059"/>
              </a:srgbClr>
            </a:solidFill>
          </p:grpSpPr>
          <p:sp>
            <p:nvSpPr>
              <p:cNvPr id="1728" name="Freeform 315"/>
              <p:cNvSpPr>
                <a:spLocks/>
              </p:cNvSpPr>
              <p:nvPr/>
            </p:nvSpPr>
            <p:spPr bwMode="auto">
              <a:xfrm>
                <a:off x="1242" y="1326"/>
                <a:ext cx="24" cy="78"/>
              </a:xfrm>
              <a:custGeom>
                <a:avLst/>
                <a:gdLst>
                  <a:gd name="T0" fmla="*/ 12 w 24"/>
                  <a:gd name="T1" fmla="*/ 0 h 78"/>
                  <a:gd name="T2" fmla="*/ 12 w 24"/>
                  <a:gd name="T3" fmla="*/ 0 h 78"/>
                  <a:gd name="T4" fmla="*/ 6 w 24"/>
                  <a:gd name="T5" fmla="*/ 0 h 78"/>
                  <a:gd name="T6" fmla="*/ 0 w 24"/>
                  <a:gd name="T7" fmla="*/ 6 h 78"/>
                  <a:gd name="T8" fmla="*/ 0 w 24"/>
                  <a:gd name="T9" fmla="*/ 6 h 78"/>
                  <a:gd name="T10" fmla="*/ 0 w 24"/>
                  <a:gd name="T11" fmla="*/ 12 h 78"/>
                  <a:gd name="T12" fmla="*/ 6 w 24"/>
                  <a:gd name="T13" fmla="*/ 24 h 78"/>
                  <a:gd name="T14" fmla="*/ 6 w 24"/>
                  <a:gd name="T15" fmla="*/ 30 h 78"/>
                  <a:gd name="T16" fmla="*/ 6 w 24"/>
                  <a:gd name="T17" fmla="*/ 42 h 78"/>
                  <a:gd name="T18" fmla="*/ 6 w 24"/>
                  <a:gd name="T19" fmla="*/ 48 h 78"/>
                  <a:gd name="T20" fmla="*/ 6 w 24"/>
                  <a:gd name="T21" fmla="*/ 66 h 78"/>
                  <a:gd name="T22" fmla="*/ 12 w 24"/>
                  <a:gd name="T23" fmla="*/ 78 h 78"/>
                  <a:gd name="T24" fmla="*/ 24 w 24"/>
                  <a:gd name="T25" fmla="*/ 78 h 78"/>
                  <a:gd name="T26" fmla="*/ 24 w 24"/>
                  <a:gd name="T27" fmla="*/ 54 h 78"/>
                  <a:gd name="T28" fmla="*/ 24 w 24"/>
                  <a:gd name="T29" fmla="*/ 24 h 78"/>
                  <a:gd name="T30" fmla="*/ 18 w 24"/>
                  <a:gd name="T31" fmla="*/ 6 h 78"/>
                  <a:gd name="T32" fmla="*/ 18 w 24"/>
                  <a:gd name="T33" fmla="*/ 0 h 78"/>
                  <a:gd name="T34" fmla="*/ 12 w 24"/>
                  <a:gd name="T35" fmla="*/ 0 h 78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4" h="78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6" y="66"/>
                    </a:lnTo>
                    <a:lnTo>
                      <a:pt x="12" y="78"/>
                    </a:lnTo>
                    <a:lnTo>
                      <a:pt x="24" y="78"/>
                    </a:lnTo>
                    <a:lnTo>
                      <a:pt x="24" y="54"/>
                    </a:lnTo>
                    <a:lnTo>
                      <a:pt x="24" y="24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29" name="Freeform 316"/>
              <p:cNvSpPr>
                <a:spLocks/>
              </p:cNvSpPr>
              <p:nvPr/>
            </p:nvSpPr>
            <p:spPr bwMode="auto">
              <a:xfrm>
                <a:off x="1242" y="1326"/>
                <a:ext cx="24" cy="78"/>
              </a:xfrm>
              <a:custGeom>
                <a:avLst/>
                <a:gdLst>
                  <a:gd name="T0" fmla="*/ 12 w 24"/>
                  <a:gd name="T1" fmla="*/ 0 h 78"/>
                  <a:gd name="T2" fmla="*/ 6 w 24"/>
                  <a:gd name="T3" fmla="*/ 0 h 78"/>
                  <a:gd name="T4" fmla="*/ 0 w 24"/>
                  <a:gd name="T5" fmla="*/ 6 h 78"/>
                  <a:gd name="T6" fmla="*/ 0 w 24"/>
                  <a:gd name="T7" fmla="*/ 12 h 78"/>
                  <a:gd name="T8" fmla="*/ 6 w 24"/>
                  <a:gd name="T9" fmla="*/ 24 h 78"/>
                  <a:gd name="T10" fmla="*/ 6 w 24"/>
                  <a:gd name="T11" fmla="*/ 30 h 78"/>
                  <a:gd name="T12" fmla="*/ 6 w 24"/>
                  <a:gd name="T13" fmla="*/ 42 h 78"/>
                  <a:gd name="T14" fmla="*/ 6 w 24"/>
                  <a:gd name="T15" fmla="*/ 48 h 78"/>
                  <a:gd name="T16" fmla="*/ 6 w 24"/>
                  <a:gd name="T17" fmla="*/ 66 h 78"/>
                  <a:gd name="T18" fmla="*/ 12 w 24"/>
                  <a:gd name="T19" fmla="*/ 78 h 78"/>
                  <a:gd name="T20" fmla="*/ 24 w 24"/>
                  <a:gd name="T21" fmla="*/ 78 h 78"/>
                  <a:gd name="T22" fmla="*/ 24 w 24"/>
                  <a:gd name="T23" fmla="*/ 54 h 78"/>
                  <a:gd name="T24" fmla="*/ 24 w 24"/>
                  <a:gd name="T25" fmla="*/ 24 h 78"/>
                  <a:gd name="T26" fmla="*/ 18 w 24"/>
                  <a:gd name="T27" fmla="*/ 6 h 78"/>
                  <a:gd name="T28" fmla="*/ 18 w 24"/>
                  <a:gd name="T29" fmla="*/ 0 h 78"/>
                  <a:gd name="T30" fmla="*/ 12 w 24"/>
                  <a:gd name="T31" fmla="*/ 0 h 7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4" h="78">
                    <a:moveTo>
                      <a:pt x="12" y="0"/>
                    </a:move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6" y="66"/>
                    </a:lnTo>
                    <a:lnTo>
                      <a:pt x="12" y="78"/>
                    </a:lnTo>
                    <a:lnTo>
                      <a:pt x="24" y="78"/>
                    </a:lnTo>
                    <a:lnTo>
                      <a:pt x="24" y="54"/>
                    </a:lnTo>
                    <a:lnTo>
                      <a:pt x="24" y="24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30" name="Group 317"/>
            <p:cNvGrpSpPr>
              <a:grpSpLocks/>
            </p:cNvGrpSpPr>
            <p:nvPr/>
          </p:nvGrpSpPr>
          <p:grpSpPr bwMode="auto">
            <a:xfrm>
              <a:off x="804301" y="3053120"/>
              <a:ext cx="34596" cy="133505"/>
              <a:chOff x="1260" y="1326"/>
              <a:chExt cx="18" cy="78"/>
            </a:xfrm>
            <a:solidFill>
              <a:srgbClr val="0070C0">
                <a:alpha val="27059"/>
              </a:srgbClr>
            </a:solidFill>
          </p:grpSpPr>
          <p:sp>
            <p:nvSpPr>
              <p:cNvPr id="1726" name="Freeform 318"/>
              <p:cNvSpPr>
                <a:spLocks/>
              </p:cNvSpPr>
              <p:nvPr/>
            </p:nvSpPr>
            <p:spPr bwMode="auto">
              <a:xfrm>
                <a:off x="1260" y="1326"/>
                <a:ext cx="18" cy="78"/>
              </a:xfrm>
              <a:custGeom>
                <a:avLst/>
                <a:gdLst>
                  <a:gd name="T0" fmla="*/ 0 w 18"/>
                  <a:gd name="T1" fmla="*/ 0 h 78"/>
                  <a:gd name="T2" fmla="*/ 6 w 18"/>
                  <a:gd name="T3" fmla="*/ 0 h 78"/>
                  <a:gd name="T4" fmla="*/ 6 w 18"/>
                  <a:gd name="T5" fmla="*/ 0 h 78"/>
                  <a:gd name="T6" fmla="*/ 12 w 18"/>
                  <a:gd name="T7" fmla="*/ 6 h 78"/>
                  <a:gd name="T8" fmla="*/ 12 w 18"/>
                  <a:gd name="T9" fmla="*/ 6 h 78"/>
                  <a:gd name="T10" fmla="*/ 12 w 18"/>
                  <a:gd name="T11" fmla="*/ 12 h 78"/>
                  <a:gd name="T12" fmla="*/ 18 w 18"/>
                  <a:gd name="T13" fmla="*/ 18 h 78"/>
                  <a:gd name="T14" fmla="*/ 18 w 18"/>
                  <a:gd name="T15" fmla="*/ 24 h 78"/>
                  <a:gd name="T16" fmla="*/ 18 w 18"/>
                  <a:gd name="T17" fmla="*/ 72 h 78"/>
                  <a:gd name="T18" fmla="*/ 12 w 18"/>
                  <a:gd name="T19" fmla="*/ 72 h 78"/>
                  <a:gd name="T20" fmla="*/ 12 w 18"/>
                  <a:gd name="T21" fmla="*/ 72 h 78"/>
                  <a:gd name="T22" fmla="*/ 6 w 18"/>
                  <a:gd name="T23" fmla="*/ 78 h 78"/>
                  <a:gd name="T24" fmla="*/ 6 w 18"/>
                  <a:gd name="T25" fmla="*/ 42 h 78"/>
                  <a:gd name="T26" fmla="*/ 6 w 18"/>
                  <a:gd name="T27" fmla="*/ 18 h 78"/>
                  <a:gd name="T28" fmla="*/ 0 w 18"/>
                  <a:gd name="T29" fmla="*/ 6 h 78"/>
                  <a:gd name="T30" fmla="*/ 0 w 18"/>
                  <a:gd name="T31" fmla="*/ 0 h 7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8" h="78">
                    <a:moveTo>
                      <a:pt x="0" y="0"/>
                    </a:moveTo>
                    <a:lnTo>
                      <a:pt x="6" y="0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18" y="18"/>
                    </a:lnTo>
                    <a:lnTo>
                      <a:pt x="18" y="24"/>
                    </a:lnTo>
                    <a:lnTo>
                      <a:pt x="18" y="72"/>
                    </a:lnTo>
                    <a:lnTo>
                      <a:pt x="12" y="72"/>
                    </a:lnTo>
                    <a:lnTo>
                      <a:pt x="6" y="78"/>
                    </a:lnTo>
                    <a:lnTo>
                      <a:pt x="6" y="42"/>
                    </a:lnTo>
                    <a:lnTo>
                      <a:pt x="6" y="1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27" name="Freeform 319"/>
              <p:cNvSpPr>
                <a:spLocks/>
              </p:cNvSpPr>
              <p:nvPr/>
            </p:nvSpPr>
            <p:spPr bwMode="auto">
              <a:xfrm>
                <a:off x="1260" y="1326"/>
                <a:ext cx="18" cy="78"/>
              </a:xfrm>
              <a:custGeom>
                <a:avLst/>
                <a:gdLst>
                  <a:gd name="T0" fmla="*/ 0 w 18"/>
                  <a:gd name="T1" fmla="*/ 0 h 78"/>
                  <a:gd name="T2" fmla="*/ 6 w 18"/>
                  <a:gd name="T3" fmla="*/ 0 h 78"/>
                  <a:gd name="T4" fmla="*/ 12 w 18"/>
                  <a:gd name="T5" fmla="*/ 6 h 78"/>
                  <a:gd name="T6" fmla="*/ 12 w 18"/>
                  <a:gd name="T7" fmla="*/ 12 h 78"/>
                  <a:gd name="T8" fmla="*/ 18 w 18"/>
                  <a:gd name="T9" fmla="*/ 18 h 78"/>
                  <a:gd name="T10" fmla="*/ 18 w 18"/>
                  <a:gd name="T11" fmla="*/ 24 h 78"/>
                  <a:gd name="T12" fmla="*/ 18 w 18"/>
                  <a:gd name="T13" fmla="*/ 72 h 78"/>
                  <a:gd name="T14" fmla="*/ 12 w 18"/>
                  <a:gd name="T15" fmla="*/ 72 h 78"/>
                  <a:gd name="T16" fmla="*/ 6 w 18"/>
                  <a:gd name="T17" fmla="*/ 78 h 78"/>
                  <a:gd name="T18" fmla="*/ 6 w 18"/>
                  <a:gd name="T19" fmla="*/ 42 h 78"/>
                  <a:gd name="T20" fmla="*/ 6 w 18"/>
                  <a:gd name="T21" fmla="*/ 18 h 78"/>
                  <a:gd name="T22" fmla="*/ 0 w 18"/>
                  <a:gd name="T23" fmla="*/ 6 h 78"/>
                  <a:gd name="T24" fmla="*/ 0 w 18"/>
                  <a:gd name="T25" fmla="*/ 0 h 7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" h="78">
                    <a:moveTo>
                      <a:pt x="0" y="0"/>
                    </a:moveTo>
                    <a:lnTo>
                      <a:pt x="6" y="0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18" y="18"/>
                    </a:lnTo>
                    <a:lnTo>
                      <a:pt x="18" y="24"/>
                    </a:lnTo>
                    <a:lnTo>
                      <a:pt x="18" y="72"/>
                    </a:lnTo>
                    <a:lnTo>
                      <a:pt x="12" y="72"/>
                    </a:lnTo>
                    <a:lnTo>
                      <a:pt x="6" y="78"/>
                    </a:lnTo>
                    <a:lnTo>
                      <a:pt x="6" y="42"/>
                    </a:lnTo>
                    <a:lnTo>
                      <a:pt x="6" y="1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31" name="Group 320"/>
            <p:cNvGrpSpPr>
              <a:grpSpLocks/>
            </p:cNvGrpSpPr>
            <p:nvPr/>
          </p:nvGrpSpPr>
          <p:grpSpPr bwMode="auto">
            <a:xfrm>
              <a:off x="815833" y="3043006"/>
              <a:ext cx="61504" cy="133505"/>
              <a:chOff x="1266" y="1320"/>
              <a:chExt cx="30" cy="78"/>
            </a:xfrm>
            <a:solidFill>
              <a:srgbClr val="0070C0">
                <a:alpha val="27059"/>
              </a:srgbClr>
            </a:solidFill>
          </p:grpSpPr>
          <p:sp>
            <p:nvSpPr>
              <p:cNvPr id="1724" name="Freeform 321"/>
              <p:cNvSpPr>
                <a:spLocks/>
              </p:cNvSpPr>
              <p:nvPr/>
            </p:nvSpPr>
            <p:spPr bwMode="auto">
              <a:xfrm>
                <a:off x="1266" y="1320"/>
                <a:ext cx="30" cy="78"/>
              </a:xfrm>
              <a:custGeom>
                <a:avLst/>
                <a:gdLst>
                  <a:gd name="T0" fmla="*/ 12 w 30"/>
                  <a:gd name="T1" fmla="*/ 78 h 78"/>
                  <a:gd name="T2" fmla="*/ 12 w 30"/>
                  <a:gd name="T3" fmla="*/ 24 h 78"/>
                  <a:gd name="T4" fmla="*/ 12 w 30"/>
                  <a:gd name="T5" fmla="*/ 18 h 78"/>
                  <a:gd name="T6" fmla="*/ 6 w 30"/>
                  <a:gd name="T7" fmla="*/ 12 h 78"/>
                  <a:gd name="T8" fmla="*/ 0 w 30"/>
                  <a:gd name="T9" fmla="*/ 12 h 78"/>
                  <a:gd name="T10" fmla="*/ 0 w 30"/>
                  <a:gd name="T11" fmla="*/ 6 h 78"/>
                  <a:gd name="T12" fmla="*/ 12 w 30"/>
                  <a:gd name="T13" fmla="*/ 6 h 78"/>
                  <a:gd name="T14" fmla="*/ 12 w 30"/>
                  <a:gd name="T15" fmla="*/ 0 h 78"/>
                  <a:gd name="T16" fmla="*/ 24 w 30"/>
                  <a:gd name="T17" fmla="*/ 6 h 78"/>
                  <a:gd name="T18" fmla="*/ 24 w 30"/>
                  <a:gd name="T19" fmla="*/ 6 h 78"/>
                  <a:gd name="T20" fmla="*/ 30 w 30"/>
                  <a:gd name="T21" fmla="*/ 12 h 78"/>
                  <a:gd name="T22" fmla="*/ 30 w 30"/>
                  <a:gd name="T23" fmla="*/ 24 h 78"/>
                  <a:gd name="T24" fmla="*/ 30 w 30"/>
                  <a:gd name="T25" fmla="*/ 36 h 78"/>
                  <a:gd name="T26" fmla="*/ 30 w 30"/>
                  <a:gd name="T27" fmla="*/ 42 h 78"/>
                  <a:gd name="T28" fmla="*/ 30 w 30"/>
                  <a:gd name="T29" fmla="*/ 60 h 78"/>
                  <a:gd name="T30" fmla="*/ 30 w 30"/>
                  <a:gd name="T31" fmla="*/ 72 h 78"/>
                  <a:gd name="T32" fmla="*/ 12 w 30"/>
                  <a:gd name="T33" fmla="*/ 78 h 7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0" h="78">
                    <a:moveTo>
                      <a:pt x="12" y="78"/>
                    </a:moveTo>
                    <a:lnTo>
                      <a:pt x="12" y="24"/>
                    </a:lnTo>
                    <a:lnTo>
                      <a:pt x="12" y="18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24" y="6"/>
                    </a:lnTo>
                    <a:lnTo>
                      <a:pt x="30" y="12"/>
                    </a:lnTo>
                    <a:lnTo>
                      <a:pt x="30" y="24"/>
                    </a:lnTo>
                    <a:lnTo>
                      <a:pt x="30" y="36"/>
                    </a:lnTo>
                    <a:lnTo>
                      <a:pt x="30" y="42"/>
                    </a:lnTo>
                    <a:lnTo>
                      <a:pt x="30" y="60"/>
                    </a:lnTo>
                    <a:lnTo>
                      <a:pt x="30" y="72"/>
                    </a:lnTo>
                    <a:lnTo>
                      <a:pt x="12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25" name="Freeform 322"/>
              <p:cNvSpPr>
                <a:spLocks/>
              </p:cNvSpPr>
              <p:nvPr/>
            </p:nvSpPr>
            <p:spPr bwMode="auto">
              <a:xfrm>
                <a:off x="1266" y="1320"/>
                <a:ext cx="30" cy="78"/>
              </a:xfrm>
              <a:custGeom>
                <a:avLst/>
                <a:gdLst>
                  <a:gd name="T0" fmla="*/ 12 w 30"/>
                  <a:gd name="T1" fmla="*/ 78 h 78"/>
                  <a:gd name="T2" fmla="*/ 12 w 30"/>
                  <a:gd name="T3" fmla="*/ 24 h 78"/>
                  <a:gd name="T4" fmla="*/ 12 w 30"/>
                  <a:gd name="T5" fmla="*/ 18 h 78"/>
                  <a:gd name="T6" fmla="*/ 6 w 30"/>
                  <a:gd name="T7" fmla="*/ 12 h 78"/>
                  <a:gd name="T8" fmla="*/ 0 w 30"/>
                  <a:gd name="T9" fmla="*/ 12 h 78"/>
                  <a:gd name="T10" fmla="*/ 0 w 30"/>
                  <a:gd name="T11" fmla="*/ 6 h 78"/>
                  <a:gd name="T12" fmla="*/ 12 w 30"/>
                  <a:gd name="T13" fmla="*/ 6 h 78"/>
                  <a:gd name="T14" fmla="*/ 12 w 30"/>
                  <a:gd name="T15" fmla="*/ 0 h 78"/>
                  <a:gd name="T16" fmla="*/ 24 w 30"/>
                  <a:gd name="T17" fmla="*/ 6 h 78"/>
                  <a:gd name="T18" fmla="*/ 30 w 30"/>
                  <a:gd name="T19" fmla="*/ 12 h 78"/>
                  <a:gd name="T20" fmla="*/ 30 w 30"/>
                  <a:gd name="T21" fmla="*/ 24 h 78"/>
                  <a:gd name="T22" fmla="*/ 30 w 30"/>
                  <a:gd name="T23" fmla="*/ 36 h 78"/>
                  <a:gd name="T24" fmla="*/ 30 w 30"/>
                  <a:gd name="T25" fmla="*/ 42 h 78"/>
                  <a:gd name="T26" fmla="*/ 30 w 30"/>
                  <a:gd name="T27" fmla="*/ 60 h 78"/>
                  <a:gd name="T28" fmla="*/ 30 w 30"/>
                  <a:gd name="T29" fmla="*/ 72 h 78"/>
                  <a:gd name="T30" fmla="*/ 12 w 30"/>
                  <a:gd name="T31" fmla="*/ 78 h 7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0" h="78">
                    <a:moveTo>
                      <a:pt x="12" y="78"/>
                    </a:moveTo>
                    <a:lnTo>
                      <a:pt x="12" y="24"/>
                    </a:lnTo>
                    <a:lnTo>
                      <a:pt x="12" y="18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24" y="6"/>
                    </a:lnTo>
                    <a:lnTo>
                      <a:pt x="30" y="12"/>
                    </a:lnTo>
                    <a:lnTo>
                      <a:pt x="30" y="24"/>
                    </a:lnTo>
                    <a:lnTo>
                      <a:pt x="30" y="36"/>
                    </a:lnTo>
                    <a:lnTo>
                      <a:pt x="30" y="42"/>
                    </a:lnTo>
                    <a:lnTo>
                      <a:pt x="30" y="60"/>
                    </a:lnTo>
                    <a:lnTo>
                      <a:pt x="30" y="72"/>
                    </a:lnTo>
                    <a:lnTo>
                      <a:pt x="12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32" name="Group 323"/>
            <p:cNvGrpSpPr>
              <a:grpSpLocks/>
            </p:cNvGrpSpPr>
            <p:nvPr/>
          </p:nvGrpSpPr>
          <p:grpSpPr bwMode="auto">
            <a:xfrm>
              <a:off x="571740" y="2620239"/>
              <a:ext cx="244092" cy="165870"/>
              <a:chOff x="1146" y="1074"/>
              <a:chExt cx="120" cy="96"/>
            </a:xfrm>
            <a:solidFill>
              <a:srgbClr val="0070C0">
                <a:alpha val="27059"/>
              </a:srgbClr>
            </a:solidFill>
          </p:grpSpPr>
          <p:sp>
            <p:nvSpPr>
              <p:cNvPr id="1722" name="Freeform 324"/>
              <p:cNvSpPr>
                <a:spLocks/>
              </p:cNvSpPr>
              <p:nvPr/>
            </p:nvSpPr>
            <p:spPr bwMode="auto">
              <a:xfrm>
                <a:off x="1146" y="1074"/>
                <a:ext cx="120" cy="96"/>
              </a:xfrm>
              <a:custGeom>
                <a:avLst/>
                <a:gdLst>
                  <a:gd name="T0" fmla="*/ 0 w 120"/>
                  <a:gd name="T1" fmla="*/ 90 h 96"/>
                  <a:gd name="T2" fmla="*/ 6 w 120"/>
                  <a:gd name="T3" fmla="*/ 90 h 96"/>
                  <a:gd name="T4" fmla="*/ 12 w 120"/>
                  <a:gd name="T5" fmla="*/ 84 h 96"/>
                  <a:gd name="T6" fmla="*/ 18 w 120"/>
                  <a:gd name="T7" fmla="*/ 84 h 96"/>
                  <a:gd name="T8" fmla="*/ 30 w 120"/>
                  <a:gd name="T9" fmla="*/ 72 h 96"/>
                  <a:gd name="T10" fmla="*/ 36 w 120"/>
                  <a:gd name="T11" fmla="*/ 60 h 96"/>
                  <a:gd name="T12" fmla="*/ 36 w 120"/>
                  <a:gd name="T13" fmla="*/ 54 h 96"/>
                  <a:gd name="T14" fmla="*/ 42 w 120"/>
                  <a:gd name="T15" fmla="*/ 48 h 96"/>
                  <a:gd name="T16" fmla="*/ 48 w 120"/>
                  <a:gd name="T17" fmla="*/ 36 h 96"/>
                  <a:gd name="T18" fmla="*/ 48 w 120"/>
                  <a:gd name="T19" fmla="*/ 30 h 96"/>
                  <a:gd name="T20" fmla="*/ 54 w 120"/>
                  <a:gd name="T21" fmla="*/ 30 h 96"/>
                  <a:gd name="T22" fmla="*/ 60 w 120"/>
                  <a:gd name="T23" fmla="*/ 24 h 96"/>
                  <a:gd name="T24" fmla="*/ 60 w 120"/>
                  <a:gd name="T25" fmla="*/ 18 h 96"/>
                  <a:gd name="T26" fmla="*/ 60 w 120"/>
                  <a:gd name="T27" fmla="*/ 6 h 96"/>
                  <a:gd name="T28" fmla="*/ 66 w 120"/>
                  <a:gd name="T29" fmla="*/ 0 h 96"/>
                  <a:gd name="T30" fmla="*/ 66 w 120"/>
                  <a:gd name="T31" fmla="*/ 6 h 96"/>
                  <a:gd name="T32" fmla="*/ 78 w 120"/>
                  <a:gd name="T33" fmla="*/ 6 h 96"/>
                  <a:gd name="T34" fmla="*/ 90 w 120"/>
                  <a:gd name="T35" fmla="*/ 12 h 96"/>
                  <a:gd name="T36" fmla="*/ 96 w 120"/>
                  <a:gd name="T37" fmla="*/ 12 h 96"/>
                  <a:gd name="T38" fmla="*/ 102 w 120"/>
                  <a:gd name="T39" fmla="*/ 12 h 96"/>
                  <a:gd name="T40" fmla="*/ 108 w 120"/>
                  <a:gd name="T41" fmla="*/ 12 h 96"/>
                  <a:gd name="T42" fmla="*/ 108 w 120"/>
                  <a:gd name="T43" fmla="*/ 18 h 96"/>
                  <a:gd name="T44" fmla="*/ 114 w 120"/>
                  <a:gd name="T45" fmla="*/ 18 h 96"/>
                  <a:gd name="T46" fmla="*/ 114 w 120"/>
                  <a:gd name="T47" fmla="*/ 30 h 96"/>
                  <a:gd name="T48" fmla="*/ 114 w 120"/>
                  <a:gd name="T49" fmla="*/ 36 h 96"/>
                  <a:gd name="T50" fmla="*/ 120 w 120"/>
                  <a:gd name="T51" fmla="*/ 42 h 96"/>
                  <a:gd name="T52" fmla="*/ 114 w 120"/>
                  <a:gd name="T53" fmla="*/ 42 h 96"/>
                  <a:gd name="T54" fmla="*/ 108 w 120"/>
                  <a:gd name="T55" fmla="*/ 42 h 96"/>
                  <a:gd name="T56" fmla="*/ 108 w 120"/>
                  <a:gd name="T57" fmla="*/ 48 h 96"/>
                  <a:gd name="T58" fmla="*/ 102 w 120"/>
                  <a:gd name="T59" fmla="*/ 48 h 96"/>
                  <a:gd name="T60" fmla="*/ 102 w 120"/>
                  <a:gd name="T61" fmla="*/ 60 h 96"/>
                  <a:gd name="T62" fmla="*/ 66 w 120"/>
                  <a:gd name="T63" fmla="*/ 72 h 96"/>
                  <a:gd name="T64" fmla="*/ 54 w 120"/>
                  <a:gd name="T65" fmla="*/ 78 h 96"/>
                  <a:gd name="T66" fmla="*/ 48 w 120"/>
                  <a:gd name="T67" fmla="*/ 78 h 96"/>
                  <a:gd name="T68" fmla="*/ 42 w 120"/>
                  <a:gd name="T69" fmla="*/ 84 h 96"/>
                  <a:gd name="T70" fmla="*/ 42 w 120"/>
                  <a:gd name="T71" fmla="*/ 96 h 96"/>
                  <a:gd name="T72" fmla="*/ 0 w 120"/>
                  <a:gd name="T73" fmla="*/ 90 h 9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20" h="96">
                    <a:moveTo>
                      <a:pt x="0" y="90"/>
                    </a:moveTo>
                    <a:lnTo>
                      <a:pt x="6" y="90"/>
                    </a:lnTo>
                    <a:lnTo>
                      <a:pt x="12" y="84"/>
                    </a:lnTo>
                    <a:lnTo>
                      <a:pt x="18" y="84"/>
                    </a:lnTo>
                    <a:lnTo>
                      <a:pt x="30" y="72"/>
                    </a:lnTo>
                    <a:lnTo>
                      <a:pt x="36" y="60"/>
                    </a:lnTo>
                    <a:lnTo>
                      <a:pt x="36" y="54"/>
                    </a:lnTo>
                    <a:lnTo>
                      <a:pt x="42" y="48"/>
                    </a:lnTo>
                    <a:lnTo>
                      <a:pt x="48" y="36"/>
                    </a:lnTo>
                    <a:lnTo>
                      <a:pt x="48" y="30"/>
                    </a:lnTo>
                    <a:lnTo>
                      <a:pt x="54" y="30"/>
                    </a:lnTo>
                    <a:lnTo>
                      <a:pt x="60" y="24"/>
                    </a:lnTo>
                    <a:lnTo>
                      <a:pt x="60" y="18"/>
                    </a:lnTo>
                    <a:lnTo>
                      <a:pt x="60" y="6"/>
                    </a:lnTo>
                    <a:lnTo>
                      <a:pt x="66" y="0"/>
                    </a:lnTo>
                    <a:lnTo>
                      <a:pt x="66" y="6"/>
                    </a:lnTo>
                    <a:lnTo>
                      <a:pt x="78" y="6"/>
                    </a:lnTo>
                    <a:lnTo>
                      <a:pt x="90" y="12"/>
                    </a:lnTo>
                    <a:lnTo>
                      <a:pt x="96" y="12"/>
                    </a:lnTo>
                    <a:lnTo>
                      <a:pt x="102" y="12"/>
                    </a:lnTo>
                    <a:lnTo>
                      <a:pt x="108" y="12"/>
                    </a:lnTo>
                    <a:lnTo>
                      <a:pt x="108" y="18"/>
                    </a:lnTo>
                    <a:lnTo>
                      <a:pt x="114" y="18"/>
                    </a:lnTo>
                    <a:lnTo>
                      <a:pt x="114" y="30"/>
                    </a:lnTo>
                    <a:lnTo>
                      <a:pt x="114" y="36"/>
                    </a:lnTo>
                    <a:lnTo>
                      <a:pt x="120" y="42"/>
                    </a:lnTo>
                    <a:lnTo>
                      <a:pt x="114" y="42"/>
                    </a:lnTo>
                    <a:lnTo>
                      <a:pt x="108" y="42"/>
                    </a:lnTo>
                    <a:lnTo>
                      <a:pt x="108" y="48"/>
                    </a:lnTo>
                    <a:lnTo>
                      <a:pt x="102" y="48"/>
                    </a:lnTo>
                    <a:lnTo>
                      <a:pt x="102" y="60"/>
                    </a:lnTo>
                    <a:lnTo>
                      <a:pt x="66" y="72"/>
                    </a:lnTo>
                    <a:lnTo>
                      <a:pt x="54" y="78"/>
                    </a:lnTo>
                    <a:lnTo>
                      <a:pt x="48" y="78"/>
                    </a:lnTo>
                    <a:lnTo>
                      <a:pt x="42" y="84"/>
                    </a:lnTo>
                    <a:lnTo>
                      <a:pt x="42" y="96"/>
                    </a:lnTo>
                    <a:lnTo>
                      <a:pt x="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23" name="Freeform 325"/>
              <p:cNvSpPr>
                <a:spLocks/>
              </p:cNvSpPr>
              <p:nvPr/>
            </p:nvSpPr>
            <p:spPr bwMode="auto">
              <a:xfrm>
                <a:off x="1146" y="1074"/>
                <a:ext cx="120" cy="96"/>
              </a:xfrm>
              <a:custGeom>
                <a:avLst/>
                <a:gdLst>
                  <a:gd name="T0" fmla="*/ 0 w 120"/>
                  <a:gd name="T1" fmla="*/ 90 h 96"/>
                  <a:gd name="T2" fmla="*/ 6 w 120"/>
                  <a:gd name="T3" fmla="*/ 90 h 96"/>
                  <a:gd name="T4" fmla="*/ 12 w 120"/>
                  <a:gd name="T5" fmla="*/ 84 h 96"/>
                  <a:gd name="T6" fmla="*/ 18 w 120"/>
                  <a:gd name="T7" fmla="*/ 84 h 96"/>
                  <a:gd name="T8" fmla="*/ 30 w 120"/>
                  <a:gd name="T9" fmla="*/ 72 h 96"/>
                  <a:gd name="T10" fmla="*/ 36 w 120"/>
                  <a:gd name="T11" fmla="*/ 60 h 96"/>
                  <a:gd name="T12" fmla="*/ 36 w 120"/>
                  <a:gd name="T13" fmla="*/ 54 h 96"/>
                  <a:gd name="T14" fmla="*/ 42 w 120"/>
                  <a:gd name="T15" fmla="*/ 48 h 96"/>
                  <a:gd name="T16" fmla="*/ 48 w 120"/>
                  <a:gd name="T17" fmla="*/ 36 h 96"/>
                  <a:gd name="T18" fmla="*/ 48 w 120"/>
                  <a:gd name="T19" fmla="*/ 30 h 96"/>
                  <a:gd name="T20" fmla="*/ 54 w 120"/>
                  <a:gd name="T21" fmla="*/ 30 h 96"/>
                  <a:gd name="T22" fmla="*/ 60 w 120"/>
                  <a:gd name="T23" fmla="*/ 24 h 96"/>
                  <a:gd name="T24" fmla="*/ 60 w 120"/>
                  <a:gd name="T25" fmla="*/ 18 h 96"/>
                  <a:gd name="T26" fmla="*/ 60 w 120"/>
                  <a:gd name="T27" fmla="*/ 6 h 96"/>
                  <a:gd name="T28" fmla="*/ 66 w 120"/>
                  <a:gd name="T29" fmla="*/ 0 h 96"/>
                  <a:gd name="T30" fmla="*/ 66 w 120"/>
                  <a:gd name="T31" fmla="*/ 6 h 96"/>
                  <a:gd name="T32" fmla="*/ 78 w 120"/>
                  <a:gd name="T33" fmla="*/ 6 h 96"/>
                  <a:gd name="T34" fmla="*/ 90 w 120"/>
                  <a:gd name="T35" fmla="*/ 12 h 96"/>
                  <a:gd name="T36" fmla="*/ 96 w 120"/>
                  <a:gd name="T37" fmla="*/ 12 h 96"/>
                  <a:gd name="T38" fmla="*/ 102 w 120"/>
                  <a:gd name="T39" fmla="*/ 12 h 96"/>
                  <a:gd name="T40" fmla="*/ 108 w 120"/>
                  <a:gd name="T41" fmla="*/ 12 h 96"/>
                  <a:gd name="T42" fmla="*/ 108 w 120"/>
                  <a:gd name="T43" fmla="*/ 18 h 96"/>
                  <a:gd name="T44" fmla="*/ 114 w 120"/>
                  <a:gd name="T45" fmla="*/ 18 h 96"/>
                  <a:gd name="T46" fmla="*/ 114 w 120"/>
                  <a:gd name="T47" fmla="*/ 30 h 96"/>
                  <a:gd name="T48" fmla="*/ 114 w 120"/>
                  <a:gd name="T49" fmla="*/ 36 h 96"/>
                  <a:gd name="T50" fmla="*/ 120 w 120"/>
                  <a:gd name="T51" fmla="*/ 42 h 96"/>
                  <a:gd name="T52" fmla="*/ 114 w 120"/>
                  <a:gd name="T53" fmla="*/ 42 h 96"/>
                  <a:gd name="T54" fmla="*/ 108 w 120"/>
                  <a:gd name="T55" fmla="*/ 42 h 96"/>
                  <a:gd name="T56" fmla="*/ 108 w 120"/>
                  <a:gd name="T57" fmla="*/ 48 h 96"/>
                  <a:gd name="T58" fmla="*/ 102 w 120"/>
                  <a:gd name="T59" fmla="*/ 48 h 96"/>
                  <a:gd name="T60" fmla="*/ 102 w 120"/>
                  <a:gd name="T61" fmla="*/ 60 h 96"/>
                  <a:gd name="T62" fmla="*/ 66 w 120"/>
                  <a:gd name="T63" fmla="*/ 72 h 96"/>
                  <a:gd name="T64" fmla="*/ 54 w 120"/>
                  <a:gd name="T65" fmla="*/ 78 h 96"/>
                  <a:gd name="T66" fmla="*/ 48 w 120"/>
                  <a:gd name="T67" fmla="*/ 78 h 96"/>
                  <a:gd name="T68" fmla="*/ 42 w 120"/>
                  <a:gd name="T69" fmla="*/ 84 h 96"/>
                  <a:gd name="T70" fmla="*/ 42 w 120"/>
                  <a:gd name="T71" fmla="*/ 96 h 96"/>
                  <a:gd name="T72" fmla="*/ 0 w 120"/>
                  <a:gd name="T73" fmla="*/ 90 h 9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20" h="96">
                    <a:moveTo>
                      <a:pt x="0" y="90"/>
                    </a:moveTo>
                    <a:lnTo>
                      <a:pt x="6" y="90"/>
                    </a:lnTo>
                    <a:lnTo>
                      <a:pt x="12" y="84"/>
                    </a:lnTo>
                    <a:lnTo>
                      <a:pt x="18" y="84"/>
                    </a:lnTo>
                    <a:lnTo>
                      <a:pt x="30" y="72"/>
                    </a:lnTo>
                    <a:lnTo>
                      <a:pt x="36" y="60"/>
                    </a:lnTo>
                    <a:lnTo>
                      <a:pt x="36" y="54"/>
                    </a:lnTo>
                    <a:lnTo>
                      <a:pt x="42" y="48"/>
                    </a:lnTo>
                    <a:lnTo>
                      <a:pt x="48" y="36"/>
                    </a:lnTo>
                    <a:lnTo>
                      <a:pt x="48" y="30"/>
                    </a:lnTo>
                    <a:lnTo>
                      <a:pt x="54" y="30"/>
                    </a:lnTo>
                    <a:lnTo>
                      <a:pt x="60" y="24"/>
                    </a:lnTo>
                    <a:lnTo>
                      <a:pt x="60" y="18"/>
                    </a:lnTo>
                    <a:lnTo>
                      <a:pt x="60" y="6"/>
                    </a:lnTo>
                    <a:lnTo>
                      <a:pt x="66" y="0"/>
                    </a:lnTo>
                    <a:lnTo>
                      <a:pt x="66" y="6"/>
                    </a:lnTo>
                    <a:lnTo>
                      <a:pt x="78" y="6"/>
                    </a:lnTo>
                    <a:lnTo>
                      <a:pt x="90" y="12"/>
                    </a:lnTo>
                    <a:lnTo>
                      <a:pt x="96" y="12"/>
                    </a:lnTo>
                    <a:lnTo>
                      <a:pt x="102" y="12"/>
                    </a:lnTo>
                    <a:lnTo>
                      <a:pt x="108" y="12"/>
                    </a:lnTo>
                    <a:lnTo>
                      <a:pt x="108" y="18"/>
                    </a:lnTo>
                    <a:lnTo>
                      <a:pt x="114" y="18"/>
                    </a:lnTo>
                    <a:lnTo>
                      <a:pt x="114" y="30"/>
                    </a:lnTo>
                    <a:lnTo>
                      <a:pt x="114" y="36"/>
                    </a:lnTo>
                    <a:lnTo>
                      <a:pt x="120" y="42"/>
                    </a:lnTo>
                    <a:lnTo>
                      <a:pt x="114" y="42"/>
                    </a:lnTo>
                    <a:lnTo>
                      <a:pt x="108" y="42"/>
                    </a:lnTo>
                    <a:lnTo>
                      <a:pt x="108" y="48"/>
                    </a:lnTo>
                    <a:lnTo>
                      <a:pt x="102" y="48"/>
                    </a:lnTo>
                    <a:lnTo>
                      <a:pt x="102" y="60"/>
                    </a:lnTo>
                    <a:lnTo>
                      <a:pt x="66" y="72"/>
                    </a:lnTo>
                    <a:lnTo>
                      <a:pt x="54" y="78"/>
                    </a:lnTo>
                    <a:lnTo>
                      <a:pt x="48" y="78"/>
                    </a:lnTo>
                    <a:lnTo>
                      <a:pt x="42" y="84"/>
                    </a:lnTo>
                    <a:lnTo>
                      <a:pt x="42" y="96"/>
                    </a:lnTo>
                    <a:lnTo>
                      <a:pt x="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33" name="Group 326"/>
            <p:cNvGrpSpPr>
              <a:grpSpLocks/>
            </p:cNvGrpSpPr>
            <p:nvPr/>
          </p:nvGrpSpPr>
          <p:grpSpPr bwMode="auto">
            <a:xfrm>
              <a:off x="973436" y="2600010"/>
              <a:ext cx="73036" cy="143619"/>
              <a:chOff x="1344" y="1062"/>
              <a:chExt cx="36" cy="84"/>
            </a:xfrm>
            <a:solidFill>
              <a:srgbClr val="0070C0">
                <a:alpha val="27059"/>
              </a:srgbClr>
            </a:solidFill>
          </p:grpSpPr>
          <p:sp>
            <p:nvSpPr>
              <p:cNvPr id="1720" name="Freeform 327"/>
              <p:cNvSpPr>
                <a:spLocks/>
              </p:cNvSpPr>
              <p:nvPr/>
            </p:nvSpPr>
            <p:spPr bwMode="auto">
              <a:xfrm>
                <a:off x="1344" y="1062"/>
                <a:ext cx="36" cy="84"/>
              </a:xfrm>
              <a:custGeom>
                <a:avLst/>
                <a:gdLst>
                  <a:gd name="T0" fmla="*/ 6 w 36"/>
                  <a:gd name="T1" fmla="*/ 6 h 84"/>
                  <a:gd name="T2" fmla="*/ 6 w 36"/>
                  <a:gd name="T3" fmla="*/ 6 h 84"/>
                  <a:gd name="T4" fmla="*/ 0 w 36"/>
                  <a:gd name="T5" fmla="*/ 12 h 84"/>
                  <a:gd name="T6" fmla="*/ 0 w 36"/>
                  <a:gd name="T7" fmla="*/ 18 h 84"/>
                  <a:gd name="T8" fmla="*/ 0 w 36"/>
                  <a:gd name="T9" fmla="*/ 24 h 84"/>
                  <a:gd name="T10" fmla="*/ 0 w 36"/>
                  <a:gd name="T11" fmla="*/ 30 h 84"/>
                  <a:gd name="T12" fmla="*/ 0 w 36"/>
                  <a:gd name="T13" fmla="*/ 30 h 84"/>
                  <a:gd name="T14" fmla="*/ 0 w 36"/>
                  <a:gd name="T15" fmla="*/ 36 h 84"/>
                  <a:gd name="T16" fmla="*/ 0 w 36"/>
                  <a:gd name="T17" fmla="*/ 36 h 84"/>
                  <a:gd name="T18" fmla="*/ 0 w 36"/>
                  <a:gd name="T19" fmla="*/ 42 h 84"/>
                  <a:gd name="T20" fmla="*/ 6 w 36"/>
                  <a:gd name="T21" fmla="*/ 48 h 84"/>
                  <a:gd name="T22" fmla="*/ 6 w 36"/>
                  <a:gd name="T23" fmla="*/ 48 h 84"/>
                  <a:gd name="T24" fmla="*/ 6 w 36"/>
                  <a:gd name="T25" fmla="*/ 48 h 84"/>
                  <a:gd name="T26" fmla="*/ 6 w 36"/>
                  <a:gd name="T27" fmla="*/ 66 h 84"/>
                  <a:gd name="T28" fmla="*/ 12 w 36"/>
                  <a:gd name="T29" fmla="*/ 78 h 84"/>
                  <a:gd name="T30" fmla="*/ 18 w 36"/>
                  <a:gd name="T31" fmla="*/ 84 h 84"/>
                  <a:gd name="T32" fmla="*/ 24 w 36"/>
                  <a:gd name="T33" fmla="*/ 78 h 84"/>
                  <a:gd name="T34" fmla="*/ 24 w 36"/>
                  <a:gd name="T35" fmla="*/ 72 h 84"/>
                  <a:gd name="T36" fmla="*/ 30 w 36"/>
                  <a:gd name="T37" fmla="*/ 66 h 84"/>
                  <a:gd name="T38" fmla="*/ 24 w 36"/>
                  <a:gd name="T39" fmla="*/ 66 h 84"/>
                  <a:gd name="T40" fmla="*/ 30 w 36"/>
                  <a:gd name="T41" fmla="*/ 60 h 84"/>
                  <a:gd name="T42" fmla="*/ 30 w 36"/>
                  <a:gd name="T43" fmla="*/ 60 h 84"/>
                  <a:gd name="T44" fmla="*/ 30 w 36"/>
                  <a:gd name="T45" fmla="*/ 60 h 84"/>
                  <a:gd name="T46" fmla="*/ 36 w 36"/>
                  <a:gd name="T47" fmla="*/ 54 h 84"/>
                  <a:gd name="T48" fmla="*/ 30 w 36"/>
                  <a:gd name="T49" fmla="*/ 42 h 84"/>
                  <a:gd name="T50" fmla="*/ 30 w 36"/>
                  <a:gd name="T51" fmla="*/ 42 h 84"/>
                  <a:gd name="T52" fmla="*/ 30 w 36"/>
                  <a:gd name="T53" fmla="*/ 36 h 84"/>
                  <a:gd name="T54" fmla="*/ 30 w 36"/>
                  <a:gd name="T55" fmla="*/ 36 h 84"/>
                  <a:gd name="T56" fmla="*/ 36 w 36"/>
                  <a:gd name="T57" fmla="*/ 30 h 84"/>
                  <a:gd name="T58" fmla="*/ 36 w 36"/>
                  <a:gd name="T59" fmla="*/ 30 h 84"/>
                  <a:gd name="T60" fmla="*/ 36 w 36"/>
                  <a:gd name="T61" fmla="*/ 30 h 84"/>
                  <a:gd name="T62" fmla="*/ 30 w 36"/>
                  <a:gd name="T63" fmla="*/ 24 h 84"/>
                  <a:gd name="T64" fmla="*/ 30 w 36"/>
                  <a:gd name="T65" fmla="*/ 18 h 84"/>
                  <a:gd name="T66" fmla="*/ 36 w 36"/>
                  <a:gd name="T67" fmla="*/ 12 h 84"/>
                  <a:gd name="T68" fmla="*/ 36 w 36"/>
                  <a:gd name="T69" fmla="*/ 6 h 84"/>
                  <a:gd name="T70" fmla="*/ 24 w 36"/>
                  <a:gd name="T71" fmla="*/ 0 h 84"/>
                  <a:gd name="T72" fmla="*/ 18 w 36"/>
                  <a:gd name="T73" fmla="*/ 0 h 84"/>
                  <a:gd name="T74" fmla="*/ 18 w 36"/>
                  <a:gd name="T75" fmla="*/ 0 h 84"/>
                  <a:gd name="T76" fmla="*/ 12 w 36"/>
                  <a:gd name="T77" fmla="*/ 0 h 84"/>
                  <a:gd name="T78" fmla="*/ 6 w 36"/>
                  <a:gd name="T79" fmla="*/ 6 h 8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36" h="84">
                    <a:moveTo>
                      <a:pt x="6" y="6"/>
                    </a:moveTo>
                    <a:lnTo>
                      <a:pt x="6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6" y="48"/>
                    </a:lnTo>
                    <a:lnTo>
                      <a:pt x="6" y="66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4" y="78"/>
                    </a:lnTo>
                    <a:lnTo>
                      <a:pt x="24" y="72"/>
                    </a:lnTo>
                    <a:lnTo>
                      <a:pt x="30" y="66"/>
                    </a:lnTo>
                    <a:lnTo>
                      <a:pt x="24" y="66"/>
                    </a:lnTo>
                    <a:lnTo>
                      <a:pt x="30" y="60"/>
                    </a:lnTo>
                    <a:lnTo>
                      <a:pt x="36" y="54"/>
                    </a:lnTo>
                    <a:lnTo>
                      <a:pt x="30" y="42"/>
                    </a:lnTo>
                    <a:lnTo>
                      <a:pt x="30" y="36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6" y="12"/>
                    </a:lnTo>
                    <a:lnTo>
                      <a:pt x="36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21" name="Freeform 328"/>
              <p:cNvSpPr>
                <a:spLocks/>
              </p:cNvSpPr>
              <p:nvPr/>
            </p:nvSpPr>
            <p:spPr bwMode="auto">
              <a:xfrm>
                <a:off x="1344" y="1062"/>
                <a:ext cx="36" cy="84"/>
              </a:xfrm>
              <a:custGeom>
                <a:avLst/>
                <a:gdLst>
                  <a:gd name="T0" fmla="*/ 6 w 36"/>
                  <a:gd name="T1" fmla="*/ 6 h 84"/>
                  <a:gd name="T2" fmla="*/ 0 w 36"/>
                  <a:gd name="T3" fmla="*/ 12 h 84"/>
                  <a:gd name="T4" fmla="*/ 0 w 36"/>
                  <a:gd name="T5" fmla="*/ 18 h 84"/>
                  <a:gd name="T6" fmla="*/ 0 w 36"/>
                  <a:gd name="T7" fmla="*/ 24 h 84"/>
                  <a:gd name="T8" fmla="*/ 0 w 36"/>
                  <a:gd name="T9" fmla="*/ 30 h 84"/>
                  <a:gd name="T10" fmla="*/ 0 w 36"/>
                  <a:gd name="T11" fmla="*/ 36 h 84"/>
                  <a:gd name="T12" fmla="*/ 0 w 36"/>
                  <a:gd name="T13" fmla="*/ 42 h 84"/>
                  <a:gd name="T14" fmla="*/ 6 w 36"/>
                  <a:gd name="T15" fmla="*/ 48 h 84"/>
                  <a:gd name="T16" fmla="*/ 6 w 36"/>
                  <a:gd name="T17" fmla="*/ 66 h 84"/>
                  <a:gd name="T18" fmla="*/ 12 w 36"/>
                  <a:gd name="T19" fmla="*/ 78 h 84"/>
                  <a:gd name="T20" fmla="*/ 18 w 36"/>
                  <a:gd name="T21" fmla="*/ 84 h 84"/>
                  <a:gd name="T22" fmla="*/ 24 w 36"/>
                  <a:gd name="T23" fmla="*/ 78 h 84"/>
                  <a:gd name="T24" fmla="*/ 24 w 36"/>
                  <a:gd name="T25" fmla="*/ 72 h 84"/>
                  <a:gd name="T26" fmla="*/ 30 w 36"/>
                  <a:gd name="T27" fmla="*/ 66 h 84"/>
                  <a:gd name="T28" fmla="*/ 24 w 36"/>
                  <a:gd name="T29" fmla="*/ 66 h 84"/>
                  <a:gd name="T30" fmla="*/ 30 w 36"/>
                  <a:gd name="T31" fmla="*/ 60 h 84"/>
                  <a:gd name="T32" fmla="*/ 36 w 36"/>
                  <a:gd name="T33" fmla="*/ 54 h 84"/>
                  <a:gd name="T34" fmla="*/ 30 w 36"/>
                  <a:gd name="T35" fmla="*/ 42 h 84"/>
                  <a:gd name="T36" fmla="*/ 30 w 36"/>
                  <a:gd name="T37" fmla="*/ 36 h 84"/>
                  <a:gd name="T38" fmla="*/ 36 w 36"/>
                  <a:gd name="T39" fmla="*/ 30 h 84"/>
                  <a:gd name="T40" fmla="*/ 30 w 36"/>
                  <a:gd name="T41" fmla="*/ 24 h 84"/>
                  <a:gd name="T42" fmla="*/ 30 w 36"/>
                  <a:gd name="T43" fmla="*/ 18 h 84"/>
                  <a:gd name="T44" fmla="*/ 36 w 36"/>
                  <a:gd name="T45" fmla="*/ 12 h 84"/>
                  <a:gd name="T46" fmla="*/ 36 w 36"/>
                  <a:gd name="T47" fmla="*/ 6 h 84"/>
                  <a:gd name="T48" fmla="*/ 24 w 36"/>
                  <a:gd name="T49" fmla="*/ 0 h 84"/>
                  <a:gd name="T50" fmla="*/ 18 w 36"/>
                  <a:gd name="T51" fmla="*/ 0 h 84"/>
                  <a:gd name="T52" fmla="*/ 12 w 36"/>
                  <a:gd name="T53" fmla="*/ 0 h 84"/>
                  <a:gd name="T54" fmla="*/ 6 w 36"/>
                  <a:gd name="T55" fmla="*/ 6 h 8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36" h="84">
                    <a:moveTo>
                      <a:pt x="6" y="6"/>
                    </a:move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6" y="48"/>
                    </a:lnTo>
                    <a:lnTo>
                      <a:pt x="6" y="66"/>
                    </a:lnTo>
                    <a:lnTo>
                      <a:pt x="12" y="78"/>
                    </a:lnTo>
                    <a:lnTo>
                      <a:pt x="18" y="84"/>
                    </a:lnTo>
                    <a:lnTo>
                      <a:pt x="24" y="78"/>
                    </a:lnTo>
                    <a:lnTo>
                      <a:pt x="24" y="72"/>
                    </a:lnTo>
                    <a:lnTo>
                      <a:pt x="30" y="66"/>
                    </a:lnTo>
                    <a:lnTo>
                      <a:pt x="24" y="66"/>
                    </a:lnTo>
                    <a:lnTo>
                      <a:pt x="30" y="60"/>
                    </a:lnTo>
                    <a:lnTo>
                      <a:pt x="36" y="54"/>
                    </a:lnTo>
                    <a:lnTo>
                      <a:pt x="30" y="42"/>
                    </a:lnTo>
                    <a:lnTo>
                      <a:pt x="30" y="36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6" y="12"/>
                    </a:lnTo>
                    <a:lnTo>
                      <a:pt x="36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34" name="Group 329"/>
            <p:cNvGrpSpPr>
              <a:grpSpLocks/>
            </p:cNvGrpSpPr>
            <p:nvPr/>
          </p:nvGrpSpPr>
          <p:grpSpPr bwMode="auto">
            <a:xfrm>
              <a:off x="1011875" y="2672832"/>
              <a:ext cx="303674" cy="267011"/>
              <a:chOff x="1362" y="1104"/>
              <a:chExt cx="150" cy="156"/>
            </a:xfrm>
            <a:solidFill>
              <a:srgbClr val="0070C0">
                <a:alpha val="27059"/>
              </a:srgbClr>
            </a:solidFill>
          </p:grpSpPr>
          <p:sp>
            <p:nvSpPr>
              <p:cNvPr id="1718" name="Freeform 330"/>
              <p:cNvSpPr>
                <a:spLocks/>
              </p:cNvSpPr>
              <p:nvPr/>
            </p:nvSpPr>
            <p:spPr bwMode="auto">
              <a:xfrm>
                <a:off x="1362" y="1104"/>
                <a:ext cx="150" cy="156"/>
              </a:xfrm>
              <a:custGeom>
                <a:avLst/>
                <a:gdLst>
                  <a:gd name="T0" fmla="*/ 150 w 150"/>
                  <a:gd name="T1" fmla="*/ 30 h 156"/>
                  <a:gd name="T2" fmla="*/ 144 w 150"/>
                  <a:gd name="T3" fmla="*/ 30 h 156"/>
                  <a:gd name="T4" fmla="*/ 144 w 150"/>
                  <a:gd name="T5" fmla="*/ 24 h 156"/>
                  <a:gd name="T6" fmla="*/ 132 w 150"/>
                  <a:gd name="T7" fmla="*/ 24 h 156"/>
                  <a:gd name="T8" fmla="*/ 126 w 150"/>
                  <a:gd name="T9" fmla="*/ 18 h 156"/>
                  <a:gd name="T10" fmla="*/ 120 w 150"/>
                  <a:gd name="T11" fmla="*/ 18 h 156"/>
                  <a:gd name="T12" fmla="*/ 102 w 150"/>
                  <a:gd name="T13" fmla="*/ 24 h 156"/>
                  <a:gd name="T14" fmla="*/ 102 w 150"/>
                  <a:gd name="T15" fmla="*/ 24 h 156"/>
                  <a:gd name="T16" fmla="*/ 102 w 150"/>
                  <a:gd name="T17" fmla="*/ 30 h 156"/>
                  <a:gd name="T18" fmla="*/ 102 w 150"/>
                  <a:gd name="T19" fmla="*/ 36 h 156"/>
                  <a:gd name="T20" fmla="*/ 102 w 150"/>
                  <a:gd name="T21" fmla="*/ 42 h 156"/>
                  <a:gd name="T22" fmla="*/ 102 w 150"/>
                  <a:gd name="T23" fmla="*/ 42 h 156"/>
                  <a:gd name="T24" fmla="*/ 90 w 150"/>
                  <a:gd name="T25" fmla="*/ 48 h 156"/>
                  <a:gd name="T26" fmla="*/ 78 w 150"/>
                  <a:gd name="T27" fmla="*/ 42 h 156"/>
                  <a:gd name="T28" fmla="*/ 66 w 150"/>
                  <a:gd name="T29" fmla="*/ 36 h 156"/>
                  <a:gd name="T30" fmla="*/ 60 w 150"/>
                  <a:gd name="T31" fmla="*/ 30 h 156"/>
                  <a:gd name="T32" fmla="*/ 60 w 150"/>
                  <a:gd name="T33" fmla="*/ 24 h 156"/>
                  <a:gd name="T34" fmla="*/ 60 w 150"/>
                  <a:gd name="T35" fmla="*/ 18 h 156"/>
                  <a:gd name="T36" fmla="*/ 54 w 150"/>
                  <a:gd name="T37" fmla="*/ 12 h 156"/>
                  <a:gd name="T38" fmla="*/ 42 w 150"/>
                  <a:gd name="T39" fmla="*/ 12 h 156"/>
                  <a:gd name="T40" fmla="*/ 36 w 150"/>
                  <a:gd name="T41" fmla="*/ 6 h 156"/>
                  <a:gd name="T42" fmla="*/ 30 w 150"/>
                  <a:gd name="T43" fmla="*/ 6 h 156"/>
                  <a:gd name="T44" fmla="*/ 24 w 150"/>
                  <a:gd name="T45" fmla="*/ 6 h 156"/>
                  <a:gd name="T46" fmla="*/ 12 w 150"/>
                  <a:gd name="T47" fmla="*/ 0 h 156"/>
                  <a:gd name="T48" fmla="*/ 18 w 150"/>
                  <a:gd name="T49" fmla="*/ 6 h 156"/>
                  <a:gd name="T50" fmla="*/ 12 w 150"/>
                  <a:gd name="T51" fmla="*/ 18 h 156"/>
                  <a:gd name="T52" fmla="*/ 12 w 150"/>
                  <a:gd name="T53" fmla="*/ 18 h 156"/>
                  <a:gd name="T54" fmla="*/ 12 w 150"/>
                  <a:gd name="T55" fmla="*/ 18 h 156"/>
                  <a:gd name="T56" fmla="*/ 6 w 150"/>
                  <a:gd name="T57" fmla="*/ 24 h 156"/>
                  <a:gd name="T58" fmla="*/ 12 w 150"/>
                  <a:gd name="T59" fmla="*/ 24 h 156"/>
                  <a:gd name="T60" fmla="*/ 12 w 150"/>
                  <a:gd name="T61" fmla="*/ 24 h 156"/>
                  <a:gd name="T62" fmla="*/ 6 w 150"/>
                  <a:gd name="T63" fmla="*/ 30 h 156"/>
                  <a:gd name="T64" fmla="*/ 0 w 150"/>
                  <a:gd name="T65" fmla="*/ 42 h 156"/>
                  <a:gd name="T66" fmla="*/ 0 w 150"/>
                  <a:gd name="T67" fmla="*/ 42 h 156"/>
                  <a:gd name="T68" fmla="*/ 0 w 150"/>
                  <a:gd name="T69" fmla="*/ 66 h 156"/>
                  <a:gd name="T70" fmla="*/ 6 w 150"/>
                  <a:gd name="T71" fmla="*/ 66 h 156"/>
                  <a:gd name="T72" fmla="*/ 6 w 150"/>
                  <a:gd name="T73" fmla="*/ 78 h 156"/>
                  <a:gd name="T74" fmla="*/ 6 w 150"/>
                  <a:gd name="T75" fmla="*/ 84 h 156"/>
                  <a:gd name="T76" fmla="*/ 6 w 150"/>
                  <a:gd name="T77" fmla="*/ 84 h 156"/>
                  <a:gd name="T78" fmla="*/ 6 w 150"/>
                  <a:gd name="T79" fmla="*/ 96 h 156"/>
                  <a:gd name="T80" fmla="*/ 18 w 150"/>
                  <a:gd name="T81" fmla="*/ 108 h 156"/>
                  <a:gd name="T82" fmla="*/ 18 w 150"/>
                  <a:gd name="T83" fmla="*/ 108 h 156"/>
                  <a:gd name="T84" fmla="*/ 24 w 150"/>
                  <a:gd name="T85" fmla="*/ 114 h 156"/>
                  <a:gd name="T86" fmla="*/ 30 w 150"/>
                  <a:gd name="T87" fmla="*/ 120 h 156"/>
                  <a:gd name="T88" fmla="*/ 54 w 150"/>
                  <a:gd name="T89" fmla="*/ 120 h 156"/>
                  <a:gd name="T90" fmla="*/ 138 w 150"/>
                  <a:gd name="T91" fmla="*/ 156 h 156"/>
                  <a:gd name="T92" fmla="*/ 138 w 150"/>
                  <a:gd name="T93" fmla="*/ 144 h 156"/>
                  <a:gd name="T94" fmla="*/ 150 w 150"/>
                  <a:gd name="T95" fmla="*/ 144 h 156"/>
                  <a:gd name="T96" fmla="*/ 150 w 150"/>
                  <a:gd name="T97" fmla="*/ 30 h 15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50" h="156">
                    <a:moveTo>
                      <a:pt x="150" y="30"/>
                    </a:moveTo>
                    <a:lnTo>
                      <a:pt x="144" y="30"/>
                    </a:lnTo>
                    <a:lnTo>
                      <a:pt x="144" y="24"/>
                    </a:lnTo>
                    <a:lnTo>
                      <a:pt x="132" y="24"/>
                    </a:lnTo>
                    <a:lnTo>
                      <a:pt x="126" y="18"/>
                    </a:lnTo>
                    <a:lnTo>
                      <a:pt x="120" y="18"/>
                    </a:lnTo>
                    <a:lnTo>
                      <a:pt x="102" y="24"/>
                    </a:lnTo>
                    <a:lnTo>
                      <a:pt x="102" y="30"/>
                    </a:lnTo>
                    <a:lnTo>
                      <a:pt x="102" y="36"/>
                    </a:lnTo>
                    <a:lnTo>
                      <a:pt x="102" y="42"/>
                    </a:lnTo>
                    <a:lnTo>
                      <a:pt x="90" y="48"/>
                    </a:lnTo>
                    <a:lnTo>
                      <a:pt x="78" y="42"/>
                    </a:lnTo>
                    <a:lnTo>
                      <a:pt x="66" y="36"/>
                    </a:lnTo>
                    <a:lnTo>
                      <a:pt x="60" y="30"/>
                    </a:lnTo>
                    <a:lnTo>
                      <a:pt x="60" y="24"/>
                    </a:lnTo>
                    <a:lnTo>
                      <a:pt x="60" y="18"/>
                    </a:lnTo>
                    <a:lnTo>
                      <a:pt x="54" y="12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12" y="0"/>
                    </a:lnTo>
                    <a:lnTo>
                      <a:pt x="18" y="6"/>
                    </a:lnTo>
                    <a:lnTo>
                      <a:pt x="12" y="18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6" y="30"/>
                    </a:lnTo>
                    <a:lnTo>
                      <a:pt x="0" y="42"/>
                    </a:lnTo>
                    <a:lnTo>
                      <a:pt x="0" y="66"/>
                    </a:lnTo>
                    <a:lnTo>
                      <a:pt x="6" y="66"/>
                    </a:lnTo>
                    <a:lnTo>
                      <a:pt x="6" y="78"/>
                    </a:lnTo>
                    <a:lnTo>
                      <a:pt x="6" y="84"/>
                    </a:lnTo>
                    <a:lnTo>
                      <a:pt x="6" y="96"/>
                    </a:lnTo>
                    <a:lnTo>
                      <a:pt x="18" y="108"/>
                    </a:lnTo>
                    <a:lnTo>
                      <a:pt x="24" y="114"/>
                    </a:lnTo>
                    <a:lnTo>
                      <a:pt x="30" y="120"/>
                    </a:lnTo>
                    <a:lnTo>
                      <a:pt x="54" y="120"/>
                    </a:lnTo>
                    <a:lnTo>
                      <a:pt x="138" y="156"/>
                    </a:lnTo>
                    <a:lnTo>
                      <a:pt x="138" y="144"/>
                    </a:lnTo>
                    <a:lnTo>
                      <a:pt x="150" y="144"/>
                    </a:lnTo>
                    <a:lnTo>
                      <a:pt x="15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19" name="Freeform 331"/>
              <p:cNvSpPr>
                <a:spLocks/>
              </p:cNvSpPr>
              <p:nvPr/>
            </p:nvSpPr>
            <p:spPr bwMode="auto">
              <a:xfrm>
                <a:off x="1362" y="1104"/>
                <a:ext cx="150" cy="156"/>
              </a:xfrm>
              <a:custGeom>
                <a:avLst/>
                <a:gdLst>
                  <a:gd name="T0" fmla="*/ 150 w 150"/>
                  <a:gd name="T1" fmla="*/ 30 h 156"/>
                  <a:gd name="T2" fmla="*/ 144 w 150"/>
                  <a:gd name="T3" fmla="*/ 30 h 156"/>
                  <a:gd name="T4" fmla="*/ 144 w 150"/>
                  <a:gd name="T5" fmla="*/ 24 h 156"/>
                  <a:gd name="T6" fmla="*/ 132 w 150"/>
                  <a:gd name="T7" fmla="*/ 24 h 156"/>
                  <a:gd name="T8" fmla="*/ 126 w 150"/>
                  <a:gd name="T9" fmla="*/ 18 h 156"/>
                  <a:gd name="T10" fmla="*/ 120 w 150"/>
                  <a:gd name="T11" fmla="*/ 18 h 156"/>
                  <a:gd name="T12" fmla="*/ 102 w 150"/>
                  <a:gd name="T13" fmla="*/ 24 h 156"/>
                  <a:gd name="T14" fmla="*/ 102 w 150"/>
                  <a:gd name="T15" fmla="*/ 30 h 156"/>
                  <a:gd name="T16" fmla="*/ 102 w 150"/>
                  <a:gd name="T17" fmla="*/ 36 h 156"/>
                  <a:gd name="T18" fmla="*/ 102 w 150"/>
                  <a:gd name="T19" fmla="*/ 42 h 156"/>
                  <a:gd name="T20" fmla="*/ 90 w 150"/>
                  <a:gd name="T21" fmla="*/ 48 h 156"/>
                  <a:gd name="T22" fmla="*/ 78 w 150"/>
                  <a:gd name="T23" fmla="*/ 42 h 156"/>
                  <a:gd name="T24" fmla="*/ 66 w 150"/>
                  <a:gd name="T25" fmla="*/ 36 h 156"/>
                  <a:gd name="T26" fmla="*/ 60 w 150"/>
                  <a:gd name="T27" fmla="*/ 30 h 156"/>
                  <a:gd name="T28" fmla="*/ 60 w 150"/>
                  <a:gd name="T29" fmla="*/ 24 h 156"/>
                  <a:gd name="T30" fmla="*/ 60 w 150"/>
                  <a:gd name="T31" fmla="*/ 18 h 156"/>
                  <a:gd name="T32" fmla="*/ 54 w 150"/>
                  <a:gd name="T33" fmla="*/ 12 h 156"/>
                  <a:gd name="T34" fmla="*/ 42 w 150"/>
                  <a:gd name="T35" fmla="*/ 12 h 156"/>
                  <a:gd name="T36" fmla="*/ 36 w 150"/>
                  <a:gd name="T37" fmla="*/ 6 h 156"/>
                  <a:gd name="T38" fmla="*/ 30 w 150"/>
                  <a:gd name="T39" fmla="*/ 6 h 156"/>
                  <a:gd name="T40" fmla="*/ 24 w 150"/>
                  <a:gd name="T41" fmla="*/ 6 h 156"/>
                  <a:gd name="T42" fmla="*/ 12 w 150"/>
                  <a:gd name="T43" fmla="*/ 0 h 156"/>
                  <a:gd name="T44" fmla="*/ 18 w 150"/>
                  <a:gd name="T45" fmla="*/ 6 h 156"/>
                  <a:gd name="T46" fmla="*/ 12 w 150"/>
                  <a:gd name="T47" fmla="*/ 18 h 156"/>
                  <a:gd name="T48" fmla="*/ 6 w 150"/>
                  <a:gd name="T49" fmla="*/ 24 h 156"/>
                  <a:gd name="T50" fmla="*/ 12 w 150"/>
                  <a:gd name="T51" fmla="*/ 24 h 156"/>
                  <a:gd name="T52" fmla="*/ 6 w 150"/>
                  <a:gd name="T53" fmla="*/ 30 h 156"/>
                  <a:gd name="T54" fmla="*/ 0 w 150"/>
                  <a:gd name="T55" fmla="*/ 42 h 156"/>
                  <a:gd name="T56" fmla="*/ 0 w 150"/>
                  <a:gd name="T57" fmla="*/ 66 h 156"/>
                  <a:gd name="T58" fmla="*/ 6 w 150"/>
                  <a:gd name="T59" fmla="*/ 66 h 156"/>
                  <a:gd name="T60" fmla="*/ 6 w 150"/>
                  <a:gd name="T61" fmla="*/ 78 h 156"/>
                  <a:gd name="T62" fmla="*/ 6 w 150"/>
                  <a:gd name="T63" fmla="*/ 84 h 156"/>
                  <a:gd name="T64" fmla="*/ 6 w 150"/>
                  <a:gd name="T65" fmla="*/ 96 h 156"/>
                  <a:gd name="T66" fmla="*/ 18 w 150"/>
                  <a:gd name="T67" fmla="*/ 108 h 156"/>
                  <a:gd name="T68" fmla="*/ 24 w 150"/>
                  <a:gd name="T69" fmla="*/ 114 h 156"/>
                  <a:gd name="T70" fmla="*/ 30 w 150"/>
                  <a:gd name="T71" fmla="*/ 120 h 156"/>
                  <a:gd name="T72" fmla="*/ 54 w 150"/>
                  <a:gd name="T73" fmla="*/ 120 h 156"/>
                  <a:gd name="T74" fmla="*/ 138 w 150"/>
                  <a:gd name="T75" fmla="*/ 156 h 156"/>
                  <a:gd name="T76" fmla="*/ 138 w 150"/>
                  <a:gd name="T77" fmla="*/ 144 h 156"/>
                  <a:gd name="T78" fmla="*/ 150 w 150"/>
                  <a:gd name="T79" fmla="*/ 144 h 156"/>
                  <a:gd name="T80" fmla="*/ 150 w 150"/>
                  <a:gd name="T81" fmla="*/ 30 h 15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50" h="156">
                    <a:moveTo>
                      <a:pt x="150" y="30"/>
                    </a:moveTo>
                    <a:lnTo>
                      <a:pt x="144" y="30"/>
                    </a:lnTo>
                    <a:lnTo>
                      <a:pt x="144" y="24"/>
                    </a:lnTo>
                    <a:lnTo>
                      <a:pt x="132" y="24"/>
                    </a:lnTo>
                    <a:lnTo>
                      <a:pt x="126" y="18"/>
                    </a:lnTo>
                    <a:lnTo>
                      <a:pt x="120" y="18"/>
                    </a:lnTo>
                    <a:lnTo>
                      <a:pt x="102" y="24"/>
                    </a:lnTo>
                    <a:lnTo>
                      <a:pt x="102" y="30"/>
                    </a:lnTo>
                    <a:lnTo>
                      <a:pt x="102" y="36"/>
                    </a:lnTo>
                    <a:lnTo>
                      <a:pt x="102" y="42"/>
                    </a:lnTo>
                    <a:lnTo>
                      <a:pt x="90" y="48"/>
                    </a:lnTo>
                    <a:lnTo>
                      <a:pt x="78" y="42"/>
                    </a:lnTo>
                    <a:lnTo>
                      <a:pt x="66" y="36"/>
                    </a:lnTo>
                    <a:lnTo>
                      <a:pt x="60" y="30"/>
                    </a:lnTo>
                    <a:lnTo>
                      <a:pt x="60" y="24"/>
                    </a:lnTo>
                    <a:lnTo>
                      <a:pt x="60" y="18"/>
                    </a:lnTo>
                    <a:lnTo>
                      <a:pt x="54" y="12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12" y="0"/>
                    </a:lnTo>
                    <a:lnTo>
                      <a:pt x="18" y="6"/>
                    </a:lnTo>
                    <a:lnTo>
                      <a:pt x="12" y="18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6" y="30"/>
                    </a:lnTo>
                    <a:lnTo>
                      <a:pt x="0" y="42"/>
                    </a:lnTo>
                    <a:lnTo>
                      <a:pt x="0" y="66"/>
                    </a:lnTo>
                    <a:lnTo>
                      <a:pt x="6" y="66"/>
                    </a:lnTo>
                    <a:lnTo>
                      <a:pt x="6" y="78"/>
                    </a:lnTo>
                    <a:lnTo>
                      <a:pt x="6" y="84"/>
                    </a:lnTo>
                    <a:lnTo>
                      <a:pt x="6" y="96"/>
                    </a:lnTo>
                    <a:lnTo>
                      <a:pt x="18" y="108"/>
                    </a:lnTo>
                    <a:lnTo>
                      <a:pt x="24" y="114"/>
                    </a:lnTo>
                    <a:lnTo>
                      <a:pt x="30" y="120"/>
                    </a:lnTo>
                    <a:lnTo>
                      <a:pt x="54" y="120"/>
                    </a:lnTo>
                    <a:lnTo>
                      <a:pt x="138" y="156"/>
                    </a:lnTo>
                    <a:lnTo>
                      <a:pt x="138" y="144"/>
                    </a:lnTo>
                    <a:lnTo>
                      <a:pt x="150" y="144"/>
                    </a:lnTo>
                    <a:lnTo>
                      <a:pt x="15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35" name="Group 332"/>
            <p:cNvGrpSpPr>
              <a:grpSpLocks/>
            </p:cNvGrpSpPr>
            <p:nvPr/>
          </p:nvGrpSpPr>
          <p:grpSpPr bwMode="auto">
            <a:xfrm>
              <a:off x="877336" y="3043006"/>
              <a:ext cx="219107" cy="155756"/>
              <a:chOff x="1296" y="1320"/>
              <a:chExt cx="108" cy="90"/>
            </a:xfrm>
            <a:solidFill>
              <a:srgbClr val="0070C0">
                <a:alpha val="27059"/>
              </a:srgbClr>
            </a:solidFill>
          </p:grpSpPr>
          <p:sp>
            <p:nvSpPr>
              <p:cNvPr id="1716" name="Freeform 333"/>
              <p:cNvSpPr>
                <a:spLocks/>
              </p:cNvSpPr>
              <p:nvPr/>
            </p:nvSpPr>
            <p:spPr bwMode="auto">
              <a:xfrm>
                <a:off x="1296" y="1320"/>
                <a:ext cx="108" cy="90"/>
              </a:xfrm>
              <a:custGeom>
                <a:avLst/>
                <a:gdLst>
                  <a:gd name="T0" fmla="*/ 108 w 108"/>
                  <a:gd name="T1" fmla="*/ 0 h 90"/>
                  <a:gd name="T2" fmla="*/ 102 w 108"/>
                  <a:gd name="T3" fmla="*/ 0 h 90"/>
                  <a:gd name="T4" fmla="*/ 96 w 108"/>
                  <a:gd name="T5" fmla="*/ 0 h 90"/>
                  <a:gd name="T6" fmla="*/ 84 w 108"/>
                  <a:gd name="T7" fmla="*/ 6 h 90"/>
                  <a:gd name="T8" fmla="*/ 78 w 108"/>
                  <a:gd name="T9" fmla="*/ 0 h 90"/>
                  <a:gd name="T10" fmla="*/ 72 w 108"/>
                  <a:gd name="T11" fmla="*/ 0 h 90"/>
                  <a:gd name="T12" fmla="*/ 60 w 108"/>
                  <a:gd name="T13" fmla="*/ 6 h 90"/>
                  <a:gd name="T14" fmla="*/ 54 w 108"/>
                  <a:gd name="T15" fmla="*/ 0 h 90"/>
                  <a:gd name="T16" fmla="*/ 48 w 108"/>
                  <a:gd name="T17" fmla="*/ 6 h 90"/>
                  <a:gd name="T18" fmla="*/ 42 w 108"/>
                  <a:gd name="T19" fmla="*/ 12 h 90"/>
                  <a:gd name="T20" fmla="*/ 42 w 108"/>
                  <a:gd name="T21" fmla="*/ 6 h 90"/>
                  <a:gd name="T22" fmla="*/ 36 w 108"/>
                  <a:gd name="T23" fmla="*/ 6 h 90"/>
                  <a:gd name="T24" fmla="*/ 30 w 108"/>
                  <a:gd name="T25" fmla="*/ 6 h 90"/>
                  <a:gd name="T26" fmla="*/ 24 w 108"/>
                  <a:gd name="T27" fmla="*/ 0 h 90"/>
                  <a:gd name="T28" fmla="*/ 18 w 108"/>
                  <a:gd name="T29" fmla="*/ 0 h 90"/>
                  <a:gd name="T30" fmla="*/ 12 w 108"/>
                  <a:gd name="T31" fmla="*/ 6 h 90"/>
                  <a:gd name="T32" fmla="*/ 6 w 108"/>
                  <a:gd name="T33" fmla="*/ 6 h 90"/>
                  <a:gd name="T34" fmla="*/ 0 w 108"/>
                  <a:gd name="T35" fmla="*/ 12 h 90"/>
                  <a:gd name="T36" fmla="*/ 0 w 108"/>
                  <a:gd name="T37" fmla="*/ 18 h 90"/>
                  <a:gd name="T38" fmla="*/ 0 w 108"/>
                  <a:gd name="T39" fmla="*/ 24 h 90"/>
                  <a:gd name="T40" fmla="*/ 0 w 108"/>
                  <a:gd name="T41" fmla="*/ 30 h 90"/>
                  <a:gd name="T42" fmla="*/ 0 w 108"/>
                  <a:gd name="T43" fmla="*/ 36 h 90"/>
                  <a:gd name="T44" fmla="*/ 0 w 108"/>
                  <a:gd name="T45" fmla="*/ 42 h 90"/>
                  <a:gd name="T46" fmla="*/ 0 w 108"/>
                  <a:gd name="T47" fmla="*/ 48 h 90"/>
                  <a:gd name="T48" fmla="*/ 0 w 108"/>
                  <a:gd name="T49" fmla="*/ 72 h 90"/>
                  <a:gd name="T50" fmla="*/ 6 w 108"/>
                  <a:gd name="T51" fmla="*/ 72 h 90"/>
                  <a:gd name="T52" fmla="*/ 12 w 108"/>
                  <a:gd name="T53" fmla="*/ 78 h 90"/>
                  <a:gd name="T54" fmla="*/ 30 w 108"/>
                  <a:gd name="T55" fmla="*/ 84 h 90"/>
                  <a:gd name="T56" fmla="*/ 42 w 108"/>
                  <a:gd name="T57" fmla="*/ 90 h 90"/>
                  <a:gd name="T58" fmla="*/ 60 w 108"/>
                  <a:gd name="T59" fmla="*/ 90 h 90"/>
                  <a:gd name="T60" fmla="*/ 66 w 108"/>
                  <a:gd name="T61" fmla="*/ 72 h 90"/>
                  <a:gd name="T62" fmla="*/ 66 w 108"/>
                  <a:gd name="T63" fmla="*/ 66 h 90"/>
                  <a:gd name="T64" fmla="*/ 72 w 108"/>
                  <a:gd name="T65" fmla="*/ 54 h 90"/>
                  <a:gd name="T66" fmla="*/ 84 w 108"/>
                  <a:gd name="T67" fmla="*/ 48 h 90"/>
                  <a:gd name="T68" fmla="*/ 84 w 108"/>
                  <a:gd name="T69" fmla="*/ 48 h 90"/>
                  <a:gd name="T70" fmla="*/ 90 w 108"/>
                  <a:gd name="T71" fmla="*/ 54 h 90"/>
                  <a:gd name="T72" fmla="*/ 96 w 108"/>
                  <a:gd name="T73" fmla="*/ 48 h 90"/>
                  <a:gd name="T74" fmla="*/ 96 w 108"/>
                  <a:gd name="T75" fmla="*/ 48 h 90"/>
                  <a:gd name="T76" fmla="*/ 102 w 108"/>
                  <a:gd name="T77" fmla="*/ 36 h 90"/>
                  <a:gd name="T78" fmla="*/ 108 w 108"/>
                  <a:gd name="T79" fmla="*/ 18 h 90"/>
                  <a:gd name="T80" fmla="*/ 108 w 108"/>
                  <a:gd name="T81" fmla="*/ 6 h 90"/>
                  <a:gd name="T82" fmla="*/ 108 w 108"/>
                  <a:gd name="T83" fmla="*/ 0 h 9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08" h="90">
                    <a:moveTo>
                      <a:pt x="108" y="0"/>
                    </a:moveTo>
                    <a:lnTo>
                      <a:pt x="102" y="0"/>
                    </a:lnTo>
                    <a:lnTo>
                      <a:pt x="96" y="0"/>
                    </a:lnTo>
                    <a:lnTo>
                      <a:pt x="84" y="6"/>
                    </a:lnTo>
                    <a:lnTo>
                      <a:pt x="78" y="0"/>
                    </a:lnTo>
                    <a:lnTo>
                      <a:pt x="72" y="0"/>
                    </a:lnTo>
                    <a:lnTo>
                      <a:pt x="60" y="6"/>
                    </a:lnTo>
                    <a:lnTo>
                      <a:pt x="54" y="0"/>
                    </a:lnTo>
                    <a:lnTo>
                      <a:pt x="48" y="6"/>
                    </a:lnTo>
                    <a:lnTo>
                      <a:pt x="42" y="12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72"/>
                    </a:lnTo>
                    <a:lnTo>
                      <a:pt x="6" y="72"/>
                    </a:lnTo>
                    <a:lnTo>
                      <a:pt x="12" y="78"/>
                    </a:lnTo>
                    <a:lnTo>
                      <a:pt x="30" y="84"/>
                    </a:lnTo>
                    <a:lnTo>
                      <a:pt x="42" y="90"/>
                    </a:lnTo>
                    <a:lnTo>
                      <a:pt x="60" y="90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72" y="54"/>
                    </a:lnTo>
                    <a:lnTo>
                      <a:pt x="84" y="48"/>
                    </a:lnTo>
                    <a:lnTo>
                      <a:pt x="90" y="54"/>
                    </a:lnTo>
                    <a:lnTo>
                      <a:pt x="96" y="48"/>
                    </a:lnTo>
                    <a:lnTo>
                      <a:pt x="102" y="36"/>
                    </a:lnTo>
                    <a:lnTo>
                      <a:pt x="108" y="18"/>
                    </a:lnTo>
                    <a:lnTo>
                      <a:pt x="108" y="6"/>
                    </a:lnTo>
                    <a:lnTo>
                      <a:pt x="10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17" name="Freeform 334"/>
              <p:cNvSpPr>
                <a:spLocks/>
              </p:cNvSpPr>
              <p:nvPr/>
            </p:nvSpPr>
            <p:spPr bwMode="auto">
              <a:xfrm>
                <a:off x="1296" y="1320"/>
                <a:ext cx="108" cy="90"/>
              </a:xfrm>
              <a:custGeom>
                <a:avLst/>
                <a:gdLst>
                  <a:gd name="T0" fmla="*/ 108 w 108"/>
                  <a:gd name="T1" fmla="*/ 0 h 90"/>
                  <a:gd name="T2" fmla="*/ 102 w 108"/>
                  <a:gd name="T3" fmla="*/ 0 h 90"/>
                  <a:gd name="T4" fmla="*/ 96 w 108"/>
                  <a:gd name="T5" fmla="*/ 0 h 90"/>
                  <a:gd name="T6" fmla="*/ 84 w 108"/>
                  <a:gd name="T7" fmla="*/ 6 h 90"/>
                  <a:gd name="T8" fmla="*/ 78 w 108"/>
                  <a:gd name="T9" fmla="*/ 0 h 90"/>
                  <a:gd name="T10" fmla="*/ 72 w 108"/>
                  <a:gd name="T11" fmla="*/ 0 h 90"/>
                  <a:gd name="T12" fmla="*/ 60 w 108"/>
                  <a:gd name="T13" fmla="*/ 6 h 90"/>
                  <a:gd name="T14" fmla="*/ 54 w 108"/>
                  <a:gd name="T15" fmla="*/ 0 h 90"/>
                  <a:gd name="T16" fmla="*/ 48 w 108"/>
                  <a:gd name="T17" fmla="*/ 6 h 90"/>
                  <a:gd name="T18" fmla="*/ 42 w 108"/>
                  <a:gd name="T19" fmla="*/ 12 h 90"/>
                  <a:gd name="T20" fmla="*/ 42 w 108"/>
                  <a:gd name="T21" fmla="*/ 6 h 90"/>
                  <a:gd name="T22" fmla="*/ 36 w 108"/>
                  <a:gd name="T23" fmla="*/ 6 h 90"/>
                  <a:gd name="T24" fmla="*/ 30 w 108"/>
                  <a:gd name="T25" fmla="*/ 6 h 90"/>
                  <a:gd name="T26" fmla="*/ 24 w 108"/>
                  <a:gd name="T27" fmla="*/ 0 h 90"/>
                  <a:gd name="T28" fmla="*/ 18 w 108"/>
                  <a:gd name="T29" fmla="*/ 0 h 90"/>
                  <a:gd name="T30" fmla="*/ 12 w 108"/>
                  <a:gd name="T31" fmla="*/ 6 h 90"/>
                  <a:gd name="T32" fmla="*/ 6 w 108"/>
                  <a:gd name="T33" fmla="*/ 6 h 90"/>
                  <a:gd name="T34" fmla="*/ 0 w 108"/>
                  <a:gd name="T35" fmla="*/ 12 h 90"/>
                  <a:gd name="T36" fmla="*/ 0 w 108"/>
                  <a:gd name="T37" fmla="*/ 18 h 90"/>
                  <a:gd name="T38" fmla="*/ 0 w 108"/>
                  <a:gd name="T39" fmla="*/ 24 h 90"/>
                  <a:gd name="T40" fmla="*/ 0 w 108"/>
                  <a:gd name="T41" fmla="*/ 30 h 90"/>
                  <a:gd name="T42" fmla="*/ 0 w 108"/>
                  <a:gd name="T43" fmla="*/ 36 h 90"/>
                  <a:gd name="T44" fmla="*/ 0 w 108"/>
                  <a:gd name="T45" fmla="*/ 42 h 90"/>
                  <a:gd name="T46" fmla="*/ 0 w 108"/>
                  <a:gd name="T47" fmla="*/ 48 h 90"/>
                  <a:gd name="T48" fmla="*/ 0 w 108"/>
                  <a:gd name="T49" fmla="*/ 72 h 90"/>
                  <a:gd name="T50" fmla="*/ 6 w 108"/>
                  <a:gd name="T51" fmla="*/ 72 h 90"/>
                  <a:gd name="T52" fmla="*/ 12 w 108"/>
                  <a:gd name="T53" fmla="*/ 78 h 90"/>
                  <a:gd name="T54" fmla="*/ 30 w 108"/>
                  <a:gd name="T55" fmla="*/ 84 h 90"/>
                  <a:gd name="T56" fmla="*/ 42 w 108"/>
                  <a:gd name="T57" fmla="*/ 90 h 90"/>
                  <a:gd name="T58" fmla="*/ 60 w 108"/>
                  <a:gd name="T59" fmla="*/ 90 h 90"/>
                  <a:gd name="T60" fmla="*/ 66 w 108"/>
                  <a:gd name="T61" fmla="*/ 72 h 90"/>
                  <a:gd name="T62" fmla="*/ 66 w 108"/>
                  <a:gd name="T63" fmla="*/ 66 h 90"/>
                  <a:gd name="T64" fmla="*/ 72 w 108"/>
                  <a:gd name="T65" fmla="*/ 54 h 90"/>
                  <a:gd name="T66" fmla="*/ 84 w 108"/>
                  <a:gd name="T67" fmla="*/ 48 h 90"/>
                  <a:gd name="T68" fmla="*/ 90 w 108"/>
                  <a:gd name="T69" fmla="*/ 54 h 90"/>
                  <a:gd name="T70" fmla="*/ 96 w 108"/>
                  <a:gd name="T71" fmla="*/ 48 h 90"/>
                  <a:gd name="T72" fmla="*/ 102 w 108"/>
                  <a:gd name="T73" fmla="*/ 36 h 90"/>
                  <a:gd name="T74" fmla="*/ 108 w 108"/>
                  <a:gd name="T75" fmla="*/ 18 h 90"/>
                  <a:gd name="T76" fmla="*/ 108 w 108"/>
                  <a:gd name="T77" fmla="*/ 6 h 90"/>
                  <a:gd name="T78" fmla="*/ 108 w 108"/>
                  <a:gd name="T79" fmla="*/ 0 h 9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08" h="90">
                    <a:moveTo>
                      <a:pt x="108" y="0"/>
                    </a:moveTo>
                    <a:lnTo>
                      <a:pt x="102" y="0"/>
                    </a:lnTo>
                    <a:lnTo>
                      <a:pt x="96" y="0"/>
                    </a:lnTo>
                    <a:lnTo>
                      <a:pt x="84" y="6"/>
                    </a:lnTo>
                    <a:lnTo>
                      <a:pt x="78" y="0"/>
                    </a:lnTo>
                    <a:lnTo>
                      <a:pt x="72" y="0"/>
                    </a:lnTo>
                    <a:lnTo>
                      <a:pt x="60" y="6"/>
                    </a:lnTo>
                    <a:lnTo>
                      <a:pt x="54" y="0"/>
                    </a:lnTo>
                    <a:lnTo>
                      <a:pt x="48" y="6"/>
                    </a:lnTo>
                    <a:lnTo>
                      <a:pt x="42" y="12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72"/>
                    </a:lnTo>
                    <a:lnTo>
                      <a:pt x="6" y="72"/>
                    </a:lnTo>
                    <a:lnTo>
                      <a:pt x="12" y="78"/>
                    </a:lnTo>
                    <a:lnTo>
                      <a:pt x="30" y="84"/>
                    </a:lnTo>
                    <a:lnTo>
                      <a:pt x="42" y="90"/>
                    </a:lnTo>
                    <a:lnTo>
                      <a:pt x="60" y="90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72" y="54"/>
                    </a:lnTo>
                    <a:lnTo>
                      <a:pt x="84" y="48"/>
                    </a:lnTo>
                    <a:lnTo>
                      <a:pt x="90" y="54"/>
                    </a:lnTo>
                    <a:lnTo>
                      <a:pt x="96" y="48"/>
                    </a:lnTo>
                    <a:lnTo>
                      <a:pt x="102" y="36"/>
                    </a:lnTo>
                    <a:lnTo>
                      <a:pt x="108" y="18"/>
                    </a:lnTo>
                    <a:lnTo>
                      <a:pt x="108" y="6"/>
                    </a:lnTo>
                    <a:lnTo>
                      <a:pt x="10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sp>
          <p:nvSpPr>
            <p:cNvPr id="636" name="Freeform 335"/>
            <p:cNvSpPr>
              <a:spLocks/>
            </p:cNvSpPr>
            <p:nvPr/>
          </p:nvSpPr>
          <p:spPr bwMode="auto">
            <a:xfrm>
              <a:off x="1046471" y="2856907"/>
              <a:ext cx="86489" cy="175984"/>
            </a:xfrm>
            <a:custGeom>
              <a:avLst/>
              <a:gdLst>
                <a:gd name="T0" fmla="*/ 28 w 42"/>
                <a:gd name="T1" fmla="*/ 74 h 102"/>
                <a:gd name="T2" fmla="*/ 28 w 42"/>
                <a:gd name="T3" fmla="*/ 66 h 102"/>
                <a:gd name="T4" fmla="*/ 28 w 42"/>
                <a:gd name="T5" fmla="*/ 61 h 102"/>
                <a:gd name="T6" fmla="*/ 34 w 42"/>
                <a:gd name="T7" fmla="*/ 57 h 102"/>
                <a:gd name="T8" fmla="*/ 42 w 42"/>
                <a:gd name="T9" fmla="*/ 52 h 102"/>
                <a:gd name="T10" fmla="*/ 42 w 42"/>
                <a:gd name="T11" fmla="*/ 39 h 102"/>
                <a:gd name="T12" fmla="*/ 42 w 42"/>
                <a:gd name="T13" fmla="*/ 31 h 102"/>
                <a:gd name="T14" fmla="*/ 48 w 42"/>
                <a:gd name="T15" fmla="*/ 26 h 102"/>
                <a:gd name="T16" fmla="*/ 48 w 42"/>
                <a:gd name="T17" fmla="*/ 26 h 102"/>
                <a:gd name="T18" fmla="*/ 42 w 42"/>
                <a:gd name="T19" fmla="*/ 17 h 102"/>
                <a:gd name="T20" fmla="*/ 42 w 42"/>
                <a:gd name="T21" fmla="*/ 9 h 102"/>
                <a:gd name="T22" fmla="*/ 14 w 42"/>
                <a:gd name="T23" fmla="*/ 9 h 102"/>
                <a:gd name="T24" fmla="*/ 14 w 42"/>
                <a:gd name="T25" fmla="*/ 4 h 102"/>
                <a:gd name="T26" fmla="*/ 6 w 42"/>
                <a:gd name="T27" fmla="*/ 0 h 102"/>
                <a:gd name="T28" fmla="*/ 0 w 42"/>
                <a:gd name="T29" fmla="*/ 0 h 102"/>
                <a:gd name="T30" fmla="*/ 28 w 42"/>
                <a:gd name="T31" fmla="*/ 74 h 1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2" h="102">
                  <a:moveTo>
                    <a:pt x="24" y="102"/>
                  </a:moveTo>
                  <a:lnTo>
                    <a:pt x="24" y="90"/>
                  </a:lnTo>
                  <a:lnTo>
                    <a:pt x="24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36" y="54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36" y="24"/>
                  </a:lnTo>
                  <a:lnTo>
                    <a:pt x="36" y="12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0"/>
                  </a:lnTo>
                  <a:lnTo>
                    <a:pt x="24" y="102"/>
                  </a:lnTo>
                  <a:close/>
                </a:path>
              </a:pathLst>
            </a:custGeom>
            <a:solidFill>
              <a:srgbClr val="0070C0">
                <a:alpha val="27059"/>
              </a:srgb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637" name="Freeform 336"/>
            <p:cNvSpPr>
              <a:spLocks/>
            </p:cNvSpPr>
            <p:nvPr/>
          </p:nvSpPr>
          <p:spPr bwMode="auto">
            <a:xfrm>
              <a:off x="1046471" y="2856907"/>
              <a:ext cx="86489" cy="175984"/>
            </a:xfrm>
            <a:custGeom>
              <a:avLst/>
              <a:gdLst>
                <a:gd name="T0" fmla="*/ 28 w 42"/>
                <a:gd name="T1" fmla="*/ 74 h 102"/>
                <a:gd name="T2" fmla="*/ 28 w 42"/>
                <a:gd name="T3" fmla="*/ 66 h 102"/>
                <a:gd name="T4" fmla="*/ 28 w 42"/>
                <a:gd name="T5" fmla="*/ 61 h 102"/>
                <a:gd name="T6" fmla="*/ 34 w 42"/>
                <a:gd name="T7" fmla="*/ 57 h 102"/>
                <a:gd name="T8" fmla="*/ 42 w 42"/>
                <a:gd name="T9" fmla="*/ 52 h 102"/>
                <a:gd name="T10" fmla="*/ 42 w 42"/>
                <a:gd name="T11" fmla="*/ 39 h 102"/>
                <a:gd name="T12" fmla="*/ 42 w 42"/>
                <a:gd name="T13" fmla="*/ 31 h 102"/>
                <a:gd name="T14" fmla="*/ 48 w 42"/>
                <a:gd name="T15" fmla="*/ 26 h 102"/>
                <a:gd name="T16" fmla="*/ 42 w 42"/>
                <a:gd name="T17" fmla="*/ 17 h 102"/>
                <a:gd name="T18" fmla="*/ 42 w 42"/>
                <a:gd name="T19" fmla="*/ 9 h 102"/>
                <a:gd name="T20" fmla="*/ 14 w 42"/>
                <a:gd name="T21" fmla="*/ 9 h 102"/>
                <a:gd name="T22" fmla="*/ 14 w 42"/>
                <a:gd name="T23" fmla="*/ 4 h 102"/>
                <a:gd name="T24" fmla="*/ 6 w 42"/>
                <a:gd name="T25" fmla="*/ 0 h 102"/>
                <a:gd name="T26" fmla="*/ 0 w 42"/>
                <a:gd name="T27" fmla="*/ 0 h 10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2" h="102">
                  <a:moveTo>
                    <a:pt x="24" y="102"/>
                  </a:moveTo>
                  <a:lnTo>
                    <a:pt x="24" y="90"/>
                  </a:lnTo>
                  <a:lnTo>
                    <a:pt x="24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36" y="54"/>
                  </a:lnTo>
                  <a:lnTo>
                    <a:pt x="36" y="42"/>
                  </a:lnTo>
                  <a:lnTo>
                    <a:pt x="42" y="36"/>
                  </a:lnTo>
                  <a:lnTo>
                    <a:pt x="36" y="24"/>
                  </a:lnTo>
                  <a:lnTo>
                    <a:pt x="36" y="12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0070C0">
                <a:alpha val="27059"/>
              </a:srgbClr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grpSp>
          <p:nvGrpSpPr>
            <p:cNvPr id="638" name="Group 337"/>
            <p:cNvGrpSpPr>
              <a:grpSpLocks/>
            </p:cNvGrpSpPr>
            <p:nvPr/>
          </p:nvGrpSpPr>
          <p:grpSpPr bwMode="auto">
            <a:xfrm>
              <a:off x="804301" y="2856907"/>
              <a:ext cx="328660" cy="206327"/>
              <a:chOff x="1260" y="1212"/>
              <a:chExt cx="162" cy="120"/>
            </a:xfrm>
            <a:solidFill>
              <a:srgbClr val="0070C0">
                <a:alpha val="27059"/>
              </a:srgbClr>
            </a:solidFill>
          </p:grpSpPr>
          <p:sp>
            <p:nvSpPr>
              <p:cNvPr id="1714" name="Freeform 338"/>
              <p:cNvSpPr>
                <a:spLocks/>
              </p:cNvSpPr>
              <p:nvPr/>
            </p:nvSpPr>
            <p:spPr bwMode="auto">
              <a:xfrm>
                <a:off x="1260" y="1212"/>
                <a:ext cx="162" cy="120"/>
              </a:xfrm>
              <a:custGeom>
                <a:avLst/>
                <a:gdLst>
                  <a:gd name="T0" fmla="*/ 120 w 162"/>
                  <a:gd name="T1" fmla="*/ 0 h 120"/>
                  <a:gd name="T2" fmla="*/ 66 w 162"/>
                  <a:gd name="T3" fmla="*/ 30 h 120"/>
                  <a:gd name="T4" fmla="*/ 42 w 162"/>
                  <a:gd name="T5" fmla="*/ 36 h 120"/>
                  <a:gd name="T6" fmla="*/ 42 w 162"/>
                  <a:gd name="T7" fmla="*/ 54 h 120"/>
                  <a:gd name="T8" fmla="*/ 36 w 162"/>
                  <a:gd name="T9" fmla="*/ 72 h 120"/>
                  <a:gd name="T10" fmla="*/ 36 w 162"/>
                  <a:gd name="T11" fmla="*/ 78 h 120"/>
                  <a:gd name="T12" fmla="*/ 24 w 162"/>
                  <a:gd name="T13" fmla="*/ 90 h 120"/>
                  <a:gd name="T14" fmla="*/ 24 w 162"/>
                  <a:gd name="T15" fmla="*/ 90 h 120"/>
                  <a:gd name="T16" fmla="*/ 12 w 162"/>
                  <a:gd name="T17" fmla="*/ 90 h 120"/>
                  <a:gd name="T18" fmla="*/ 0 w 162"/>
                  <a:gd name="T19" fmla="*/ 90 h 120"/>
                  <a:gd name="T20" fmla="*/ 0 w 162"/>
                  <a:gd name="T21" fmla="*/ 96 h 120"/>
                  <a:gd name="T22" fmla="*/ 6 w 162"/>
                  <a:gd name="T23" fmla="*/ 102 h 120"/>
                  <a:gd name="T24" fmla="*/ 6 w 162"/>
                  <a:gd name="T25" fmla="*/ 108 h 120"/>
                  <a:gd name="T26" fmla="*/ 6 w 162"/>
                  <a:gd name="T27" fmla="*/ 108 h 120"/>
                  <a:gd name="T28" fmla="*/ 12 w 162"/>
                  <a:gd name="T29" fmla="*/ 108 h 120"/>
                  <a:gd name="T30" fmla="*/ 12 w 162"/>
                  <a:gd name="T31" fmla="*/ 108 h 120"/>
                  <a:gd name="T32" fmla="*/ 12 w 162"/>
                  <a:gd name="T33" fmla="*/ 114 h 120"/>
                  <a:gd name="T34" fmla="*/ 18 w 162"/>
                  <a:gd name="T35" fmla="*/ 114 h 120"/>
                  <a:gd name="T36" fmla="*/ 18 w 162"/>
                  <a:gd name="T37" fmla="*/ 108 h 120"/>
                  <a:gd name="T38" fmla="*/ 30 w 162"/>
                  <a:gd name="T39" fmla="*/ 114 h 120"/>
                  <a:gd name="T40" fmla="*/ 36 w 162"/>
                  <a:gd name="T41" fmla="*/ 120 h 120"/>
                  <a:gd name="T42" fmla="*/ 42 w 162"/>
                  <a:gd name="T43" fmla="*/ 114 h 120"/>
                  <a:gd name="T44" fmla="*/ 48 w 162"/>
                  <a:gd name="T45" fmla="*/ 114 h 120"/>
                  <a:gd name="T46" fmla="*/ 54 w 162"/>
                  <a:gd name="T47" fmla="*/ 108 h 120"/>
                  <a:gd name="T48" fmla="*/ 66 w 162"/>
                  <a:gd name="T49" fmla="*/ 114 h 120"/>
                  <a:gd name="T50" fmla="*/ 72 w 162"/>
                  <a:gd name="T51" fmla="*/ 114 h 120"/>
                  <a:gd name="T52" fmla="*/ 78 w 162"/>
                  <a:gd name="T53" fmla="*/ 114 h 120"/>
                  <a:gd name="T54" fmla="*/ 78 w 162"/>
                  <a:gd name="T55" fmla="*/ 120 h 120"/>
                  <a:gd name="T56" fmla="*/ 84 w 162"/>
                  <a:gd name="T57" fmla="*/ 114 h 120"/>
                  <a:gd name="T58" fmla="*/ 90 w 162"/>
                  <a:gd name="T59" fmla="*/ 114 h 120"/>
                  <a:gd name="T60" fmla="*/ 96 w 162"/>
                  <a:gd name="T61" fmla="*/ 114 h 120"/>
                  <a:gd name="T62" fmla="*/ 102 w 162"/>
                  <a:gd name="T63" fmla="*/ 114 h 120"/>
                  <a:gd name="T64" fmla="*/ 108 w 162"/>
                  <a:gd name="T65" fmla="*/ 108 h 120"/>
                  <a:gd name="T66" fmla="*/ 114 w 162"/>
                  <a:gd name="T67" fmla="*/ 108 h 120"/>
                  <a:gd name="T68" fmla="*/ 120 w 162"/>
                  <a:gd name="T69" fmla="*/ 108 h 120"/>
                  <a:gd name="T70" fmla="*/ 126 w 162"/>
                  <a:gd name="T71" fmla="*/ 114 h 120"/>
                  <a:gd name="T72" fmla="*/ 132 w 162"/>
                  <a:gd name="T73" fmla="*/ 108 h 120"/>
                  <a:gd name="T74" fmla="*/ 138 w 162"/>
                  <a:gd name="T75" fmla="*/ 108 h 120"/>
                  <a:gd name="T76" fmla="*/ 144 w 162"/>
                  <a:gd name="T77" fmla="*/ 108 h 120"/>
                  <a:gd name="T78" fmla="*/ 144 w 162"/>
                  <a:gd name="T79" fmla="*/ 90 h 120"/>
                  <a:gd name="T80" fmla="*/ 144 w 162"/>
                  <a:gd name="T81" fmla="*/ 84 h 120"/>
                  <a:gd name="T82" fmla="*/ 150 w 162"/>
                  <a:gd name="T83" fmla="*/ 78 h 120"/>
                  <a:gd name="T84" fmla="*/ 156 w 162"/>
                  <a:gd name="T85" fmla="*/ 72 h 120"/>
                  <a:gd name="T86" fmla="*/ 156 w 162"/>
                  <a:gd name="T87" fmla="*/ 54 h 120"/>
                  <a:gd name="T88" fmla="*/ 156 w 162"/>
                  <a:gd name="T89" fmla="*/ 42 h 120"/>
                  <a:gd name="T90" fmla="*/ 162 w 162"/>
                  <a:gd name="T91" fmla="*/ 36 h 120"/>
                  <a:gd name="T92" fmla="*/ 162 w 162"/>
                  <a:gd name="T93" fmla="*/ 36 h 120"/>
                  <a:gd name="T94" fmla="*/ 156 w 162"/>
                  <a:gd name="T95" fmla="*/ 24 h 120"/>
                  <a:gd name="T96" fmla="*/ 156 w 162"/>
                  <a:gd name="T97" fmla="*/ 12 h 120"/>
                  <a:gd name="T98" fmla="*/ 132 w 162"/>
                  <a:gd name="T99" fmla="*/ 12 h 120"/>
                  <a:gd name="T100" fmla="*/ 132 w 162"/>
                  <a:gd name="T101" fmla="*/ 6 h 120"/>
                  <a:gd name="T102" fmla="*/ 126 w 162"/>
                  <a:gd name="T103" fmla="*/ 0 h 120"/>
                  <a:gd name="T104" fmla="*/ 120 w 162"/>
                  <a:gd name="T105" fmla="*/ 0 h 12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62" h="120">
                    <a:moveTo>
                      <a:pt x="120" y="0"/>
                    </a:moveTo>
                    <a:lnTo>
                      <a:pt x="66" y="30"/>
                    </a:lnTo>
                    <a:lnTo>
                      <a:pt x="42" y="36"/>
                    </a:lnTo>
                    <a:lnTo>
                      <a:pt x="42" y="54"/>
                    </a:lnTo>
                    <a:lnTo>
                      <a:pt x="36" y="72"/>
                    </a:lnTo>
                    <a:lnTo>
                      <a:pt x="36" y="78"/>
                    </a:lnTo>
                    <a:lnTo>
                      <a:pt x="24" y="90"/>
                    </a:lnTo>
                    <a:lnTo>
                      <a:pt x="12" y="90"/>
                    </a:lnTo>
                    <a:lnTo>
                      <a:pt x="0" y="90"/>
                    </a:lnTo>
                    <a:lnTo>
                      <a:pt x="0" y="96"/>
                    </a:lnTo>
                    <a:lnTo>
                      <a:pt x="6" y="102"/>
                    </a:lnTo>
                    <a:lnTo>
                      <a:pt x="6" y="108"/>
                    </a:lnTo>
                    <a:lnTo>
                      <a:pt x="12" y="108"/>
                    </a:lnTo>
                    <a:lnTo>
                      <a:pt x="12" y="114"/>
                    </a:lnTo>
                    <a:lnTo>
                      <a:pt x="18" y="114"/>
                    </a:lnTo>
                    <a:lnTo>
                      <a:pt x="18" y="108"/>
                    </a:lnTo>
                    <a:lnTo>
                      <a:pt x="30" y="114"/>
                    </a:lnTo>
                    <a:lnTo>
                      <a:pt x="36" y="120"/>
                    </a:lnTo>
                    <a:lnTo>
                      <a:pt x="42" y="114"/>
                    </a:lnTo>
                    <a:lnTo>
                      <a:pt x="48" y="114"/>
                    </a:lnTo>
                    <a:lnTo>
                      <a:pt x="54" y="108"/>
                    </a:lnTo>
                    <a:lnTo>
                      <a:pt x="66" y="114"/>
                    </a:lnTo>
                    <a:lnTo>
                      <a:pt x="72" y="114"/>
                    </a:lnTo>
                    <a:lnTo>
                      <a:pt x="78" y="114"/>
                    </a:lnTo>
                    <a:lnTo>
                      <a:pt x="78" y="120"/>
                    </a:lnTo>
                    <a:lnTo>
                      <a:pt x="84" y="114"/>
                    </a:lnTo>
                    <a:lnTo>
                      <a:pt x="90" y="114"/>
                    </a:lnTo>
                    <a:lnTo>
                      <a:pt x="96" y="114"/>
                    </a:lnTo>
                    <a:lnTo>
                      <a:pt x="102" y="114"/>
                    </a:lnTo>
                    <a:lnTo>
                      <a:pt x="108" y="108"/>
                    </a:lnTo>
                    <a:lnTo>
                      <a:pt x="114" y="108"/>
                    </a:lnTo>
                    <a:lnTo>
                      <a:pt x="120" y="108"/>
                    </a:lnTo>
                    <a:lnTo>
                      <a:pt x="126" y="114"/>
                    </a:lnTo>
                    <a:lnTo>
                      <a:pt x="132" y="108"/>
                    </a:lnTo>
                    <a:lnTo>
                      <a:pt x="138" y="108"/>
                    </a:lnTo>
                    <a:lnTo>
                      <a:pt x="144" y="108"/>
                    </a:lnTo>
                    <a:lnTo>
                      <a:pt x="144" y="90"/>
                    </a:lnTo>
                    <a:lnTo>
                      <a:pt x="144" y="84"/>
                    </a:lnTo>
                    <a:lnTo>
                      <a:pt x="150" y="78"/>
                    </a:lnTo>
                    <a:lnTo>
                      <a:pt x="156" y="72"/>
                    </a:lnTo>
                    <a:lnTo>
                      <a:pt x="156" y="54"/>
                    </a:lnTo>
                    <a:lnTo>
                      <a:pt x="156" y="42"/>
                    </a:lnTo>
                    <a:lnTo>
                      <a:pt x="162" y="36"/>
                    </a:lnTo>
                    <a:lnTo>
                      <a:pt x="156" y="24"/>
                    </a:lnTo>
                    <a:lnTo>
                      <a:pt x="156" y="12"/>
                    </a:lnTo>
                    <a:lnTo>
                      <a:pt x="132" y="12"/>
                    </a:lnTo>
                    <a:lnTo>
                      <a:pt x="132" y="6"/>
                    </a:lnTo>
                    <a:lnTo>
                      <a:pt x="126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15" name="Freeform 339"/>
              <p:cNvSpPr>
                <a:spLocks/>
              </p:cNvSpPr>
              <p:nvPr/>
            </p:nvSpPr>
            <p:spPr bwMode="auto">
              <a:xfrm>
                <a:off x="1260" y="1212"/>
                <a:ext cx="162" cy="120"/>
              </a:xfrm>
              <a:custGeom>
                <a:avLst/>
                <a:gdLst>
                  <a:gd name="T0" fmla="*/ 120 w 162"/>
                  <a:gd name="T1" fmla="*/ 0 h 120"/>
                  <a:gd name="T2" fmla="*/ 66 w 162"/>
                  <a:gd name="T3" fmla="*/ 30 h 120"/>
                  <a:gd name="T4" fmla="*/ 42 w 162"/>
                  <a:gd name="T5" fmla="*/ 36 h 120"/>
                  <a:gd name="T6" fmla="*/ 42 w 162"/>
                  <a:gd name="T7" fmla="*/ 54 h 120"/>
                  <a:gd name="T8" fmla="*/ 36 w 162"/>
                  <a:gd name="T9" fmla="*/ 72 h 120"/>
                  <a:gd name="T10" fmla="*/ 36 w 162"/>
                  <a:gd name="T11" fmla="*/ 78 h 120"/>
                  <a:gd name="T12" fmla="*/ 24 w 162"/>
                  <a:gd name="T13" fmla="*/ 90 h 120"/>
                  <a:gd name="T14" fmla="*/ 12 w 162"/>
                  <a:gd name="T15" fmla="*/ 90 h 120"/>
                  <a:gd name="T16" fmla="*/ 0 w 162"/>
                  <a:gd name="T17" fmla="*/ 90 h 120"/>
                  <a:gd name="T18" fmla="*/ 0 w 162"/>
                  <a:gd name="T19" fmla="*/ 96 h 120"/>
                  <a:gd name="T20" fmla="*/ 6 w 162"/>
                  <a:gd name="T21" fmla="*/ 102 h 120"/>
                  <a:gd name="T22" fmla="*/ 6 w 162"/>
                  <a:gd name="T23" fmla="*/ 108 h 120"/>
                  <a:gd name="T24" fmla="*/ 12 w 162"/>
                  <a:gd name="T25" fmla="*/ 108 h 120"/>
                  <a:gd name="T26" fmla="*/ 12 w 162"/>
                  <a:gd name="T27" fmla="*/ 114 h 120"/>
                  <a:gd name="T28" fmla="*/ 18 w 162"/>
                  <a:gd name="T29" fmla="*/ 114 h 120"/>
                  <a:gd name="T30" fmla="*/ 18 w 162"/>
                  <a:gd name="T31" fmla="*/ 108 h 120"/>
                  <a:gd name="T32" fmla="*/ 30 w 162"/>
                  <a:gd name="T33" fmla="*/ 114 h 120"/>
                  <a:gd name="T34" fmla="*/ 36 w 162"/>
                  <a:gd name="T35" fmla="*/ 120 h 120"/>
                  <a:gd name="T36" fmla="*/ 42 w 162"/>
                  <a:gd name="T37" fmla="*/ 114 h 120"/>
                  <a:gd name="T38" fmla="*/ 48 w 162"/>
                  <a:gd name="T39" fmla="*/ 114 h 120"/>
                  <a:gd name="T40" fmla="*/ 54 w 162"/>
                  <a:gd name="T41" fmla="*/ 108 h 120"/>
                  <a:gd name="T42" fmla="*/ 66 w 162"/>
                  <a:gd name="T43" fmla="*/ 114 h 120"/>
                  <a:gd name="T44" fmla="*/ 72 w 162"/>
                  <a:gd name="T45" fmla="*/ 114 h 120"/>
                  <a:gd name="T46" fmla="*/ 78 w 162"/>
                  <a:gd name="T47" fmla="*/ 114 h 120"/>
                  <a:gd name="T48" fmla="*/ 78 w 162"/>
                  <a:gd name="T49" fmla="*/ 120 h 120"/>
                  <a:gd name="T50" fmla="*/ 84 w 162"/>
                  <a:gd name="T51" fmla="*/ 114 h 120"/>
                  <a:gd name="T52" fmla="*/ 90 w 162"/>
                  <a:gd name="T53" fmla="*/ 114 h 120"/>
                  <a:gd name="T54" fmla="*/ 96 w 162"/>
                  <a:gd name="T55" fmla="*/ 114 h 120"/>
                  <a:gd name="T56" fmla="*/ 102 w 162"/>
                  <a:gd name="T57" fmla="*/ 114 h 120"/>
                  <a:gd name="T58" fmla="*/ 108 w 162"/>
                  <a:gd name="T59" fmla="*/ 108 h 120"/>
                  <a:gd name="T60" fmla="*/ 114 w 162"/>
                  <a:gd name="T61" fmla="*/ 108 h 120"/>
                  <a:gd name="T62" fmla="*/ 120 w 162"/>
                  <a:gd name="T63" fmla="*/ 108 h 120"/>
                  <a:gd name="T64" fmla="*/ 126 w 162"/>
                  <a:gd name="T65" fmla="*/ 114 h 120"/>
                  <a:gd name="T66" fmla="*/ 132 w 162"/>
                  <a:gd name="T67" fmla="*/ 108 h 120"/>
                  <a:gd name="T68" fmla="*/ 138 w 162"/>
                  <a:gd name="T69" fmla="*/ 108 h 120"/>
                  <a:gd name="T70" fmla="*/ 144 w 162"/>
                  <a:gd name="T71" fmla="*/ 108 h 120"/>
                  <a:gd name="T72" fmla="*/ 144 w 162"/>
                  <a:gd name="T73" fmla="*/ 90 h 120"/>
                  <a:gd name="T74" fmla="*/ 144 w 162"/>
                  <a:gd name="T75" fmla="*/ 84 h 120"/>
                  <a:gd name="T76" fmla="*/ 150 w 162"/>
                  <a:gd name="T77" fmla="*/ 78 h 120"/>
                  <a:gd name="T78" fmla="*/ 156 w 162"/>
                  <a:gd name="T79" fmla="*/ 72 h 120"/>
                  <a:gd name="T80" fmla="*/ 156 w 162"/>
                  <a:gd name="T81" fmla="*/ 54 h 120"/>
                  <a:gd name="T82" fmla="*/ 156 w 162"/>
                  <a:gd name="T83" fmla="*/ 42 h 120"/>
                  <a:gd name="T84" fmla="*/ 162 w 162"/>
                  <a:gd name="T85" fmla="*/ 36 h 120"/>
                  <a:gd name="T86" fmla="*/ 156 w 162"/>
                  <a:gd name="T87" fmla="*/ 24 h 120"/>
                  <a:gd name="T88" fmla="*/ 156 w 162"/>
                  <a:gd name="T89" fmla="*/ 12 h 120"/>
                  <a:gd name="T90" fmla="*/ 132 w 162"/>
                  <a:gd name="T91" fmla="*/ 12 h 120"/>
                  <a:gd name="T92" fmla="*/ 132 w 162"/>
                  <a:gd name="T93" fmla="*/ 6 h 120"/>
                  <a:gd name="T94" fmla="*/ 126 w 162"/>
                  <a:gd name="T95" fmla="*/ 0 h 120"/>
                  <a:gd name="T96" fmla="*/ 120 w 162"/>
                  <a:gd name="T97" fmla="*/ 0 h 12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62" h="120">
                    <a:moveTo>
                      <a:pt x="120" y="0"/>
                    </a:moveTo>
                    <a:lnTo>
                      <a:pt x="66" y="30"/>
                    </a:lnTo>
                    <a:lnTo>
                      <a:pt x="42" y="36"/>
                    </a:lnTo>
                    <a:lnTo>
                      <a:pt x="42" y="54"/>
                    </a:lnTo>
                    <a:lnTo>
                      <a:pt x="36" y="72"/>
                    </a:lnTo>
                    <a:lnTo>
                      <a:pt x="36" y="78"/>
                    </a:lnTo>
                    <a:lnTo>
                      <a:pt x="24" y="90"/>
                    </a:lnTo>
                    <a:lnTo>
                      <a:pt x="12" y="90"/>
                    </a:lnTo>
                    <a:lnTo>
                      <a:pt x="0" y="90"/>
                    </a:lnTo>
                    <a:lnTo>
                      <a:pt x="0" y="96"/>
                    </a:lnTo>
                    <a:lnTo>
                      <a:pt x="6" y="102"/>
                    </a:lnTo>
                    <a:lnTo>
                      <a:pt x="6" y="108"/>
                    </a:lnTo>
                    <a:lnTo>
                      <a:pt x="12" y="108"/>
                    </a:lnTo>
                    <a:lnTo>
                      <a:pt x="12" y="114"/>
                    </a:lnTo>
                    <a:lnTo>
                      <a:pt x="18" y="114"/>
                    </a:lnTo>
                    <a:lnTo>
                      <a:pt x="18" y="108"/>
                    </a:lnTo>
                    <a:lnTo>
                      <a:pt x="30" y="114"/>
                    </a:lnTo>
                    <a:lnTo>
                      <a:pt x="36" y="120"/>
                    </a:lnTo>
                    <a:lnTo>
                      <a:pt x="42" y="114"/>
                    </a:lnTo>
                    <a:lnTo>
                      <a:pt x="48" y="114"/>
                    </a:lnTo>
                    <a:lnTo>
                      <a:pt x="54" y="108"/>
                    </a:lnTo>
                    <a:lnTo>
                      <a:pt x="66" y="114"/>
                    </a:lnTo>
                    <a:lnTo>
                      <a:pt x="72" y="114"/>
                    </a:lnTo>
                    <a:lnTo>
                      <a:pt x="78" y="114"/>
                    </a:lnTo>
                    <a:lnTo>
                      <a:pt x="78" y="120"/>
                    </a:lnTo>
                    <a:lnTo>
                      <a:pt x="84" y="114"/>
                    </a:lnTo>
                    <a:lnTo>
                      <a:pt x="90" y="114"/>
                    </a:lnTo>
                    <a:lnTo>
                      <a:pt x="96" y="114"/>
                    </a:lnTo>
                    <a:lnTo>
                      <a:pt x="102" y="114"/>
                    </a:lnTo>
                    <a:lnTo>
                      <a:pt x="108" y="108"/>
                    </a:lnTo>
                    <a:lnTo>
                      <a:pt x="114" y="108"/>
                    </a:lnTo>
                    <a:lnTo>
                      <a:pt x="120" y="108"/>
                    </a:lnTo>
                    <a:lnTo>
                      <a:pt x="126" y="114"/>
                    </a:lnTo>
                    <a:lnTo>
                      <a:pt x="132" y="108"/>
                    </a:lnTo>
                    <a:lnTo>
                      <a:pt x="138" y="108"/>
                    </a:lnTo>
                    <a:lnTo>
                      <a:pt x="144" y="108"/>
                    </a:lnTo>
                    <a:lnTo>
                      <a:pt x="144" y="90"/>
                    </a:lnTo>
                    <a:lnTo>
                      <a:pt x="144" y="84"/>
                    </a:lnTo>
                    <a:lnTo>
                      <a:pt x="150" y="78"/>
                    </a:lnTo>
                    <a:lnTo>
                      <a:pt x="156" y="72"/>
                    </a:lnTo>
                    <a:lnTo>
                      <a:pt x="156" y="54"/>
                    </a:lnTo>
                    <a:lnTo>
                      <a:pt x="156" y="42"/>
                    </a:lnTo>
                    <a:lnTo>
                      <a:pt x="162" y="36"/>
                    </a:lnTo>
                    <a:lnTo>
                      <a:pt x="156" y="24"/>
                    </a:lnTo>
                    <a:lnTo>
                      <a:pt x="156" y="12"/>
                    </a:lnTo>
                    <a:lnTo>
                      <a:pt x="132" y="12"/>
                    </a:lnTo>
                    <a:lnTo>
                      <a:pt x="132" y="6"/>
                    </a:lnTo>
                    <a:lnTo>
                      <a:pt x="126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39" name="Group 340"/>
            <p:cNvGrpSpPr>
              <a:grpSpLocks/>
            </p:cNvGrpSpPr>
            <p:nvPr/>
          </p:nvGrpSpPr>
          <p:grpSpPr bwMode="auto">
            <a:xfrm>
              <a:off x="998421" y="3043006"/>
              <a:ext cx="134539" cy="184076"/>
              <a:chOff x="1356" y="1320"/>
              <a:chExt cx="66" cy="108"/>
            </a:xfrm>
            <a:solidFill>
              <a:srgbClr val="0070C0">
                <a:alpha val="27059"/>
              </a:srgbClr>
            </a:solidFill>
          </p:grpSpPr>
          <p:sp>
            <p:nvSpPr>
              <p:cNvPr id="1712" name="Freeform 341"/>
              <p:cNvSpPr>
                <a:spLocks/>
              </p:cNvSpPr>
              <p:nvPr/>
            </p:nvSpPr>
            <p:spPr bwMode="auto">
              <a:xfrm>
                <a:off x="1356" y="1320"/>
                <a:ext cx="66" cy="108"/>
              </a:xfrm>
              <a:custGeom>
                <a:avLst/>
                <a:gdLst>
                  <a:gd name="T0" fmla="*/ 48 w 66"/>
                  <a:gd name="T1" fmla="*/ 0 h 108"/>
                  <a:gd name="T2" fmla="*/ 48 w 66"/>
                  <a:gd name="T3" fmla="*/ 6 h 108"/>
                  <a:gd name="T4" fmla="*/ 48 w 66"/>
                  <a:gd name="T5" fmla="*/ 18 h 108"/>
                  <a:gd name="T6" fmla="*/ 42 w 66"/>
                  <a:gd name="T7" fmla="*/ 36 h 108"/>
                  <a:gd name="T8" fmla="*/ 36 w 66"/>
                  <a:gd name="T9" fmla="*/ 48 h 108"/>
                  <a:gd name="T10" fmla="*/ 36 w 66"/>
                  <a:gd name="T11" fmla="*/ 54 h 108"/>
                  <a:gd name="T12" fmla="*/ 30 w 66"/>
                  <a:gd name="T13" fmla="*/ 54 h 108"/>
                  <a:gd name="T14" fmla="*/ 24 w 66"/>
                  <a:gd name="T15" fmla="*/ 48 h 108"/>
                  <a:gd name="T16" fmla="*/ 24 w 66"/>
                  <a:gd name="T17" fmla="*/ 48 h 108"/>
                  <a:gd name="T18" fmla="*/ 12 w 66"/>
                  <a:gd name="T19" fmla="*/ 54 h 108"/>
                  <a:gd name="T20" fmla="*/ 6 w 66"/>
                  <a:gd name="T21" fmla="*/ 66 h 108"/>
                  <a:gd name="T22" fmla="*/ 6 w 66"/>
                  <a:gd name="T23" fmla="*/ 72 h 108"/>
                  <a:gd name="T24" fmla="*/ 0 w 66"/>
                  <a:gd name="T25" fmla="*/ 90 h 108"/>
                  <a:gd name="T26" fmla="*/ 0 w 66"/>
                  <a:gd name="T27" fmla="*/ 90 h 108"/>
                  <a:gd name="T28" fmla="*/ 6 w 66"/>
                  <a:gd name="T29" fmla="*/ 96 h 108"/>
                  <a:gd name="T30" fmla="*/ 12 w 66"/>
                  <a:gd name="T31" fmla="*/ 96 h 108"/>
                  <a:gd name="T32" fmla="*/ 12 w 66"/>
                  <a:gd name="T33" fmla="*/ 102 h 108"/>
                  <a:gd name="T34" fmla="*/ 18 w 66"/>
                  <a:gd name="T35" fmla="*/ 102 h 108"/>
                  <a:gd name="T36" fmla="*/ 12 w 66"/>
                  <a:gd name="T37" fmla="*/ 108 h 108"/>
                  <a:gd name="T38" fmla="*/ 36 w 66"/>
                  <a:gd name="T39" fmla="*/ 108 h 108"/>
                  <a:gd name="T40" fmla="*/ 66 w 66"/>
                  <a:gd name="T41" fmla="*/ 108 h 108"/>
                  <a:gd name="T42" fmla="*/ 66 w 66"/>
                  <a:gd name="T43" fmla="*/ 96 h 108"/>
                  <a:gd name="T44" fmla="*/ 60 w 66"/>
                  <a:gd name="T45" fmla="*/ 96 h 108"/>
                  <a:gd name="T46" fmla="*/ 54 w 66"/>
                  <a:gd name="T47" fmla="*/ 84 h 108"/>
                  <a:gd name="T48" fmla="*/ 48 w 66"/>
                  <a:gd name="T49" fmla="*/ 72 h 108"/>
                  <a:gd name="T50" fmla="*/ 48 w 66"/>
                  <a:gd name="T51" fmla="*/ 72 h 108"/>
                  <a:gd name="T52" fmla="*/ 48 w 66"/>
                  <a:gd name="T53" fmla="*/ 72 h 108"/>
                  <a:gd name="T54" fmla="*/ 54 w 66"/>
                  <a:gd name="T55" fmla="*/ 66 h 108"/>
                  <a:gd name="T56" fmla="*/ 54 w 66"/>
                  <a:gd name="T57" fmla="*/ 60 h 108"/>
                  <a:gd name="T58" fmla="*/ 54 w 66"/>
                  <a:gd name="T59" fmla="*/ 54 h 108"/>
                  <a:gd name="T60" fmla="*/ 48 w 66"/>
                  <a:gd name="T61" fmla="*/ 54 h 108"/>
                  <a:gd name="T62" fmla="*/ 48 w 66"/>
                  <a:gd name="T63" fmla="*/ 48 h 108"/>
                  <a:gd name="T64" fmla="*/ 48 w 66"/>
                  <a:gd name="T65" fmla="*/ 42 h 108"/>
                  <a:gd name="T66" fmla="*/ 54 w 66"/>
                  <a:gd name="T67" fmla="*/ 42 h 108"/>
                  <a:gd name="T68" fmla="*/ 60 w 66"/>
                  <a:gd name="T69" fmla="*/ 36 h 108"/>
                  <a:gd name="T70" fmla="*/ 60 w 66"/>
                  <a:gd name="T71" fmla="*/ 30 h 108"/>
                  <a:gd name="T72" fmla="*/ 54 w 66"/>
                  <a:gd name="T73" fmla="*/ 24 h 108"/>
                  <a:gd name="T74" fmla="*/ 54 w 66"/>
                  <a:gd name="T75" fmla="*/ 18 h 108"/>
                  <a:gd name="T76" fmla="*/ 54 w 66"/>
                  <a:gd name="T77" fmla="*/ 12 h 108"/>
                  <a:gd name="T78" fmla="*/ 54 w 66"/>
                  <a:gd name="T79" fmla="*/ 6 h 108"/>
                  <a:gd name="T80" fmla="*/ 54 w 66"/>
                  <a:gd name="T81" fmla="*/ 0 h 108"/>
                  <a:gd name="T82" fmla="*/ 54 w 66"/>
                  <a:gd name="T83" fmla="*/ 0 h 108"/>
                  <a:gd name="T84" fmla="*/ 48 w 66"/>
                  <a:gd name="T85" fmla="*/ 0 h 10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66" h="108">
                    <a:moveTo>
                      <a:pt x="48" y="0"/>
                    </a:moveTo>
                    <a:lnTo>
                      <a:pt x="48" y="6"/>
                    </a:lnTo>
                    <a:lnTo>
                      <a:pt x="48" y="18"/>
                    </a:lnTo>
                    <a:lnTo>
                      <a:pt x="42" y="36"/>
                    </a:lnTo>
                    <a:lnTo>
                      <a:pt x="36" y="48"/>
                    </a:lnTo>
                    <a:lnTo>
                      <a:pt x="36" y="54"/>
                    </a:lnTo>
                    <a:lnTo>
                      <a:pt x="30" y="54"/>
                    </a:lnTo>
                    <a:lnTo>
                      <a:pt x="24" y="48"/>
                    </a:lnTo>
                    <a:lnTo>
                      <a:pt x="12" y="54"/>
                    </a:lnTo>
                    <a:lnTo>
                      <a:pt x="6" y="66"/>
                    </a:lnTo>
                    <a:lnTo>
                      <a:pt x="6" y="72"/>
                    </a:lnTo>
                    <a:lnTo>
                      <a:pt x="0" y="90"/>
                    </a:lnTo>
                    <a:lnTo>
                      <a:pt x="6" y="96"/>
                    </a:lnTo>
                    <a:lnTo>
                      <a:pt x="12" y="96"/>
                    </a:lnTo>
                    <a:lnTo>
                      <a:pt x="12" y="102"/>
                    </a:lnTo>
                    <a:lnTo>
                      <a:pt x="18" y="102"/>
                    </a:lnTo>
                    <a:lnTo>
                      <a:pt x="12" y="108"/>
                    </a:lnTo>
                    <a:lnTo>
                      <a:pt x="36" y="108"/>
                    </a:lnTo>
                    <a:lnTo>
                      <a:pt x="66" y="108"/>
                    </a:lnTo>
                    <a:lnTo>
                      <a:pt x="66" y="96"/>
                    </a:lnTo>
                    <a:lnTo>
                      <a:pt x="60" y="96"/>
                    </a:lnTo>
                    <a:lnTo>
                      <a:pt x="54" y="84"/>
                    </a:lnTo>
                    <a:lnTo>
                      <a:pt x="48" y="72"/>
                    </a:lnTo>
                    <a:lnTo>
                      <a:pt x="54" y="66"/>
                    </a:lnTo>
                    <a:lnTo>
                      <a:pt x="54" y="6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8" y="42"/>
                    </a:lnTo>
                    <a:lnTo>
                      <a:pt x="54" y="42"/>
                    </a:lnTo>
                    <a:lnTo>
                      <a:pt x="60" y="36"/>
                    </a:lnTo>
                    <a:lnTo>
                      <a:pt x="60" y="30"/>
                    </a:lnTo>
                    <a:lnTo>
                      <a:pt x="54" y="24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54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13" name="Freeform 342"/>
              <p:cNvSpPr>
                <a:spLocks/>
              </p:cNvSpPr>
              <p:nvPr/>
            </p:nvSpPr>
            <p:spPr bwMode="auto">
              <a:xfrm>
                <a:off x="1356" y="1320"/>
                <a:ext cx="66" cy="108"/>
              </a:xfrm>
              <a:custGeom>
                <a:avLst/>
                <a:gdLst>
                  <a:gd name="T0" fmla="*/ 48 w 66"/>
                  <a:gd name="T1" fmla="*/ 0 h 108"/>
                  <a:gd name="T2" fmla="*/ 48 w 66"/>
                  <a:gd name="T3" fmla="*/ 6 h 108"/>
                  <a:gd name="T4" fmla="*/ 48 w 66"/>
                  <a:gd name="T5" fmla="*/ 18 h 108"/>
                  <a:gd name="T6" fmla="*/ 42 w 66"/>
                  <a:gd name="T7" fmla="*/ 36 h 108"/>
                  <a:gd name="T8" fmla="*/ 36 w 66"/>
                  <a:gd name="T9" fmla="*/ 48 h 108"/>
                  <a:gd name="T10" fmla="*/ 36 w 66"/>
                  <a:gd name="T11" fmla="*/ 54 h 108"/>
                  <a:gd name="T12" fmla="*/ 30 w 66"/>
                  <a:gd name="T13" fmla="*/ 54 h 108"/>
                  <a:gd name="T14" fmla="*/ 24 w 66"/>
                  <a:gd name="T15" fmla="*/ 48 h 108"/>
                  <a:gd name="T16" fmla="*/ 12 w 66"/>
                  <a:gd name="T17" fmla="*/ 54 h 108"/>
                  <a:gd name="T18" fmla="*/ 6 w 66"/>
                  <a:gd name="T19" fmla="*/ 66 h 108"/>
                  <a:gd name="T20" fmla="*/ 6 w 66"/>
                  <a:gd name="T21" fmla="*/ 72 h 108"/>
                  <a:gd name="T22" fmla="*/ 0 w 66"/>
                  <a:gd name="T23" fmla="*/ 90 h 108"/>
                  <a:gd name="T24" fmla="*/ 6 w 66"/>
                  <a:gd name="T25" fmla="*/ 96 h 108"/>
                  <a:gd name="T26" fmla="*/ 12 w 66"/>
                  <a:gd name="T27" fmla="*/ 96 h 108"/>
                  <a:gd name="T28" fmla="*/ 12 w 66"/>
                  <a:gd name="T29" fmla="*/ 102 h 108"/>
                  <a:gd name="T30" fmla="*/ 18 w 66"/>
                  <a:gd name="T31" fmla="*/ 102 h 108"/>
                  <a:gd name="T32" fmla="*/ 12 w 66"/>
                  <a:gd name="T33" fmla="*/ 108 h 108"/>
                  <a:gd name="T34" fmla="*/ 36 w 66"/>
                  <a:gd name="T35" fmla="*/ 108 h 108"/>
                  <a:gd name="T36" fmla="*/ 66 w 66"/>
                  <a:gd name="T37" fmla="*/ 108 h 108"/>
                  <a:gd name="T38" fmla="*/ 66 w 66"/>
                  <a:gd name="T39" fmla="*/ 96 h 108"/>
                  <a:gd name="T40" fmla="*/ 60 w 66"/>
                  <a:gd name="T41" fmla="*/ 96 h 108"/>
                  <a:gd name="T42" fmla="*/ 54 w 66"/>
                  <a:gd name="T43" fmla="*/ 84 h 108"/>
                  <a:gd name="T44" fmla="*/ 48 w 66"/>
                  <a:gd name="T45" fmla="*/ 72 h 108"/>
                  <a:gd name="T46" fmla="*/ 54 w 66"/>
                  <a:gd name="T47" fmla="*/ 66 h 108"/>
                  <a:gd name="T48" fmla="*/ 54 w 66"/>
                  <a:gd name="T49" fmla="*/ 60 h 108"/>
                  <a:gd name="T50" fmla="*/ 54 w 66"/>
                  <a:gd name="T51" fmla="*/ 54 h 108"/>
                  <a:gd name="T52" fmla="*/ 48 w 66"/>
                  <a:gd name="T53" fmla="*/ 54 h 108"/>
                  <a:gd name="T54" fmla="*/ 48 w 66"/>
                  <a:gd name="T55" fmla="*/ 48 h 108"/>
                  <a:gd name="T56" fmla="*/ 48 w 66"/>
                  <a:gd name="T57" fmla="*/ 42 h 108"/>
                  <a:gd name="T58" fmla="*/ 54 w 66"/>
                  <a:gd name="T59" fmla="*/ 42 h 108"/>
                  <a:gd name="T60" fmla="*/ 60 w 66"/>
                  <a:gd name="T61" fmla="*/ 36 h 108"/>
                  <a:gd name="T62" fmla="*/ 60 w 66"/>
                  <a:gd name="T63" fmla="*/ 30 h 108"/>
                  <a:gd name="T64" fmla="*/ 54 w 66"/>
                  <a:gd name="T65" fmla="*/ 24 h 108"/>
                  <a:gd name="T66" fmla="*/ 54 w 66"/>
                  <a:gd name="T67" fmla="*/ 18 h 108"/>
                  <a:gd name="T68" fmla="*/ 54 w 66"/>
                  <a:gd name="T69" fmla="*/ 12 h 108"/>
                  <a:gd name="T70" fmla="*/ 54 w 66"/>
                  <a:gd name="T71" fmla="*/ 6 h 108"/>
                  <a:gd name="T72" fmla="*/ 54 w 66"/>
                  <a:gd name="T73" fmla="*/ 0 h 108"/>
                  <a:gd name="T74" fmla="*/ 48 w 66"/>
                  <a:gd name="T75" fmla="*/ 0 h 1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66" h="108">
                    <a:moveTo>
                      <a:pt x="48" y="0"/>
                    </a:moveTo>
                    <a:lnTo>
                      <a:pt x="48" y="6"/>
                    </a:lnTo>
                    <a:lnTo>
                      <a:pt x="48" y="18"/>
                    </a:lnTo>
                    <a:lnTo>
                      <a:pt x="42" y="36"/>
                    </a:lnTo>
                    <a:lnTo>
                      <a:pt x="36" y="48"/>
                    </a:lnTo>
                    <a:lnTo>
                      <a:pt x="36" y="54"/>
                    </a:lnTo>
                    <a:lnTo>
                      <a:pt x="30" y="54"/>
                    </a:lnTo>
                    <a:lnTo>
                      <a:pt x="24" y="48"/>
                    </a:lnTo>
                    <a:lnTo>
                      <a:pt x="12" y="54"/>
                    </a:lnTo>
                    <a:lnTo>
                      <a:pt x="6" y="66"/>
                    </a:lnTo>
                    <a:lnTo>
                      <a:pt x="6" y="72"/>
                    </a:lnTo>
                    <a:lnTo>
                      <a:pt x="0" y="90"/>
                    </a:lnTo>
                    <a:lnTo>
                      <a:pt x="6" y="96"/>
                    </a:lnTo>
                    <a:lnTo>
                      <a:pt x="12" y="96"/>
                    </a:lnTo>
                    <a:lnTo>
                      <a:pt x="12" y="102"/>
                    </a:lnTo>
                    <a:lnTo>
                      <a:pt x="18" y="102"/>
                    </a:lnTo>
                    <a:lnTo>
                      <a:pt x="12" y="108"/>
                    </a:lnTo>
                    <a:lnTo>
                      <a:pt x="36" y="108"/>
                    </a:lnTo>
                    <a:lnTo>
                      <a:pt x="66" y="108"/>
                    </a:lnTo>
                    <a:lnTo>
                      <a:pt x="66" y="96"/>
                    </a:lnTo>
                    <a:lnTo>
                      <a:pt x="60" y="96"/>
                    </a:lnTo>
                    <a:lnTo>
                      <a:pt x="54" y="84"/>
                    </a:lnTo>
                    <a:lnTo>
                      <a:pt x="48" y="72"/>
                    </a:lnTo>
                    <a:lnTo>
                      <a:pt x="54" y="66"/>
                    </a:lnTo>
                    <a:lnTo>
                      <a:pt x="54" y="6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8" y="42"/>
                    </a:lnTo>
                    <a:lnTo>
                      <a:pt x="54" y="42"/>
                    </a:lnTo>
                    <a:lnTo>
                      <a:pt x="60" y="36"/>
                    </a:lnTo>
                    <a:lnTo>
                      <a:pt x="60" y="30"/>
                    </a:lnTo>
                    <a:lnTo>
                      <a:pt x="54" y="24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54" y="0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40" name="Group 343"/>
            <p:cNvGrpSpPr>
              <a:grpSpLocks/>
            </p:cNvGrpSpPr>
            <p:nvPr/>
          </p:nvGrpSpPr>
          <p:grpSpPr bwMode="auto">
            <a:xfrm>
              <a:off x="1096443" y="2877135"/>
              <a:ext cx="182589" cy="279148"/>
              <a:chOff x="1404" y="1224"/>
              <a:chExt cx="90" cy="162"/>
            </a:xfrm>
            <a:solidFill>
              <a:srgbClr val="0070C0">
                <a:alpha val="27059"/>
              </a:srgbClr>
            </a:solidFill>
          </p:grpSpPr>
          <p:sp>
            <p:nvSpPr>
              <p:cNvPr id="1710" name="Freeform 344"/>
              <p:cNvSpPr>
                <a:spLocks/>
              </p:cNvSpPr>
              <p:nvPr/>
            </p:nvSpPr>
            <p:spPr bwMode="auto">
              <a:xfrm>
                <a:off x="1404" y="1224"/>
                <a:ext cx="90" cy="162"/>
              </a:xfrm>
              <a:custGeom>
                <a:avLst/>
                <a:gdLst>
                  <a:gd name="T0" fmla="*/ 12 w 90"/>
                  <a:gd name="T1" fmla="*/ 0 h 162"/>
                  <a:gd name="T2" fmla="*/ 90 w 90"/>
                  <a:gd name="T3" fmla="*/ 36 h 162"/>
                  <a:gd name="T4" fmla="*/ 90 w 90"/>
                  <a:gd name="T5" fmla="*/ 66 h 162"/>
                  <a:gd name="T6" fmla="*/ 84 w 90"/>
                  <a:gd name="T7" fmla="*/ 66 h 162"/>
                  <a:gd name="T8" fmla="*/ 78 w 90"/>
                  <a:gd name="T9" fmla="*/ 66 h 162"/>
                  <a:gd name="T10" fmla="*/ 78 w 90"/>
                  <a:gd name="T11" fmla="*/ 72 h 162"/>
                  <a:gd name="T12" fmla="*/ 78 w 90"/>
                  <a:gd name="T13" fmla="*/ 78 h 162"/>
                  <a:gd name="T14" fmla="*/ 72 w 90"/>
                  <a:gd name="T15" fmla="*/ 84 h 162"/>
                  <a:gd name="T16" fmla="*/ 72 w 90"/>
                  <a:gd name="T17" fmla="*/ 84 h 162"/>
                  <a:gd name="T18" fmla="*/ 72 w 90"/>
                  <a:gd name="T19" fmla="*/ 90 h 162"/>
                  <a:gd name="T20" fmla="*/ 72 w 90"/>
                  <a:gd name="T21" fmla="*/ 90 h 162"/>
                  <a:gd name="T22" fmla="*/ 72 w 90"/>
                  <a:gd name="T23" fmla="*/ 90 h 162"/>
                  <a:gd name="T24" fmla="*/ 72 w 90"/>
                  <a:gd name="T25" fmla="*/ 96 h 162"/>
                  <a:gd name="T26" fmla="*/ 78 w 90"/>
                  <a:gd name="T27" fmla="*/ 102 h 162"/>
                  <a:gd name="T28" fmla="*/ 72 w 90"/>
                  <a:gd name="T29" fmla="*/ 108 h 162"/>
                  <a:gd name="T30" fmla="*/ 72 w 90"/>
                  <a:gd name="T31" fmla="*/ 114 h 162"/>
                  <a:gd name="T32" fmla="*/ 78 w 90"/>
                  <a:gd name="T33" fmla="*/ 132 h 162"/>
                  <a:gd name="T34" fmla="*/ 72 w 90"/>
                  <a:gd name="T35" fmla="*/ 132 h 162"/>
                  <a:gd name="T36" fmla="*/ 66 w 90"/>
                  <a:gd name="T37" fmla="*/ 138 h 162"/>
                  <a:gd name="T38" fmla="*/ 66 w 90"/>
                  <a:gd name="T39" fmla="*/ 144 h 162"/>
                  <a:gd name="T40" fmla="*/ 60 w 90"/>
                  <a:gd name="T41" fmla="*/ 150 h 162"/>
                  <a:gd name="T42" fmla="*/ 60 w 90"/>
                  <a:gd name="T43" fmla="*/ 150 h 162"/>
                  <a:gd name="T44" fmla="*/ 48 w 90"/>
                  <a:gd name="T45" fmla="*/ 150 h 162"/>
                  <a:gd name="T46" fmla="*/ 48 w 90"/>
                  <a:gd name="T47" fmla="*/ 150 h 162"/>
                  <a:gd name="T48" fmla="*/ 42 w 90"/>
                  <a:gd name="T49" fmla="*/ 150 h 162"/>
                  <a:gd name="T50" fmla="*/ 42 w 90"/>
                  <a:gd name="T51" fmla="*/ 150 h 162"/>
                  <a:gd name="T52" fmla="*/ 36 w 90"/>
                  <a:gd name="T53" fmla="*/ 156 h 162"/>
                  <a:gd name="T54" fmla="*/ 6 w 90"/>
                  <a:gd name="T55" fmla="*/ 162 h 162"/>
                  <a:gd name="T56" fmla="*/ 6 w 90"/>
                  <a:gd name="T57" fmla="*/ 156 h 162"/>
                  <a:gd name="T58" fmla="*/ 6 w 90"/>
                  <a:gd name="T59" fmla="*/ 150 h 162"/>
                  <a:gd name="T60" fmla="*/ 0 w 90"/>
                  <a:gd name="T61" fmla="*/ 150 h 162"/>
                  <a:gd name="T62" fmla="*/ 0 w 90"/>
                  <a:gd name="T63" fmla="*/ 144 h 162"/>
                  <a:gd name="T64" fmla="*/ 0 w 90"/>
                  <a:gd name="T65" fmla="*/ 138 h 162"/>
                  <a:gd name="T66" fmla="*/ 6 w 90"/>
                  <a:gd name="T67" fmla="*/ 138 h 162"/>
                  <a:gd name="T68" fmla="*/ 12 w 90"/>
                  <a:gd name="T69" fmla="*/ 138 h 162"/>
                  <a:gd name="T70" fmla="*/ 12 w 90"/>
                  <a:gd name="T71" fmla="*/ 132 h 162"/>
                  <a:gd name="T72" fmla="*/ 6 w 90"/>
                  <a:gd name="T73" fmla="*/ 120 h 162"/>
                  <a:gd name="T74" fmla="*/ 6 w 90"/>
                  <a:gd name="T75" fmla="*/ 114 h 162"/>
                  <a:gd name="T76" fmla="*/ 6 w 90"/>
                  <a:gd name="T77" fmla="*/ 108 h 162"/>
                  <a:gd name="T78" fmla="*/ 6 w 90"/>
                  <a:gd name="T79" fmla="*/ 102 h 162"/>
                  <a:gd name="T80" fmla="*/ 6 w 90"/>
                  <a:gd name="T81" fmla="*/ 96 h 162"/>
                  <a:gd name="T82" fmla="*/ 6 w 90"/>
                  <a:gd name="T83" fmla="*/ 96 h 162"/>
                  <a:gd name="T84" fmla="*/ 0 w 90"/>
                  <a:gd name="T85" fmla="*/ 96 h 162"/>
                  <a:gd name="T86" fmla="*/ 0 w 90"/>
                  <a:gd name="T87" fmla="*/ 78 h 162"/>
                  <a:gd name="T88" fmla="*/ 0 w 90"/>
                  <a:gd name="T89" fmla="*/ 72 h 162"/>
                  <a:gd name="T90" fmla="*/ 6 w 90"/>
                  <a:gd name="T91" fmla="*/ 66 h 162"/>
                  <a:gd name="T92" fmla="*/ 12 w 90"/>
                  <a:gd name="T93" fmla="*/ 60 h 162"/>
                  <a:gd name="T94" fmla="*/ 12 w 90"/>
                  <a:gd name="T95" fmla="*/ 42 h 162"/>
                  <a:gd name="T96" fmla="*/ 12 w 90"/>
                  <a:gd name="T97" fmla="*/ 30 h 162"/>
                  <a:gd name="T98" fmla="*/ 18 w 90"/>
                  <a:gd name="T99" fmla="*/ 24 h 162"/>
                  <a:gd name="T100" fmla="*/ 18 w 90"/>
                  <a:gd name="T101" fmla="*/ 24 h 162"/>
                  <a:gd name="T102" fmla="*/ 12 w 90"/>
                  <a:gd name="T103" fmla="*/ 12 h 162"/>
                  <a:gd name="T104" fmla="*/ 12 w 90"/>
                  <a:gd name="T105" fmla="*/ 6 h 162"/>
                  <a:gd name="T106" fmla="*/ 12 w 90"/>
                  <a:gd name="T107" fmla="*/ 0 h 16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90" h="162">
                    <a:moveTo>
                      <a:pt x="12" y="0"/>
                    </a:moveTo>
                    <a:lnTo>
                      <a:pt x="90" y="36"/>
                    </a:lnTo>
                    <a:lnTo>
                      <a:pt x="90" y="66"/>
                    </a:lnTo>
                    <a:lnTo>
                      <a:pt x="84" y="66"/>
                    </a:lnTo>
                    <a:lnTo>
                      <a:pt x="78" y="66"/>
                    </a:lnTo>
                    <a:lnTo>
                      <a:pt x="78" y="72"/>
                    </a:lnTo>
                    <a:lnTo>
                      <a:pt x="78" y="78"/>
                    </a:lnTo>
                    <a:lnTo>
                      <a:pt x="72" y="84"/>
                    </a:lnTo>
                    <a:lnTo>
                      <a:pt x="72" y="90"/>
                    </a:lnTo>
                    <a:lnTo>
                      <a:pt x="72" y="96"/>
                    </a:lnTo>
                    <a:lnTo>
                      <a:pt x="78" y="102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78" y="132"/>
                    </a:lnTo>
                    <a:lnTo>
                      <a:pt x="72" y="132"/>
                    </a:lnTo>
                    <a:lnTo>
                      <a:pt x="66" y="138"/>
                    </a:lnTo>
                    <a:lnTo>
                      <a:pt x="66" y="144"/>
                    </a:lnTo>
                    <a:lnTo>
                      <a:pt x="60" y="150"/>
                    </a:lnTo>
                    <a:lnTo>
                      <a:pt x="48" y="150"/>
                    </a:lnTo>
                    <a:lnTo>
                      <a:pt x="42" y="150"/>
                    </a:lnTo>
                    <a:lnTo>
                      <a:pt x="36" y="156"/>
                    </a:lnTo>
                    <a:lnTo>
                      <a:pt x="6" y="162"/>
                    </a:lnTo>
                    <a:lnTo>
                      <a:pt x="6" y="156"/>
                    </a:lnTo>
                    <a:lnTo>
                      <a:pt x="6" y="150"/>
                    </a:lnTo>
                    <a:lnTo>
                      <a:pt x="0" y="150"/>
                    </a:lnTo>
                    <a:lnTo>
                      <a:pt x="0" y="144"/>
                    </a:lnTo>
                    <a:lnTo>
                      <a:pt x="0" y="138"/>
                    </a:lnTo>
                    <a:lnTo>
                      <a:pt x="6" y="138"/>
                    </a:lnTo>
                    <a:lnTo>
                      <a:pt x="12" y="138"/>
                    </a:lnTo>
                    <a:lnTo>
                      <a:pt x="12" y="132"/>
                    </a:lnTo>
                    <a:lnTo>
                      <a:pt x="6" y="120"/>
                    </a:lnTo>
                    <a:lnTo>
                      <a:pt x="6" y="114"/>
                    </a:lnTo>
                    <a:lnTo>
                      <a:pt x="6" y="108"/>
                    </a:lnTo>
                    <a:lnTo>
                      <a:pt x="6" y="102"/>
                    </a:lnTo>
                    <a:lnTo>
                      <a:pt x="6" y="96"/>
                    </a:lnTo>
                    <a:lnTo>
                      <a:pt x="0" y="96"/>
                    </a:lnTo>
                    <a:lnTo>
                      <a:pt x="0" y="78"/>
                    </a:lnTo>
                    <a:lnTo>
                      <a:pt x="0" y="72"/>
                    </a:lnTo>
                    <a:lnTo>
                      <a:pt x="6" y="66"/>
                    </a:lnTo>
                    <a:lnTo>
                      <a:pt x="12" y="60"/>
                    </a:lnTo>
                    <a:lnTo>
                      <a:pt x="12" y="42"/>
                    </a:lnTo>
                    <a:lnTo>
                      <a:pt x="12" y="30"/>
                    </a:lnTo>
                    <a:lnTo>
                      <a:pt x="18" y="24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11" name="Freeform 345"/>
              <p:cNvSpPr>
                <a:spLocks/>
              </p:cNvSpPr>
              <p:nvPr/>
            </p:nvSpPr>
            <p:spPr bwMode="auto">
              <a:xfrm>
                <a:off x="1404" y="1224"/>
                <a:ext cx="90" cy="162"/>
              </a:xfrm>
              <a:custGeom>
                <a:avLst/>
                <a:gdLst>
                  <a:gd name="T0" fmla="*/ 12 w 90"/>
                  <a:gd name="T1" fmla="*/ 0 h 162"/>
                  <a:gd name="T2" fmla="*/ 90 w 90"/>
                  <a:gd name="T3" fmla="*/ 36 h 162"/>
                  <a:gd name="T4" fmla="*/ 90 w 90"/>
                  <a:gd name="T5" fmla="*/ 66 h 162"/>
                  <a:gd name="T6" fmla="*/ 84 w 90"/>
                  <a:gd name="T7" fmla="*/ 66 h 162"/>
                  <a:gd name="T8" fmla="*/ 78 w 90"/>
                  <a:gd name="T9" fmla="*/ 66 h 162"/>
                  <a:gd name="T10" fmla="*/ 78 w 90"/>
                  <a:gd name="T11" fmla="*/ 72 h 162"/>
                  <a:gd name="T12" fmla="*/ 78 w 90"/>
                  <a:gd name="T13" fmla="*/ 78 h 162"/>
                  <a:gd name="T14" fmla="*/ 72 w 90"/>
                  <a:gd name="T15" fmla="*/ 84 h 162"/>
                  <a:gd name="T16" fmla="*/ 72 w 90"/>
                  <a:gd name="T17" fmla="*/ 90 h 162"/>
                  <a:gd name="T18" fmla="*/ 72 w 90"/>
                  <a:gd name="T19" fmla="*/ 96 h 162"/>
                  <a:gd name="T20" fmla="*/ 78 w 90"/>
                  <a:gd name="T21" fmla="*/ 102 h 162"/>
                  <a:gd name="T22" fmla="*/ 72 w 90"/>
                  <a:gd name="T23" fmla="*/ 108 h 162"/>
                  <a:gd name="T24" fmla="*/ 72 w 90"/>
                  <a:gd name="T25" fmla="*/ 114 h 162"/>
                  <a:gd name="T26" fmla="*/ 78 w 90"/>
                  <a:gd name="T27" fmla="*/ 132 h 162"/>
                  <a:gd name="T28" fmla="*/ 72 w 90"/>
                  <a:gd name="T29" fmla="*/ 132 h 162"/>
                  <a:gd name="T30" fmla="*/ 66 w 90"/>
                  <a:gd name="T31" fmla="*/ 138 h 162"/>
                  <a:gd name="T32" fmla="*/ 66 w 90"/>
                  <a:gd name="T33" fmla="*/ 144 h 162"/>
                  <a:gd name="T34" fmla="*/ 60 w 90"/>
                  <a:gd name="T35" fmla="*/ 150 h 162"/>
                  <a:gd name="T36" fmla="*/ 48 w 90"/>
                  <a:gd name="T37" fmla="*/ 150 h 162"/>
                  <a:gd name="T38" fmla="*/ 42 w 90"/>
                  <a:gd name="T39" fmla="*/ 150 h 162"/>
                  <a:gd name="T40" fmla="*/ 36 w 90"/>
                  <a:gd name="T41" fmla="*/ 156 h 162"/>
                  <a:gd name="T42" fmla="*/ 6 w 90"/>
                  <a:gd name="T43" fmla="*/ 162 h 162"/>
                  <a:gd name="T44" fmla="*/ 6 w 90"/>
                  <a:gd name="T45" fmla="*/ 156 h 162"/>
                  <a:gd name="T46" fmla="*/ 6 w 90"/>
                  <a:gd name="T47" fmla="*/ 150 h 162"/>
                  <a:gd name="T48" fmla="*/ 0 w 90"/>
                  <a:gd name="T49" fmla="*/ 150 h 162"/>
                  <a:gd name="T50" fmla="*/ 0 w 90"/>
                  <a:gd name="T51" fmla="*/ 144 h 162"/>
                  <a:gd name="T52" fmla="*/ 0 w 90"/>
                  <a:gd name="T53" fmla="*/ 138 h 162"/>
                  <a:gd name="T54" fmla="*/ 6 w 90"/>
                  <a:gd name="T55" fmla="*/ 138 h 162"/>
                  <a:gd name="T56" fmla="*/ 12 w 90"/>
                  <a:gd name="T57" fmla="*/ 138 h 162"/>
                  <a:gd name="T58" fmla="*/ 12 w 90"/>
                  <a:gd name="T59" fmla="*/ 132 h 162"/>
                  <a:gd name="T60" fmla="*/ 6 w 90"/>
                  <a:gd name="T61" fmla="*/ 120 h 162"/>
                  <a:gd name="T62" fmla="*/ 6 w 90"/>
                  <a:gd name="T63" fmla="*/ 114 h 162"/>
                  <a:gd name="T64" fmla="*/ 6 w 90"/>
                  <a:gd name="T65" fmla="*/ 108 h 162"/>
                  <a:gd name="T66" fmla="*/ 6 w 90"/>
                  <a:gd name="T67" fmla="*/ 102 h 162"/>
                  <a:gd name="T68" fmla="*/ 6 w 90"/>
                  <a:gd name="T69" fmla="*/ 96 h 162"/>
                  <a:gd name="T70" fmla="*/ 0 w 90"/>
                  <a:gd name="T71" fmla="*/ 96 h 162"/>
                  <a:gd name="T72" fmla="*/ 0 w 90"/>
                  <a:gd name="T73" fmla="*/ 78 h 162"/>
                  <a:gd name="T74" fmla="*/ 0 w 90"/>
                  <a:gd name="T75" fmla="*/ 72 h 162"/>
                  <a:gd name="T76" fmla="*/ 6 w 90"/>
                  <a:gd name="T77" fmla="*/ 66 h 162"/>
                  <a:gd name="T78" fmla="*/ 12 w 90"/>
                  <a:gd name="T79" fmla="*/ 60 h 162"/>
                  <a:gd name="T80" fmla="*/ 12 w 90"/>
                  <a:gd name="T81" fmla="*/ 42 h 162"/>
                  <a:gd name="T82" fmla="*/ 12 w 90"/>
                  <a:gd name="T83" fmla="*/ 30 h 162"/>
                  <a:gd name="T84" fmla="*/ 18 w 90"/>
                  <a:gd name="T85" fmla="*/ 24 h 162"/>
                  <a:gd name="T86" fmla="*/ 12 w 90"/>
                  <a:gd name="T87" fmla="*/ 12 h 162"/>
                  <a:gd name="T88" fmla="*/ 12 w 90"/>
                  <a:gd name="T89" fmla="*/ 6 h 162"/>
                  <a:gd name="T90" fmla="*/ 12 w 90"/>
                  <a:gd name="T91" fmla="*/ 0 h 16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90" h="162">
                    <a:moveTo>
                      <a:pt x="12" y="0"/>
                    </a:moveTo>
                    <a:lnTo>
                      <a:pt x="90" y="36"/>
                    </a:lnTo>
                    <a:lnTo>
                      <a:pt x="90" y="66"/>
                    </a:lnTo>
                    <a:lnTo>
                      <a:pt x="84" y="66"/>
                    </a:lnTo>
                    <a:lnTo>
                      <a:pt x="78" y="66"/>
                    </a:lnTo>
                    <a:lnTo>
                      <a:pt x="78" y="72"/>
                    </a:lnTo>
                    <a:lnTo>
                      <a:pt x="78" y="78"/>
                    </a:lnTo>
                    <a:lnTo>
                      <a:pt x="72" y="84"/>
                    </a:lnTo>
                    <a:lnTo>
                      <a:pt x="72" y="90"/>
                    </a:lnTo>
                    <a:lnTo>
                      <a:pt x="72" y="96"/>
                    </a:lnTo>
                    <a:lnTo>
                      <a:pt x="78" y="102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78" y="132"/>
                    </a:lnTo>
                    <a:lnTo>
                      <a:pt x="72" y="132"/>
                    </a:lnTo>
                    <a:lnTo>
                      <a:pt x="66" y="138"/>
                    </a:lnTo>
                    <a:lnTo>
                      <a:pt x="66" y="144"/>
                    </a:lnTo>
                    <a:lnTo>
                      <a:pt x="60" y="150"/>
                    </a:lnTo>
                    <a:lnTo>
                      <a:pt x="48" y="150"/>
                    </a:lnTo>
                    <a:lnTo>
                      <a:pt x="42" y="150"/>
                    </a:lnTo>
                    <a:lnTo>
                      <a:pt x="36" y="156"/>
                    </a:lnTo>
                    <a:lnTo>
                      <a:pt x="6" y="162"/>
                    </a:lnTo>
                    <a:lnTo>
                      <a:pt x="6" y="156"/>
                    </a:lnTo>
                    <a:lnTo>
                      <a:pt x="6" y="150"/>
                    </a:lnTo>
                    <a:lnTo>
                      <a:pt x="0" y="150"/>
                    </a:lnTo>
                    <a:lnTo>
                      <a:pt x="0" y="144"/>
                    </a:lnTo>
                    <a:lnTo>
                      <a:pt x="0" y="138"/>
                    </a:lnTo>
                    <a:lnTo>
                      <a:pt x="6" y="138"/>
                    </a:lnTo>
                    <a:lnTo>
                      <a:pt x="12" y="138"/>
                    </a:lnTo>
                    <a:lnTo>
                      <a:pt x="12" y="132"/>
                    </a:lnTo>
                    <a:lnTo>
                      <a:pt x="6" y="120"/>
                    </a:lnTo>
                    <a:lnTo>
                      <a:pt x="6" y="114"/>
                    </a:lnTo>
                    <a:lnTo>
                      <a:pt x="6" y="108"/>
                    </a:lnTo>
                    <a:lnTo>
                      <a:pt x="6" y="102"/>
                    </a:lnTo>
                    <a:lnTo>
                      <a:pt x="6" y="96"/>
                    </a:lnTo>
                    <a:lnTo>
                      <a:pt x="0" y="96"/>
                    </a:lnTo>
                    <a:lnTo>
                      <a:pt x="0" y="78"/>
                    </a:lnTo>
                    <a:lnTo>
                      <a:pt x="0" y="72"/>
                    </a:lnTo>
                    <a:lnTo>
                      <a:pt x="6" y="66"/>
                    </a:lnTo>
                    <a:lnTo>
                      <a:pt x="12" y="60"/>
                    </a:lnTo>
                    <a:lnTo>
                      <a:pt x="12" y="42"/>
                    </a:lnTo>
                    <a:lnTo>
                      <a:pt x="12" y="30"/>
                    </a:lnTo>
                    <a:lnTo>
                      <a:pt x="18" y="24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41" name="Group 346"/>
            <p:cNvGrpSpPr>
              <a:grpSpLocks/>
            </p:cNvGrpSpPr>
            <p:nvPr/>
          </p:nvGrpSpPr>
          <p:grpSpPr bwMode="auto">
            <a:xfrm>
              <a:off x="1242514" y="2889272"/>
              <a:ext cx="330582" cy="317581"/>
              <a:chOff x="1476" y="1230"/>
              <a:chExt cx="162" cy="186"/>
            </a:xfrm>
            <a:solidFill>
              <a:srgbClr val="0070C0">
                <a:alpha val="27059"/>
              </a:srgbClr>
            </a:solidFill>
          </p:grpSpPr>
          <p:sp>
            <p:nvSpPr>
              <p:cNvPr id="1708" name="Freeform 347"/>
              <p:cNvSpPr>
                <a:spLocks/>
              </p:cNvSpPr>
              <p:nvPr/>
            </p:nvSpPr>
            <p:spPr bwMode="auto">
              <a:xfrm>
                <a:off x="1476" y="1230"/>
                <a:ext cx="162" cy="186"/>
              </a:xfrm>
              <a:custGeom>
                <a:avLst/>
                <a:gdLst>
                  <a:gd name="T0" fmla="*/ 144 w 162"/>
                  <a:gd name="T1" fmla="*/ 0 h 186"/>
                  <a:gd name="T2" fmla="*/ 138 w 162"/>
                  <a:gd name="T3" fmla="*/ 6 h 186"/>
                  <a:gd name="T4" fmla="*/ 132 w 162"/>
                  <a:gd name="T5" fmla="*/ 12 h 186"/>
                  <a:gd name="T6" fmla="*/ 120 w 162"/>
                  <a:gd name="T7" fmla="*/ 12 h 186"/>
                  <a:gd name="T8" fmla="*/ 24 w 162"/>
                  <a:gd name="T9" fmla="*/ 12 h 186"/>
                  <a:gd name="T10" fmla="*/ 18 w 162"/>
                  <a:gd name="T11" fmla="*/ 60 h 186"/>
                  <a:gd name="T12" fmla="*/ 12 w 162"/>
                  <a:gd name="T13" fmla="*/ 60 h 186"/>
                  <a:gd name="T14" fmla="*/ 12 w 162"/>
                  <a:gd name="T15" fmla="*/ 60 h 186"/>
                  <a:gd name="T16" fmla="*/ 6 w 162"/>
                  <a:gd name="T17" fmla="*/ 66 h 186"/>
                  <a:gd name="T18" fmla="*/ 6 w 162"/>
                  <a:gd name="T19" fmla="*/ 72 h 186"/>
                  <a:gd name="T20" fmla="*/ 0 w 162"/>
                  <a:gd name="T21" fmla="*/ 78 h 186"/>
                  <a:gd name="T22" fmla="*/ 0 w 162"/>
                  <a:gd name="T23" fmla="*/ 78 h 186"/>
                  <a:gd name="T24" fmla="*/ 6 w 162"/>
                  <a:gd name="T25" fmla="*/ 90 h 186"/>
                  <a:gd name="T26" fmla="*/ 6 w 162"/>
                  <a:gd name="T27" fmla="*/ 90 h 186"/>
                  <a:gd name="T28" fmla="*/ 6 w 162"/>
                  <a:gd name="T29" fmla="*/ 96 h 186"/>
                  <a:gd name="T30" fmla="*/ 6 w 162"/>
                  <a:gd name="T31" fmla="*/ 102 h 186"/>
                  <a:gd name="T32" fmla="*/ 6 w 162"/>
                  <a:gd name="T33" fmla="*/ 114 h 186"/>
                  <a:gd name="T34" fmla="*/ 6 w 162"/>
                  <a:gd name="T35" fmla="*/ 126 h 186"/>
                  <a:gd name="T36" fmla="*/ 12 w 162"/>
                  <a:gd name="T37" fmla="*/ 132 h 186"/>
                  <a:gd name="T38" fmla="*/ 24 w 162"/>
                  <a:gd name="T39" fmla="*/ 144 h 186"/>
                  <a:gd name="T40" fmla="*/ 30 w 162"/>
                  <a:gd name="T41" fmla="*/ 156 h 186"/>
                  <a:gd name="T42" fmla="*/ 42 w 162"/>
                  <a:gd name="T43" fmla="*/ 168 h 186"/>
                  <a:gd name="T44" fmla="*/ 48 w 162"/>
                  <a:gd name="T45" fmla="*/ 174 h 186"/>
                  <a:gd name="T46" fmla="*/ 48 w 162"/>
                  <a:gd name="T47" fmla="*/ 180 h 186"/>
                  <a:gd name="T48" fmla="*/ 54 w 162"/>
                  <a:gd name="T49" fmla="*/ 180 h 186"/>
                  <a:gd name="T50" fmla="*/ 60 w 162"/>
                  <a:gd name="T51" fmla="*/ 180 h 186"/>
                  <a:gd name="T52" fmla="*/ 66 w 162"/>
                  <a:gd name="T53" fmla="*/ 186 h 186"/>
                  <a:gd name="T54" fmla="*/ 78 w 162"/>
                  <a:gd name="T55" fmla="*/ 186 h 186"/>
                  <a:gd name="T56" fmla="*/ 90 w 162"/>
                  <a:gd name="T57" fmla="*/ 186 h 186"/>
                  <a:gd name="T58" fmla="*/ 114 w 162"/>
                  <a:gd name="T59" fmla="*/ 186 h 186"/>
                  <a:gd name="T60" fmla="*/ 132 w 162"/>
                  <a:gd name="T61" fmla="*/ 180 h 186"/>
                  <a:gd name="T62" fmla="*/ 138 w 162"/>
                  <a:gd name="T63" fmla="*/ 180 h 186"/>
                  <a:gd name="T64" fmla="*/ 138 w 162"/>
                  <a:gd name="T65" fmla="*/ 180 h 186"/>
                  <a:gd name="T66" fmla="*/ 138 w 162"/>
                  <a:gd name="T67" fmla="*/ 162 h 186"/>
                  <a:gd name="T68" fmla="*/ 126 w 162"/>
                  <a:gd name="T69" fmla="*/ 156 h 186"/>
                  <a:gd name="T70" fmla="*/ 120 w 162"/>
                  <a:gd name="T71" fmla="*/ 150 h 186"/>
                  <a:gd name="T72" fmla="*/ 120 w 162"/>
                  <a:gd name="T73" fmla="*/ 144 h 186"/>
                  <a:gd name="T74" fmla="*/ 114 w 162"/>
                  <a:gd name="T75" fmla="*/ 138 h 186"/>
                  <a:gd name="T76" fmla="*/ 114 w 162"/>
                  <a:gd name="T77" fmla="*/ 138 h 186"/>
                  <a:gd name="T78" fmla="*/ 114 w 162"/>
                  <a:gd name="T79" fmla="*/ 132 h 186"/>
                  <a:gd name="T80" fmla="*/ 114 w 162"/>
                  <a:gd name="T81" fmla="*/ 114 h 186"/>
                  <a:gd name="T82" fmla="*/ 120 w 162"/>
                  <a:gd name="T83" fmla="*/ 108 h 186"/>
                  <a:gd name="T84" fmla="*/ 126 w 162"/>
                  <a:gd name="T85" fmla="*/ 102 h 186"/>
                  <a:gd name="T86" fmla="*/ 132 w 162"/>
                  <a:gd name="T87" fmla="*/ 96 h 186"/>
                  <a:gd name="T88" fmla="*/ 138 w 162"/>
                  <a:gd name="T89" fmla="*/ 84 h 186"/>
                  <a:gd name="T90" fmla="*/ 138 w 162"/>
                  <a:gd name="T91" fmla="*/ 78 h 186"/>
                  <a:gd name="T92" fmla="*/ 144 w 162"/>
                  <a:gd name="T93" fmla="*/ 72 h 186"/>
                  <a:gd name="T94" fmla="*/ 144 w 162"/>
                  <a:gd name="T95" fmla="*/ 66 h 186"/>
                  <a:gd name="T96" fmla="*/ 156 w 162"/>
                  <a:gd name="T97" fmla="*/ 54 h 186"/>
                  <a:gd name="T98" fmla="*/ 162 w 162"/>
                  <a:gd name="T99" fmla="*/ 54 h 186"/>
                  <a:gd name="T100" fmla="*/ 162 w 162"/>
                  <a:gd name="T101" fmla="*/ 48 h 186"/>
                  <a:gd name="T102" fmla="*/ 150 w 162"/>
                  <a:gd name="T103" fmla="*/ 24 h 186"/>
                  <a:gd name="T104" fmla="*/ 150 w 162"/>
                  <a:gd name="T105" fmla="*/ 24 h 186"/>
                  <a:gd name="T106" fmla="*/ 150 w 162"/>
                  <a:gd name="T107" fmla="*/ 18 h 186"/>
                  <a:gd name="T108" fmla="*/ 150 w 162"/>
                  <a:gd name="T109" fmla="*/ 12 h 186"/>
                  <a:gd name="T110" fmla="*/ 144 w 162"/>
                  <a:gd name="T111" fmla="*/ 6 h 186"/>
                  <a:gd name="T112" fmla="*/ 144 w 162"/>
                  <a:gd name="T113" fmla="*/ 0 h 18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62" h="186">
                    <a:moveTo>
                      <a:pt x="144" y="0"/>
                    </a:moveTo>
                    <a:lnTo>
                      <a:pt x="138" y="6"/>
                    </a:lnTo>
                    <a:lnTo>
                      <a:pt x="132" y="12"/>
                    </a:lnTo>
                    <a:lnTo>
                      <a:pt x="120" y="12"/>
                    </a:lnTo>
                    <a:lnTo>
                      <a:pt x="24" y="12"/>
                    </a:lnTo>
                    <a:lnTo>
                      <a:pt x="18" y="60"/>
                    </a:lnTo>
                    <a:lnTo>
                      <a:pt x="12" y="60"/>
                    </a:lnTo>
                    <a:lnTo>
                      <a:pt x="6" y="66"/>
                    </a:lnTo>
                    <a:lnTo>
                      <a:pt x="6" y="72"/>
                    </a:lnTo>
                    <a:lnTo>
                      <a:pt x="0" y="78"/>
                    </a:lnTo>
                    <a:lnTo>
                      <a:pt x="6" y="90"/>
                    </a:lnTo>
                    <a:lnTo>
                      <a:pt x="6" y="96"/>
                    </a:lnTo>
                    <a:lnTo>
                      <a:pt x="6" y="102"/>
                    </a:lnTo>
                    <a:lnTo>
                      <a:pt x="6" y="114"/>
                    </a:lnTo>
                    <a:lnTo>
                      <a:pt x="6" y="126"/>
                    </a:lnTo>
                    <a:lnTo>
                      <a:pt x="12" y="132"/>
                    </a:lnTo>
                    <a:lnTo>
                      <a:pt x="24" y="144"/>
                    </a:lnTo>
                    <a:lnTo>
                      <a:pt x="30" y="156"/>
                    </a:lnTo>
                    <a:lnTo>
                      <a:pt x="42" y="168"/>
                    </a:lnTo>
                    <a:lnTo>
                      <a:pt x="48" y="174"/>
                    </a:lnTo>
                    <a:lnTo>
                      <a:pt x="48" y="180"/>
                    </a:lnTo>
                    <a:lnTo>
                      <a:pt x="54" y="180"/>
                    </a:lnTo>
                    <a:lnTo>
                      <a:pt x="60" y="180"/>
                    </a:lnTo>
                    <a:lnTo>
                      <a:pt x="66" y="186"/>
                    </a:lnTo>
                    <a:lnTo>
                      <a:pt x="78" y="186"/>
                    </a:lnTo>
                    <a:lnTo>
                      <a:pt x="90" y="186"/>
                    </a:lnTo>
                    <a:lnTo>
                      <a:pt x="114" y="186"/>
                    </a:lnTo>
                    <a:lnTo>
                      <a:pt x="132" y="180"/>
                    </a:lnTo>
                    <a:lnTo>
                      <a:pt x="138" y="180"/>
                    </a:lnTo>
                    <a:lnTo>
                      <a:pt x="138" y="162"/>
                    </a:lnTo>
                    <a:lnTo>
                      <a:pt x="126" y="156"/>
                    </a:lnTo>
                    <a:lnTo>
                      <a:pt x="120" y="150"/>
                    </a:lnTo>
                    <a:lnTo>
                      <a:pt x="120" y="144"/>
                    </a:lnTo>
                    <a:lnTo>
                      <a:pt x="114" y="138"/>
                    </a:lnTo>
                    <a:lnTo>
                      <a:pt x="114" y="132"/>
                    </a:lnTo>
                    <a:lnTo>
                      <a:pt x="114" y="114"/>
                    </a:lnTo>
                    <a:lnTo>
                      <a:pt x="120" y="108"/>
                    </a:lnTo>
                    <a:lnTo>
                      <a:pt x="126" y="102"/>
                    </a:lnTo>
                    <a:lnTo>
                      <a:pt x="132" y="96"/>
                    </a:lnTo>
                    <a:lnTo>
                      <a:pt x="138" y="84"/>
                    </a:lnTo>
                    <a:lnTo>
                      <a:pt x="138" y="78"/>
                    </a:lnTo>
                    <a:lnTo>
                      <a:pt x="144" y="72"/>
                    </a:lnTo>
                    <a:lnTo>
                      <a:pt x="144" y="66"/>
                    </a:lnTo>
                    <a:lnTo>
                      <a:pt x="156" y="54"/>
                    </a:lnTo>
                    <a:lnTo>
                      <a:pt x="162" y="54"/>
                    </a:lnTo>
                    <a:lnTo>
                      <a:pt x="162" y="48"/>
                    </a:lnTo>
                    <a:lnTo>
                      <a:pt x="150" y="24"/>
                    </a:lnTo>
                    <a:lnTo>
                      <a:pt x="150" y="18"/>
                    </a:lnTo>
                    <a:lnTo>
                      <a:pt x="150" y="12"/>
                    </a:lnTo>
                    <a:lnTo>
                      <a:pt x="144" y="6"/>
                    </a:lnTo>
                    <a:lnTo>
                      <a:pt x="14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09" name="Freeform 348"/>
              <p:cNvSpPr>
                <a:spLocks/>
              </p:cNvSpPr>
              <p:nvPr/>
            </p:nvSpPr>
            <p:spPr bwMode="auto">
              <a:xfrm>
                <a:off x="1476" y="1230"/>
                <a:ext cx="162" cy="186"/>
              </a:xfrm>
              <a:custGeom>
                <a:avLst/>
                <a:gdLst>
                  <a:gd name="T0" fmla="*/ 144 w 162"/>
                  <a:gd name="T1" fmla="*/ 0 h 186"/>
                  <a:gd name="T2" fmla="*/ 138 w 162"/>
                  <a:gd name="T3" fmla="*/ 6 h 186"/>
                  <a:gd name="T4" fmla="*/ 132 w 162"/>
                  <a:gd name="T5" fmla="*/ 12 h 186"/>
                  <a:gd name="T6" fmla="*/ 120 w 162"/>
                  <a:gd name="T7" fmla="*/ 12 h 186"/>
                  <a:gd name="T8" fmla="*/ 24 w 162"/>
                  <a:gd name="T9" fmla="*/ 12 h 186"/>
                  <a:gd name="T10" fmla="*/ 18 w 162"/>
                  <a:gd name="T11" fmla="*/ 60 h 186"/>
                  <a:gd name="T12" fmla="*/ 12 w 162"/>
                  <a:gd name="T13" fmla="*/ 60 h 186"/>
                  <a:gd name="T14" fmla="*/ 6 w 162"/>
                  <a:gd name="T15" fmla="*/ 66 h 186"/>
                  <a:gd name="T16" fmla="*/ 6 w 162"/>
                  <a:gd name="T17" fmla="*/ 72 h 186"/>
                  <a:gd name="T18" fmla="*/ 0 w 162"/>
                  <a:gd name="T19" fmla="*/ 78 h 186"/>
                  <a:gd name="T20" fmla="*/ 6 w 162"/>
                  <a:gd name="T21" fmla="*/ 90 h 186"/>
                  <a:gd name="T22" fmla="*/ 6 w 162"/>
                  <a:gd name="T23" fmla="*/ 96 h 186"/>
                  <a:gd name="T24" fmla="*/ 6 w 162"/>
                  <a:gd name="T25" fmla="*/ 102 h 186"/>
                  <a:gd name="T26" fmla="*/ 6 w 162"/>
                  <a:gd name="T27" fmla="*/ 114 h 186"/>
                  <a:gd name="T28" fmla="*/ 6 w 162"/>
                  <a:gd name="T29" fmla="*/ 126 h 186"/>
                  <a:gd name="T30" fmla="*/ 12 w 162"/>
                  <a:gd name="T31" fmla="*/ 132 h 186"/>
                  <a:gd name="T32" fmla="*/ 24 w 162"/>
                  <a:gd name="T33" fmla="*/ 144 h 186"/>
                  <a:gd name="T34" fmla="*/ 30 w 162"/>
                  <a:gd name="T35" fmla="*/ 156 h 186"/>
                  <a:gd name="T36" fmla="*/ 42 w 162"/>
                  <a:gd name="T37" fmla="*/ 168 h 186"/>
                  <a:gd name="T38" fmla="*/ 48 w 162"/>
                  <a:gd name="T39" fmla="*/ 174 h 186"/>
                  <a:gd name="T40" fmla="*/ 48 w 162"/>
                  <a:gd name="T41" fmla="*/ 180 h 186"/>
                  <a:gd name="T42" fmla="*/ 54 w 162"/>
                  <a:gd name="T43" fmla="*/ 180 h 186"/>
                  <a:gd name="T44" fmla="*/ 60 w 162"/>
                  <a:gd name="T45" fmla="*/ 180 h 186"/>
                  <a:gd name="T46" fmla="*/ 66 w 162"/>
                  <a:gd name="T47" fmla="*/ 186 h 186"/>
                  <a:gd name="T48" fmla="*/ 78 w 162"/>
                  <a:gd name="T49" fmla="*/ 186 h 186"/>
                  <a:gd name="T50" fmla="*/ 90 w 162"/>
                  <a:gd name="T51" fmla="*/ 186 h 186"/>
                  <a:gd name="T52" fmla="*/ 114 w 162"/>
                  <a:gd name="T53" fmla="*/ 186 h 186"/>
                  <a:gd name="T54" fmla="*/ 132 w 162"/>
                  <a:gd name="T55" fmla="*/ 180 h 186"/>
                  <a:gd name="T56" fmla="*/ 138 w 162"/>
                  <a:gd name="T57" fmla="*/ 180 h 186"/>
                  <a:gd name="T58" fmla="*/ 138 w 162"/>
                  <a:gd name="T59" fmla="*/ 162 h 186"/>
                  <a:gd name="T60" fmla="*/ 126 w 162"/>
                  <a:gd name="T61" fmla="*/ 156 h 186"/>
                  <a:gd name="T62" fmla="*/ 120 w 162"/>
                  <a:gd name="T63" fmla="*/ 150 h 186"/>
                  <a:gd name="T64" fmla="*/ 120 w 162"/>
                  <a:gd name="T65" fmla="*/ 144 h 186"/>
                  <a:gd name="T66" fmla="*/ 114 w 162"/>
                  <a:gd name="T67" fmla="*/ 138 h 186"/>
                  <a:gd name="T68" fmla="*/ 114 w 162"/>
                  <a:gd name="T69" fmla="*/ 132 h 186"/>
                  <a:gd name="T70" fmla="*/ 114 w 162"/>
                  <a:gd name="T71" fmla="*/ 114 h 186"/>
                  <a:gd name="T72" fmla="*/ 120 w 162"/>
                  <a:gd name="T73" fmla="*/ 108 h 186"/>
                  <a:gd name="T74" fmla="*/ 126 w 162"/>
                  <a:gd name="T75" fmla="*/ 102 h 186"/>
                  <a:gd name="T76" fmla="*/ 132 w 162"/>
                  <a:gd name="T77" fmla="*/ 96 h 186"/>
                  <a:gd name="T78" fmla="*/ 138 w 162"/>
                  <a:gd name="T79" fmla="*/ 84 h 186"/>
                  <a:gd name="T80" fmla="*/ 138 w 162"/>
                  <a:gd name="T81" fmla="*/ 78 h 186"/>
                  <a:gd name="T82" fmla="*/ 144 w 162"/>
                  <a:gd name="T83" fmla="*/ 72 h 186"/>
                  <a:gd name="T84" fmla="*/ 144 w 162"/>
                  <a:gd name="T85" fmla="*/ 66 h 186"/>
                  <a:gd name="T86" fmla="*/ 156 w 162"/>
                  <a:gd name="T87" fmla="*/ 54 h 186"/>
                  <a:gd name="T88" fmla="*/ 162 w 162"/>
                  <a:gd name="T89" fmla="*/ 54 h 186"/>
                  <a:gd name="T90" fmla="*/ 162 w 162"/>
                  <a:gd name="T91" fmla="*/ 48 h 186"/>
                  <a:gd name="T92" fmla="*/ 150 w 162"/>
                  <a:gd name="T93" fmla="*/ 24 h 186"/>
                  <a:gd name="T94" fmla="*/ 150 w 162"/>
                  <a:gd name="T95" fmla="*/ 18 h 186"/>
                  <a:gd name="T96" fmla="*/ 150 w 162"/>
                  <a:gd name="T97" fmla="*/ 12 h 186"/>
                  <a:gd name="T98" fmla="*/ 144 w 162"/>
                  <a:gd name="T99" fmla="*/ 6 h 186"/>
                  <a:gd name="T100" fmla="*/ 144 w 162"/>
                  <a:gd name="T101" fmla="*/ 0 h 18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62" h="186">
                    <a:moveTo>
                      <a:pt x="144" y="0"/>
                    </a:moveTo>
                    <a:lnTo>
                      <a:pt x="138" y="6"/>
                    </a:lnTo>
                    <a:lnTo>
                      <a:pt x="132" y="12"/>
                    </a:lnTo>
                    <a:lnTo>
                      <a:pt x="120" y="12"/>
                    </a:lnTo>
                    <a:lnTo>
                      <a:pt x="24" y="12"/>
                    </a:lnTo>
                    <a:lnTo>
                      <a:pt x="18" y="60"/>
                    </a:lnTo>
                    <a:lnTo>
                      <a:pt x="12" y="60"/>
                    </a:lnTo>
                    <a:lnTo>
                      <a:pt x="6" y="66"/>
                    </a:lnTo>
                    <a:lnTo>
                      <a:pt x="6" y="72"/>
                    </a:lnTo>
                    <a:lnTo>
                      <a:pt x="0" y="78"/>
                    </a:lnTo>
                    <a:lnTo>
                      <a:pt x="6" y="90"/>
                    </a:lnTo>
                    <a:lnTo>
                      <a:pt x="6" y="96"/>
                    </a:lnTo>
                    <a:lnTo>
                      <a:pt x="6" y="102"/>
                    </a:lnTo>
                    <a:lnTo>
                      <a:pt x="6" y="114"/>
                    </a:lnTo>
                    <a:lnTo>
                      <a:pt x="6" y="126"/>
                    </a:lnTo>
                    <a:lnTo>
                      <a:pt x="12" y="132"/>
                    </a:lnTo>
                    <a:lnTo>
                      <a:pt x="24" y="144"/>
                    </a:lnTo>
                    <a:lnTo>
                      <a:pt x="30" y="156"/>
                    </a:lnTo>
                    <a:lnTo>
                      <a:pt x="42" y="168"/>
                    </a:lnTo>
                    <a:lnTo>
                      <a:pt x="48" y="174"/>
                    </a:lnTo>
                    <a:lnTo>
                      <a:pt x="48" y="180"/>
                    </a:lnTo>
                    <a:lnTo>
                      <a:pt x="54" y="180"/>
                    </a:lnTo>
                    <a:lnTo>
                      <a:pt x="60" y="180"/>
                    </a:lnTo>
                    <a:lnTo>
                      <a:pt x="66" y="186"/>
                    </a:lnTo>
                    <a:lnTo>
                      <a:pt x="78" y="186"/>
                    </a:lnTo>
                    <a:lnTo>
                      <a:pt x="90" y="186"/>
                    </a:lnTo>
                    <a:lnTo>
                      <a:pt x="114" y="186"/>
                    </a:lnTo>
                    <a:lnTo>
                      <a:pt x="132" y="180"/>
                    </a:lnTo>
                    <a:lnTo>
                      <a:pt x="138" y="180"/>
                    </a:lnTo>
                    <a:lnTo>
                      <a:pt x="138" y="162"/>
                    </a:lnTo>
                    <a:lnTo>
                      <a:pt x="126" y="156"/>
                    </a:lnTo>
                    <a:lnTo>
                      <a:pt x="120" y="150"/>
                    </a:lnTo>
                    <a:lnTo>
                      <a:pt x="120" y="144"/>
                    </a:lnTo>
                    <a:lnTo>
                      <a:pt x="114" y="138"/>
                    </a:lnTo>
                    <a:lnTo>
                      <a:pt x="114" y="132"/>
                    </a:lnTo>
                    <a:lnTo>
                      <a:pt x="114" y="114"/>
                    </a:lnTo>
                    <a:lnTo>
                      <a:pt x="120" y="108"/>
                    </a:lnTo>
                    <a:lnTo>
                      <a:pt x="126" y="102"/>
                    </a:lnTo>
                    <a:lnTo>
                      <a:pt x="132" y="96"/>
                    </a:lnTo>
                    <a:lnTo>
                      <a:pt x="138" y="84"/>
                    </a:lnTo>
                    <a:lnTo>
                      <a:pt x="138" y="78"/>
                    </a:lnTo>
                    <a:lnTo>
                      <a:pt x="144" y="72"/>
                    </a:lnTo>
                    <a:lnTo>
                      <a:pt x="144" y="66"/>
                    </a:lnTo>
                    <a:lnTo>
                      <a:pt x="156" y="54"/>
                    </a:lnTo>
                    <a:lnTo>
                      <a:pt x="162" y="54"/>
                    </a:lnTo>
                    <a:lnTo>
                      <a:pt x="162" y="48"/>
                    </a:lnTo>
                    <a:lnTo>
                      <a:pt x="150" y="24"/>
                    </a:lnTo>
                    <a:lnTo>
                      <a:pt x="150" y="18"/>
                    </a:lnTo>
                    <a:lnTo>
                      <a:pt x="150" y="12"/>
                    </a:lnTo>
                    <a:lnTo>
                      <a:pt x="144" y="6"/>
                    </a:lnTo>
                    <a:lnTo>
                      <a:pt x="14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42" name="Group 349"/>
            <p:cNvGrpSpPr>
              <a:grpSpLocks/>
            </p:cNvGrpSpPr>
            <p:nvPr/>
          </p:nvGrpSpPr>
          <p:grpSpPr bwMode="auto">
            <a:xfrm>
              <a:off x="1096443" y="3105713"/>
              <a:ext cx="219107" cy="101140"/>
              <a:chOff x="1404" y="1356"/>
              <a:chExt cx="108" cy="60"/>
            </a:xfrm>
            <a:solidFill>
              <a:srgbClr val="0070C0">
                <a:alpha val="27059"/>
              </a:srgbClr>
            </a:solidFill>
          </p:grpSpPr>
          <p:sp>
            <p:nvSpPr>
              <p:cNvPr id="1706" name="Freeform 350"/>
              <p:cNvSpPr>
                <a:spLocks/>
              </p:cNvSpPr>
              <p:nvPr/>
            </p:nvSpPr>
            <p:spPr bwMode="auto">
              <a:xfrm>
                <a:off x="1404" y="1356"/>
                <a:ext cx="108" cy="60"/>
              </a:xfrm>
              <a:custGeom>
                <a:avLst/>
                <a:gdLst>
                  <a:gd name="T0" fmla="*/ 78 w 108"/>
                  <a:gd name="T1" fmla="*/ 0 h 60"/>
                  <a:gd name="T2" fmla="*/ 72 w 108"/>
                  <a:gd name="T3" fmla="*/ 0 h 60"/>
                  <a:gd name="T4" fmla="*/ 66 w 108"/>
                  <a:gd name="T5" fmla="*/ 6 h 60"/>
                  <a:gd name="T6" fmla="*/ 66 w 108"/>
                  <a:gd name="T7" fmla="*/ 12 h 60"/>
                  <a:gd name="T8" fmla="*/ 60 w 108"/>
                  <a:gd name="T9" fmla="*/ 18 h 60"/>
                  <a:gd name="T10" fmla="*/ 54 w 108"/>
                  <a:gd name="T11" fmla="*/ 18 h 60"/>
                  <a:gd name="T12" fmla="*/ 54 w 108"/>
                  <a:gd name="T13" fmla="*/ 18 h 60"/>
                  <a:gd name="T14" fmla="*/ 48 w 108"/>
                  <a:gd name="T15" fmla="*/ 18 h 60"/>
                  <a:gd name="T16" fmla="*/ 42 w 108"/>
                  <a:gd name="T17" fmla="*/ 18 h 60"/>
                  <a:gd name="T18" fmla="*/ 42 w 108"/>
                  <a:gd name="T19" fmla="*/ 18 h 60"/>
                  <a:gd name="T20" fmla="*/ 18 w 108"/>
                  <a:gd name="T21" fmla="*/ 24 h 60"/>
                  <a:gd name="T22" fmla="*/ 6 w 108"/>
                  <a:gd name="T23" fmla="*/ 30 h 60"/>
                  <a:gd name="T24" fmla="*/ 6 w 108"/>
                  <a:gd name="T25" fmla="*/ 30 h 60"/>
                  <a:gd name="T26" fmla="*/ 0 w 108"/>
                  <a:gd name="T27" fmla="*/ 36 h 60"/>
                  <a:gd name="T28" fmla="*/ 0 w 108"/>
                  <a:gd name="T29" fmla="*/ 36 h 60"/>
                  <a:gd name="T30" fmla="*/ 0 w 108"/>
                  <a:gd name="T31" fmla="*/ 36 h 60"/>
                  <a:gd name="T32" fmla="*/ 0 w 108"/>
                  <a:gd name="T33" fmla="*/ 36 h 60"/>
                  <a:gd name="T34" fmla="*/ 0 w 108"/>
                  <a:gd name="T35" fmla="*/ 36 h 60"/>
                  <a:gd name="T36" fmla="*/ 6 w 108"/>
                  <a:gd name="T37" fmla="*/ 42 h 60"/>
                  <a:gd name="T38" fmla="*/ 6 w 108"/>
                  <a:gd name="T39" fmla="*/ 48 h 60"/>
                  <a:gd name="T40" fmla="*/ 12 w 108"/>
                  <a:gd name="T41" fmla="*/ 54 h 60"/>
                  <a:gd name="T42" fmla="*/ 18 w 108"/>
                  <a:gd name="T43" fmla="*/ 60 h 60"/>
                  <a:gd name="T44" fmla="*/ 30 w 108"/>
                  <a:gd name="T45" fmla="*/ 54 h 60"/>
                  <a:gd name="T46" fmla="*/ 30 w 108"/>
                  <a:gd name="T47" fmla="*/ 48 h 60"/>
                  <a:gd name="T48" fmla="*/ 36 w 108"/>
                  <a:gd name="T49" fmla="*/ 48 h 60"/>
                  <a:gd name="T50" fmla="*/ 42 w 108"/>
                  <a:gd name="T51" fmla="*/ 42 h 60"/>
                  <a:gd name="T52" fmla="*/ 42 w 108"/>
                  <a:gd name="T53" fmla="*/ 42 h 60"/>
                  <a:gd name="T54" fmla="*/ 48 w 108"/>
                  <a:gd name="T55" fmla="*/ 54 h 60"/>
                  <a:gd name="T56" fmla="*/ 54 w 108"/>
                  <a:gd name="T57" fmla="*/ 54 h 60"/>
                  <a:gd name="T58" fmla="*/ 66 w 108"/>
                  <a:gd name="T59" fmla="*/ 54 h 60"/>
                  <a:gd name="T60" fmla="*/ 90 w 108"/>
                  <a:gd name="T61" fmla="*/ 48 h 60"/>
                  <a:gd name="T62" fmla="*/ 108 w 108"/>
                  <a:gd name="T63" fmla="*/ 42 h 60"/>
                  <a:gd name="T64" fmla="*/ 102 w 108"/>
                  <a:gd name="T65" fmla="*/ 30 h 60"/>
                  <a:gd name="T66" fmla="*/ 90 w 108"/>
                  <a:gd name="T67" fmla="*/ 18 h 60"/>
                  <a:gd name="T68" fmla="*/ 84 w 108"/>
                  <a:gd name="T69" fmla="*/ 12 h 60"/>
                  <a:gd name="T70" fmla="*/ 78 w 108"/>
                  <a:gd name="T71" fmla="*/ 0 h 6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08" h="60">
                    <a:moveTo>
                      <a:pt x="78" y="0"/>
                    </a:moveTo>
                    <a:lnTo>
                      <a:pt x="72" y="0"/>
                    </a:lnTo>
                    <a:lnTo>
                      <a:pt x="66" y="6"/>
                    </a:lnTo>
                    <a:lnTo>
                      <a:pt x="66" y="12"/>
                    </a:lnTo>
                    <a:lnTo>
                      <a:pt x="60" y="18"/>
                    </a:lnTo>
                    <a:lnTo>
                      <a:pt x="54" y="18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18" y="24"/>
                    </a:lnTo>
                    <a:lnTo>
                      <a:pt x="6" y="30"/>
                    </a:lnTo>
                    <a:lnTo>
                      <a:pt x="0" y="36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12" y="54"/>
                    </a:lnTo>
                    <a:lnTo>
                      <a:pt x="18" y="60"/>
                    </a:lnTo>
                    <a:lnTo>
                      <a:pt x="30" y="54"/>
                    </a:lnTo>
                    <a:lnTo>
                      <a:pt x="30" y="48"/>
                    </a:lnTo>
                    <a:lnTo>
                      <a:pt x="36" y="48"/>
                    </a:lnTo>
                    <a:lnTo>
                      <a:pt x="42" y="42"/>
                    </a:lnTo>
                    <a:lnTo>
                      <a:pt x="48" y="54"/>
                    </a:lnTo>
                    <a:lnTo>
                      <a:pt x="54" y="54"/>
                    </a:lnTo>
                    <a:lnTo>
                      <a:pt x="66" y="54"/>
                    </a:lnTo>
                    <a:lnTo>
                      <a:pt x="90" y="48"/>
                    </a:lnTo>
                    <a:lnTo>
                      <a:pt x="108" y="42"/>
                    </a:lnTo>
                    <a:lnTo>
                      <a:pt x="102" y="30"/>
                    </a:lnTo>
                    <a:lnTo>
                      <a:pt x="90" y="18"/>
                    </a:lnTo>
                    <a:lnTo>
                      <a:pt x="84" y="12"/>
                    </a:lnTo>
                    <a:lnTo>
                      <a:pt x="7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07" name="Freeform 351"/>
              <p:cNvSpPr>
                <a:spLocks/>
              </p:cNvSpPr>
              <p:nvPr/>
            </p:nvSpPr>
            <p:spPr bwMode="auto">
              <a:xfrm>
                <a:off x="1404" y="1356"/>
                <a:ext cx="108" cy="60"/>
              </a:xfrm>
              <a:custGeom>
                <a:avLst/>
                <a:gdLst>
                  <a:gd name="T0" fmla="*/ 78 w 108"/>
                  <a:gd name="T1" fmla="*/ 0 h 60"/>
                  <a:gd name="T2" fmla="*/ 72 w 108"/>
                  <a:gd name="T3" fmla="*/ 0 h 60"/>
                  <a:gd name="T4" fmla="*/ 66 w 108"/>
                  <a:gd name="T5" fmla="*/ 6 h 60"/>
                  <a:gd name="T6" fmla="*/ 66 w 108"/>
                  <a:gd name="T7" fmla="*/ 12 h 60"/>
                  <a:gd name="T8" fmla="*/ 60 w 108"/>
                  <a:gd name="T9" fmla="*/ 18 h 60"/>
                  <a:gd name="T10" fmla="*/ 54 w 108"/>
                  <a:gd name="T11" fmla="*/ 18 h 60"/>
                  <a:gd name="T12" fmla="*/ 48 w 108"/>
                  <a:gd name="T13" fmla="*/ 18 h 60"/>
                  <a:gd name="T14" fmla="*/ 42 w 108"/>
                  <a:gd name="T15" fmla="*/ 18 h 60"/>
                  <a:gd name="T16" fmla="*/ 18 w 108"/>
                  <a:gd name="T17" fmla="*/ 24 h 60"/>
                  <a:gd name="T18" fmla="*/ 6 w 108"/>
                  <a:gd name="T19" fmla="*/ 30 h 60"/>
                  <a:gd name="T20" fmla="*/ 0 w 108"/>
                  <a:gd name="T21" fmla="*/ 36 h 60"/>
                  <a:gd name="T22" fmla="*/ 6 w 108"/>
                  <a:gd name="T23" fmla="*/ 42 h 60"/>
                  <a:gd name="T24" fmla="*/ 6 w 108"/>
                  <a:gd name="T25" fmla="*/ 48 h 60"/>
                  <a:gd name="T26" fmla="*/ 12 w 108"/>
                  <a:gd name="T27" fmla="*/ 54 h 60"/>
                  <a:gd name="T28" fmla="*/ 18 w 108"/>
                  <a:gd name="T29" fmla="*/ 60 h 60"/>
                  <a:gd name="T30" fmla="*/ 30 w 108"/>
                  <a:gd name="T31" fmla="*/ 54 h 60"/>
                  <a:gd name="T32" fmla="*/ 30 w 108"/>
                  <a:gd name="T33" fmla="*/ 48 h 60"/>
                  <a:gd name="T34" fmla="*/ 36 w 108"/>
                  <a:gd name="T35" fmla="*/ 48 h 60"/>
                  <a:gd name="T36" fmla="*/ 42 w 108"/>
                  <a:gd name="T37" fmla="*/ 42 h 60"/>
                  <a:gd name="T38" fmla="*/ 48 w 108"/>
                  <a:gd name="T39" fmla="*/ 54 h 60"/>
                  <a:gd name="T40" fmla="*/ 54 w 108"/>
                  <a:gd name="T41" fmla="*/ 54 h 60"/>
                  <a:gd name="T42" fmla="*/ 66 w 108"/>
                  <a:gd name="T43" fmla="*/ 54 h 60"/>
                  <a:gd name="T44" fmla="*/ 90 w 108"/>
                  <a:gd name="T45" fmla="*/ 48 h 60"/>
                  <a:gd name="T46" fmla="*/ 108 w 108"/>
                  <a:gd name="T47" fmla="*/ 42 h 60"/>
                  <a:gd name="T48" fmla="*/ 102 w 108"/>
                  <a:gd name="T49" fmla="*/ 30 h 60"/>
                  <a:gd name="T50" fmla="*/ 90 w 108"/>
                  <a:gd name="T51" fmla="*/ 18 h 60"/>
                  <a:gd name="T52" fmla="*/ 84 w 108"/>
                  <a:gd name="T53" fmla="*/ 12 h 60"/>
                  <a:gd name="T54" fmla="*/ 78 w 108"/>
                  <a:gd name="T55" fmla="*/ 0 h 6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08" h="60">
                    <a:moveTo>
                      <a:pt x="78" y="0"/>
                    </a:moveTo>
                    <a:lnTo>
                      <a:pt x="72" y="0"/>
                    </a:lnTo>
                    <a:lnTo>
                      <a:pt x="66" y="6"/>
                    </a:lnTo>
                    <a:lnTo>
                      <a:pt x="66" y="12"/>
                    </a:lnTo>
                    <a:lnTo>
                      <a:pt x="60" y="18"/>
                    </a:lnTo>
                    <a:lnTo>
                      <a:pt x="54" y="18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18" y="24"/>
                    </a:lnTo>
                    <a:lnTo>
                      <a:pt x="6" y="30"/>
                    </a:lnTo>
                    <a:lnTo>
                      <a:pt x="0" y="36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12" y="54"/>
                    </a:lnTo>
                    <a:lnTo>
                      <a:pt x="18" y="60"/>
                    </a:lnTo>
                    <a:lnTo>
                      <a:pt x="30" y="54"/>
                    </a:lnTo>
                    <a:lnTo>
                      <a:pt x="30" y="48"/>
                    </a:lnTo>
                    <a:lnTo>
                      <a:pt x="36" y="48"/>
                    </a:lnTo>
                    <a:lnTo>
                      <a:pt x="42" y="42"/>
                    </a:lnTo>
                    <a:lnTo>
                      <a:pt x="48" y="54"/>
                    </a:lnTo>
                    <a:lnTo>
                      <a:pt x="54" y="54"/>
                    </a:lnTo>
                    <a:lnTo>
                      <a:pt x="66" y="54"/>
                    </a:lnTo>
                    <a:lnTo>
                      <a:pt x="90" y="48"/>
                    </a:lnTo>
                    <a:lnTo>
                      <a:pt x="108" y="42"/>
                    </a:lnTo>
                    <a:lnTo>
                      <a:pt x="102" y="30"/>
                    </a:lnTo>
                    <a:lnTo>
                      <a:pt x="90" y="18"/>
                    </a:lnTo>
                    <a:lnTo>
                      <a:pt x="84" y="12"/>
                    </a:lnTo>
                    <a:lnTo>
                      <a:pt x="7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43" name="Group 352"/>
            <p:cNvGrpSpPr>
              <a:grpSpLocks/>
            </p:cNvGrpSpPr>
            <p:nvPr/>
          </p:nvGrpSpPr>
          <p:grpSpPr bwMode="auto">
            <a:xfrm>
              <a:off x="986890" y="3227081"/>
              <a:ext cx="121085" cy="105186"/>
              <a:chOff x="1350" y="1428"/>
              <a:chExt cx="60" cy="60"/>
            </a:xfrm>
            <a:solidFill>
              <a:srgbClr val="0070C0">
                <a:alpha val="27059"/>
              </a:srgbClr>
            </a:solidFill>
          </p:grpSpPr>
          <p:sp>
            <p:nvSpPr>
              <p:cNvPr id="1704" name="Freeform 353"/>
              <p:cNvSpPr>
                <a:spLocks/>
              </p:cNvSpPr>
              <p:nvPr/>
            </p:nvSpPr>
            <p:spPr bwMode="auto">
              <a:xfrm>
                <a:off x="1350" y="1428"/>
                <a:ext cx="60" cy="60"/>
              </a:xfrm>
              <a:custGeom>
                <a:avLst/>
                <a:gdLst>
                  <a:gd name="T0" fmla="*/ 24 w 60"/>
                  <a:gd name="T1" fmla="*/ 0 h 60"/>
                  <a:gd name="T2" fmla="*/ 42 w 60"/>
                  <a:gd name="T3" fmla="*/ 0 h 60"/>
                  <a:gd name="T4" fmla="*/ 42 w 60"/>
                  <a:gd name="T5" fmla="*/ 6 h 60"/>
                  <a:gd name="T6" fmla="*/ 54 w 60"/>
                  <a:gd name="T7" fmla="*/ 6 h 60"/>
                  <a:gd name="T8" fmla="*/ 54 w 60"/>
                  <a:gd name="T9" fmla="*/ 18 h 60"/>
                  <a:gd name="T10" fmla="*/ 54 w 60"/>
                  <a:gd name="T11" fmla="*/ 18 h 60"/>
                  <a:gd name="T12" fmla="*/ 54 w 60"/>
                  <a:gd name="T13" fmla="*/ 18 h 60"/>
                  <a:gd name="T14" fmla="*/ 54 w 60"/>
                  <a:gd name="T15" fmla="*/ 24 h 60"/>
                  <a:gd name="T16" fmla="*/ 54 w 60"/>
                  <a:gd name="T17" fmla="*/ 24 h 60"/>
                  <a:gd name="T18" fmla="*/ 54 w 60"/>
                  <a:gd name="T19" fmla="*/ 30 h 60"/>
                  <a:gd name="T20" fmla="*/ 60 w 60"/>
                  <a:gd name="T21" fmla="*/ 36 h 60"/>
                  <a:gd name="T22" fmla="*/ 54 w 60"/>
                  <a:gd name="T23" fmla="*/ 42 h 60"/>
                  <a:gd name="T24" fmla="*/ 42 w 60"/>
                  <a:gd name="T25" fmla="*/ 48 h 60"/>
                  <a:gd name="T26" fmla="*/ 36 w 60"/>
                  <a:gd name="T27" fmla="*/ 48 h 60"/>
                  <a:gd name="T28" fmla="*/ 36 w 60"/>
                  <a:gd name="T29" fmla="*/ 48 h 60"/>
                  <a:gd name="T30" fmla="*/ 30 w 60"/>
                  <a:gd name="T31" fmla="*/ 48 h 60"/>
                  <a:gd name="T32" fmla="*/ 24 w 60"/>
                  <a:gd name="T33" fmla="*/ 54 h 60"/>
                  <a:gd name="T34" fmla="*/ 18 w 60"/>
                  <a:gd name="T35" fmla="*/ 60 h 60"/>
                  <a:gd name="T36" fmla="*/ 18 w 60"/>
                  <a:gd name="T37" fmla="*/ 54 h 60"/>
                  <a:gd name="T38" fmla="*/ 18 w 60"/>
                  <a:gd name="T39" fmla="*/ 54 h 60"/>
                  <a:gd name="T40" fmla="*/ 12 w 60"/>
                  <a:gd name="T41" fmla="*/ 48 h 60"/>
                  <a:gd name="T42" fmla="*/ 12 w 60"/>
                  <a:gd name="T43" fmla="*/ 48 h 60"/>
                  <a:gd name="T44" fmla="*/ 6 w 60"/>
                  <a:gd name="T45" fmla="*/ 42 h 60"/>
                  <a:gd name="T46" fmla="*/ 0 w 60"/>
                  <a:gd name="T47" fmla="*/ 36 h 60"/>
                  <a:gd name="T48" fmla="*/ 0 w 60"/>
                  <a:gd name="T49" fmla="*/ 30 h 60"/>
                  <a:gd name="T50" fmla="*/ 6 w 60"/>
                  <a:gd name="T51" fmla="*/ 12 h 60"/>
                  <a:gd name="T52" fmla="*/ 18 w 60"/>
                  <a:gd name="T53" fmla="*/ 12 h 60"/>
                  <a:gd name="T54" fmla="*/ 24 w 60"/>
                  <a:gd name="T55" fmla="*/ 12 h 60"/>
                  <a:gd name="T56" fmla="*/ 24 w 60"/>
                  <a:gd name="T57" fmla="*/ 12 h 60"/>
                  <a:gd name="T58" fmla="*/ 24 w 60"/>
                  <a:gd name="T59" fmla="*/ 0 h 60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60" h="60">
                    <a:moveTo>
                      <a:pt x="24" y="0"/>
                    </a:moveTo>
                    <a:lnTo>
                      <a:pt x="42" y="0"/>
                    </a:lnTo>
                    <a:lnTo>
                      <a:pt x="42" y="6"/>
                    </a:lnTo>
                    <a:lnTo>
                      <a:pt x="54" y="6"/>
                    </a:lnTo>
                    <a:lnTo>
                      <a:pt x="54" y="18"/>
                    </a:lnTo>
                    <a:lnTo>
                      <a:pt x="54" y="24"/>
                    </a:lnTo>
                    <a:lnTo>
                      <a:pt x="54" y="30"/>
                    </a:lnTo>
                    <a:lnTo>
                      <a:pt x="60" y="36"/>
                    </a:lnTo>
                    <a:lnTo>
                      <a:pt x="54" y="42"/>
                    </a:lnTo>
                    <a:lnTo>
                      <a:pt x="42" y="48"/>
                    </a:lnTo>
                    <a:lnTo>
                      <a:pt x="36" y="48"/>
                    </a:lnTo>
                    <a:lnTo>
                      <a:pt x="30" y="48"/>
                    </a:lnTo>
                    <a:lnTo>
                      <a:pt x="24" y="54"/>
                    </a:lnTo>
                    <a:lnTo>
                      <a:pt x="18" y="60"/>
                    </a:lnTo>
                    <a:lnTo>
                      <a:pt x="18" y="54"/>
                    </a:lnTo>
                    <a:lnTo>
                      <a:pt x="12" y="48"/>
                    </a:lnTo>
                    <a:lnTo>
                      <a:pt x="6" y="42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6" y="12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05" name="Freeform 354"/>
              <p:cNvSpPr>
                <a:spLocks/>
              </p:cNvSpPr>
              <p:nvPr/>
            </p:nvSpPr>
            <p:spPr bwMode="auto">
              <a:xfrm>
                <a:off x="1350" y="1428"/>
                <a:ext cx="60" cy="60"/>
              </a:xfrm>
              <a:custGeom>
                <a:avLst/>
                <a:gdLst>
                  <a:gd name="T0" fmla="*/ 24 w 60"/>
                  <a:gd name="T1" fmla="*/ 0 h 60"/>
                  <a:gd name="T2" fmla="*/ 42 w 60"/>
                  <a:gd name="T3" fmla="*/ 0 h 60"/>
                  <a:gd name="T4" fmla="*/ 42 w 60"/>
                  <a:gd name="T5" fmla="*/ 6 h 60"/>
                  <a:gd name="T6" fmla="*/ 54 w 60"/>
                  <a:gd name="T7" fmla="*/ 6 h 60"/>
                  <a:gd name="T8" fmla="*/ 54 w 60"/>
                  <a:gd name="T9" fmla="*/ 18 h 60"/>
                  <a:gd name="T10" fmla="*/ 54 w 60"/>
                  <a:gd name="T11" fmla="*/ 24 h 60"/>
                  <a:gd name="T12" fmla="*/ 54 w 60"/>
                  <a:gd name="T13" fmla="*/ 30 h 60"/>
                  <a:gd name="T14" fmla="*/ 60 w 60"/>
                  <a:gd name="T15" fmla="*/ 36 h 60"/>
                  <a:gd name="T16" fmla="*/ 54 w 60"/>
                  <a:gd name="T17" fmla="*/ 42 h 60"/>
                  <a:gd name="T18" fmla="*/ 42 w 60"/>
                  <a:gd name="T19" fmla="*/ 48 h 60"/>
                  <a:gd name="T20" fmla="*/ 36 w 60"/>
                  <a:gd name="T21" fmla="*/ 48 h 60"/>
                  <a:gd name="T22" fmla="*/ 30 w 60"/>
                  <a:gd name="T23" fmla="*/ 48 h 60"/>
                  <a:gd name="T24" fmla="*/ 24 w 60"/>
                  <a:gd name="T25" fmla="*/ 54 h 60"/>
                  <a:gd name="T26" fmla="*/ 18 w 60"/>
                  <a:gd name="T27" fmla="*/ 60 h 60"/>
                  <a:gd name="T28" fmla="*/ 18 w 60"/>
                  <a:gd name="T29" fmla="*/ 54 h 60"/>
                  <a:gd name="T30" fmla="*/ 12 w 60"/>
                  <a:gd name="T31" fmla="*/ 48 h 60"/>
                  <a:gd name="T32" fmla="*/ 6 w 60"/>
                  <a:gd name="T33" fmla="*/ 42 h 60"/>
                  <a:gd name="T34" fmla="*/ 0 w 60"/>
                  <a:gd name="T35" fmla="*/ 36 h 60"/>
                  <a:gd name="T36" fmla="*/ 0 w 60"/>
                  <a:gd name="T37" fmla="*/ 30 h 60"/>
                  <a:gd name="T38" fmla="*/ 6 w 60"/>
                  <a:gd name="T39" fmla="*/ 12 h 60"/>
                  <a:gd name="T40" fmla="*/ 18 w 60"/>
                  <a:gd name="T41" fmla="*/ 12 h 60"/>
                  <a:gd name="T42" fmla="*/ 24 w 60"/>
                  <a:gd name="T43" fmla="*/ 12 h 60"/>
                  <a:gd name="T44" fmla="*/ 24 w 60"/>
                  <a:gd name="T45" fmla="*/ 0 h 6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0" h="60">
                    <a:moveTo>
                      <a:pt x="24" y="0"/>
                    </a:moveTo>
                    <a:lnTo>
                      <a:pt x="42" y="0"/>
                    </a:lnTo>
                    <a:lnTo>
                      <a:pt x="42" y="6"/>
                    </a:lnTo>
                    <a:lnTo>
                      <a:pt x="54" y="6"/>
                    </a:lnTo>
                    <a:lnTo>
                      <a:pt x="54" y="18"/>
                    </a:lnTo>
                    <a:lnTo>
                      <a:pt x="54" y="24"/>
                    </a:lnTo>
                    <a:lnTo>
                      <a:pt x="54" y="30"/>
                    </a:lnTo>
                    <a:lnTo>
                      <a:pt x="60" y="36"/>
                    </a:lnTo>
                    <a:lnTo>
                      <a:pt x="54" y="42"/>
                    </a:lnTo>
                    <a:lnTo>
                      <a:pt x="42" y="48"/>
                    </a:lnTo>
                    <a:lnTo>
                      <a:pt x="36" y="48"/>
                    </a:lnTo>
                    <a:lnTo>
                      <a:pt x="30" y="48"/>
                    </a:lnTo>
                    <a:lnTo>
                      <a:pt x="24" y="54"/>
                    </a:lnTo>
                    <a:lnTo>
                      <a:pt x="18" y="60"/>
                    </a:lnTo>
                    <a:lnTo>
                      <a:pt x="18" y="54"/>
                    </a:lnTo>
                    <a:lnTo>
                      <a:pt x="12" y="48"/>
                    </a:lnTo>
                    <a:lnTo>
                      <a:pt x="6" y="42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6" y="12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44" name="Group 355"/>
            <p:cNvGrpSpPr>
              <a:grpSpLocks/>
            </p:cNvGrpSpPr>
            <p:nvPr/>
          </p:nvGrpSpPr>
          <p:grpSpPr bwMode="auto">
            <a:xfrm>
              <a:off x="998421" y="3227081"/>
              <a:ext cx="36518" cy="22251"/>
              <a:chOff x="1356" y="1428"/>
              <a:chExt cx="18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702" name="Freeform 356"/>
              <p:cNvSpPr>
                <a:spLocks/>
              </p:cNvSpPr>
              <p:nvPr/>
            </p:nvSpPr>
            <p:spPr bwMode="auto">
              <a:xfrm>
                <a:off x="1356" y="1428"/>
                <a:ext cx="18" cy="12"/>
              </a:xfrm>
              <a:custGeom>
                <a:avLst/>
                <a:gdLst>
                  <a:gd name="T0" fmla="*/ 12 w 18"/>
                  <a:gd name="T1" fmla="*/ 0 h 12"/>
                  <a:gd name="T2" fmla="*/ 12 w 18"/>
                  <a:gd name="T3" fmla="*/ 0 h 12"/>
                  <a:gd name="T4" fmla="*/ 6 w 18"/>
                  <a:gd name="T5" fmla="*/ 6 h 12"/>
                  <a:gd name="T6" fmla="*/ 0 w 18"/>
                  <a:gd name="T7" fmla="*/ 12 h 12"/>
                  <a:gd name="T8" fmla="*/ 18 w 18"/>
                  <a:gd name="T9" fmla="*/ 12 h 12"/>
                  <a:gd name="T10" fmla="*/ 18 w 18"/>
                  <a:gd name="T11" fmla="*/ 12 h 12"/>
                  <a:gd name="T12" fmla="*/ 18 w 18"/>
                  <a:gd name="T13" fmla="*/ 0 h 12"/>
                  <a:gd name="T14" fmla="*/ 12 w 18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12" y="0"/>
                    </a:moveTo>
                    <a:lnTo>
                      <a:pt x="12" y="0"/>
                    </a:lnTo>
                    <a:lnTo>
                      <a:pt x="6" y="6"/>
                    </a:lnTo>
                    <a:lnTo>
                      <a:pt x="0" y="12"/>
                    </a:lnTo>
                    <a:lnTo>
                      <a:pt x="18" y="12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03" name="Freeform 357"/>
              <p:cNvSpPr>
                <a:spLocks/>
              </p:cNvSpPr>
              <p:nvPr/>
            </p:nvSpPr>
            <p:spPr bwMode="auto">
              <a:xfrm>
                <a:off x="1356" y="1428"/>
                <a:ext cx="18" cy="12"/>
              </a:xfrm>
              <a:custGeom>
                <a:avLst/>
                <a:gdLst>
                  <a:gd name="T0" fmla="*/ 12 w 18"/>
                  <a:gd name="T1" fmla="*/ 0 h 12"/>
                  <a:gd name="T2" fmla="*/ 6 w 18"/>
                  <a:gd name="T3" fmla="*/ 6 h 12"/>
                  <a:gd name="T4" fmla="*/ 0 w 18"/>
                  <a:gd name="T5" fmla="*/ 12 h 12"/>
                  <a:gd name="T6" fmla="*/ 18 w 18"/>
                  <a:gd name="T7" fmla="*/ 12 h 12"/>
                  <a:gd name="T8" fmla="*/ 18 w 18"/>
                  <a:gd name="T9" fmla="*/ 0 h 12"/>
                  <a:gd name="T10" fmla="*/ 12 w 18"/>
                  <a:gd name="T11" fmla="*/ 0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12">
                    <a:moveTo>
                      <a:pt x="12" y="0"/>
                    </a:moveTo>
                    <a:lnTo>
                      <a:pt x="6" y="6"/>
                    </a:lnTo>
                    <a:lnTo>
                      <a:pt x="0" y="12"/>
                    </a:lnTo>
                    <a:lnTo>
                      <a:pt x="18" y="12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45" name="Group 358"/>
            <p:cNvGrpSpPr>
              <a:grpSpLocks/>
            </p:cNvGrpSpPr>
            <p:nvPr/>
          </p:nvGrpSpPr>
          <p:grpSpPr bwMode="auto">
            <a:xfrm>
              <a:off x="1023407" y="3198762"/>
              <a:ext cx="134539" cy="153734"/>
              <a:chOff x="1368" y="1410"/>
              <a:chExt cx="66" cy="90"/>
            </a:xfrm>
            <a:solidFill>
              <a:srgbClr val="0070C0">
                <a:alpha val="27059"/>
              </a:srgbClr>
            </a:solidFill>
          </p:grpSpPr>
          <p:sp>
            <p:nvSpPr>
              <p:cNvPr id="1700" name="Freeform 359"/>
              <p:cNvSpPr>
                <a:spLocks/>
              </p:cNvSpPr>
              <p:nvPr/>
            </p:nvSpPr>
            <p:spPr bwMode="auto">
              <a:xfrm>
                <a:off x="1368" y="1410"/>
                <a:ext cx="66" cy="90"/>
              </a:xfrm>
              <a:custGeom>
                <a:avLst/>
                <a:gdLst>
                  <a:gd name="T0" fmla="*/ 12 w 66"/>
                  <a:gd name="T1" fmla="*/ 90 h 90"/>
                  <a:gd name="T2" fmla="*/ 0 w 66"/>
                  <a:gd name="T3" fmla="*/ 84 h 90"/>
                  <a:gd name="T4" fmla="*/ 0 w 66"/>
                  <a:gd name="T5" fmla="*/ 78 h 90"/>
                  <a:gd name="T6" fmla="*/ 6 w 66"/>
                  <a:gd name="T7" fmla="*/ 72 h 90"/>
                  <a:gd name="T8" fmla="*/ 6 w 66"/>
                  <a:gd name="T9" fmla="*/ 72 h 90"/>
                  <a:gd name="T10" fmla="*/ 12 w 66"/>
                  <a:gd name="T11" fmla="*/ 72 h 90"/>
                  <a:gd name="T12" fmla="*/ 12 w 66"/>
                  <a:gd name="T13" fmla="*/ 66 h 90"/>
                  <a:gd name="T14" fmla="*/ 18 w 66"/>
                  <a:gd name="T15" fmla="*/ 66 h 90"/>
                  <a:gd name="T16" fmla="*/ 18 w 66"/>
                  <a:gd name="T17" fmla="*/ 66 h 90"/>
                  <a:gd name="T18" fmla="*/ 24 w 66"/>
                  <a:gd name="T19" fmla="*/ 66 h 90"/>
                  <a:gd name="T20" fmla="*/ 30 w 66"/>
                  <a:gd name="T21" fmla="*/ 66 h 90"/>
                  <a:gd name="T22" fmla="*/ 36 w 66"/>
                  <a:gd name="T23" fmla="*/ 60 h 90"/>
                  <a:gd name="T24" fmla="*/ 36 w 66"/>
                  <a:gd name="T25" fmla="*/ 60 h 90"/>
                  <a:gd name="T26" fmla="*/ 36 w 66"/>
                  <a:gd name="T27" fmla="*/ 42 h 90"/>
                  <a:gd name="T28" fmla="*/ 36 w 66"/>
                  <a:gd name="T29" fmla="*/ 42 h 90"/>
                  <a:gd name="T30" fmla="*/ 36 w 66"/>
                  <a:gd name="T31" fmla="*/ 42 h 90"/>
                  <a:gd name="T32" fmla="*/ 36 w 66"/>
                  <a:gd name="T33" fmla="*/ 36 h 90"/>
                  <a:gd name="T34" fmla="*/ 36 w 66"/>
                  <a:gd name="T35" fmla="*/ 36 h 90"/>
                  <a:gd name="T36" fmla="*/ 36 w 66"/>
                  <a:gd name="T37" fmla="*/ 36 h 90"/>
                  <a:gd name="T38" fmla="*/ 36 w 66"/>
                  <a:gd name="T39" fmla="*/ 24 h 90"/>
                  <a:gd name="T40" fmla="*/ 24 w 66"/>
                  <a:gd name="T41" fmla="*/ 24 h 90"/>
                  <a:gd name="T42" fmla="*/ 24 w 66"/>
                  <a:gd name="T43" fmla="*/ 18 h 90"/>
                  <a:gd name="T44" fmla="*/ 36 w 66"/>
                  <a:gd name="T45" fmla="*/ 18 h 90"/>
                  <a:gd name="T46" fmla="*/ 54 w 66"/>
                  <a:gd name="T47" fmla="*/ 18 h 90"/>
                  <a:gd name="T48" fmla="*/ 54 w 66"/>
                  <a:gd name="T49" fmla="*/ 12 h 90"/>
                  <a:gd name="T50" fmla="*/ 54 w 66"/>
                  <a:gd name="T51" fmla="*/ 12 h 90"/>
                  <a:gd name="T52" fmla="*/ 60 w 66"/>
                  <a:gd name="T53" fmla="*/ 6 h 90"/>
                  <a:gd name="T54" fmla="*/ 66 w 66"/>
                  <a:gd name="T55" fmla="*/ 0 h 90"/>
                  <a:gd name="T56" fmla="*/ 66 w 66"/>
                  <a:gd name="T57" fmla="*/ 0 h 90"/>
                  <a:gd name="T58" fmla="*/ 66 w 66"/>
                  <a:gd name="T59" fmla="*/ 6 h 90"/>
                  <a:gd name="T60" fmla="*/ 66 w 66"/>
                  <a:gd name="T61" fmla="*/ 18 h 90"/>
                  <a:gd name="T62" fmla="*/ 66 w 66"/>
                  <a:gd name="T63" fmla="*/ 30 h 90"/>
                  <a:gd name="T64" fmla="*/ 66 w 66"/>
                  <a:gd name="T65" fmla="*/ 42 h 90"/>
                  <a:gd name="T66" fmla="*/ 66 w 66"/>
                  <a:gd name="T67" fmla="*/ 48 h 90"/>
                  <a:gd name="T68" fmla="*/ 60 w 66"/>
                  <a:gd name="T69" fmla="*/ 54 h 90"/>
                  <a:gd name="T70" fmla="*/ 60 w 66"/>
                  <a:gd name="T71" fmla="*/ 60 h 90"/>
                  <a:gd name="T72" fmla="*/ 48 w 66"/>
                  <a:gd name="T73" fmla="*/ 72 h 90"/>
                  <a:gd name="T74" fmla="*/ 48 w 66"/>
                  <a:gd name="T75" fmla="*/ 78 h 90"/>
                  <a:gd name="T76" fmla="*/ 48 w 66"/>
                  <a:gd name="T77" fmla="*/ 84 h 90"/>
                  <a:gd name="T78" fmla="*/ 42 w 66"/>
                  <a:gd name="T79" fmla="*/ 84 h 90"/>
                  <a:gd name="T80" fmla="*/ 42 w 66"/>
                  <a:gd name="T81" fmla="*/ 84 h 90"/>
                  <a:gd name="T82" fmla="*/ 36 w 66"/>
                  <a:gd name="T83" fmla="*/ 84 h 90"/>
                  <a:gd name="T84" fmla="*/ 30 w 66"/>
                  <a:gd name="T85" fmla="*/ 84 h 90"/>
                  <a:gd name="T86" fmla="*/ 30 w 66"/>
                  <a:gd name="T87" fmla="*/ 90 h 90"/>
                  <a:gd name="T88" fmla="*/ 24 w 66"/>
                  <a:gd name="T89" fmla="*/ 84 h 90"/>
                  <a:gd name="T90" fmla="*/ 24 w 66"/>
                  <a:gd name="T91" fmla="*/ 84 h 90"/>
                  <a:gd name="T92" fmla="*/ 12 w 66"/>
                  <a:gd name="T93" fmla="*/ 90 h 9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6" h="90">
                    <a:moveTo>
                      <a:pt x="12" y="90"/>
                    </a:moveTo>
                    <a:lnTo>
                      <a:pt x="0" y="84"/>
                    </a:lnTo>
                    <a:lnTo>
                      <a:pt x="0" y="78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12" y="66"/>
                    </a:lnTo>
                    <a:lnTo>
                      <a:pt x="18" y="66"/>
                    </a:lnTo>
                    <a:lnTo>
                      <a:pt x="24" y="66"/>
                    </a:lnTo>
                    <a:lnTo>
                      <a:pt x="30" y="66"/>
                    </a:lnTo>
                    <a:lnTo>
                      <a:pt x="36" y="60"/>
                    </a:lnTo>
                    <a:lnTo>
                      <a:pt x="36" y="42"/>
                    </a:lnTo>
                    <a:lnTo>
                      <a:pt x="36" y="36"/>
                    </a:lnTo>
                    <a:lnTo>
                      <a:pt x="36" y="24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36" y="18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60" y="6"/>
                    </a:lnTo>
                    <a:lnTo>
                      <a:pt x="66" y="0"/>
                    </a:lnTo>
                    <a:lnTo>
                      <a:pt x="66" y="6"/>
                    </a:lnTo>
                    <a:lnTo>
                      <a:pt x="66" y="18"/>
                    </a:lnTo>
                    <a:lnTo>
                      <a:pt x="66" y="30"/>
                    </a:lnTo>
                    <a:lnTo>
                      <a:pt x="66" y="42"/>
                    </a:lnTo>
                    <a:lnTo>
                      <a:pt x="66" y="48"/>
                    </a:lnTo>
                    <a:lnTo>
                      <a:pt x="60" y="54"/>
                    </a:lnTo>
                    <a:lnTo>
                      <a:pt x="60" y="60"/>
                    </a:lnTo>
                    <a:lnTo>
                      <a:pt x="48" y="72"/>
                    </a:lnTo>
                    <a:lnTo>
                      <a:pt x="48" y="78"/>
                    </a:lnTo>
                    <a:lnTo>
                      <a:pt x="48" y="84"/>
                    </a:lnTo>
                    <a:lnTo>
                      <a:pt x="42" y="84"/>
                    </a:lnTo>
                    <a:lnTo>
                      <a:pt x="36" y="84"/>
                    </a:lnTo>
                    <a:lnTo>
                      <a:pt x="30" y="84"/>
                    </a:lnTo>
                    <a:lnTo>
                      <a:pt x="30" y="90"/>
                    </a:lnTo>
                    <a:lnTo>
                      <a:pt x="24" y="84"/>
                    </a:lnTo>
                    <a:lnTo>
                      <a:pt x="1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01" name="Freeform 360"/>
              <p:cNvSpPr>
                <a:spLocks/>
              </p:cNvSpPr>
              <p:nvPr/>
            </p:nvSpPr>
            <p:spPr bwMode="auto">
              <a:xfrm>
                <a:off x="1368" y="1410"/>
                <a:ext cx="66" cy="90"/>
              </a:xfrm>
              <a:custGeom>
                <a:avLst/>
                <a:gdLst>
                  <a:gd name="T0" fmla="*/ 12 w 66"/>
                  <a:gd name="T1" fmla="*/ 90 h 90"/>
                  <a:gd name="T2" fmla="*/ 0 w 66"/>
                  <a:gd name="T3" fmla="*/ 84 h 90"/>
                  <a:gd name="T4" fmla="*/ 0 w 66"/>
                  <a:gd name="T5" fmla="*/ 78 h 90"/>
                  <a:gd name="T6" fmla="*/ 6 w 66"/>
                  <a:gd name="T7" fmla="*/ 72 h 90"/>
                  <a:gd name="T8" fmla="*/ 12 w 66"/>
                  <a:gd name="T9" fmla="*/ 72 h 90"/>
                  <a:gd name="T10" fmla="*/ 12 w 66"/>
                  <a:gd name="T11" fmla="*/ 66 h 90"/>
                  <a:gd name="T12" fmla="*/ 18 w 66"/>
                  <a:gd name="T13" fmla="*/ 66 h 90"/>
                  <a:gd name="T14" fmla="*/ 24 w 66"/>
                  <a:gd name="T15" fmla="*/ 66 h 90"/>
                  <a:gd name="T16" fmla="*/ 30 w 66"/>
                  <a:gd name="T17" fmla="*/ 66 h 90"/>
                  <a:gd name="T18" fmla="*/ 36 w 66"/>
                  <a:gd name="T19" fmla="*/ 60 h 90"/>
                  <a:gd name="T20" fmla="*/ 36 w 66"/>
                  <a:gd name="T21" fmla="*/ 42 h 90"/>
                  <a:gd name="T22" fmla="*/ 36 w 66"/>
                  <a:gd name="T23" fmla="*/ 36 h 90"/>
                  <a:gd name="T24" fmla="*/ 36 w 66"/>
                  <a:gd name="T25" fmla="*/ 24 h 90"/>
                  <a:gd name="T26" fmla="*/ 24 w 66"/>
                  <a:gd name="T27" fmla="*/ 24 h 90"/>
                  <a:gd name="T28" fmla="*/ 24 w 66"/>
                  <a:gd name="T29" fmla="*/ 18 h 90"/>
                  <a:gd name="T30" fmla="*/ 36 w 66"/>
                  <a:gd name="T31" fmla="*/ 18 h 90"/>
                  <a:gd name="T32" fmla="*/ 54 w 66"/>
                  <a:gd name="T33" fmla="*/ 18 h 90"/>
                  <a:gd name="T34" fmla="*/ 54 w 66"/>
                  <a:gd name="T35" fmla="*/ 12 h 90"/>
                  <a:gd name="T36" fmla="*/ 60 w 66"/>
                  <a:gd name="T37" fmla="*/ 6 h 90"/>
                  <a:gd name="T38" fmla="*/ 66 w 66"/>
                  <a:gd name="T39" fmla="*/ 0 h 90"/>
                  <a:gd name="T40" fmla="*/ 66 w 66"/>
                  <a:gd name="T41" fmla="*/ 6 h 90"/>
                  <a:gd name="T42" fmla="*/ 66 w 66"/>
                  <a:gd name="T43" fmla="*/ 18 h 90"/>
                  <a:gd name="T44" fmla="*/ 66 w 66"/>
                  <a:gd name="T45" fmla="*/ 30 h 90"/>
                  <a:gd name="T46" fmla="*/ 66 w 66"/>
                  <a:gd name="T47" fmla="*/ 42 h 90"/>
                  <a:gd name="T48" fmla="*/ 66 w 66"/>
                  <a:gd name="T49" fmla="*/ 48 h 90"/>
                  <a:gd name="T50" fmla="*/ 60 w 66"/>
                  <a:gd name="T51" fmla="*/ 54 h 90"/>
                  <a:gd name="T52" fmla="*/ 60 w 66"/>
                  <a:gd name="T53" fmla="*/ 60 h 90"/>
                  <a:gd name="T54" fmla="*/ 48 w 66"/>
                  <a:gd name="T55" fmla="*/ 72 h 90"/>
                  <a:gd name="T56" fmla="*/ 48 w 66"/>
                  <a:gd name="T57" fmla="*/ 78 h 90"/>
                  <a:gd name="T58" fmla="*/ 48 w 66"/>
                  <a:gd name="T59" fmla="*/ 84 h 90"/>
                  <a:gd name="T60" fmla="*/ 42 w 66"/>
                  <a:gd name="T61" fmla="*/ 84 h 90"/>
                  <a:gd name="T62" fmla="*/ 36 w 66"/>
                  <a:gd name="T63" fmla="*/ 84 h 90"/>
                  <a:gd name="T64" fmla="*/ 30 w 66"/>
                  <a:gd name="T65" fmla="*/ 84 h 90"/>
                  <a:gd name="T66" fmla="*/ 30 w 66"/>
                  <a:gd name="T67" fmla="*/ 90 h 90"/>
                  <a:gd name="T68" fmla="*/ 24 w 66"/>
                  <a:gd name="T69" fmla="*/ 84 h 90"/>
                  <a:gd name="T70" fmla="*/ 12 w 66"/>
                  <a:gd name="T71" fmla="*/ 90 h 90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66" h="90">
                    <a:moveTo>
                      <a:pt x="12" y="90"/>
                    </a:moveTo>
                    <a:lnTo>
                      <a:pt x="0" y="84"/>
                    </a:lnTo>
                    <a:lnTo>
                      <a:pt x="0" y="78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12" y="66"/>
                    </a:lnTo>
                    <a:lnTo>
                      <a:pt x="18" y="66"/>
                    </a:lnTo>
                    <a:lnTo>
                      <a:pt x="24" y="66"/>
                    </a:lnTo>
                    <a:lnTo>
                      <a:pt x="30" y="66"/>
                    </a:lnTo>
                    <a:lnTo>
                      <a:pt x="36" y="60"/>
                    </a:lnTo>
                    <a:lnTo>
                      <a:pt x="36" y="42"/>
                    </a:lnTo>
                    <a:lnTo>
                      <a:pt x="36" y="36"/>
                    </a:lnTo>
                    <a:lnTo>
                      <a:pt x="36" y="24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36" y="18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60" y="6"/>
                    </a:lnTo>
                    <a:lnTo>
                      <a:pt x="66" y="0"/>
                    </a:lnTo>
                    <a:lnTo>
                      <a:pt x="66" y="6"/>
                    </a:lnTo>
                    <a:lnTo>
                      <a:pt x="66" y="18"/>
                    </a:lnTo>
                    <a:lnTo>
                      <a:pt x="66" y="30"/>
                    </a:lnTo>
                    <a:lnTo>
                      <a:pt x="66" y="42"/>
                    </a:lnTo>
                    <a:lnTo>
                      <a:pt x="66" y="48"/>
                    </a:lnTo>
                    <a:lnTo>
                      <a:pt x="60" y="54"/>
                    </a:lnTo>
                    <a:lnTo>
                      <a:pt x="60" y="60"/>
                    </a:lnTo>
                    <a:lnTo>
                      <a:pt x="48" y="72"/>
                    </a:lnTo>
                    <a:lnTo>
                      <a:pt x="48" y="78"/>
                    </a:lnTo>
                    <a:lnTo>
                      <a:pt x="48" y="84"/>
                    </a:lnTo>
                    <a:lnTo>
                      <a:pt x="42" y="84"/>
                    </a:lnTo>
                    <a:lnTo>
                      <a:pt x="36" y="84"/>
                    </a:lnTo>
                    <a:lnTo>
                      <a:pt x="30" y="84"/>
                    </a:lnTo>
                    <a:lnTo>
                      <a:pt x="30" y="90"/>
                    </a:lnTo>
                    <a:lnTo>
                      <a:pt x="24" y="84"/>
                    </a:lnTo>
                    <a:lnTo>
                      <a:pt x="1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46" name="Group 361"/>
            <p:cNvGrpSpPr>
              <a:grpSpLocks/>
            </p:cNvGrpSpPr>
            <p:nvPr/>
          </p:nvGrpSpPr>
          <p:grpSpPr bwMode="auto">
            <a:xfrm>
              <a:off x="1034939" y="3382838"/>
              <a:ext cx="207575" cy="196213"/>
              <a:chOff x="1374" y="1518"/>
              <a:chExt cx="102" cy="114"/>
            </a:xfrm>
            <a:solidFill>
              <a:srgbClr val="0070C0">
                <a:alpha val="27059"/>
              </a:srgbClr>
            </a:solidFill>
          </p:grpSpPr>
          <p:sp>
            <p:nvSpPr>
              <p:cNvPr id="1698" name="Freeform 362"/>
              <p:cNvSpPr>
                <a:spLocks/>
              </p:cNvSpPr>
              <p:nvPr/>
            </p:nvSpPr>
            <p:spPr bwMode="auto">
              <a:xfrm>
                <a:off x="1374" y="1518"/>
                <a:ext cx="102" cy="114"/>
              </a:xfrm>
              <a:custGeom>
                <a:avLst/>
                <a:gdLst>
                  <a:gd name="T0" fmla="*/ 6 w 102"/>
                  <a:gd name="T1" fmla="*/ 0 h 114"/>
                  <a:gd name="T2" fmla="*/ 18 w 102"/>
                  <a:gd name="T3" fmla="*/ 0 h 114"/>
                  <a:gd name="T4" fmla="*/ 36 w 102"/>
                  <a:gd name="T5" fmla="*/ 0 h 114"/>
                  <a:gd name="T6" fmla="*/ 42 w 102"/>
                  <a:gd name="T7" fmla="*/ 0 h 114"/>
                  <a:gd name="T8" fmla="*/ 48 w 102"/>
                  <a:gd name="T9" fmla="*/ 18 h 114"/>
                  <a:gd name="T10" fmla="*/ 66 w 102"/>
                  <a:gd name="T11" fmla="*/ 18 h 114"/>
                  <a:gd name="T12" fmla="*/ 72 w 102"/>
                  <a:gd name="T13" fmla="*/ 6 h 114"/>
                  <a:gd name="T14" fmla="*/ 78 w 102"/>
                  <a:gd name="T15" fmla="*/ 6 h 114"/>
                  <a:gd name="T16" fmla="*/ 78 w 102"/>
                  <a:gd name="T17" fmla="*/ 12 h 114"/>
                  <a:gd name="T18" fmla="*/ 84 w 102"/>
                  <a:gd name="T19" fmla="*/ 12 h 114"/>
                  <a:gd name="T20" fmla="*/ 84 w 102"/>
                  <a:gd name="T21" fmla="*/ 24 h 114"/>
                  <a:gd name="T22" fmla="*/ 90 w 102"/>
                  <a:gd name="T23" fmla="*/ 24 h 114"/>
                  <a:gd name="T24" fmla="*/ 90 w 102"/>
                  <a:gd name="T25" fmla="*/ 30 h 114"/>
                  <a:gd name="T26" fmla="*/ 90 w 102"/>
                  <a:gd name="T27" fmla="*/ 36 h 114"/>
                  <a:gd name="T28" fmla="*/ 90 w 102"/>
                  <a:gd name="T29" fmla="*/ 42 h 114"/>
                  <a:gd name="T30" fmla="*/ 96 w 102"/>
                  <a:gd name="T31" fmla="*/ 42 h 114"/>
                  <a:gd name="T32" fmla="*/ 96 w 102"/>
                  <a:gd name="T33" fmla="*/ 66 h 114"/>
                  <a:gd name="T34" fmla="*/ 84 w 102"/>
                  <a:gd name="T35" fmla="*/ 66 h 114"/>
                  <a:gd name="T36" fmla="*/ 84 w 102"/>
                  <a:gd name="T37" fmla="*/ 102 h 114"/>
                  <a:gd name="T38" fmla="*/ 90 w 102"/>
                  <a:gd name="T39" fmla="*/ 102 h 114"/>
                  <a:gd name="T40" fmla="*/ 96 w 102"/>
                  <a:gd name="T41" fmla="*/ 108 h 114"/>
                  <a:gd name="T42" fmla="*/ 102 w 102"/>
                  <a:gd name="T43" fmla="*/ 114 h 114"/>
                  <a:gd name="T44" fmla="*/ 78 w 102"/>
                  <a:gd name="T45" fmla="*/ 114 h 114"/>
                  <a:gd name="T46" fmla="*/ 72 w 102"/>
                  <a:gd name="T47" fmla="*/ 114 h 114"/>
                  <a:gd name="T48" fmla="*/ 66 w 102"/>
                  <a:gd name="T49" fmla="*/ 114 h 114"/>
                  <a:gd name="T50" fmla="*/ 60 w 102"/>
                  <a:gd name="T51" fmla="*/ 114 h 114"/>
                  <a:gd name="T52" fmla="*/ 24 w 102"/>
                  <a:gd name="T53" fmla="*/ 114 h 114"/>
                  <a:gd name="T54" fmla="*/ 24 w 102"/>
                  <a:gd name="T55" fmla="*/ 108 h 114"/>
                  <a:gd name="T56" fmla="*/ 18 w 102"/>
                  <a:gd name="T57" fmla="*/ 108 h 114"/>
                  <a:gd name="T58" fmla="*/ 12 w 102"/>
                  <a:gd name="T59" fmla="*/ 108 h 114"/>
                  <a:gd name="T60" fmla="*/ 0 w 102"/>
                  <a:gd name="T61" fmla="*/ 108 h 114"/>
                  <a:gd name="T62" fmla="*/ 12 w 102"/>
                  <a:gd name="T63" fmla="*/ 72 h 114"/>
                  <a:gd name="T64" fmla="*/ 12 w 102"/>
                  <a:gd name="T65" fmla="*/ 66 h 114"/>
                  <a:gd name="T66" fmla="*/ 18 w 102"/>
                  <a:gd name="T67" fmla="*/ 60 h 114"/>
                  <a:gd name="T68" fmla="*/ 24 w 102"/>
                  <a:gd name="T69" fmla="*/ 48 h 114"/>
                  <a:gd name="T70" fmla="*/ 24 w 102"/>
                  <a:gd name="T71" fmla="*/ 48 h 114"/>
                  <a:gd name="T72" fmla="*/ 24 w 102"/>
                  <a:gd name="T73" fmla="*/ 36 h 114"/>
                  <a:gd name="T74" fmla="*/ 18 w 102"/>
                  <a:gd name="T75" fmla="*/ 24 h 114"/>
                  <a:gd name="T76" fmla="*/ 12 w 102"/>
                  <a:gd name="T77" fmla="*/ 12 h 114"/>
                  <a:gd name="T78" fmla="*/ 6 w 102"/>
                  <a:gd name="T79" fmla="*/ 6 h 114"/>
                  <a:gd name="T80" fmla="*/ 6 w 102"/>
                  <a:gd name="T81" fmla="*/ 0 h 114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02" h="114">
                    <a:moveTo>
                      <a:pt x="6" y="0"/>
                    </a:moveTo>
                    <a:lnTo>
                      <a:pt x="18" y="0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8" y="18"/>
                    </a:lnTo>
                    <a:lnTo>
                      <a:pt x="66" y="18"/>
                    </a:lnTo>
                    <a:lnTo>
                      <a:pt x="72" y="6"/>
                    </a:lnTo>
                    <a:lnTo>
                      <a:pt x="78" y="6"/>
                    </a:lnTo>
                    <a:lnTo>
                      <a:pt x="78" y="12"/>
                    </a:lnTo>
                    <a:lnTo>
                      <a:pt x="84" y="12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0" y="30"/>
                    </a:lnTo>
                    <a:lnTo>
                      <a:pt x="90" y="36"/>
                    </a:lnTo>
                    <a:lnTo>
                      <a:pt x="90" y="42"/>
                    </a:lnTo>
                    <a:lnTo>
                      <a:pt x="96" y="42"/>
                    </a:lnTo>
                    <a:lnTo>
                      <a:pt x="96" y="66"/>
                    </a:lnTo>
                    <a:lnTo>
                      <a:pt x="84" y="66"/>
                    </a:lnTo>
                    <a:lnTo>
                      <a:pt x="84" y="102"/>
                    </a:lnTo>
                    <a:lnTo>
                      <a:pt x="90" y="102"/>
                    </a:lnTo>
                    <a:lnTo>
                      <a:pt x="96" y="108"/>
                    </a:lnTo>
                    <a:lnTo>
                      <a:pt x="102" y="114"/>
                    </a:lnTo>
                    <a:lnTo>
                      <a:pt x="78" y="114"/>
                    </a:lnTo>
                    <a:lnTo>
                      <a:pt x="72" y="114"/>
                    </a:lnTo>
                    <a:lnTo>
                      <a:pt x="66" y="114"/>
                    </a:lnTo>
                    <a:lnTo>
                      <a:pt x="60" y="114"/>
                    </a:lnTo>
                    <a:lnTo>
                      <a:pt x="24" y="114"/>
                    </a:lnTo>
                    <a:lnTo>
                      <a:pt x="24" y="108"/>
                    </a:lnTo>
                    <a:lnTo>
                      <a:pt x="18" y="108"/>
                    </a:lnTo>
                    <a:lnTo>
                      <a:pt x="12" y="108"/>
                    </a:lnTo>
                    <a:lnTo>
                      <a:pt x="0" y="108"/>
                    </a:lnTo>
                    <a:lnTo>
                      <a:pt x="12" y="72"/>
                    </a:lnTo>
                    <a:lnTo>
                      <a:pt x="12" y="66"/>
                    </a:lnTo>
                    <a:lnTo>
                      <a:pt x="18" y="60"/>
                    </a:lnTo>
                    <a:lnTo>
                      <a:pt x="24" y="48"/>
                    </a:lnTo>
                    <a:lnTo>
                      <a:pt x="24" y="36"/>
                    </a:lnTo>
                    <a:lnTo>
                      <a:pt x="18" y="24"/>
                    </a:lnTo>
                    <a:lnTo>
                      <a:pt x="12" y="12"/>
                    </a:lnTo>
                    <a:lnTo>
                      <a:pt x="6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99" name="Freeform 363"/>
              <p:cNvSpPr>
                <a:spLocks/>
              </p:cNvSpPr>
              <p:nvPr/>
            </p:nvSpPr>
            <p:spPr bwMode="auto">
              <a:xfrm>
                <a:off x="1374" y="1518"/>
                <a:ext cx="102" cy="114"/>
              </a:xfrm>
              <a:custGeom>
                <a:avLst/>
                <a:gdLst>
                  <a:gd name="T0" fmla="*/ 6 w 102"/>
                  <a:gd name="T1" fmla="*/ 0 h 114"/>
                  <a:gd name="T2" fmla="*/ 18 w 102"/>
                  <a:gd name="T3" fmla="*/ 0 h 114"/>
                  <a:gd name="T4" fmla="*/ 36 w 102"/>
                  <a:gd name="T5" fmla="*/ 0 h 114"/>
                  <a:gd name="T6" fmla="*/ 42 w 102"/>
                  <a:gd name="T7" fmla="*/ 0 h 114"/>
                  <a:gd name="T8" fmla="*/ 48 w 102"/>
                  <a:gd name="T9" fmla="*/ 18 h 114"/>
                  <a:gd name="T10" fmla="*/ 66 w 102"/>
                  <a:gd name="T11" fmla="*/ 18 h 114"/>
                  <a:gd name="T12" fmla="*/ 72 w 102"/>
                  <a:gd name="T13" fmla="*/ 6 h 114"/>
                  <a:gd name="T14" fmla="*/ 78 w 102"/>
                  <a:gd name="T15" fmla="*/ 6 h 114"/>
                  <a:gd name="T16" fmla="*/ 78 w 102"/>
                  <a:gd name="T17" fmla="*/ 12 h 114"/>
                  <a:gd name="T18" fmla="*/ 84 w 102"/>
                  <a:gd name="T19" fmla="*/ 12 h 114"/>
                  <a:gd name="T20" fmla="*/ 84 w 102"/>
                  <a:gd name="T21" fmla="*/ 24 h 114"/>
                  <a:gd name="T22" fmla="*/ 90 w 102"/>
                  <a:gd name="T23" fmla="*/ 24 h 114"/>
                  <a:gd name="T24" fmla="*/ 90 w 102"/>
                  <a:gd name="T25" fmla="*/ 30 h 114"/>
                  <a:gd name="T26" fmla="*/ 90 w 102"/>
                  <a:gd name="T27" fmla="*/ 36 h 114"/>
                  <a:gd name="T28" fmla="*/ 90 w 102"/>
                  <a:gd name="T29" fmla="*/ 42 h 114"/>
                  <a:gd name="T30" fmla="*/ 96 w 102"/>
                  <a:gd name="T31" fmla="*/ 42 h 114"/>
                  <a:gd name="T32" fmla="*/ 96 w 102"/>
                  <a:gd name="T33" fmla="*/ 66 h 114"/>
                  <a:gd name="T34" fmla="*/ 84 w 102"/>
                  <a:gd name="T35" fmla="*/ 66 h 114"/>
                  <a:gd name="T36" fmla="*/ 84 w 102"/>
                  <a:gd name="T37" fmla="*/ 102 h 114"/>
                  <a:gd name="T38" fmla="*/ 90 w 102"/>
                  <a:gd name="T39" fmla="*/ 102 h 114"/>
                  <a:gd name="T40" fmla="*/ 96 w 102"/>
                  <a:gd name="T41" fmla="*/ 108 h 114"/>
                  <a:gd name="T42" fmla="*/ 102 w 102"/>
                  <a:gd name="T43" fmla="*/ 114 h 114"/>
                  <a:gd name="T44" fmla="*/ 78 w 102"/>
                  <a:gd name="T45" fmla="*/ 114 h 114"/>
                  <a:gd name="T46" fmla="*/ 72 w 102"/>
                  <a:gd name="T47" fmla="*/ 114 h 114"/>
                  <a:gd name="T48" fmla="*/ 66 w 102"/>
                  <a:gd name="T49" fmla="*/ 114 h 114"/>
                  <a:gd name="T50" fmla="*/ 60 w 102"/>
                  <a:gd name="T51" fmla="*/ 114 h 114"/>
                  <a:gd name="T52" fmla="*/ 24 w 102"/>
                  <a:gd name="T53" fmla="*/ 114 h 114"/>
                  <a:gd name="T54" fmla="*/ 24 w 102"/>
                  <a:gd name="T55" fmla="*/ 108 h 114"/>
                  <a:gd name="T56" fmla="*/ 18 w 102"/>
                  <a:gd name="T57" fmla="*/ 108 h 114"/>
                  <a:gd name="T58" fmla="*/ 12 w 102"/>
                  <a:gd name="T59" fmla="*/ 108 h 114"/>
                  <a:gd name="T60" fmla="*/ 0 w 102"/>
                  <a:gd name="T61" fmla="*/ 108 h 114"/>
                  <a:gd name="T62" fmla="*/ 12 w 102"/>
                  <a:gd name="T63" fmla="*/ 72 h 114"/>
                  <a:gd name="T64" fmla="*/ 12 w 102"/>
                  <a:gd name="T65" fmla="*/ 66 h 114"/>
                  <a:gd name="T66" fmla="*/ 18 w 102"/>
                  <a:gd name="T67" fmla="*/ 60 h 114"/>
                  <a:gd name="T68" fmla="*/ 24 w 102"/>
                  <a:gd name="T69" fmla="*/ 48 h 114"/>
                  <a:gd name="T70" fmla="*/ 24 w 102"/>
                  <a:gd name="T71" fmla="*/ 36 h 114"/>
                  <a:gd name="T72" fmla="*/ 18 w 102"/>
                  <a:gd name="T73" fmla="*/ 24 h 114"/>
                  <a:gd name="T74" fmla="*/ 12 w 102"/>
                  <a:gd name="T75" fmla="*/ 12 h 114"/>
                  <a:gd name="T76" fmla="*/ 6 w 102"/>
                  <a:gd name="T77" fmla="*/ 6 h 114"/>
                  <a:gd name="T78" fmla="*/ 6 w 102"/>
                  <a:gd name="T79" fmla="*/ 0 h 11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02" h="114">
                    <a:moveTo>
                      <a:pt x="6" y="0"/>
                    </a:moveTo>
                    <a:lnTo>
                      <a:pt x="18" y="0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8" y="18"/>
                    </a:lnTo>
                    <a:lnTo>
                      <a:pt x="66" y="18"/>
                    </a:lnTo>
                    <a:lnTo>
                      <a:pt x="72" y="6"/>
                    </a:lnTo>
                    <a:lnTo>
                      <a:pt x="78" y="6"/>
                    </a:lnTo>
                    <a:lnTo>
                      <a:pt x="78" y="12"/>
                    </a:lnTo>
                    <a:lnTo>
                      <a:pt x="84" y="12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0" y="30"/>
                    </a:lnTo>
                    <a:lnTo>
                      <a:pt x="90" y="36"/>
                    </a:lnTo>
                    <a:lnTo>
                      <a:pt x="90" y="42"/>
                    </a:lnTo>
                    <a:lnTo>
                      <a:pt x="96" y="42"/>
                    </a:lnTo>
                    <a:lnTo>
                      <a:pt x="96" y="66"/>
                    </a:lnTo>
                    <a:lnTo>
                      <a:pt x="84" y="66"/>
                    </a:lnTo>
                    <a:lnTo>
                      <a:pt x="84" y="102"/>
                    </a:lnTo>
                    <a:lnTo>
                      <a:pt x="90" y="102"/>
                    </a:lnTo>
                    <a:lnTo>
                      <a:pt x="96" y="108"/>
                    </a:lnTo>
                    <a:lnTo>
                      <a:pt x="102" y="114"/>
                    </a:lnTo>
                    <a:lnTo>
                      <a:pt x="78" y="114"/>
                    </a:lnTo>
                    <a:lnTo>
                      <a:pt x="72" y="114"/>
                    </a:lnTo>
                    <a:lnTo>
                      <a:pt x="66" y="114"/>
                    </a:lnTo>
                    <a:lnTo>
                      <a:pt x="60" y="114"/>
                    </a:lnTo>
                    <a:lnTo>
                      <a:pt x="24" y="114"/>
                    </a:lnTo>
                    <a:lnTo>
                      <a:pt x="24" y="108"/>
                    </a:lnTo>
                    <a:lnTo>
                      <a:pt x="18" y="108"/>
                    </a:lnTo>
                    <a:lnTo>
                      <a:pt x="12" y="108"/>
                    </a:lnTo>
                    <a:lnTo>
                      <a:pt x="0" y="108"/>
                    </a:lnTo>
                    <a:lnTo>
                      <a:pt x="12" y="72"/>
                    </a:lnTo>
                    <a:lnTo>
                      <a:pt x="12" y="66"/>
                    </a:lnTo>
                    <a:lnTo>
                      <a:pt x="18" y="60"/>
                    </a:lnTo>
                    <a:lnTo>
                      <a:pt x="24" y="48"/>
                    </a:lnTo>
                    <a:lnTo>
                      <a:pt x="24" y="36"/>
                    </a:lnTo>
                    <a:lnTo>
                      <a:pt x="18" y="24"/>
                    </a:lnTo>
                    <a:lnTo>
                      <a:pt x="12" y="12"/>
                    </a:lnTo>
                    <a:lnTo>
                      <a:pt x="6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47" name="Group 364"/>
            <p:cNvGrpSpPr>
              <a:grpSpLocks/>
            </p:cNvGrpSpPr>
            <p:nvPr/>
          </p:nvGrpSpPr>
          <p:grpSpPr bwMode="auto">
            <a:xfrm>
              <a:off x="1046471" y="3176511"/>
              <a:ext cx="392085" cy="331741"/>
              <a:chOff x="1380" y="1398"/>
              <a:chExt cx="192" cy="192"/>
            </a:xfrm>
            <a:solidFill>
              <a:srgbClr val="0070C0">
                <a:alpha val="27059"/>
              </a:srgbClr>
            </a:solidFill>
          </p:grpSpPr>
          <p:sp>
            <p:nvSpPr>
              <p:cNvPr id="1696" name="Freeform 365"/>
              <p:cNvSpPr>
                <a:spLocks/>
              </p:cNvSpPr>
              <p:nvPr/>
            </p:nvSpPr>
            <p:spPr bwMode="auto">
              <a:xfrm>
                <a:off x="1380" y="1398"/>
                <a:ext cx="192" cy="192"/>
              </a:xfrm>
              <a:custGeom>
                <a:avLst/>
                <a:gdLst>
                  <a:gd name="T0" fmla="*/ 18 w 192"/>
                  <a:gd name="T1" fmla="*/ 102 h 192"/>
                  <a:gd name="T2" fmla="*/ 30 w 192"/>
                  <a:gd name="T3" fmla="*/ 96 h 192"/>
                  <a:gd name="T4" fmla="*/ 36 w 192"/>
                  <a:gd name="T5" fmla="*/ 96 h 192"/>
                  <a:gd name="T6" fmla="*/ 36 w 192"/>
                  <a:gd name="T7" fmla="*/ 90 h 192"/>
                  <a:gd name="T8" fmla="*/ 48 w 192"/>
                  <a:gd name="T9" fmla="*/ 66 h 192"/>
                  <a:gd name="T10" fmla="*/ 54 w 192"/>
                  <a:gd name="T11" fmla="*/ 54 h 192"/>
                  <a:gd name="T12" fmla="*/ 54 w 192"/>
                  <a:gd name="T13" fmla="*/ 42 h 192"/>
                  <a:gd name="T14" fmla="*/ 54 w 192"/>
                  <a:gd name="T15" fmla="*/ 18 h 192"/>
                  <a:gd name="T16" fmla="*/ 54 w 192"/>
                  <a:gd name="T17" fmla="*/ 12 h 192"/>
                  <a:gd name="T18" fmla="*/ 60 w 192"/>
                  <a:gd name="T19" fmla="*/ 6 h 192"/>
                  <a:gd name="T20" fmla="*/ 66 w 192"/>
                  <a:gd name="T21" fmla="*/ 0 h 192"/>
                  <a:gd name="T22" fmla="*/ 78 w 192"/>
                  <a:gd name="T23" fmla="*/ 12 h 192"/>
                  <a:gd name="T24" fmla="*/ 102 w 192"/>
                  <a:gd name="T25" fmla="*/ 6 h 192"/>
                  <a:gd name="T26" fmla="*/ 138 w 192"/>
                  <a:gd name="T27" fmla="*/ 6 h 192"/>
                  <a:gd name="T28" fmla="*/ 156 w 192"/>
                  <a:gd name="T29" fmla="*/ 12 h 192"/>
                  <a:gd name="T30" fmla="*/ 186 w 192"/>
                  <a:gd name="T31" fmla="*/ 18 h 192"/>
                  <a:gd name="T32" fmla="*/ 180 w 192"/>
                  <a:gd name="T33" fmla="*/ 24 h 192"/>
                  <a:gd name="T34" fmla="*/ 180 w 192"/>
                  <a:gd name="T35" fmla="*/ 36 h 192"/>
                  <a:gd name="T36" fmla="*/ 174 w 192"/>
                  <a:gd name="T37" fmla="*/ 78 h 192"/>
                  <a:gd name="T38" fmla="*/ 186 w 192"/>
                  <a:gd name="T39" fmla="*/ 144 h 192"/>
                  <a:gd name="T40" fmla="*/ 180 w 192"/>
                  <a:gd name="T41" fmla="*/ 144 h 192"/>
                  <a:gd name="T42" fmla="*/ 168 w 192"/>
                  <a:gd name="T43" fmla="*/ 150 h 192"/>
                  <a:gd name="T44" fmla="*/ 174 w 192"/>
                  <a:gd name="T45" fmla="*/ 168 h 192"/>
                  <a:gd name="T46" fmla="*/ 192 w 192"/>
                  <a:gd name="T47" fmla="*/ 180 h 192"/>
                  <a:gd name="T48" fmla="*/ 186 w 192"/>
                  <a:gd name="T49" fmla="*/ 192 h 192"/>
                  <a:gd name="T50" fmla="*/ 168 w 192"/>
                  <a:gd name="T51" fmla="*/ 180 h 192"/>
                  <a:gd name="T52" fmla="*/ 156 w 192"/>
                  <a:gd name="T53" fmla="*/ 174 h 192"/>
                  <a:gd name="T54" fmla="*/ 156 w 192"/>
                  <a:gd name="T55" fmla="*/ 168 h 192"/>
                  <a:gd name="T56" fmla="*/ 150 w 192"/>
                  <a:gd name="T57" fmla="*/ 174 h 192"/>
                  <a:gd name="T58" fmla="*/ 120 w 192"/>
                  <a:gd name="T59" fmla="*/ 168 h 192"/>
                  <a:gd name="T60" fmla="*/ 114 w 192"/>
                  <a:gd name="T61" fmla="*/ 162 h 192"/>
                  <a:gd name="T62" fmla="*/ 102 w 192"/>
                  <a:gd name="T63" fmla="*/ 162 h 192"/>
                  <a:gd name="T64" fmla="*/ 84 w 192"/>
                  <a:gd name="T65" fmla="*/ 162 h 192"/>
                  <a:gd name="T66" fmla="*/ 84 w 192"/>
                  <a:gd name="T67" fmla="*/ 150 h 192"/>
                  <a:gd name="T68" fmla="*/ 78 w 192"/>
                  <a:gd name="T69" fmla="*/ 144 h 192"/>
                  <a:gd name="T70" fmla="*/ 72 w 192"/>
                  <a:gd name="T71" fmla="*/ 132 h 192"/>
                  <a:gd name="T72" fmla="*/ 66 w 192"/>
                  <a:gd name="T73" fmla="*/ 126 h 192"/>
                  <a:gd name="T74" fmla="*/ 42 w 192"/>
                  <a:gd name="T75" fmla="*/ 138 h 192"/>
                  <a:gd name="T76" fmla="*/ 30 w 192"/>
                  <a:gd name="T77" fmla="*/ 120 h 192"/>
                  <a:gd name="T78" fmla="*/ 0 w 192"/>
                  <a:gd name="T79" fmla="*/ 120 h 19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92" h="192">
                    <a:moveTo>
                      <a:pt x="0" y="114"/>
                    </a:moveTo>
                    <a:lnTo>
                      <a:pt x="18" y="102"/>
                    </a:lnTo>
                    <a:lnTo>
                      <a:pt x="18" y="96"/>
                    </a:lnTo>
                    <a:lnTo>
                      <a:pt x="30" y="96"/>
                    </a:lnTo>
                    <a:lnTo>
                      <a:pt x="36" y="96"/>
                    </a:lnTo>
                    <a:lnTo>
                      <a:pt x="36" y="90"/>
                    </a:lnTo>
                    <a:lnTo>
                      <a:pt x="42" y="78"/>
                    </a:lnTo>
                    <a:lnTo>
                      <a:pt x="48" y="66"/>
                    </a:lnTo>
                    <a:lnTo>
                      <a:pt x="48" y="60"/>
                    </a:lnTo>
                    <a:lnTo>
                      <a:pt x="54" y="54"/>
                    </a:lnTo>
                    <a:lnTo>
                      <a:pt x="54" y="48"/>
                    </a:lnTo>
                    <a:lnTo>
                      <a:pt x="54" y="42"/>
                    </a:lnTo>
                    <a:lnTo>
                      <a:pt x="54" y="24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60" y="6"/>
                    </a:lnTo>
                    <a:lnTo>
                      <a:pt x="66" y="0"/>
                    </a:lnTo>
                    <a:lnTo>
                      <a:pt x="72" y="12"/>
                    </a:lnTo>
                    <a:lnTo>
                      <a:pt x="78" y="12"/>
                    </a:lnTo>
                    <a:lnTo>
                      <a:pt x="90" y="12"/>
                    </a:lnTo>
                    <a:lnTo>
                      <a:pt x="102" y="6"/>
                    </a:lnTo>
                    <a:lnTo>
                      <a:pt x="132" y="0"/>
                    </a:lnTo>
                    <a:lnTo>
                      <a:pt x="138" y="6"/>
                    </a:lnTo>
                    <a:lnTo>
                      <a:pt x="150" y="12"/>
                    </a:lnTo>
                    <a:lnTo>
                      <a:pt x="156" y="12"/>
                    </a:lnTo>
                    <a:lnTo>
                      <a:pt x="162" y="18"/>
                    </a:lnTo>
                    <a:lnTo>
                      <a:pt x="186" y="18"/>
                    </a:lnTo>
                    <a:lnTo>
                      <a:pt x="180" y="24"/>
                    </a:lnTo>
                    <a:lnTo>
                      <a:pt x="180" y="30"/>
                    </a:lnTo>
                    <a:lnTo>
                      <a:pt x="180" y="36"/>
                    </a:lnTo>
                    <a:lnTo>
                      <a:pt x="174" y="54"/>
                    </a:lnTo>
                    <a:lnTo>
                      <a:pt x="174" y="78"/>
                    </a:lnTo>
                    <a:lnTo>
                      <a:pt x="186" y="144"/>
                    </a:lnTo>
                    <a:lnTo>
                      <a:pt x="180" y="144"/>
                    </a:lnTo>
                    <a:lnTo>
                      <a:pt x="174" y="150"/>
                    </a:lnTo>
                    <a:lnTo>
                      <a:pt x="168" y="150"/>
                    </a:lnTo>
                    <a:lnTo>
                      <a:pt x="168" y="156"/>
                    </a:lnTo>
                    <a:lnTo>
                      <a:pt x="174" y="168"/>
                    </a:lnTo>
                    <a:lnTo>
                      <a:pt x="180" y="180"/>
                    </a:lnTo>
                    <a:lnTo>
                      <a:pt x="192" y="180"/>
                    </a:lnTo>
                    <a:lnTo>
                      <a:pt x="192" y="192"/>
                    </a:lnTo>
                    <a:lnTo>
                      <a:pt x="186" y="192"/>
                    </a:lnTo>
                    <a:lnTo>
                      <a:pt x="174" y="192"/>
                    </a:lnTo>
                    <a:lnTo>
                      <a:pt x="168" y="180"/>
                    </a:lnTo>
                    <a:lnTo>
                      <a:pt x="162" y="174"/>
                    </a:lnTo>
                    <a:lnTo>
                      <a:pt x="156" y="174"/>
                    </a:lnTo>
                    <a:lnTo>
                      <a:pt x="156" y="168"/>
                    </a:lnTo>
                    <a:lnTo>
                      <a:pt x="150" y="168"/>
                    </a:lnTo>
                    <a:lnTo>
                      <a:pt x="150" y="174"/>
                    </a:lnTo>
                    <a:lnTo>
                      <a:pt x="120" y="168"/>
                    </a:lnTo>
                    <a:lnTo>
                      <a:pt x="120" y="162"/>
                    </a:lnTo>
                    <a:lnTo>
                      <a:pt x="114" y="162"/>
                    </a:lnTo>
                    <a:lnTo>
                      <a:pt x="108" y="162"/>
                    </a:lnTo>
                    <a:lnTo>
                      <a:pt x="102" y="162"/>
                    </a:lnTo>
                    <a:lnTo>
                      <a:pt x="90" y="162"/>
                    </a:lnTo>
                    <a:lnTo>
                      <a:pt x="84" y="162"/>
                    </a:lnTo>
                    <a:lnTo>
                      <a:pt x="84" y="156"/>
                    </a:lnTo>
                    <a:lnTo>
                      <a:pt x="84" y="150"/>
                    </a:lnTo>
                    <a:lnTo>
                      <a:pt x="84" y="144"/>
                    </a:lnTo>
                    <a:lnTo>
                      <a:pt x="78" y="144"/>
                    </a:lnTo>
                    <a:lnTo>
                      <a:pt x="78" y="132"/>
                    </a:lnTo>
                    <a:lnTo>
                      <a:pt x="72" y="132"/>
                    </a:lnTo>
                    <a:lnTo>
                      <a:pt x="72" y="126"/>
                    </a:lnTo>
                    <a:lnTo>
                      <a:pt x="66" y="126"/>
                    </a:lnTo>
                    <a:lnTo>
                      <a:pt x="60" y="138"/>
                    </a:lnTo>
                    <a:lnTo>
                      <a:pt x="42" y="138"/>
                    </a:lnTo>
                    <a:lnTo>
                      <a:pt x="36" y="120"/>
                    </a:lnTo>
                    <a:lnTo>
                      <a:pt x="30" y="120"/>
                    </a:lnTo>
                    <a:lnTo>
                      <a:pt x="12" y="120"/>
                    </a:lnTo>
                    <a:lnTo>
                      <a:pt x="0" y="120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97" name="Freeform 366"/>
              <p:cNvSpPr>
                <a:spLocks/>
              </p:cNvSpPr>
              <p:nvPr/>
            </p:nvSpPr>
            <p:spPr bwMode="auto">
              <a:xfrm>
                <a:off x="1380" y="1398"/>
                <a:ext cx="192" cy="192"/>
              </a:xfrm>
              <a:custGeom>
                <a:avLst/>
                <a:gdLst>
                  <a:gd name="T0" fmla="*/ 18 w 192"/>
                  <a:gd name="T1" fmla="*/ 102 h 192"/>
                  <a:gd name="T2" fmla="*/ 30 w 192"/>
                  <a:gd name="T3" fmla="*/ 96 h 192"/>
                  <a:gd name="T4" fmla="*/ 36 w 192"/>
                  <a:gd name="T5" fmla="*/ 90 h 192"/>
                  <a:gd name="T6" fmla="*/ 48 w 192"/>
                  <a:gd name="T7" fmla="*/ 66 h 192"/>
                  <a:gd name="T8" fmla="*/ 54 w 192"/>
                  <a:gd name="T9" fmla="*/ 54 h 192"/>
                  <a:gd name="T10" fmla="*/ 54 w 192"/>
                  <a:gd name="T11" fmla="*/ 42 h 192"/>
                  <a:gd name="T12" fmla="*/ 54 w 192"/>
                  <a:gd name="T13" fmla="*/ 18 h 192"/>
                  <a:gd name="T14" fmla="*/ 54 w 192"/>
                  <a:gd name="T15" fmla="*/ 6 h 192"/>
                  <a:gd name="T16" fmla="*/ 66 w 192"/>
                  <a:gd name="T17" fmla="*/ 0 h 192"/>
                  <a:gd name="T18" fmla="*/ 78 w 192"/>
                  <a:gd name="T19" fmla="*/ 12 h 192"/>
                  <a:gd name="T20" fmla="*/ 102 w 192"/>
                  <a:gd name="T21" fmla="*/ 6 h 192"/>
                  <a:gd name="T22" fmla="*/ 138 w 192"/>
                  <a:gd name="T23" fmla="*/ 6 h 192"/>
                  <a:gd name="T24" fmla="*/ 156 w 192"/>
                  <a:gd name="T25" fmla="*/ 12 h 192"/>
                  <a:gd name="T26" fmla="*/ 186 w 192"/>
                  <a:gd name="T27" fmla="*/ 18 h 192"/>
                  <a:gd name="T28" fmla="*/ 180 w 192"/>
                  <a:gd name="T29" fmla="*/ 30 h 192"/>
                  <a:gd name="T30" fmla="*/ 174 w 192"/>
                  <a:gd name="T31" fmla="*/ 54 h 192"/>
                  <a:gd name="T32" fmla="*/ 186 w 192"/>
                  <a:gd name="T33" fmla="*/ 144 h 192"/>
                  <a:gd name="T34" fmla="*/ 174 w 192"/>
                  <a:gd name="T35" fmla="*/ 150 h 192"/>
                  <a:gd name="T36" fmla="*/ 168 w 192"/>
                  <a:gd name="T37" fmla="*/ 156 h 192"/>
                  <a:gd name="T38" fmla="*/ 180 w 192"/>
                  <a:gd name="T39" fmla="*/ 180 h 192"/>
                  <a:gd name="T40" fmla="*/ 192 w 192"/>
                  <a:gd name="T41" fmla="*/ 192 h 192"/>
                  <a:gd name="T42" fmla="*/ 174 w 192"/>
                  <a:gd name="T43" fmla="*/ 192 h 192"/>
                  <a:gd name="T44" fmla="*/ 162 w 192"/>
                  <a:gd name="T45" fmla="*/ 174 h 192"/>
                  <a:gd name="T46" fmla="*/ 156 w 192"/>
                  <a:gd name="T47" fmla="*/ 168 h 192"/>
                  <a:gd name="T48" fmla="*/ 150 w 192"/>
                  <a:gd name="T49" fmla="*/ 174 h 192"/>
                  <a:gd name="T50" fmla="*/ 120 w 192"/>
                  <a:gd name="T51" fmla="*/ 162 h 192"/>
                  <a:gd name="T52" fmla="*/ 108 w 192"/>
                  <a:gd name="T53" fmla="*/ 162 h 192"/>
                  <a:gd name="T54" fmla="*/ 90 w 192"/>
                  <a:gd name="T55" fmla="*/ 162 h 192"/>
                  <a:gd name="T56" fmla="*/ 84 w 192"/>
                  <a:gd name="T57" fmla="*/ 156 h 192"/>
                  <a:gd name="T58" fmla="*/ 84 w 192"/>
                  <a:gd name="T59" fmla="*/ 144 h 192"/>
                  <a:gd name="T60" fmla="*/ 78 w 192"/>
                  <a:gd name="T61" fmla="*/ 132 h 192"/>
                  <a:gd name="T62" fmla="*/ 72 w 192"/>
                  <a:gd name="T63" fmla="*/ 126 h 192"/>
                  <a:gd name="T64" fmla="*/ 60 w 192"/>
                  <a:gd name="T65" fmla="*/ 138 h 192"/>
                  <a:gd name="T66" fmla="*/ 36 w 192"/>
                  <a:gd name="T67" fmla="*/ 120 h 192"/>
                  <a:gd name="T68" fmla="*/ 12 w 192"/>
                  <a:gd name="T69" fmla="*/ 120 h 192"/>
                  <a:gd name="T70" fmla="*/ 0 w 192"/>
                  <a:gd name="T71" fmla="*/ 114 h 19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92" h="192">
                    <a:moveTo>
                      <a:pt x="0" y="114"/>
                    </a:moveTo>
                    <a:lnTo>
                      <a:pt x="18" y="102"/>
                    </a:lnTo>
                    <a:lnTo>
                      <a:pt x="18" y="96"/>
                    </a:lnTo>
                    <a:lnTo>
                      <a:pt x="30" y="96"/>
                    </a:lnTo>
                    <a:lnTo>
                      <a:pt x="36" y="96"/>
                    </a:lnTo>
                    <a:lnTo>
                      <a:pt x="36" y="90"/>
                    </a:lnTo>
                    <a:lnTo>
                      <a:pt x="42" y="78"/>
                    </a:lnTo>
                    <a:lnTo>
                      <a:pt x="48" y="66"/>
                    </a:lnTo>
                    <a:lnTo>
                      <a:pt x="48" y="60"/>
                    </a:lnTo>
                    <a:lnTo>
                      <a:pt x="54" y="54"/>
                    </a:lnTo>
                    <a:lnTo>
                      <a:pt x="54" y="48"/>
                    </a:lnTo>
                    <a:lnTo>
                      <a:pt x="54" y="42"/>
                    </a:lnTo>
                    <a:lnTo>
                      <a:pt x="54" y="24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60" y="6"/>
                    </a:lnTo>
                    <a:lnTo>
                      <a:pt x="66" y="0"/>
                    </a:lnTo>
                    <a:lnTo>
                      <a:pt x="72" y="12"/>
                    </a:lnTo>
                    <a:lnTo>
                      <a:pt x="78" y="12"/>
                    </a:lnTo>
                    <a:lnTo>
                      <a:pt x="90" y="12"/>
                    </a:lnTo>
                    <a:lnTo>
                      <a:pt x="102" y="6"/>
                    </a:lnTo>
                    <a:lnTo>
                      <a:pt x="132" y="0"/>
                    </a:lnTo>
                    <a:lnTo>
                      <a:pt x="138" y="6"/>
                    </a:lnTo>
                    <a:lnTo>
                      <a:pt x="150" y="12"/>
                    </a:lnTo>
                    <a:lnTo>
                      <a:pt x="156" y="12"/>
                    </a:lnTo>
                    <a:lnTo>
                      <a:pt x="162" y="18"/>
                    </a:lnTo>
                    <a:lnTo>
                      <a:pt x="186" y="18"/>
                    </a:lnTo>
                    <a:lnTo>
                      <a:pt x="180" y="24"/>
                    </a:lnTo>
                    <a:lnTo>
                      <a:pt x="180" y="30"/>
                    </a:lnTo>
                    <a:lnTo>
                      <a:pt x="180" y="36"/>
                    </a:lnTo>
                    <a:lnTo>
                      <a:pt x="174" y="54"/>
                    </a:lnTo>
                    <a:lnTo>
                      <a:pt x="174" y="78"/>
                    </a:lnTo>
                    <a:lnTo>
                      <a:pt x="186" y="144"/>
                    </a:lnTo>
                    <a:lnTo>
                      <a:pt x="180" y="144"/>
                    </a:lnTo>
                    <a:lnTo>
                      <a:pt x="174" y="150"/>
                    </a:lnTo>
                    <a:lnTo>
                      <a:pt x="168" y="150"/>
                    </a:lnTo>
                    <a:lnTo>
                      <a:pt x="168" y="156"/>
                    </a:lnTo>
                    <a:lnTo>
                      <a:pt x="174" y="168"/>
                    </a:lnTo>
                    <a:lnTo>
                      <a:pt x="180" y="180"/>
                    </a:lnTo>
                    <a:lnTo>
                      <a:pt x="192" y="180"/>
                    </a:lnTo>
                    <a:lnTo>
                      <a:pt x="192" y="192"/>
                    </a:lnTo>
                    <a:lnTo>
                      <a:pt x="186" y="192"/>
                    </a:lnTo>
                    <a:lnTo>
                      <a:pt x="174" y="192"/>
                    </a:lnTo>
                    <a:lnTo>
                      <a:pt x="168" y="180"/>
                    </a:lnTo>
                    <a:lnTo>
                      <a:pt x="162" y="174"/>
                    </a:lnTo>
                    <a:lnTo>
                      <a:pt x="156" y="174"/>
                    </a:lnTo>
                    <a:lnTo>
                      <a:pt x="156" y="168"/>
                    </a:lnTo>
                    <a:lnTo>
                      <a:pt x="150" y="168"/>
                    </a:lnTo>
                    <a:lnTo>
                      <a:pt x="150" y="174"/>
                    </a:lnTo>
                    <a:lnTo>
                      <a:pt x="120" y="168"/>
                    </a:lnTo>
                    <a:lnTo>
                      <a:pt x="120" y="162"/>
                    </a:lnTo>
                    <a:lnTo>
                      <a:pt x="114" y="162"/>
                    </a:lnTo>
                    <a:lnTo>
                      <a:pt x="108" y="162"/>
                    </a:lnTo>
                    <a:lnTo>
                      <a:pt x="102" y="162"/>
                    </a:lnTo>
                    <a:lnTo>
                      <a:pt x="90" y="162"/>
                    </a:lnTo>
                    <a:lnTo>
                      <a:pt x="84" y="162"/>
                    </a:lnTo>
                    <a:lnTo>
                      <a:pt x="84" y="156"/>
                    </a:lnTo>
                    <a:lnTo>
                      <a:pt x="84" y="150"/>
                    </a:lnTo>
                    <a:lnTo>
                      <a:pt x="84" y="144"/>
                    </a:lnTo>
                    <a:lnTo>
                      <a:pt x="78" y="144"/>
                    </a:lnTo>
                    <a:lnTo>
                      <a:pt x="78" y="132"/>
                    </a:lnTo>
                    <a:lnTo>
                      <a:pt x="72" y="132"/>
                    </a:lnTo>
                    <a:lnTo>
                      <a:pt x="72" y="126"/>
                    </a:lnTo>
                    <a:lnTo>
                      <a:pt x="66" y="126"/>
                    </a:lnTo>
                    <a:lnTo>
                      <a:pt x="60" y="138"/>
                    </a:lnTo>
                    <a:lnTo>
                      <a:pt x="42" y="138"/>
                    </a:lnTo>
                    <a:lnTo>
                      <a:pt x="36" y="120"/>
                    </a:lnTo>
                    <a:lnTo>
                      <a:pt x="30" y="120"/>
                    </a:lnTo>
                    <a:lnTo>
                      <a:pt x="12" y="120"/>
                    </a:lnTo>
                    <a:lnTo>
                      <a:pt x="0" y="120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48" name="Group 367"/>
            <p:cNvGrpSpPr>
              <a:grpSpLocks/>
            </p:cNvGrpSpPr>
            <p:nvPr/>
          </p:nvGrpSpPr>
          <p:grpSpPr bwMode="auto">
            <a:xfrm>
              <a:off x="1205996" y="3423294"/>
              <a:ext cx="305596" cy="155756"/>
              <a:chOff x="1458" y="1542"/>
              <a:chExt cx="150" cy="90"/>
            </a:xfrm>
            <a:solidFill>
              <a:srgbClr val="0070C0">
                <a:alpha val="27059"/>
              </a:srgbClr>
            </a:solidFill>
          </p:grpSpPr>
          <p:sp>
            <p:nvSpPr>
              <p:cNvPr id="1688" name="Freeform 368"/>
              <p:cNvSpPr>
                <a:spLocks/>
              </p:cNvSpPr>
              <p:nvPr/>
            </p:nvSpPr>
            <p:spPr bwMode="auto">
              <a:xfrm>
                <a:off x="1458" y="1542"/>
                <a:ext cx="150" cy="90"/>
              </a:xfrm>
              <a:custGeom>
                <a:avLst/>
                <a:gdLst>
                  <a:gd name="T0" fmla="*/ 108 w 150"/>
                  <a:gd name="T1" fmla="*/ 0 h 90"/>
                  <a:gd name="T2" fmla="*/ 108 w 150"/>
                  <a:gd name="T3" fmla="*/ 0 h 90"/>
                  <a:gd name="T4" fmla="*/ 108 w 150"/>
                  <a:gd name="T5" fmla="*/ 0 h 90"/>
                  <a:gd name="T6" fmla="*/ 102 w 150"/>
                  <a:gd name="T7" fmla="*/ 0 h 90"/>
                  <a:gd name="T8" fmla="*/ 96 w 150"/>
                  <a:gd name="T9" fmla="*/ 6 h 90"/>
                  <a:gd name="T10" fmla="*/ 90 w 150"/>
                  <a:gd name="T11" fmla="*/ 6 h 90"/>
                  <a:gd name="T12" fmla="*/ 90 w 150"/>
                  <a:gd name="T13" fmla="*/ 12 h 90"/>
                  <a:gd name="T14" fmla="*/ 96 w 150"/>
                  <a:gd name="T15" fmla="*/ 24 h 90"/>
                  <a:gd name="T16" fmla="*/ 102 w 150"/>
                  <a:gd name="T17" fmla="*/ 36 h 90"/>
                  <a:gd name="T18" fmla="*/ 114 w 150"/>
                  <a:gd name="T19" fmla="*/ 36 h 90"/>
                  <a:gd name="T20" fmla="*/ 114 w 150"/>
                  <a:gd name="T21" fmla="*/ 48 h 90"/>
                  <a:gd name="T22" fmla="*/ 108 w 150"/>
                  <a:gd name="T23" fmla="*/ 48 h 90"/>
                  <a:gd name="T24" fmla="*/ 96 w 150"/>
                  <a:gd name="T25" fmla="*/ 48 h 90"/>
                  <a:gd name="T26" fmla="*/ 90 w 150"/>
                  <a:gd name="T27" fmla="*/ 36 h 90"/>
                  <a:gd name="T28" fmla="*/ 84 w 150"/>
                  <a:gd name="T29" fmla="*/ 30 h 90"/>
                  <a:gd name="T30" fmla="*/ 78 w 150"/>
                  <a:gd name="T31" fmla="*/ 30 h 90"/>
                  <a:gd name="T32" fmla="*/ 78 w 150"/>
                  <a:gd name="T33" fmla="*/ 30 h 90"/>
                  <a:gd name="T34" fmla="*/ 78 w 150"/>
                  <a:gd name="T35" fmla="*/ 24 h 90"/>
                  <a:gd name="T36" fmla="*/ 72 w 150"/>
                  <a:gd name="T37" fmla="*/ 24 h 90"/>
                  <a:gd name="T38" fmla="*/ 72 w 150"/>
                  <a:gd name="T39" fmla="*/ 30 h 90"/>
                  <a:gd name="T40" fmla="*/ 72 w 150"/>
                  <a:gd name="T41" fmla="*/ 30 h 90"/>
                  <a:gd name="T42" fmla="*/ 42 w 150"/>
                  <a:gd name="T43" fmla="*/ 24 h 90"/>
                  <a:gd name="T44" fmla="*/ 42 w 150"/>
                  <a:gd name="T45" fmla="*/ 18 h 90"/>
                  <a:gd name="T46" fmla="*/ 36 w 150"/>
                  <a:gd name="T47" fmla="*/ 18 h 90"/>
                  <a:gd name="T48" fmla="*/ 30 w 150"/>
                  <a:gd name="T49" fmla="*/ 18 h 90"/>
                  <a:gd name="T50" fmla="*/ 24 w 150"/>
                  <a:gd name="T51" fmla="*/ 18 h 90"/>
                  <a:gd name="T52" fmla="*/ 12 w 150"/>
                  <a:gd name="T53" fmla="*/ 18 h 90"/>
                  <a:gd name="T54" fmla="*/ 12 w 150"/>
                  <a:gd name="T55" fmla="*/ 30 h 90"/>
                  <a:gd name="T56" fmla="*/ 12 w 150"/>
                  <a:gd name="T57" fmla="*/ 42 h 90"/>
                  <a:gd name="T58" fmla="*/ 0 w 150"/>
                  <a:gd name="T59" fmla="*/ 42 h 90"/>
                  <a:gd name="T60" fmla="*/ 0 w 150"/>
                  <a:gd name="T61" fmla="*/ 78 h 90"/>
                  <a:gd name="T62" fmla="*/ 6 w 150"/>
                  <a:gd name="T63" fmla="*/ 78 h 90"/>
                  <a:gd name="T64" fmla="*/ 12 w 150"/>
                  <a:gd name="T65" fmla="*/ 84 h 90"/>
                  <a:gd name="T66" fmla="*/ 18 w 150"/>
                  <a:gd name="T67" fmla="*/ 90 h 90"/>
                  <a:gd name="T68" fmla="*/ 36 w 150"/>
                  <a:gd name="T69" fmla="*/ 84 h 90"/>
                  <a:gd name="T70" fmla="*/ 60 w 150"/>
                  <a:gd name="T71" fmla="*/ 90 h 90"/>
                  <a:gd name="T72" fmla="*/ 72 w 150"/>
                  <a:gd name="T73" fmla="*/ 90 h 90"/>
                  <a:gd name="T74" fmla="*/ 84 w 150"/>
                  <a:gd name="T75" fmla="*/ 84 h 90"/>
                  <a:gd name="T76" fmla="*/ 90 w 150"/>
                  <a:gd name="T77" fmla="*/ 84 h 90"/>
                  <a:gd name="T78" fmla="*/ 90 w 150"/>
                  <a:gd name="T79" fmla="*/ 78 h 90"/>
                  <a:gd name="T80" fmla="*/ 144 w 150"/>
                  <a:gd name="T81" fmla="*/ 66 h 90"/>
                  <a:gd name="T82" fmla="*/ 144 w 150"/>
                  <a:gd name="T83" fmla="*/ 48 h 90"/>
                  <a:gd name="T84" fmla="*/ 144 w 150"/>
                  <a:gd name="T85" fmla="*/ 42 h 90"/>
                  <a:gd name="T86" fmla="*/ 150 w 150"/>
                  <a:gd name="T87" fmla="*/ 36 h 90"/>
                  <a:gd name="T88" fmla="*/ 144 w 150"/>
                  <a:gd name="T89" fmla="*/ 18 h 90"/>
                  <a:gd name="T90" fmla="*/ 138 w 150"/>
                  <a:gd name="T91" fmla="*/ 6 h 90"/>
                  <a:gd name="T92" fmla="*/ 132 w 150"/>
                  <a:gd name="T93" fmla="*/ 6 h 90"/>
                  <a:gd name="T94" fmla="*/ 120 w 150"/>
                  <a:gd name="T95" fmla="*/ 0 h 90"/>
                  <a:gd name="T96" fmla="*/ 108 w 150"/>
                  <a:gd name="T97" fmla="*/ 0 h 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50" h="90">
                    <a:moveTo>
                      <a:pt x="108" y="0"/>
                    </a:moveTo>
                    <a:lnTo>
                      <a:pt x="108" y="0"/>
                    </a:lnTo>
                    <a:lnTo>
                      <a:pt x="102" y="0"/>
                    </a:lnTo>
                    <a:lnTo>
                      <a:pt x="96" y="6"/>
                    </a:lnTo>
                    <a:lnTo>
                      <a:pt x="90" y="6"/>
                    </a:lnTo>
                    <a:lnTo>
                      <a:pt x="90" y="12"/>
                    </a:lnTo>
                    <a:lnTo>
                      <a:pt x="96" y="24"/>
                    </a:lnTo>
                    <a:lnTo>
                      <a:pt x="102" y="36"/>
                    </a:lnTo>
                    <a:lnTo>
                      <a:pt x="114" y="36"/>
                    </a:lnTo>
                    <a:lnTo>
                      <a:pt x="114" y="48"/>
                    </a:lnTo>
                    <a:lnTo>
                      <a:pt x="108" y="48"/>
                    </a:lnTo>
                    <a:lnTo>
                      <a:pt x="96" y="48"/>
                    </a:lnTo>
                    <a:lnTo>
                      <a:pt x="90" y="36"/>
                    </a:lnTo>
                    <a:lnTo>
                      <a:pt x="84" y="30"/>
                    </a:lnTo>
                    <a:lnTo>
                      <a:pt x="78" y="30"/>
                    </a:lnTo>
                    <a:lnTo>
                      <a:pt x="78" y="24"/>
                    </a:lnTo>
                    <a:lnTo>
                      <a:pt x="72" y="24"/>
                    </a:lnTo>
                    <a:lnTo>
                      <a:pt x="72" y="30"/>
                    </a:lnTo>
                    <a:lnTo>
                      <a:pt x="42" y="24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0" y="18"/>
                    </a:lnTo>
                    <a:lnTo>
                      <a:pt x="24" y="18"/>
                    </a:lnTo>
                    <a:lnTo>
                      <a:pt x="12" y="18"/>
                    </a:lnTo>
                    <a:lnTo>
                      <a:pt x="12" y="30"/>
                    </a:lnTo>
                    <a:lnTo>
                      <a:pt x="12" y="42"/>
                    </a:lnTo>
                    <a:lnTo>
                      <a:pt x="0" y="42"/>
                    </a:lnTo>
                    <a:lnTo>
                      <a:pt x="0" y="78"/>
                    </a:lnTo>
                    <a:lnTo>
                      <a:pt x="6" y="78"/>
                    </a:lnTo>
                    <a:lnTo>
                      <a:pt x="12" y="84"/>
                    </a:lnTo>
                    <a:lnTo>
                      <a:pt x="18" y="90"/>
                    </a:lnTo>
                    <a:lnTo>
                      <a:pt x="36" y="84"/>
                    </a:lnTo>
                    <a:lnTo>
                      <a:pt x="60" y="90"/>
                    </a:lnTo>
                    <a:lnTo>
                      <a:pt x="72" y="90"/>
                    </a:lnTo>
                    <a:lnTo>
                      <a:pt x="84" y="84"/>
                    </a:lnTo>
                    <a:lnTo>
                      <a:pt x="90" y="84"/>
                    </a:lnTo>
                    <a:lnTo>
                      <a:pt x="90" y="78"/>
                    </a:lnTo>
                    <a:lnTo>
                      <a:pt x="144" y="66"/>
                    </a:lnTo>
                    <a:lnTo>
                      <a:pt x="144" y="48"/>
                    </a:lnTo>
                    <a:lnTo>
                      <a:pt x="144" y="42"/>
                    </a:lnTo>
                    <a:lnTo>
                      <a:pt x="150" y="36"/>
                    </a:lnTo>
                    <a:lnTo>
                      <a:pt x="144" y="18"/>
                    </a:lnTo>
                    <a:lnTo>
                      <a:pt x="138" y="6"/>
                    </a:lnTo>
                    <a:lnTo>
                      <a:pt x="132" y="6"/>
                    </a:lnTo>
                    <a:lnTo>
                      <a:pt x="120" y="0"/>
                    </a:lnTo>
                    <a:lnTo>
                      <a:pt x="10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95" name="Freeform 369"/>
              <p:cNvSpPr>
                <a:spLocks/>
              </p:cNvSpPr>
              <p:nvPr/>
            </p:nvSpPr>
            <p:spPr bwMode="auto">
              <a:xfrm>
                <a:off x="1458" y="1542"/>
                <a:ext cx="150" cy="90"/>
              </a:xfrm>
              <a:custGeom>
                <a:avLst/>
                <a:gdLst>
                  <a:gd name="T0" fmla="*/ 108 w 150"/>
                  <a:gd name="T1" fmla="*/ 0 h 90"/>
                  <a:gd name="T2" fmla="*/ 102 w 150"/>
                  <a:gd name="T3" fmla="*/ 0 h 90"/>
                  <a:gd name="T4" fmla="*/ 96 w 150"/>
                  <a:gd name="T5" fmla="*/ 6 h 90"/>
                  <a:gd name="T6" fmla="*/ 90 w 150"/>
                  <a:gd name="T7" fmla="*/ 6 h 90"/>
                  <a:gd name="T8" fmla="*/ 90 w 150"/>
                  <a:gd name="T9" fmla="*/ 12 h 90"/>
                  <a:gd name="T10" fmla="*/ 96 w 150"/>
                  <a:gd name="T11" fmla="*/ 24 h 90"/>
                  <a:gd name="T12" fmla="*/ 102 w 150"/>
                  <a:gd name="T13" fmla="*/ 36 h 90"/>
                  <a:gd name="T14" fmla="*/ 114 w 150"/>
                  <a:gd name="T15" fmla="*/ 36 h 90"/>
                  <a:gd name="T16" fmla="*/ 114 w 150"/>
                  <a:gd name="T17" fmla="*/ 48 h 90"/>
                  <a:gd name="T18" fmla="*/ 108 w 150"/>
                  <a:gd name="T19" fmla="*/ 48 h 90"/>
                  <a:gd name="T20" fmla="*/ 96 w 150"/>
                  <a:gd name="T21" fmla="*/ 48 h 90"/>
                  <a:gd name="T22" fmla="*/ 90 w 150"/>
                  <a:gd name="T23" fmla="*/ 36 h 90"/>
                  <a:gd name="T24" fmla="*/ 84 w 150"/>
                  <a:gd name="T25" fmla="*/ 30 h 90"/>
                  <a:gd name="T26" fmla="*/ 78 w 150"/>
                  <a:gd name="T27" fmla="*/ 30 h 90"/>
                  <a:gd name="T28" fmla="*/ 78 w 150"/>
                  <a:gd name="T29" fmla="*/ 24 h 90"/>
                  <a:gd name="T30" fmla="*/ 72 w 150"/>
                  <a:gd name="T31" fmla="*/ 24 h 90"/>
                  <a:gd name="T32" fmla="*/ 72 w 150"/>
                  <a:gd name="T33" fmla="*/ 30 h 90"/>
                  <a:gd name="T34" fmla="*/ 42 w 150"/>
                  <a:gd name="T35" fmla="*/ 24 h 90"/>
                  <a:gd name="T36" fmla="*/ 42 w 150"/>
                  <a:gd name="T37" fmla="*/ 18 h 90"/>
                  <a:gd name="T38" fmla="*/ 36 w 150"/>
                  <a:gd name="T39" fmla="*/ 18 h 90"/>
                  <a:gd name="T40" fmla="*/ 30 w 150"/>
                  <a:gd name="T41" fmla="*/ 18 h 90"/>
                  <a:gd name="T42" fmla="*/ 24 w 150"/>
                  <a:gd name="T43" fmla="*/ 18 h 90"/>
                  <a:gd name="T44" fmla="*/ 12 w 150"/>
                  <a:gd name="T45" fmla="*/ 18 h 90"/>
                  <a:gd name="T46" fmla="*/ 12 w 150"/>
                  <a:gd name="T47" fmla="*/ 30 h 90"/>
                  <a:gd name="T48" fmla="*/ 12 w 150"/>
                  <a:gd name="T49" fmla="*/ 42 h 90"/>
                  <a:gd name="T50" fmla="*/ 0 w 150"/>
                  <a:gd name="T51" fmla="*/ 42 h 90"/>
                  <a:gd name="T52" fmla="*/ 0 w 150"/>
                  <a:gd name="T53" fmla="*/ 78 h 90"/>
                  <a:gd name="T54" fmla="*/ 6 w 150"/>
                  <a:gd name="T55" fmla="*/ 78 h 90"/>
                  <a:gd name="T56" fmla="*/ 12 w 150"/>
                  <a:gd name="T57" fmla="*/ 84 h 90"/>
                  <a:gd name="T58" fmla="*/ 18 w 150"/>
                  <a:gd name="T59" fmla="*/ 90 h 90"/>
                  <a:gd name="T60" fmla="*/ 36 w 150"/>
                  <a:gd name="T61" fmla="*/ 84 h 90"/>
                  <a:gd name="T62" fmla="*/ 60 w 150"/>
                  <a:gd name="T63" fmla="*/ 90 h 90"/>
                  <a:gd name="T64" fmla="*/ 72 w 150"/>
                  <a:gd name="T65" fmla="*/ 90 h 90"/>
                  <a:gd name="T66" fmla="*/ 84 w 150"/>
                  <a:gd name="T67" fmla="*/ 84 h 90"/>
                  <a:gd name="T68" fmla="*/ 90 w 150"/>
                  <a:gd name="T69" fmla="*/ 84 h 90"/>
                  <a:gd name="T70" fmla="*/ 90 w 150"/>
                  <a:gd name="T71" fmla="*/ 78 h 90"/>
                  <a:gd name="T72" fmla="*/ 144 w 150"/>
                  <a:gd name="T73" fmla="*/ 66 h 90"/>
                  <a:gd name="T74" fmla="*/ 144 w 150"/>
                  <a:gd name="T75" fmla="*/ 48 h 90"/>
                  <a:gd name="T76" fmla="*/ 144 w 150"/>
                  <a:gd name="T77" fmla="*/ 42 h 90"/>
                  <a:gd name="T78" fmla="*/ 150 w 150"/>
                  <a:gd name="T79" fmla="*/ 36 h 90"/>
                  <a:gd name="T80" fmla="*/ 144 w 150"/>
                  <a:gd name="T81" fmla="*/ 18 h 90"/>
                  <a:gd name="T82" fmla="*/ 138 w 150"/>
                  <a:gd name="T83" fmla="*/ 6 h 90"/>
                  <a:gd name="T84" fmla="*/ 132 w 150"/>
                  <a:gd name="T85" fmla="*/ 6 h 90"/>
                  <a:gd name="T86" fmla="*/ 120 w 150"/>
                  <a:gd name="T87" fmla="*/ 0 h 90"/>
                  <a:gd name="T88" fmla="*/ 108 w 150"/>
                  <a:gd name="T89" fmla="*/ 0 h 9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50" h="90">
                    <a:moveTo>
                      <a:pt x="108" y="0"/>
                    </a:moveTo>
                    <a:lnTo>
                      <a:pt x="102" y="0"/>
                    </a:lnTo>
                    <a:lnTo>
                      <a:pt x="96" y="6"/>
                    </a:lnTo>
                    <a:lnTo>
                      <a:pt x="90" y="6"/>
                    </a:lnTo>
                    <a:lnTo>
                      <a:pt x="90" y="12"/>
                    </a:lnTo>
                    <a:lnTo>
                      <a:pt x="96" y="24"/>
                    </a:lnTo>
                    <a:lnTo>
                      <a:pt x="102" y="36"/>
                    </a:lnTo>
                    <a:lnTo>
                      <a:pt x="114" y="36"/>
                    </a:lnTo>
                    <a:lnTo>
                      <a:pt x="114" y="48"/>
                    </a:lnTo>
                    <a:lnTo>
                      <a:pt x="108" y="48"/>
                    </a:lnTo>
                    <a:lnTo>
                      <a:pt x="96" y="48"/>
                    </a:lnTo>
                    <a:lnTo>
                      <a:pt x="90" y="36"/>
                    </a:lnTo>
                    <a:lnTo>
                      <a:pt x="84" y="30"/>
                    </a:lnTo>
                    <a:lnTo>
                      <a:pt x="78" y="30"/>
                    </a:lnTo>
                    <a:lnTo>
                      <a:pt x="78" y="24"/>
                    </a:lnTo>
                    <a:lnTo>
                      <a:pt x="72" y="24"/>
                    </a:lnTo>
                    <a:lnTo>
                      <a:pt x="72" y="30"/>
                    </a:lnTo>
                    <a:lnTo>
                      <a:pt x="42" y="24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0" y="18"/>
                    </a:lnTo>
                    <a:lnTo>
                      <a:pt x="24" y="18"/>
                    </a:lnTo>
                    <a:lnTo>
                      <a:pt x="12" y="18"/>
                    </a:lnTo>
                    <a:lnTo>
                      <a:pt x="12" y="30"/>
                    </a:lnTo>
                    <a:lnTo>
                      <a:pt x="12" y="42"/>
                    </a:lnTo>
                    <a:lnTo>
                      <a:pt x="0" y="42"/>
                    </a:lnTo>
                    <a:lnTo>
                      <a:pt x="0" y="78"/>
                    </a:lnTo>
                    <a:lnTo>
                      <a:pt x="6" y="78"/>
                    </a:lnTo>
                    <a:lnTo>
                      <a:pt x="12" y="84"/>
                    </a:lnTo>
                    <a:lnTo>
                      <a:pt x="18" y="90"/>
                    </a:lnTo>
                    <a:lnTo>
                      <a:pt x="36" y="84"/>
                    </a:lnTo>
                    <a:lnTo>
                      <a:pt x="60" y="90"/>
                    </a:lnTo>
                    <a:lnTo>
                      <a:pt x="72" y="90"/>
                    </a:lnTo>
                    <a:lnTo>
                      <a:pt x="84" y="84"/>
                    </a:lnTo>
                    <a:lnTo>
                      <a:pt x="90" y="84"/>
                    </a:lnTo>
                    <a:lnTo>
                      <a:pt x="90" y="78"/>
                    </a:lnTo>
                    <a:lnTo>
                      <a:pt x="144" y="66"/>
                    </a:lnTo>
                    <a:lnTo>
                      <a:pt x="144" y="48"/>
                    </a:lnTo>
                    <a:lnTo>
                      <a:pt x="144" y="42"/>
                    </a:lnTo>
                    <a:lnTo>
                      <a:pt x="150" y="36"/>
                    </a:lnTo>
                    <a:lnTo>
                      <a:pt x="144" y="18"/>
                    </a:lnTo>
                    <a:lnTo>
                      <a:pt x="138" y="6"/>
                    </a:lnTo>
                    <a:lnTo>
                      <a:pt x="132" y="6"/>
                    </a:lnTo>
                    <a:lnTo>
                      <a:pt x="120" y="0"/>
                    </a:lnTo>
                    <a:lnTo>
                      <a:pt x="10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49" name="Group 370"/>
            <p:cNvGrpSpPr>
              <a:grpSpLocks/>
            </p:cNvGrpSpPr>
            <p:nvPr/>
          </p:nvGrpSpPr>
          <p:grpSpPr bwMode="auto">
            <a:xfrm>
              <a:off x="1034939" y="3568936"/>
              <a:ext cx="292142" cy="206327"/>
              <a:chOff x="1374" y="1626"/>
              <a:chExt cx="144" cy="120"/>
            </a:xfrm>
            <a:solidFill>
              <a:srgbClr val="0070C0">
                <a:alpha val="27059"/>
              </a:srgbClr>
            </a:solidFill>
          </p:grpSpPr>
          <p:sp>
            <p:nvSpPr>
              <p:cNvPr id="1649" name="Freeform 371"/>
              <p:cNvSpPr>
                <a:spLocks/>
              </p:cNvSpPr>
              <p:nvPr/>
            </p:nvSpPr>
            <p:spPr bwMode="auto">
              <a:xfrm>
                <a:off x="1374" y="1626"/>
                <a:ext cx="144" cy="120"/>
              </a:xfrm>
              <a:custGeom>
                <a:avLst/>
                <a:gdLst>
                  <a:gd name="T0" fmla="*/ 102 w 144"/>
                  <a:gd name="T1" fmla="*/ 6 h 120"/>
                  <a:gd name="T2" fmla="*/ 78 w 144"/>
                  <a:gd name="T3" fmla="*/ 6 h 120"/>
                  <a:gd name="T4" fmla="*/ 72 w 144"/>
                  <a:gd name="T5" fmla="*/ 6 h 120"/>
                  <a:gd name="T6" fmla="*/ 66 w 144"/>
                  <a:gd name="T7" fmla="*/ 6 h 120"/>
                  <a:gd name="T8" fmla="*/ 60 w 144"/>
                  <a:gd name="T9" fmla="*/ 6 h 120"/>
                  <a:gd name="T10" fmla="*/ 24 w 144"/>
                  <a:gd name="T11" fmla="*/ 6 h 120"/>
                  <a:gd name="T12" fmla="*/ 24 w 144"/>
                  <a:gd name="T13" fmla="*/ 0 h 120"/>
                  <a:gd name="T14" fmla="*/ 18 w 144"/>
                  <a:gd name="T15" fmla="*/ 0 h 120"/>
                  <a:gd name="T16" fmla="*/ 12 w 144"/>
                  <a:gd name="T17" fmla="*/ 0 h 120"/>
                  <a:gd name="T18" fmla="*/ 0 w 144"/>
                  <a:gd name="T19" fmla="*/ 0 h 120"/>
                  <a:gd name="T20" fmla="*/ 0 w 144"/>
                  <a:gd name="T21" fmla="*/ 6 h 120"/>
                  <a:gd name="T22" fmla="*/ 6 w 144"/>
                  <a:gd name="T23" fmla="*/ 18 h 120"/>
                  <a:gd name="T24" fmla="*/ 18 w 144"/>
                  <a:gd name="T25" fmla="*/ 36 h 120"/>
                  <a:gd name="T26" fmla="*/ 24 w 144"/>
                  <a:gd name="T27" fmla="*/ 66 h 120"/>
                  <a:gd name="T28" fmla="*/ 30 w 144"/>
                  <a:gd name="T29" fmla="*/ 84 h 120"/>
                  <a:gd name="T30" fmla="*/ 36 w 144"/>
                  <a:gd name="T31" fmla="*/ 96 h 120"/>
                  <a:gd name="T32" fmla="*/ 48 w 144"/>
                  <a:gd name="T33" fmla="*/ 120 h 120"/>
                  <a:gd name="T34" fmla="*/ 54 w 144"/>
                  <a:gd name="T35" fmla="*/ 120 h 120"/>
                  <a:gd name="T36" fmla="*/ 60 w 144"/>
                  <a:gd name="T37" fmla="*/ 108 h 120"/>
                  <a:gd name="T38" fmla="*/ 60 w 144"/>
                  <a:gd name="T39" fmla="*/ 108 h 120"/>
                  <a:gd name="T40" fmla="*/ 60 w 144"/>
                  <a:gd name="T41" fmla="*/ 114 h 120"/>
                  <a:gd name="T42" fmla="*/ 66 w 144"/>
                  <a:gd name="T43" fmla="*/ 120 h 120"/>
                  <a:gd name="T44" fmla="*/ 72 w 144"/>
                  <a:gd name="T45" fmla="*/ 120 h 120"/>
                  <a:gd name="T46" fmla="*/ 84 w 144"/>
                  <a:gd name="T47" fmla="*/ 120 h 120"/>
                  <a:gd name="T48" fmla="*/ 84 w 144"/>
                  <a:gd name="T49" fmla="*/ 120 h 120"/>
                  <a:gd name="T50" fmla="*/ 90 w 144"/>
                  <a:gd name="T51" fmla="*/ 114 h 120"/>
                  <a:gd name="T52" fmla="*/ 90 w 144"/>
                  <a:gd name="T53" fmla="*/ 42 h 120"/>
                  <a:gd name="T54" fmla="*/ 96 w 144"/>
                  <a:gd name="T55" fmla="*/ 42 h 120"/>
                  <a:gd name="T56" fmla="*/ 96 w 144"/>
                  <a:gd name="T57" fmla="*/ 12 h 120"/>
                  <a:gd name="T58" fmla="*/ 108 w 144"/>
                  <a:gd name="T59" fmla="*/ 6 h 120"/>
                  <a:gd name="T60" fmla="*/ 126 w 144"/>
                  <a:gd name="T61" fmla="*/ 6 h 120"/>
                  <a:gd name="T62" fmla="*/ 126 w 144"/>
                  <a:gd name="T63" fmla="*/ 12 h 120"/>
                  <a:gd name="T64" fmla="*/ 126 w 144"/>
                  <a:gd name="T65" fmla="*/ 12 h 120"/>
                  <a:gd name="T66" fmla="*/ 138 w 144"/>
                  <a:gd name="T67" fmla="*/ 12 h 120"/>
                  <a:gd name="T68" fmla="*/ 144 w 144"/>
                  <a:gd name="T69" fmla="*/ 6 h 120"/>
                  <a:gd name="T70" fmla="*/ 120 w 144"/>
                  <a:gd name="T71" fmla="*/ 0 h 120"/>
                  <a:gd name="T72" fmla="*/ 102 w 144"/>
                  <a:gd name="T73" fmla="*/ 6 h 12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44" h="120">
                    <a:moveTo>
                      <a:pt x="102" y="6"/>
                    </a:moveTo>
                    <a:lnTo>
                      <a:pt x="78" y="6"/>
                    </a:lnTo>
                    <a:lnTo>
                      <a:pt x="72" y="6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24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18"/>
                    </a:lnTo>
                    <a:lnTo>
                      <a:pt x="18" y="36"/>
                    </a:lnTo>
                    <a:lnTo>
                      <a:pt x="24" y="66"/>
                    </a:lnTo>
                    <a:lnTo>
                      <a:pt x="30" y="84"/>
                    </a:lnTo>
                    <a:lnTo>
                      <a:pt x="36" y="96"/>
                    </a:lnTo>
                    <a:lnTo>
                      <a:pt x="48" y="120"/>
                    </a:lnTo>
                    <a:lnTo>
                      <a:pt x="54" y="120"/>
                    </a:lnTo>
                    <a:lnTo>
                      <a:pt x="60" y="108"/>
                    </a:lnTo>
                    <a:lnTo>
                      <a:pt x="60" y="114"/>
                    </a:lnTo>
                    <a:lnTo>
                      <a:pt x="66" y="120"/>
                    </a:lnTo>
                    <a:lnTo>
                      <a:pt x="72" y="120"/>
                    </a:lnTo>
                    <a:lnTo>
                      <a:pt x="84" y="120"/>
                    </a:lnTo>
                    <a:lnTo>
                      <a:pt x="90" y="114"/>
                    </a:lnTo>
                    <a:lnTo>
                      <a:pt x="90" y="42"/>
                    </a:lnTo>
                    <a:lnTo>
                      <a:pt x="96" y="42"/>
                    </a:lnTo>
                    <a:lnTo>
                      <a:pt x="96" y="12"/>
                    </a:lnTo>
                    <a:lnTo>
                      <a:pt x="108" y="6"/>
                    </a:lnTo>
                    <a:lnTo>
                      <a:pt x="126" y="6"/>
                    </a:lnTo>
                    <a:lnTo>
                      <a:pt x="126" y="12"/>
                    </a:lnTo>
                    <a:lnTo>
                      <a:pt x="138" y="12"/>
                    </a:lnTo>
                    <a:lnTo>
                      <a:pt x="144" y="6"/>
                    </a:lnTo>
                    <a:lnTo>
                      <a:pt x="120" y="0"/>
                    </a:lnTo>
                    <a:lnTo>
                      <a:pt x="10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60" name="Freeform 372"/>
              <p:cNvSpPr>
                <a:spLocks/>
              </p:cNvSpPr>
              <p:nvPr/>
            </p:nvSpPr>
            <p:spPr bwMode="auto">
              <a:xfrm>
                <a:off x="1374" y="1626"/>
                <a:ext cx="144" cy="120"/>
              </a:xfrm>
              <a:custGeom>
                <a:avLst/>
                <a:gdLst>
                  <a:gd name="T0" fmla="*/ 102 w 144"/>
                  <a:gd name="T1" fmla="*/ 6 h 120"/>
                  <a:gd name="T2" fmla="*/ 78 w 144"/>
                  <a:gd name="T3" fmla="*/ 6 h 120"/>
                  <a:gd name="T4" fmla="*/ 72 w 144"/>
                  <a:gd name="T5" fmla="*/ 6 h 120"/>
                  <a:gd name="T6" fmla="*/ 66 w 144"/>
                  <a:gd name="T7" fmla="*/ 6 h 120"/>
                  <a:gd name="T8" fmla="*/ 60 w 144"/>
                  <a:gd name="T9" fmla="*/ 6 h 120"/>
                  <a:gd name="T10" fmla="*/ 24 w 144"/>
                  <a:gd name="T11" fmla="*/ 6 h 120"/>
                  <a:gd name="T12" fmla="*/ 24 w 144"/>
                  <a:gd name="T13" fmla="*/ 0 h 120"/>
                  <a:gd name="T14" fmla="*/ 18 w 144"/>
                  <a:gd name="T15" fmla="*/ 0 h 120"/>
                  <a:gd name="T16" fmla="*/ 12 w 144"/>
                  <a:gd name="T17" fmla="*/ 0 h 120"/>
                  <a:gd name="T18" fmla="*/ 0 w 144"/>
                  <a:gd name="T19" fmla="*/ 0 h 120"/>
                  <a:gd name="T20" fmla="*/ 0 w 144"/>
                  <a:gd name="T21" fmla="*/ 6 h 120"/>
                  <a:gd name="T22" fmla="*/ 6 w 144"/>
                  <a:gd name="T23" fmla="*/ 18 h 120"/>
                  <a:gd name="T24" fmla="*/ 18 w 144"/>
                  <a:gd name="T25" fmla="*/ 36 h 120"/>
                  <a:gd name="T26" fmla="*/ 24 w 144"/>
                  <a:gd name="T27" fmla="*/ 66 h 120"/>
                  <a:gd name="T28" fmla="*/ 30 w 144"/>
                  <a:gd name="T29" fmla="*/ 84 h 120"/>
                  <a:gd name="T30" fmla="*/ 36 w 144"/>
                  <a:gd name="T31" fmla="*/ 96 h 120"/>
                  <a:gd name="T32" fmla="*/ 48 w 144"/>
                  <a:gd name="T33" fmla="*/ 120 h 120"/>
                  <a:gd name="T34" fmla="*/ 54 w 144"/>
                  <a:gd name="T35" fmla="*/ 120 h 120"/>
                  <a:gd name="T36" fmla="*/ 60 w 144"/>
                  <a:gd name="T37" fmla="*/ 108 h 120"/>
                  <a:gd name="T38" fmla="*/ 60 w 144"/>
                  <a:gd name="T39" fmla="*/ 114 h 120"/>
                  <a:gd name="T40" fmla="*/ 66 w 144"/>
                  <a:gd name="T41" fmla="*/ 120 h 120"/>
                  <a:gd name="T42" fmla="*/ 72 w 144"/>
                  <a:gd name="T43" fmla="*/ 120 h 120"/>
                  <a:gd name="T44" fmla="*/ 84 w 144"/>
                  <a:gd name="T45" fmla="*/ 120 h 120"/>
                  <a:gd name="T46" fmla="*/ 90 w 144"/>
                  <a:gd name="T47" fmla="*/ 114 h 120"/>
                  <a:gd name="T48" fmla="*/ 90 w 144"/>
                  <a:gd name="T49" fmla="*/ 42 h 120"/>
                  <a:gd name="T50" fmla="*/ 96 w 144"/>
                  <a:gd name="T51" fmla="*/ 42 h 120"/>
                  <a:gd name="T52" fmla="*/ 96 w 144"/>
                  <a:gd name="T53" fmla="*/ 12 h 120"/>
                  <a:gd name="T54" fmla="*/ 108 w 144"/>
                  <a:gd name="T55" fmla="*/ 6 h 120"/>
                  <a:gd name="T56" fmla="*/ 126 w 144"/>
                  <a:gd name="T57" fmla="*/ 6 h 120"/>
                  <a:gd name="T58" fmla="*/ 126 w 144"/>
                  <a:gd name="T59" fmla="*/ 12 h 120"/>
                  <a:gd name="T60" fmla="*/ 138 w 144"/>
                  <a:gd name="T61" fmla="*/ 12 h 120"/>
                  <a:gd name="T62" fmla="*/ 144 w 144"/>
                  <a:gd name="T63" fmla="*/ 6 h 120"/>
                  <a:gd name="T64" fmla="*/ 120 w 144"/>
                  <a:gd name="T65" fmla="*/ 0 h 120"/>
                  <a:gd name="T66" fmla="*/ 102 w 144"/>
                  <a:gd name="T67" fmla="*/ 6 h 12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44" h="120">
                    <a:moveTo>
                      <a:pt x="102" y="6"/>
                    </a:moveTo>
                    <a:lnTo>
                      <a:pt x="78" y="6"/>
                    </a:lnTo>
                    <a:lnTo>
                      <a:pt x="72" y="6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24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18"/>
                    </a:lnTo>
                    <a:lnTo>
                      <a:pt x="18" y="36"/>
                    </a:lnTo>
                    <a:lnTo>
                      <a:pt x="24" y="66"/>
                    </a:lnTo>
                    <a:lnTo>
                      <a:pt x="30" y="84"/>
                    </a:lnTo>
                    <a:lnTo>
                      <a:pt x="36" y="96"/>
                    </a:lnTo>
                    <a:lnTo>
                      <a:pt x="48" y="120"/>
                    </a:lnTo>
                    <a:lnTo>
                      <a:pt x="54" y="120"/>
                    </a:lnTo>
                    <a:lnTo>
                      <a:pt x="60" y="108"/>
                    </a:lnTo>
                    <a:lnTo>
                      <a:pt x="60" y="114"/>
                    </a:lnTo>
                    <a:lnTo>
                      <a:pt x="66" y="120"/>
                    </a:lnTo>
                    <a:lnTo>
                      <a:pt x="72" y="120"/>
                    </a:lnTo>
                    <a:lnTo>
                      <a:pt x="84" y="120"/>
                    </a:lnTo>
                    <a:lnTo>
                      <a:pt x="90" y="114"/>
                    </a:lnTo>
                    <a:lnTo>
                      <a:pt x="90" y="42"/>
                    </a:lnTo>
                    <a:lnTo>
                      <a:pt x="96" y="42"/>
                    </a:lnTo>
                    <a:lnTo>
                      <a:pt x="96" y="12"/>
                    </a:lnTo>
                    <a:lnTo>
                      <a:pt x="108" y="6"/>
                    </a:lnTo>
                    <a:lnTo>
                      <a:pt x="126" y="6"/>
                    </a:lnTo>
                    <a:lnTo>
                      <a:pt x="126" y="12"/>
                    </a:lnTo>
                    <a:lnTo>
                      <a:pt x="138" y="12"/>
                    </a:lnTo>
                    <a:lnTo>
                      <a:pt x="144" y="6"/>
                    </a:lnTo>
                    <a:lnTo>
                      <a:pt x="120" y="0"/>
                    </a:lnTo>
                    <a:lnTo>
                      <a:pt x="10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50" name="Group 373"/>
            <p:cNvGrpSpPr>
              <a:grpSpLocks/>
            </p:cNvGrpSpPr>
            <p:nvPr/>
          </p:nvGrpSpPr>
          <p:grpSpPr bwMode="auto">
            <a:xfrm>
              <a:off x="1219450" y="3579050"/>
              <a:ext cx="180667" cy="173962"/>
              <a:chOff x="1464" y="1632"/>
              <a:chExt cx="90" cy="102"/>
            </a:xfrm>
            <a:solidFill>
              <a:srgbClr val="0070C0">
                <a:alpha val="27059"/>
              </a:srgbClr>
            </a:solidFill>
          </p:grpSpPr>
          <p:sp>
            <p:nvSpPr>
              <p:cNvPr id="1647" name="Freeform 374"/>
              <p:cNvSpPr>
                <a:spLocks/>
              </p:cNvSpPr>
              <p:nvPr/>
            </p:nvSpPr>
            <p:spPr bwMode="auto">
              <a:xfrm>
                <a:off x="1464" y="1632"/>
                <a:ext cx="90" cy="102"/>
              </a:xfrm>
              <a:custGeom>
                <a:avLst/>
                <a:gdLst>
                  <a:gd name="T0" fmla="*/ 72 w 90"/>
                  <a:gd name="T1" fmla="*/ 36 h 102"/>
                  <a:gd name="T2" fmla="*/ 72 w 90"/>
                  <a:gd name="T3" fmla="*/ 36 h 102"/>
                  <a:gd name="T4" fmla="*/ 72 w 90"/>
                  <a:gd name="T5" fmla="*/ 36 h 102"/>
                  <a:gd name="T6" fmla="*/ 66 w 90"/>
                  <a:gd name="T7" fmla="*/ 30 h 102"/>
                  <a:gd name="T8" fmla="*/ 66 w 90"/>
                  <a:gd name="T9" fmla="*/ 24 h 102"/>
                  <a:gd name="T10" fmla="*/ 60 w 90"/>
                  <a:gd name="T11" fmla="*/ 18 h 102"/>
                  <a:gd name="T12" fmla="*/ 60 w 90"/>
                  <a:gd name="T13" fmla="*/ 12 h 102"/>
                  <a:gd name="T14" fmla="*/ 54 w 90"/>
                  <a:gd name="T15" fmla="*/ 0 h 102"/>
                  <a:gd name="T16" fmla="*/ 48 w 90"/>
                  <a:gd name="T17" fmla="*/ 6 h 102"/>
                  <a:gd name="T18" fmla="*/ 36 w 90"/>
                  <a:gd name="T19" fmla="*/ 6 h 102"/>
                  <a:gd name="T20" fmla="*/ 36 w 90"/>
                  <a:gd name="T21" fmla="*/ 6 h 102"/>
                  <a:gd name="T22" fmla="*/ 36 w 90"/>
                  <a:gd name="T23" fmla="*/ 0 h 102"/>
                  <a:gd name="T24" fmla="*/ 24 w 90"/>
                  <a:gd name="T25" fmla="*/ 0 h 102"/>
                  <a:gd name="T26" fmla="*/ 6 w 90"/>
                  <a:gd name="T27" fmla="*/ 6 h 102"/>
                  <a:gd name="T28" fmla="*/ 6 w 90"/>
                  <a:gd name="T29" fmla="*/ 36 h 102"/>
                  <a:gd name="T30" fmla="*/ 0 w 90"/>
                  <a:gd name="T31" fmla="*/ 36 h 102"/>
                  <a:gd name="T32" fmla="*/ 0 w 90"/>
                  <a:gd name="T33" fmla="*/ 78 h 102"/>
                  <a:gd name="T34" fmla="*/ 0 w 90"/>
                  <a:gd name="T35" fmla="*/ 78 h 102"/>
                  <a:gd name="T36" fmla="*/ 6 w 90"/>
                  <a:gd name="T37" fmla="*/ 84 h 102"/>
                  <a:gd name="T38" fmla="*/ 6 w 90"/>
                  <a:gd name="T39" fmla="*/ 96 h 102"/>
                  <a:gd name="T40" fmla="*/ 6 w 90"/>
                  <a:gd name="T41" fmla="*/ 96 h 102"/>
                  <a:gd name="T42" fmla="*/ 6 w 90"/>
                  <a:gd name="T43" fmla="*/ 102 h 102"/>
                  <a:gd name="T44" fmla="*/ 6 w 90"/>
                  <a:gd name="T45" fmla="*/ 102 h 102"/>
                  <a:gd name="T46" fmla="*/ 12 w 90"/>
                  <a:gd name="T47" fmla="*/ 102 h 102"/>
                  <a:gd name="T48" fmla="*/ 18 w 90"/>
                  <a:gd name="T49" fmla="*/ 102 h 102"/>
                  <a:gd name="T50" fmla="*/ 24 w 90"/>
                  <a:gd name="T51" fmla="*/ 96 h 102"/>
                  <a:gd name="T52" fmla="*/ 30 w 90"/>
                  <a:gd name="T53" fmla="*/ 84 h 102"/>
                  <a:gd name="T54" fmla="*/ 36 w 90"/>
                  <a:gd name="T55" fmla="*/ 84 h 102"/>
                  <a:gd name="T56" fmla="*/ 42 w 90"/>
                  <a:gd name="T57" fmla="*/ 84 h 102"/>
                  <a:gd name="T58" fmla="*/ 42 w 90"/>
                  <a:gd name="T59" fmla="*/ 84 h 102"/>
                  <a:gd name="T60" fmla="*/ 48 w 90"/>
                  <a:gd name="T61" fmla="*/ 90 h 102"/>
                  <a:gd name="T62" fmla="*/ 54 w 90"/>
                  <a:gd name="T63" fmla="*/ 90 h 102"/>
                  <a:gd name="T64" fmla="*/ 54 w 90"/>
                  <a:gd name="T65" fmla="*/ 78 h 102"/>
                  <a:gd name="T66" fmla="*/ 60 w 90"/>
                  <a:gd name="T67" fmla="*/ 72 h 102"/>
                  <a:gd name="T68" fmla="*/ 66 w 90"/>
                  <a:gd name="T69" fmla="*/ 66 h 102"/>
                  <a:gd name="T70" fmla="*/ 72 w 90"/>
                  <a:gd name="T71" fmla="*/ 66 h 102"/>
                  <a:gd name="T72" fmla="*/ 78 w 90"/>
                  <a:gd name="T73" fmla="*/ 66 h 102"/>
                  <a:gd name="T74" fmla="*/ 78 w 90"/>
                  <a:gd name="T75" fmla="*/ 60 h 102"/>
                  <a:gd name="T76" fmla="*/ 84 w 90"/>
                  <a:gd name="T77" fmla="*/ 60 h 102"/>
                  <a:gd name="T78" fmla="*/ 90 w 90"/>
                  <a:gd name="T79" fmla="*/ 54 h 102"/>
                  <a:gd name="T80" fmla="*/ 84 w 90"/>
                  <a:gd name="T81" fmla="*/ 48 h 102"/>
                  <a:gd name="T82" fmla="*/ 84 w 90"/>
                  <a:gd name="T83" fmla="*/ 48 h 102"/>
                  <a:gd name="T84" fmla="*/ 78 w 90"/>
                  <a:gd name="T85" fmla="*/ 48 h 102"/>
                  <a:gd name="T86" fmla="*/ 78 w 90"/>
                  <a:gd name="T87" fmla="*/ 42 h 102"/>
                  <a:gd name="T88" fmla="*/ 72 w 90"/>
                  <a:gd name="T89" fmla="*/ 36 h 10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90" h="102">
                    <a:moveTo>
                      <a:pt x="72" y="36"/>
                    </a:moveTo>
                    <a:lnTo>
                      <a:pt x="72" y="36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0" y="18"/>
                    </a:lnTo>
                    <a:lnTo>
                      <a:pt x="60" y="12"/>
                    </a:lnTo>
                    <a:lnTo>
                      <a:pt x="54" y="0"/>
                    </a:lnTo>
                    <a:lnTo>
                      <a:pt x="48" y="6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6" y="6"/>
                    </a:lnTo>
                    <a:lnTo>
                      <a:pt x="6" y="36"/>
                    </a:lnTo>
                    <a:lnTo>
                      <a:pt x="0" y="36"/>
                    </a:lnTo>
                    <a:lnTo>
                      <a:pt x="0" y="78"/>
                    </a:lnTo>
                    <a:lnTo>
                      <a:pt x="6" y="84"/>
                    </a:lnTo>
                    <a:lnTo>
                      <a:pt x="6" y="96"/>
                    </a:lnTo>
                    <a:lnTo>
                      <a:pt x="6" y="102"/>
                    </a:lnTo>
                    <a:lnTo>
                      <a:pt x="12" y="102"/>
                    </a:lnTo>
                    <a:lnTo>
                      <a:pt x="18" y="102"/>
                    </a:lnTo>
                    <a:lnTo>
                      <a:pt x="24" y="96"/>
                    </a:lnTo>
                    <a:lnTo>
                      <a:pt x="30" y="84"/>
                    </a:lnTo>
                    <a:lnTo>
                      <a:pt x="36" y="84"/>
                    </a:lnTo>
                    <a:lnTo>
                      <a:pt x="42" y="84"/>
                    </a:lnTo>
                    <a:lnTo>
                      <a:pt x="48" y="90"/>
                    </a:lnTo>
                    <a:lnTo>
                      <a:pt x="54" y="90"/>
                    </a:lnTo>
                    <a:lnTo>
                      <a:pt x="54" y="78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72" y="66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84" y="60"/>
                    </a:lnTo>
                    <a:lnTo>
                      <a:pt x="90" y="54"/>
                    </a:lnTo>
                    <a:lnTo>
                      <a:pt x="84" y="48"/>
                    </a:lnTo>
                    <a:lnTo>
                      <a:pt x="78" y="48"/>
                    </a:lnTo>
                    <a:lnTo>
                      <a:pt x="78" y="42"/>
                    </a:lnTo>
                    <a:lnTo>
                      <a:pt x="72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48" name="Freeform 375"/>
              <p:cNvSpPr>
                <a:spLocks/>
              </p:cNvSpPr>
              <p:nvPr/>
            </p:nvSpPr>
            <p:spPr bwMode="auto">
              <a:xfrm>
                <a:off x="1464" y="1632"/>
                <a:ext cx="90" cy="102"/>
              </a:xfrm>
              <a:custGeom>
                <a:avLst/>
                <a:gdLst>
                  <a:gd name="T0" fmla="*/ 72 w 90"/>
                  <a:gd name="T1" fmla="*/ 36 h 102"/>
                  <a:gd name="T2" fmla="*/ 66 w 90"/>
                  <a:gd name="T3" fmla="*/ 30 h 102"/>
                  <a:gd name="T4" fmla="*/ 66 w 90"/>
                  <a:gd name="T5" fmla="*/ 24 h 102"/>
                  <a:gd name="T6" fmla="*/ 60 w 90"/>
                  <a:gd name="T7" fmla="*/ 18 h 102"/>
                  <a:gd name="T8" fmla="*/ 60 w 90"/>
                  <a:gd name="T9" fmla="*/ 12 h 102"/>
                  <a:gd name="T10" fmla="*/ 54 w 90"/>
                  <a:gd name="T11" fmla="*/ 0 h 102"/>
                  <a:gd name="T12" fmla="*/ 48 w 90"/>
                  <a:gd name="T13" fmla="*/ 6 h 102"/>
                  <a:gd name="T14" fmla="*/ 36 w 90"/>
                  <a:gd name="T15" fmla="*/ 6 h 102"/>
                  <a:gd name="T16" fmla="*/ 36 w 90"/>
                  <a:gd name="T17" fmla="*/ 0 h 102"/>
                  <a:gd name="T18" fmla="*/ 24 w 90"/>
                  <a:gd name="T19" fmla="*/ 0 h 102"/>
                  <a:gd name="T20" fmla="*/ 6 w 90"/>
                  <a:gd name="T21" fmla="*/ 6 h 102"/>
                  <a:gd name="T22" fmla="*/ 6 w 90"/>
                  <a:gd name="T23" fmla="*/ 36 h 102"/>
                  <a:gd name="T24" fmla="*/ 0 w 90"/>
                  <a:gd name="T25" fmla="*/ 36 h 102"/>
                  <a:gd name="T26" fmla="*/ 0 w 90"/>
                  <a:gd name="T27" fmla="*/ 78 h 102"/>
                  <a:gd name="T28" fmla="*/ 6 w 90"/>
                  <a:gd name="T29" fmla="*/ 84 h 102"/>
                  <a:gd name="T30" fmla="*/ 6 w 90"/>
                  <a:gd name="T31" fmla="*/ 96 h 102"/>
                  <a:gd name="T32" fmla="*/ 6 w 90"/>
                  <a:gd name="T33" fmla="*/ 102 h 102"/>
                  <a:gd name="T34" fmla="*/ 12 w 90"/>
                  <a:gd name="T35" fmla="*/ 102 h 102"/>
                  <a:gd name="T36" fmla="*/ 18 w 90"/>
                  <a:gd name="T37" fmla="*/ 102 h 102"/>
                  <a:gd name="T38" fmla="*/ 24 w 90"/>
                  <a:gd name="T39" fmla="*/ 96 h 102"/>
                  <a:gd name="T40" fmla="*/ 30 w 90"/>
                  <a:gd name="T41" fmla="*/ 84 h 102"/>
                  <a:gd name="T42" fmla="*/ 36 w 90"/>
                  <a:gd name="T43" fmla="*/ 84 h 102"/>
                  <a:gd name="T44" fmla="*/ 42 w 90"/>
                  <a:gd name="T45" fmla="*/ 84 h 102"/>
                  <a:gd name="T46" fmla="*/ 48 w 90"/>
                  <a:gd name="T47" fmla="*/ 90 h 102"/>
                  <a:gd name="T48" fmla="*/ 54 w 90"/>
                  <a:gd name="T49" fmla="*/ 90 h 102"/>
                  <a:gd name="T50" fmla="*/ 54 w 90"/>
                  <a:gd name="T51" fmla="*/ 78 h 102"/>
                  <a:gd name="T52" fmla="*/ 60 w 90"/>
                  <a:gd name="T53" fmla="*/ 72 h 102"/>
                  <a:gd name="T54" fmla="*/ 66 w 90"/>
                  <a:gd name="T55" fmla="*/ 66 h 102"/>
                  <a:gd name="T56" fmla="*/ 72 w 90"/>
                  <a:gd name="T57" fmla="*/ 66 h 102"/>
                  <a:gd name="T58" fmla="*/ 78 w 90"/>
                  <a:gd name="T59" fmla="*/ 66 h 102"/>
                  <a:gd name="T60" fmla="*/ 78 w 90"/>
                  <a:gd name="T61" fmla="*/ 60 h 102"/>
                  <a:gd name="T62" fmla="*/ 84 w 90"/>
                  <a:gd name="T63" fmla="*/ 60 h 102"/>
                  <a:gd name="T64" fmla="*/ 90 w 90"/>
                  <a:gd name="T65" fmla="*/ 54 h 102"/>
                  <a:gd name="T66" fmla="*/ 84 w 90"/>
                  <a:gd name="T67" fmla="*/ 48 h 102"/>
                  <a:gd name="T68" fmla="*/ 78 w 90"/>
                  <a:gd name="T69" fmla="*/ 48 h 102"/>
                  <a:gd name="T70" fmla="*/ 78 w 90"/>
                  <a:gd name="T71" fmla="*/ 42 h 102"/>
                  <a:gd name="T72" fmla="*/ 72 w 90"/>
                  <a:gd name="T73" fmla="*/ 36 h 10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90" h="102">
                    <a:moveTo>
                      <a:pt x="72" y="36"/>
                    </a:moveTo>
                    <a:lnTo>
                      <a:pt x="66" y="30"/>
                    </a:lnTo>
                    <a:lnTo>
                      <a:pt x="66" y="24"/>
                    </a:lnTo>
                    <a:lnTo>
                      <a:pt x="60" y="18"/>
                    </a:lnTo>
                    <a:lnTo>
                      <a:pt x="60" y="12"/>
                    </a:lnTo>
                    <a:lnTo>
                      <a:pt x="54" y="0"/>
                    </a:lnTo>
                    <a:lnTo>
                      <a:pt x="48" y="6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6" y="6"/>
                    </a:lnTo>
                    <a:lnTo>
                      <a:pt x="6" y="36"/>
                    </a:lnTo>
                    <a:lnTo>
                      <a:pt x="0" y="36"/>
                    </a:lnTo>
                    <a:lnTo>
                      <a:pt x="0" y="78"/>
                    </a:lnTo>
                    <a:lnTo>
                      <a:pt x="6" y="84"/>
                    </a:lnTo>
                    <a:lnTo>
                      <a:pt x="6" y="96"/>
                    </a:lnTo>
                    <a:lnTo>
                      <a:pt x="6" y="102"/>
                    </a:lnTo>
                    <a:lnTo>
                      <a:pt x="12" y="102"/>
                    </a:lnTo>
                    <a:lnTo>
                      <a:pt x="18" y="102"/>
                    </a:lnTo>
                    <a:lnTo>
                      <a:pt x="24" y="96"/>
                    </a:lnTo>
                    <a:lnTo>
                      <a:pt x="30" y="84"/>
                    </a:lnTo>
                    <a:lnTo>
                      <a:pt x="36" y="84"/>
                    </a:lnTo>
                    <a:lnTo>
                      <a:pt x="42" y="84"/>
                    </a:lnTo>
                    <a:lnTo>
                      <a:pt x="48" y="90"/>
                    </a:lnTo>
                    <a:lnTo>
                      <a:pt x="54" y="90"/>
                    </a:lnTo>
                    <a:lnTo>
                      <a:pt x="54" y="78"/>
                    </a:lnTo>
                    <a:lnTo>
                      <a:pt x="60" y="72"/>
                    </a:lnTo>
                    <a:lnTo>
                      <a:pt x="66" y="66"/>
                    </a:lnTo>
                    <a:lnTo>
                      <a:pt x="72" y="66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84" y="60"/>
                    </a:lnTo>
                    <a:lnTo>
                      <a:pt x="90" y="54"/>
                    </a:lnTo>
                    <a:lnTo>
                      <a:pt x="84" y="48"/>
                    </a:lnTo>
                    <a:lnTo>
                      <a:pt x="78" y="48"/>
                    </a:lnTo>
                    <a:lnTo>
                      <a:pt x="78" y="42"/>
                    </a:lnTo>
                    <a:lnTo>
                      <a:pt x="72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51" name="Group 376"/>
            <p:cNvGrpSpPr>
              <a:grpSpLocks/>
            </p:cNvGrpSpPr>
            <p:nvPr/>
          </p:nvGrpSpPr>
          <p:grpSpPr bwMode="auto">
            <a:xfrm>
              <a:off x="1634599" y="3073348"/>
              <a:ext cx="180667" cy="206327"/>
              <a:chOff x="1668" y="1338"/>
              <a:chExt cx="90" cy="120"/>
            </a:xfrm>
            <a:solidFill>
              <a:srgbClr val="0070C0">
                <a:alpha val="27059"/>
              </a:srgbClr>
            </a:solidFill>
          </p:grpSpPr>
          <p:sp>
            <p:nvSpPr>
              <p:cNvPr id="1645" name="Freeform 377"/>
              <p:cNvSpPr>
                <a:spLocks/>
              </p:cNvSpPr>
              <p:nvPr/>
            </p:nvSpPr>
            <p:spPr bwMode="auto">
              <a:xfrm>
                <a:off x="1668" y="1338"/>
                <a:ext cx="90" cy="120"/>
              </a:xfrm>
              <a:custGeom>
                <a:avLst/>
                <a:gdLst>
                  <a:gd name="T0" fmla="*/ 6 w 90"/>
                  <a:gd name="T1" fmla="*/ 120 h 120"/>
                  <a:gd name="T2" fmla="*/ 24 w 90"/>
                  <a:gd name="T3" fmla="*/ 108 h 120"/>
                  <a:gd name="T4" fmla="*/ 36 w 90"/>
                  <a:gd name="T5" fmla="*/ 90 h 120"/>
                  <a:gd name="T6" fmla="*/ 54 w 90"/>
                  <a:gd name="T7" fmla="*/ 78 h 120"/>
                  <a:gd name="T8" fmla="*/ 60 w 90"/>
                  <a:gd name="T9" fmla="*/ 60 h 120"/>
                  <a:gd name="T10" fmla="*/ 84 w 90"/>
                  <a:gd name="T11" fmla="*/ 24 h 120"/>
                  <a:gd name="T12" fmla="*/ 90 w 90"/>
                  <a:gd name="T13" fmla="*/ 12 h 120"/>
                  <a:gd name="T14" fmla="*/ 90 w 90"/>
                  <a:gd name="T15" fmla="*/ 0 h 120"/>
                  <a:gd name="T16" fmla="*/ 84 w 90"/>
                  <a:gd name="T17" fmla="*/ 0 h 120"/>
                  <a:gd name="T18" fmla="*/ 78 w 90"/>
                  <a:gd name="T19" fmla="*/ 0 h 120"/>
                  <a:gd name="T20" fmla="*/ 72 w 90"/>
                  <a:gd name="T21" fmla="*/ 0 h 120"/>
                  <a:gd name="T22" fmla="*/ 54 w 90"/>
                  <a:gd name="T23" fmla="*/ 6 h 120"/>
                  <a:gd name="T24" fmla="*/ 36 w 90"/>
                  <a:gd name="T25" fmla="*/ 6 h 120"/>
                  <a:gd name="T26" fmla="*/ 24 w 90"/>
                  <a:gd name="T27" fmla="*/ 6 h 120"/>
                  <a:gd name="T28" fmla="*/ 18 w 90"/>
                  <a:gd name="T29" fmla="*/ 6 h 120"/>
                  <a:gd name="T30" fmla="*/ 12 w 90"/>
                  <a:gd name="T31" fmla="*/ 12 h 120"/>
                  <a:gd name="T32" fmla="*/ 12 w 90"/>
                  <a:gd name="T33" fmla="*/ 18 h 120"/>
                  <a:gd name="T34" fmla="*/ 12 w 90"/>
                  <a:gd name="T35" fmla="*/ 18 h 120"/>
                  <a:gd name="T36" fmla="*/ 18 w 90"/>
                  <a:gd name="T37" fmla="*/ 24 h 120"/>
                  <a:gd name="T38" fmla="*/ 42 w 90"/>
                  <a:gd name="T39" fmla="*/ 36 h 120"/>
                  <a:gd name="T40" fmla="*/ 54 w 90"/>
                  <a:gd name="T41" fmla="*/ 36 h 120"/>
                  <a:gd name="T42" fmla="*/ 30 w 90"/>
                  <a:gd name="T43" fmla="*/ 72 h 120"/>
                  <a:gd name="T44" fmla="*/ 18 w 90"/>
                  <a:gd name="T45" fmla="*/ 72 h 120"/>
                  <a:gd name="T46" fmla="*/ 18 w 90"/>
                  <a:gd name="T47" fmla="*/ 78 h 120"/>
                  <a:gd name="T48" fmla="*/ 6 w 90"/>
                  <a:gd name="T49" fmla="*/ 78 h 120"/>
                  <a:gd name="T50" fmla="*/ 0 w 90"/>
                  <a:gd name="T51" fmla="*/ 90 h 120"/>
                  <a:gd name="T52" fmla="*/ 0 w 90"/>
                  <a:gd name="T53" fmla="*/ 114 h 120"/>
                  <a:gd name="T54" fmla="*/ 6 w 90"/>
                  <a:gd name="T55" fmla="*/ 120 h 12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0" h="120">
                    <a:moveTo>
                      <a:pt x="6" y="120"/>
                    </a:moveTo>
                    <a:lnTo>
                      <a:pt x="24" y="108"/>
                    </a:lnTo>
                    <a:lnTo>
                      <a:pt x="36" y="90"/>
                    </a:lnTo>
                    <a:lnTo>
                      <a:pt x="54" y="78"/>
                    </a:lnTo>
                    <a:lnTo>
                      <a:pt x="60" y="60"/>
                    </a:lnTo>
                    <a:lnTo>
                      <a:pt x="84" y="24"/>
                    </a:lnTo>
                    <a:lnTo>
                      <a:pt x="90" y="12"/>
                    </a:lnTo>
                    <a:lnTo>
                      <a:pt x="90" y="0"/>
                    </a:lnTo>
                    <a:lnTo>
                      <a:pt x="84" y="0"/>
                    </a:lnTo>
                    <a:lnTo>
                      <a:pt x="78" y="0"/>
                    </a:lnTo>
                    <a:lnTo>
                      <a:pt x="72" y="0"/>
                    </a:lnTo>
                    <a:lnTo>
                      <a:pt x="54" y="6"/>
                    </a:lnTo>
                    <a:lnTo>
                      <a:pt x="36" y="6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8" y="24"/>
                    </a:lnTo>
                    <a:lnTo>
                      <a:pt x="42" y="36"/>
                    </a:lnTo>
                    <a:lnTo>
                      <a:pt x="54" y="36"/>
                    </a:lnTo>
                    <a:lnTo>
                      <a:pt x="30" y="72"/>
                    </a:lnTo>
                    <a:lnTo>
                      <a:pt x="18" y="72"/>
                    </a:lnTo>
                    <a:lnTo>
                      <a:pt x="18" y="78"/>
                    </a:lnTo>
                    <a:lnTo>
                      <a:pt x="6" y="78"/>
                    </a:lnTo>
                    <a:lnTo>
                      <a:pt x="0" y="90"/>
                    </a:lnTo>
                    <a:lnTo>
                      <a:pt x="0" y="114"/>
                    </a:lnTo>
                    <a:lnTo>
                      <a:pt x="6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46" name="Freeform 378"/>
              <p:cNvSpPr>
                <a:spLocks/>
              </p:cNvSpPr>
              <p:nvPr/>
            </p:nvSpPr>
            <p:spPr bwMode="auto">
              <a:xfrm>
                <a:off x="1668" y="1338"/>
                <a:ext cx="90" cy="120"/>
              </a:xfrm>
              <a:custGeom>
                <a:avLst/>
                <a:gdLst>
                  <a:gd name="T0" fmla="*/ 6 w 90"/>
                  <a:gd name="T1" fmla="*/ 120 h 120"/>
                  <a:gd name="T2" fmla="*/ 24 w 90"/>
                  <a:gd name="T3" fmla="*/ 108 h 120"/>
                  <a:gd name="T4" fmla="*/ 36 w 90"/>
                  <a:gd name="T5" fmla="*/ 90 h 120"/>
                  <a:gd name="T6" fmla="*/ 54 w 90"/>
                  <a:gd name="T7" fmla="*/ 78 h 120"/>
                  <a:gd name="T8" fmla="*/ 60 w 90"/>
                  <a:gd name="T9" fmla="*/ 60 h 120"/>
                  <a:gd name="T10" fmla="*/ 84 w 90"/>
                  <a:gd name="T11" fmla="*/ 24 h 120"/>
                  <a:gd name="T12" fmla="*/ 90 w 90"/>
                  <a:gd name="T13" fmla="*/ 12 h 120"/>
                  <a:gd name="T14" fmla="*/ 90 w 90"/>
                  <a:gd name="T15" fmla="*/ 0 h 120"/>
                  <a:gd name="T16" fmla="*/ 84 w 90"/>
                  <a:gd name="T17" fmla="*/ 0 h 120"/>
                  <a:gd name="T18" fmla="*/ 78 w 90"/>
                  <a:gd name="T19" fmla="*/ 0 h 120"/>
                  <a:gd name="T20" fmla="*/ 72 w 90"/>
                  <a:gd name="T21" fmla="*/ 0 h 120"/>
                  <a:gd name="T22" fmla="*/ 54 w 90"/>
                  <a:gd name="T23" fmla="*/ 6 h 120"/>
                  <a:gd name="T24" fmla="*/ 36 w 90"/>
                  <a:gd name="T25" fmla="*/ 6 h 120"/>
                  <a:gd name="T26" fmla="*/ 24 w 90"/>
                  <a:gd name="T27" fmla="*/ 6 h 120"/>
                  <a:gd name="T28" fmla="*/ 18 w 90"/>
                  <a:gd name="T29" fmla="*/ 6 h 120"/>
                  <a:gd name="T30" fmla="*/ 12 w 90"/>
                  <a:gd name="T31" fmla="*/ 12 h 120"/>
                  <a:gd name="T32" fmla="*/ 12 w 90"/>
                  <a:gd name="T33" fmla="*/ 18 h 120"/>
                  <a:gd name="T34" fmla="*/ 18 w 90"/>
                  <a:gd name="T35" fmla="*/ 24 h 120"/>
                  <a:gd name="T36" fmla="*/ 42 w 90"/>
                  <a:gd name="T37" fmla="*/ 36 h 120"/>
                  <a:gd name="T38" fmla="*/ 54 w 90"/>
                  <a:gd name="T39" fmla="*/ 36 h 120"/>
                  <a:gd name="T40" fmla="*/ 30 w 90"/>
                  <a:gd name="T41" fmla="*/ 72 h 120"/>
                  <a:gd name="T42" fmla="*/ 18 w 90"/>
                  <a:gd name="T43" fmla="*/ 72 h 120"/>
                  <a:gd name="T44" fmla="*/ 18 w 90"/>
                  <a:gd name="T45" fmla="*/ 78 h 120"/>
                  <a:gd name="T46" fmla="*/ 6 w 90"/>
                  <a:gd name="T47" fmla="*/ 78 h 120"/>
                  <a:gd name="T48" fmla="*/ 0 w 90"/>
                  <a:gd name="T49" fmla="*/ 90 h 120"/>
                  <a:gd name="T50" fmla="*/ 0 w 90"/>
                  <a:gd name="T51" fmla="*/ 114 h 120"/>
                  <a:gd name="T52" fmla="*/ 6 w 90"/>
                  <a:gd name="T53" fmla="*/ 120 h 12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90" h="120">
                    <a:moveTo>
                      <a:pt x="6" y="120"/>
                    </a:moveTo>
                    <a:lnTo>
                      <a:pt x="24" y="108"/>
                    </a:lnTo>
                    <a:lnTo>
                      <a:pt x="36" y="90"/>
                    </a:lnTo>
                    <a:lnTo>
                      <a:pt x="54" y="78"/>
                    </a:lnTo>
                    <a:lnTo>
                      <a:pt x="60" y="60"/>
                    </a:lnTo>
                    <a:lnTo>
                      <a:pt x="84" y="24"/>
                    </a:lnTo>
                    <a:lnTo>
                      <a:pt x="90" y="12"/>
                    </a:lnTo>
                    <a:lnTo>
                      <a:pt x="90" y="0"/>
                    </a:lnTo>
                    <a:lnTo>
                      <a:pt x="84" y="0"/>
                    </a:lnTo>
                    <a:lnTo>
                      <a:pt x="78" y="0"/>
                    </a:lnTo>
                    <a:lnTo>
                      <a:pt x="72" y="0"/>
                    </a:lnTo>
                    <a:lnTo>
                      <a:pt x="54" y="6"/>
                    </a:lnTo>
                    <a:lnTo>
                      <a:pt x="36" y="6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8" y="24"/>
                    </a:lnTo>
                    <a:lnTo>
                      <a:pt x="42" y="36"/>
                    </a:lnTo>
                    <a:lnTo>
                      <a:pt x="54" y="36"/>
                    </a:lnTo>
                    <a:lnTo>
                      <a:pt x="30" y="72"/>
                    </a:lnTo>
                    <a:lnTo>
                      <a:pt x="18" y="72"/>
                    </a:lnTo>
                    <a:lnTo>
                      <a:pt x="18" y="78"/>
                    </a:lnTo>
                    <a:lnTo>
                      <a:pt x="6" y="78"/>
                    </a:lnTo>
                    <a:lnTo>
                      <a:pt x="0" y="90"/>
                    </a:lnTo>
                    <a:lnTo>
                      <a:pt x="0" y="114"/>
                    </a:lnTo>
                    <a:lnTo>
                      <a:pt x="6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52" name="Group 379"/>
            <p:cNvGrpSpPr>
              <a:grpSpLocks/>
            </p:cNvGrpSpPr>
            <p:nvPr/>
          </p:nvGrpSpPr>
          <p:grpSpPr bwMode="auto">
            <a:xfrm>
              <a:off x="1486606" y="3198762"/>
              <a:ext cx="157603" cy="153734"/>
              <a:chOff x="1596" y="1410"/>
              <a:chExt cx="78" cy="90"/>
            </a:xfrm>
            <a:solidFill>
              <a:srgbClr val="0070C0">
                <a:alpha val="27059"/>
              </a:srgbClr>
            </a:solidFill>
          </p:grpSpPr>
          <p:sp>
            <p:nvSpPr>
              <p:cNvPr id="1643" name="Freeform 380"/>
              <p:cNvSpPr>
                <a:spLocks/>
              </p:cNvSpPr>
              <p:nvPr/>
            </p:nvSpPr>
            <p:spPr bwMode="auto">
              <a:xfrm>
                <a:off x="1596" y="1410"/>
                <a:ext cx="78" cy="90"/>
              </a:xfrm>
              <a:custGeom>
                <a:avLst/>
                <a:gdLst>
                  <a:gd name="T0" fmla="*/ 48 w 78"/>
                  <a:gd name="T1" fmla="*/ 84 h 90"/>
                  <a:gd name="T2" fmla="*/ 60 w 78"/>
                  <a:gd name="T3" fmla="*/ 72 h 90"/>
                  <a:gd name="T4" fmla="*/ 72 w 78"/>
                  <a:gd name="T5" fmla="*/ 48 h 90"/>
                  <a:gd name="T6" fmla="*/ 78 w 78"/>
                  <a:gd name="T7" fmla="*/ 48 h 90"/>
                  <a:gd name="T8" fmla="*/ 72 w 78"/>
                  <a:gd name="T9" fmla="*/ 42 h 90"/>
                  <a:gd name="T10" fmla="*/ 72 w 78"/>
                  <a:gd name="T11" fmla="*/ 18 h 90"/>
                  <a:gd name="T12" fmla="*/ 78 w 78"/>
                  <a:gd name="T13" fmla="*/ 6 h 90"/>
                  <a:gd name="T14" fmla="*/ 78 w 78"/>
                  <a:gd name="T15" fmla="*/ 0 h 90"/>
                  <a:gd name="T16" fmla="*/ 60 w 78"/>
                  <a:gd name="T17" fmla="*/ 6 h 90"/>
                  <a:gd name="T18" fmla="*/ 54 w 78"/>
                  <a:gd name="T19" fmla="*/ 12 h 90"/>
                  <a:gd name="T20" fmla="*/ 42 w 78"/>
                  <a:gd name="T21" fmla="*/ 12 h 90"/>
                  <a:gd name="T22" fmla="*/ 30 w 78"/>
                  <a:gd name="T23" fmla="*/ 0 h 90"/>
                  <a:gd name="T24" fmla="*/ 18 w 78"/>
                  <a:gd name="T25" fmla="*/ 0 h 90"/>
                  <a:gd name="T26" fmla="*/ 18 w 78"/>
                  <a:gd name="T27" fmla="*/ 0 h 90"/>
                  <a:gd name="T28" fmla="*/ 6 w 78"/>
                  <a:gd name="T29" fmla="*/ 0 h 90"/>
                  <a:gd name="T30" fmla="*/ 6 w 78"/>
                  <a:gd name="T31" fmla="*/ 6 h 90"/>
                  <a:gd name="T32" fmla="*/ 12 w 78"/>
                  <a:gd name="T33" fmla="*/ 30 h 90"/>
                  <a:gd name="T34" fmla="*/ 0 w 78"/>
                  <a:gd name="T35" fmla="*/ 42 h 90"/>
                  <a:gd name="T36" fmla="*/ 0 w 78"/>
                  <a:gd name="T37" fmla="*/ 48 h 90"/>
                  <a:gd name="T38" fmla="*/ 0 w 78"/>
                  <a:gd name="T39" fmla="*/ 54 h 90"/>
                  <a:gd name="T40" fmla="*/ 0 w 78"/>
                  <a:gd name="T41" fmla="*/ 54 h 90"/>
                  <a:gd name="T42" fmla="*/ 36 w 78"/>
                  <a:gd name="T43" fmla="*/ 78 h 90"/>
                  <a:gd name="T44" fmla="*/ 36 w 78"/>
                  <a:gd name="T45" fmla="*/ 84 h 90"/>
                  <a:gd name="T46" fmla="*/ 36 w 78"/>
                  <a:gd name="T47" fmla="*/ 84 h 90"/>
                  <a:gd name="T48" fmla="*/ 48 w 78"/>
                  <a:gd name="T49" fmla="*/ 90 h 90"/>
                  <a:gd name="T50" fmla="*/ 48 w 78"/>
                  <a:gd name="T51" fmla="*/ 84 h 9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78" h="90">
                    <a:moveTo>
                      <a:pt x="48" y="84"/>
                    </a:moveTo>
                    <a:lnTo>
                      <a:pt x="60" y="72"/>
                    </a:lnTo>
                    <a:lnTo>
                      <a:pt x="72" y="48"/>
                    </a:lnTo>
                    <a:lnTo>
                      <a:pt x="78" y="48"/>
                    </a:lnTo>
                    <a:lnTo>
                      <a:pt x="72" y="42"/>
                    </a:lnTo>
                    <a:lnTo>
                      <a:pt x="72" y="18"/>
                    </a:lnTo>
                    <a:lnTo>
                      <a:pt x="78" y="6"/>
                    </a:lnTo>
                    <a:lnTo>
                      <a:pt x="78" y="0"/>
                    </a:lnTo>
                    <a:lnTo>
                      <a:pt x="60" y="6"/>
                    </a:lnTo>
                    <a:lnTo>
                      <a:pt x="54" y="12"/>
                    </a:lnTo>
                    <a:lnTo>
                      <a:pt x="42" y="12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30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36" y="78"/>
                    </a:lnTo>
                    <a:lnTo>
                      <a:pt x="36" y="84"/>
                    </a:lnTo>
                    <a:lnTo>
                      <a:pt x="48" y="90"/>
                    </a:lnTo>
                    <a:lnTo>
                      <a:pt x="48" y="8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44" name="Freeform 381"/>
              <p:cNvSpPr>
                <a:spLocks/>
              </p:cNvSpPr>
              <p:nvPr/>
            </p:nvSpPr>
            <p:spPr bwMode="auto">
              <a:xfrm>
                <a:off x="1596" y="1410"/>
                <a:ext cx="78" cy="90"/>
              </a:xfrm>
              <a:custGeom>
                <a:avLst/>
                <a:gdLst>
                  <a:gd name="T0" fmla="*/ 48 w 78"/>
                  <a:gd name="T1" fmla="*/ 84 h 90"/>
                  <a:gd name="T2" fmla="*/ 60 w 78"/>
                  <a:gd name="T3" fmla="*/ 72 h 90"/>
                  <a:gd name="T4" fmla="*/ 72 w 78"/>
                  <a:gd name="T5" fmla="*/ 48 h 90"/>
                  <a:gd name="T6" fmla="*/ 78 w 78"/>
                  <a:gd name="T7" fmla="*/ 48 h 90"/>
                  <a:gd name="T8" fmla="*/ 72 w 78"/>
                  <a:gd name="T9" fmla="*/ 42 h 90"/>
                  <a:gd name="T10" fmla="*/ 72 w 78"/>
                  <a:gd name="T11" fmla="*/ 18 h 90"/>
                  <a:gd name="T12" fmla="*/ 78 w 78"/>
                  <a:gd name="T13" fmla="*/ 6 h 90"/>
                  <a:gd name="T14" fmla="*/ 78 w 78"/>
                  <a:gd name="T15" fmla="*/ 0 h 90"/>
                  <a:gd name="T16" fmla="*/ 60 w 78"/>
                  <a:gd name="T17" fmla="*/ 6 h 90"/>
                  <a:gd name="T18" fmla="*/ 54 w 78"/>
                  <a:gd name="T19" fmla="*/ 12 h 90"/>
                  <a:gd name="T20" fmla="*/ 42 w 78"/>
                  <a:gd name="T21" fmla="*/ 12 h 90"/>
                  <a:gd name="T22" fmla="*/ 30 w 78"/>
                  <a:gd name="T23" fmla="*/ 0 h 90"/>
                  <a:gd name="T24" fmla="*/ 18 w 78"/>
                  <a:gd name="T25" fmla="*/ 0 h 90"/>
                  <a:gd name="T26" fmla="*/ 6 w 78"/>
                  <a:gd name="T27" fmla="*/ 0 h 90"/>
                  <a:gd name="T28" fmla="*/ 6 w 78"/>
                  <a:gd name="T29" fmla="*/ 6 h 90"/>
                  <a:gd name="T30" fmla="*/ 12 w 78"/>
                  <a:gd name="T31" fmla="*/ 30 h 90"/>
                  <a:gd name="T32" fmla="*/ 0 w 78"/>
                  <a:gd name="T33" fmla="*/ 42 h 90"/>
                  <a:gd name="T34" fmla="*/ 0 w 78"/>
                  <a:gd name="T35" fmla="*/ 48 h 90"/>
                  <a:gd name="T36" fmla="*/ 0 w 78"/>
                  <a:gd name="T37" fmla="*/ 54 h 90"/>
                  <a:gd name="T38" fmla="*/ 36 w 78"/>
                  <a:gd name="T39" fmla="*/ 78 h 90"/>
                  <a:gd name="T40" fmla="*/ 36 w 78"/>
                  <a:gd name="T41" fmla="*/ 84 h 90"/>
                  <a:gd name="T42" fmla="*/ 48 w 78"/>
                  <a:gd name="T43" fmla="*/ 90 h 9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78" h="90">
                    <a:moveTo>
                      <a:pt x="48" y="84"/>
                    </a:moveTo>
                    <a:lnTo>
                      <a:pt x="60" y="72"/>
                    </a:lnTo>
                    <a:lnTo>
                      <a:pt x="72" y="48"/>
                    </a:lnTo>
                    <a:lnTo>
                      <a:pt x="78" y="48"/>
                    </a:lnTo>
                    <a:lnTo>
                      <a:pt x="72" y="42"/>
                    </a:lnTo>
                    <a:lnTo>
                      <a:pt x="72" y="18"/>
                    </a:lnTo>
                    <a:lnTo>
                      <a:pt x="78" y="6"/>
                    </a:lnTo>
                    <a:lnTo>
                      <a:pt x="78" y="0"/>
                    </a:lnTo>
                    <a:lnTo>
                      <a:pt x="60" y="6"/>
                    </a:lnTo>
                    <a:lnTo>
                      <a:pt x="54" y="12"/>
                    </a:lnTo>
                    <a:lnTo>
                      <a:pt x="42" y="12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30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36" y="78"/>
                    </a:lnTo>
                    <a:lnTo>
                      <a:pt x="36" y="84"/>
                    </a:lnTo>
                    <a:lnTo>
                      <a:pt x="48" y="90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53" name="Group 382"/>
            <p:cNvGrpSpPr>
              <a:grpSpLocks/>
            </p:cNvGrpSpPr>
            <p:nvPr/>
          </p:nvGrpSpPr>
          <p:grpSpPr bwMode="auto">
            <a:xfrm>
              <a:off x="1400117" y="3206853"/>
              <a:ext cx="111475" cy="93049"/>
              <a:chOff x="1554" y="1416"/>
              <a:chExt cx="54" cy="54"/>
            </a:xfrm>
            <a:solidFill>
              <a:srgbClr val="0070C0">
                <a:alpha val="27059"/>
              </a:srgbClr>
            </a:solidFill>
          </p:grpSpPr>
          <p:sp>
            <p:nvSpPr>
              <p:cNvPr id="1641" name="Freeform 383"/>
              <p:cNvSpPr>
                <a:spLocks/>
              </p:cNvSpPr>
              <p:nvPr/>
            </p:nvSpPr>
            <p:spPr bwMode="auto">
              <a:xfrm>
                <a:off x="1554" y="1416"/>
                <a:ext cx="54" cy="54"/>
              </a:xfrm>
              <a:custGeom>
                <a:avLst/>
                <a:gdLst>
                  <a:gd name="T0" fmla="*/ 12 w 54"/>
                  <a:gd name="T1" fmla="*/ 0 h 54"/>
                  <a:gd name="T2" fmla="*/ 6 w 54"/>
                  <a:gd name="T3" fmla="*/ 6 h 54"/>
                  <a:gd name="T4" fmla="*/ 6 w 54"/>
                  <a:gd name="T5" fmla="*/ 6 h 54"/>
                  <a:gd name="T6" fmla="*/ 6 w 54"/>
                  <a:gd name="T7" fmla="*/ 12 h 54"/>
                  <a:gd name="T8" fmla="*/ 6 w 54"/>
                  <a:gd name="T9" fmla="*/ 18 h 54"/>
                  <a:gd name="T10" fmla="*/ 0 w 54"/>
                  <a:gd name="T11" fmla="*/ 36 h 54"/>
                  <a:gd name="T12" fmla="*/ 0 w 54"/>
                  <a:gd name="T13" fmla="*/ 42 h 54"/>
                  <a:gd name="T14" fmla="*/ 0 w 54"/>
                  <a:gd name="T15" fmla="*/ 48 h 54"/>
                  <a:gd name="T16" fmla="*/ 0 w 54"/>
                  <a:gd name="T17" fmla="*/ 54 h 54"/>
                  <a:gd name="T18" fmla="*/ 6 w 54"/>
                  <a:gd name="T19" fmla="*/ 54 h 54"/>
                  <a:gd name="T20" fmla="*/ 18 w 54"/>
                  <a:gd name="T21" fmla="*/ 48 h 54"/>
                  <a:gd name="T22" fmla="*/ 30 w 54"/>
                  <a:gd name="T23" fmla="*/ 36 h 54"/>
                  <a:gd name="T24" fmla="*/ 30 w 54"/>
                  <a:gd name="T25" fmla="*/ 36 h 54"/>
                  <a:gd name="T26" fmla="*/ 42 w 54"/>
                  <a:gd name="T27" fmla="*/ 36 h 54"/>
                  <a:gd name="T28" fmla="*/ 54 w 54"/>
                  <a:gd name="T29" fmla="*/ 24 h 54"/>
                  <a:gd name="T30" fmla="*/ 48 w 54"/>
                  <a:gd name="T31" fmla="*/ 6 h 54"/>
                  <a:gd name="T32" fmla="*/ 48 w 54"/>
                  <a:gd name="T33" fmla="*/ 0 h 54"/>
                  <a:gd name="T34" fmla="*/ 48 w 54"/>
                  <a:gd name="T35" fmla="*/ 0 h 54"/>
                  <a:gd name="T36" fmla="*/ 30 w 54"/>
                  <a:gd name="T37" fmla="*/ 0 h 54"/>
                  <a:gd name="T38" fmla="*/ 12 w 54"/>
                  <a:gd name="T39" fmla="*/ 0 h 54"/>
                  <a:gd name="T40" fmla="*/ 12 w 54"/>
                  <a:gd name="T41" fmla="*/ 0 h 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4" h="54">
                    <a:moveTo>
                      <a:pt x="12" y="0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6" y="54"/>
                    </a:lnTo>
                    <a:lnTo>
                      <a:pt x="18" y="48"/>
                    </a:lnTo>
                    <a:lnTo>
                      <a:pt x="30" y="36"/>
                    </a:lnTo>
                    <a:lnTo>
                      <a:pt x="42" y="36"/>
                    </a:lnTo>
                    <a:lnTo>
                      <a:pt x="54" y="24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30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42" name="Freeform 384"/>
              <p:cNvSpPr>
                <a:spLocks/>
              </p:cNvSpPr>
              <p:nvPr/>
            </p:nvSpPr>
            <p:spPr bwMode="auto">
              <a:xfrm>
                <a:off x="1554" y="1416"/>
                <a:ext cx="54" cy="54"/>
              </a:xfrm>
              <a:custGeom>
                <a:avLst/>
                <a:gdLst>
                  <a:gd name="T0" fmla="*/ 12 w 54"/>
                  <a:gd name="T1" fmla="*/ 0 h 54"/>
                  <a:gd name="T2" fmla="*/ 6 w 54"/>
                  <a:gd name="T3" fmla="*/ 6 h 54"/>
                  <a:gd name="T4" fmla="*/ 6 w 54"/>
                  <a:gd name="T5" fmla="*/ 12 h 54"/>
                  <a:gd name="T6" fmla="*/ 6 w 54"/>
                  <a:gd name="T7" fmla="*/ 18 h 54"/>
                  <a:gd name="T8" fmla="*/ 0 w 54"/>
                  <a:gd name="T9" fmla="*/ 36 h 54"/>
                  <a:gd name="T10" fmla="*/ 0 w 54"/>
                  <a:gd name="T11" fmla="*/ 42 h 54"/>
                  <a:gd name="T12" fmla="*/ 0 w 54"/>
                  <a:gd name="T13" fmla="*/ 48 h 54"/>
                  <a:gd name="T14" fmla="*/ 0 w 54"/>
                  <a:gd name="T15" fmla="*/ 54 h 54"/>
                  <a:gd name="T16" fmla="*/ 6 w 54"/>
                  <a:gd name="T17" fmla="*/ 54 h 54"/>
                  <a:gd name="T18" fmla="*/ 18 w 54"/>
                  <a:gd name="T19" fmla="*/ 48 h 54"/>
                  <a:gd name="T20" fmla="*/ 30 w 54"/>
                  <a:gd name="T21" fmla="*/ 36 h 54"/>
                  <a:gd name="T22" fmla="*/ 42 w 54"/>
                  <a:gd name="T23" fmla="*/ 36 h 54"/>
                  <a:gd name="T24" fmla="*/ 54 w 54"/>
                  <a:gd name="T25" fmla="*/ 24 h 54"/>
                  <a:gd name="T26" fmla="*/ 48 w 54"/>
                  <a:gd name="T27" fmla="*/ 6 h 54"/>
                  <a:gd name="T28" fmla="*/ 48 w 54"/>
                  <a:gd name="T29" fmla="*/ 0 h 54"/>
                  <a:gd name="T30" fmla="*/ 30 w 54"/>
                  <a:gd name="T31" fmla="*/ 0 h 54"/>
                  <a:gd name="T32" fmla="*/ 12 w 54"/>
                  <a:gd name="T33" fmla="*/ 0 h 5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4" h="54">
                    <a:moveTo>
                      <a:pt x="12" y="0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6" y="54"/>
                    </a:lnTo>
                    <a:lnTo>
                      <a:pt x="18" y="48"/>
                    </a:lnTo>
                    <a:lnTo>
                      <a:pt x="30" y="36"/>
                    </a:lnTo>
                    <a:lnTo>
                      <a:pt x="42" y="36"/>
                    </a:lnTo>
                    <a:lnTo>
                      <a:pt x="54" y="24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30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54" name="Group 385"/>
            <p:cNvGrpSpPr>
              <a:grpSpLocks/>
            </p:cNvGrpSpPr>
            <p:nvPr/>
          </p:nvGrpSpPr>
          <p:grpSpPr bwMode="auto">
            <a:xfrm>
              <a:off x="1475074" y="2970185"/>
              <a:ext cx="267156" cy="248806"/>
              <a:chOff x="1590" y="1278"/>
              <a:chExt cx="132" cy="144"/>
            </a:xfrm>
            <a:solidFill>
              <a:srgbClr val="0070C0">
                <a:alpha val="27059"/>
              </a:srgbClr>
            </a:solidFill>
          </p:grpSpPr>
          <p:sp>
            <p:nvSpPr>
              <p:cNvPr id="1639" name="Freeform 386"/>
              <p:cNvSpPr>
                <a:spLocks/>
              </p:cNvSpPr>
              <p:nvPr/>
            </p:nvSpPr>
            <p:spPr bwMode="auto">
              <a:xfrm>
                <a:off x="1590" y="1278"/>
                <a:ext cx="132" cy="144"/>
              </a:xfrm>
              <a:custGeom>
                <a:avLst/>
                <a:gdLst>
                  <a:gd name="T0" fmla="*/ 48 w 132"/>
                  <a:gd name="T1" fmla="*/ 0 h 144"/>
                  <a:gd name="T2" fmla="*/ 48 w 132"/>
                  <a:gd name="T3" fmla="*/ 6 h 144"/>
                  <a:gd name="T4" fmla="*/ 42 w 132"/>
                  <a:gd name="T5" fmla="*/ 6 h 144"/>
                  <a:gd name="T6" fmla="*/ 30 w 132"/>
                  <a:gd name="T7" fmla="*/ 18 h 144"/>
                  <a:gd name="T8" fmla="*/ 30 w 132"/>
                  <a:gd name="T9" fmla="*/ 24 h 144"/>
                  <a:gd name="T10" fmla="*/ 24 w 132"/>
                  <a:gd name="T11" fmla="*/ 30 h 144"/>
                  <a:gd name="T12" fmla="*/ 24 w 132"/>
                  <a:gd name="T13" fmla="*/ 36 h 144"/>
                  <a:gd name="T14" fmla="*/ 18 w 132"/>
                  <a:gd name="T15" fmla="*/ 48 h 144"/>
                  <a:gd name="T16" fmla="*/ 12 w 132"/>
                  <a:gd name="T17" fmla="*/ 54 h 144"/>
                  <a:gd name="T18" fmla="*/ 6 w 132"/>
                  <a:gd name="T19" fmla="*/ 60 h 144"/>
                  <a:gd name="T20" fmla="*/ 0 w 132"/>
                  <a:gd name="T21" fmla="*/ 66 h 144"/>
                  <a:gd name="T22" fmla="*/ 0 w 132"/>
                  <a:gd name="T23" fmla="*/ 84 h 144"/>
                  <a:gd name="T24" fmla="*/ 0 w 132"/>
                  <a:gd name="T25" fmla="*/ 90 h 144"/>
                  <a:gd name="T26" fmla="*/ 0 w 132"/>
                  <a:gd name="T27" fmla="*/ 90 h 144"/>
                  <a:gd name="T28" fmla="*/ 6 w 132"/>
                  <a:gd name="T29" fmla="*/ 96 h 144"/>
                  <a:gd name="T30" fmla="*/ 12 w 132"/>
                  <a:gd name="T31" fmla="*/ 108 h 144"/>
                  <a:gd name="T32" fmla="*/ 24 w 132"/>
                  <a:gd name="T33" fmla="*/ 114 h 144"/>
                  <a:gd name="T34" fmla="*/ 24 w 132"/>
                  <a:gd name="T35" fmla="*/ 132 h 144"/>
                  <a:gd name="T36" fmla="*/ 36 w 132"/>
                  <a:gd name="T37" fmla="*/ 132 h 144"/>
                  <a:gd name="T38" fmla="*/ 48 w 132"/>
                  <a:gd name="T39" fmla="*/ 144 h 144"/>
                  <a:gd name="T40" fmla="*/ 60 w 132"/>
                  <a:gd name="T41" fmla="*/ 144 h 144"/>
                  <a:gd name="T42" fmla="*/ 66 w 132"/>
                  <a:gd name="T43" fmla="*/ 138 h 144"/>
                  <a:gd name="T44" fmla="*/ 84 w 132"/>
                  <a:gd name="T45" fmla="*/ 132 h 144"/>
                  <a:gd name="T46" fmla="*/ 84 w 132"/>
                  <a:gd name="T47" fmla="*/ 138 h 144"/>
                  <a:gd name="T48" fmla="*/ 96 w 132"/>
                  <a:gd name="T49" fmla="*/ 138 h 144"/>
                  <a:gd name="T50" fmla="*/ 96 w 132"/>
                  <a:gd name="T51" fmla="*/ 132 h 144"/>
                  <a:gd name="T52" fmla="*/ 108 w 132"/>
                  <a:gd name="T53" fmla="*/ 132 h 144"/>
                  <a:gd name="T54" fmla="*/ 132 w 132"/>
                  <a:gd name="T55" fmla="*/ 96 h 144"/>
                  <a:gd name="T56" fmla="*/ 120 w 132"/>
                  <a:gd name="T57" fmla="*/ 96 h 144"/>
                  <a:gd name="T58" fmla="*/ 96 w 132"/>
                  <a:gd name="T59" fmla="*/ 84 h 144"/>
                  <a:gd name="T60" fmla="*/ 90 w 132"/>
                  <a:gd name="T61" fmla="*/ 78 h 144"/>
                  <a:gd name="T62" fmla="*/ 90 w 132"/>
                  <a:gd name="T63" fmla="*/ 78 h 144"/>
                  <a:gd name="T64" fmla="*/ 90 w 132"/>
                  <a:gd name="T65" fmla="*/ 72 h 144"/>
                  <a:gd name="T66" fmla="*/ 78 w 132"/>
                  <a:gd name="T67" fmla="*/ 72 h 144"/>
                  <a:gd name="T68" fmla="*/ 78 w 132"/>
                  <a:gd name="T69" fmla="*/ 60 h 144"/>
                  <a:gd name="T70" fmla="*/ 84 w 132"/>
                  <a:gd name="T71" fmla="*/ 54 h 144"/>
                  <a:gd name="T72" fmla="*/ 84 w 132"/>
                  <a:gd name="T73" fmla="*/ 54 h 144"/>
                  <a:gd name="T74" fmla="*/ 90 w 132"/>
                  <a:gd name="T75" fmla="*/ 54 h 144"/>
                  <a:gd name="T76" fmla="*/ 90 w 132"/>
                  <a:gd name="T77" fmla="*/ 48 h 144"/>
                  <a:gd name="T78" fmla="*/ 84 w 132"/>
                  <a:gd name="T79" fmla="*/ 42 h 144"/>
                  <a:gd name="T80" fmla="*/ 72 w 132"/>
                  <a:gd name="T81" fmla="*/ 36 h 144"/>
                  <a:gd name="T82" fmla="*/ 66 w 132"/>
                  <a:gd name="T83" fmla="*/ 24 h 144"/>
                  <a:gd name="T84" fmla="*/ 60 w 132"/>
                  <a:gd name="T85" fmla="*/ 18 h 144"/>
                  <a:gd name="T86" fmla="*/ 54 w 132"/>
                  <a:gd name="T87" fmla="*/ 12 h 144"/>
                  <a:gd name="T88" fmla="*/ 54 w 132"/>
                  <a:gd name="T89" fmla="*/ 6 h 144"/>
                  <a:gd name="T90" fmla="*/ 48 w 132"/>
                  <a:gd name="T91" fmla="*/ 0 h 14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32" h="144">
                    <a:moveTo>
                      <a:pt x="48" y="0"/>
                    </a:moveTo>
                    <a:lnTo>
                      <a:pt x="48" y="6"/>
                    </a:lnTo>
                    <a:lnTo>
                      <a:pt x="42" y="6"/>
                    </a:lnTo>
                    <a:lnTo>
                      <a:pt x="30" y="18"/>
                    </a:lnTo>
                    <a:lnTo>
                      <a:pt x="30" y="24"/>
                    </a:lnTo>
                    <a:lnTo>
                      <a:pt x="24" y="30"/>
                    </a:lnTo>
                    <a:lnTo>
                      <a:pt x="24" y="36"/>
                    </a:lnTo>
                    <a:lnTo>
                      <a:pt x="18" y="48"/>
                    </a:lnTo>
                    <a:lnTo>
                      <a:pt x="12" y="54"/>
                    </a:lnTo>
                    <a:lnTo>
                      <a:pt x="6" y="60"/>
                    </a:lnTo>
                    <a:lnTo>
                      <a:pt x="0" y="66"/>
                    </a:lnTo>
                    <a:lnTo>
                      <a:pt x="0" y="84"/>
                    </a:lnTo>
                    <a:lnTo>
                      <a:pt x="0" y="90"/>
                    </a:lnTo>
                    <a:lnTo>
                      <a:pt x="6" y="96"/>
                    </a:lnTo>
                    <a:lnTo>
                      <a:pt x="12" y="108"/>
                    </a:lnTo>
                    <a:lnTo>
                      <a:pt x="24" y="114"/>
                    </a:lnTo>
                    <a:lnTo>
                      <a:pt x="24" y="132"/>
                    </a:lnTo>
                    <a:lnTo>
                      <a:pt x="36" y="132"/>
                    </a:lnTo>
                    <a:lnTo>
                      <a:pt x="48" y="144"/>
                    </a:lnTo>
                    <a:lnTo>
                      <a:pt x="60" y="144"/>
                    </a:lnTo>
                    <a:lnTo>
                      <a:pt x="66" y="138"/>
                    </a:lnTo>
                    <a:lnTo>
                      <a:pt x="84" y="132"/>
                    </a:lnTo>
                    <a:lnTo>
                      <a:pt x="84" y="138"/>
                    </a:lnTo>
                    <a:lnTo>
                      <a:pt x="96" y="138"/>
                    </a:lnTo>
                    <a:lnTo>
                      <a:pt x="96" y="132"/>
                    </a:lnTo>
                    <a:lnTo>
                      <a:pt x="108" y="132"/>
                    </a:lnTo>
                    <a:lnTo>
                      <a:pt x="132" y="96"/>
                    </a:lnTo>
                    <a:lnTo>
                      <a:pt x="120" y="96"/>
                    </a:lnTo>
                    <a:lnTo>
                      <a:pt x="96" y="84"/>
                    </a:lnTo>
                    <a:lnTo>
                      <a:pt x="90" y="78"/>
                    </a:lnTo>
                    <a:lnTo>
                      <a:pt x="90" y="72"/>
                    </a:lnTo>
                    <a:lnTo>
                      <a:pt x="78" y="72"/>
                    </a:lnTo>
                    <a:lnTo>
                      <a:pt x="78" y="60"/>
                    </a:lnTo>
                    <a:lnTo>
                      <a:pt x="84" y="54"/>
                    </a:lnTo>
                    <a:lnTo>
                      <a:pt x="90" y="54"/>
                    </a:lnTo>
                    <a:lnTo>
                      <a:pt x="90" y="48"/>
                    </a:lnTo>
                    <a:lnTo>
                      <a:pt x="84" y="42"/>
                    </a:lnTo>
                    <a:lnTo>
                      <a:pt x="72" y="36"/>
                    </a:lnTo>
                    <a:lnTo>
                      <a:pt x="66" y="24"/>
                    </a:lnTo>
                    <a:lnTo>
                      <a:pt x="60" y="18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40" name="Freeform 387"/>
              <p:cNvSpPr>
                <a:spLocks/>
              </p:cNvSpPr>
              <p:nvPr/>
            </p:nvSpPr>
            <p:spPr bwMode="auto">
              <a:xfrm>
                <a:off x="1590" y="1278"/>
                <a:ext cx="132" cy="144"/>
              </a:xfrm>
              <a:custGeom>
                <a:avLst/>
                <a:gdLst>
                  <a:gd name="T0" fmla="*/ 48 w 132"/>
                  <a:gd name="T1" fmla="*/ 0 h 144"/>
                  <a:gd name="T2" fmla="*/ 48 w 132"/>
                  <a:gd name="T3" fmla="*/ 6 h 144"/>
                  <a:gd name="T4" fmla="*/ 42 w 132"/>
                  <a:gd name="T5" fmla="*/ 6 h 144"/>
                  <a:gd name="T6" fmla="*/ 30 w 132"/>
                  <a:gd name="T7" fmla="*/ 18 h 144"/>
                  <a:gd name="T8" fmla="*/ 30 w 132"/>
                  <a:gd name="T9" fmla="*/ 24 h 144"/>
                  <a:gd name="T10" fmla="*/ 24 w 132"/>
                  <a:gd name="T11" fmla="*/ 30 h 144"/>
                  <a:gd name="T12" fmla="*/ 24 w 132"/>
                  <a:gd name="T13" fmla="*/ 36 h 144"/>
                  <a:gd name="T14" fmla="*/ 18 w 132"/>
                  <a:gd name="T15" fmla="*/ 48 h 144"/>
                  <a:gd name="T16" fmla="*/ 12 w 132"/>
                  <a:gd name="T17" fmla="*/ 54 h 144"/>
                  <a:gd name="T18" fmla="*/ 6 w 132"/>
                  <a:gd name="T19" fmla="*/ 60 h 144"/>
                  <a:gd name="T20" fmla="*/ 0 w 132"/>
                  <a:gd name="T21" fmla="*/ 66 h 144"/>
                  <a:gd name="T22" fmla="*/ 0 w 132"/>
                  <a:gd name="T23" fmla="*/ 84 h 144"/>
                  <a:gd name="T24" fmla="*/ 0 w 132"/>
                  <a:gd name="T25" fmla="*/ 90 h 144"/>
                  <a:gd name="T26" fmla="*/ 6 w 132"/>
                  <a:gd name="T27" fmla="*/ 96 h 144"/>
                  <a:gd name="T28" fmla="*/ 12 w 132"/>
                  <a:gd name="T29" fmla="*/ 108 h 144"/>
                  <a:gd name="T30" fmla="*/ 24 w 132"/>
                  <a:gd name="T31" fmla="*/ 114 h 144"/>
                  <a:gd name="T32" fmla="*/ 24 w 132"/>
                  <a:gd name="T33" fmla="*/ 132 h 144"/>
                  <a:gd name="T34" fmla="*/ 36 w 132"/>
                  <a:gd name="T35" fmla="*/ 132 h 144"/>
                  <a:gd name="T36" fmla="*/ 48 w 132"/>
                  <a:gd name="T37" fmla="*/ 144 h 144"/>
                  <a:gd name="T38" fmla="*/ 60 w 132"/>
                  <a:gd name="T39" fmla="*/ 144 h 144"/>
                  <a:gd name="T40" fmla="*/ 66 w 132"/>
                  <a:gd name="T41" fmla="*/ 138 h 144"/>
                  <a:gd name="T42" fmla="*/ 84 w 132"/>
                  <a:gd name="T43" fmla="*/ 132 h 144"/>
                  <a:gd name="T44" fmla="*/ 84 w 132"/>
                  <a:gd name="T45" fmla="*/ 138 h 144"/>
                  <a:gd name="T46" fmla="*/ 96 w 132"/>
                  <a:gd name="T47" fmla="*/ 138 h 144"/>
                  <a:gd name="T48" fmla="*/ 96 w 132"/>
                  <a:gd name="T49" fmla="*/ 132 h 144"/>
                  <a:gd name="T50" fmla="*/ 108 w 132"/>
                  <a:gd name="T51" fmla="*/ 132 h 144"/>
                  <a:gd name="T52" fmla="*/ 132 w 132"/>
                  <a:gd name="T53" fmla="*/ 96 h 144"/>
                  <a:gd name="T54" fmla="*/ 120 w 132"/>
                  <a:gd name="T55" fmla="*/ 96 h 144"/>
                  <a:gd name="T56" fmla="*/ 96 w 132"/>
                  <a:gd name="T57" fmla="*/ 84 h 144"/>
                  <a:gd name="T58" fmla="*/ 90 w 132"/>
                  <a:gd name="T59" fmla="*/ 78 h 144"/>
                  <a:gd name="T60" fmla="*/ 90 w 132"/>
                  <a:gd name="T61" fmla="*/ 72 h 144"/>
                  <a:gd name="T62" fmla="*/ 78 w 132"/>
                  <a:gd name="T63" fmla="*/ 72 h 144"/>
                  <a:gd name="T64" fmla="*/ 78 w 132"/>
                  <a:gd name="T65" fmla="*/ 60 h 144"/>
                  <a:gd name="T66" fmla="*/ 84 w 132"/>
                  <a:gd name="T67" fmla="*/ 54 h 144"/>
                  <a:gd name="T68" fmla="*/ 90 w 132"/>
                  <a:gd name="T69" fmla="*/ 54 h 144"/>
                  <a:gd name="T70" fmla="*/ 90 w 132"/>
                  <a:gd name="T71" fmla="*/ 48 h 144"/>
                  <a:gd name="T72" fmla="*/ 84 w 132"/>
                  <a:gd name="T73" fmla="*/ 42 h 144"/>
                  <a:gd name="T74" fmla="*/ 72 w 132"/>
                  <a:gd name="T75" fmla="*/ 36 h 144"/>
                  <a:gd name="T76" fmla="*/ 66 w 132"/>
                  <a:gd name="T77" fmla="*/ 24 h 144"/>
                  <a:gd name="T78" fmla="*/ 60 w 132"/>
                  <a:gd name="T79" fmla="*/ 18 h 144"/>
                  <a:gd name="T80" fmla="*/ 54 w 132"/>
                  <a:gd name="T81" fmla="*/ 12 h 144"/>
                  <a:gd name="T82" fmla="*/ 54 w 132"/>
                  <a:gd name="T83" fmla="*/ 6 h 144"/>
                  <a:gd name="T84" fmla="*/ 48 w 132"/>
                  <a:gd name="T85" fmla="*/ 0 h 14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32" h="144">
                    <a:moveTo>
                      <a:pt x="48" y="0"/>
                    </a:moveTo>
                    <a:lnTo>
                      <a:pt x="48" y="6"/>
                    </a:lnTo>
                    <a:lnTo>
                      <a:pt x="42" y="6"/>
                    </a:lnTo>
                    <a:lnTo>
                      <a:pt x="30" y="18"/>
                    </a:lnTo>
                    <a:lnTo>
                      <a:pt x="30" y="24"/>
                    </a:lnTo>
                    <a:lnTo>
                      <a:pt x="24" y="30"/>
                    </a:lnTo>
                    <a:lnTo>
                      <a:pt x="24" y="36"/>
                    </a:lnTo>
                    <a:lnTo>
                      <a:pt x="18" y="48"/>
                    </a:lnTo>
                    <a:lnTo>
                      <a:pt x="12" y="54"/>
                    </a:lnTo>
                    <a:lnTo>
                      <a:pt x="6" y="60"/>
                    </a:lnTo>
                    <a:lnTo>
                      <a:pt x="0" y="66"/>
                    </a:lnTo>
                    <a:lnTo>
                      <a:pt x="0" y="84"/>
                    </a:lnTo>
                    <a:lnTo>
                      <a:pt x="0" y="90"/>
                    </a:lnTo>
                    <a:lnTo>
                      <a:pt x="6" y="96"/>
                    </a:lnTo>
                    <a:lnTo>
                      <a:pt x="12" y="108"/>
                    </a:lnTo>
                    <a:lnTo>
                      <a:pt x="24" y="114"/>
                    </a:lnTo>
                    <a:lnTo>
                      <a:pt x="24" y="132"/>
                    </a:lnTo>
                    <a:lnTo>
                      <a:pt x="36" y="132"/>
                    </a:lnTo>
                    <a:lnTo>
                      <a:pt x="48" y="144"/>
                    </a:lnTo>
                    <a:lnTo>
                      <a:pt x="60" y="144"/>
                    </a:lnTo>
                    <a:lnTo>
                      <a:pt x="66" y="138"/>
                    </a:lnTo>
                    <a:lnTo>
                      <a:pt x="84" y="132"/>
                    </a:lnTo>
                    <a:lnTo>
                      <a:pt x="84" y="138"/>
                    </a:lnTo>
                    <a:lnTo>
                      <a:pt x="96" y="138"/>
                    </a:lnTo>
                    <a:lnTo>
                      <a:pt x="96" y="132"/>
                    </a:lnTo>
                    <a:lnTo>
                      <a:pt x="108" y="132"/>
                    </a:lnTo>
                    <a:lnTo>
                      <a:pt x="132" y="96"/>
                    </a:lnTo>
                    <a:lnTo>
                      <a:pt x="120" y="96"/>
                    </a:lnTo>
                    <a:lnTo>
                      <a:pt x="96" y="84"/>
                    </a:lnTo>
                    <a:lnTo>
                      <a:pt x="90" y="78"/>
                    </a:lnTo>
                    <a:lnTo>
                      <a:pt x="90" y="72"/>
                    </a:lnTo>
                    <a:lnTo>
                      <a:pt x="78" y="72"/>
                    </a:lnTo>
                    <a:lnTo>
                      <a:pt x="78" y="60"/>
                    </a:lnTo>
                    <a:lnTo>
                      <a:pt x="84" y="54"/>
                    </a:lnTo>
                    <a:lnTo>
                      <a:pt x="90" y="54"/>
                    </a:lnTo>
                    <a:lnTo>
                      <a:pt x="90" y="48"/>
                    </a:lnTo>
                    <a:lnTo>
                      <a:pt x="84" y="42"/>
                    </a:lnTo>
                    <a:lnTo>
                      <a:pt x="72" y="36"/>
                    </a:lnTo>
                    <a:lnTo>
                      <a:pt x="66" y="24"/>
                    </a:lnTo>
                    <a:lnTo>
                      <a:pt x="60" y="18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55" name="Group 388"/>
            <p:cNvGrpSpPr>
              <a:grpSpLocks/>
            </p:cNvGrpSpPr>
            <p:nvPr/>
          </p:nvGrpSpPr>
          <p:grpSpPr bwMode="auto">
            <a:xfrm>
              <a:off x="1400117" y="3289788"/>
              <a:ext cx="38440" cy="32365"/>
              <a:chOff x="1554" y="1464"/>
              <a:chExt cx="18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1637" name="Freeform 389"/>
              <p:cNvSpPr>
                <a:spLocks/>
              </p:cNvSpPr>
              <p:nvPr/>
            </p:nvSpPr>
            <p:spPr bwMode="auto">
              <a:xfrm>
                <a:off x="1554" y="1464"/>
                <a:ext cx="18" cy="18"/>
              </a:xfrm>
              <a:custGeom>
                <a:avLst/>
                <a:gdLst>
                  <a:gd name="T0" fmla="*/ 0 w 18"/>
                  <a:gd name="T1" fmla="*/ 6 h 18"/>
                  <a:gd name="T2" fmla="*/ 12 w 18"/>
                  <a:gd name="T3" fmla="*/ 0 h 18"/>
                  <a:gd name="T4" fmla="*/ 12 w 18"/>
                  <a:gd name="T5" fmla="*/ 6 h 18"/>
                  <a:gd name="T6" fmla="*/ 18 w 18"/>
                  <a:gd name="T7" fmla="*/ 12 h 18"/>
                  <a:gd name="T8" fmla="*/ 18 w 18"/>
                  <a:gd name="T9" fmla="*/ 12 h 18"/>
                  <a:gd name="T10" fmla="*/ 12 w 18"/>
                  <a:gd name="T11" fmla="*/ 18 h 18"/>
                  <a:gd name="T12" fmla="*/ 12 w 18"/>
                  <a:gd name="T13" fmla="*/ 18 h 18"/>
                  <a:gd name="T14" fmla="*/ 6 w 18"/>
                  <a:gd name="T15" fmla="*/ 18 h 18"/>
                  <a:gd name="T16" fmla="*/ 6 w 18"/>
                  <a:gd name="T17" fmla="*/ 18 h 18"/>
                  <a:gd name="T18" fmla="*/ 0 w 18"/>
                  <a:gd name="T19" fmla="*/ 18 h 18"/>
                  <a:gd name="T20" fmla="*/ 0 w 18"/>
                  <a:gd name="T21" fmla="*/ 12 h 18"/>
                  <a:gd name="T22" fmla="*/ 0 w 18"/>
                  <a:gd name="T23" fmla="*/ 12 h 18"/>
                  <a:gd name="T24" fmla="*/ 0 w 18"/>
                  <a:gd name="T25" fmla="*/ 6 h 1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" h="18">
                    <a:moveTo>
                      <a:pt x="0" y="6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18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38" name="Freeform 390"/>
              <p:cNvSpPr>
                <a:spLocks/>
              </p:cNvSpPr>
              <p:nvPr/>
            </p:nvSpPr>
            <p:spPr bwMode="auto">
              <a:xfrm>
                <a:off x="1554" y="1464"/>
                <a:ext cx="18" cy="18"/>
              </a:xfrm>
              <a:custGeom>
                <a:avLst/>
                <a:gdLst>
                  <a:gd name="T0" fmla="*/ 0 w 18"/>
                  <a:gd name="T1" fmla="*/ 6 h 18"/>
                  <a:gd name="T2" fmla="*/ 12 w 18"/>
                  <a:gd name="T3" fmla="*/ 0 h 18"/>
                  <a:gd name="T4" fmla="*/ 12 w 18"/>
                  <a:gd name="T5" fmla="*/ 6 h 18"/>
                  <a:gd name="T6" fmla="*/ 18 w 18"/>
                  <a:gd name="T7" fmla="*/ 12 h 18"/>
                  <a:gd name="T8" fmla="*/ 12 w 18"/>
                  <a:gd name="T9" fmla="*/ 18 h 18"/>
                  <a:gd name="T10" fmla="*/ 6 w 18"/>
                  <a:gd name="T11" fmla="*/ 18 h 18"/>
                  <a:gd name="T12" fmla="*/ 0 w 18"/>
                  <a:gd name="T13" fmla="*/ 18 h 18"/>
                  <a:gd name="T14" fmla="*/ 0 w 18"/>
                  <a:gd name="T15" fmla="*/ 12 h 18"/>
                  <a:gd name="T16" fmla="*/ 0 w 18"/>
                  <a:gd name="T17" fmla="*/ 6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8">
                    <a:moveTo>
                      <a:pt x="0" y="6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18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56" name="Group 391"/>
            <p:cNvGrpSpPr>
              <a:grpSpLocks/>
            </p:cNvGrpSpPr>
            <p:nvPr/>
          </p:nvGrpSpPr>
          <p:grpSpPr bwMode="auto">
            <a:xfrm>
              <a:off x="1400117" y="3322153"/>
              <a:ext cx="38440" cy="30342"/>
              <a:chOff x="1554" y="1482"/>
              <a:chExt cx="18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1635" name="Freeform 392"/>
              <p:cNvSpPr>
                <a:spLocks/>
              </p:cNvSpPr>
              <p:nvPr/>
            </p:nvSpPr>
            <p:spPr bwMode="auto">
              <a:xfrm>
                <a:off x="1554" y="1482"/>
                <a:ext cx="18" cy="18"/>
              </a:xfrm>
              <a:custGeom>
                <a:avLst/>
                <a:gdLst>
                  <a:gd name="T0" fmla="*/ 12 w 18"/>
                  <a:gd name="T1" fmla="*/ 0 h 18"/>
                  <a:gd name="T2" fmla="*/ 12 w 18"/>
                  <a:gd name="T3" fmla="*/ 0 h 18"/>
                  <a:gd name="T4" fmla="*/ 6 w 18"/>
                  <a:gd name="T5" fmla="*/ 0 h 18"/>
                  <a:gd name="T6" fmla="*/ 6 w 18"/>
                  <a:gd name="T7" fmla="*/ 0 h 18"/>
                  <a:gd name="T8" fmla="*/ 0 w 18"/>
                  <a:gd name="T9" fmla="*/ 0 h 18"/>
                  <a:gd name="T10" fmla="*/ 6 w 18"/>
                  <a:gd name="T11" fmla="*/ 18 h 18"/>
                  <a:gd name="T12" fmla="*/ 12 w 18"/>
                  <a:gd name="T13" fmla="*/ 18 h 18"/>
                  <a:gd name="T14" fmla="*/ 18 w 18"/>
                  <a:gd name="T15" fmla="*/ 12 h 18"/>
                  <a:gd name="T16" fmla="*/ 18 w 18"/>
                  <a:gd name="T17" fmla="*/ 6 h 18"/>
                  <a:gd name="T18" fmla="*/ 18 w 18"/>
                  <a:gd name="T19" fmla="*/ 0 h 18"/>
                  <a:gd name="T20" fmla="*/ 12 w 18"/>
                  <a:gd name="T21" fmla="*/ 0 h 1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8" h="18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36" name="Freeform 393"/>
              <p:cNvSpPr>
                <a:spLocks/>
              </p:cNvSpPr>
              <p:nvPr/>
            </p:nvSpPr>
            <p:spPr bwMode="auto">
              <a:xfrm>
                <a:off x="1554" y="1482"/>
                <a:ext cx="18" cy="18"/>
              </a:xfrm>
              <a:custGeom>
                <a:avLst/>
                <a:gdLst>
                  <a:gd name="T0" fmla="*/ 12 w 18"/>
                  <a:gd name="T1" fmla="*/ 0 h 18"/>
                  <a:gd name="T2" fmla="*/ 6 w 18"/>
                  <a:gd name="T3" fmla="*/ 0 h 18"/>
                  <a:gd name="T4" fmla="*/ 0 w 18"/>
                  <a:gd name="T5" fmla="*/ 0 h 18"/>
                  <a:gd name="T6" fmla="*/ 6 w 18"/>
                  <a:gd name="T7" fmla="*/ 18 h 18"/>
                  <a:gd name="T8" fmla="*/ 12 w 18"/>
                  <a:gd name="T9" fmla="*/ 18 h 18"/>
                  <a:gd name="T10" fmla="*/ 18 w 18"/>
                  <a:gd name="T11" fmla="*/ 12 h 18"/>
                  <a:gd name="T12" fmla="*/ 18 w 18"/>
                  <a:gd name="T13" fmla="*/ 6 h 18"/>
                  <a:gd name="T14" fmla="*/ 18 w 18"/>
                  <a:gd name="T15" fmla="*/ 0 h 18"/>
                  <a:gd name="T16" fmla="*/ 12 w 18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8">
                    <a:moveTo>
                      <a:pt x="12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57" name="Group 394"/>
            <p:cNvGrpSpPr>
              <a:grpSpLocks/>
            </p:cNvGrpSpPr>
            <p:nvPr/>
          </p:nvGrpSpPr>
          <p:grpSpPr bwMode="auto">
            <a:xfrm>
              <a:off x="1413571" y="3289788"/>
              <a:ext cx="194121" cy="186098"/>
              <a:chOff x="1560" y="1464"/>
              <a:chExt cx="96" cy="108"/>
            </a:xfrm>
            <a:solidFill>
              <a:srgbClr val="0070C0">
                <a:alpha val="27059"/>
              </a:srgbClr>
            </a:solidFill>
          </p:grpSpPr>
          <p:sp>
            <p:nvSpPr>
              <p:cNvPr id="1633" name="Freeform 395"/>
              <p:cNvSpPr>
                <a:spLocks/>
              </p:cNvSpPr>
              <p:nvPr/>
            </p:nvSpPr>
            <p:spPr bwMode="auto">
              <a:xfrm>
                <a:off x="1560" y="1464"/>
                <a:ext cx="96" cy="108"/>
              </a:xfrm>
              <a:custGeom>
                <a:avLst/>
                <a:gdLst>
                  <a:gd name="T0" fmla="*/ 36 w 96"/>
                  <a:gd name="T1" fmla="*/ 0 h 108"/>
                  <a:gd name="T2" fmla="*/ 30 w 96"/>
                  <a:gd name="T3" fmla="*/ 0 h 108"/>
                  <a:gd name="T4" fmla="*/ 30 w 96"/>
                  <a:gd name="T5" fmla="*/ 6 h 108"/>
                  <a:gd name="T6" fmla="*/ 24 w 96"/>
                  <a:gd name="T7" fmla="*/ 12 h 108"/>
                  <a:gd name="T8" fmla="*/ 18 w 96"/>
                  <a:gd name="T9" fmla="*/ 12 h 108"/>
                  <a:gd name="T10" fmla="*/ 18 w 96"/>
                  <a:gd name="T11" fmla="*/ 12 h 108"/>
                  <a:gd name="T12" fmla="*/ 12 w 96"/>
                  <a:gd name="T13" fmla="*/ 6 h 108"/>
                  <a:gd name="T14" fmla="*/ 12 w 96"/>
                  <a:gd name="T15" fmla="*/ 0 h 108"/>
                  <a:gd name="T16" fmla="*/ 6 w 96"/>
                  <a:gd name="T17" fmla="*/ 0 h 108"/>
                  <a:gd name="T18" fmla="*/ 12 w 96"/>
                  <a:gd name="T19" fmla="*/ 12 h 108"/>
                  <a:gd name="T20" fmla="*/ 12 w 96"/>
                  <a:gd name="T21" fmla="*/ 12 h 108"/>
                  <a:gd name="T22" fmla="*/ 6 w 96"/>
                  <a:gd name="T23" fmla="*/ 18 h 108"/>
                  <a:gd name="T24" fmla="*/ 12 w 96"/>
                  <a:gd name="T25" fmla="*/ 18 h 108"/>
                  <a:gd name="T26" fmla="*/ 12 w 96"/>
                  <a:gd name="T27" fmla="*/ 24 h 108"/>
                  <a:gd name="T28" fmla="*/ 12 w 96"/>
                  <a:gd name="T29" fmla="*/ 30 h 108"/>
                  <a:gd name="T30" fmla="*/ 0 w 96"/>
                  <a:gd name="T31" fmla="*/ 42 h 108"/>
                  <a:gd name="T32" fmla="*/ 6 w 96"/>
                  <a:gd name="T33" fmla="*/ 78 h 108"/>
                  <a:gd name="T34" fmla="*/ 12 w 96"/>
                  <a:gd name="T35" fmla="*/ 78 h 108"/>
                  <a:gd name="T36" fmla="*/ 24 w 96"/>
                  <a:gd name="T37" fmla="*/ 84 h 108"/>
                  <a:gd name="T38" fmla="*/ 30 w 96"/>
                  <a:gd name="T39" fmla="*/ 78 h 108"/>
                  <a:gd name="T40" fmla="*/ 36 w 96"/>
                  <a:gd name="T41" fmla="*/ 84 h 108"/>
                  <a:gd name="T42" fmla="*/ 42 w 96"/>
                  <a:gd name="T43" fmla="*/ 90 h 108"/>
                  <a:gd name="T44" fmla="*/ 48 w 96"/>
                  <a:gd name="T45" fmla="*/ 108 h 108"/>
                  <a:gd name="T46" fmla="*/ 60 w 96"/>
                  <a:gd name="T47" fmla="*/ 108 h 108"/>
                  <a:gd name="T48" fmla="*/ 60 w 96"/>
                  <a:gd name="T49" fmla="*/ 108 h 108"/>
                  <a:gd name="T50" fmla="*/ 66 w 96"/>
                  <a:gd name="T51" fmla="*/ 108 h 108"/>
                  <a:gd name="T52" fmla="*/ 78 w 96"/>
                  <a:gd name="T53" fmla="*/ 108 h 108"/>
                  <a:gd name="T54" fmla="*/ 96 w 96"/>
                  <a:gd name="T55" fmla="*/ 102 h 108"/>
                  <a:gd name="T56" fmla="*/ 84 w 96"/>
                  <a:gd name="T57" fmla="*/ 78 h 108"/>
                  <a:gd name="T58" fmla="*/ 78 w 96"/>
                  <a:gd name="T59" fmla="*/ 66 h 108"/>
                  <a:gd name="T60" fmla="*/ 78 w 96"/>
                  <a:gd name="T61" fmla="*/ 66 h 108"/>
                  <a:gd name="T62" fmla="*/ 78 w 96"/>
                  <a:gd name="T63" fmla="*/ 60 h 108"/>
                  <a:gd name="T64" fmla="*/ 78 w 96"/>
                  <a:gd name="T65" fmla="*/ 54 h 108"/>
                  <a:gd name="T66" fmla="*/ 84 w 96"/>
                  <a:gd name="T67" fmla="*/ 36 h 108"/>
                  <a:gd name="T68" fmla="*/ 72 w 96"/>
                  <a:gd name="T69" fmla="*/ 30 h 108"/>
                  <a:gd name="T70" fmla="*/ 72 w 96"/>
                  <a:gd name="T71" fmla="*/ 30 h 108"/>
                  <a:gd name="T72" fmla="*/ 72 w 96"/>
                  <a:gd name="T73" fmla="*/ 24 h 108"/>
                  <a:gd name="T74" fmla="*/ 36 w 96"/>
                  <a:gd name="T75" fmla="*/ 0 h 1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96" h="108">
                    <a:moveTo>
                      <a:pt x="36" y="0"/>
                    </a:moveTo>
                    <a:lnTo>
                      <a:pt x="30" y="0"/>
                    </a:lnTo>
                    <a:lnTo>
                      <a:pt x="30" y="6"/>
                    </a:lnTo>
                    <a:lnTo>
                      <a:pt x="24" y="12"/>
                    </a:lnTo>
                    <a:lnTo>
                      <a:pt x="18" y="12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30"/>
                    </a:lnTo>
                    <a:lnTo>
                      <a:pt x="0" y="42"/>
                    </a:lnTo>
                    <a:lnTo>
                      <a:pt x="6" y="78"/>
                    </a:lnTo>
                    <a:lnTo>
                      <a:pt x="12" y="78"/>
                    </a:lnTo>
                    <a:lnTo>
                      <a:pt x="24" y="84"/>
                    </a:lnTo>
                    <a:lnTo>
                      <a:pt x="30" y="78"/>
                    </a:lnTo>
                    <a:lnTo>
                      <a:pt x="36" y="84"/>
                    </a:lnTo>
                    <a:lnTo>
                      <a:pt x="42" y="90"/>
                    </a:lnTo>
                    <a:lnTo>
                      <a:pt x="48" y="108"/>
                    </a:lnTo>
                    <a:lnTo>
                      <a:pt x="60" y="108"/>
                    </a:lnTo>
                    <a:lnTo>
                      <a:pt x="66" y="108"/>
                    </a:lnTo>
                    <a:lnTo>
                      <a:pt x="78" y="108"/>
                    </a:lnTo>
                    <a:lnTo>
                      <a:pt x="96" y="102"/>
                    </a:lnTo>
                    <a:lnTo>
                      <a:pt x="84" y="78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78" y="54"/>
                    </a:lnTo>
                    <a:lnTo>
                      <a:pt x="84" y="36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34" name="Freeform 396"/>
              <p:cNvSpPr>
                <a:spLocks/>
              </p:cNvSpPr>
              <p:nvPr/>
            </p:nvSpPr>
            <p:spPr bwMode="auto">
              <a:xfrm>
                <a:off x="1560" y="1464"/>
                <a:ext cx="96" cy="108"/>
              </a:xfrm>
              <a:custGeom>
                <a:avLst/>
                <a:gdLst>
                  <a:gd name="T0" fmla="*/ 36 w 96"/>
                  <a:gd name="T1" fmla="*/ 0 h 108"/>
                  <a:gd name="T2" fmla="*/ 30 w 96"/>
                  <a:gd name="T3" fmla="*/ 0 h 108"/>
                  <a:gd name="T4" fmla="*/ 30 w 96"/>
                  <a:gd name="T5" fmla="*/ 6 h 108"/>
                  <a:gd name="T6" fmla="*/ 24 w 96"/>
                  <a:gd name="T7" fmla="*/ 12 h 108"/>
                  <a:gd name="T8" fmla="*/ 18 w 96"/>
                  <a:gd name="T9" fmla="*/ 12 h 108"/>
                  <a:gd name="T10" fmla="*/ 12 w 96"/>
                  <a:gd name="T11" fmla="*/ 6 h 108"/>
                  <a:gd name="T12" fmla="*/ 12 w 96"/>
                  <a:gd name="T13" fmla="*/ 0 h 108"/>
                  <a:gd name="T14" fmla="*/ 6 w 96"/>
                  <a:gd name="T15" fmla="*/ 0 h 108"/>
                  <a:gd name="T16" fmla="*/ 12 w 96"/>
                  <a:gd name="T17" fmla="*/ 12 h 108"/>
                  <a:gd name="T18" fmla="*/ 6 w 96"/>
                  <a:gd name="T19" fmla="*/ 18 h 108"/>
                  <a:gd name="T20" fmla="*/ 12 w 96"/>
                  <a:gd name="T21" fmla="*/ 18 h 108"/>
                  <a:gd name="T22" fmla="*/ 12 w 96"/>
                  <a:gd name="T23" fmla="*/ 24 h 108"/>
                  <a:gd name="T24" fmla="*/ 12 w 96"/>
                  <a:gd name="T25" fmla="*/ 30 h 108"/>
                  <a:gd name="T26" fmla="*/ 0 w 96"/>
                  <a:gd name="T27" fmla="*/ 42 h 108"/>
                  <a:gd name="T28" fmla="*/ 6 w 96"/>
                  <a:gd name="T29" fmla="*/ 78 h 108"/>
                  <a:gd name="T30" fmla="*/ 12 w 96"/>
                  <a:gd name="T31" fmla="*/ 78 h 108"/>
                  <a:gd name="T32" fmla="*/ 24 w 96"/>
                  <a:gd name="T33" fmla="*/ 84 h 108"/>
                  <a:gd name="T34" fmla="*/ 30 w 96"/>
                  <a:gd name="T35" fmla="*/ 78 h 108"/>
                  <a:gd name="T36" fmla="*/ 36 w 96"/>
                  <a:gd name="T37" fmla="*/ 84 h 108"/>
                  <a:gd name="T38" fmla="*/ 42 w 96"/>
                  <a:gd name="T39" fmla="*/ 90 h 108"/>
                  <a:gd name="T40" fmla="*/ 48 w 96"/>
                  <a:gd name="T41" fmla="*/ 108 h 108"/>
                  <a:gd name="T42" fmla="*/ 60 w 96"/>
                  <a:gd name="T43" fmla="*/ 108 h 108"/>
                  <a:gd name="T44" fmla="*/ 66 w 96"/>
                  <a:gd name="T45" fmla="*/ 108 h 108"/>
                  <a:gd name="T46" fmla="*/ 78 w 96"/>
                  <a:gd name="T47" fmla="*/ 108 h 108"/>
                  <a:gd name="T48" fmla="*/ 96 w 96"/>
                  <a:gd name="T49" fmla="*/ 102 h 108"/>
                  <a:gd name="T50" fmla="*/ 84 w 96"/>
                  <a:gd name="T51" fmla="*/ 78 h 108"/>
                  <a:gd name="T52" fmla="*/ 78 w 96"/>
                  <a:gd name="T53" fmla="*/ 66 h 108"/>
                  <a:gd name="T54" fmla="*/ 78 w 96"/>
                  <a:gd name="T55" fmla="*/ 60 h 108"/>
                  <a:gd name="T56" fmla="*/ 78 w 96"/>
                  <a:gd name="T57" fmla="*/ 54 h 108"/>
                  <a:gd name="T58" fmla="*/ 84 w 96"/>
                  <a:gd name="T59" fmla="*/ 36 h 108"/>
                  <a:gd name="T60" fmla="*/ 72 w 96"/>
                  <a:gd name="T61" fmla="*/ 30 h 108"/>
                  <a:gd name="T62" fmla="*/ 72 w 96"/>
                  <a:gd name="T63" fmla="*/ 24 h 108"/>
                  <a:gd name="T64" fmla="*/ 36 w 96"/>
                  <a:gd name="T65" fmla="*/ 0 h 10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96" h="108">
                    <a:moveTo>
                      <a:pt x="36" y="0"/>
                    </a:moveTo>
                    <a:lnTo>
                      <a:pt x="30" y="0"/>
                    </a:lnTo>
                    <a:lnTo>
                      <a:pt x="30" y="6"/>
                    </a:lnTo>
                    <a:lnTo>
                      <a:pt x="24" y="12"/>
                    </a:lnTo>
                    <a:lnTo>
                      <a:pt x="18" y="12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30"/>
                    </a:lnTo>
                    <a:lnTo>
                      <a:pt x="0" y="42"/>
                    </a:lnTo>
                    <a:lnTo>
                      <a:pt x="6" y="78"/>
                    </a:lnTo>
                    <a:lnTo>
                      <a:pt x="12" y="78"/>
                    </a:lnTo>
                    <a:lnTo>
                      <a:pt x="24" y="84"/>
                    </a:lnTo>
                    <a:lnTo>
                      <a:pt x="30" y="78"/>
                    </a:lnTo>
                    <a:lnTo>
                      <a:pt x="36" y="84"/>
                    </a:lnTo>
                    <a:lnTo>
                      <a:pt x="42" y="90"/>
                    </a:lnTo>
                    <a:lnTo>
                      <a:pt x="48" y="108"/>
                    </a:lnTo>
                    <a:lnTo>
                      <a:pt x="60" y="108"/>
                    </a:lnTo>
                    <a:lnTo>
                      <a:pt x="66" y="108"/>
                    </a:lnTo>
                    <a:lnTo>
                      <a:pt x="78" y="108"/>
                    </a:lnTo>
                    <a:lnTo>
                      <a:pt x="96" y="102"/>
                    </a:lnTo>
                    <a:lnTo>
                      <a:pt x="84" y="78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78" y="54"/>
                    </a:lnTo>
                    <a:lnTo>
                      <a:pt x="84" y="36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58" name="Group 397"/>
            <p:cNvGrpSpPr>
              <a:grpSpLocks/>
            </p:cNvGrpSpPr>
            <p:nvPr/>
          </p:nvGrpSpPr>
          <p:grpSpPr bwMode="auto">
            <a:xfrm>
              <a:off x="1438556" y="3465773"/>
              <a:ext cx="169135" cy="267011"/>
              <a:chOff x="1572" y="1566"/>
              <a:chExt cx="84" cy="156"/>
            </a:xfrm>
            <a:solidFill>
              <a:srgbClr val="0070C0">
                <a:alpha val="27059"/>
              </a:srgbClr>
            </a:solidFill>
          </p:grpSpPr>
          <p:sp>
            <p:nvSpPr>
              <p:cNvPr id="1631" name="Freeform 398"/>
              <p:cNvSpPr>
                <a:spLocks/>
              </p:cNvSpPr>
              <p:nvPr/>
            </p:nvSpPr>
            <p:spPr bwMode="auto">
              <a:xfrm>
                <a:off x="1572" y="1566"/>
                <a:ext cx="84" cy="156"/>
              </a:xfrm>
              <a:custGeom>
                <a:avLst/>
                <a:gdLst>
                  <a:gd name="T0" fmla="*/ 0 w 84"/>
                  <a:gd name="T1" fmla="*/ 114 h 156"/>
                  <a:gd name="T2" fmla="*/ 6 w 84"/>
                  <a:gd name="T3" fmla="*/ 108 h 156"/>
                  <a:gd name="T4" fmla="*/ 12 w 84"/>
                  <a:gd name="T5" fmla="*/ 102 h 156"/>
                  <a:gd name="T6" fmla="*/ 18 w 84"/>
                  <a:gd name="T7" fmla="*/ 96 h 156"/>
                  <a:gd name="T8" fmla="*/ 24 w 84"/>
                  <a:gd name="T9" fmla="*/ 84 h 156"/>
                  <a:gd name="T10" fmla="*/ 24 w 84"/>
                  <a:gd name="T11" fmla="*/ 72 h 156"/>
                  <a:gd name="T12" fmla="*/ 24 w 84"/>
                  <a:gd name="T13" fmla="*/ 60 h 156"/>
                  <a:gd name="T14" fmla="*/ 12 w 84"/>
                  <a:gd name="T15" fmla="*/ 54 h 156"/>
                  <a:gd name="T16" fmla="*/ 6 w 84"/>
                  <a:gd name="T17" fmla="*/ 54 h 156"/>
                  <a:gd name="T18" fmla="*/ 6 w 84"/>
                  <a:gd name="T19" fmla="*/ 48 h 156"/>
                  <a:gd name="T20" fmla="*/ 30 w 84"/>
                  <a:gd name="T21" fmla="*/ 42 h 156"/>
                  <a:gd name="T22" fmla="*/ 30 w 84"/>
                  <a:gd name="T23" fmla="*/ 24 h 156"/>
                  <a:gd name="T24" fmla="*/ 30 w 84"/>
                  <a:gd name="T25" fmla="*/ 18 h 156"/>
                  <a:gd name="T26" fmla="*/ 36 w 84"/>
                  <a:gd name="T27" fmla="*/ 12 h 156"/>
                  <a:gd name="T28" fmla="*/ 36 w 84"/>
                  <a:gd name="T29" fmla="*/ 18 h 156"/>
                  <a:gd name="T30" fmla="*/ 42 w 84"/>
                  <a:gd name="T31" fmla="*/ 18 h 156"/>
                  <a:gd name="T32" fmla="*/ 42 w 84"/>
                  <a:gd name="T33" fmla="*/ 24 h 156"/>
                  <a:gd name="T34" fmla="*/ 42 w 84"/>
                  <a:gd name="T35" fmla="*/ 24 h 156"/>
                  <a:gd name="T36" fmla="*/ 48 w 84"/>
                  <a:gd name="T37" fmla="*/ 30 h 156"/>
                  <a:gd name="T38" fmla="*/ 48 w 84"/>
                  <a:gd name="T39" fmla="*/ 24 h 156"/>
                  <a:gd name="T40" fmla="*/ 48 w 84"/>
                  <a:gd name="T41" fmla="*/ 18 h 156"/>
                  <a:gd name="T42" fmla="*/ 42 w 84"/>
                  <a:gd name="T43" fmla="*/ 18 h 156"/>
                  <a:gd name="T44" fmla="*/ 42 w 84"/>
                  <a:gd name="T45" fmla="*/ 12 h 156"/>
                  <a:gd name="T46" fmla="*/ 36 w 84"/>
                  <a:gd name="T47" fmla="*/ 6 h 156"/>
                  <a:gd name="T48" fmla="*/ 48 w 84"/>
                  <a:gd name="T49" fmla="*/ 6 h 156"/>
                  <a:gd name="T50" fmla="*/ 48 w 84"/>
                  <a:gd name="T51" fmla="*/ 6 h 156"/>
                  <a:gd name="T52" fmla="*/ 54 w 84"/>
                  <a:gd name="T53" fmla="*/ 6 h 156"/>
                  <a:gd name="T54" fmla="*/ 66 w 84"/>
                  <a:gd name="T55" fmla="*/ 6 h 156"/>
                  <a:gd name="T56" fmla="*/ 84 w 84"/>
                  <a:gd name="T57" fmla="*/ 0 h 156"/>
                  <a:gd name="T58" fmla="*/ 84 w 84"/>
                  <a:gd name="T59" fmla="*/ 0 h 156"/>
                  <a:gd name="T60" fmla="*/ 84 w 84"/>
                  <a:gd name="T61" fmla="*/ 6 h 156"/>
                  <a:gd name="T62" fmla="*/ 84 w 84"/>
                  <a:gd name="T63" fmla="*/ 24 h 156"/>
                  <a:gd name="T64" fmla="*/ 84 w 84"/>
                  <a:gd name="T65" fmla="*/ 30 h 156"/>
                  <a:gd name="T66" fmla="*/ 84 w 84"/>
                  <a:gd name="T67" fmla="*/ 42 h 156"/>
                  <a:gd name="T68" fmla="*/ 84 w 84"/>
                  <a:gd name="T69" fmla="*/ 48 h 156"/>
                  <a:gd name="T70" fmla="*/ 78 w 84"/>
                  <a:gd name="T71" fmla="*/ 54 h 156"/>
                  <a:gd name="T72" fmla="*/ 72 w 84"/>
                  <a:gd name="T73" fmla="*/ 60 h 156"/>
                  <a:gd name="T74" fmla="*/ 66 w 84"/>
                  <a:gd name="T75" fmla="*/ 60 h 156"/>
                  <a:gd name="T76" fmla="*/ 60 w 84"/>
                  <a:gd name="T77" fmla="*/ 66 h 156"/>
                  <a:gd name="T78" fmla="*/ 54 w 84"/>
                  <a:gd name="T79" fmla="*/ 72 h 156"/>
                  <a:gd name="T80" fmla="*/ 48 w 84"/>
                  <a:gd name="T81" fmla="*/ 78 h 156"/>
                  <a:gd name="T82" fmla="*/ 42 w 84"/>
                  <a:gd name="T83" fmla="*/ 78 h 156"/>
                  <a:gd name="T84" fmla="*/ 36 w 84"/>
                  <a:gd name="T85" fmla="*/ 84 h 156"/>
                  <a:gd name="T86" fmla="*/ 36 w 84"/>
                  <a:gd name="T87" fmla="*/ 90 h 156"/>
                  <a:gd name="T88" fmla="*/ 36 w 84"/>
                  <a:gd name="T89" fmla="*/ 90 h 156"/>
                  <a:gd name="T90" fmla="*/ 30 w 84"/>
                  <a:gd name="T91" fmla="*/ 114 h 156"/>
                  <a:gd name="T92" fmla="*/ 36 w 84"/>
                  <a:gd name="T93" fmla="*/ 126 h 156"/>
                  <a:gd name="T94" fmla="*/ 36 w 84"/>
                  <a:gd name="T95" fmla="*/ 138 h 156"/>
                  <a:gd name="T96" fmla="*/ 30 w 84"/>
                  <a:gd name="T97" fmla="*/ 138 h 156"/>
                  <a:gd name="T98" fmla="*/ 24 w 84"/>
                  <a:gd name="T99" fmla="*/ 144 h 156"/>
                  <a:gd name="T100" fmla="*/ 24 w 84"/>
                  <a:gd name="T101" fmla="*/ 144 h 156"/>
                  <a:gd name="T102" fmla="*/ 18 w 84"/>
                  <a:gd name="T103" fmla="*/ 150 h 156"/>
                  <a:gd name="T104" fmla="*/ 18 w 84"/>
                  <a:gd name="T105" fmla="*/ 150 h 156"/>
                  <a:gd name="T106" fmla="*/ 18 w 84"/>
                  <a:gd name="T107" fmla="*/ 156 h 156"/>
                  <a:gd name="T108" fmla="*/ 18 w 84"/>
                  <a:gd name="T109" fmla="*/ 156 h 156"/>
                  <a:gd name="T110" fmla="*/ 12 w 84"/>
                  <a:gd name="T111" fmla="*/ 156 h 156"/>
                  <a:gd name="T112" fmla="*/ 12 w 84"/>
                  <a:gd name="T113" fmla="*/ 156 h 156"/>
                  <a:gd name="T114" fmla="*/ 6 w 84"/>
                  <a:gd name="T115" fmla="*/ 144 h 156"/>
                  <a:gd name="T116" fmla="*/ 6 w 84"/>
                  <a:gd name="T117" fmla="*/ 144 h 156"/>
                  <a:gd name="T118" fmla="*/ 6 w 84"/>
                  <a:gd name="T119" fmla="*/ 126 h 156"/>
                  <a:gd name="T120" fmla="*/ 0 w 84"/>
                  <a:gd name="T121" fmla="*/ 120 h 156"/>
                  <a:gd name="T122" fmla="*/ 0 w 84"/>
                  <a:gd name="T123" fmla="*/ 114 h 15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84" h="156">
                    <a:moveTo>
                      <a:pt x="0" y="114"/>
                    </a:moveTo>
                    <a:lnTo>
                      <a:pt x="6" y="108"/>
                    </a:lnTo>
                    <a:lnTo>
                      <a:pt x="12" y="102"/>
                    </a:lnTo>
                    <a:lnTo>
                      <a:pt x="18" y="96"/>
                    </a:lnTo>
                    <a:lnTo>
                      <a:pt x="24" y="84"/>
                    </a:lnTo>
                    <a:lnTo>
                      <a:pt x="24" y="72"/>
                    </a:lnTo>
                    <a:lnTo>
                      <a:pt x="24" y="60"/>
                    </a:lnTo>
                    <a:lnTo>
                      <a:pt x="12" y="54"/>
                    </a:lnTo>
                    <a:lnTo>
                      <a:pt x="6" y="54"/>
                    </a:lnTo>
                    <a:lnTo>
                      <a:pt x="6" y="48"/>
                    </a:lnTo>
                    <a:lnTo>
                      <a:pt x="30" y="42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6" y="12"/>
                    </a:lnTo>
                    <a:lnTo>
                      <a:pt x="36" y="18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48" y="30"/>
                    </a:lnTo>
                    <a:lnTo>
                      <a:pt x="48" y="24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48" y="6"/>
                    </a:lnTo>
                    <a:lnTo>
                      <a:pt x="54" y="6"/>
                    </a:lnTo>
                    <a:lnTo>
                      <a:pt x="66" y="6"/>
                    </a:lnTo>
                    <a:lnTo>
                      <a:pt x="84" y="0"/>
                    </a:lnTo>
                    <a:lnTo>
                      <a:pt x="84" y="6"/>
                    </a:lnTo>
                    <a:lnTo>
                      <a:pt x="84" y="24"/>
                    </a:lnTo>
                    <a:lnTo>
                      <a:pt x="84" y="30"/>
                    </a:lnTo>
                    <a:lnTo>
                      <a:pt x="84" y="42"/>
                    </a:lnTo>
                    <a:lnTo>
                      <a:pt x="84" y="48"/>
                    </a:lnTo>
                    <a:lnTo>
                      <a:pt x="78" y="54"/>
                    </a:lnTo>
                    <a:lnTo>
                      <a:pt x="72" y="60"/>
                    </a:lnTo>
                    <a:lnTo>
                      <a:pt x="66" y="60"/>
                    </a:lnTo>
                    <a:lnTo>
                      <a:pt x="60" y="66"/>
                    </a:lnTo>
                    <a:lnTo>
                      <a:pt x="54" y="72"/>
                    </a:lnTo>
                    <a:lnTo>
                      <a:pt x="48" y="78"/>
                    </a:lnTo>
                    <a:lnTo>
                      <a:pt x="42" y="78"/>
                    </a:lnTo>
                    <a:lnTo>
                      <a:pt x="36" y="84"/>
                    </a:lnTo>
                    <a:lnTo>
                      <a:pt x="36" y="90"/>
                    </a:lnTo>
                    <a:lnTo>
                      <a:pt x="30" y="114"/>
                    </a:lnTo>
                    <a:lnTo>
                      <a:pt x="36" y="126"/>
                    </a:lnTo>
                    <a:lnTo>
                      <a:pt x="36" y="138"/>
                    </a:lnTo>
                    <a:lnTo>
                      <a:pt x="30" y="138"/>
                    </a:lnTo>
                    <a:lnTo>
                      <a:pt x="24" y="144"/>
                    </a:lnTo>
                    <a:lnTo>
                      <a:pt x="18" y="150"/>
                    </a:lnTo>
                    <a:lnTo>
                      <a:pt x="18" y="156"/>
                    </a:lnTo>
                    <a:lnTo>
                      <a:pt x="12" y="156"/>
                    </a:lnTo>
                    <a:lnTo>
                      <a:pt x="6" y="144"/>
                    </a:lnTo>
                    <a:lnTo>
                      <a:pt x="6" y="126"/>
                    </a:lnTo>
                    <a:lnTo>
                      <a:pt x="0" y="120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32" name="Freeform 399"/>
              <p:cNvSpPr>
                <a:spLocks/>
              </p:cNvSpPr>
              <p:nvPr/>
            </p:nvSpPr>
            <p:spPr bwMode="auto">
              <a:xfrm>
                <a:off x="1572" y="1566"/>
                <a:ext cx="84" cy="156"/>
              </a:xfrm>
              <a:custGeom>
                <a:avLst/>
                <a:gdLst>
                  <a:gd name="T0" fmla="*/ 0 w 84"/>
                  <a:gd name="T1" fmla="*/ 114 h 156"/>
                  <a:gd name="T2" fmla="*/ 6 w 84"/>
                  <a:gd name="T3" fmla="*/ 108 h 156"/>
                  <a:gd name="T4" fmla="*/ 12 w 84"/>
                  <a:gd name="T5" fmla="*/ 102 h 156"/>
                  <a:gd name="T6" fmla="*/ 18 w 84"/>
                  <a:gd name="T7" fmla="*/ 96 h 156"/>
                  <a:gd name="T8" fmla="*/ 24 w 84"/>
                  <a:gd name="T9" fmla="*/ 84 h 156"/>
                  <a:gd name="T10" fmla="*/ 24 w 84"/>
                  <a:gd name="T11" fmla="*/ 72 h 156"/>
                  <a:gd name="T12" fmla="*/ 24 w 84"/>
                  <a:gd name="T13" fmla="*/ 60 h 156"/>
                  <a:gd name="T14" fmla="*/ 12 w 84"/>
                  <a:gd name="T15" fmla="*/ 54 h 156"/>
                  <a:gd name="T16" fmla="*/ 6 w 84"/>
                  <a:gd name="T17" fmla="*/ 54 h 156"/>
                  <a:gd name="T18" fmla="*/ 6 w 84"/>
                  <a:gd name="T19" fmla="*/ 48 h 156"/>
                  <a:gd name="T20" fmla="*/ 30 w 84"/>
                  <a:gd name="T21" fmla="*/ 42 h 156"/>
                  <a:gd name="T22" fmla="*/ 30 w 84"/>
                  <a:gd name="T23" fmla="*/ 24 h 156"/>
                  <a:gd name="T24" fmla="*/ 30 w 84"/>
                  <a:gd name="T25" fmla="*/ 18 h 156"/>
                  <a:gd name="T26" fmla="*/ 36 w 84"/>
                  <a:gd name="T27" fmla="*/ 12 h 156"/>
                  <a:gd name="T28" fmla="*/ 36 w 84"/>
                  <a:gd name="T29" fmla="*/ 18 h 156"/>
                  <a:gd name="T30" fmla="*/ 42 w 84"/>
                  <a:gd name="T31" fmla="*/ 18 h 156"/>
                  <a:gd name="T32" fmla="*/ 42 w 84"/>
                  <a:gd name="T33" fmla="*/ 24 h 156"/>
                  <a:gd name="T34" fmla="*/ 48 w 84"/>
                  <a:gd name="T35" fmla="*/ 30 h 156"/>
                  <a:gd name="T36" fmla="*/ 48 w 84"/>
                  <a:gd name="T37" fmla="*/ 24 h 156"/>
                  <a:gd name="T38" fmla="*/ 48 w 84"/>
                  <a:gd name="T39" fmla="*/ 18 h 156"/>
                  <a:gd name="T40" fmla="*/ 42 w 84"/>
                  <a:gd name="T41" fmla="*/ 18 h 156"/>
                  <a:gd name="T42" fmla="*/ 42 w 84"/>
                  <a:gd name="T43" fmla="*/ 12 h 156"/>
                  <a:gd name="T44" fmla="*/ 36 w 84"/>
                  <a:gd name="T45" fmla="*/ 6 h 156"/>
                  <a:gd name="T46" fmla="*/ 48 w 84"/>
                  <a:gd name="T47" fmla="*/ 6 h 156"/>
                  <a:gd name="T48" fmla="*/ 54 w 84"/>
                  <a:gd name="T49" fmla="*/ 6 h 156"/>
                  <a:gd name="T50" fmla="*/ 66 w 84"/>
                  <a:gd name="T51" fmla="*/ 6 h 156"/>
                  <a:gd name="T52" fmla="*/ 84 w 84"/>
                  <a:gd name="T53" fmla="*/ 0 h 156"/>
                  <a:gd name="T54" fmla="*/ 84 w 84"/>
                  <a:gd name="T55" fmla="*/ 6 h 156"/>
                  <a:gd name="T56" fmla="*/ 84 w 84"/>
                  <a:gd name="T57" fmla="*/ 24 h 156"/>
                  <a:gd name="T58" fmla="*/ 84 w 84"/>
                  <a:gd name="T59" fmla="*/ 30 h 156"/>
                  <a:gd name="T60" fmla="*/ 84 w 84"/>
                  <a:gd name="T61" fmla="*/ 42 h 156"/>
                  <a:gd name="T62" fmla="*/ 84 w 84"/>
                  <a:gd name="T63" fmla="*/ 48 h 156"/>
                  <a:gd name="T64" fmla="*/ 78 w 84"/>
                  <a:gd name="T65" fmla="*/ 54 h 156"/>
                  <a:gd name="T66" fmla="*/ 72 w 84"/>
                  <a:gd name="T67" fmla="*/ 60 h 156"/>
                  <a:gd name="T68" fmla="*/ 66 w 84"/>
                  <a:gd name="T69" fmla="*/ 60 h 156"/>
                  <a:gd name="T70" fmla="*/ 60 w 84"/>
                  <a:gd name="T71" fmla="*/ 66 h 156"/>
                  <a:gd name="T72" fmla="*/ 54 w 84"/>
                  <a:gd name="T73" fmla="*/ 72 h 156"/>
                  <a:gd name="T74" fmla="*/ 48 w 84"/>
                  <a:gd name="T75" fmla="*/ 78 h 156"/>
                  <a:gd name="T76" fmla="*/ 42 w 84"/>
                  <a:gd name="T77" fmla="*/ 78 h 156"/>
                  <a:gd name="T78" fmla="*/ 36 w 84"/>
                  <a:gd name="T79" fmla="*/ 84 h 156"/>
                  <a:gd name="T80" fmla="*/ 36 w 84"/>
                  <a:gd name="T81" fmla="*/ 90 h 156"/>
                  <a:gd name="T82" fmla="*/ 30 w 84"/>
                  <a:gd name="T83" fmla="*/ 114 h 156"/>
                  <a:gd name="T84" fmla="*/ 36 w 84"/>
                  <a:gd name="T85" fmla="*/ 126 h 156"/>
                  <a:gd name="T86" fmla="*/ 36 w 84"/>
                  <a:gd name="T87" fmla="*/ 138 h 156"/>
                  <a:gd name="T88" fmla="*/ 30 w 84"/>
                  <a:gd name="T89" fmla="*/ 138 h 156"/>
                  <a:gd name="T90" fmla="*/ 24 w 84"/>
                  <a:gd name="T91" fmla="*/ 144 h 156"/>
                  <a:gd name="T92" fmla="*/ 18 w 84"/>
                  <a:gd name="T93" fmla="*/ 150 h 156"/>
                  <a:gd name="T94" fmla="*/ 18 w 84"/>
                  <a:gd name="T95" fmla="*/ 156 h 156"/>
                  <a:gd name="T96" fmla="*/ 12 w 84"/>
                  <a:gd name="T97" fmla="*/ 156 h 156"/>
                  <a:gd name="T98" fmla="*/ 6 w 84"/>
                  <a:gd name="T99" fmla="*/ 144 h 156"/>
                  <a:gd name="T100" fmla="*/ 6 w 84"/>
                  <a:gd name="T101" fmla="*/ 126 h 156"/>
                  <a:gd name="T102" fmla="*/ 0 w 84"/>
                  <a:gd name="T103" fmla="*/ 120 h 156"/>
                  <a:gd name="T104" fmla="*/ 0 w 84"/>
                  <a:gd name="T105" fmla="*/ 114 h 15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84" h="156">
                    <a:moveTo>
                      <a:pt x="0" y="114"/>
                    </a:moveTo>
                    <a:lnTo>
                      <a:pt x="6" y="108"/>
                    </a:lnTo>
                    <a:lnTo>
                      <a:pt x="12" y="102"/>
                    </a:lnTo>
                    <a:lnTo>
                      <a:pt x="18" y="96"/>
                    </a:lnTo>
                    <a:lnTo>
                      <a:pt x="24" y="84"/>
                    </a:lnTo>
                    <a:lnTo>
                      <a:pt x="24" y="72"/>
                    </a:lnTo>
                    <a:lnTo>
                      <a:pt x="24" y="60"/>
                    </a:lnTo>
                    <a:lnTo>
                      <a:pt x="12" y="54"/>
                    </a:lnTo>
                    <a:lnTo>
                      <a:pt x="6" y="54"/>
                    </a:lnTo>
                    <a:lnTo>
                      <a:pt x="6" y="48"/>
                    </a:lnTo>
                    <a:lnTo>
                      <a:pt x="30" y="42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6" y="12"/>
                    </a:lnTo>
                    <a:lnTo>
                      <a:pt x="36" y="18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48" y="30"/>
                    </a:lnTo>
                    <a:lnTo>
                      <a:pt x="48" y="24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48" y="6"/>
                    </a:lnTo>
                    <a:lnTo>
                      <a:pt x="54" y="6"/>
                    </a:lnTo>
                    <a:lnTo>
                      <a:pt x="66" y="6"/>
                    </a:lnTo>
                    <a:lnTo>
                      <a:pt x="84" y="0"/>
                    </a:lnTo>
                    <a:lnTo>
                      <a:pt x="84" y="6"/>
                    </a:lnTo>
                    <a:lnTo>
                      <a:pt x="84" y="24"/>
                    </a:lnTo>
                    <a:lnTo>
                      <a:pt x="84" y="30"/>
                    </a:lnTo>
                    <a:lnTo>
                      <a:pt x="84" y="42"/>
                    </a:lnTo>
                    <a:lnTo>
                      <a:pt x="84" y="48"/>
                    </a:lnTo>
                    <a:lnTo>
                      <a:pt x="78" y="54"/>
                    </a:lnTo>
                    <a:lnTo>
                      <a:pt x="72" y="60"/>
                    </a:lnTo>
                    <a:lnTo>
                      <a:pt x="66" y="60"/>
                    </a:lnTo>
                    <a:lnTo>
                      <a:pt x="60" y="66"/>
                    </a:lnTo>
                    <a:lnTo>
                      <a:pt x="54" y="72"/>
                    </a:lnTo>
                    <a:lnTo>
                      <a:pt x="48" y="78"/>
                    </a:lnTo>
                    <a:lnTo>
                      <a:pt x="42" y="78"/>
                    </a:lnTo>
                    <a:lnTo>
                      <a:pt x="36" y="84"/>
                    </a:lnTo>
                    <a:lnTo>
                      <a:pt x="36" y="90"/>
                    </a:lnTo>
                    <a:lnTo>
                      <a:pt x="30" y="114"/>
                    </a:lnTo>
                    <a:lnTo>
                      <a:pt x="36" y="126"/>
                    </a:lnTo>
                    <a:lnTo>
                      <a:pt x="36" y="138"/>
                    </a:lnTo>
                    <a:lnTo>
                      <a:pt x="30" y="138"/>
                    </a:lnTo>
                    <a:lnTo>
                      <a:pt x="24" y="144"/>
                    </a:lnTo>
                    <a:lnTo>
                      <a:pt x="18" y="150"/>
                    </a:lnTo>
                    <a:lnTo>
                      <a:pt x="18" y="156"/>
                    </a:lnTo>
                    <a:lnTo>
                      <a:pt x="12" y="156"/>
                    </a:lnTo>
                    <a:lnTo>
                      <a:pt x="6" y="144"/>
                    </a:lnTo>
                    <a:lnTo>
                      <a:pt x="6" y="126"/>
                    </a:lnTo>
                    <a:lnTo>
                      <a:pt x="0" y="120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59" name="Group 400"/>
            <p:cNvGrpSpPr>
              <a:grpSpLocks/>
            </p:cNvGrpSpPr>
            <p:nvPr/>
          </p:nvGrpSpPr>
          <p:grpSpPr bwMode="auto">
            <a:xfrm>
              <a:off x="1132961" y="3672099"/>
              <a:ext cx="342114" cy="226555"/>
              <a:chOff x="1422" y="1686"/>
              <a:chExt cx="168" cy="132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1613" name="Group 401"/>
              <p:cNvGrpSpPr>
                <a:grpSpLocks/>
              </p:cNvGrpSpPr>
              <p:nvPr/>
            </p:nvGrpSpPr>
            <p:grpSpPr bwMode="auto">
              <a:xfrm>
                <a:off x="1422" y="1686"/>
                <a:ext cx="168" cy="132"/>
                <a:chOff x="1422" y="1686"/>
                <a:chExt cx="168" cy="132"/>
              </a:xfrm>
              <a:grpFill/>
            </p:grpSpPr>
            <p:sp>
              <p:nvSpPr>
                <p:cNvPr id="1620" name="Freeform 402"/>
                <p:cNvSpPr>
                  <a:spLocks/>
                </p:cNvSpPr>
                <p:nvPr/>
              </p:nvSpPr>
              <p:spPr bwMode="auto">
                <a:xfrm>
                  <a:off x="1422" y="1686"/>
                  <a:ext cx="168" cy="132"/>
                </a:xfrm>
                <a:custGeom>
                  <a:avLst/>
                  <a:gdLst>
                    <a:gd name="T0" fmla="*/ 126 w 168"/>
                    <a:gd name="T1" fmla="*/ 6 h 132"/>
                    <a:gd name="T2" fmla="*/ 120 w 168"/>
                    <a:gd name="T3" fmla="*/ 6 h 132"/>
                    <a:gd name="T4" fmla="*/ 108 w 168"/>
                    <a:gd name="T5" fmla="*/ 12 h 132"/>
                    <a:gd name="T6" fmla="*/ 96 w 168"/>
                    <a:gd name="T7" fmla="*/ 24 h 132"/>
                    <a:gd name="T8" fmla="*/ 90 w 168"/>
                    <a:gd name="T9" fmla="*/ 30 h 132"/>
                    <a:gd name="T10" fmla="*/ 84 w 168"/>
                    <a:gd name="T11" fmla="*/ 30 h 132"/>
                    <a:gd name="T12" fmla="*/ 72 w 168"/>
                    <a:gd name="T13" fmla="*/ 30 h 132"/>
                    <a:gd name="T14" fmla="*/ 60 w 168"/>
                    <a:gd name="T15" fmla="*/ 48 h 132"/>
                    <a:gd name="T16" fmla="*/ 48 w 168"/>
                    <a:gd name="T17" fmla="*/ 48 h 132"/>
                    <a:gd name="T18" fmla="*/ 48 w 168"/>
                    <a:gd name="T19" fmla="*/ 42 h 132"/>
                    <a:gd name="T20" fmla="*/ 48 w 168"/>
                    <a:gd name="T21" fmla="*/ 30 h 132"/>
                    <a:gd name="T22" fmla="*/ 42 w 168"/>
                    <a:gd name="T23" fmla="*/ 24 h 132"/>
                    <a:gd name="T24" fmla="*/ 36 w 168"/>
                    <a:gd name="T25" fmla="*/ 60 h 132"/>
                    <a:gd name="T26" fmla="*/ 30 w 168"/>
                    <a:gd name="T27" fmla="*/ 60 h 132"/>
                    <a:gd name="T28" fmla="*/ 18 w 168"/>
                    <a:gd name="T29" fmla="*/ 60 h 132"/>
                    <a:gd name="T30" fmla="*/ 12 w 168"/>
                    <a:gd name="T31" fmla="*/ 48 h 132"/>
                    <a:gd name="T32" fmla="*/ 12 w 168"/>
                    <a:gd name="T33" fmla="*/ 48 h 132"/>
                    <a:gd name="T34" fmla="*/ 0 w 168"/>
                    <a:gd name="T35" fmla="*/ 60 h 132"/>
                    <a:gd name="T36" fmla="*/ 12 w 168"/>
                    <a:gd name="T37" fmla="*/ 90 h 132"/>
                    <a:gd name="T38" fmla="*/ 18 w 168"/>
                    <a:gd name="T39" fmla="*/ 126 h 132"/>
                    <a:gd name="T40" fmla="*/ 42 w 168"/>
                    <a:gd name="T41" fmla="*/ 132 h 132"/>
                    <a:gd name="T42" fmla="*/ 66 w 168"/>
                    <a:gd name="T43" fmla="*/ 120 h 132"/>
                    <a:gd name="T44" fmla="*/ 84 w 168"/>
                    <a:gd name="T45" fmla="*/ 120 h 132"/>
                    <a:gd name="T46" fmla="*/ 108 w 168"/>
                    <a:gd name="T47" fmla="*/ 114 h 132"/>
                    <a:gd name="T48" fmla="*/ 114 w 168"/>
                    <a:gd name="T49" fmla="*/ 102 h 132"/>
                    <a:gd name="T50" fmla="*/ 150 w 168"/>
                    <a:gd name="T51" fmla="*/ 66 h 132"/>
                    <a:gd name="T52" fmla="*/ 162 w 168"/>
                    <a:gd name="T53" fmla="*/ 54 h 132"/>
                    <a:gd name="T54" fmla="*/ 162 w 168"/>
                    <a:gd name="T55" fmla="*/ 36 h 132"/>
                    <a:gd name="T56" fmla="*/ 156 w 168"/>
                    <a:gd name="T57" fmla="*/ 24 h 132"/>
                    <a:gd name="T58" fmla="*/ 156 w 168"/>
                    <a:gd name="T59" fmla="*/ 12 h 132"/>
                    <a:gd name="T60" fmla="*/ 150 w 168"/>
                    <a:gd name="T61" fmla="*/ 0 h 132"/>
                    <a:gd name="T62" fmla="*/ 132 w 168"/>
                    <a:gd name="T63" fmla="*/ 0 h 13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0" t="0" r="r" b="b"/>
                  <a:pathLst>
                    <a:path w="168" h="132">
                      <a:moveTo>
                        <a:pt x="132" y="0"/>
                      </a:moveTo>
                      <a:lnTo>
                        <a:pt x="126" y="6"/>
                      </a:lnTo>
                      <a:lnTo>
                        <a:pt x="120" y="6"/>
                      </a:lnTo>
                      <a:lnTo>
                        <a:pt x="114" y="12"/>
                      </a:lnTo>
                      <a:lnTo>
                        <a:pt x="108" y="12"/>
                      </a:lnTo>
                      <a:lnTo>
                        <a:pt x="102" y="18"/>
                      </a:lnTo>
                      <a:lnTo>
                        <a:pt x="96" y="24"/>
                      </a:lnTo>
                      <a:lnTo>
                        <a:pt x="96" y="36"/>
                      </a:lnTo>
                      <a:lnTo>
                        <a:pt x="90" y="30"/>
                      </a:lnTo>
                      <a:lnTo>
                        <a:pt x="84" y="30"/>
                      </a:lnTo>
                      <a:lnTo>
                        <a:pt x="78" y="30"/>
                      </a:lnTo>
                      <a:lnTo>
                        <a:pt x="72" y="30"/>
                      </a:lnTo>
                      <a:lnTo>
                        <a:pt x="66" y="42"/>
                      </a:lnTo>
                      <a:lnTo>
                        <a:pt x="60" y="48"/>
                      </a:lnTo>
                      <a:lnTo>
                        <a:pt x="54" y="48"/>
                      </a:lnTo>
                      <a:lnTo>
                        <a:pt x="48" y="48"/>
                      </a:lnTo>
                      <a:lnTo>
                        <a:pt x="48" y="42"/>
                      </a:lnTo>
                      <a:lnTo>
                        <a:pt x="48" y="30"/>
                      </a:lnTo>
                      <a:lnTo>
                        <a:pt x="48" y="24"/>
                      </a:lnTo>
                      <a:lnTo>
                        <a:pt x="42" y="24"/>
                      </a:lnTo>
                      <a:lnTo>
                        <a:pt x="42" y="54"/>
                      </a:lnTo>
                      <a:lnTo>
                        <a:pt x="36" y="60"/>
                      </a:lnTo>
                      <a:lnTo>
                        <a:pt x="30" y="60"/>
                      </a:lnTo>
                      <a:lnTo>
                        <a:pt x="18" y="60"/>
                      </a:lnTo>
                      <a:lnTo>
                        <a:pt x="18" y="54"/>
                      </a:lnTo>
                      <a:lnTo>
                        <a:pt x="12" y="48"/>
                      </a:lnTo>
                      <a:lnTo>
                        <a:pt x="6" y="60"/>
                      </a:lnTo>
                      <a:lnTo>
                        <a:pt x="0" y="60"/>
                      </a:lnTo>
                      <a:lnTo>
                        <a:pt x="6" y="78"/>
                      </a:lnTo>
                      <a:lnTo>
                        <a:pt x="12" y="90"/>
                      </a:lnTo>
                      <a:lnTo>
                        <a:pt x="12" y="120"/>
                      </a:lnTo>
                      <a:lnTo>
                        <a:pt x="18" y="126"/>
                      </a:lnTo>
                      <a:lnTo>
                        <a:pt x="30" y="126"/>
                      </a:lnTo>
                      <a:lnTo>
                        <a:pt x="42" y="132"/>
                      </a:lnTo>
                      <a:lnTo>
                        <a:pt x="54" y="126"/>
                      </a:lnTo>
                      <a:lnTo>
                        <a:pt x="66" y="120"/>
                      </a:lnTo>
                      <a:lnTo>
                        <a:pt x="72" y="120"/>
                      </a:lnTo>
                      <a:lnTo>
                        <a:pt x="84" y="120"/>
                      </a:lnTo>
                      <a:lnTo>
                        <a:pt x="96" y="120"/>
                      </a:lnTo>
                      <a:lnTo>
                        <a:pt x="108" y="114"/>
                      </a:lnTo>
                      <a:lnTo>
                        <a:pt x="108" y="108"/>
                      </a:lnTo>
                      <a:lnTo>
                        <a:pt x="114" y="102"/>
                      </a:lnTo>
                      <a:lnTo>
                        <a:pt x="138" y="78"/>
                      </a:lnTo>
                      <a:lnTo>
                        <a:pt x="150" y="66"/>
                      </a:lnTo>
                      <a:lnTo>
                        <a:pt x="156" y="60"/>
                      </a:lnTo>
                      <a:lnTo>
                        <a:pt x="162" y="54"/>
                      </a:lnTo>
                      <a:lnTo>
                        <a:pt x="168" y="36"/>
                      </a:lnTo>
                      <a:lnTo>
                        <a:pt x="162" y="36"/>
                      </a:lnTo>
                      <a:lnTo>
                        <a:pt x="156" y="30"/>
                      </a:lnTo>
                      <a:lnTo>
                        <a:pt x="156" y="24"/>
                      </a:lnTo>
                      <a:lnTo>
                        <a:pt x="156" y="12"/>
                      </a:lnTo>
                      <a:lnTo>
                        <a:pt x="156" y="6"/>
                      </a:lnTo>
                      <a:lnTo>
                        <a:pt x="150" y="0"/>
                      </a:lnTo>
                      <a:lnTo>
                        <a:pt x="13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630" name="Freeform 403"/>
                <p:cNvSpPr>
                  <a:spLocks/>
                </p:cNvSpPr>
                <p:nvPr/>
              </p:nvSpPr>
              <p:spPr bwMode="auto">
                <a:xfrm>
                  <a:off x="1422" y="1686"/>
                  <a:ext cx="168" cy="132"/>
                </a:xfrm>
                <a:custGeom>
                  <a:avLst/>
                  <a:gdLst>
                    <a:gd name="T0" fmla="*/ 132 w 168"/>
                    <a:gd name="T1" fmla="*/ 0 h 132"/>
                    <a:gd name="T2" fmla="*/ 126 w 168"/>
                    <a:gd name="T3" fmla="*/ 6 h 132"/>
                    <a:gd name="T4" fmla="*/ 120 w 168"/>
                    <a:gd name="T5" fmla="*/ 6 h 132"/>
                    <a:gd name="T6" fmla="*/ 114 w 168"/>
                    <a:gd name="T7" fmla="*/ 12 h 132"/>
                    <a:gd name="T8" fmla="*/ 108 w 168"/>
                    <a:gd name="T9" fmla="*/ 12 h 132"/>
                    <a:gd name="T10" fmla="*/ 102 w 168"/>
                    <a:gd name="T11" fmla="*/ 18 h 132"/>
                    <a:gd name="T12" fmla="*/ 96 w 168"/>
                    <a:gd name="T13" fmla="*/ 24 h 132"/>
                    <a:gd name="T14" fmla="*/ 96 w 168"/>
                    <a:gd name="T15" fmla="*/ 36 h 132"/>
                    <a:gd name="T16" fmla="*/ 90 w 168"/>
                    <a:gd name="T17" fmla="*/ 30 h 132"/>
                    <a:gd name="T18" fmla="*/ 84 w 168"/>
                    <a:gd name="T19" fmla="*/ 30 h 132"/>
                    <a:gd name="T20" fmla="*/ 78 w 168"/>
                    <a:gd name="T21" fmla="*/ 30 h 132"/>
                    <a:gd name="T22" fmla="*/ 72 w 168"/>
                    <a:gd name="T23" fmla="*/ 30 h 132"/>
                    <a:gd name="T24" fmla="*/ 66 w 168"/>
                    <a:gd name="T25" fmla="*/ 42 h 132"/>
                    <a:gd name="T26" fmla="*/ 60 w 168"/>
                    <a:gd name="T27" fmla="*/ 48 h 132"/>
                    <a:gd name="T28" fmla="*/ 54 w 168"/>
                    <a:gd name="T29" fmla="*/ 48 h 132"/>
                    <a:gd name="T30" fmla="*/ 48 w 168"/>
                    <a:gd name="T31" fmla="*/ 48 h 132"/>
                    <a:gd name="T32" fmla="*/ 48 w 168"/>
                    <a:gd name="T33" fmla="*/ 42 h 132"/>
                    <a:gd name="T34" fmla="*/ 48 w 168"/>
                    <a:gd name="T35" fmla="*/ 30 h 132"/>
                    <a:gd name="T36" fmla="*/ 48 w 168"/>
                    <a:gd name="T37" fmla="*/ 24 h 132"/>
                    <a:gd name="T38" fmla="*/ 42 w 168"/>
                    <a:gd name="T39" fmla="*/ 24 h 132"/>
                    <a:gd name="T40" fmla="*/ 42 w 168"/>
                    <a:gd name="T41" fmla="*/ 54 h 132"/>
                    <a:gd name="T42" fmla="*/ 36 w 168"/>
                    <a:gd name="T43" fmla="*/ 60 h 132"/>
                    <a:gd name="T44" fmla="*/ 30 w 168"/>
                    <a:gd name="T45" fmla="*/ 60 h 132"/>
                    <a:gd name="T46" fmla="*/ 18 w 168"/>
                    <a:gd name="T47" fmla="*/ 60 h 132"/>
                    <a:gd name="T48" fmla="*/ 18 w 168"/>
                    <a:gd name="T49" fmla="*/ 54 h 132"/>
                    <a:gd name="T50" fmla="*/ 12 w 168"/>
                    <a:gd name="T51" fmla="*/ 48 h 132"/>
                    <a:gd name="T52" fmla="*/ 6 w 168"/>
                    <a:gd name="T53" fmla="*/ 60 h 132"/>
                    <a:gd name="T54" fmla="*/ 0 w 168"/>
                    <a:gd name="T55" fmla="*/ 60 h 132"/>
                    <a:gd name="T56" fmla="*/ 6 w 168"/>
                    <a:gd name="T57" fmla="*/ 78 h 132"/>
                    <a:gd name="T58" fmla="*/ 12 w 168"/>
                    <a:gd name="T59" fmla="*/ 90 h 132"/>
                    <a:gd name="T60" fmla="*/ 12 w 168"/>
                    <a:gd name="T61" fmla="*/ 120 h 132"/>
                    <a:gd name="T62" fmla="*/ 18 w 168"/>
                    <a:gd name="T63" fmla="*/ 126 h 132"/>
                    <a:gd name="T64" fmla="*/ 30 w 168"/>
                    <a:gd name="T65" fmla="*/ 126 h 132"/>
                    <a:gd name="T66" fmla="*/ 42 w 168"/>
                    <a:gd name="T67" fmla="*/ 132 h 132"/>
                    <a:gd name="T68" fmla="*/ 54 w 168"/>
                    <a:gd name="T69" fmla="*/ 126 h 132"/>
                    <a:gd name="T70" fmla="*/ 66 w 168"/>
                    <a:gd name="T71" fmla="*/ 120 h 132"/>
                    <a:gd name="T72" fmla="*/ 72 w 168"/>
                    <a:gd name="T73" fmla="*/ 120 h 132"/>
                    <a:gd name="T74" fmla="*/ 84 w 168"/>
                    <a:gd name="T75" fmla="*/ 120 h 132"/>
                    <a:gd name="T76" fmla="*/ 96 w 168"/>
                    <a:gd name="T77" fmla="*/ 120 h 132"/>
                    <a:gd name="T78" fmla="*/ 108 w 168"/>
                    <a:gd name="T79" fmla="*/ 114 h 132"/>
                    <a:gd name="T80" fmla="*/ 108 w 168"/>
                    <a:gd name="T81" fmla="*/ 108 h 132"/>
                    <a:gd name="T82" fmla="*/ 114 w 168"/>
                    <a:gd name="T83" fmla="*/ 102 h 132"/>
                    <a:gd name="T84" fmla="*/ 138 w 168"/>
                    <a:gd name="T85" fmla="*/ 78 h 132"/>
                    <a:gd name="T86" fmla="*/ 150 w 168"/>
                    <a:gd name="T87" fmla="*/ 66 h 132"/>
                    <a:gd name="T88" fmla="*/ 156 w 168"/>
                    <a:gd name="T89" fmla="*/ 60 h 132"/>
                    <a:gd name="T90" fmla="*/ 162 w 168"/>
                    <a:gd name="T91" fmla="*/ 54 h 132"/>
                    <a:gd name="T92" fmla="*/ 168 w 168"/>
                    <a:gd name="T93" fmla="*/ 36 h 132"/>
                    <a:gd name="T94" fmla="*/ 162 w 168"/>
                    <a:gd name="T95" fmla="*/ 36 h 132"/>
                    <a:gd name="T96" fmla="*/ 156 w 168"/>
                    <a:gd name="T97" fmla="*/ 30 h 132"/>
                    <a:gd name="T98" fmla="*/ 156 w 168"/>
                    <a:gd name="T99" fmla="*/ 24 h 132"/>
                    <a:gd name="T100" fmla="*/ 156 w 168"/>
                    <a:gd name="T101" fmla="*/ 12 h 132"/>
                    <a:gd name="T102" fmla="*/ 156 w 168"/>
                    <a:gd name="T103" fmla="*/ 6 h 132"/>
                    <a:gd name="T104" fmla="*/ 150 w 168"/>
                    <a:gd name="T105" fmla="*/ 0 h 132"/>
                    <a:gd name="T106" fmla="*/ 132 w 168"/>
                    <a:gd name="T107" fmla="*/ 0 h 13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168" h="132">
                      <a:moveTo>
                        <a:pt x="132" y="0"/>
                      </a:moveTo>
                      <a:lnTo>
                        <a:pt x="126" y="6"/>
                      </a:lnTo>
                      <a:lnTo>
                        <a:pt x="120" y="6"/>
                      </a:lnTo>
                      <a:lnTo>
                        <a:pt x="114" y="12"/>
                      </a:lnTo>
                      <a:lnTo>
                        <a:pt x="108" y="12"/>
                      </a:lnTo>
                      <a:lnTo>
                        <a:pt x="102" y="18"/>
                      </a:lnTo>
                      <a:lnTo>
                        <a:pt x="96" y="24"/>
                      </a:lnTo>
                      <a:lnTo>
                        <a:pt x="96" y="36"/>
                      </a:lnTo>
                      <a:lnTo>
                        <a:pt x="90" y="30"/>
                      </a:lnTo>
                      <a:lnTo>
                        <a:pt x="84" y="30"/>
                      </a:lnTo>
                      <a:lnTo>
                        <a:pt x="78" y="30"/>
                      </a:lnTo>
                      <a:lnTo>
                        <a:pt x="72" y="30"/>
                      </a:lnTo>
                      <a:lnTo>
                        <a:pt x="66" y="42"/>
                      </a:lnTo>
                      <a:lnTo>
                        <a:pt x="60" y="48"/>
                      </a:lnTo>
                      <a:lnTo>
                        <a:pt x="54" y="48"/>
                      </a:lnTo>
                      <a:lnTo>
                        <a:pt x="48" y="48"/>
                      </a:lnTo>
                      <a:lnTo>
                        <a:pt x="48" y="42"/>
                      </a:lnTo>
                      <a:lnTo>
                        <a:pt x="48" y="30"/>
                      </a:lnTo>
                      <a:lnTo>
                        <a:pt x="48" y="24"/>
                      </a:lnTo>
                      <a:lnTo>
                        <a:pt x="42" y="24"/>
                      </a:lnTo>
                      <a:lnTo>
                        <a:pt x="42" y="54"/>
                      </a:lnTo>
                      <a:lnTo>
                        <a:pt x="36" y="60"/>
                      </a:lnTo>
                      <a:lnTo>
                        <a:pt x="30" y="60"/>
                      </a:lnTo>
                      <a:lnTo>
                        <a:pt x="18" y="60"/>
                      </a:lnTo>
                      <a:lnTo>
                        <a:pt x="18" y="54"/>
                      </a:lnTo>
                      <a:lnTo>
                        <a:pt x="12" y="48"/>
                      </a:lnTo>
                      <a:lnTo>
                        <a:pt x="6" y="60"/>
                      </a:lnTo>
                      <a:lnTo>
                        <a:pt x="0" y="60"/>
                      </a:lnTo>
                      <a:lnTo>
                        <a:pt x="6" y="78"/>
                      </a:lnTo>
                      <a:lnTo>
                        <a:pt x="12" y="90"/>
                      </a:lnTo>
                      <a:lnTo>
                        <a:pt x="12" y="120"/>
                      </a:lnTo>
                      <a:lnTo>
                        <a:pt x="18" y="126"/>
                      </a:lnTo>
                      <a:lnTo>
                        <a:pt x="30" y="126"/>
                      </a:lnTo>
                      <a:lnTo>
                        <a:pt x="42" y="132"/>
                      </a:lnTo>
                      <a:lnTo>
                        <a:pt x="54" y="126"/>
                      </a:lnTo>
                      <a:lnTo>
                        <a:pt x="66" y="120"/>
                      </a:lnTo>
                      <a:lnTo>
                        <a:pt x="72" y="120"/>
                      </a:lnTo>
                      <a:lnTo>
                        <a:pt x="84" y="120"/>
                      </a:lnTo>
                      <a:lnTo>
                        <a:pt x="96" y="120"/>
                      </a:lnTo>
                      <a:lnTo>
                        <a:pt x="108" y="114"/>
                      </a:lnTo>
                      <a:lnTo>
                        <a:pt x="108" y="108"/>
                      </a:lnTo>
                      <a:lnTo>
                        <a:pt x="114" y="102"/>
                      </a:lnTo>
                      <a:lnTo>
                        <a:pt x="138" y="78"/>
                      </a:lnTo>
                      <a:lnTo>
                        <a:pt x="150" y="66"/>
                      </a:lnTo>
                      <a:lnTo>
                        <a:pt x="156" y="60"/>
                      </a:lnTo>
                      <a:lnTo>
                        <a:pt x="162" y="54"/>
                      </a:lnTo>
                      <a:lnTo>
                        <a:pt x="168" y="36"/>
                      </a:lnTo>
                      <a:lnTo>
                        <a:pt x="162" y="36"/>
                      </a:lnTo>
                      <a:lnTo>
                        <a:pt x="156" y="30"/>
                      </a:lnTo>
                      <a:lnTo>
                        <a:pt x="156" y="24"/>
                      </a:lnTo>
                      <a:lnTo>
                        <a:pt x="156" y="12"/>
                      </a:lnTo>
                      <a:lnTo>
                        <a:pt x="156" y="6"/>
                      </a:lnTo>
                      <a:lnTo>
                        <a:pt x="150" y="0"/>
                      </a:lnTo>
                      <a:lnTo>
                        <a:pt x="13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614" name="Group 404"/>
              <p:cNvGrpSpPr>
                <a:grpSpLocks/>
              </p:cNvGrpSpPr>
              <p:nvPr/>
            </p:nvGrpSpPr>
            <p:grpSpPr bwMode="auto">
              <a:xfrm>
                <a:off x="1572" y="1710"/>
                <a:ext cx="12" cy="18"/>
                <a:chOff x="1572" y="1710"/>
                <a:chExt cx="12" cy="18"/>
              </a:xfrm>
              <a:grpFill/>
            </p:grpSpPr>
            <p:sp>
              <p:nvSpPr>
                <p:cNvPr id="1618" name="Freeform 405"/>
                <p:cNvSpPr>
                  <a:spLocks/>
                </p:cNvSpPr>
                <p:nvPr/>
              </p:nvSpPr>
              <p:spPr bwMode="auto">
                <a:xfrm>
                  <a:off x="1572" y="1710"/>
                  <a:ext cx="12" cy="18"/>
                </a:xfrm>
                <a:custGeom>
                  <a:avLst/>
                  <a:gdLst>
                    <a:gd name="T0" fmla="*/ 6 w 12"/>
                    <a:gd name="T1" fmla="*/ 0 h 18"/>
                    <a:gd name="T2" fmla="*/ 6 w 12"/>
                    <a:gd name="T3" fmla="*/ 0 h 18"/>
                    <a:gd name="T4" fmla="*/ 6 w 12"/>
                    <a:gd name="T5" fmla="*/ 0 h 18"/>
                    <a:gd name="T6" fmla="*/ 12 w 12"/>
                    <a:gd name="T7" fmla="*/ 12 h 18"/>
                    <a:gd name="T8" fmla="*/ 6 w 12"/>
                    <a:gd name="T9" fmla="*/ 18 h 18"/>
                    <a:gd name="T10" fmla="*/ 6 w 12"/>
                    <a:gd name="T11" fmla="*/ 18 h 18"/>
                    <a:gd name="T12" fmla="*/ 0 w 12"/>
                    <a:gd name="T13" fmla="*/ 18 h 18"/>
                    <a:gd name="T14" fmla="*/ 0 w 12"/>
                    <a:gd name="T15" fmla="*/ 12 h 18"/>
                    <a:gd name="T16" fmla="*/ 0 w 12"/>
                    <a:gd name="T17" fmla="*/ 6 h 18"/>
                    <a:gd name="T18" fmla="*/ 6 w 12"/>
                    <a:gd name="T19" fmla="*/ 0 h 1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2" h="18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12" y="12"/>
                      </a:lnTo>
                      <a:lnTo>
                        <a:pt x="6" y="18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619" name="Freeform 406"/>
                <p:cNvSpPr>
                  <a:spLocks/>
                </p:cNvSpPr>
                <p:nvPr/>
              </p:nvSpPr>
              <p:spPr bwMode="auto">
                <a:xfrm>
                  <a:off x="1572" y="1710"/>
                  <a:ext cx="12" cy="18"/>
                </a:xfrm>
                <a:custGeom>
                  <a:avLst/>
                  <a:gdLst>
                    <a:gd name="T0" fmla="*/ 6 w 12"/>
                    <a:gd name="T1" fmla="*/ 0 h 18"/>
                    <a:gd name="T2" fmla="*/ 12 w 12"/>
                    <a:gd name="T3" fmla="*/ 12 h 18"/>
                    <a:gd name="T4" fmla="*/ 6 w 12"/>
                    <a:gd name="T5" fmla="*/ 18 h 18"/>
                    <a:gd name="T6" fmla="*/ 0 w 12"/>
                    <a:gd name="T7" fmla="*/ 18 h 18"/>
                    <a:gd name="T8" fmla="*/ 0 w 12"/>
                    <a:gd name="T9" fmla="*/ 12 h 18"/>
                    <a:gd name="T10" fmla="*/ 0 w 12"/>
                    <a:gd name="T11" fmla="*/ 6 h 18"/>
                    <a:gd name="T12" fmla="*/ 6 w 12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2" h="18">
                      <a:moveTo>
                        <a:pt x="6" y="0"/>
                      </a:moveTo>
                      <a:lnTo>
                        <a:pt x="12" y="12"/>
                      </a:lnTo>
                      <a:lnTo>
                        <a:pt x="6" y="18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615" name="Group 407"/>
              <p:cNvGrpSpPr>
                <a:grpSpLocks/>
              </p:cNvGrpSpPr>
              <p:nvPr/>
            </p:nvGrpSpPr>
            <p:grpSpPr bwMode="auto">
              <a:xfrm>
                <a:off x="1530" y="1740"/>
                <a:ext cx="18" cy="18"/>
                <a:chOff x="1530" y="1740"/>
                <a:chExt cx="18" cy="18"/>
              </a:xfrm>
              <a:grpFill/>
            </p:grpSpPr>
            <p:sp>
              <p:nvSpPr>
                <p:cNvPr id="1616" name="Freeform 408"/>
                <p:cNvSpPr>
                  <a:spLocks/>
                </p:cNvSpPr>
                <p:nvPr/>
              </p:nvSpPr>
              <p:spPr bwMode="auto">
                <a:xfrm>
                  <a:off x="1530" y="1740"/>
                  <a:ext cx="18" cy="18"/>
                </a:xfrm>
                <a:custGeom>
                  <a:avLst/>
                  <a:gdLst>
                    <a:gd name="T0" fmla="*/ 0 w 18"/>
                    <a:gd name="T1" fmla="*/ 12 h 18"/>
                    <a:gd name="T2" fmla="*/ 0 w 18"/>
                    <a:gd name="T3" fmla="*/ 6 h 18"/>
                    <a:gd name="T4" fmla="*/ 0 w 18"/>
                    <a:gd name="T5" fmla="*/ 6 h 18"/>
                    <a:gd name="T6" fmla="*/ 6 w 18"/>
                    <a:gd name="T7" fmla="*/ 6 h 18"/>
                    <a:gd name="T8" fmla="*/ 6 w 18"/>
                    <a:gd name="T9" fmla="*/ 0 h 18"/>
                    <a:gd name="T10" fmla="*/ 18 w 18"/>
                    <a:gd name="T11" fmla="*/ 6 h 18"/>
                    <a:gd name="T12" fmla="*/ 12 w 18"/>
                    <a:gd name="T13" fmla="*/ 12 h 18"/>
                    <a:gd name="T14" fmla="*/ 6 w 18"/>
                    <a:gd name="T15" fmla="*/ 18 h 18"/>
                    <a:gd name="T16" fmla="*/ 6 w 18"/>
                    <a:gd name="T17" fmla="*/ 18 h 18"/>
                    <a:gd name="T18" fmla="*/ 6 w 18"/>
                    <a:gd name="T19" fmla="*/ 18 h 18"/>
                    <a:gd name="T20" fmla="*/ 0 w 18"/>
                    <a:gd name="T21" fmla="*/ 12 h 1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8" h="18">
                      <a:moveTo>
                        <a:pt x="0" y="12"/>
                      </a:move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6" y="1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617" name="Freeform 409"/>
                <p:cNvSpPr>
                  <a:spLocks/>
                </p:cNvSpPr>
                <p:nvPr/>
              </p:nvSpPr>
              <p:spPr bwMode="auto">
                <a:xfrm>
                  <a:off x="1530" y="1740"/>
                  <a:ext cx="18" cy="18"/>
                </a:xfrm>
                <a:custGeom>
                  <a:avLst/>
                  <a:gdLst>
                    <a:gd name="T0" fmla="*/ 0 w 18"/>
                    <a:gd name="T1" fmla="*/ 12 h 18"/>
                    <a:gd name="T2" fmla="*/ 0 w 18"/>
                    <a:gd name="T3" fmla="*/ 6 h 18"/>
                    <a:gd name="T4" fmla="*/ 6 w 18"/>
                    <a:gd name="T5" fmla="*/ 6 h 18"/>
                    <a:gd name="T6" fmla="*/ 6 w 18"/>
                    <a:gd name="T7" fmla="*/ 0 h 18"/>
                    <a:gd name="T8" fmla="*/ 18 w 18"/>
                    <a:gd name="T9" fmla="*/ 6 h 18"/>
                    <a:gd name="T10" fmla="*/ 12 w 18"/>
                    <a:gd name="T11" fmla="*/ 12 h 18"/>
                    <a:gd name="T12" fmla="*/ 6 w 18"/>
                    <a:gd name="T13" fmla="*/ 18 h 18"/>
                    <a:gd name="T14" fmla="*/ 0 w 18"/>
                    <a:gd name="T15" fmla="*/ 12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8" h="18">
                      <a:moveTo>
                        <a:pt x="0" y="12"/>
                      </a:move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18" y="6"/>
                      </a:lnTo>
                      <a:lnTo>
                        <a:pt x="12" y="12"/>
                      </a:lnTo>
                      <a:lnTo>
                        <a:pt x="6" y="1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660" name="Group 410"/>
            <p:cNvGrpSpPr>
              <a:grpSpLocks/>
            </p:cNvGrpSpPr>
            <p:nvPr/>
          </p:nvGrpSpPr>
          <p:grpSpPr bwMode="auto">
            <a:xfrm>
              <a:off x="1327081" y="3548708"/>
              <a:ext cx="159525" cy="123391"/>
              <a:chOff x="1518" y="1614"/>
              <a:chExt cx="78" cy="72"/>
            </a:xfrm>
            <a:solidFill>
              <a:srgbClr val="0070C0">
                <a:alpha val="27059"/>
              </a:srgbClr>
            </a:solidFill>
          </p:grpSpPr>
          <p:sp>
            <p:nvSpPr>
              <p:cNvPr id="1611" name="Freeform 411"/>
              <p:cNvSpPr>
                <a:spLocks/>
              </p:cNvSpPr>
              <p:nvPr/>
            </p:nvSpPr>
            <p:spPr bwMode="auto">
              <a:xfrm>
                <a:off x="1518" y="1614"/>
                <a:ext cx="78" cy="72"/>
              </a:xfrm>
              <a:custGeom>
                <a:avLst/>
                <a:gdLst>
                  <a:gd name="T0" fmla="*/ 0 w 78"/>
                  <a:gd name="T1" fmla="*/ 18 h 72"/>
                  <a:gd name="T2" fmla="*/ 18 w 78"/>
                  <a:gd name="T3" fmla="*/ 18 h 72"/>
                  <a:gd name="T4" fmla="*/ 24 w 78"/>
                  <a:gd name="T5" fmla="*/ 12 h 72"/>
                  <a:gd name="T6" fmla="*/ 30 w 78"/>
                  <a:gd name="T7" fmla="*/ 6 h 72"/>
                  <a:gd name="T8" fmla="*/ 30 w 78"/>
                  <a:gd name="T9" fmla="*/ 6 h 72"/>
                  <a:gd name="T10" fmla="*/ 60 w 78"/>
                  <a:gd name="T11" fmla="*/ 0 h 72"/>
                  <a:gd name="T12" fmla="*/ 60 w 78"/>
                  <a:gd name="T13" fmla="*/ 6 h 72"/>
                  <a:gd name="T14" fmla="*/ 66 w 78"/>
                  <a:gd name="T15" fmla="*/ 6 h 72"/>
                  <a:gd name="T16" fmla="*/ 78 w 78"/>
                  <a:gd name="T17" fmla="*/ 12 h 72"/>
                  <a:gd name="T18" fmla="*/ 78 w 78"/>
                  <a:gd name="T19" fmla="*/ 24 h 72"/>
                  <a:gd name="T20" fmla="*/ 78 w 78"/>
                  <a:gd name="T21" fmla="*/ 36 h 72"/>
                  <a:gd name="T22" fmla="*/ 72 w 78"/>
                  <a:gd name="T23" fmla="*/ 48 h 72"/>
                  <a:gd name="T24" fmla="*/ 66 w 78"/>
                  <a:gd name="T25" fmla="*/ 54 h 72"/>
                  <a:gd name="T26" fmla="*/ 60 w 78"/>
                  <a:gd name="T27" fmla="*/ 60 h 72"/>
                  <a:gd name="T28" fmla="*/ 54 w 78"/>
                  <a:gd name="T29" fmla="*/ 66 h 72"/>
                  <a:gd name="T30" fmla="*/ 54 w 78"/>
                  <a:gd name="T31" fmla="*/ 72 h 72"/>
                  <a:gd name="T32" fmla="*/ 30 w 78"/>
                  <a:gd name="T33" fmla="*/ 72 h 72"/>
                  <a:gd name="T34" fmla="*/ 30 w 78"/>
                  <a:gd name="T35" fmla="*/ 66 h 72"/>
                  <a:gd name="T36" fmla="*/ 30 w 78"/>
                  <a:gd name="T37" fmla="*/ 66 h 72"/>
                  <a:gd name="T38" fmla="*/ 24 w 78"/>
                  <a:gd name="T39" fmla="*/ 66 h 72"/>
                  <a:gd name="T40" fmla="*/ 24 w 78"/>
                  <a:gd name="T41" fmla="*/ 60 h 72"/>
                  <a:gd name="T42" fmla="*/ 18 w 78"/>
                  <a:gd name="T43" fmla="*/ 60 h 72"/>
                  <a:gd name="T44" fmla="*/ 18 w 78"/>
                  <a:gd name="T45" fmla="*/ 54 h 72"/>
                  <a:gd name="T46" fmla="*/ 18 w 78"/>
                  <a:gd name="T47" fmla="*/ 54 h 72"/>
                  <a:gd name="T48" fmla="*/ 18 w 78"/>
                  <a:gd name="T49" fmla="*/ 48 h 72"/>
                  <a:gd name="T50" fmla="*/ 12 w 78"/>
                  <a:gd name="T51" fmla="*/ 42 h 72"/>
                  <a:gd name="T52" fmla="*/ 6 w 78"/>
                  <a:gd name="T53" fmla="*/ 30 h 72"/>
                  <a:gd name="T54" fmla="*/ 0 w 78"/>
                  <a:gd name="T55" fmla="*/ 18 h 72"/>
                  <a:gd name="T56" fmla="*/ 6 w 78"/>
                  <a:gd name="T57" fmla="*/ 30 h 72"/>
                  <a:gd name="T58" fmla="*/ 6 w 78"/>
                  <a:gd name="T59" fmla="*/ 36 h 72"/>
                  <a:gd name="T60" fmla="*/ 6 w 78"/>
                  <a:gd name="T61" fmla="*/ 42 h 72"/>
                  <a:gd name="T62" fmla="*/ 12 w 78"/>
                  <a:gd name="T63" fmla="*/ 48 h 72"/>
                  <a:gd name="T64" fmla="*/ 18 w 78"/>
                  <a:gd name="T65" fmla="*/ 54 h 72"/>
                  <a:gd name="T66" fmla="*/ 18 w 78"/>
                  <a:gd name="T67" fmla="*/ 54 h 72"/>
                  <a:gd name="T68" fmla="*/ 18 w 78"/>
                  <a:gd name="T69" fmla="*/ 54 h 72"/>
                  <a:gd name="T70" fmla="*/ 24 w 78"/>
                  <a:gd name="T71" fmla="*/ 60 h 72"/>
                  <a:gd name="T72" fmla="*/ 24 w 78"/>
                  <a:gd name="T73" fmla="*/ 66 h 72"/>
                  <a:gd name="T74" fmla="*/ 30 w 78"/>
                  <a:gd name="T75" fmla="*/ 66 h 72"/>
                  <a:gd name="T76" fmla="*/ 30 w 78"/>
                  <a:gd name="T77" fmla="*/ 72 h 72"/>
                  <a:gd name="T78" fmla="*/ 0 w 78"/>
                  <a:gd name="T79" fmla="*/ 18 h 7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78" h="72">
                    <a:moveTo>
                      <a:pt x="0" y="18"/>
                    </a:moveTo>
                    <a:lnTo>
                      <a:pt x="18" y="18"/>
                    </a:lnTo>
                    <a:lnTo>
                      <a:pt x="24" y="12"/>
                    </a:lnTo>
                    <a:lnTo>
                      <a:pt x="30" y="6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66" y="6"/>
                    </a:lnTo>
                    <a:lnTo>
                      <a:pt x="78" y="12"/>
                    </a:lnTo>
                    <a:lnTo>
                      <a:pt x="78" y="24"/>
                    </a:lnTo>
                    <a:lnTo>
                      <a:pt x="78" y="36"/>
                    </a:lnTo>
                    <a:lnTo>
                      <a:pt x="72" y="48"/>
                    </a:lnTo>
                    <a:lnTo>
                      <a:pt x="66" y="54"/>
                    </a:lnTo>
                    <a:lnTo>
                      <a:pt x="60" y="60"/>
                    </a:lnTo>
                    <a:lnTo>
                      <a:pt x="54" y="66"/>
                    </a:lnTo>
                    <a:lnTo>
                      <a:pt x="54" y="72"/>
                    </a:lnTo>
                    <a:lnTo>
                      <a:pt x="30" y="72"/>
                    </a:lnTo>
                    <a:lnTo>
                      <a:pt x="30" y="66"/>
                    </a:lnTo>
                    <a:lnTo>
                      <a:pt x="24" y="66"/>
                    </a:lnTo>
                    <a:lnTo>
                      <a:pt x="24" y="60"/>
                    </a:lnTo>
                    <a:lnTo>
                      <a:pt x="18" y="60"/>
                    </a:lnTo>
                    <a:lnTo>
                      <a:pt x="18" y="54"/>
                    </a:lnTo>
                    <a:lnTo>
                      <a:pt x="18" y="48"/>
                    </a:lnTo>
                    <a:lnTo>
                      <a:pt x="12" y="42"/>
                    </a:lnTo>
                    <a:lnTo>
                      <a:pt x="6" y="30"/>
                    </a:lnTo>
                    <a:lnTo>
                      <a:pt x="0" y="18"/>
                    </a:lnTo>
                    <a:lnTo>
                      <a:pt x="6" y="30"/>
                    </a:lnTo>
                    <a:lnTo>
                      <a:pt x="6" y="36"/>
                    </a:lnTo>
                    <a:lnTo>
                      <a:pt x="6" y="42"/>
                    </a:lnTo>
                    <a:lnTo>
                      <a:pt x="12" y="48"/>
                    </a:lnTo>
                    <a:lnTo>
                      <a:pt x="18" y="54"/>
                    </a:lnTo>
                    <a:lnTo>
                      <a:pt x="24" y="60"/>
                    </a:lnTo>
                    <a:lnTo>
                      <a:pt x="24" y="66"/>
                    </a:lnTo>
                    <a:lnTo>
                      <a:pt x="30" y="66"/>
                    </a:lnTo>
                    <a:lnTo>
                      <a:pt x="30" y="72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12" name="Freeform 412"/>
              <p:cNvSpPr>
                <a:spLocks/>
              </p:cNvSpPr>
              <p:nvPr/>
            </p:nvSpPr>
            <p:spPr bwMode="auto">
              <a:xfrm>
                <a:off x="1518" y="1614"/>
                <a:ext cx="78" cy="72"/>
              </a:xfrm>
              <a:custGeom>
                <a:avLst/>
                <a:gdLst>
                  <a:gd name="T0" fmla="*/ 0 w 78"/>
                  <a:gd name="T1" fmla="*/ 18 h 72"/>
                  <a:gd name="T2" fmla="*/ 18 w 78"/>
                  <a:gd name="T3" fmla="*/ 18 h 72"/>
                  <a:gd name="T4" fmla="*/ 24 w 78"/>
                  <a:gd name="T5" fmla="*/ 12 h 72"/>
                  <a:gd name="T6" fmla="*/ 30 w 78"/>
                  <a:gd name="T7" fmla="*/ 6 h 72"/>
                  <a:gd name="T8" fmla="*/ 60 w 78"/>
                  <a:gd name="T9" fmla="*/ 0 h 72"/>
                  <a:gd name="T10" fmla="*/ 60 w 78"/>
                  <a:gd name="T11" fmla="*/ 6 h 72"/>
                  <a:gd name="T12" fmla="*/ 66 w 78"/>
                  <a:gd name="T13" fmla="*/ 6 h 72"/>
                  <a:gd name="T14" fmla="*/ 78 w 78"/>
                  <a:gd name="T15" fmla="*/ 12 h 72"/>
                  <a:gd name="T16" fmla="*/ 78 w 78"/>
                  <a:gd name="T17" fmla="*/ 24 h 72"/>
                  <a:gd name="T18" fmla="*/ 78 w 78"/>
                  <a:gd name="T19" fmla="*/ 36 h 72"/>
                  <a:gd name="T20" fmla="*/ 72 w 78"/>
                  <a:gd name="T21" fmla="*/ 48 h 72"/>
                  <a:gd name="T22" fmla="*/ 66 w 78"/>
                  <a:gd name="T23" fmla="*/ 54 h 72"/>
                  <a:gd name="T24" fmla="*/ 60 w 78"/>
                  <a:gd name="T25" fmla="*/ 60 h 72"/>
                  <a:gd name="T26" fmla="*/ 54 w 78"/>
                  <a:gd name="T27" fmla="*/ 66 h 72"/>
                  <a:gd name="T28" fmla="*/ 54 w 78"/>
                  <a:gd name="T29" fmla="*/ 72 h 72"/>
                  <a:gd name="T30" fmla="*/ 30 w 78"/>
                  <a:gd name="T31" fmla="*/ 72 h 72"/>
                  <a:gd name="T32" fmla="*/ 30 w 78"/>
                  <a:gd name="T33" fmla="*/ 66 h 72"/>
                  <a:gd name="T34" fmla="*/ 24 w 78"/>
                  <a:gd name="T35" fmla="*/ 66 h 72"/>
                  <a:gd name="T36" fmla="*/ 24 w 78"/>
                  <a:gd name="T37" fmla="*/ 60 h 72"/>
                  <a:gd name="T38" fmla="*/ 18 w 78"/>
                  <a:gd name="T39" fmla="*/ 60 h 72"/>
                  <a:gd name="T40" fmla="*/ 18 w 78"/>
                  <a:gd name="T41" fmla="*/ 54 h 72"/>
                  <a:gd name="T42" fmla="*/ 18 w 78"/>
                  <a:gd name="T43" fmla="*/ 48 h 72"/>
                  <a:gd name="T44" fmla="*/ 12 w 78"/>
                  <a:gd name="T45" fmla="*/ 42 h 72"/>
                  <a:gd name="T46" fmla="*/ 6 w 78"/>
                  <a:gd name="T47" fmla="*/ 30 h 72"/>
                  <a:gd name="T48" fmla="*/ 0 w 78"/>
                  <a:gd name="T49" fmla="*/ 18 h 72"/>
                  <a:gd name="T50" fmla="*/ 6 w 78"/>
                  <a:gd name="T51" fmla="*/ 30 h 72"/>
                  <a:gd name="T52" fmla="*/ 6 w 78"/>
                  <a:gd name="T53" fmla="*/ 36 h 72"/>
                  <a:gd name="T54" fmla="*/ 6 w 78"/>
                  <a:gd name="T55" fmla="*/ 42 h 72"/>
                  <a:gd name="T56" fmla="*/ 12 w 78"/>
                  <a:gd name="T57" fmla="*/ 48 h 72"/>
                  <a:gd name="T58" fmla="*/ 18 w 78"/>
                  <a:gd name="T59" fmla="*/ 54 h 72"/>
                  <a:gd name="T60" fmla="*/ 24 w 78"/>
                  <a:gd name="T61" fmla="*/ 60 h 72"/>
                  <a:gd name="T62" fmla="*/ 24 w 78"/>
                  <a:gd name="T63" fmla="*/ 66 h 72"/>
                  <a:gd name="T64" fmla="*/ 30 w 78"/>
                  <a:gd name="T65" fmla="*/ 66 h 72"/>
                  <a:gd name="T66" fmla="*/ 30 w 78"/>
                  <a:gd name="T67" fmla="*/ 72 h 7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78" h="72">
                    <a:moveTo>
                      <a:pt x="0" y="18"/>
                    </a:moveTo>
                    <a:lnTo>
                      <a:pt x="18" y="18"/>
                    </a:lnTo>
                    <a:lnTo>
                      <a:pt x="24" y="12"/>
                    </a:lnTo>
                    <a:lnTo>
                      <a:pt x="30" y="6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66" y="6"/>
                    </a:lnTo>
                    <a:lnTo>
                      <a:pt x="78" y="12"/>
                    </a:lnTo>
                    <a:lnTo>
                      <a:pt x="78" y="24"/>
                    </a:lnTo>
                    <a:lnTo>
                      <a:pt x="78" y="36"/>
                    </a:lnTo>
                    <a:lnTo>
                      <a:pt x="72" y="48"/>
                    </a:lnTo>
                    <a:lnTo>
                      <a:pt x="66" y="54"/>
                    </a:lnTo>
                    <a:lnTo>
                      <a:pt x="60" y="60"/>
                    </a:lnTo>
                    <a:lnTo>
                      <a:pt x="54" y="66"/>
                    </a:lnTo>
                    <a:lnTo>
                      <a:pt x="54" y="72"/>
                    </a:lnTo>
                    <a:lnTo>
                      <a:pt x="30" y="72"/>
                    </a:lnTo>
                    <a:lnTo>
                      <a:pt x="30" y="66"/>
                    </a:lnTo>
                    <a:lnTo>
                      <a:pt x="24" y="66"/>
                    </a:lnTo>
                    <a:lnTo>
                      <a:pt x="24" y="60"/>
                    </a:lnTo>
                    <a:lnTo>
                      <a:pt x="18" y="60"/>
                    </a:lnTo>
                    <a:lnTo>
                      <a:pt x="18" y="54"/>
                    </a:lnTo>
                    <a:lnTo>
                      <a:pt x="18" y="48"/>
                    </a:lnTo>
                    <a:lnTo>
                      <a:pt x="12" y="42"/>
                    </a:lnTo>
                    <a:lnTo>
                      <a:pt x="6" y="30"/>
                    </a:lnTo>
                    <a:lnTo>
                      <a:pt x="0" y="18"/>
                    </a:lnTo>
                    <a:lnTo>
                      <a:pt x="6" y="30"/>
                    </a:lnTo>
                    <a:lnTo>
                      <a:pt x="6" y="36"/>
                    </a:lnTo>
                    <a:lnTo>
                      <a:pt x="6" y="42"/>
                    </a:lnTo>
                    <a:lnTo>
                      <a:pt x="12" y="48"/>
                    </a:lnTo>
                    <a:lnTo>
                      <a:pt x="18" y="54"/>
                    </a:lnTo>
                    <a:lnTo>
                      <a:pt x="24" y="60"/>
                    </a:lnTo>
                    <a:lnTo>
                      <a:pt x="24" y="66"/>
                    </a:lnTo>
                    <a:lnTo>
                      <a:pt x="30" y="66"/>
                    </a:lnTo>
                    <a:lnTo>
                      <a:pt x="30" y="72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61" name="Group 413"/>
            <p:cNvGrpSpPr>
              <a:grpSpLocks/>
            </p:cNvGrpSpPr>
            <p:nvPr/>
          </p:nvGrpSpPr>
          <p:grpSpPr bwMode="auto">
            <a:xfrm>
              <a:off x="571740" y="2826565"/>
              <a:ext cx="317128" cy="256897"/>
              <a:chOff x="1146" y="1194"/>
              <a:chExt cx="156" cy="150"/>
            </a:xfrm>
            <a:solidFill>
              <a:srgbClr val="0070C0">
                <a:alpha val="27059"/>
              </a:srgbClr>
            </a:solidFill>
          </p:grpSpPr>
          <p:sp>
            <p:nvSpPr>
              <p:cNvPr id="1609" name="Freeform 414"/>
              <p:cNvSpPr>
                <a:spLocks/>
              </p:cNvSpPr>
              <p:nvPr/>
            </p:nvSpPr>
            <p:spPr bwMode="auto">
              <a:xfrm>
                <a:off x="1146" y="1194"/>
                <a:ext cx="156" cy="150"/>
              </a:xfrm>
              <a:custGeom>
                <a:avLst/>
                <a:gdLst>
                  <a:gd name="T0" fmla="*/ 72 w 156"/>
                  <a:gd name="T1" fmla="*/ 0 h 150"/>
                  <a:gd name="T2" fmla="*/ 60 w 156"/>
                  <a:gd name="T3" fmla="*/ 0 h 150"/>
                  <a:gd name="T4" fmla="*/ 54 w 156"/>
                  <a:gd name="T5" fmla="*/ 0 h 150"/>
                  <a:gd name="T6" fmla="*/ 54 w 156"/>
                  <a:gd name="T7" fmla="*/ 0 h 150"/>
                  <a:gd name="T8" fmla="*/ 60 w 156"/>
                  <a:gd name="T9" fmla="*/ 84 h 150"/>
                  <a:gd name="T10" fmla="*/ 60 w 156"/>
                  <a:gd name="T11" fmla="*/ 90 h 150"/>
                  <a:gd name="T12" fmla="*/ 66 w 156"/>
                  <a:gd name="T13" fmla="*/ 96 h 150"/>
                  <a:gd name="T14" fmla="*/ 60 w 156"/>
                  <a:gd name="T15" fmla="*/ 102 h 150"/>
                  <a:gd name="T16" fmla="*/ 18 w 156"/>
                  <a:gd name="T17" fmla="*/ 96 h 150"/>
                  <a:gd name="T18" fmla="*/ 18 w 156"/>
                  <a:gd name="T19" fmla="*/ 96 h 150"/>
                  <a:gd name="T20" fmla="*/ 12 w 156"/>
                  <a:gd name="T21" fmla="*/ 96 h 150"/>
                  <a:gd name="T22" fmla="*/ 12 w 156"/>
                  <a:gd name="T23" fmla="*/ 96 h 150"/>
                  <a:gd name="T24" fmla="*/ 12 w 156"/>
                  <a:gd name="T25" fmla="*/ 96 h 150"/>
                  <a:gd name="T26" fmla="*/ 12 w 156"/>
                  <a:gd name="T27" fmla="*/ 102 h 150"/>
                  <a:gd name="T28" fmla="*/ 6 w 156"/>
                  <a:gd name="T29" fmla="*/ 108 h 150"/>
                  <a:gd name="T30" fmla="*/ 6 w 156"/>
                  <a:gd name="T31" fmla="*/ 108 h 150"/>
                  <a:gd name="T32" fmla="*/ 6 w 156"/>
                  <a:gd name="T33" fmla="*/ 114 h 150"/>
                  <a:gd name="T34" fmla="*/ 6 w 156"/>
                  <a:gd name="T35" fmla="*/ 114 h 150"/>
                  <a:gd name="T36" fmla="*/ 0 w 156"/>
                  <a:gd name="T37" fmla="*/ 114 h 150"/>
                  <a:gd name="T38" fmla="*/ 6 w 156"/>
                  <a:gd name="T39" fmla="*/ 126 h 150"/>
                  <a:gd name="T40" fmla="*/ 6 w 156"/>
                  <a:gd name="T41" fmla="*/ 132 h 150"/>
                  <a:gd name="T42" fmla="*/ 6 w 156"/>
                  <a:gd name="T43" fmla="*/ 132 h 150"/>
                  <a:gd name="T44" fmla="*/ 12 w 156"/>
                  <a:gd name="T45" fmla="*/ 132 h 150"/>
                  <a:gd name="T46" fmla="*/ 18 w 156"/>
                  <a:gd name="T47" fmla="*/ 132 h 150"/>
                  <a:gd name="T48" fmla="*/ 24 w 156"/>
                  <a:gd name="T49" fmla="*/ 132 h 150"/>
                  <a:gd name="T50" fmla="*/ 24 w 156"/>
                  <a:gd name="T51" fmla="*/ 132 h 150"/>
                  <a:gd name="T52" fmla="*/ 24 w 156"/>
                  <a:gd name="T53" fmla="*/ 132 h 150"/>
                  <a:gd name="T54" fmla="*/ 30 w 156"/>
                  <a:gd name="T55" fmla="*/ 126 h 150"/>
                  <a:gd name="T56" fmla="*/ 30 w 156"/>
                  <a:gd name="T57" fmla="*/ 126 h 150"/>
                  <a:gd name="T58" fmla="*/ 36 w 156"/>
                  <a:gd name="T59" fmla="*/ 132 h 150"/>
                  <a:gd name="T60" fmla="*/ 36 w 156"/>
                  <a:gd name="T61" fmla="*/ 138 h 150"/>
                  <a:gd name="T62" fmla="*/ 36 w 156"/>
                  <a:gd name="T63" fmla="*/ 144 h 150"/>
                  <a:gd name="T64" fmla="*/ 42 w 156"/>
                  <a:gd name="T65" fmla="*/ 144 h 150"/>
                  <a:gd name="T66" fmla="*/ 48 w 156"/>
                  <a:gd name="T67" fmla="*/ 150 h 150"/>
                  <a:gd name="T68" fmla="*/ 60 w 156"/>
                  <a:gd name="T69" fmla="*/ 144 h 150"/>
                  <a:gd name="T70" fmla="*/ 60 w 156"/>
                  <a:gd name="T71" fmla="*/ 144 h 150"/>
                  <a:gd name="T72" fmla="*/ 60 w 156"/>
                  <a:gd name="T73" fmla="*/ 144 h 150"/>
                  <a:gd name="T74" fmla="*/ 66 w 156"/>
                  <a:gd name="T75" fmla="*/ 144 h 150"/>
                  <a:gd name="T76" fmla="*/ 66 w 156"/>
                  <a:gd name="T77" fmla="*/ 144 h 150"/>
                  <a:gd name="T78" fmla="*/ 72 w 156"/>
                  <a:gd name="T79" fmla="*/ 144 h 150"/>
                  <a:gd name="T80" fmla="*/ 72 w 156"/>
                  <a:gd name="T81" fmla="*/ 132 h 150"/>
                  <a:gd name="T82" fmla="*/ 72 w 156"/>
                  <a:gd name="T83" fmla="*/ 126 h 150"/>
                  <a:gd name="T84" fmla="*/ 78 w 156"/>
                  <a:gd name="T85" fmla="*/ 126 h 150"/>
                  <a:gd name="T86" fmla="*/ 84 w 156"/>
                  <a:gd name="T87" fmla="*/ 120 h 150"/>
                  <a:gd name="T88" fmla="*/ 84 w 156"/>
                  <a:gd name="T89" fmla="*/ 120 h 150"/>
                  <a:gd name="T90" fmla="*/ 90 w 156"/>
                  <a:gd name="T91" fmla="*/ 120 h 150"/>
                  <a:gd name="T92" fmla="*/ 102 w 156"/>
                  <a:gd name="T93" fmla="*/ 120 h 150"/>
                  <a:gd name="T94" fmla="*/ 114 w 156"/>
                  <a:gd name="T95" fmla="*/ 114 h 150"/>
                  <a:gd name="T96" fmla="*/ 114 w 156"/>
                  <a:gd name="T97" fmla="*/ 108 h 150"/>
                  <a:gd name="T98" fmla="*/ 132 w 156"/>
                  <a:gd name="T99" fmla="*/ 108 h 150"/>
                  <a:gd name="T100" fmla="*/ 138 w 156"/>
                  <a:gd name="T101" fmla="*/ 108 h 150"/>
                  <a:gd name="T102" fmla="*/ 144 w 156"/>
                  <a:gd name="T103" fmla="*/ 102 h 150"/>
                  <a:gd name="T104" fmla="*/ 150 w 156"/>
                  <a:gd name="T105" fmla="*/ 90 h 150"/>
                  <a:gd name="T106" fmla="*/ 156 w 156"/>
                  <a:gd name="T107" fmla="*/ 78 h 150"/>
                  <a:gd name="T108" fmla="*/ 156 w 156"/>
                  <a:gd name="T109" fmla="*/ 66 h 150"/>
                  <a:gd name="T110" fmla="*/ 156 w 156"/>
                  <a:gd name="T111" fmla="*/ 54 h 150"/>
                  <a:gd name="T112" fmla="*/ 150 w 156"/>
                  <a:gd name="T113" fmla="*/ 54 h 150"/>
                  <a:gd name="T114" fmla="*/ 150 w 156"/>
                  <a:gd name="T115" fmla="*/ 42 h 150"/>
                  <a:gd name="T116" fmla="*/ 132 w 156"/>
                  <a:gd name="T117" fmla="*/ 42 h 150"/>
                  <a:gd name="T118" fmla="*/ 72 w 156"/>
                  <a:gd name="T119" fmla="*/ 0 h 15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56" h="150">
                    <a:moveTo>
                      <a:pt x="72" y="0"/>
                    </a:moveTo>
                    <a:lnTo>
                      <a:pt x="60" y="0"/>
                    </a:lnTo>
                    <a:lnTo>
                      <a:pt x="54" y="0"/>
                    </a:lnTo>
                    <a:lnTo>
                      <a:pt x="60" y="84"/>
                    </a:lnTo>
                    <a:lnTo>
                      <a:pt x="60" y="90"/>
                    </a:lnTo>
                    <a:lnTo>
                      <a:pt x="66" y="96"/>
                    </a:lnTo>
                    <a:lnTo>
                      <a:pt x="60" y="102"/>
                    </a:lnTo>
                    <a:lnTo>
                      <a:pt x="18" y="96"/>
                    </a:lnTo>
                    <a:lnTo>
                      <a:pt x="12" y="96"/>
                    </a:lnTo>
                    <a:lnTo>
                      <a:pt x="12" y="102"/>
                    </a:lnTo>
                    <a:lnTo>
                      <a:pt x="6" y="108"/>
                    </a:lnTo>
                    <a:lnTo>
                      <a:pt x="6" y="114"/>
                    </a:lnTo>
                    <a:lnTo>
                      <a:pt x="0" y="114"/>
                    </a:lnTo>
                    <a:lnTo>
                      <a:pt x="6" y="126"/>
                    </a:lnTo>
                    <a:lnTo>
                      <a:pt x="6" y="132"/>
                    </a:lnTo>
                    <a:lnTo>
                      <a:pt x="12" y="132"/>
                    </a:lnTo>
                    <a:lnTo>
                      <a:pt x="18" y="132"/>
                    </a:lnTo>
                    <a:lnTo>
                      <a:pt x="24" y="132"/>
                    </a:lnTo>
                    <a:lnTo>
                      <a:pt x="30" y="126"/>
                    </a:lnTo>
                    <a:lnTo>
                      <a:pt x="36" y="132"/>
                    </a:lnTo>
                    <a:lnTo>
                      <a:pt x="36" y="138"/>
                    </a:lnTo>
                    <a:lnTo>
                      <a:pt x="36" y="144"/>
                    </a:lnTo>
                    <a:lnTo>
                      <a:pt x="42" y="144"/>
                    </a:lnTo>
                    <a:lnTo>
                      <a:pt x="48" y="150"/>
                    </a:lnTo>
                    <a:lnTo>
                      <a:pt x="60" y="144"/>
                    </a:lnTo>
                    <a:lnTo>
                      <a:pt x="66" y="144"/>
                    </a:lnTo>
                    <a:lnTo>
                      <a:pt x="72" y="144"/>
                    </a:lnTo>
                    <a:lnTo>
                      <a:pt x="72" y="132"/>
                    </a:lnTo>
                    <a:lnTo>
                      <a:pt x="72" y="126"/>
                    </a:lnTo>
                    <a:lnTo>
                      <a:pt x="78" y="126"/>
                    </a:lnTo>
                    <a:lnTo>
                      <a:pt x="84" y="120"/>
                    </a:lnTo>
                    <a:lnTo>
                      <a:pt x="90" y="120"/>
                    </a:lnTo>
                    <a:lnTo>
                      <a:pt x="102" y="120"/>
                    </a:lnTo>
                    <a:lnTo>
                      <a:pt x="114" y="114"/>
                    </a:lnTo>
                    <a:lnTo>
                      <a:pt x="114" y="108"/>
                    </a:lnTo>
                    <a:lnTo>
                      <a:pt x="132" y="108"/>
                    </a:lnTo>
                    <a:lnTo>
                      <a:pt x="138" y="108"/>
                    </a:lnTo>
                    <a:lnTo>
                      <a:pt x="144" y="102"/>
                    </a:lnTo>
                    <a:lnTo>
                      <a:pt x="150" y="90"/>
                    </a:lnTo>
                    <a:lnTo>
                      <a:pt x="156" y="78"/>
                    </a:lnTo>
                    <a:lnTo>
                      <a:pt x="156" y="66"/>
                    </a:lnTo>
                    <a:lnTo>
                      <a:pt x="156" y="54"/>
                    </a:lnTo>
                    <a:lnTo>
                      <a:pt x="150" y="54"/>
                    </a:lnTo>
                    <a:lnTo>
                      <a:pt x="150" y="42"/>
                    </a:lnTo>
                    <a:lnTo>
                      <a:pt x="132" y="42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10" name="Freeform 415"/>
              <p:cNvSpPr>
                <a:spLocks/>
              </p:cNvSpPr>
              <p:nvPr/>
            </p:nvSpPr>
            <p:spPr bwMode="auto">
              <a:xfrm>
                <a:off x="1146" y="1194"/>
                <a:ext cx="156" cy="150"/>
              </a:xfrm>
              <a:custGeom>
                <a:avLst/>
                <a:gdLst>
                  <a:gd name="T0" fmla="*/ 72 w 156"/>
                  <a:gd name="T1" fmla="*/ 0 h 150"/>
                  <a:gd name="T2" fmla="*/ 60 w 156"/>
                  <a:gd name="T3" fmla="*/ 0 h 150"/>
                  <a:gd name="T4" fmla="*/ 54 w 156"/>
                  <a:gd name="T5" fmla="*/ 0 h 150"/>
                  <a:gd name="T6" fmla="*/ 60 w 156"/>
                  <a:gd name="T7" fmla="*/ 84 h 150"/>
                  <a:gd name="T8" fmla="*/ 60 w 156"/>
                  <a:gd name="T9" fmla="*/ 90 h 150"/>
                  <a:gd name="T10" fmla="*/ 66 w 156"/>
                  <a:gd name="T11" fmla="*/ 96 h 150"/>
                  <a:gd name="T12" fmla="*/ 60 w 156"/>
                  <a:gd name="T13" fmla="*/ 102 h 150"/>
                  <a:gd name="T14" fmla="*/ 18 w 156"/>
                  <a:gd name="T15" fmla="*/ 96 h 150"/>
                  <a:gd name="T16" fmla="*/ 12 w 156"/>
                  <a:gd name="T17" fmla="*/ 96 h 150"/>
                  <a:gd name="T18" fmla="*/ 12 w 156"/>
                  <a:gd name="T19" fmla="*/ 102 h 150"/>
                  <a:gd name="T20" fmla="*/ 6 w 156"/>
                  <a:gd name="T21" fmla="*/ 108 h 150"/>
                  <a:gd name="T22" fmla="*/ 6 w 156"/>
                  <a:gd name="T23" fmla="*/ 114 h 150"/>
                  <a:gd name="T24" fmla="*/ 0 w 156"/>
                  <a:gd name="T25" fmla="*/ 114 h 150"/>
                  <a:gd name="T26" fmla="*/ 6 w 156"/>
                  <a:gd name="T27" fmla="*/ 126 h 150"/>
                  <a:gd name="T28" fmla="*/ 6 w 156"/>
                  <a:gd name="T29" fmla="*/ 132 h 150"/>
                  <a:gd name="T30" fmla="*/ 12 w 156"/>
                  <a:gd name="T31" fmla="*/ 132 h 150"/>
                  <a:gd name="T32" fmla="*/ 18 w 156"/>
                  <a:gd name="T33" fmla="*/ 132 h 150"/>
                  <a:gd name="T34" fmla="*/ 24 w 156"/>
                  <a:gd name="T35" fmla="*/ 132 h 150"/>
                  <a:gd name="T36" fmla="*/ 30 w 156"/>
                  <a:gd name="T37" fmla="*/ 126 h 150"/>
                  <a:gd name="T38" fmla="*/ 36 w 156"/>
                  <a:gd name="T39" fmla="*/ 132 h 150"/>
                  <a:gd name="T40" fmla="*/ 36 w 156"/>
                  <a:gd name="T41" fmla="*/ 138 h 150"/>
                  <a:gd name="T42" fmla="*/ 36 w 156"/>
                  <a:gd name="T43" fmla="*/ 144 h 150"/>
                  <a:gd name="T44" fmla="*/ 42 w 156"/>
                  <a:gd name="T45" fmla="*/ 144 h 150"/>
                  <a:gd name="T46" fmla="*/ 48 w 156"/>
                  <a:gd name="T47" fmla="*/ 150 h 150"/>
                  <a:gd name="T48" fmla="*/ 60 w 156"/>
                  <a:gd name="T49" fmla="*/ 144 h 150"/>
                  <a:gd name="T50" fmla="*/ 66 w 156"/>
                  <a:gd name="T51" fmla="*/ 144 h 150"/>
                  <a:gd name="T52" fmla="*/ 72 w 156"/>
                  <a:gd name="T53" fmla="*/ 144 h 150"/>
                  <a:gd name="T54" fmla="*/ 72 w 156"/>
                  <a:gd name="T55" fmla="*/ 132 h 150"/>
                  <a:gd name="T56" fmla="*/ 72 w 156"/>
                  <a:gd name="T57" fmla="*/ 126 h 150"/>
                  <a:gd name="T58" fmla="*/ 78 w 156"/>
                  <a:gd name="T59" fmla="*/ 126 h 150"/>
                  <a:gd name="T60" fmla="*/ 84 w 156"/>
                  <a:gd name="T61" fmla="*/ 120 h 150"/>
                  <a:gd name="T62" fmla="*/ 90 w 156"/>
                  <a:gd name="T63" fmla="*/ 120 h 150"/>
                  <a:gd name="T64" fmla="*/ 102 w 156"/>
                  <a:gd name="T65" fmla="*/ 120 h 150"/>
                  <a:gd name="T66" fmla="*/ 114 w 156"/>
                  <a:gd name="T67" fmla="*/ 114 h 150"/>
                  <a:gd name="T68" fmla="*/ 114 w 156"/>
                  <a:gd name="T69" fmla="*/ 108 h 150"/>
                  <a:gd name="T70" fmla="*/ 132 w 156"/>
                  <a:gd name="T71" fmla="*/ 108 h 150"/>
                  <a:gd name="T72" fmla="*/ 138 w 156"/>
                  <a:gd name="T73" fmla="*/ 108 h 150"/>
                  <a:gd name="T74" fmla="*/ 144 w 156"/>
                  <a:gd name="T75" fmla="*/ 102 h 150"/>
                  <a:gd name="T76" fmla="*/ 150 w 156"/>
                  <a:gd name="T77" fmla="*/ 90 h 150"/>
                  <a:gd name="T78" fmla="*/ 156 w 156"/>
                  <a:gd name="T79" fmla="*/ 78 h 150"/>
                  <a:gd name="T80" fmla="*/ 156 w 156"/>
                  <a:gd name="T81" fmla="*/ 66 h 150"/>
                  <a:gd name="T82" fmla="*/ 156 w 156"/>
                  <a:gd name="T83" fmla="*/ 54 h 150"/>
                  <a:gd name="T84" fmla="*/ 150 w 156"/>
                  <a:gd name="T85" fmla="*/ 54 h 150"/>
                  <a:gd name="T86" fmla="*/ 150 w 156"/>
                  <a:gd name="T87" fmla="*/ 42 h 150"/>
                  <a:gd name="T88" fmla="*/ 132 w 156"/>
                  <a:gd name="T89" fmla="*/ 42 h 150"/>
                  <a:gd name="T90" fmla="*/ 72 w 156"/>
                  <a:gd name="T91" fmla="*/ 0 h 15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56" h="150">
                    <a:moveTo>
                      <a:pt x="72" y="0"/>
                    </a:moveTo>
                    <a:lnTo>
                      <a:pt x="60" y="0"/>
                    </a:lnTo>
                    <a:lnTo>
                      <a:pt x="54" y="0"/>
                    </a:lnTo>
                    <a:lnTo>
                      <a:pt x="60" y="84"/>
                    </a:lnTo>
                    <a:lnTo>
                      <a:pt x="60" y="90"/>
                    </a:lnTo>
                    <a:lnTo>
                      <a:pt x="66" y="96"/>
                    </a:lnTo>
                    <a:lnTo>
                      <a:pt x="60" y="102"/>
                    </a:lnTo>
                    <a:lnTo>
                      <a:pt x="18" y="96"/>
                    </a:lnTo>
                    <a:lnTo>
                      <a:pt x="12" y="96"/>
                    </a:lnTo>
                    <a:lnTo>
                      <a:pt x="12" y="102"/>
                    </a:lnTo>
                    <a:lnTo>
                      <a:pt x="6" y="108"/>
                    </a:lnTo>
                    <a:lnTo>
                      <a:pt x="6" y="114"/>
                    </a:lnTo>
                    <a:lnTo>
                      <a:pt x="0" y="114"/>
                    </a:lnTo>
                    <a:lnTo>
                      <a:pt x="6" y="126"/>
                    </a:lnTo>
                    <a:lnTo>
                      <a:pt x="6" y="132"/>
                    </a:lnTo>
                    <a:lnTo>
                      <a:pt x="12" y="132"/>
                    </a:lnTo>
                    <a:lnTo>
                      <a:pt x="18" y="132"/>
                    </a:lnTo>
                    <a:lnTo>
                      <a:pt x="24" y="132"/>
                    </a:lnTo>
                    <a:lnTo>
                      <a:pt x="30" y="126"/>
                    </a:lnTo>
                    <a:lnTo>
                      <a:pt x="36" y="132"/>
                    </a:lnTo>
                    <a:lnTo>
                      <a:pt x="36" y="138"/>
                    </a:lnTo>
                    <a:lnTo>
                      <a:pt x="36" y="144"/>
                    </a:lnTo>
                    <a:lnTo>
                      <a:pt x="42" y="144"/>
                    </a:lnTo>
                    <a:lnTo>
                      <a:pt x="48" y="150"/>
                    </a:lnTo>
                    <a:lnTo>
                      <a:pt x="60" y="144"/>
                    </a:lnTo>
                    <a:lnTo>
                      <a:pt x="66" y="144"/>
                    </a:lnTo>
                    <a:lnTo>
                      <a:pt x="72" y="144"/>
                    </a:lnTo>
                    <a:lnTo>
                      <a:pt x="72" y="132"/>
                    </a:lnTo>
                    <a:lnTo>
                      <a:pt x="72" y="126"/>
                    </a:lnTo>
                    <a:lnTo>
                      <a:pt x="78" y="126"/>
                    </a:lnTo>
                    <a:lnTo>
                      <a:pt x="84" y="120"/>
                    </a:lnTo>
                    <a:lnTo>
                      <a:pt x="90" y="120"/>
                    </a:lnTo>
                    <a:lnTo>
                      <a:pt x="102" y="120"/>
                    </a:lnTo>
                    <a:lnTo>
                      <a:pt x="114" y="114"/>
                    </a:lnTo>
                    <a:lnTo>
                      <a:pt x="114" y="108"/>
                    </a:lnTo>
                    <a:lnTo>
                      <a:pt x="132" y="108"/>
                    </a:lnTo>
                    <a:lnTo>
                      <a:pt x="138" y="108"/>
                    </a:lnTo>
                    <a:lnTo>
                      <a:pt x="144" y="102"/>
                    </a:lnTo>
                    <a:lnTo>
                      <a:pt x="150" y="90"/>
                    </a:lnTo>
                    <a:lnTo>
                      <a:pt x="156" y="78"/>
                    </a:lnTo>
                    <a:lnTo>
                      <a:pt x="156" y="66"/>
                    </a:lnTo>
                    <a:lnTo>
                      <a:pt x="156" y="54"/>
                    </a:lnTo>
                    <a:lnTo>
                      <a:pt x="150" y="54"/>
                    </a:lnTo>
                    <a:lnTo>
                      <a:pt x="150" y="42"/>
                    </a:lnTo>
                    <a:lnTo>
                      <a:pt x="132" y="42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62" name="Group 416"/>
            <p:cNvGrpSpPr>
              <a:grpSpLocks/>
            </p:cNvGrpSpPr>
            <p:nvPr/>
          </p:nvGrpSpPr>
          <p:grpSpPr bwMode="auto">
            <a:xfrm>
              <a:off x="1315549" y="2723402"/>
              <a:ext cx="219107" cy="196213"/>
              <a:chOff x="1512" y="1134"/>
              <a:chExt cx="108" cy="114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1603" name="Group 417"/>
              <p:cNvGrpSpPr>
                <a:grpSpLocks/>
              </p:cNvGrpSpPr>
              <p:nvPr/>
            </p:nvGrpSpPr>
            <p:grpSpPr bwMode="auto">
              <a:xfrm>
                <a:off x="1512" y="1134"/>
                <a:ext cx="108" cy="114"/>
                <a:chOff x="1512" y="1134"/>
                <a:chExt cx="108" cy="114"/>
              </a:xfrm>
              <a:grpFill/>
            </p:grpSpPr>
            <p:sp>
              <p:nvSpPr>
                <p:cNvPr id="1607" name="Freeform 418"/>
                <p:cNvSpPr>
                  <a:spLocks/>
                </p:cNvSpPr>
                <p:nvPr/>
              </p:nvSpPr>
              <p:spPr bwMode="auto">
                <a:xfrm>
                  <a:off x="1512" y="1134"/>
                  <a:ext cx="108" cy="114"/>
                </a:xfrm>
                <a:custGeom>
                  <a:avLst/>
                  <a:gdLst>
                    <a:gd name="T0" fmla="*/ 0 w 108"/>
                    <a:gd name="T1" fmla="*/ 114 h 114"/>
                    <a:gd name="T2" fmla="*/ 0 w 108"/>
                    <a:gd name="T3" fmla="*/ 0 h 114"/>
                    <a:gd name="T4" fmla="*/ 24 w 108"/>
                    <a:gd name="T5" fmla="*/ 0 h 114"/>
                    <a:gd name="T6" fmla="*/ 24 w 108"/>
                    <a:gd name="T7" fmla="*/ 0 h 114"/>
                    <a:gd name="T8" fmla="*/ 36 w 108"/>
                    <a:gd name="T9" fmla="*/ 6 h 114"/>
                    <a:gd name="T10" fmla="*/ 54 w 108"/>
                    <a:gd name="T11" fmla="*/ 0 h 114"/>
                    <a:gd name="T12" fmla="*/ 54 w 108"/>
                    <a:gd name="T13" fmla="*/ 0 h 114"/>
                    <a:gd name="T14" fmla="*/ 66 w 108"/>
                    <a:gd name="T15" fmla="*/ 0 h 114"/>
                    <a:gd name="T16" fmla="*/ 66 w 108"/>
                    <a:gd name="T17" fmla="*/ 6 h 114"/>
                    <a:gd name="T18" fmla="*/ 72 w 108"/>
                    <a:gd name="T19" fmla="*/ 18 h 114"/>
                    <a:gd name="T20" fmla="*/ 84 w 108"/>
                    <a:gd name="T21" fmla="*/ 54 h 114"/>
                    <a:gd name="T22" fmla="*/ 108 w 108"/>
                    <a:gd name="T23" fmla="*/ 96 h 114"/>
                    <a:gd name="T24" fmla="*/ 102 w 108"/>
                    <a:gd name="T25" fmla="*/ 102 h 114"/>
                    <a:gd name="T26" fmla="*/ 96 w 108"/>
                    <a:gd name="T27" fmla="*/ 108 h 114"/>
                    <a:gd name="T28" fmla="*/ 84 w 108"/>
                    <a:gd name="T29" fmla="*/ 108 h 114"/>
                    <a:gd name="T30" fmla="*/ 0 w 108"/>
                    <a:gd name="T31" fmla="*/ 114 h 11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108" h="114">
                      <a:moveTo>
                        <a:pt x="0" y="114"/>
                      </a:moveTo>
                      <a:lnTo>
                        <a:pt x="0" y="0"/>
                      </a:lnTo>
                      <a:lnTo>
                        <a:pt x="24" y="0"/>
                      </a:lnTo>
                      <a:lnTo>
                        <a:pt x="36" y="6"/>
                      </a:lnTo>
                      <a:lnTo>
                        <a:pt x="54" y="0"/>
                      </a:lnTo>
                      <a:lnTo>
                        <a:pt x="66" y="0"/>
                      </a:lnTo>
                      <a:lnTo>
                        <a:pt x="66" y="6"/>
                      </a:lnTo>
                      <a:lnTo>
                        <a:pt x="72" y="18"/>
                      </a:lnTo>
                      <a:lnTo>
                        <a:pt x="84" y="54"/>
                      </a:lnTo>
                      <a:lnTo>
                        <a:pt x="108" y="96"/>
                      </a:lnTo>
                      <a:lnTo>
                        <a:pt x="102" y="102"/>
                      </a:lnTo>
                      <a:lnTo>
                        <a:pt x="96" y="108"/>
                      </a:lnTo>
                      <a:lnTo>
                        <a:pt x="84" y="108"/>
                      </a:lnTo>
                      <a:lnTo>
                        <a:pt x="0" y="11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608" name="Freeform 419"/>
                <p:cNvSpPr>
                  <a:spLocks/>
                </p:cNvSpPr>
                <p:nvPr/>
              </p:nvSpPr>
              <p:spPr bwMode="auto">
                <a:xfrm>
                  <a:off x="1512" y="1134"/>
                  <a:ext cx="108" cy="114"/>
                </a:xfrm>
                <a:custGeom>
                  <a:avLst/>
                  <a:gdLst>
                    <a:gd name="T0" fmla="*/ 0 w 108"/>
                    <a:gd name="T1" fmla="*/ 114 h 114"/>
                    <a:gd name="T2" fmla="*/ 0 w 108"/>
                    <a:gd name="T3" fmla="*/ 0 h 114"/>
                    <a:gd name="T4" fmla="*/ 24 w 108"/>
                    <a:gd name="T5" fmla="*/ 0 h 114"/>
                    <a:gd name="T6" fmla="*/ 36 w 108"/>
                    <a:gd name="T7" fmla="*/ 6 h 114"/>
                    <a:gd name="T8" fmla="*/ 54 w 108"/>
                    <a:gd name="T9" fmla="*/ 0 h 114"/>
                    <a:gd name="T10" fmla="*/ 66 w 108"/>
                    <a:gd name="T11" fmla="*/ 0 h 114"/>
                    <a:gd name="T12" fmla="*/ 66 w 108"/>
                    <a:gd name="T13" fmla="*/ 6 h 114"/>
                    <a:gd name="T14" fmla="*/ 72 w 108"/>
                    <a:gd name="T15" fmla="*/ 18 h 114"/>
                    <a:gd name="T16" fmla="*/ 84 w 108"/>
                    <a:gd name="T17" fmla="*/ 54 h 114"/>
                    <a:gd name="T18" fmla="*/ 108 w 108"/>
                    <a:gd name="T19" fmla="*/ 96 h 114"/>
                    <a:gd name="T20" fmla="*/ 102 w 108"/>
                    <a:gd name="T21" fmla="*/ 102 h 114"/>
                    <a:gd name="T22" fmla="*/ 96 w 108"/>
                    <a:gd name="T23" fmla="*/ 108 h 114"/>
                    <a:gd name="T24" fmla="*/ 84 w 108"/>
                    <a:gd name="T25" fmla="*/ 108 h 114"/>
                    <a:gd name="T26" fmla="*/ 0 w 108"/>
                    <a:gd name="T27" fmla="*/ 114 h 11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08" h="114">
                      <a:moveTo>
                        <a:pt x="0" y="114"/>
                      </a:moveTo>
                      <a:lnTo>
                        <a:pt x="0" y="0"/>
                      </a:lnTo>
                      <a:lnTo>
                        <a:pt x="24" y="0"/>
                      </a:lnTo>
                      <a:lnTo>
                        <a:pt x="36" y="6"/>
                      </a:lnTo>
                      <a:lnTo>
                        <a:pt x="54" y="0"/>
                      </a:lnTo>
                      <a:lnTo>
                        <a:pt x="66" y="0"/>
                      </a:lnTo>
                      <a:lnTo>
                        <a:pt x="66" y="6"/>
                      </a:lnTo>
                      <a:lnTo>
                        <a:pt x="72" y="18"/>
                      </a:lnTo>
                      <a:lnTo>
                        <a:pt x="84" y="54"/>
                      </a:lnTo>
                      <a:lnTo>
                        <a:pt x="108" y="96"/>
                      </a:lnTo>
                      <a:lnTo>
                        <a:pt x="102" y="102"/>
                      </a:lnTo>
                      <a:lnTo>
                        <a:pt x="96" y="108"/>
                      </a:lnTo>
                      <a:lnTo>
                        <a:pt x="84" y="108"/>
                      </a:lnTo>
                      <a:lnTo>
                        <a:pt x="0" y="11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604" name="Group 420"/>
              <p:cNvGrpSpPr>
                <a:grpSpLocks/>
              </p:cNvGrpSpPr>
              <p:nvPr/>
            </p:nvGrpSpPr>
            <p:grpSpPr bwMode="auto">
              <a:xfrm>
                <a:off x="1578" y="1134"/>
                <a:ext cx="30" cy="36"/>
                <a:chOff x="1578" y="1134"/>
                <a:chExt cx="30" cy="36"/>
              </a:xfrm>
              <a:grpFill/>
            </p:grpSpPr>
            <p:sp>
              <p:nvSpPr>
                <p:cNvPr id="1605" name="Freeform 421"/>
                <p:cNvSpPr>
                  <a:spLocks/>
                </p:cNvSpPr>
                <p:nvPr/>
              </p:nvSpPr>
              <p:spPr bwMode="auto">
                <a:xfrm>
                  <a:off x="1578" y="1134"/>
                  <a:ext cx="30" cy="36"/>
                </a:xfrm>
                <a:custGeom>
                  <a:avLst/>
                  <a:gdLst>
                    <a:gd name="T0" fmla="*/ 0 w 30"/>
                    <a:gd name="T1" fmla="*/ 0 h 36"/>
                    <a:gd name="T2" fmla="*/ 0 w 30"/>
                    <a:gd name="T3" fmla="*/ 6 h 36"/>
                    <a:gd name="T4" fmla="*/ 0 w 30"/>
                    <a:gd name="T5" fmla="*/ 12 h 36"/>
                    <a:gd name="T6" fmla="*/ 6 w 30"/>
                    <a:gd name="T7" fmla="*/ 24 h 36"/>
                    <a:gd name="T8" fmla="*/ 12 w 30"/>
                    <a:gd name="T9" fmla="*/ 24 h 36"/>
                    <a:gd name="T10" fmla="*/ 12 w 30"/>
                    <a:gd name="T11" fmla="*/ 30 h 36"/>
                    <a:gd name="T12" fmla="*/ 18 w 30"/>
                    <a:gd name="T13" fmla="*/ 30 h 36"/>
                    <a:gd name="T14" fmla="*/ 18 w 30"/>
                    <a:gd name="T15" fmla="*/ 36 h 36"/>
                    <a:gd name="T16" fmla="*/ 24 w 30"/>
                    <a:gd name="T17" fmla="*/ 36 h 36"/>
                    <a:gd name="T18" fmla="*/ 24 w 30"/>
                    <a:gd name="T19" fmla="*/ 36 h 36"/>
                    <a:gd name="T20" fmla="*/ 24 w 30"/>
                    <a:gd name="T21" fmla="*/ 36 h 36"/>
                    <a:gd name="T22" fmla="*/ 30 w 30"/>
                    <a:gd name="T23" fmla="*/ 36 h 36"/>
                    <a:gd name="T24" fmla="*/ 30 w 30"/>
                    <a:gd name="T25" fmla="*/ 24 h 36"/>
                    <a:gd name="T26" fmla="*/ 24 w 30"/>
                    <a:gd name="T27" fmla="*/ 12 h 36"/>
                    <a:gd name="T28" fmla="*/ 18 w 30"/>
                    <a:gd name="T29" fmla="*/ 0 h 36"/>
                    <a:gd name="T30" fmla="*/ 0 w 30"/>
                    <a:gd name="T31" fmla="*/ 0 h 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30" h="36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6" y="24"/>
                      </a:lnTo>
                      <a:lnTo>
                        <a:pt x="12" y="24"/>
                      </a:lnTo>
                      <a:lnTo>
                        <a:pt x="12" y="30"/>
                      </a:lnTo>
                      <a:lnTo>
                        <a:pt x="18" y="30"/>
                      </a:lnTo>
                      <a:lnTo>
                        <a:pt x="18" y="36"/>
                      </a:lnTo>
                      <a:lnTo>
                        <a:pt x="24" y="36"/>
                      </a:lnTo>
                      <a:lnTo>
                        <a:pt x="30" y="36"/>
                      </a:lnTo>
                      <a:lnTo>
                        <a:pt x="30" y="24"/>
                      </a:lnTo>
                      <a:lnTo>
                        <a:pt x="24" y="12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606" name="Freeform 422"/>
                <p:cNvSpPr>
                  <a:spLocks/>
                </p:cNvSpPr>
                <p:nvPr/>
              </p:nvSpPr>
              <p:spPr bwMode="auto">
                <a:xfrm>
                  <a:off x="1578" y="1134"/>
                  <a:ext cx="30" cy="36"/>
                </a:xfrm>
                <a:custGeom>
                  <a:avLst/>
                  <a:gdLst>
                    <a:gd name="T0" fmla="*/ 0 w 30"/>
                    <a:gd name="T1" fmla="*/ 0 h 36"/>
                    <a:gd name="T2" fmla="*/ 0 w 30"/>
                    <a:gd name="T3" fmla="*/ 6 h 36"/>
                    <a:gd name="T4" fmla="*/ 0 w 30"/>
                    <a:gd name="T5" fmla="*/ 12 h 36"/>
                    <a:gd name="T6" fmla="*/ 6 w 30"/>
                    <a:gd name="T7" fmla="*/ 24 h 36"/>
                    <a:gd name="T8" fmla="*/ 12 w 30"/>
                    <a:gd name="T9" fmla="*/ 24 h 36"/>
                    <a:gd name="T10" fmla="*/ 12 w 30"/>
                    <a:gd name="T11" fmla="*/ 30 h 36"/>
                    <a:gd name="T12" fmla="*/ 18 w 30"/>
                    <a:gd name="T13" fmla="*/ 30 h 36"/>
                    <a:gd name="T14" fmla="*/ 18 w 30"/>
                    <a:gd name="T15" fmla="*/ 36 h 36"/>
                    <a:gd name="T16" fmla="*/ 24 w 30"/>
                    <a:gd name="T17" fmla="*/ 36 h 36"/>
                    <a:gd name="T18" fmla="*/ 30 w 30"/>
                    <a:gd name="T19" fmla="*/ 36 h 36"/>
                    <a:gd name="T20" fmla="*/ 30 w 30"/>
                    <a:gd name="T21" fmla="*/ 24 h 36"/>
                    <a:gd name="T22" fmla="*/ 24 w 30"/>
                    <a:gd name="T23" fmla="*/ 12 h 36"/>
                    <a:gd name="T24" fmla="*/ 18 w 30"/>
                    <a:gd name="T25" fmla="*/ 0 h 36"/>
                    <a:gd name="T26" fmla="*/ 0 w 30"/>
                    <a:gd name="T27" fmla="*/ 0 h 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30" h="36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6" y="24"/>
                      </a:lnTo>
                      <a:lnTo>
                        <a:pt x="12" y="24"/>
                      </a:lnTo>
                      <a:lnTo>
                        <a:pt x="12" y="30"/>
                      </a:lnTo>
                      <a:lnTo>
                        <a:pt x="18" y="30"/>
                      </a:lnTo>
                      <a:lnTo>
                        <a:pt x="18" y="36"/>
                      </a:lnTo>
                      <a:lnTo>
                        <a:pt x="24" y="36"/>
                      </a:lnTo>
                      <a:lnTo>
                        <a:pt x="30" y="36"/>
                      </a:lnTo>
                      <a:lnTo>
                        <a:pt x="30" y="24"/>
                      </a:lnTo>
                      <a:lnTo>
                        <a:pt x="24" y="12"/>
                      </a:lnTo>
                      <a:lnTo>
                        <a:pt x="1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663" name="Group 423"/>
            <p:cNvGrpSpPr>
              <a:grpSpLocks/>
            </p:cNvGrpSpPr>
            <p:nvPr/>
          </p:nvGrpSpPr>
          <p:grpSpPr bwMode="auto">
            <a:xfrm>
              <a:off x="1657663" y="3465773"/>
              <a:ext cx="132617" cy="236669"/>
              <a:chOff x="1680" y="1566"/>
              <a:chExt cx="66" cy="138"/>
            </a:xfrm>
            <a:solidFill>
              <a:srgbClr val="0070C0">
                <a:alpha val="27059"/>
              </a:srgbClr>
            </a:solidFill>
          </p:grpSpPr>
          <p:sp>
            <p:nvSpPr>
              <p:cNvPr id="1601" name="Freeform 424"/>
              <p:cNvSpPr>
                <a:spLocks/>
              </p:cNvSpPr>
              <p:nvPr/>
            </p:nvSpPr>
            <p:spPr bwMode="auto">
              <a:xfrm>
                <a:off x="1680" y="1566"/>
                <a:ext cx="66" cy="138"/>
              </a:xfrm>
              <a:custGeom>
                <a:avLst/>
                <a:gdLst>
                  <a:gd name="T0" fmla="*/ 60 w 66"/>
                  <a:gd name="T1" fmla="*/ 0 h 138"/>
                  <a:gd name="T2" fmla="*/ 54 w 66"/>
                  <a:gd name="T3" fmla="*/ 0 h 138"/>
                  <a:gd name="T4" fmla="*/ 54 w 66"/>
                  <a:gd name="T5" fmla="*/ 6 h 138"/>
                  <a:gd name="T6" fmla="*/ 48 w 66"/>
                  <a:gd name="T7" fmla="*/ 12 h 138"/>
                  <a:gd name="T8" fmla="*/ 42 w 66"/>
                  <a:gd name="T9" fmla="*/ 18 h 138"/>
                  <a:gd name="T10" fmla="*/ 30 w 66"/>
                  <a:gd name="T11" fmla="*/ 30 h 138"/>
                  <a:gd name="T12" fmla="*/ 30 w 66"/>
                  <a:gd name="T13" fmla="*/ 36 h 138"/>
                  <a:gd name="T14" fmla="*/ 24 w 66"/>
                  <a:gd name="T15" fmla="*/ 36 h 138"/>
                  <a:gd name="T16" fmla="*/ 18 w 66"/>
                  <a:gd name="T17" fmla="*/ 42 h 138"/>
                  <a:gd name="T18" fmla="*/ 12 w 66"/>
                  <a:gd name="T19" fmla="*/ 42 h 138"/>
                  <a:gd name="T20" fmla="*/ 6 w 66"/>
                  <a:gd name="T21" fmla="*/ 48 h 138"/>
                  <a:gd name="T22" fmla="*/ 6 w 66"/>
                  <a:gd name="T23" fmla="*/ 54 h 138"/>
                  <a:gd name="T24" fmla="*/ 6 w 66"/>
                  <a:gd name="T25" fmla="*/ 66 h 138"/>
                  <a:gd name="T26" fmla="*/ 12 w 66"/>
                  <a:gd name="T27" fmla="*/ 72 h 138"/>
                  <a:gd name="T28" fmla="*/ 12 w 66"/>
                  <a:gd name="T29" fmla="*/ 78 h 138"/>
                  <a:gd name="T30" fmla="*/ 12 w 66"/>
                  <a:gd name="T31" fmla="*/ 78 h 138"/>
                  <a:gd name="T32" fmla="*/ 6 w 66"/>
                  <a:gd name="T33" fmla="*/ 84 h 138"/>
                  <a:gd name="T34" fmla="*/ 0 w 66"/>
                  <a:gd name="T35" fmla="*/ 96 h 138"/>
                  <a:gd name="T36" fmla="*/ 0 w 66"/>
                  <a:gd name="T37" fmla="*/ 102 h 138"/>
                  <a:gd name="T38" fmla="*/ 0 w 66"/>
                  <a:gd name="T39" fmla="*/ 114 h 138"/>
                  <a:gd name="T40" fmla="*/ 6 w 66"/>
                  <a:gd name="T41" fmla="*/ 126 h 138"/>
                  <a:gd name="T42" fmla="*/ 12 w 66"/>
                  <a:gd name="T43" fmla="*/ 126 h 138"/>
                  <a:gd name="T44" fmla="*/ 18 w 66"/>
                  <a:gd name="T45" fmla="*/ 126 h 138"/>
                  <a:gd name="T46" fmla="*/ 18 w 66"/>
                  <a:gd name="T47" fmla="*/ 126 h 138"/>
                  <a:gd name="T48" fmla="*/ 18 w 66"/>
                  <a:gd name="T49" fmla="*/ 132 h 138"/>
                  <a:gd name="T50" fmla="*/ 18 w 66"/>
                  <a:gd name="T51" fmla="*/ 132 h 138"/>
                  <a:gd name="T52" fmla="*/ 24 w 66"/>
                  <a:gd name="T53" fmla="*/ 138 h 138"/>
                  <a:gd name="T54" fmla="*/ 30 w 66"/>
                  <a:gd name="T55" fmla="*/ 138 h 138"/>
                  <a:gd name="T56" fmla="*/ 36 w 66"/>
                  <a:gd name="T57" fmla="*/ 132 h 138"/>
                  <a:gd name="T58" fmla="*/ 42 w 66"/>
                  <a:gd name="T59" fmla="*/ 120 h 138"/>
                  <a:gd name="T60" fmla="*/ 48 w 66"/>
                  <a:gd name="T61" fmla="*/ 102 h 138"/>
                  <a:gd name="T62" fmla="*/ 48 w 66"/>
                  <a:gd name="T63" fmla="*/ 96 h 138"/>
                  <a:gd name="T64" fmla="*/ 48 w 66"/>
                  <a:gd name="T65" fmla="*/ 90 h 138"/>
                  <a:gd name="T66" fmla="*/ 48 w 66"/>
                  <a:gd name="T67" fmla="*/ 78 h 138"/>
                  <a:gd name="T68" fmla="*/ 54 w 66"/>
                  <a:gd name="T69" fmla="*/ 60 h 138"/>
                  <a:gd name="T70" fmla="*/ 60 w 66"/>
                  <a:gd name="T71" fmla="*/ 42 h 138"/>
                  <a:gd name="T72" fmla="*/ 60 w 66"/>
                  <a:gd name="T73" fmla="*/ 30 h 138"/>
                  <a:gd name="T74" fmla="*/ 66 w 66"/>
                  <a:gd name="T75" fmla="*/ 18 h 138"/>
                  <a:gd name="T76" fmla="*/ 66 w 66"/>
                  <a:gd name="T77" fmla="*/ 6 h 138"/>
                  <a:gd name="T78" fmla="*/ 66 w 66"/>
                  <a:gd name="T79" fmla="*/ 6 h 138"/>
                  <a:gd name="T80" fmla="*/ 60 w 66"/>
                  <a:gd name="T81" fmla="*/ 0 h 13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66" h="138">
                    <a:moveTo>
                      <a:pt x="60" y="0"/>
                    </a:moveTo>
                    <a:lnTo>
                      <a:pt x="54" y="0"/>
                    </a:lnTo>
                    <a:lnTo>
                      <a:pt x="54" y="6"/>
                    </a:lnTo>
                    <a:lnTo>
                      <a:pt x="48" y="12"/>
                    </a:lnTo>
                    <a:lnTo>
                      <a:pt x="42" y="18"/>
                    </a:lnTo>
                    <a:lnTo>
                      <a:pt x="30" y="30"/>
                    </a:lnTo>
                    <a:lnTo>
                      <a:pt x="30" y="36"/>
                    </a:lnTo>
                    <a:lnTo>
                      <a:pt x="24" y="36"/>
                    </a:lnTo>
                    <a:lnTo>
                      <a:pt x="18" y="42"/>
                    </a:lnTo>
                    <a:lnTo>
                      <a:pt x="12" y="42"/>
                    </a:lnTo>
                    <a:lnTo>
                      <a:pt x="6" y="48"/>
                    </a:lnTo>
                    <a:lnTo>
                      <a:pt x="6" y="54"/>
                    </a:lnTo>
                    <a:lnTo>
                      <a:pt x="6" y="66"/>
                    </a:lnTo>
                    <a:lnTo>
                      <a:pt x="12" y="72"/>
                    </a:lnTo>
                    <a:lnTo>
                      <a:pt x="12" y="78"/>
                    </a:lnTo>
                    <a:lnTo>
                      <a:pt x="6" y="84"/>
                    </a:lnTo>
                    <a:lnTo>
                      <a:pt x="0" y="96"/>
                    </a:lnTo>
                    <a:lnTo>
                      <a:pt x="0" y="102"/>
                    </a:lnTo>
                    <a:lnTo>
                      <a:pt x="0" y="114"/>
                    </a:lnTo>
                    <a:lnTo>
                      <a:pt x="6" y="126"/>
                    </a:lnTo>
                    <a:lnTo>
                      <a:pt x="12" y="126"/>
                    </a:lnTo>
                    <a:lnTo>
                      <a:pt x="18" y="126"/>
                    </a:lnTo>
                    <a:lnTo>
                      <a:pt x="18" y="132"/>
                    </a:lnTo>
                    <a:lnTo>
                      <a:pt x="24" y="138"/>
                    </a:lnTo>
                    <a:lnTo>
                      <a:pt x="30" y="138"/>
                    </a:lnTo>
                    <a:lnTo>
                      <a:pt x="36" y="132"/>
                    </a:lnTo>
                    <a:lnTo>
                      <a:pt x="42" y="120"/>
                    </a:lnTo>
                    <a:lnTo>
                      <a:pt x="48" y="102"/>
                    </a:lnTo>
                    <a:lnTo>
                      <a:pt x="48" y="96"/>
                    </a:lnTo>
                    <a:lnTo>
                      <a:pt x="48" y="90"/>
                    </a:lnTo>
                    <a:lnTo>
                      <a:pt x="48" y="78"/>
                    </a:lnTo>
                    <a:lnTo>
                      <a:pt x="54" y="60"/>
                    </a:lnTo>
                    <a:lnTo>
                      <a:pt x="60" y="42"/>
                    </a:lnTo>
                    <a:lnTo>
                      <a:pt x="60" y="30"/>
                    </a:lnTo>
                    <a:lnTo>
                      <a:pt x="66" y="18"/>
                    </a:lnTo>
                    <a:lnTo>
                      <a:pt x="66" y="6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02" name="Freeform 425"/>
              <p:cNvSpPr>
                <a:spLocks/>
              </p:cNvSpPr>
              <p:nvPr/>
            </p:nvSpPr>
            <p:spPr bwMode="auto">
              <a:xfrm>
                <a:off x="1680" y="1566"/>
                <a:ext cx="66" cy="138"/>
              </a:xfrm>
              <a:custGeom>
                <a:avLst/>
                <a:gdLst>
                  <a:gd name="T0" fmla="*/ 60 w 66"/>
                  <a:gd name="T1" fmla="*/ 0 h 138"/>
                  <a:gd name="T2" fmla="*/ 54 w 66"/>
                  <a:gd name="T3" fmla="*/ 0 h 138"/>
                  <a:gd name="T4" fmla="*/ 54 w 66"/>
                  <a:gd name="T5" fmla="*/ 6 h 138"/>
                  <a:gd name="T6" fmla="*/ 48 w 66"/>
                  <a:gd name="T7" fmla="*/ 12 h 138"/>
                  <a:gd name="T8" fmla="*/ 42 w 66"/>
                  <a:gd name="T9" fmla="*/ 18 h 138"/>
                  <a:gd name="T10" fmla="*/ 30 w 66"/>
                  <a:gd name="T11" fmla="*/ 30 h 138"/>
                  <a:gd name="T12" fmla="*/ 30 w 66"/>
                  <a:gd name="T13" fmla="*/ 36 h 138"/>
                  <a:gd name="T14" fmla="*/ 24 w 66"/>
                  <a:gd name="T15" fmla="*/ 36 h 138"/>
                  <a:gd name="T16" fmla="*/ 18 w 66"/>
                  <a:gd name="T17" fmla="*/ 42 h 138"/>
                  <a:gd name="T18" fmla="*/ 12 w 66"/>
                  <a:gd name="T19" fmla="*/ 42 h 138"/>
                  <a:gd name="T20" fmla="*/ 6 w 66"/>
                  <a:gd name="T21" fmla="*/ 48 h 138"/>
                  <a:gd name="T22" fmla="*/ 6 w 66"/>
                  <a:gd name="T23" fmla="*/ 54 h 138"/>
                  <a:gd name="T24" fmla="*/ 6 w 66"/>
                  <a:gd name="T25" fmla="*/ 66 h 138"/>
                  <a:gd name="T26" fmla="*/ 12 w 66"/>
                  <a:gd name="T27" fmla="*/ 72 h 138"/>
                  <a:gd name="T28" fmla="*/ 12 w 66"/>
                  <a:gd name="T29" fmla="*/ 78 h 138"/>
                  <a:gd name="T30" fmla="*/ 6 w 66"/>
                  <a:gd name="T31" fmla="*/ 84 h 138"/>
                  <a:gd name="T32" fmla="*/ 0 w 66"/>
                  <a:gd name="T33" fmla="*/ 96 h 138"/>
                  <a:gd name="T34" fmla="*/ 0 w 66"/>
                  <a:gd name="T35" fmla="*/ 102 h 138"/>
                  <a:gd name="T36" fmla="*/ 0 w 66"/>
                  <a:gd name="T37" fmla="*/ 114 h 138"/>
                  <a:gd name="T38" fmla="*/ 6 w 66"/>
                  <a:gd name="T39" fmla="*/ 126 h 138"/>
                  <a:gd name="T40" fmla="*/ 12 w 66"/>
                  <a:gd name="T41" fmla="*/ 126 h 138"/>
                  <a:gd name="T42" fmla="*/ 18 w 66"/>
                  <a:gd name="T43" fmla="*/ 126 h 138"/>
                  <a:gd name="T44" fmla="*/ 18 w 66"/>
                  <a:gd name="T45" fmla="*/ 132 h 138"/>
                  <a:gd name="T46" fmla="*/ 24 w 66"/>
                  <a:gd name="T47" fmla="*/ 138 h 138"/>
                  <a:gd name="T48" fmla="*/ 30 w 66"/>
                  <a:gd name="T49" fmla="*/ 138 h 138"/>
                  <a:gd name="T50" fmla="*/ 36 w 66"/>
                  <a:gd name="T51" fmla="*/ 132 h 138"/>
                  <a:gd name="T52" fmla="*/ 42 w 66"/>
                  <a:gd name="T53" fmla="*/ 120 h 138"/>
                  <a:gd name="T54" fmla="*/ 48 w 66"/>
                  <a:gd name="T55" fmla="*/ 102 h 138"/>
                  <a:gd name="T56" fmla="*/ 48 w 66"/>
                  <a:gd name="T57" fmla="*/ 96 h 138"/>
                  <a:gd name="T58" fmla="*/ 48 w 66"/>
                  <a:gd name="T59" fmla="*/ 90 h 138"/>
                  <a:gd name="T60" fmla="*/ 48 w 66"/>
                  <a:gd name="T61" fmla="*/ 78 h 138"/>
                  <a:gd name="T62" fmla="*/ 54 w 66"/>
                  <a:gd name="T63" fmla="*/ 60 h 138"/>
                  <a:gd name="T64" fmla="*/ 60 w 66"/>
                  <a:gd name="T65" fmla="*/ 42 h 138"/>
                  <a:gd name="T66" fmla="*/ 60 w 66"/>
                  <a:gd name="T67" fmla="*/ 30 h 138"/>
                  <a:gd name="T68" fmla="*/ 66 w 66"/>
                  <a:gd name="T69" fmla="*/ 18 h 138"/>
                  <a:gd name="T70" fmla="*/ 66 w 66"/>
                  <a:gd name="T71" fmla="*/ 6 h 138"/>
                  <a:gd name="T72" fmla="*/ 60 w 66"/>
                  <a:gd name="T73" fmla="*/ 0 h 13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6" h="138">
                    <a:moveTo>
                      <a:pt x="60" y="0"/>
                    </a:moveTo>
                    <a:lnTo>
                      <a:pt x="54" y="0"/>
                    </a:lnTo>
                    <a:lnTo>
                      <a:pt x="54" y="6"/>
                    </a:lnTo>
                    <a:lnTo>
                      <a:pt x="48" y="12"/>
                    </a:lnTo>
                    <a:lnTo>
                      <a:pt x="42" y="18"/>
                    </a:lnTo>
                    <a:lnTo>
                      <a:pt x="30" y="30"/>
                    </a:lnTo>
                    <a:lnTo>
                      <a:pt x="30" y="36"/>
                    </a:lnTo>
                    <a:lnTo>
                      <a:pt x="24" y="36"/>
                    </a:lnTo>
                    <a:lnTo>
                      <a:pt x="18" y="42"/>
                    </a:lnTo>
                    <a:lnTo>
                      <a:pt x="12" y="42"/>
                    </a:lnTo>
                    <a:lnTo>
                      <a:pt x="6" y="48"/>
                    </a:lnTo>
                    <a:lnTo>
                      <a:pt x="6" y="54"/>
                    </a:lnTo>
                    <a:lnTo>
                      <a:pt x="6" y="66"/>
                    </a:lnTo>
                    <a:lnTo>
                      <a:pt x="12" y="72"/>
                    </a:lnTo>
                    <a:lnTo>
                      <a:pt x="12" y="78"/>
                    </a:lnTo>
                    <a:lnTo>
                      <a:pt x="6" y="84"/>
                    </a:lnTo>
                    <a:lnTo>
                      <a:pt x="0" y="96"/>
                    </a:lnTo>
                    <a:lnTo>
                      <a:pt x="0" y="102"/>
                    </a:lnTo>
                    <a:lnTo>
                      <a:pt x="0" y="114"/>
                    </a:lnTo>
                    <a:lnTo>
                      <a:pt x="6" y="126"/>
                    </a:lnTo>
                    <a:lnTo>
                      <a:pt x="12" y="126"/>
                    </a:lnTo>
                    <a:lnTo>
                      <a:pt x="18" y="126"/>
                    </a:lnTo>
                    <a:lnTo>
                      <a:pt x="18" y="132"/>
                    </a:lnTo>
                    <a:lnTo>
                      <a:pt x="24" y="138"/>
                    </a:lnTo>
                    <a:lnTo>
                      <a:pt x="30" y="138"/>
                    </a:lnTo>
                    <a:lnTo>
                      <a:pt x="36" y="132"/>
                    </a:lnTo>
                    <a:lnTo>
                      <a:pt x="42" y="120"/>
                    </a:lnTo>
                    <a:lnTo>
                      <a:pt x="48" y="102"/>
                    </a:lnTo>
                    <a:lnTo>
                      <a:pt x="48" y="96"/>
                    </a:lnTo>
                    <a:lnTo>
                      <a:pt x="48" y="90"/>
                    </a:lnTo>
                    <a:lnTo>
                      <a:pt x="48" y="78"/>
                    </a:lnTo>
                    <a:lnTo>
                      <a:pt x="54" y="60"/>
                    </a:lnTo>
                    <a:lnTo>
                      <a:pt x="60" y="42"/>
                    </a:lnTo>
                    <a:lnTo>
                      <a:pt x="60" y="30"/>
                    </a:lnTo>
                    <a:lnTo>
                      <a:pt x="66" y="18"/>
                    </a:lnTo>
                    <a:lnTo>
                      <a:pt x="66" y="6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64" name="Group 426"/>
            <p:cNvGrpSpPr>
              <a:grpSpLocks/>
            </p:cNvGrpSpPr>
            <p:nvPr/>
          </p:nvGrpSpPr>
          <p:grpSpPr bwMode="auto">
            <a:xfrm>
              <a:off x="3621934" y="4054410"/>
              <a:ext cx="84567" cy="70798"/>
              <a:chOff x="2646" y="1908"/>
              <a:chExt cx="42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1599" name="Freeform 427"/>
              <p:cNvSpPr>
                <a:spLocks/>
              </p:cNvSpPr>
              <p:nvPr/>
            </p:nvSpPr>
            <p:spPr bwMode="auto">
              <a:xfrm>
                <a:off x="2646" y="1908"/>
                <a:ext cx="42" cy="42"/>
              </a:xfrm>
              <a:custGeom>
                <a:avLst/>
                <a:gdLst>
                  <a:gd name="T0" fmla="*/ 6 w 42"/>
                  <a:gd name="T1" fmla="*/ 6 h 42"/>
                  <a:gd name="T2" fmla="*/ 0 w 42"/>
                  <a:gd name="T3" fmla="*/ 6 h 42"/>
                  <a:gd name="T4" fmla="*/ 0 w 42"/>
                  <a:gd name="T5" fmla="*/ 6 h 42"/>
                  <a:gd name="T6" fmla="*/ 0 w 42"/>
                  <a:gd name="T7" fmla="*/ 12 h 42"/>
                  <a:gd name="T8" fmla="*/ 0 w 42"/>
                  <a:gd name="T9" fmla="*/ 24 h 42"/>
                  <a:gd name="T10" fmla="*/ 6 w 42"/>
                  <a:gd name="T11" fmla="*/ 30 h 42"/>
                  <a:gd name="T12" fmla="*/ 12 w 42"/>
                  <a:gd name="T13" fmla="*/ 36 h 42"/>
                  <a:gd name="T14" fmla="*/ 12 w 42"/>
                  <a:gd name="T15" fmla="*/ 36 h 42"/>
                  <a:gd name="T16" fmla="*/ 18 w 42"/>
                  <a:gd name="T17" fmla="*/ 42 h 42"/>
                  <a:gd name="T18" fmla="*/ 30 w 42"/>
                  <a:gd name="T19" fmla="*/ 42 h 42"/>
                  <a:gd name="T20" fmla="*/ 36 w 42"/>
                  <a:gd name="T21" fmla="*/ 36 h 42"/>
                  <a:gd name="T22" fmla="*/ 42 w 42"/>
                  <a:gd name="T23" fmla="*/ 30 h 42"/>
                  <a:gd name="T24" fmla="*/ 42 w 42"/>
                  <a:gd name="T25" fmla="*/ 24 h 42"/>
                  <a:gd name="T26" fmla="*/ 42 w 42"/>
                  <a:gd name="T27" fmla="*/ 6 h 42"/>
                  <a:gd name="T28" fmla="*/ 36 w 42"/>
                  <a:gd name="T29" fmla="*/ 6 h 42"/>
                  <a:gd name="T30" fmla="*/ 30 w 42"/>
                  <a:gd name="T31" fmla="*/ 0 h 42"/>
                  <a:gd name="T32" fmla="*/ 24 w 42"/>
                  <a:gd name="T33" fmla="*/ 6 h 42"/>
                  <a:gd name="T34" fmla="*/ 24 w 42"/>
                  <a:gd name="T35" fmla="*/ 12 h 42"/>
                  <a:gd name="T36" fmla="*/ 12 w 42"/>
                  <a:gd name="T37" fmla="*/ 6 h 42"/>
                  <a:gd name="T38" fmla="*/ 6 w 42"/>
                  <a:gd name="T39" fmla="*/ 6 h 4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2" h="42">
                    <a:moveTo>
                      <a:pt x="6" y="6"/>
                    </a:moveTo>
                    <a:lnTo>
                      <a:pt x="0" y="6"/>
                    </a:lnTo>
                    <a:lnTo>
                      <a:pt x="0" y="12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12" y="36"/>
                    </a:lnTo>
                    <a:lnTo>
                      <a:pt x="18" y="42"/>
                    </a:lnTo>
                    <a:lnTo>
                      <a:pt x="30" y="42"/>
                    </a:lnTo>
                    <a:lnTo>
                      <a:pt x="36" y="36"/>
                    </a:lnTo>
                    <a:lnTo>
                      <a:pt x="42" y="30"/>
                    </a:lnTo>
                    <a:lnTo>
                      <a:pt x="42" y="24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12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00" name="Freeform 428"/>
              <p:cNvSpPr>
                <a:spLocks/>
              </p:cNvSpPr>
              <p:nvPr/>
            </p:nvSpPr>
            <p:spPr bwMode="auto">
              <a:xfrm>
                <a:off x="2646" y="1908"/>
                <a:ext cx="42" cy="42"/>
              </a:xfrm>
              <a:custGeom>
                <a:avLst/>
                <a:gdLst>
                  <a:gd name="T0" fmla="*/ 6 w 42"/>
                  <a:gd name="T1" fmla="*/ 6 h 42"/>
                  <a:gd name="T2" fmla="*/ 0 w 42"/>
                  <a:gd name="T3" fmla="*/ 6 h 42"/>
                  <a:gd name="T4" fmla="*/ 0 w 42"/>
                  <a:gd name="T5" fmla="*/ 12 h 42"/>
                  <a:gd name="T6" fmla="*/ 0 w 42"/>
                  <a:gd name="T7" fmla="*/ 24 h 42"/>
                  <a:gd name="T8" fmla="*/ 6 w 42"/>
                  <a:gd name="T9" fmla="*/ 30 h 42"/>
                  <a:gd name="T10" fmla="*/ 12 w 42"/>
                  <a:gd name="T11" fmla="*/ 36 h 42"/>
                  <a:gd name="T12" fmla="*/ 18 w 42"/>
                  <a:gd name="T13" fmla="*/ 42 h 42"/>
                  <a:gd name="T14" fmla="*/ 30 w 42"/>
                  <a:gd name="T15" fmla="*/ 42 h 42"/>
                  <a:gd name="T16" fmla="*/ 36 w 42"/>
                  <a:gd name="T17" fmla="*/ 36 h 42"/>
                  <a:gd name="T18" fmla="*/ 42 w 42"/>
                  <a:gd name="T19" fmla="*/ 30 h 42"/>
                  <a:gd name="T20" fmla="*/ 42 w 42"/>
                  <a:gd name="T21" fmla="*/ 24 h 42"/>
                  <a:gd name="T22" fmla="*/ 42 w 42"/>
                  <a:gd name="T23" fmla="*/ 6 h 42"/>
                  <a:gd name="T24" fmla="*/ 36 w 42"/>
                  <a:gd name="T25" fmla="*/ 6 h 42"/>
                  <a:gd name="T26" fmla="*/ 30 w 42"/>
                  <a:gd name="T27" fmla="*/ 0 h 42"/>
                  <a:gd name="T28" fmla="*/ 24 w 42"/>
                  <a:gd name="T29" fmla="*/ 6 h 42"/>
                  <a:gd name="T30" fmla="*/ 24 w 42"/>
                  <a:gd name="T31" fmla="*/ 12 h 42"/>
                  <a:gd name="T32" fmla="*/ 12 w 42"/>
                  <a:gd name="T33" fmla="*/ 6 h 42"/>
                  <a:gd name="T34" fmla="*/ 6 w 42"/>
                  <a:gd name="T35" fmla="*/ 6 h 4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2" h="42">
                    <a:moveTo>
                      <a:pt x="6" y="6"/>
                    </a:moveTo>
                    <a:lnTo>
                      <a:pt x="0" y="6"/>
                    </a:lnTo>
                    <a:lnTo>
                      <a:pt x="0" y="12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12" y="36"/>
                    </a:lnTo>
                    <a:lnTo>
                      <a:pt x="18" y="42"/>
                    </a:lnTo>
                    <a:lnTo>
                      <a:pt x="30" y="42"/>
                    </a:lnTo>
                    <a:lnTo>
                      <a:pt x="36" y="36"/>
                    </a:lnTo>
                    <a:lnTo>
                      <a:pt x="42" y="30"/>
                    </a:lnTo>
                    <a:lnTo>
                      <a:pt x="42" y="24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12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65" name="Group 429"/>
            <p:cNvGrpSpPr>
              <a:grpSpLocks/>
            </p:cNvGrpSpPr>
            <p:nvPr/>
          </p:nvGrpSpPr>
          <p:grpSpPr bwMode="auto">
            <a:xfrm>
              <a:off x="3694969" y="3299903"/>
              <a:ext cx="109553" cy="72821"/>
              <a:chOff x="2682" y="1470"/>
              <a:chExt cx="54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1597" name="Freeform 430"/>
              <p:cNvSpPr>
                <a:spLocks/>
              </p:cNvSpPr>
              <p:nvPr/>
            </p:nvSpPr>
            <p:spPr bwMode="auto">
              <a:xfrm>
                <a:off x="2682" y="1470"/>
                <a:ext cx="54" cy="42"/>
              </a:xfrm>
              <a:custGeom>
                <a:avLst/>
                <a:gdLst>
                  <a:gd name="T0" fmla="*/ 6 w 54"/>
                  <a:gd name="T1" fmla="*/ 30 h 42"/>
                  <a:gd name="T2" fmla="*/ 30 w 54"/>
                  <a:gd name="T3" fmla="*/ 24 h 42"/>
                  <a:gd name="T4" fmla="*/ 36 w 54"/>
                  <a:gd name="T5" fmla="*/ 12 h 42"/>
                  <a:gd name="T6" fmla="*/ 42 w 54"/>
                  <a:gd name="T7" fmla="*/ 6 h 42"/>
                  <a:gd name="T8" fmla="*/ 42 w 54"/>
                  <a:gd name="T9" fmla="*/ 0 h 42"/>
                  <a:gd name="T10" fmla="*/ 48 w 54"/>
                  <a:gd name="T11" fmla="*/ 0 h 42"/>
                  <a:gd name="T12" fmla="*/ 54 w 54"/>
                  <a:gd name="T13" fmla="*/ 6 h 42"/>
                  <a:gd name="T14" fmla="*/ 48 w 54"/>
                  <a:gd name="T15" fmla="*/ 18 h 42"/>
                  <a:gd name="T16" fmla="*/ 48 w 54"/>
                  <a:gd name="T17" fmla="*/ 24 h 42"/>
                  <a:gd name="T18" fmla="*/ 36 w 54"/>
                  <a:gd name="T19" fmla="*/ 30 h 42"/>
                  <a:gd name="T20" fmla="*/ 30 w 54"/>
                  <a:gd name="T21" fmla="*/ 36 h 42"/>
                  <a:gd name="T22" fmla="*/ 18 w 54"/>
                  <a:gd name="T23" fmla="*/ 36 h 42"/>
                  <a:gd name="T24" fmla="*/ 12 w 54"/>
                  <a:gd name="T25" fmla="*/ 42 h 42"/>
                  <a:gd name="T26" fmla="*/ 6 w 54"/>
                  <a:gd name="T27" fmla="*/ 42 h 42"/>
                  <a:gd name="T28" fmla="*/ 0 w 54"/>
                  <a:gd name="T29" fmla="*/ 36 h 42"/>
                  <a:gd name="T30" fmla="*/ 6 w 54"/>
                  <a:gd name="T31" fmla="*/ 30 h 4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4" h="42">
                    <a:moveTo>
                      <a:pt x="6" y="30"/>
                    </a:moveTo>
                    <a:lnTo>
                      <a:pt x="30" y="24"/>
                    </a:lnTo>
                    <a:lnTo>
                      <a:pt x="36" y="12"/>
                    </a:lnTo>
                    <a:lnTo>
                      <a:pt x="42" y="6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54" y="6"/>
                    </a:lnTo>
                    <a:lnTo>
                      <a:pt x="48" y="18"/>
                    </a:lnTo>
                    <a:lnTo>
                      <a:pt x="48" y="24"/>
                    </a:lnTo>
                    <a:lnTo>
                      <a:pt x="36" y="30"/>
                    </a:lnTo>
                    <a:lnTo>
                      <a:pt x="30" y="36"/>
                    </a:lnTo>
                    <a:lnTo>
                      <a:pt x="18" y="36"/>
                    </a:lnTo>
                    <a:lnTo>
                      <a:pt x="12" y="42"/>
                    </a:lnTo>
                    <a:lnTo>
                      <a:pt x="6" y="42"/>
                    </a:lnTo>
                    <a:lnTo>
                      <a:pt x="0" y="36"/>
                    </a:lnTo>
                    <a:lnTo>
                      <a:pt x="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98" name="Freeform 431"/>
              <p:cNvSpPr>
                <a:spLocks/>
              </p:cNvSpPr>
              <p:nvPr/>
            </p:nvSpPr>
            <p:spPr bwMode="auto">
              <a:xfrm>
                <a:off x="2682" y="1470"/>
                <a:ext cx="54" cy="42"/>
              </a:xfrm>
              <a:custGeom>
                <a:avLst/>
                <a:gdLst>
                  <a:gd name="T0" fmla="*/ 6 w 54"/>
                  <a:gd name="T1" fmla="*/ 30 h 42"/>
                  <a:gd name="T2" fmla="*/ 30 w 54"/>
                  <a:gd name="T3" fmla="*/ 24 h 42"/>
                  <a:gd name="T4" fmla="*/ 36 w 54"/>
                  <a:gd name="T5" fmla="*/ 12 h 42"/>
                  <a:gd name="T6" fmla="*/ 42 w 54"/>
                  <a:gd name="T7" fmla="*/ 6 h 42"/>
                  <a:gd name="T8" fmla="*/ 42 w 54"/>
                  <a:gd name="T9" fmla="*/ 0 h 42"/>
                  <a:gd name="T10" fmla="*/ 48 w 54"/>
                  <a:gd name="T11" fmla="*/ 0 h 42"/>
                  <a:gd name="T12" fmla="*/ 54 w 54"/>
                  <a:gd name="T13" fmla="*/ 6 h 42"/>
                  <a:gd name="T14" fmla="*/ 48 w 54"/>
                  <a:gd name="T15" fmla="*/ 18 h 42"/>
                  <a:gd name="T16" fmla="*/ 48 w 54"/>
                  <a:gd name="T17" fmla="*/ 24 h 42"/>
                  <a:gd name="T18" fmla="*/ 36 w 54"/>
                  <a:gd name="T19" fmla="*/ 30 h 42"/>
                  <a:gd name="T20" fmla="*/ 30 w 54"/>
                  <a:gd name="T21" fmla="*/ 36 h 42"/>
                  <a:gd name="T22" fmla="*/ 18 w 54"/>
                  <a:gd name="T23" fmla="*/ 36 h 42"/>
                  <a:gd name="T24" fmla="*/ 12 w 54"/>
                  <a:gd name="T25" fmla="*/ 42 h 42"/>
                  <a:gd name="T26" fmla="*/ 6 w 54"/>
                  <a:gd name="T27" fmla="*/ 42 h 42"/>
                  <a:gd name="T28" fmla="*/ 0 w 54"/>
                  <a:gd name="T29" fmla="*/ 36 h 42"/>
                  <a:gd name="T30" fmla="*/ 6 w 54"/>
                  <a:gd name="T31" fmla="*/ 30 h 4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4" h="42">
                    <a:moveTo>
                      <a:pt x="6" y="30"/>
                    </a:moveTo>
                    <a:lnTo>
                      <a:pt x="30" y="24"/>
                    </a:lnTo>
                    <a:lnTo>
                      <a:pt x="36" y="12"/>
                    </a:lnTo>
                    <a:lnTo>
                      <a:pt x="42" y="6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54" y="6"/>
                    </a:lnTo>
                    <a:lnTo>
                      <a:pt x="48" y="18"/>
                    </a:lnTo>
                    <a:lnTo>
                      <a:pt x="48" y="24"/>
                    </a:lnTo>
                    <a:lnTo>
                      <a:pt x="36" y="30"/>
                    </a:lnTo>
                    <a:lnTo>
                      <a:pt x="30" y="36"/>
                    </a:lnTo>
                    <a:lnTo>
                      <a:pt x="18" y="36"/>
                    </a:lnTo>
                    <a:lnTo>
                      <a:pt x="12" y="42"/>
                    </a:lnTo>
                    <a:lnTo>
                      <a:pt x="6" y="42"/>
                    </a:lnTo>
                    <a:lnTo>
                      <a:pt x="0" y="36"/>
                    </a:lnTo>
                    <a:lnTo>
                      <a:pt x="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66" name="Group 432"/>
            <p:cNvGrpSpPr>
              <a:grpSpLocks/>
            </p:cNvGrpSpPr>
            <p:nvPr/>
          </p:nvGrpSpPr>
          <p:grpSpPr bwMode="auto">
            <a:xfrm>
              <a:off x="3902544" y="3443522"/>
              <a:ext cx="36518" cy="22251"/>
              <a:chOff x="2784" y="1554"/>
              <a:chExt cx="18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95" name="Freeform 433"/>
              <p:cNvSpPr>
                <a:spLocks/>
              </p:cNvSpPr>
              <p:nvPr/>
            </p:nvSpPr>
            <p:spPr bwMode="auto">
              <a:xfrm>
                <a:off x="2784" y="1554"/>
                <a:ext cx="18" cy="12"/>
              </a:xfrm>
              <a:custGeom>
                <a:avLst/>
                <a:gdLst>
                  <a:gd name="T0" fmla="*/ 6 w 18"/>
                  <a:gd name="T1" fmla="*/ 0 h 12"/>
                  <a:gd name="T2" fmla="*/ 12 w 18"/>
                  <a:gd name="T3" fmla="*/ 0 h 12"/>
                  <a:gd name="T4" fmla="*/ 18 w 18"/>
                  <a:gd name="T5" fmla="*/ 6 h 12"/>
                  <a:gd name="T6" fmla="*/ 12 w 18"/>
                  <a:gd name="T7" fmla="*/ 6 h 12"/>
                  <a:gd name="T8" fmla="*/ 6 w 18"/>
                  <a:gd name="T9" fmla="*/ 12 h 12"/>
                  <a:gd name="T10" fmla="*/ 0 w 18"/>
                  <a:gd name="T11" fmla="*/ 6 h 12"/>
                  <a:gd name="T12" fmla="*/ 0 w 18"/>
                  <a:gd name="T13" fmla="*/ 6 h 12"/>
                  <a:gd name="T14" fmla="*/ 0 w 18"/>
                  <a:gd name="T15" fmla="*/ 0 h 12"/>
                  <a:gd name="T16" fmla="*/ 6 w 18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2">
                    <a:moveTo>
                      <a:pt x="6" y="0"/>
                    </a:moveTo>
                    <a:lnTo>
                      <a:pt x="12" y="0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96" name="Freeform 434"/>
              <p:cNvSpPr>
                <a:spLocks/>
              </p:cNvSpPr>
              <p:nvPr/>
            </p:nvSpPr>
            <p:spPr bwMode="auto">
              <a:xfrm>
                <a:off x="2784" y="1554"/>
                <a:ext cx="18" cy="12"/>
              </a:xfrm>
              <a:custGeom>
                <a:avLst/>
                <a:gdLst>
                  <a:gd name="T0" fmla="*/ 6 w 18"/>
                  <a:gd name="T1" fmla="*/ 0 h 12"/>
                  <a:gd name="T2" fmla="*/ 12 w 18"/>
                  <a:gd name="T3" fmla="*/ 0 h 12"/>
                  <a:gd name="T4" fmla="*/ 18 w 18"/>
                  <a:gd name="T5" fmla="*/ 6 h 12"/>
                  <a:gd name="T6" fmla="*/ 12 w 18"/>
                  <a:gd name="T7" fmla="*/ 6 h 12"/>
                  <a:gd name="T8" fmla="*/ 6 w 18"/>
                  <a:gd name="T9" fmla="*/ 12 h 12"/>
                  <a:gd name="T10" fmla="*/ 0 w 18"/>
                  <a:gd name="T11" fmla="*/ 6 h 12"/>
                  <a:gd name="T12" fmla="*/ 0 w 18"/>
                  <a:gd name="T13" fmla="*/ 0 h 12"/>
                  <a:gd name="T14" fmla="*/ 6 w 18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6" y="0"/>
                    </a:moveTo>
                    <a:lnTo>
                      <a:pt x="12" y="0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67" name="Group 435"/>
            <p:cNvGrpSpPr>
              <a:grpSpLocks/>
            </p:cNvGrpSpPr>
            <p:nvPr/>
          </p:nvGrpSpPr>
          <p:grpSpPr bwMode="auto">
            <a:xfrm>
              <a:off x="3816054" y="3342382"/>
              <a:ext cx="13454" cy="40456"/>
              <a:chOff x="2742" y="1494"/>
              <a:chExt cx="6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1593" name="Freeform 436"/>
              <p:cNvSpPr>
                <a:spLocks/>
              </p:cNvSpPr>
              <p:nvPr/>
            </p:nvSpPr>
            <p:spPr bwMode="auto">
              <a:xfrm>
                <a:off x="2742" y="1494"/>
                <a:ext cx="6" cy="24"/>
              </a:xfrm>
              <a:custGeom>
                <a:avLst/>
                <a:gdLst>
                  <a:gd name="T0" fmla="*/ 0 w 6"/>
                  <a:gd name="T1" fmla="*/ 24 h 24"/>
                  <a:gd name="T2" fmla="*/ 6 w 6"/>
                  <a:gd name="T3" fmla="*/ 24 h 24"/>
                  <a:gd name="T4" fmla="*/ 6 w 6"/>
                  <a:gd name="T5" fmla="*/ 12 h 24"/>
                  <a:gd name="T6" fmla="*/ 6 w 6"/>
                  <a:gd name="T7" fmla="*/ 6 h 24"/>
                  <a:gd name="T8" fmla="*/ 0 w 6"/>
                  <a:gd name="T9" fmla="*/ 0 h 24"/>
                  <a:gd name="T10" fmla="*/ 0 w 6"/>
                  <a:gd name="T11" fmla="*/ 6 h 24"/>
                  <a:gd name="T12" fmla="*/ 0 w 6"/>
                  <a:gd name="T13" fmla="*/ 12 h 24"/>
                  <a:gd name="T14" fmla="*/ 0 w 6"/>
                  <a:gd name="T15" fmla="*/ 24 h 24"/>
                  <a:gd name="T16" fmla="*/ 0 w 6"/>
                  <a:gd name="T17" fmla="*/ 24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6" y="24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94" name="Freeform 437"/>
              <p:cNvSpPr>
                <a:spLocks/>
              </p:cNvSpPr>
              <p:nvPr/>
            </p:nvSpPr>
            <p:spPr bwMode="auto">
              <a:xfrm>
                <a:off x="2742" y="1494"/>
                <a:ext cx="6" cy="24"/>
              </a:xfrm>
              <a:custGeom>
                <a:avLst/>
                <a:gdLst>
                  <a:gd name="T0" fmla="*/ 0 w 6"/>
                  <a:gd name="T1" fmla="*/ 24 h 24"/>
                  <a:gd name="T2" fmla="*/ 6 w 6"/>
                  <a:gd name="T3" fmla="*/ 24 h 24"/>
                  <a:gd name="T4" fmla="*/ 6 w 6"/>
                  <a:gd name="T5" fmla="*/ 12 h 24"/>
                  <a:gd name="T6" fmla="*/ 6 w 6"/>
                  <a:gd name="T7" fmla="*/ 6 h 24"/>
                  <a:gd name="T8" fmla="*/ 0 w 6"/>
                  <a:gd name="T9" fmla="*/ 0 h 24"/>
                  <a:gd name="T10" fmla="*/ 0 w 6"/>
                  <a:gd name="T11" fmla="*/ 6 h 24"/>
                  <a:gd name="T12" fmla="*/ 0 w 6"/>
                  <a:gd name="T13" fmla="*/ 12 h 24"/>
                  <a:gd name="T14" fmla="*/ 0 w 6"/>
                  <a:gd name="T15" fmla="*/ 24 h 2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6" y="24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68" name="Group 438"/>
            <p:cNvGrpSpPr>
              <a:grpSpLocks/>
            </p:cNvGrpSpPr>
            <p:nvPr/>
          </p:nvGrpSpPr>
          <p:grpSpPr bwMode="auto">
            <a:xfrm>
              <a:off x="3804522" y="3403066"/>
              <a:ext cx="36518" cy="20228"/>
              <a:chOff x="2736" y="1530"/>
              <a:chExt cx="18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91" name="Freeform 439"/>
              <p:cNvSpPr>
                <a:spLocks/>
              </p:cNvSpPr>
              <p:nvPr/>
            </p:nvSpPr>
            <p:spPr bwMode="auto">
              <a:xfrm>
                <a:off x="2736" y="1530"/>
                <a:ext cx="18" cy="12"/>
              </a:xfrm>
              <a:custGeom>
                <a:avLst/>
                <a:gdLst>
                  <a:gd name="T0" fmla="*/ 6 w 18"/>
                  <a:gd name="T1" fmla="*/ 0 h 12"/>
                  <a:gd name="T2" fmla="*/ 18 w 18"/>
                  <a:gd name="T3" fmla="*/ 6 h 12"/>
                  <a:gd name="T4" fmla="*/ 18 w 18"/>
                  <a:gd name="T5" fmla="*/ 6 h 12"/>
                  <a:gd name="T6" fmla="*/ 18 w 18"/>
                  <a:gd name="T7" fmla="*/ 12 h 12"/>
                  <a:gd name="T8" fmla="*/ 6 w 18"/>
                  <a:gd name="T9" fmla="*/ 12 h 12"/>
                  <a:gd name="T10" fmla="*/ 0 w 18"/>
                  <a:gd name="T11" fmla="*/ 12 h 12"/>
                  <a:gd name="T12" fmla="*/ 0 w 18"/>
                  <a:gd name="T13" fmla="*/ 6 h 12"/>
                  <a:gd name="T14" fmla="*/ 0 w 18"/>
                  <a:gd name="T15" fmla="*/ 6 h 12"/>
                  <a:gd name="T16" fmla="*/ 0 w 18"/>
                  <a:gd name="T17" fmla="*/ 6 h 12"/>
                  <a:gd name="T18" fmla="*/ 6 w 18"/>
                  <a:gd name="T19" fmla="*/ 0 h 1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8" h="12">
                    <a:moveTo>
                      <a:pt x="6" y="0"/>
                    </a:moveTo>
                    <a:lnTo>
                      <a:pt x="18" y="6"/>
                    </a:lnTo>
                    <a:lnTo>
                      <a:pt x="18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92" name="Freeform 440"/>
              <p:cNvSpPr>
                <a:spLocks/>
              </p:cNvSpPr>
              <p:nvPr/>
            </p:nvSpPr>
            <p:spPr bwMode="auto">
              <a:xfrm>
                <a:off x="2736" y="1530"/>
                <a:ext cx="18" cy="12"/>
              </a:xfrm>
              <a:custGeom>
                <a:avLst/>
                <a:gdLst>
                  <a:gd name="T0" fmla="*/ 6 w 18"/>
                  <a:gd name="T1" fmla="*/ 0 h 12"/>
                  <a:gd name="T2" fmla="*/ 18 w 18"/>
                  <a:gd name="T3" fmla="*/ 6 h 12"/>
                  <a:gd name="T4" fmla="*/ 18 w 18"/>
                  <a:gd name="T5" fmla="*/ 12 h 12"/>
                  <a:gd name="T6" fmla="*/ 6 w 18"/>
                  <a:gd name="T7" fmla="*/ 12 h 12"/>
                  <a:gd name="T8" fmla="*/ 0 w 18"/>
                  <a:gd name="T9" fmla="*/ 12 h 12"/>
                  <a:gd name="T10" fmla="*/ 0 w 18"/>
                  <a:gd name="T11" fmla="*/ 6 h 12"/>
                  <a:gd name="T12" fmla="*/ 6 w 18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" h="12">
                    <a:moveTo>
                      <a:pt x="6" y="0"/>
                    </a:moveTo>
                    <a:lnTo>
                      <a:pt x="18" y="6"/>
                    </a:lnTo>
                    <a:lnTo>
                      <a:pt x="18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69" name="Group 441"/>
            <p:cNvGrpSpPr>
              <a:grpSpLocks/>
            </p:cNvGrpSpPr>
            <p:nvPr/>
          </p:nvGrpSpPr>
          <p:grpSpPr bwMode="auto">
            <a:xfrm>
              <a:off x="3914076" y="3352496"/>
              <a:ext cx="24986" cy="20228"/>
              <a:chOff x="2790" y="1500"/>
              <a:chExt cx="12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89" name="Freeform 442"/>
              <p:cNvSpPr>
                <a:spLocks/>
              </p:cNvSpPr>
              <p:nvPr/>
            </p:nvSpPr>
            <p:spPr bwMode="auto">
              <a:xfrm>
                <a:off x="2790" y="1500"/>
                <a:ext cx="12" cy="12"/>
              </a:xfrm>
              <a:custGeom>
                <a:avLst/>
                <a:gdLst>
                  <a:gd name="T0" fmla="*/ 6 w 12"/>
                  <a:gd name="T1" fmla="*/ 0 h 12"/>
                  <a:gd name="T2" fmla="*/ 12 w 12"/>
                  <a:gd name="T3" fmla="*/ 0 h 12"/>
                  <a:gd name="T4" fmla="*/ 12 w 12"/>
                  <a:gd name="T5" fmla="*/ 6 h 12"/>
                  <a:gd name="T6" fmla="*/ 12 w 12"/>
                  <a:gd name="T7" fmla="*/ 12 h 12"/>
                  <a:gd name="T8" fmla="*/ 6 w 12"/>
                  <a:gd name="T9" fmla="*/ 12 h 12"/>
                  <a:gd name="T10" fmla="*/ 0 w 12"/>
                  <a:gd name="T11" fmla="*/ 12 h 12"/>
                  <a:gd name="T12" fmla="*/ 0 w 12"/>
                  <a:gd name="T13" fmla="*/ 6 h 12"/>
                  <a:gd name="T14" fmla="*/ 0 w 12"/>
                  <a:gd name="T15" fmla="*/ 0 h 12"/>
                  <a:gd name="T16" fmla="*/ 6 w 12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90" name="Freeform 443"/>
              <p:cNvSpPr>
                <a:spLocks/>
              </p:cNvSpPr>
              <p:nvPr/>
            </p:nvSpPr>
            <p:spPr bwMode="auto">
              <a:xfrm>
                <a:off x="2790" y="1500"/>
                <a:ext cx="12" cy="12"/>
              </a:xfrm>
              <a:custGeom>
                <a:avLst/>
                <a:gdLst>
                  <a:gd name="T0" fmla="*/ 6 w 12"/>
                  <a:gd name="T1" fmla="*/ 0 h 12"/>
                  <a:gd name="T2" fmla="*/ 12 w 12"/>
                  <a:gd name="T3" fmla="*/ 0 h 12"/>
                  <a:gd name="T4" fmla="*/ 12 w 12"/>
                  <a:gd name="T5" fmla="*/ 6 h 12"/>
                  <a:gd name="T6" fmla="*/ 12 w 12"/>
                  <a:gd name="T7" fmla="*/ 12 h 12"/>
                  <a:gd name="T8" fmla="*/ 6 w 12"/>
                  <a:gd name="T9" fmla="*/ 12 h 12"/>
                  <a:gd name="T10" fmla="*/ 0 w 12"/>
                  <a:gd name="T11" fmla="*/ 12 h 12"/>
                  <a:gd name="T12" fmla="*/ 0 w 12"/>
                  <a:gd name="T13" fmla="*/ 6 h 12"/>
                  <a:gd name="T14" fmla="*/ 0 w 12"/>
                  <a:gd name="T15" fmla="*/ 0 h 12"/>
                  <a:gd name="T16" fmla="*/ 6 w 12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70" name="Group 444"/>
            <p:cNvGrpSpPr>
              <a:grpSpLocks/>
            </p:cNvGrpSpPr>
            <p:nvPr/>
          </p:nvGrpSpPr>
          <p:grpSpPr bwMode="auto">
            <a:xfrm>
              <a:off x="4037083" y="3415203"/>
              <a:ext cx="24986" cy="40456"/>
              <a:chOff x="2850" y="1536"/>
              <a:chExt cx="12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1587" name="Freeform 445"/>
              <p:cNvSpPr>
                <a:spLocks/>
              </p:cNvSpPr>
              <p:nvPr/>
            </p:nvSpPr>
            <p:spPr bwMode="auto">
              <a:xfrm>
                <a:off x="2850" y="1536"/>
                <a:ext cx="12" cy="24"/>
              </a:xfrm>
              <a:custGeom>
                <a:avLst/>
                <a:gdLst>
                  <a:gd name="T0" fmla="*/ 6 w 12"/>
                  <a:gd name="T1" fmla="*/ 0 h 24"/>
                  <a:gd name="T2" fmla="*/ 6 w 12"/>
                  <a:gd name="T3" fmla="*/ 6 h 24"/>
                  <a:gd name="T4" fmla="*/ 12 w 12"/>
                  <a:gd name="T5" fmla="*/ 12 h 24"/>
                  <a:gd name="T6" fmla="*/ 6 w 12"/>
                  <a:gd name="T7" fmla="*/ 24 h 24"/>
                  <a:gd name="T8" fmla="*/ 6 w 12"/>
                  <a:gd name="T9" fmla="*/ 24 h 24"/>
                  <a:gd name="T10" fmla="*/ 6 w 12"/>
                  <a:gd name="T11" fmla="*/ 24 h 24"/>
                  <a:gd name="T12" fmla="*/ 0 w 12"/>
                  <a:gd name="T13" fmla="*/ 24 h 24"/>
                  <a:gd name="T14" fmla="*/ 0 w 12"/>
                  <a:gd name="T15" fmla="*/ 12 h 24"/>
                  <a:gd name="T16" fmla="*/ 0 w 12"/>
                  <a:gd name="T17" fmla="*/ 6 h 24"/>
                  <a:gd name="T18" fmla="*/ 6 w 12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2" h="24">
                    <a:moveTo>
                      <a:pt x="6" y="0"/>
                    </a:moveTo>
                    <a:lnTo>
                      <a:pt x="6" y="6"/>
                    </a:lnTo>
                    <a:lnTo>
                      <a:pt x="12" y="12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88" name="Freeform 446"/>
              <p:cNvSpPr>
                <a:spLocks/>
              </p:cNvSpPr>
              <p:nvPr/>
            </p:nvSpPr>
            <p:spPr bwMode="auto">
              <a:xfrm>
                <a:off x="2850" y="1536"/>
                <a:ext cx="12" cy="24"/>
              </a:xfrm>
              <a:custGeom>
                <a:avLst/>
                <a:gdLst>
                  <a:gd name="T0" fmla="*/ 6 w 12"/>
                  <a:gd name="T1" fmla="*/ 0 h 24"/>
                  <a:gd name="T2" fmla="*/ 6 w 12"/>
                  <a:gd name="T3" fmla="*/ 6 h 24"/>
                  <a:gd name="T4" fmla="*/ 12 w 12"/>
                  <a:gd name="T5" fmla="*/ 12 h 24"/>
                  <a:gd name="T6" fmla="*/ 6 w 12"/>
                  <a:gd name="T7" fmla="*/ 24 h 24"/>
                  <a:gd name="T8" fmla="*/ 0 w 12"/>
                  <a:gd name="T9" fmla="*/ 24 h 24"/>
                  <a:gd name="T10" fmla="*/ 0 w 12"/>
                  <a:gd name="T11" fmla="*/ 12 h 24"/>
                  <a:gd name="T12" fmla="*/ 0 w 12"/>
                  <a:gd name="T13" fmla="*/ 6 h 24"/>
                  <a:gd name="T14" fmla="*/ 6 w 12"/>
                  <a:gd name="T15" fmla="*/ 0 h 2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2" h="24">
                    <a:moveTo>
                      <a:pt x="6" y="0"/>
                    </a:moveTo>
                    <a:lnTo>
                      <a:pt x="6" y="6"/>
                    </a:lnTo>
                    <a:lnTo>
                      <a:pt x="12" y="12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71" name="Group 447"/>
            <p:cNvGrpSpPr>
              <a:grpSpLocks/>
            </p:cNvGrpSpPr>
            <p:nvPr/>
          </p:nvGrpSpPr>
          <p:grpSpPr bwMode="auto">
            <a:xfrm>
              <a:off x="3914076" y="3403066"/>
              <a:ext cx="24986" cy="32365"/>
              <a:chOff x="2790" y="1530"/>
              <a:chExt cx="12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1585" name="Freeform 448"/>
              <p:cNvSpPr>
                <a:spLocks/>
              </p:cNvSpPr>
              <p:nvPr/>
            </p:nvSpPr>
            <p:spPr bwMode="auto">
              <a:xfrm>
                <a:off x="2790" y="1530"/>
                <a:ext cx="12" cy="18"/>
              </a:xfrm>
              <a:custGeom>
                <a:avLst/>
                <a:gdLst>
                  <a:gd name="T0" fmla="*/ 6 w 12"/>
                  <a:gd name="T1" fmla="*/ 0 h 18"/>
                  <a:gd name="T2" fmla="*/ 12 w 12"/>
                  <a:gd name="T3" fmla="*/ 0 h 18"/>
                  <a:gd name="T4" fmla="*/ 12 w 12"/>
                  <a:gd name="T5" fmla="*/ 6 h 18"/>
                  <a:gd name="T6" fmla="*/ 12 w 12"/>
                  <a:gd name="T7" fmla="*/ 12 h 18"/>
                  <a:gd name="T8" fmla="*/ 6 w 12"/>
                  <a:gd name="T9" fmla="*/ 18 h 18"/>
                  <a:gd name="T10" fmla="*/ 0 w 12"/>
                  <a:gd name="T11" fmla="*/ 12 h 18"/>
                  <a:gd name="T12" fmla="*/ 0 w 12"/>
                  <a:gd name="T13" fmla="*/ 6 h 18"/>
                  <a:gd name="T14" fmla="*/ 0 w 12"/>
                  <a:gd name="T15" fmla="*/ 0 h 18"/>
                  <a:gd name="T16" fmla="*/ 6 w 12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8">
                    <a:moveTo>
                      <a:pt x="6" y="0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86" name="Freeform 449"/>
              <p:cNvSpPr>
                <a:spLocks/>
              </p:cNvSpPr>
              <p:nvPr/>
            </p:nvSpPr>
            <p:spPr bwMode="auto">
              <a:xfrm>
                <a:off x="2790" y="1530"/>
                <a:ext cx="12" cy="18"/>
              </a:xfrm>
              <a:custGeom>
                <a:avLst/>
                <a:gdLst>
                  <a:gd name="T0" fmla="*/ 6 w 12"/>
                  <a:gd name="T1" fmla="*/ 0 h 18"/>
                  <a:gd name="T2" fmla="*/ 12 w 12"/>
                  <a:gd name="T3" fmla="*/ 0 h 18"/>
                  <a:gd name="T4" fmla="*/ 12 w 12"/>
                  <a:gd name="T5" fmla="*/ 6 h 18"/>
                  <a:gd name="T6" fmla="*/ 12 w 12"/>
                  <a:gd name="T7" fmla="*/ 12 h 18"/>
                  <a:gd name="T8" fmla="*/ 6 w 12"/>
                  <a:gd name="T9" fmla="*/ 18 h 18"/>
                  <a:gd name="T10" fmla="*/ 0 w 12"/>
                  <a:gd name="T11" fmla="*/ 12 h 18"/>
                  <a:gd name="T12" fmla="*/ 0 w 12"/>
                  <a:gd name="T13" fmla="*/ 6 h 18"/>
                  <a:gd name="T14" fmla="*/ 0 w 12"/>
                  <a:gd name="T15" fmla="*/ 0 h 18"/>
                  <a:gd name="T16" fmla="*/ 6 w 12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8">
                    <a:moveTo>
                      <a:pt x="6" y="0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72" name="Group 450"/>
            <p:cNvGrpSpPr>
              <a:grpSpLocks/>
            </p:cNvGrpSpPr>
            <p:nvPr/>
          </p:nvGrpSpPr>
          <p:grpSpPr bwMode="auto">
            <a:xfrm>
              <a:off x="3571962" y="3113804"/>
              <a:ext cx="36518" cy="20228"/>
              <a:chOff x="2622" y="1362"/>
              <a:chExt cx="18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83" name="Freeform 451"/>
              <p:cNvSpPr>
                <a:spLocks/>
              </p:cNvSpPr>
              <p:nvPr/>
            </p:nvSpPr>
            <p:spPr bwMode="auto">
              <a:xfrm>
                <a:off x="2622" y="1362"/>
                <a:ext cx="18" cy="12"/>
              </a:xfrm>
              <a:custGeom>
                <a:avLst/>
                <a:gdLst>
                  <a:gd name="T0" fmla="*/ 6 w 18"/>
                  <a:gd name="T1" fmla="*/ 12 h 12"/>
                  <a:gd name="T2" fmla="*/ 12 w 18"/>
                  <a:gd name="T3" fmla="*/ 6 h 12"/>
                  <a:gd name="T4" fmla="*/ 18 w 18"/>
                  <a:gd name="T5" fmla="*/ 6 h 12"/>
                  <a:gd name="T6" fmla="*/ 12 w 18"/>
                  <a:gd name="T7" fmla="*/ 0 h 12"/>
                  <a:gd name="T8" fmla="*/ 6 w 18"/>
                  <a:gd name="T9" fmla="*/ 0 h 12"/>
                  <a:gd name="T10" fmla="*/ 0 w 18"/>
                  <a:gd name="T11" fmla="*/ 0 h 12"/>
                  <a:gd name="T12" fmla="*/ 0 w 18"/>
                  <a:gd name="T13" fmla="*/ 6 h 12"/>
                  <a:gd name="T14" fmla="*/ 0 w 18"/>
                  <a:gd name="T15" fmla="*/ 6 h 12"/>
                  <a:gd name="T16" fmla="*/ 6 w 18"/>
                  <a:gd name="T17" fmla="*/ 12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2">
                    <a:moveTo>
                      <a:pt x="6" y="12"/>
                    </a:moveTo>
                    <a:lnTo>
                      <a:pt x="12" y="6"/>
                    </a:lnTo>
                    <a:lnTo>
                      <a:pt x="18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84" name="Freeform 452"/>
              <p:cNvSpPr>
                <a:spLocks/>
              </p:cNvSpPr>
              <p:nvPr/>
            </p:nvSpPr>
            <p:spPr bwMode="auto">
              <a:xfrm>
                <a:off x="2622" y="1362"/>
                <a:ext cx="18" cy="12"/>
              </a:xfrm>
              <a:custGeom>
                <a:avLst/>
                <a:gdLst>
                  <a:gd name="T0" fmla="*/ 6 w 18"/>
                  <a:gd name="T1" fmla="*/ 12 h 12"/>
                  <a:gd name="T2" fmla="*/ 12 w 18"/>
                  <a:gd name="T3" fmla="*/ 6 h 12"/>
                  <a:gd name="T4" fmla="*/ 18 w 18"/>
                  <a:gd name="T5" fmla="*/ 6 h 12"/>
                  <a:gd name="T6" fmla="*/ 12 w 18"/>
                  <a:gd name="T7" fmla="*/ 0 h 12"/>
                  <a:gd name="T8" fmla="*/ 6 w 18"/>
                  <a:gd name="T9" fmla="*/ 0 h 12"/>
                  <a:gd name="T10" fmla="*/ 0 w 18"/>
                  <a:gd name="T11" fmla="*/ 0 h 12"/>
                  <a:gd name="T12" fmla="*/ 0 w 18"/>
                  <a:gd name="T13" fmla="*/ 6 h 12"/>
                  <a:gd name="T14" fmla="*/ 6 w 18"/>
                  <a:gd name="T15" fmla="*/ 12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6" y="12"/>
                    </a:moveTo>
                    <a:lnTo>
                      <a:pt x="12" y="6"/>
                    </a:lnTo>
                    <a:lnTo>
                      <a:pt x="18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73" name="Group 453"/>
            <p:cNvGrpSpPr>
              <a:grpSpLocks/>
            </p:cNvGrpSpPr>
            <p:nvPr/>
          </p:nvGrpSpPr>
          <p:grpSpPr bwMode="auto">
            <a:xfrm>
              <a:off x="4048615" y="3093576"/>
              <a:ext cx="24986" cy="12137"/>
              <a:chOff x="2856" y="1350"/>
              <a:chExt cx="12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581" name="Freeform 454"/>
              <p:cNvSpPr>
                <a:spLocks/>
              </p:cNvSpPr>
              <p:nvPr/>
            </p:nvSpPr>
            <p:spPr bwMode="auto">
              <a:xfrm>
                <a:off x="2856" y="1350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6 h 6"/>
                  <a:gd name="T4" fmla="*/ 12 w 12"/>
                  <a:gd name="T5" fmla="*/ 0 h 6"/>
                  <a:gd name="T6" fmla="*/ 12 w 12"/>
                  <a:gd name="T7" fmla="*/ 0 h 6"/>
                  <a:gd name="T8" fmla="*/ 6 w 12"/>
                  <a:gd name="T9" fmla="*/ 0 h 6"/>
                  <a:gd name="T10" fmla="*/ 0 w 12"/>
                  <a:gd name="T11" fmla="*/ 0 h 6"/>
                  <a:gd name="T12" fmla="*/ 0 w 12"/>
                  <a:gd name="T13" fmla="*/ 0 h 6"/>
                  <a:gd name="T14" fmla="*/ 0 w 12"/>
                  <a:gd name="T15" fmla="*/ 6 h 6"/>
                  <a:gd name="T16" fmla="*/ 6 w 12"/>
                  <a:gd name="T17" fmla="*/ 6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82" name="Freeform 455"/>
              <p:cNvSpPr>
                <a:spLocks/>
              </p:cNvSpPr>
              <p:nvPr/>
            </p:nvSpPr>
            <p:spPr bwMode="auto">
              <a:xfrm>
                <a:off x="2856" y="1350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6 h 6"/>
                  <a:gd name="T4" fmla="*/ 12 w 12"/>
                  <a:gd name="T5" fmla="*/ 0 h 6"/>
                  <a:gd name="T6" fmla="*/ 6 w 12"/>
                  <a:gd name="T7" fmla="*/ 0 h 6"/>
                  <a:gd name="T8" fmla="*/ 0 w 12"/>
                  <a:gd name="T9" fmla="*/ 0 h 6"/>
                  <a:gd name="T10" fmla="*/ 0 w 12"/>
                  <a:gd name="T11" fmla="*/ 6 h 6"/>
                  <a:gd name="T12" fmla="*/ 6 w 12"/>
                  <a:gd name="T13" fmla="*/ 6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74" name="Group 456"/>
            <p:cNvGrpSpPr>
              <a:grpSpLocks/>
            </p:cNvGrpSpPr>
            <p:nvPr/>
          </p:nvGrpSpPr>
          <p:grpSpPr bwMode="auto">
            <a:xfrm>
              <a:off x="4085132" y="3125941"/>
              <a:ext cx="11532" cy="8091"/>
              <a:chOff x="2874" y="1368"/>
              <a:chExt cx="6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579" name="Freeform 457"/>
              <p:cNvSpPr>
                <a:spLocks/>
              </p:cNvSpPr>
              <p:nvPr/>
            </p:nvSpPr>
            <p:spPr bwMode="auto">
              <a:xfrm>
                <a:off x="2874" y="1368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0 w 6"/>
                  <a:gd name="T9" fmla="*/ 0 h 6"/>
                  <a:gd name="T10" fmla="*/ 0 w 6"/>
                  <a:gd name="T11" fmla="*/ 0 h 6"/>
                  <a:gd name="T12" fmla="*/ 0 w 6"/>
                  <a:gd name="T13" fmla="*/ 0 h 6"/>
                  <a:gd name="T14" fmla="*/ 0 w 6"/>
                  <a:gd name="T15" fmla="*/ 0 h 6"/>
                  <a:gd name="T16" fmla="*/ 0 w 6"/>
                  <a:gd name="T17" fmla="*/ 6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80" name="Freeform 458"/>
              <p:cNvSpPr>
                <a:spLocks/>
              </p:cNvSpPr>
              <p:nvPr/>
            </p:nvSpPr>
            <p:spPr bwMode="auto">
              <a:xfrm>
                <a:off x="2874" y="1368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  <a:gd name="T4" fmla="*/ 0 w 6"/>
                  <a:gd name="T5" fmla="*/ 0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75" name="Group 459"/>
            <p:cNvGrpSpPr>
              <a:grpSpLocks/>
            </p:cNvGrpSpPr>
            <p:nvPr/>
          </p:nvGrpSpPr>
          <p:grpSpPr bwMode="auto">
            <a:xfrm>
              <a:off x="4110118" y="3134032"/>
              <a:ext cx="24986" cy="12137"/>
              <a:chOff x="2886" y="1374"/>
              <a:chExt cx="12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577" name="Freeform 460"/>
              <p:cNvSpPr>
                <a:spLocks/>
              </p:cNvSpPr>
              <p:nvPr/>
            </p:nvSpPr>
            <p:spPr bwMode="auto">
              <a:xfrm>
                <a:off x="2886" y="1374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6 h 6"/>
                  <a:gd name="T4" fmla="*/ 12 w 12"/>
                  <a:gd name="T5" fmla="*/ 0 h 6"/>
                  <a:gd name="T6" fmla="*/ 6 w 12"/>
                  <a:gd name="T7" fmla="*/ 0 h 6"/>
                  <a:gd name="T8" fmla="*/ 6 w 12"/>
                  <a:gd name="T9" fmla="*/ 0 h 6"/>
                  <a:gd name="T10" fmla="*/ 0 w 12"/>
                  <a:gd name="T11" fmla="*/ 6 h 6"/>
                  <a:gd name="T12" fmla="*/ 6 w 12"/>
                  <a:gd name="T13" fmla="*/ 6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78" name="Freeform 461"/>
              <p:cNvSpPr>
                <a:spLocks/>
              </p:cNvSpPr>
              <p:nvPr/>
            </p:nvSpPr>
            <p:spPr bwMode="auto">
              <a:xfrm>
                <a:off x="2886" y="1374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6 h 6"/>
                  <a:gd name="T4" fmla="*/ 12 w 12"/>
                  <a:gd name="T5" fmla="*/ 0 h 6"/>
                  <a:gd name="T6" fmla="*/ 6 w 12"/>
                  <a:gd name="T7" fmla="*/ 0 h 6"/>
                  <a:gd name="T8" fmla="*/ 0 w 12"/>
                  <a:gd name="T9" fmla="*/ 6 h 6"/>
                  <a:gd name="T10" fmla="*/ 6 w 12"/>
                  <a:gd name="T11" fmla="*/ 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76" name="Group 462"/>
            <p:cNvGrpSpPr>
              <a:grpSpLocks/>
            </p:cNvGrpSpPr>
            <p:nvPr/>
          </p:nvGrpSpPr>
          <p:grpSpPr bwMode="auto">
            <a:xfrm>
              <a:off x="4135104" y="3146169"/>
              <a:ext cx="13454" cy="10114"/>
              <a:chOff x="2898" y="1380"/>
              <a:chExt cx="7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575" name="Freeform 463"/>
              <p:cNvSpPr>
                <a:spLocks/>
              </p:cNvSpPr>
              <p:nvPr/>
            </p:nvSpPr>
            <p:spPr bwMode="auto">
              <a:xfrm>
                <a:off x="2898" y="1380"/>
                <a:ext cx="7" cy="6"/>
              </a:xfrm>
              <a:custGeom>
                <a:avLst/>
                <a:gdLst>
                  <a:gd name="T0" fmla="*/ 7 w 7"/>
                  <a:gd name="T1" fmla="*/ 6 h 6"/>
                  <a:gd name="T2" fmla="*/ 7 w 7"/>
                  <a:gd name="T3" fmla="*/ 6 h 6"/>
                  <a:gd name="T4" fmla="*/ 7 w 7"/>
                  <a:gd name="T5" fmla="*/ 0 h 6"/>
                  <a:gd name="T6" fmla="*/ 7 w 7"/>
                  <a:gd name="T7" fmla="*/ 0 h 6"/>
                  <a:gd name="T8" fmla="*/ 0 w 7"/>
                  <a:gd name="T9" fmla="*/ 6 h 6"/>
                  <a:gd name="T10" fmla="*/ 7 w 7"/>
                  <a:gd name="T11" fmla="*/ 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lnTo>
                      <a:pt x="7" y="6"/>
                    </a:lnTo>
                    <a:lnTo>
                      <a:pt x="7" y="0"/>
                    </a:lnTo>
                    <a:lnTo>
                      <a:pt x="0" y="6"/>
                    </a:lnTo>
                    <a:lnTo>
                      <a:pt x="7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76" name="Freeform 464"/>
              <p:cNvSpPr>
                <a:spLocks/>
              </p:cNvSpPr>
              <p:nvPr/>
            </p:nvSpPr>
            <p:spPr bwMode="auto">
              <a:xfrm>
                <a:off x="2898" y="1380"/>
                <a:ext cx="7" cy="6"/>
              </a:xfrm>
              <a:custGeom>
                <a:avLst/>
                <a:gdLst>
                  <a:gd name="T0" fmla="*/ 7 w 7"/>
                  <a:gd name="T1" fmla="*/ 6 h 6"/>
                  <a:gd name="T2" fmla="*/ 7 w 7"/>
                  <a:gd name="T3" fmla="*/ 0 h 6"/>
                  <a:gd name="T4" fmla="*/ 0 w 7"/>
                  <a:gd name="T5" fmla="*/ 6 h 6"/>
                  <a:gd name="T6" fmla="*/ 7 w 7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7" y="6"/>
                    </a:moveTo>
                    <a:lnTo>
                      <a:pt x="7" y="0"/>
                    </a:lnTo>
                    <a:lnTo>
                      <a:pt x="0" y="6"/>
                    </a:lnTo>
                    <a:lnTo>
                      <a:pt x="7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77" name="Group 465"/>
            <p:cNvGrpSpPr>
              <a:grpSpLocks/>
            </p:cNvGrpSpPr>
            <p:nvPr/>
          </p:nvGrpSpPr>
          <p:grpSpPr bwMode="auto">
            <a:xfrm>
              <a:off x="4160090" y="3166397"/>
              <a:ext cx="1922" cy="10114"/>
              <a:chOff x="2911" y="1392"/>
              <a:chExt cx="1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573" name="Freeform 466"/>
              <p:cNvSpPr>
                <a:spLocks/>
              </p:cNvSpPr>
              <p:nvPr/>
            </p:nvSpPr>
            <p:spPr bwMode="auto">
              <a:xfrm>
                <a:off x="2911" y="1392"/>
                <a:ext cx="1" cy="6"/>
              </a:xfrm>
              <a:custGeom>
                <a:avLst/>
                <a:gdLst>
                  <a:gd name="T0" fmla="*/ 0 w 1"/>
                  <a:gd name="T1" fmla="*/ 6 h 6"/>
                  <a:gd name="T2" fmla="*/ 0 w 1"/>
                  <a:gd name="T3" fmla="*/ 0 h 6"/>
                  <a:gd name="T4" fmla="*/ 0 w 1"/>
                  <a:gd name="T5" fmla="*/ 0 h 6"/>
                  <a:gd name="T6" fmla="*/ 0 w 1"/>
                  <a:gd name="T7" fmla="*/ 0 h 6"/>
                  <a:gd name="T8" fmla="*/ 0 w 1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74" name="Freeform 467"/>
              <p:cNvSpPr>
                <a:spLocks/>
              </p:cNvSpPr>
              <p:nvPr/>
            </p:nvSpPr>
            <p:spPr bwMode="auto">
              <a:xfrm>
                <a:off x="2911" y="1392"/>
                <a:ext cx="1" cy="6"/>
              </a:xfrm>
              <a:custGeom>
                <a:avLst/>
                <a:gdLst>
                  <a:gd name="T0" fmla="*/ 0 w 1"/>
                  <a:gd name="T1" fmla="*/ 6 h 6"/>
                  <a:gd name="T2" fmla="*/ 0 w 1"/>
                  <a:gd name="T3" fmla="*/ 0 h 6"/>
                  <a:gd name="T4" fmla="*/ 0 w 1"/>
                  <a:gd name="T5" fmla="*/ 6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78" name="Group 468"/>
            <p:cNvGrpSpPr>
              <a:grpSpLocks/>
            </p:cNvGrpSpPr>
            <p:nvPr/>
          </p:nvGrpSpPr>
          <p:grpSpPr bwMode="auto">
            <a:xfrm>
              <a:off x="4173544" y="3176511"/>
              <a:ext cx="11532" cy="10114"/>
              <a:chOff x="2917" y="1398"/>
              <a:chExt cx="6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571" name="Freeform 469"/>
              <p:cNvSpPr>
                <a:spLocks/>
              </p:cNvSpPr>
              <p:nvPr/>
            </p:nvSpPr>
            <p:spPr bwMode="auto">
              <a:xfrm>
                <a:off x="2917" y="1398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  <a:gd name="T4" fmla="*/ 0 w 6"/>
                  <a:gd name="T5" fmla="*/ 0 h 6"/>
                  <a:gd name="T6" fmla="*/ 0 w 6"/>
                  <a:gd name="T7" fmla="*/ 0 h 6"/>
                  <a:gd name="T8" fmla="*/ 0 w 6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72" name="Freeform 470"/>
              <p:cNvSpPr>
                <a:spLocks/>
              </p:cNvSpPr>
              <p:nvPr/>
            </p:nvSpPr>
            <p:spPr bwMode="auto">
              <a:xfrm>
                <a:off x="2917" y="1398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  <a:gd name="T4" fmla="*/ 0 w 6"/>
                  <a:gd name="T5" fmla="*/ 0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79" name="Group 471"/>
            <p:cNvGrpSpPr>
              <a:grpSpLocks/>
            </p:cNvGrpSpPr>
            <p:nvPr/>
          </p:nvGrpSpPr>
          <p:grpSpPr bwMode="auto">
            <a:xfrm>
              <a:off x="4221593" y="3558822"/>
              <a:ext cx="36518" cy="10114"/>
              <a:chOff x="2941" y="1620"/>
              <a:chExt cx="18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569" name="Freeform 472"/>
              <p:cNvSpPr>
                <a:spLocks/>
              </p:cNvSpPr>
              <p:nvPr/>
            </p:nvSpPr>
            <p:spPr bwMode="auto">
              <a:xfrm>
                <a:off x="2941" y="1620"/>
                <a:ext cx="18" cy="6"/>
              </a:xfrm>
              <a:custGeom>
                <a:avLst/>
                <a:gdLst>
                  <a:gd name="T0" fmla="*/ 12 w 18"/>
                  <a:gd name="T1" fmla="*/ 0 h 6"/>
                  <a:gd name="T2" fmla="*/ 18 w 18"/>
                  <a:gd name="T3" fmla="*/ 0 h 6"/>
                  <a:gd name="T4" fmla="*/ 18 w 18"/>
                  <a:gd name="T5" fmla="*/ 0 h 6"/>
                  <a:gd name="T6" fmla="*/ 18 w 18"/>
                  <a:gd name="T7" fmla="*/ 6 h 6"/>
                  <a:gd name="T8" fmla="*/ 12 w 18"/>
                  <a:gd name="T9" fmla="*/ 6 h 6"/>
                  <a:gd name="T10" fmla="*/ 6 w 18"/>
                  <a:gd name="T11" fmla="*/ 6 h 6"/>
                  <a:gd name="T12" fmla="*/ 0 w 18"/>
                  <a:gd name="T13" fmla="*/ 0 h 6"/>
                  <a:gd name="T14" fmla="*/ 6 w 18"/>
                  <a:gd name="T15" fmla="*/ 0 h 6"/>
                  <a:gd name="T16" fmla="*/ 12 w 18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6">
                    <a:moveTo>
                      <a:pt x="12" y="0"/>
                    </a:moveTo>
                    <a:lnTo>
                      <a:pt x="18" y="0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70" name="Freeform 473"/>
              <p:cNvSpPr>
                <a:spLocks/>
              </p:cNvSpPr>
              <p:nvPr/>
            </p:nvSpPr>
            <p:spPr bwMode="auto">
              <a:xfrm>
                <a:off x="2941" y="1620"/>
                <a:ext cx="18" cy="6"/>
              </a:xfrm>
              <a:custGeom>
                <a:avLst/>
                <a:gdLst>
                  <a:gd name="T0" fmla="*/ 12 w 18"/>
                  <a:gd name="T1" fmla="*/ 0 h 6"/>
                  <a:gd name="T2" fmla="*/ 18 w 18"/>
                  <a:gd name="T3" fmla="*/ 0 h 6"/>
                  <a:gd name="T4" fmla="*/ 18 w 18"/>
                  <a:gd name="T5" fmla="*/ 6 h 6"/>
                  <a:gd name="T6" fmla="*/ 12 w 18"/>
                  <a:gd name="T7" fmla="*/ 6 h 6"/>
                  <a:gd name="T8" fmla="*/ 6 w 18"/>
                  <a:gd name="T9" fmla="*/ 6 h 6"/>
                  <a:gd name="T10" fmla="*/ 0 w 18"/>
                  <a:gd name="T11" fmla="*/ 0 h 6"/>
                  <a:gd name="T12" fmla="*/ 6 w 18"/>
                  <a:gd name="T13" fmla="*/ 0 h 6"/>
                  <a:gd name="T14" fmla="*/ 12 w 18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6">
                    <a:moveTo>
                      <a:pt x="12" y="0"/>
                    </a:moveTo>
                    <a:lnTo>
                      <a:pt x="18" y="0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80" name="Group 474"/>
            <p:cNvGrpSpPr>
              <a:grpSpLocks/>
            </p:cNvGrpSpPr>
            <p:nvPr/>
          </p:nvGrpSpPr>
          <p:grpSpPr bwMode="auto">
            <a:xfrm>
              <a:off x="4258111" y="3558822"/>
              <a:ext cx="36518" cy="20228"/>
              <a:chOff x="2959" y="1620"/>
              <a:chExt cx="18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67" name="Freeform 475"/>
              <p:cNvSpPr>
                <a:spLocks/>
              </p:cNvSpPr>
              <p:nvPr/>
            </p:nvSpPr>
            <p:spPr bwMode="auto">
              <a:xfrm>
                <a:off x="2959" y="1620"/>
                <a:ext cx="18" cy="12"/>
              </a:xfrm>
              <a:custGeom>
                <a:avLst/>
                <a:gdLst>
                  <a:gd name="T0" fmla="*/ 12 w 18"/>
                  <a:gd name="T1" fmla="*/ 0 h 12"/>
                  <a:gd name="T2" fmla="*/ 18 w 18"/>
                  <a:gd name="T3" fmla="*/ 0 h 12"/>
                  <a:gd name="T4" fmla="*/ 18 w 18"/>
                  <a:gd name="T5" fmla="*/ 6 h 12"/>
                  <a:gd name="T6" fmla="*/ 18 w 18"/>
                  <a:gd name="T7" fmla="*/ 12 h 12"/>
                  <a:gd name="T8" fmla="*/ 12 w 18"/>
                  <a:gd name="T9" fmla="*/ 12 h 12"/>
                  <a:gd name="T10" fmla="*/ 6 w 18"/>
                  <a:gd name="T11" fmla="*/ 12 h 12"/>
                  <a:gd name="T12" fmla="*/ 0 w 18"/>
                  <a:gd name="T13" fmla="*/ 6 h 12"/>
                  <a:gd name="T14" fmla="*/ 6 w 18"/>
                  <a:gd name="T15" fmla="*/ 0 h 12"/>
                  <a:gd name="T16" fmla="*/ 12 w 18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2">
                    <a:moveTo>
                      <a:pt x="12" y="0"/>
                    </a:moveTo>
                    <a:lnTo>
                      <a:pt x="18" y="0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68" name="Freeform 476"/>
              <p:cNvSpPr>
                <a:spLocks/>
              </p:cNvSpPr>
              <p:nvPr/>
            </p:nvSpPr>
            <p:spPr bwMode="auto">
              <a:xfrm>
                <a:off x="2959" y="1620"/>
                <a:ext cx="18" cy="12"/>
              </a:xfrm>
              <a:custGeom>
                <a:avLst/>
                <a:gdLst>
                  <a:gd name="T0" fmla="*/ 12 w 18"/>
                  <a:gd name="T1" fmla="*/ 0 h 12"/>
                  <a:gd name="T2" fmla="*/ 18 w 18"/>
                  <a:gd name="T3" fmla="*/ 0 h 12"/>
                  <a:gd name="T4" fmla="*/ 18 w 18"/>
                  <a:gd name="T5" fmla="*/ 6 h 12"/>
                  <a:gd name="T6" fmla="*/ 18 w 18"/>
                  <a:gd name="T7" fmla="*/ 12 h 12"/>
                  <a:gd name="T8" fmla="*/ 12 w 18"/>
                  <a:gd name="T9" fmla="*/ 12 h 12"/>
                  <a:gd name="T10" fmla="*/ 6 w 18"/>
                  <a:gd name="T11" fmla="*/ 12 h 12"/>
                  <a:gd name="T12" fmla="*/ 0 w 18"/>
                  <a:gd name="T13" fmla="*/ 6 h 12"/>
                  <a:gd name="T14" fmla="*/ 6 w 18"/>
                  <a:gd name="T15" fmla="*/ 0 h 12"/>
                  <a:gd name="T16" fmla="*/ 12 w 18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2">
                    <a:moveTo>
                      <a:pt x="12" y="0"/>
                    </a:moveTo>
                    <a:lnTo>
                      <a:pt x="18" y="0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81" name="Group 477"/>
            <p:cNvGrpSpPr>
              <a:grpSpLocks/>
            </p:cNvGrpSpPr>
            <p:nvPr/>
          </p:nvGrpSpPr>
          <p:grpSpPr bwMode="auto">
            <a:xfrm>
              <a:off x="4294629" y="3558822"/>
              <a:ext cx="36518" cy="20228"/>
              <a:chOff x="2977" y="1620"/>
              <a:chExt cx="18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65" name="Freeform 478"/>
              <p:cNvSpPr>
                <a:spLocks/>
              </p:cNvSpPr>
              <p:nvPr/>
            </p:nvSpPr>
            <p:spPr bwMode="auto">
              <a:xfrm>
                <a:off x="2977" y="1620"/>
                <a:ext cx="18" cy="12"/>
              </a:xfrm>
              <a:custGeom>
                <a:avLst/>
                <a:gdLst>
                  <a:gd name="T0" fmla="*/ 12 w 18"/>
                  <a:gd name="T1" fmla="*/ 0 h 12"/>
                  <a:gd name="T2" fmla="*/ 12 w 18"/>
                  <a:gd name="T3" fmla="*/ 0 h 12"/>
                  <a:gd name="T4" fmla="*/ 18 w 18"/>
                  <a:gd name="T5" fmla="*/ 6 h 12"/>
                  <a:gd name="T6" fmla="*/ 12 w 18"/>
                  <a:gd name="T7" fmla="*/ 6 h 12"/>
                  <a:gd name="T8" fmla="*/ 12 w 18"/>
                  <a:gd name="T9" fmla="*/ 12 h 12"/>
                  <a:gd name="T10" fmla="*/ 6 w 18"/>
                  <a:gd name="T11" fmla="*/ 6 h 12"/>
                  <a:gd name="T12" fmla="*/ 0 w 18"/>
                  <a:gd name="T13" fmla="*/ 6 h 12"/>
                  <a:gd name="T14" fmla="*/ 6 w 18"/>
                  <a:gd name="T15" fmla="*/ 0 h 12"/>
                  <a:gd name="T16" fmla="*/ 12 w 18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2">
                    <a:moveTo>
                      <a:pt x="12" y="0"/>
                    </a:moveTo>
                    <a:lnTo>
                      <a:pt x="12" y="0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66" name="Freeform 479"/>
              <p:cNvSpPr>
                <a:spLocks/>
              </p:cNvSpPr>
              <p:nvPr/>
            </p:nvSpPr>
            <p:spPr bwMode="auto">
              <a:xfrm>
                <a:off x="2977" y="1620"/>
                <a:ext cx="18" cy="12"/>
              </a:xfrm>
              <a:custGeom>
                <a:avLst/>
                <a:gdLst>
                  <a:gd name="T0" fmla="*/ 12 w 18"/>
                  <a:gd name="T1" fmla="*/ 0 h 12"/>
                  <a:gd name="T2" fmla="*/ 18 w 18"/>
                  <a:gd name="T3" fmla="*/ 6 h 12"/>
                  <a:gd name="T4" fmla="*/ 12 w 18"/>
                  <a:gd name="T5" fmla="*/ 6 h 12"/>
                  <a:gd name="T6" fmla="*/ 12 w 18"/>
                  <a:gd name="T7" fmla="*/ 12 h 12"/>
                  <a:gd name="T8" fmla="*/ 6 w 18"/>
                  <a:gd name="T9" fmla="*/ 6 h 12"/>
                  <a:gd name="T10" fmla="*/ 0 w 18"/>
                  <a:gd name="T11" fmla="*/ 6 h 12"/>
                  <a:gd name="T12" fmla="*/ 6 w 18"/>
                  <a:gd name="T13" fmla="*/ 0 h 12"/>
                  <a:gd name="T14" fmla="*/ 12 w 18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12" y="0"/>
                    </a:moveTo>
                    <a:lnTo>
                      <a:pt x="18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82" name="Group 480"/>
            <p:cNvGrpSpPr>
              <a:grpSpLocks/>
            </p:cNvGrpSpPr>
            <p:nvPr/>
          </p:nvGrpSpPr>
          <p:grpSpPr bwMode="auto">
            <a:xfrm>
              <a:off x="4012097" y="3508252"/>
              <a:ext cx="36518" cy="8091"/>
              <a:chOff x="2838" y="1590"/>
              <a:chExt cx="18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563" name="Freeform 481"/>
              <p:cNvSpPr>
                <a:spLocks/>
              </p:cNvSpPr>
              <p:nvPr/>
            </p:nvSpPr>
            <p:spPr bwMode="auto">
              <a:xfrm>
                <a:off x="2838" y="1590"/>
                <a:ext cx="18" cy="6"/>
              </a:xfrm>
              <a:custGeom>
                <a:avLst/>
                <a:gdLst>
                  <a:gd name="T0" fmla="*/ 6 w 18"/>
                  <a:gd name="T1" fmla="*/ 6 h 6"/>
                  <a:gd name="T2" fmla="*/ 12 w 18"/>
                  <a:gd name="T3" fmla="*/ 6 h 6"/>
                  <a:gd name="T4" fmla="*/ 18 w 18"/>
                  <a:gd name="T5" fmla="*/ 0 h 6"/>
                  <a:gd name="T6" fmla="*/ 12 w 18"/>
                  <a:gd name="T7" fmla="*/ 0 h 6"/>
                  <a:gd name="T8" fmla="*/ 6 w 18"/>
                  <a:gd name="T9" fmla="*/ 0 h 6"/>
                  <a:gd name="T10" fmla="*/ 0 w 18"/>
                  <a:gd name="T11" fmla="*/ 0 h 6"/>
                  <a:gd name="T12" fmla="*/ 0 w 18"/>
                  <a:gd name="T13" fmla="*/ 0 h 6"/>
                  <a:gd name="T14" fmla="*/ 0 w 18"/>
                  <a:gd name="T15" fmla="*/ 6 h 6"/>
                  <a:gd name="T16" fmla="*/ 6 w 18"/>
                  <a:gd name="T17" fmla="*/ 6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6">
                    <a:moveTo>
                      <a:pt x="6" y="6"/>
                    </a:moveTo>
                    <a:lnTo>
                      <a:pt x="12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64" name="Freeform 482"/>
              <p:cNvSpPr>
                <a:spLocks/>
              </p:cNvSpPr>
              <p:nvPr/>
            </p:nvSpPr>
            <p:spPr bwMode="auto">
              <a:xfrm>
                <a:off x="2838" y="1590"/>
                <a:ext cx="18" cy="6"/>
              </a:xfrm>
              <a:custGeom>
                <a:avLst/>
                <a:gdLst>
                  <a:gd name="T0" fmla="*/ 6 w 18"/>
                  <a:gd name="T1" fmla="*/ 6 h 6"/>
                  <a:gd name="T2" fmla="*/ 12 w 18"/>
                  <a:gd name="T3" fmla="*/ 6 h 6"/>
                  <a:gd name="T4" fmla="*/ 18 w 18"/>
                  <a:gd name="T5" fmla="*/ 0 h 6"/>
                  <a:gd name="T6" fmla="*/ 12 w 18"/>
                  <a:gd name="T7" fmla="*/ 0 h 6"/>
                  <a:gd name="T8" fmla="*/ 6 w 18"/>
                  <a:gd name="T9" fmla="*/ 0 h 6"/>
                  <a:gd name="T10" fmla="*/ 0 w 18"/>
                  <a:gd name="T11" fmla="*/ 0 h 6"/>
                  <a:gd name="T12" fmla="*/ 0 w 18"/>
                  <a:gd name="T13" fmla="*/ 6 h 6"/>
                  <a:gd name="T14" fmla="*/ 6 w 18"/>
                  <a:gd name="T15" fmla="*/ 6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6">
                    <a:moveTo>
                      <a:pt x="6" y="6"/>
                    </a:moveTo>
                    <a:lnTo>
                      <a:pt x="12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83" name="Group 483"/>
            <p:cNvGrpSpPr>
              <a:grpSpLocks/>
            </p:cNvGrpSpPr>
            <p:nvPr/>
          </p:nvGrpSpPr>
          <p:grpSpPr bwMode="auto">
            <a:xfrm>
              <a:off x="4121650" y="3558822"/>
              <a:ext cx="38440" cy="20228"/>
              <a:chOff x="2892" y="1620"/>
              <a:chExt cx="19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61" name="Freeform 484"/>
              <p:cNvSpPr>
                <a:spLocks/>
              </p:cNvSpPr>
              <p:nvPr/>
            </p:nvSpPr>
            <p:spPr bwMode="auto">
              <a:xfrm>
                <a:off x="2892" y="1620"/>
                <a:ext cx="19" cy="12"/>
              </a:xfrm>
              <a:custGeom>
                <a:avLst/>
                <a:gdLst>
                  <a:gd name="T0" fmla="*/ 13 w 19"/>
                  <a:gd name="T1" fmla="*/ 12 h 12"/>
                  <a:gd name="T2" fmla="*/ 13 w 19"/>
                  <a:gd name="T3" fmla="*/ 12 h 12"/>
                  <a:gd name="T4" fmla="*/ 19 w 19"/>
                  <a:gd name="T5" fmla="*/ 6 h 12"/>
                  <a:gd name="T6" fmla="*/ 13 w 19"/>
                  <a:gd name="T7" fmla="*/ 0 h 12"/>
                  <a:gd name="T8" fmla="*/ 13 w 19"/>
                  <a:gd name="T9" fmla="*/ 0 h 12"/>
                  <a:gd name="T10" fmla="*/ 6 w 19"/>
                  <a:gd name="T11" fmla="*/ 0 h 12"/>
                  <a:gd name="T12" fmla="*/ 0 w 19"/>
                  <a:gd name="T13" fmla="*/ 6 h 12"/>
                  <a:gd name="T14" fmla="*/ 6 w 19"/>
                  <a:gd name="T15" fmla="*/ 12 h 12"/>
                  <a:gd name="T16" fmla="*/ 13 w 19"/>
                  <a:gd name="T17" fmla="*/ 12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3" y="12"/>
                    </a:lnTo>
                    <a:lnTo>
                      <a:pt x="19" y="6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13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62" name="Freeform 485"/>
              <p:cNvSpPr>
                <a:spLocks/>
              </p:cNvSpPr>
              <p:nvPr/>
            </p:nvSpPr>
            <p:spPr bwMode="auto">
              <a:xfrm>
                <a:off x="2892" y="1620"/>
                <a:ext cx="19" cy="12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6 h 12"/>
                  <a:gd name="T4" fmla="*/ 13 w 19"/>
                  <a:gd name="T5" fmla="*/ 0 h 12"/>
                  <a:gd name="T6" fmla="*/ 6 w 19"/>
                  <a:gd name="T7" fmla="*/ 0 h 12"/>
                  <a:gd name="T8" fmla="*/ 0 w 19"/>
                  <a:gd name="T9" fmla="*/ 6 h 12"/>
                  <a:gd name="T10" fmla="*/ 6 w 19"/>
                  <a:gd name="T11" fmla="*/ 12 h 12"/>
                  <a:gd name="T12" fmla="*/ 13 w 19"/>
                  <a:gd name="T13" fmla="*/ 12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6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13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84" name="Group 486"/>
            <p:cNvGrpSpPr>
              <a:grpSpLocks/>
            </p:cNvGrpSpPr>
            <p:nvPr/>
          </p:nvGrpSpPr>
          <p:grpSpPr bwMode="auto">
            <a:xfrm>
              <a:off x="4062069" y="3558822"/>
              <a:ext cx="23064" cy="20228"/>
              <a:chOff x="2862" y="1620"/>
              <a:chExt cx="12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59" name="Freeform 487"/>
              <p:cNvSpPr>
                <a:spLocks/>
              </p:cNvSpPr>
              <p:nvPr/>
            </p:nvSpPr>
            <p:spPr bwMode="auto">
              <a:xfrm>
                <a:off x="2862" y="1620"/>
                <a:ext cx="12" cy="12"/>
              </a:xfrm>
              <a:custGeom>
                <a:avLst/>
                <a:gdLst>
                  <a:gd name="T0" fmla="*/ 6 w 12"/>
                  <a:gd name="T1" fmla="*/ 12 h 12"/>
                  <a:gd name="T2" fmla="*/ 12 w 12"/>
                  <a:gd name="T3" fmla="*/ 6 h 12"/>
                  <a:gd name="T4" fmla="*/ 12 w 12"/>
                  <a:gd name="T5" fmla="*/ 6 h 12"/>
                  <a:gd name="T6" fmla="*/ 12 w 12"/>
                  <a:gd name="T7" fmla="*/ 0 h 12"/>
                  <a:gd name="T8" fmla="*/ 6 w 12"/>
                  <a:gd name="T9" fmla="*/ 0 h 12"/>
                  <a:gd name="T10" fmla="*/ 0 w 12"/>
                  <a:gd name="T11" fmla="*/ 0 h 12"/>
                  <a:gd name="T12" fmla="*/ 0 w 12"/>
                  <a:gd name="T13" fmla="*/ 6 h 12"/>
                  <a:gd name="T14" fmla="*/ 0 w 12"/>
                  <a:gd name="T15" fmla="*/ 6 h 12"/>
                  <a:gd name="T16" fmla="*/ 6 w 12"/>
                  <a:gd name="T17" fmla="*/ 12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2">
                    <a:moveTo>
                      <a:pt x="6" y="12"/>
                    </a:move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60" name="Freeform 488"/>
              <p:cNvSpPr>
                <a:spLocks/>
              </p:cNvSpPr>
              <p:nvPr/>
            </p:nvSpPr>
            <p:spPr bwMode="auto">
              <a:xfrm>
                <a:off x="2862" y="1620"/>
                <a:ext cx="12" cy="12"/>
              </a:xfrm>
              <a:custGeom>
                <a:avLst/>
                <a:gdLst>
                  <a:gd name="T0" fmla="*/ 6 w 12"/>
                  <a:gd name="T1" fmla="*/ 12 h 12"/>
                  <a:gd name="T2" fmla="*/ 12 w 12"/>
                  <a:gd name="T3" fmla="*/ 6 h 12"/>
                  <a:gd name="T4" fmla="*/ 12 w 12"/>
                  <a:gd name="T5" fmla="*/ 0 h 12"/>
                  <a:gd name="T6" fmla="*/ 6 w 12"/>
                  <a:gd name="T7" fmla="*/ 0 h 12"/>
                  <a:gd name="T8" fmla="*/ 0 w 12"/>
                  <a:gd name="T9" fmla="*/ 0 h 12"/>
                  <a:gd name="T10" fmla="*/ 0 w 12"/>
                  <a:gd name="T11" fmla="*/ 6 h 12"/>
                  <a:gd name="T12" fmla="*/ 6 w 12"/>
                  <a:gd name="T13" fmla="*/ 12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12">
                    <a:moveTo>
                      <a:pt x="6" y="12"/>
                    </a:move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85" name="Group 489"/>
            <p:cNvGrpSpPr>
              <a:grpSpLocks/>
            </p:cNvGrpSpPr>
            <p:nvPr/>
          </p:nvGrpSpPr>
          <p:grpSpPr bwMode="auto">
            <a:xfrm>
              <a:off x="4048615" y="4032160"/>
              <a:ext cx="111475" cy="145642"/>
              <a:chOff x="2856" y="1896"/>
              <a:chExt cx="55" cy="84"/>
            </a:xfrm>
            <a:solidFill>
              <a:srgbClr val="0070C0">
                <a:alpha val="27059"/>
              </a:srgbClr>
            </a:solidFill>
          </p:grpSpPr>
          <p:sp>
            <p:nvSpPr>
              <p:cNvPr id="1557" name="Freeform 490"/>
              <p:cNvSpPr>
                <a:spLocks/>
              </p:cNvSpPr>
              <p:nvPr/>
            </p:nvSpPr>
            <p:spPr bwMode="auto">
              <a:xfrm>
                <a:off x="2856" y="1896"/>
                <a:ext cx="55" cy="84"/>
              </a:xfrm>
              <a:custGeom>
                <a:avLst/>
                <a:gdLst>
                  <a:gd name="T0" fmla="*/ 6 w 55"/>
                  <a:gd name="T1" fmla="*/ 0 h 84"/>
                  <a:gd name="T2" fmla="*/ 0 w 55"/>
                  <a:gd name="T3" fmla="*/ 0 h 84"/>
                  <a:gd name="T4" fmla="*/ 0 w 55"/>
                  <a:gd name="T5" fmla="*/ 6 h 84"/>
                  <a:gd name="T6" fmla="*/ 0 w 55"/>
                  <a:gd name="T7" fmla="*/ 6 h 84"/>
                  <a:gd name="T8" fmla="*/ 6 w 55"/>
                  <a:gd name="T9" fmla="*/ 24 h 84"/>
                  <a:gd name="T10" fmla="*/ 12 w 55"/>
                  <a:gd name="T11" fmla="*/ 30 h 84"/>
                  <a:gd name="T12" fmla="*/ 12 w 55"/>
                  <a:gd name="T13" fmla="*/ 42 h 84"/>
                  <a:gd name="T14" fmla="*/ 12 w 55"/>
                  <a:gd name="T15" fmla="*/ 54 h 84"/>
                  <a:gd name="T16" fmla="*/ 12 w 55"/>
                  <a:gd name="T17" fmla="*/ 60 h 84"/>
                  <a:gd name="T18" fmla="*/ 12 w 55"/>
                  <a:gd name="T19" fmla="*/ 66 h 84"/>
                  <a:gd name="T20" fmla="*/ 24 w 55"/>
                  <a:gd name="T21" fmla="*/ 72 h 84"/>
                  <a:gd name="T22" fmla="*/ 24 w 55"/>
                  <a:gd name="T23" fmla="*/ 84 h 84"/>
                  <a:gd name="T24" fmla="*/ 30 w 55"/>
                  <a:gd name="T25" fmla="*/ 72 h 84"/>
                  <a:gd name="T26" fmla="*/ 36 w 55"/>
                  <a:gd name="T27" fmla="*/ 66 h 84"/>
                  <a:gd name="T28" fmla="*/ 42 w 55"/>
                  <a:gd name="T29" fmla="*/ 60 h 84"/>
                  <a:gd name="T30" fmla="*/ 49 w 55"/>
                  <a:gd name="T31" fmla="*/ 54 h 84"/>
                  <a:gd name="T32" fmla="*/ 49 w 55"/>
                  <a:gd name="T33" fmla="*/ 48 h 84"/>
                  <a:gd name="T34" fmla="*/ 55 w 55"/>
                  <a:gd name="T35" fmla="*/ 36 h 84"/>
                  <a:gd name="T36" fmla="*/ 49 w 55"/>
                  <a:gd name="T37" fmla="*/ 36 h 84"/>
                  <a:gd name="T38" fmla="*/ 42 w 55"/>
                  <a:gd name="T39" fmla="*/ 36 h 84"/>
                  <a:gd name="T40" fmla="*/ 36 w 55"/>
                  <a:gd name="T41" fmla="*/ 36 h 84"/>
                  <a:gd name="T42" fmla="*/ 24 w 55"/>
                  <a:gd name="T43" fmla="*/ 30 h 84"/>
                  <a:gd name="T44" fmla="*/ 24 w 55"/>
                  <a:gd name="T45" fmla="*/ 18 h 84"/>
                  <a:gd name="T46" fmla="*/ 12 w 55"/>
                  <a:gd name="T47" fmla="*/ 6 h 84"/>
                  <a:gd name="T48" fmla="*/ 12 w 55"/>
                  <a:gd name="T49" fmla="*/ 6 h 84"/>
                  <a:gd name="T50" fmla="*/ 12 w 55"/>
                  <a:gd name="T51" fmla="*/ 0 h 84"/>
                  <a:gd name="T52" fmla="*/ 6 w 55"/>
                  <a:gd name="T53" fmla="*/ 0 h 8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55" h="84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24"/>
                    </a:lnTo>
                    <a:lnTo>
                      <a:pt x="12" y="30"/>
                    </a:lnTo>
                    <a:lnTo>
                      <a:pt x="12" y="42"/>
                    </a:lnTo>
                    <a:lnTo>
                      <a:pt x="12" y="54"/>
                    </a:lnTo>
                    <a:lnTo>
                      <a:pt x="12" y="60"/>
                    </a:lnTo>
                    <a:lnTo>
                      <a:pt x="12" y="66"/>
                    </a:lnTo>
                    <a:lnTo>
                      <a:pt x="24" y="72"/>
                    </a:lnTo>
                    <a:lnTo>
                      <a:pt x="24" y="84"/>
                    </a:lnTo>
                    <a:lnTo>
                      <a:pt x="30" y="72"/>
                    </a:lnTo>
                    <a:lnTo>
                      <a:pt x="36" y="66"/>
                    </a:lnTo>
                    <a:lnTo>
                      <a:pt x="42" y="60"/>
                    </a:lnTo>
                    <a:lnTo>
                      <a:pt x="49" y="54"/>
                    </a:lnTo>
                    <a:lnTo>
                      <a:pt x="49" y="48"/>
                    </a:lnTo>
                    <a:lnTo>
                      <a:pt x="55" y="36"/>
                    </a:lnTo>
                    <a:lnTo>
                      <a:pt x="49" y="36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24" y="30"/>
                    </a:lnTo>
                    <a:lnTo>
                      <a:pt x="24" y="18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58" name="Freeform 491"/>
              <p:cNvSpPr>
                <a:spLocks/>
              </p:cNvSpPr>
              <p:nvPr/>
            </p:nvSpPr>
            <p:spPr bwMode="auto">
              <a:xfrm>
                <a:off x="2856" y="1896"/>
                <a:ext cx="55" cy="84"/>
              </a:xfrm>
              <a:custGeom>
                <a:avLst/>
                <a:gdLst>
                  <a:gd name="T0" fmla="*/ 6 w 55"/>
                  <a:gd name="T1" fmla="*/ 0 h 84"/>
                  <a:gd name="T2" fmla="*/ 0 w 55"/>
                  <a:gd name="T3" fmla="*/ 0 h 84"/>
                  <a:gd name="T4" fmla="*/ 0 w 55"/>
                  <a:gd name="T5" fmla="*/ 6 h 84"/>
                  <a:gd name="T6" fmla="*/ 6 w 55"/>
                  <a:gd name="T7" fmla="*/ 24 h 84"/>
                  <a:gd name="T8" fmla="*/ 12 w 55"/>
                  <a:gd name="T9" fmla="*/ 30 h 84"/>
                  <a:gd name="T10" fmla="*/ 12 w 55"/>
                  <a:gd name="T11" fmla="*/ 42 h 84"/>
                  <a:gd name="T12" fmla="*/ 12 w 55"/>
                  <a:gd name="T13" fmla="*/ 54 h 84"/>
                  <a:gd name="T14" fmla="*/ 12 w 55"/>
                  <a:gd name="T15" fmla="*/ 60 h 84"/>
                  <a:gd name="T16" fmla="*/ 12 w 55"/>
                  <a:gd name="T17" fmla="*/ 66 h 84"/>
                  <a:gd name="T18" fmla="*/ 24 w 55"/>
                  <a:gd name="T19" fmla="*/ 72 h 84"/>
                  <a:gd name="T20" fmla="*/ 24 w 55"/>
                  <a:gd name="T21" fmla="*/ 84 h 84"/>
                  <a:gd name="T22" fmla="*/ 30 w 55"/>
                  <a:gd name="T23" fmla="*/ 72 h 84"/>
                  <a:gd name="T24" fmla="*/ 36 w 55"/>
                  <a:gd name="T25" fmla="*/ 66 h 84"/>
                  <a:gd name="T26" fmla="*/ 42 w 55"/>
                  <a:gd name="T27" fmla="*/ 60 h 84"/>
                  <a:gd name="T28" fmla="*/ 49 w 55"/>
                  <a:gd name="T29" fmla="*/ 54 h 84"/>
                  <a:gd name="T30" fmla="*/ 49 w 55"/>
                  <a:gd name="T31" fmla="*/ 48 h 84"/>
                  <a:gd name="T32" fmla="*/ 55 w 55"/>
                  <a:gd name="T33" fmla="*/ 36 h 84"/>
                  <a:gd name="T34" fmla="*/ 49 w 55"/>
                  <a:gd name="T35" fmla="*/ 36 h 84"/>
                  <a:gd name="T36" fmla="*/ 42 w 55"/>
                  <a:gd name="T37" fmla="*/ 36 h 84"/>
                  <a:gd name="T38" fmla="*/ 36 w 55"/>
                  <a:gd name="T39" fmla="*/ 36 h 84"/>
                  <a:gd name="T40" fmla="*/ 24 w 55"/>
                  <a:gd name="T41" fmla="*/ 30 h 84"/>
                  <a:gd name="T42" fmla="*/ 24 w 55"/>
                  <a:gd name="T43" fmla="*/ 18 h 84"/>
                  <a:gd name="T44" fmla="*/ 12 w 55"/>
                  <a:gd name="T45" fmla="*/ 6 h 84"/>
                  <a:gd name="T46" fmla="*/ 12 w 55"/>
                  <a:gd name="T47" fmla="*/ 0 h 84"/>
                  <a:gd name="T48" fmla="*/ 6 w 55"/>
                  <a:gd name="T49" fmla="*/ 0 h 8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5" h="84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24"/>
                    </a:lnTo>
                    <a:lnTo>
                      <a:pt x="12" y="30"/>
                    </a:lnTo>
                    <a:lnTo>
                      <a:pt x="12" y="42"/>
                    </a:lnTo>
                    <a:lnTo>
                      <a:pt x="12" y="54"/>
                    </a:lnTo>
                    <a:lnTo>
                      <a:pt x="12" y="60"/>
                    </a:lnTo>
                    <a:lnTo>
                      <a:pt x="12" y="66"/>
                    </a:lnTo>
                    <a:lnTo>
                      <a:pt x="24" y="72"/>
                    </a:lnTo>
                    <a:lnTo>
                      <a:pt x="24" y="84"/>
                    </a:lnTo>
                    <a:lnTo>
                      <a:pt x="30" y="72"/>
                    </a:lnTo>
                    <a:lnTo>
                      <a:pt x="36" y="66"/>
                    </a:lnTo>
                    <a:lnTo>
                      <a:pt x="42" y="60"/>
                    </a:lnTo>
                    <a:lnTo>
                      <a:pt x="49" y="54"/>
                    </a:lnTo>
                    <a:lnTo>
                      <a:pt x="49" y="48"/>
                    </a:lnTo>
                    <a:lnTo>
                      <a:pt x="55" y="36"/>
                    </a:lnTo>
                    <a:lnTo>
                      <a:pt x="49" y="36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24" y="30"/>
                    </a:lnTo>
                    <a:lnTo>
                      <a:pt x="24" y="18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86" name="Group 492"/>
            <p:cNvGrpSpPr>
              <a:grpSpLocks/>
            </p:cNvGrpSpPr>
            <p:nvPr/>
          </p:nvGrpSpPr>
          <p:grpSpPr bwMode="auto">
            <a:xfrm>
              <a:off x="3939061" y="4165665"/>
              <a:ext cx="134539" cy="135528"/>
              <a:chOff x="2802" y="1974"/>
              <a:chExt cx="66" cy="78"/>
            </a:xfrm>
            <a:solidFill>
              <a:srgbClr val="0070C0">
                <a:alpha val="27059"/>
              </a:srgbClr>
            </a:solidFill>
          </p:grpSpPr>
          <p:sp>
            <p:nvSpPr>
              <p:cNvPr id="1555" name="Freeform 493"/>
              <p:cNvSpPr>
                <a:spLocks/>
              </p:cNvSpPr>
              <p:nvPr/>
            </p:nvSpPr>
            <p:spPr bwMode="auto">
              <a:xfrm>
                <a:off x="2802" y="1974"/>
                <a:ext cx="66" cy="78"/>
              </a:xfrm>
              <a:custGeom>
                <a:avLst/>
                <a:gdLst>
                  <a:gd name="T0" fmla="*/ 6 w 66"/>
                  <a:gd name="T1" fmla="*/ 60 h 78"/>
                  <a:gd name="T2" fmla="*/ 0 w 66"/>
                  <a:gd name="T3" fmla="*/ 66 h 78"/>
                  <a:gd name="T4" fmla="*/ 0 w 66"/>
                  <a:gd name="T5" fmla="*/ 66 h 78"/>
                  <a:gd name="T6" fmla="*/ 0 w 66"/>
                  <a:gd name="T7" fmla="*/ 72 h 78"/>
                  <a:gd name="T8" fmla="*/ 24 w 66"/>
                  <a:gd name="T9" fmla="*/ 78 h 78"/>
                  <a:gd name="T10" fmla="*/ 30 w 66"/>
                  <a:gd name="T11" fmla="*/ 78 h 78"/>
                  <a:gd name="T12" fmla="*/ 30 w 66"/>
                  <a:gd name="T13" fmla="*/ 72 h 78"/>
                  <a:gd name="T14" fmla="*/ 36 w 66"/>
                  <a:gd name="T15" fmla="*/ 66 h 78"/>
                  <a:gd name="T16" fmla="*/ 36 w 66"/>
                  <a:gd name="T17" fmla="*/ 60 h 78"/>
                  <a:gd name="T18" fmla="*/ 36 w 66"/>
                  <a:gd name="T19" fmla="*/ 60 h 78"/>
                  <a:gd name="T20" fmla="*/ 36 w 66"/>
                  <a:gd name="T21" fmla="*/ 54 h 78"/>
                  <a:gd name="T22" fmla="*/ 42 w 66"/>
                  <a:gd name="T23" fmla="*/ 48 h 78"/>
                  <a:gd name="T24" fmla="*/ 48 w 66"/>
                  <a:gd name="T25" fmla="*/ 36 h 78"/>
                  <a:gd name="T26" fmla="*/ 54 w 66"/>
                  <a:gd name="T27" fmla="*/ 30 h 78"/>
                  <a:gd name="T28" fmla="*/ 60 w 66"/>
                  <a:gd name="T29" fmla="*/ 24 h 78"/>
                  <a:gd name="T30" fmla="*/ 66 w 66"/>
                  <a:gd name="T31" fmla="*/ 12 h 78"/>
                  <a:gd name="T32" fmla="*/ 66 w 66"/>
                  <a:gd name="T33" fmla="*/ 6 h 78"/>
                  <a:gd name="T34" fmla="*/ 66 w 66"/>
                  <a:gd name="T35" fmla="*/ 6 h 78"/>
                  <a:gd name="T36" fmla="*/ 66 w 66"/>
                  <a:gd name="T37" fmla="*/ 6 h 78"/>
                  <a:gd name="T38" fmla="*/ 60 w 66"/>
                  <a:gd name="T39" fmla="*/ 0 h 78"/>
                  <a:gd name="T40" fmla="*/ 54 w 66"/>
                  <a:gd name="T41" fmla="*/ 0 h 78"/>
                  <a:gd name="T42" fmla="*/ 54 w 66"/>
                  <a:gd name="T43" fmla="*/ 0 h 78"/>
                  <a:gd name="T44" fmla="*/ 42 w 66"/>
                  <a:gd name="T45" fmla="*/ 6 h 78"/>
                  <a:gd name="T46" fmla="*/ 42 w 66"/>
                  <a:gd name="T47" fmla="*/ 18 h 78"/>
                  <a:gd name="T48" fmla="*/ 30 w 66"/>
                  <a:gd name="T49" fmla="*/ 30 h 78"/>
                  <a:gd name="T50" fmla="*/ 24 w 66"/>
                  <a:gd name="T51" fmla="*/ 36 h 78"/>
                  <a:gd name="T52" fmla="*/ 12 w 66"/>
                  <a:gd name="T53" fmla="*/ 48 h 78"/>
                  <a:gd name="T54" fmla="*/ 12 w 66"/>
                  <a:gd name="T55" fmla="*/ 54 h 78"/>
                  <a:gd name="T56" fmla="*/ 6 w 66"/>
                  <a:gd name="T57" fmla="*/ 54 h 78"/>
                  <a:gd name="T58" fmla="*/ 6 w 66"/>
                  <a:gd name="T59" fmla="*/ 54 h 78"/>
                  <a:gd name="T60" fmla="*/ 6 w 66"/>
                  <a:gd name="T61" fmla="*/ 60 h 7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66" h="78">
                    <a:moveTo>
                      <a:pt x="6" y="60"/>
                    </a:moveTo>
                    <a:lnTo>
                      <a:pt x="0" y="66"/>
                    </a:lnTo>
                    <a:lnTo>
                      <a:pt x="0" y="72"/>
                    </a:lnTo>
                    <a:lnTo>
                      <a:pt x="24" y="78"/>
                    </a:lnTo>
                    <a:lnTo>
                      <a:pt x="30" y="78"/>
                    </a:lnTo>
                    <a:lnTo>
                      <a:pt x="30" y="72"/>
                    </a:lnTo>
                    <a:lnTo>
                      <a:pt x="36" y="66"/>
                    </a:lnTo>
                    <a:lnTo>
                      <a:pt x="36" y="60"/>
                    </a:lnTo>
                    <a:lnTo>
                      <a:pt x="36" y="54"/>
                    </a:lnTo>
                    <a:lnTo>
                      <a:pt x="42" y="48"/>
                    </a:lnTo>
                    <a:lnTo>
                      <a:pt x="48" y="36"/>
                    </a:lnTo>
                    <a:lnTo>
                      <a:pt x="54" y="30"/>
                    </a:lnTo>
                    <a:lnTo>
                      <a:pt x="60" y="24"/>
                    </a:lnTo>
                    <a:lnTo>
                      <a:pt x="66" y="12"/>
                    </a:lnTo>
                    <a:lnTo>
                      <a:pt x="66" y="6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42" y="6"/>
                    </a:lnTo>
                    <a:lnTo>
                      <a:pt x="42" y="18"/>
                    </a:lnTo>
                    <a:lnTo>
                      <a:pt x="30" y="30"/>
                    </a:lnTo>
                    <a:lnTo>
                      <a:pt x="24" y="36"/>
                    </a:lnTo>
                    <a:lnTo>
                      <a:pt x="12" y="48"/>
                    </a:lnTo>
                    <a:lnTo>
                      <a:pt x="12" y="54"/>
                    </a:lnTo>
                    <a:lnTo>
                      <a:pt x="6" y="54"/>
                    </a:lnTo>
                    <a:lnTo>
                      <a:pt x="6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56" name="Freeform 494"/>
              <p:cNvSpPr>
                <a:spLocks/>
              </p:cNvSpPr>
              <p:nvPr/>
            </p:nvSpPr>
            <p:spPr bwMode="auto">
              <a:xfrm>
                <a:off x="2802" y="1974"/>
                <a:ext cx="66" cy="78"/>
              </a:xfrm>
              <a:custGeom>
                <a:avLst/>
                <a:gdLst>
                  <a:gd name="T0" fmla="*/ 6 w 66"/>
                  <a:gd name="T1" fmla="*/ 60 h 78"/>
                  <a:gd name="T2" fmla="*/ 0 w 66"/>
                  <a:gd name="T3" fmla="*/ 66 h 78"/>
                  <a:gd name="T4" fmla="*/ 0 w 66"/>
                  <a:gd name="T5" fmla="*/ 72 h 78"/>
                  <a:gd name="T6" fmla="*/ 24 w 66"/>
                  <a:gd name="T7" fmla="*/ 78 h 78"/>
                  <a:gd name="T8" fmla="*/ 30 w 66"/>
                  <a:gd name="T9" fmla="*/ 78 h 78"/>
                  <a:gd name="T10" fmla="*/ 30 w 66"/>
                  <a:gd name="T11" fmla="*/ 72 h 78"/>
                  <a:gd name="T12" fmla="*/ 36 w 66"/>
                  <a:gd name="T13" fmla="*/ 66 h 78"/>
                  <a:gd name="T14" fmla="*/ 36 w 66"/>
                  <a:gd name="T15" fmla="*/ 60 h 78"/>
                  <a:gd name="T16" fmla="*/ 36 w 66"/>
                  <a:gd name="T17" fmla="*/ 54 h 78"/>
                  <a:gd name="T18" fmla="*/ 42 w 66"/>
                  <a:gd name="T19" fmla="*/ 48 h 78"/>
                  <a:gd name="T20" fmla="*/ 48 w 66"/>
                  <a:gd name="T21" fmla="*/ 36 h 78"/>
                  <a:gd name="T22" fmla="*/ 54 w 66"/>
                  <a:gd name="T23" fmla="*/ 30 h 78"/>
                  <a:gd name="T24" fmla="*/ 60 w 66"/>
                  <a:gd name="T25" fmla="*/ 24 h 78"/>
                  <a:gd name="T26" fmla="*/ 66 w 66"/>
                  <a:gd name="T27" fmla="*/ 12 h 78"/>
                  <a:gd name="T28" fmla="*/ 66 w 66"/>
                  <a:gd name="T29" fmla="*/ 6 h 78"/>
                  <a:gd name="T30" fmla="*/ 60 w 66"/>
                  <a:gd name="T31" fmla="*/ 0 h 78"/>
                  <a:gd name="T32" fmla="*/ 54 w 66"/>
                  <a:gd name="T33" fmla="*/ 0 h 78"/>
                  <a:gd name="T34" fmla="*/ 42 w 66"/>
                  <a:gd name="T35" fmla="*/ 6 h 78"/>
                  <a:gd name="T36" fmla="*/ 42 w 66"/>
                  <a:gd name="T37" fmla="*/ 18 h 78"/>
                  <a:gd name="T38" fmla="*/ 30 w 66"/>
                  <a:gd name="T39" fmla="*/ 30 h 78"/>
                  <a:gd name="T40" fmla="*/ 24 w 66"/>
                  <a:gd name="T41" fmla="*/ 36 h 78"/>
                  <a:gd name="T42" fmla="*/ 12 w 66"/>
                  <a:gd name="T43" fmla="*/ 48 h 78"/>
                  <a:gd name="T44" fmla="*/ 12 w 66"/>
                  <a:gd name="T45" fmla="*/ 54 h 78"/>
                  <a:gd name="T46" fmla="*/ 6 w 66"/>
                  <a:gd name="T47" fmla="*/ 54 h 78"/>
                  <a:gd name="T48" fmla="*/ 6 w 66"/>
                  <a:gd name="T49" fmla="*/ 60 h 7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6" h="78">
                    <a:moveTo>
                      <a:pt x="6" y="60"/>
                    </a:moveTo>
                    <a:lnTo>
                      <a:pt x="0" y="66"/>
                    </a:lnTo>
                    <a:lnTo>
                      <a:pt x="0" y="72"/>
                    </a:lnTo>
                    <a:lnTo>
                      <a:pt x="24" y="78"/>
                    </a:lnTo>
                    <a:lnTo>
                      <a:pt x="30" y="78"/>
                    </a:lnTo>
                    <a:lnTo>
                      <a:pt x="30" y="72"/>
                    </a:lnTo>
                    <a:lnTo>
                      <a:pt x="36" y="66"/>
                    </a:lnTo>
                    <a:lnTo>
                      <a:pt x="36" y="60"/>
                    </a:lnTo>
                    <a:lnTo>
                      <a:pt x="36" y="54"/>
                    </a:lnTo>
                    <a:lnTo>
                      <a:pt x="42" y="48"/>
                    </a:lnTo>
                    <a:lnTo>
                      <a:pt x="48" y="36"/>
                    </a:lnTo>
                    <a:lnTo>
                      <a:pt x="54" y="30"/>
                    </a:lnTo>
                    <a:lnTo>
                      <a:pt x="60" y="24"/>
                    </a:lnTo>
                    <a:lnTo>
                      <a:pt x="66" y="12"/>
                    </a:lnTo>
                    <a:lnTo>
                      <a:pt x="66" y="6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42" y="6"/>
                    </a:lnTo>
                    <a:lnTo>
                      <a:pt x="42" y="18"/>
                    </a:lnTo>
                    <a:lnTo>
                      <a:pt x="30" y="30"/>
                    </a:lnTo>
                    <a:lnTo>
                      <a:pt x="24" y="36"/>
                    </a:lnTo>
                    <a:lnTo>
                      <a:pt x="12" y="48"/>
                    </a:lnTo>
                    <a:lnTo>
                      <a:pt x="12" y="54"/>
                    </a:lnTo>
                    <a:lnTo>
                      <a:pt x="6" y="54"/>
                    </a:lnTo>
                    <a:lnTo>
                      <a:pt x="6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87" name="Group 495"/>
            <p:cNvGrpSpPr>
              <a:grpSpLocks/>
            </p:cNvGrpSpPr>
            <p:nvPr/>
          </p:nvGrpSpPr>
          <p:grpSpPr bwMode="auto">
            <a:xfrm>
              <a:off x="3914076" y="4414471"/>
              <a:ext cx="13454" cy="20228"/>
              <a:chOff x="2790" y="2118"/>
              <a:chExt cx="6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53" name="Freeform 496"/>
              <p:cNvSpPr>
                <a:spLocks/>
              </p:cNvSpPr>
              <p:nvPr/>
            </p:nvSpPr>
            <p:spPr bwMode="auto">
              <a:xfrm>
                <a:off x="2790" y="2118"/>
                <a:ext cx="6" cy="12"/>
              </a:xfrm>
              <a:custGeom>
                <a:avLst/>
                <a:gdLst>
                  <a:gd name="T0" fmla="*/ 6 w 6"/>
                  <a:gd name="T1" fmla="*/ 12 h 12"/>
                  <a:gd name="T2" fmla="*/ 6 w 6"/>
                  <a:gd name="T3" fmla="*/ 6 h 12"/>
                  <a:gd name="T4" fmla="*/ 6 w 6"/>
                  <a:gd name="T5" fmla="*/ 6 h 12"/>
                  <a:gd name="T6" fmla="*/ 6 w 6"/>
                  <a:gd name="T7" fmla="*/ 0 h 12"/>
                  <a:gd name="T8" fmla="*/ 6 w 6"/>
                  <a:gd name="T9" fmla="*/ 0 h 12"/>
                  <a:gd name="T10" fmla="*/ 0 w 6"/>
                  <a:gd name="T11" fmla="*/ 0 h 12"/>
                  <a:gd name="T12" fmla="*/ 0 w 6"/>
                  <a:gd name="T13" fmla="*/ 6 h 12"/>
                  <a:gd name="T14" fmla="*/ 0 w 6"/>
                  <a:gd name="T15" fmla="*/ 6 h 12"/>
                  <a:gd name="T16" fmla="*/ 6 w 6"/>
                  <a:gd name="T17" fmla="*/ 12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" h="12">
                    <a:moveTo>
                      <a:pt x="6" y="12"/>
                    </a:moveTo>
                    <a:lnTo>
                      <a:pt x="6" y="6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54" name="Freeform 497"/>
              <p:cNvSpPr>
                <a:spLocks/>
              </p:cNvSpPr>
              <p:nvPr/>
            </p:nvSpPr>
            <p:spPr bwMode="auto">
              <a:xfrm>
                <a:off x="2790" y="2118"/>
                <a:ext cx="6" cy="12"/>
              </a:xfrm>
              <a:custGeom>
                <a:avLst/>
                <a:gdLst>
                  <a:gd name="T0" fmla="*/ 6 w 6"/>
                  <a:gd name="T1" fmla="*/ 12 h 12"/>
                  <a:gd name="T2" fmla="*/ 6 w 6"/>
                  <a:gd name="T3" fmla="*/ 6 h 12"/>
                  <a:gd name="T4" fmla="*/ 6 w 6"/>
                  <a:gd name="T5" fmla="*/ 0 h 12"/>
                  <a:gd name="T6" fmla="*/ 0 w 6"/>
                  <a:gd name="T7" fmla="*/ 0 h 12"/>
                  <a:gd name="T8" fmla="*/ 0 w 6"/>
                  <a:gd name="T9" fmla="*/ 6 h 12"/>
                  <a:gd name="T10" fmla="*/ 6 w 6"/>
                  <a:gd name="T11" fmla="*/ 12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" h="12">
                    <a:moveTo>
                      <a:pt x="6" y="12"/>
                    </a:moveTo>
                    <a:lnTo>
                      <a:pt x="6" y="6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88" name="Group 498"/>
            <p:cNvGrpSpPr>
              <a:grpSpLocks/>
            </p:cNvGrpSpPr>
            <p:nvPr/>
          </p:nvGrpSpPr>
          <p:grpSpPr bwMode="auto">
            <a:xfrm>
              <a:off x="3754551" y="4507520"/>
              <a:ext cx="24986" cy="8091"/>
              <a:chOff x="2712" y="2172"/>
              <a:chExt cx="12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551" name="Freeform 499"/>
              <p:cNvSpPr>
                <a:spLocks/>
              </p:cNvSpPr>
              <p:nvPr/>
            </p:nvSpPr>
            <p:spPr bwMode="auto">
              <a:xfrm>
                <a:off x="2712" y="2172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6 h 6"/>
                  <a:gd name="T4" fmla="*/ 6 w 12"/>
                  <a:gd name="T5" fmla="*/ 0 h 6"/>
                  <a:gd name="T6" fmla="*/ 0 w 12"/>
                  <a:gd name="T7" fmla="*/ 6 h 6"/>
                  <a:gd name="T8" fmla="*/ 0 w 12"/>
                  <a:gd name="T9" fmla="*/ 6 h 6"/>
                  <a:gd name="T10" fmla="*/ 6 w 12"/>
                  <a:gd name="T11" fmla="*/ 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52" name="Freeform 500"/>
              <p:cNvSpPr>
                <a:spLocks/>
              </p:cNvSpPr>
              <p:nvPr/>
            </p:nvSpPr>
            <p:spPr bwMode="auto">
              <a:xfrm>
                <a:off x="2712" y="2172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6 h 6"/>
                  <a:gd name="T4" fmla="*/ 6 w 12"/>
                  <a:gd name="T5" fmla="*/ 0 h 6"/>
                  <a:gd name="T6" fmla="*/ 0 w 12"/>
                  <a:gd name="T7" fmla="*/ 6 h 6"/>
                  <a:gd name="T8" fmla="*/ 6 w 12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89" name="Group 501"/>
            <p:cNvGrpSpPr>
              <a:grpSpLocks/>
            </p:cNvGrpSpPr>
            <p:nvPr/>
          </p:nvGrpSpPr>
          <p:grpSpPr bwMode="auto">
            <a:xfrm>
              <a:off x="4062069" y="4507520"/>
              <a:ext cx="34596" cy="8091"/>
              <a:chOff x="2862" y="2172"/>
              <a:chExt cx="18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1549" name="Freeform 502"/>
              <p:cNvSpPr>
                <a:spLocks/>
              </p:cNvSpPr>
              <p:nvPr/>
            </p:nvSpPr>
            <p:spPr bwMode="auto">
              <a:xfrm>
                <a:off x="2862" y="2172"/>
                <a:ext cx="18" cy="6"/>
              </a:xfrm>
              <a:custGeom>
                <a:avLst/>
                <a:gdLst>
                  <a:gd name="T0" fmla="*/ 12 w 18"/>
                  <a:gd name="T1" fmla="*/ 6 h 6"/>
                  <a:gd name="T2" fmla="*/ 18 w 18"/>
                  <a:gd name="T3" fmla="*/ 6 h 6"/>
                  <a:gd name="T4" fmla="*/ 18 w 18"/>
                  <a:gd name="T5" fmla="*/ 0 h 6"/>
                  <a:gd name="T6" fmla="*/ 12 w 18"/>
                  <a:gd name="T7" fmla="*/ 0 h 6"/>
                  <a:gd name="T8" fmla="*/ 0 w 18"/>
                  <a:gd name="T9" fmla="*/ 0 h 6"/>
                  <a:gd name="T10" fmla="*/ 0 w 18"/>
                  <a:gd name="T11" fmla="*/ 0 h 6"/>
                  <a:gd name="T12" fmla="*/ 0 w 18"/>
                  <a:gd name="T13" fmla="*/ 6 h 6"/>
                  <a:gd name="T14" fmla="*/ 12 w 18"/>
                  <a:gd name="T15" fmla="*/ 6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6">
                    <a:moveTo>
                      <a:pt x="12" y="6"/>
                    </a:move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50" name="Freeform 503"/>
              <p:cNvSpPr>
                <a:spLocks/>
              </p:cNvSpPr>
              <p:nvPr/>
            </p:nvSpPr>
            <p:spPr bwMode="auto">
              <a:xfrm>
                <a:off x="2862" y="2172"/>
                <a:ext cx="18" cy="6"/>
              </a:xfrm>
              <a:custGeom>
                <a:avLst/>
                <a:gdLst>
                  <a:gd name="T0" fmla="*/ 12 w 18"/>
                  <a:gd name="T1" fmla="*/ 6 h 6"/>
                  <a:gd name="T2" fmla="*/ 18 w 18"/>
                  <a:gd name="T3" fmla="*/ 6 h 6"/>
                  <a:gd name="T4" fmla="*/ 18 w 18"/>
                  <a:gd name="T5" fmla="*/ 0 h 6"/>
                  <a:gd name="T6" fmla="*/ 12 w 18"/>
                  <a:gd name="T7" fmla="*/ 0 h 6"/>
                  <a:gd name="T8" fmla="*/ 0 w 18"/>
                  <a:gd name="T9" fmla="*/ 0 h 6"/>
                  <a:gd name="T10" fmla="*/ 0 w 18"/>
                  <a:gd name="T11" fmla="*/ 6 h 6"/>
                  <a:gd name="T12" fmla="*/ 12 w 18"/>
                  <a:gd name="T13" fmla="*/ 6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12" y="6"/>
                    </a:move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90" name="Group 504"/>
            <p:cNvGrpSpPr>
              <a:grpSpLocks/>
            </p:cNvGrpSpPr>
            <p:nvPr/>
          </p:nvGrpSpPr>
          <p:grpSpPr bwMode="auto">
            <a:xfrm>
              <a:off x="4160090" y="4414471"/>
              <a:ext cx="36518" cy="20228"/>
              <a:chOff x="2911" y="2118"/>
              <a:chExt cx="18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47" name="Freeform 505"/>
              <p:cNvSpPr>
                <a:spLocks/>
              </p:cNvSpPr>
              <p:nvPr/>
            </p:nvSpPr>
            <p:spPr bwMode="auto">
              <a:xfrm>
                <a:off x="2911" y="2118"/>
                <a:ext cx="18" cy="12"/>
              </a:xfrm>
              <a:custGeom>
                <a:avLst/>
                <a:gdLst>
                  <a:gd name="T0" fmla="*/ 12 w 18"/>
                  <a:gd name="T1" fmla="*/ 12 h 12"/>
                  <a:gd name="T2" fmla="*/ 18 w 18"/>
                  <a:gd name="T3" fmla="*/ 12 h 12"/>
                  <a:gd name="T4" fmla="*/ 18 w 18"/>
                  <a:gd name="T5" fmla="*/ 6 h 12"/>
                  <a:gd name="T6" fmla="*/ 18 w 18"/>
                  <a:gd name="T7" fmla="*/ 0 h 12"/>
                  <a:gd name="T8" fmla="*/ 12 w 18"/>
                  <a:gd name="T9" fmla="*/ 0 h 12"/>
                  <a:gd name="T10" fmla="*/ 6 w 18"/>
                  <a:gd name="T11" fmla="*/ 0 h 12"/>
                  <a:gd name="T12" fmla="*/ 0 w 18"/>
                  <a:gd name="T13" fmla="*/ 6 h 12"/>
                  <a:gd name="T14" fmla="*/ 6 w 18"/>
                  <a:gd name="T15" fmla="*/ 12 h 12"/>
                  <a:gd name="T16" fmla="*/ 12 w 18"/>
                  <a:gd name="T17" fmla="*/ 12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2">
                    <a:moveTo>
                      <a:pt x="12" y="12"/>
                    </a:moveTo>
                    <a:lnTo>
                      <a:pt x="18" y="12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48" name="Freeform 506"/>
              <p:cNvSpPr>
                <a:spLocks/>
              </p:cNvSpPr>
              <p:nvPr/>
            </p:nvSpPr>
            <p:spPr bwMode="auto">
              <a:xfrm>
                <a:off x="2911" y="2118"/>
                <a:ext cx="18" cy="12"/>
              </a:xfrm>
              <a:custGeom>
                <a:avLst/>
                <a:gdLst>
                  <a:gd name="T0" fmla="*/ 12 w 18"/>
                  <a:gd name="T1" fmla="*/ 12 h 12"/>
                  <a:gd name="T2" fmla="*/ 18 w 18"/>
                  <a:gd name="T3" fmla="*/ 12 h 12"/>
                  <a:gd name="T4" fmla="*/ 18 w 18"/>
                  <a:gd name="T5" fmla="*/ 6 h 12"/>
                  <a:gd name="T6" fmla="*/ 18 w 18"/>
                  <a:gd name="T7" fmla="*/ 0 h 12"/>
                  <a:gd name="T8" fmla="*/ 12 w 18"/>
                  <a:gd name="T9" fmla="*/ 0 h 12"/>
                  <a:gd name="T10" fmla="*/ 6 w 18"/>
                  <a:gd name="T11" fmla="*/ 0 h 12"/>
                  <a:gd name="T12" fmla="*/ 0 w 18"/>
                  <a:gd name="T13" fmla="*/ 6 h 12"/>
                  <a:gd name="T14" fmla="*/ 6 w 18"/>
                  <a:gd name="T15" fmla="*/ 12 h 12"/>
                  <a:gd name="T16" fmla="*/ 12 w 18"/>
                  <a:gd name="T17" fmla="*/ 12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2">
                    <a:moveTo>
                      <a:pt x="12" y="12"/>
                    </a:moveTo>
                    <a:lnTo>
                      <a:pt x="18" y="12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91" name="Group 507"/>
            <p:cNvGrpSpPr>
              <a:grpSpLocks/>
            </p:cNvGrpSpPr>
            <p:nvPr/>
          </p:nvGrpSpPr>
          <p:grpSpPr bwMode="auto">
            <a:xfrm>
              <a:off x="4208140" y="4351763"/>
              <a:ext cx="38440" cy="20228"/>
              <a:chOff x="2935" y="2082"/>
              <a:chExt cx="18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45" name="Freeform 508"/>
              <p:cNvSpPr>
                <a:spLocks/>
              </p:cNvSpPr>
              <p:nvPr/>
            </p:nvSpPr>
            <p:spPr bwMode="auto">
              <a:xfrm>
                <a:off x="2935" y="2082"/>
                <a:ext cx="18" cy="12"/>
              </a:xfrm>
              <a:custGeom>
                <a:avLst/>
                <a:gdLst>
                  <a:gd name="T0" fmla="*/ 12 w 18"/>
                  <a:gd name="T1" fmla="*/ 12 h 12"/>
                  <a:gd name="T2" fmla="*/ 18 w 18"/>
                  <a:gd name="T3" fmla="*/ 6 h 12"/>
                  <a:gd name="T4" fmla="*/ 18 w 18"/>
                  <a:gd name="T5" fmla="*/ 6 h 12"/>
                  <a:gd name="T6" fmla="*/ 18 w 18"/>
                  <a:gd name="T7" fmla="*/ 0 h 12"/>
                  <a:gd name="T8" fmla="*/ 12 w 18"/>
                  <a:gd name="T9" fmla="*/ 0 h 12"/>
                  <a:gd name="T10" fmla="*/ 6 w 18"/>
                  <a:gd name="T11" fmla="*/ 0 h 12"/>
                  <a:gd name="T12" fmla="*/ 0 w 18"/>
                  <a:gd name="T13" fmla="*/ 6 h 12"/>
                  <a:gd name="T14" fmla="*/ 6 w 18"/>
                  <a:gd name="T15" fmla="*/ 6 h 12"/>
                  <a:gd name="T16" fmla="*/ 12 w 18"/>
                  <a:gd name="T17" fmla="*/ 12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2">
                    <a:moveTo>
                      <a:pt x="12" y="12"/>
                    </a:move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46" name="Freeform 509"/>
              <p:cNvSpPr>
                <a:spLocks/>
              </p:cNvSpPr>
              <p:nvPr/>
            </p:nvSpPr>
            <p:spPr bwMode="auto">
              <a:xfrm>
                <a:off x="2935" y="2082"/>
                <a:ext cx="18" cy="12"/>
              </a:xfrm>
              <a:custGeom>
                <a:avLst/>
                <a:gdLst>
                  <a:gd name="T0" fmla="*/ 12 w 18"/>
                  <a:gd name="T1" fmla="*/ 12 h 12"/>
                  <a:gd name="T2" fmla="*/ 18 w 18"/>
                  <a:gd name="T3" fmla="*/ 6 h 12"/>
                  <a:gd name="T4" fmla="*/ 18 w 18"/>
                  <a:gd name="T5" fmla="*/ 0 h 12"/>
                  <a:gd name="T6" fmla="*/ 12 w 18"/>
                  <a:gd name="T7" fmla="*/ 0 h 12"/>
                  <a:gd name="T8" fmla="*/ 6 w 18"/>
                  <a:gd name="T9" fmla="*/ 0 h 12"/>
                  <a:gd name="T10" fmla="*/ 0 w 18"/>
                  <a:gd name="T11" fmla="*/ 6 h 12"/>
                  <a:gd name="T12" fmla="*/ 6 w 18"/>
                  <a:gd name="T13" fmla="*/ 6 h 12"/>
                  <a:gd name="T14" fmla="*/ 12 w 18"/>
                  <a:gd name="T15" fmla="*/ 12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12" y="12"/>
                    </a:move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92" name="Group 510"/>
            <p:cNvGrpSpPr>
              <a:grpSpLocks/>
            </p:cNvGrpSpPr>
            <p:nvPr/>
          </p:nvGrpSpPr>
          <p:grpSpPr bwMode="auto">
            <a:xfrm>
              <a:off x="4342679" y="4238486"/>
              <a:ext cx="24986" cy="20228"/>
              <a:chOff x="3001" y="2016"/>
              <a:chExt cx="12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1543" name="Freeform 511"/>
              <p:cNvSpPr>
                <a:spLocks/>
              </p:cNvSpPr>
              <p:nvPr/>
            </p:nvSpPr>
            <p:spPr bwMode="auto">
              <a:xfrm>
                <a:off x="3001" y="2016"/>
                <a:ext cx="12" cy="12"/>
              </a:xfrm>
              <a:custGeom>
                <a:avLst/>
                <a:gdLst>
                  <a:gd name="T0" fmla="*/ 6 w 12"/>
                  <a:gd name="T1" fmla="*/ 12 h 12"/>
                  <a:gd name="T2" fmla="*/ 12 w 12"/>
                  <a:gd name="T3" fmla="*/ 12 h 12"/>
                  <a:gd name="T4" fmla="*/ 12 w 12"/>
                  <a:gd name="T5" fmla="*/ 6 h 12"/>
                  <a:gd name="T6" fmla="*/ 12 w 12"/>
                  <a:gd name="T7" fmla="*/ 6 h 12"/>
                  <a:gd name="T8" fmla="*/ 6 w 12"/>
                  <a:gd name="T9" fmla="*/ 0 h 12"/>
                  <a:gd name="T10" fmla="*/ 0 w 12"/>
                  <a:gd name="T11" fmla="*/ 6 h 12"/>
                  <a:gd name="T12" fmla="*/ 0 w 12"/>
                  <a:gd name="T13" fmla="*/ 6 h 12"/>
                  <a:gd name="T14" fmla="*/ 0 w 12"/>
                  <a:gd name="T15" fmla="*/ 12 h 12"/>
                  <a:gd name="T16" fmla="*/ 6 w 12"/>
                  <a:gd name="T17" fmla="*/ 12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2">
                    <a:moveTo>
                      <a:pt x="6" y="12"/>
                    </a:moveTo>
                    <a:lnTo>
                      <a:pt x="12" y="12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44" name="Freeform 512"/>
              <p:cNvSpPr>
                <a:spLocks/>
              </p:cNvSpPr>
              <p:nvPr/>
            </p:nvSpPr>
            <p:spPr bwMode="auto">
              <a:xfrm>
                <a:off x="3001" y="2016"/>
                <a:ext cx="12" cy="12"/>
              </a:xfrm>
              <a:custGeom>
                <a:avLst/>
                <a:gdLst>
                  <a:gd name="T0" fmla="*/ 6 w 12"/>
                  <a:gd name="T1" fmla="*/ 12 h 12"/>
                  <a:gd name="T2" fmla="*/ 12 w 12"/>
                  <a:gd name="T3" fmla="*/ 12 h 12"/>
                  <a:gd name="T4" fmla="*/ 12 w 12"/>
                  <a:gd name="T5" fmla="*/ 6 h 12"/>
                  <a:gd name="T6" fmla="*/ 6 w 12"/>
                  <a:gd name="T7" fmla="*/ 0 h 12"/>
                  <a:gd name="T8" fmla="*/ 0 w 12"/>
                  <a:gd name="T9" fmla="*/ 6 h 12"/>
                  <a:gd name="T10" fmla="*/ 0 w 12"/>
                  <a:gd name="T11" fmla="*/ 12 h 12"/>
                  <a:gd name="T12" fmla="*/ 6 w 12"/>
                  <a:gd name="T13" fmla="*/ 12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12">
                    <a:moveTo>
                      <a:pt x="6" y="12"/>
                    </a:moveTo>
                    <a:lnTo>
                      <a:pt x="12" y="12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93" name="Group 513"/>
            <p:cNvGrpSpPr>
              <a:grpSpLocks/>
            </p:cNvGrpSpPr>
            <p:nvPr/>
          </p:nvGrpSpPr>
          <p:grpSpPr bwMode="auto">
            <a:xfrm>
              <a:off x="3097231" y="2949956"/>
              <a:ext cx="182589" cy="216441"/>
              <a:chOff x="2388" y="1266"/>
              <a:chExt cx="90" cy="126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1083" name="Group 514"/>
              <p:cNvGrpSpPr>
                <a:grpSpLocks/>
              </p:cNvGrpSpPr>
              <p:nvPr/>
            </p:nvGrpSpPr>
            <p:grpSpPr bwMode="auto">
              <a:xfrm>
                <a:off x="2436" y="1356"/>
                <a:ext cx="12" cy="12"/>
                <a:chOff x="2436" y="1356"/>
                <a:chExt cx="12" cy="12"/>
              </a:xfrm>
              <a:grpFill/>
            </p:grpSpPr>
            <p:sp>
              <p:nvSpPr>
                <p:cNvPr id="1541" name="Freeform 515"/>
                <p:cNvSpPr>
                  <a:spLocks/>
                </p:cNvSpPr>
                <p:nvPr/>
              </p:nvSpPr>
              <p:spPr bwMode="auto">
                <a:xfrm>
                  <a:off x="2436" y="1356"/>
                  <a:ext cx="12" cy="12"/>
                </a:xfrm>
                <a:custGeom>
                  <a:avLst/>
                  <a:gdLst>
                    <a:gd name="T0" fmla="*/ 6 w 12"/>
                    <a:gd name="T1" fmla="*/ 12 h 12"/>
                    <a:gd name="T2" fmla="*/ 6 w 12"/>
                    <a:gd name="T3" fmla="*/ 6 h 12"/>
                    <a:gd name="T4" fmla="*/ 12 w 12"/>
                    <a:gd name="T5" fmla="*/ 6 h 12"/>
                    <a:gd name="T6" fmla="*/ 6 w 12"/>
                    <a:gd name="T7" fmla="*/ 0 h 12"/>
                    <a:gd name="T8" fmla="*/ 6 w 12"/>
                    <a:gd name="T9" fmla="*/ 0 h 12"/>
                    <a:gd name="T10" fmla="*/ 0 w 12"/>
                    <a:gd name="T11" fmla="*/ 0 h 12"/>
                    <a:gd name="T12" fmla="*/ 0 w 12"/>
                    <a:gd name="T13" fmla="*/ 6 h 12"/>
                    <a:gd name="T14" fmla="*/ 0 w 12"/>
                    <a:gd name="T15" fmla="*/ 6 h 12"/>
                    <a:gd name="T16" fmla="*/ 6 w 12"/>
                    <a:gd name="T17" fmla="*/ 12 h 1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2" h="12">
                      <a:moveTo>
                        <a:pt x="6" y="12"/>
                      </a:move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6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542" name="Freeform 516"/>
                <p:cNvSpPr>
                  <a:spLocks/>
                </p:cNvSpPr>
                <p:nvPr/>
              </p:nvSpPr>
              <p:spPr bwMode="auto">
                <a:xfrm>
                  <a:off x="2436" y="1356"/>
                  <a:ext cx="12" cy="12"/>
                </a:xfrm>
                <a:custGeom>
                  <a:avLst/>
                  <a:gdLst>
                    <a:gd name="T0" fmla="*/ 6 w 12"/>
                    <a:gd name="T1" fmla="*/ 12 h 12"/>
                    <a:gd name="T2" fmla="*/ 6 w 12"/>
                    <a:gd name="T3" fmla="*/ 6 h 12"/>
                    <a:gd name="T4" fmla="*/ 12 w 12"/>
                    <a:gd name="T5" fmla="*/ 6 h 12"/>
                    <a:gd name="T6" fmla="*/ 6 w 12"/>
                    <a:gd name="T7" fmla="*/ 0 h 12"/>
                    <a:gd name="T8" fmla="*/ 0 w 12"/>
                    <a:gd name="T9" fmla="*/ 0 h 12"/>
                    <a:gd name="T10" fmla="*/ 0 w 12"/>
                    <a:gd name="T11" fmla="*/ 6 h 12"/>
                    <a:gd name="T12" fmla="*/ 6 w 12"/>
                    <a:gd name="T13" fmla="*/ 12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2" h="12">
                      <a:moveTo>
                        <a:pt x="6" y="12"/>
                      </a:move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6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84" name="Group 517"/>
              <p:cNvGrpSpPr>
                <a:grpSpLocks/>
              </p:cNvGrpSpPr>
              <p:nvPr/>
            </p:nvGrpSpPr>
            <p:grpSpPr bwMode="auto">
              <a:xfrm>
                <a:off x="2412" y="1266"/>
                <a:ext cx="24" cy="72"/>
                <a:chOff x="2412" y="1266"/>
                <a:chExt cx="24" cy="72"/>
              </a:xfrm>
              <a:grpFill/>
            </p:grpSpPr>
            <p:sp>
              <p:nvSpPr>
                <p:cNvPr id="1533" name="Freeform 518"/>
                <p:cNvSpPr>
                  <a:spLocks/>
                </p:cNvSpPr>
                <p:nvPr/>
              </p:nvSpPr>
              <p:spPr bwMode="auto">
                <a:xfrm>
                  <a:off x="2412" y="1266"/>
                  <a:ext cx="24" cy="72"/>
                </a:xfrm>
                <a:custGeom>
                  <a:avLst/>
                  <a:gdLst>
                    <a:gd name="T0" fmla="*/ 12 w 24"/>
                    <a:gd name="T1" fmla="*/ 0 h 72"/>
                    <a:gd name="T2" fmla="*/ 6 w 24"/>
                    <a:gd name="T3" fmla="*/ 0 h 72"/>
                    <a:gd name="T4" fmla="*/ 0 w 24"/>
                    <a:gd name="T5" fmla="*/ 6 h 72"/>
                    <a:gd name="T6" fmla="*/ 0 w 24"/>
                    <a:gd name="T7" fmla="*/ 6 h 72"/>
                    <a:gd name="T8" fmla="*/ 0 w 24"/>
                    <a:gd name="T9" fmla="*/ 18 h 72"/>
                    <a:gd name="T10" fmla="*/ 0 w 24"/>
                    <a:gd name="T11" fmla="*/ 36 h 72"/>
                    <a:gd name="T12" fmla="*/ 0 w 24"/>
                    <a:gd name="T13" fmla="*/ 42 h 72"/>
                    <a:gd name="T14" fmla="*/ 0 w 24"/>
                    <a:gd name="T15" fmla="*/ 42 h 72"/>
                    <a:gd name="T16" fmla="*/ 0 w 24"/>
                    <a:gd name="T17" fmla="*/ 48 h 72"/>
                    <a:gd name="T18" fmla="*/ 0 w 24"/>
                    <a:gd name="T19" fmla="*/ 54 h 72"/>
                    <a:gd name="T20" fmla="*/ 0 w 24"/>
                    <a:gd name="T21" fmla="*/ 60 h 72"/>
                    <a:gd name="T22" fmla="*/ 6 w 24"/>
                    <a:gd name="T23" fmla="*/ 72 h 72"/>
                    <a:gd name="T24" fmla="*/ 12 w 24"/>
                    <a:gd name="T25" fmla="*/ 72 h 72"/>
                    <a:gd name="T26" fmla="*/ 12 w 24"/>
                    <a:gd name="T27" fmla="*/ 66 h 72"/>
                    <a:gd name="T28" fmla="*/ 12 w 24"/>
                    <a:gd name="T29" fmla="*/ 42 h 72"/>
                    <a:gd name="T30" fmla="*/ 18 w 24"/>
                    <a:gd name="T31" fmla="*/ 30 h 72"/>
                    <a:gd name="T32" fmla="*/ 18 w 24"/>
                    <a:gd name="T33" fmla="*/ 24 h 72"/>
                    <a:gd name="T34" fmla="*/ 24 w 24"/>
                    <a:gd name="T35" fmla="*/ 18 h 72"/>
                    <a:gd name="T36" fmla="*/ 24 w 24"/>
                    <a:gd name="T37" fmla="*/ 12 h 72"/>
                    <a:gd name="T38" fmla="*/ 24 w 24"/>
                    <a:gd name="T39" fmla="*/ 6 h 72"/>
                    <a:gd name="T40" fmla="*/ 24 w 24"/>
                    <a:gd name="T41" fmla="*/ 0 h 72"/>
                    <a:gd name="T42" fmla="*/ 18 w 24"/>
                    <a:gd name="T43" fmla="*/ 0 h 72"/>
                    <a:gd name="T44" fmla="*/ 12 w 24"/>
                    <a:gd name="T45" fmla="*/ 0 h 72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24" h="72">
                      <a:moveTo>
                        <a:pt x="12" y="0"/>
                      </a:moveTo>
                      <a:lnTo>
                        <a:pt x="6" y="0"/>
                      </a:lnTo>
                      <a:lnTo>
                        <a:pt x="0" y="6"/>
                      </a:lnTo>
                      <a:lnTo>
                        <a:pt x="0" y="18"/>
                      </a:lnTo>
                      <a:lnTo>
                        <a:pt x="0" y="36"/>
                      </a:lnTo>
                      <a:lnTo>
                        <a:pt x="0" y="42"/>
                      </a:lnTo>
                      <a:lnTo>
                        <a:pt x="0" y="48"/>
                      </a:lnTo>
                      <a:lnTo>
                        <a:pt x="0" y="54"/>
                      </a:lnTo>
                      <a:lnTo>
                        <a:pt x="0" y="60"/>
                      </a:lnTo>
                      <a:lnTo>
                        <a:pt x="6" y="72"/>
                      </a:lnTo>
                      <a:lnTo>
                        <a:pt x="12" y="72"/>
                      </a:lnTo>
                      <a:lnTo>
                        <a:pt x="12" y="66"/>
                      </a:lnTo>
                      <a:lnTo>
                        <a:pt x="12" y="42"/>
                      </a:lnTo>
                      <a:lnTo>
                        <a:pt x="18" y="30"/>
                      </a:lnTo>
                      <a:lnTo>
                        <a:pt x="18" y="24"/>
                      </a:lnTo>
                      <a:lnTo>
                        <a:pt x="24" y="18"/>
                      </a:lnTo>
                      <a:lnTo>
                        <a:pt x="24" y="12"/>
                      </a:lnTo>
                      <a:lnTo>
                        <a:pt x="24" y="6"/>
                      </a:lnTo>
                      <a:lnTo>
                        <a:pt x="24" y="0"/>
                      </a:lnTo>
                      <a:lnTo>
                        <a:pt x="18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536" name="Freeform 519"/>
                <p:cNvSpPr>
                  <a:spLocks/>
                </p:cNvSpPr>
                <p:nvPr/>
              </p:nvSpPr>
              <p:spPr bwMode="auto">
                <a:xfrm>
                  <a:off x="2412" y="1266"/>
                  <a:ext cx="24" cy="72"/>
                </a:xfrm>
                <a:custGeom>
                  <a:avLst/>
                  <a:gdLst>
                    <a:gd name="T0" fmla="*/ 12 w 24"/>
                    <a:gd name="T1" fmla="*/ 0 h 72"/>
                    <a:gd name="T2" fmla="*/ 6 w 24"/>
                    <a:gd name="T3" fmla="*/ 0 h 72"/>
                    <a:gd name="T4" fmla="*/ 0 w 24"/>
                    <a:gd name="T5" fmla="*/ 6 h 72"/>
                    <a:gd name="T6" fmla="*/ 0 w 24"/>
                    <a:gd name="T7" fmla="*/ 18 h 72"/>
                    <a:gd name="T8" fmla="*/ 0 w 24"/>
                    <a:gd name="T9" fmla="*/ 36 h 72"/>
                    <a:gd name="T10" fmla="*/ 0 w 24"/>
                    <a:gd name="T11" fmla="*/ 42 h 72"/>
                    <a:gd name="T12" fmla="*/ 0 w 24"/>
                    <a:gd name="T13" fmla="*/ 48 h 72"/>
                    <a:gd name="T14" fmla="*/ 0 w 24"/>
                    <a:gd name="T15" fmla="*/ 54 h 72"/>
                    <a:gd name="T16" fmla="*/ 0 w 24"/>
                    <a:gd name="T17" fmla="*/ 60 h 72"/>
                    <a:gd name="T18" fmla="*/ 6 w 24"/>
                    <a:gd name="T19" fmla="*/ 72 h 72"/>
                    <a:gd name="T20" fmla="*/ 12 w 24"/>
                    <a:gd name="T21" fmla="*/ 72 h 72"/>
                    <a:gd name="T22" fmla="*/ 12 w 24"/>
                    <a:gd name="T23" fmla="*/ 66 h 72"/>
                    <a:gd name="T24" fmla="*/ 12 w 24"/>
                    <a:gd name="T25" fmla="*/ 42 h 72"/>
                    <a:gd name="T26" fmla="*/ 18 w 24"/>
                    <a:gd name="T27" fmla="*/ 30 h 72"/>
                    <a:gd name="T28" fmla="*/ 18 w 24"/>
                    <a:gd name="T29" fmla="*/ 24 h 72"/>
                    <a:gd name="T30" fmla="*/ 24 w 24"/>
                    <a:gd name="T31" fmla="*/ 18 h 72"/>
                    <a:gd name="T32" fmla="*/ 24 w 24"/>
                    <a:gd name="T33" fmla="*/ 12 h 72"/>
                    <a:gd name="T34" fmla="*/ 24 w 24"/>
                    <a:gd name="T35" fmla="*/ 6 h 72"/>
                    <a:gd name="T36" fmla="*/ 24 w 24"/>
                    <a:gd name="T37" fmla="*/ 0 h 72"/>
                    <a:gd name="T38" fmla="*/ 18 w 24"/>
                    <a:gd name="T39" fmla="*/ 0 h 72"/>
                    <a:gd name="T40" fmla="*/ 12 w 24"/>
                    <a:gd name="T41" fmla="*/ 0 h 7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24" h="72">
                      <a:moveTo>
                        <a:pt x="12" y="0"/>
                      </a:moveTo>
                      <a:lnTo>
                        <a:pt x="6" y="0"/>
                      </a:lnTo>
                      <a:lnTo>
                        <a:pt x="0" y="6"/>
                      </a:lnTo>
                      <a:lnTo>
                        <a:pt x="0" y="18"/>
                      </a:lnTo>
                      <a:lnTo>
                        <a:pt x="0" y="36"/>
                      </a:lnTo>
                      <a:lnTo>
                        <a:pt x="0" y="42"/>
                      </a:lnTo>
                      <a:lnTo>
                        <a:pt x="0" y="48"/>
                      </a:lnTo>
                      <a:lnTo>
                        <a:pt x="0" y="54"/>
                      </a:lnTo>
                      <a:lnTo>
                        <a:pt x="0" y="60"/>
                      </a:lnTo>
                      <a:lnTo>
                        <a:pt x="6" y="72"/>
                      </a:lnTo>
                      <a:lnTo>
                        <a:pt x="12" y="72"/>
                      </a:lnTo>
                      <a:lnTo>
                        <a:pt x="12" y="66"/>
                      </a:lnTo>
                      <a:lnTo>
                        <a:pt x="12" y="42"/>
                      </a:lnTo>
                      <a:lnTo>
                        <a:pt x="18" y="30"/>
                      </a:lnTo>
                      <a:lnTo>
                        <a:pt x="18" y="24"/>
                      </a:lnTo>
                      <a:lnTo>
                        <a:pt x="24" y="18"/>
                      </a:lnTo>
                      <a:lnTo>
                        <a:pt x="24" y="12"/>
                      </a:lnTo>
                      <a:lnTo>
                        <a:pt x="24" y="6"/>
                      </a:lnTo>
                      <a:lnTo>
                        <a:pt x="24" y="0"/>
                      </a:lnTo>
                      <a:lnTo>
                        <a:pt x="18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85" name="Group 520"/>
              <p:cNvGrpSpPr>
                <a:grpSpLocks/>
              </p:cNvGrpSpPr>
              <p:nvPr/>
            </p:nvGrpSpPr>
            <p:grpSpPr bwMode="auto">
              <a:xfrm>
                <a:off x="2388" y="1344"/>
                <a:ext cx="18" cy="24"/>
                <a:chOff x="2388" y="1344"/>
                <a:chExt cx="18" cy="24"/>
              </a:xfrm>
              <a:grpFill/>
            </p:grpSpPr>
            <p:sp>
              <p:nvSpPr>
                <p:cNvPr id="1098" name="Freeform 521"/>
                <p:cNvSpPr>
                  <a:spLocks/>
                </p:cNvSpPr>
                <p:nvPr/>
              </p:nvSpPr>
              <p:spPr bwMode="auto">
                <a:xfrm>
                  <a:off x="2388" y="1344"/>
                  <a:ext cx="18" cy="24"/>
                </a:xfrm>
                <a:custGeom>
                  <a:avLst/>
                  <a:gdLst>
                    <a:gd name="T0" fmla="*/ 0 w 18"/>
                    <a:gd name="T1" fmla="*/ 18 h 24"/>
                    <a:gd name="T2" fmla="*/ 0 w 18"/>
                    <a:gd name="T3" fmla="*/ 18 h 24"/>
                    <a:gd name="T4" fmla="*/ 0 w 18"/>
                    <a:gd name="T5" fmla="*/ 24 h 24"/>
                    <a:gd name="T6" fmla="*/ 6 w 18"/>
                    <a:gd name="T7" fmla="*/ 18 h 24"/>
                    <a:gd name="T8" fmla="*/ 12 w 18"/>
                    <a:gd name="T9" fmla="*/ 12 h 24"/>
                    <a:gd name="T10" fmla="*/ 18 w 18"/>
                    <a:gd name="T11" fmla="*/ 0 h 24"/>
                    <a:gd name="T12" fmla="*/ 18 w 18"/>
                    <a:gd name="T13" fmla="*/ 0 h 24"/>
                    <a:gd name="T14" fmla="*/ 18 w 18"/>
                    <a:gd name="T15" fmla="*/ 0 h 24"/>
                    <a:gd name="T16" fmla="*/ 6 w 18"/>
                    <a:gd name="T17" fmla="*/ 12 h 24"/>
                    <a:gd name="T18" fmla="*/ 0 w 18"/>
                    <a:gd name="T19" fmla="*/ 18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8" h="24">
                      <a:moveTo>
                        <a:pt x="0" y="18"/>
                      </a:moveTo>
                      <a:lnTo>
                        <a:pt x="0" y="18"/>
                      </a:lnTo>
                      <a:lnTo>
                        <a:pt x="0" y="24"/>
                      </a:lnTo>
                      <a:lnTo>
                        <a:pt x="6" y="18"/>
                      </a:lnTo>
                      <a:lnTo>
                        <a:pt x="12" y="12"/>
                      </a:lnTo>
                      <a:lnTo>
                        <a:pt x="18" y="0"/>
                      </a:lnTo>
                      <a:lnTo>
                        <a:pt x="6" y="12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527" name="Freeform 522"/>
                <p:cNvSpPr>
                  <a:spLocks/>
                </p:cNvSpPr>
                <p:nvPr/>
              </p:nvSpPr>
              <p:spPr bwMode="auto">
                <a:xfrm>
                  <a:off x="2388" y="1344"/>
                  <a:ext cx="18" cy="24"/>
                </a:xfrm>
                <a:custGeom>
                  <a:avLst/>
                  <a:gdLst>
                    <a:gd name="T0" fmla="*/ 0 w 18"/>
                    <a:gd name="T1" fmla="*/ 18 h 24"/>
                    <a:gd name="T2" fmla="*/ 0 w 18"/>
                    <a:gd name="T3" fmla="*/ 24 h 24"/>
                    <a:gd name="T4" fmla="*/ 6 w 18"/>
                    <a:gd name="T5" fmla="*/ 18 h 24"/>
                    <a:gd name="T6" fmla="*/ 12 w 18"/>
                    <a:gd name="T7" fmla="*/ 12 h 24"/>
                    <a:gd name="T8" fmla="*/ 18 w 18"/>
                    <a:gd name="T9" fmla="*/ 0 h 24"/>
                    <a:gd name="T10" fmla="*/ 6 w 18"/>
                    <a:gd name="T11" fmla="*/ 12 h 24"/>
                    <a:gd name="T12" fmla="*/ 0 w 18"/>
                    <a:gd name="T13" fmla="*/ 18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8" h="24">
                      <a:moveTo>
                        <a:pt x="0" y="18"/>
                      </a:moveTo>
                      <a:lnTo>
                        <a:pt x="0" y="24"/>
                      </a:lnTo>
                      <a:lnTo>
                        <a:pt x="6" y="18"/>
                      </a:lnTo>
                      <a:lnTo>
                        <a:pt x="12" y="12"/>
                      </a:lnTo>
                      <a:lnTo>
                        <a:pt x="18" y="0"/>
                      </a:lnTo>
                      <a:lnTo>
                        <a:pt x="6" y="12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86" name="Group 523"/>
              <p:cNvGrpSpPr>
                <a:grpSpLocks/>
              </p:cNvGrpSpPr>
              <p:nvPr/>
            </p:nvGrpSpPr>
            <p:grpSpPr bwMode="auto">
              <a:xfrm>
                <a:off x="2424" y="1338"/>
                <a:ext cx="18" cy="18"/>
                <a:chOff x="2424" y="1338"/>
                <a:chExt cx="18" cy="18"/>
              </a:xfrm>
              <a:grpFill/>
            </p:grpSpPr>
            <p:sp>
              <p:nvSpPr>
                <p:cNvPr id="1096" name="Freeform 524"/>
                <p:cNvSpPr>
                  <a:spLocks/>
                </p:cNvSpPr>
                <p:nvPr/>
              </p:nvSpPr>
              <p:spPr bwMode="auto">
                <a:xfrm>
                  <a:off x="2424" y="1338"/>
                  <a:ext cx="18" cy="18"/>
                </a:xfrm>
                <a:custGeom>
                  <a:avLst/>
                  <a:gdLst>
                    <a:gd name="T0" fmla="*/ 12 w 18"/>
                    <a:gd name="T1" fmla="*/ 0 h 18"/>
                    <a:gd name="T2" fmla="*/ 6 w 18"/>
                    <a:gd name="T3" fmla="*/ 0 h 18"/>
                    <a:gd name="T4" fmla="*/ 0 w 18"/>
                    <a:gd name="T5" fmla="*/ 0 h 18"/>
                    <a:gd name="T6" fmla="*/ 0 w 18"/>
                    <a:gd name="T7" fmla="*/ 6 h 18"/>
                    <a:gd name="T8" fmla="*/ 0 w 18"/>
                    <a:gd name="T9" fmla="*/ 12 h 18"/>
                    <a:gd name="T10" fmla="*/ 6 w 18"/>
                    <a:gd name="T11" fmla="*/ 18 h 18"/>
                    <a:gd name="T12" fmla="*/ 12 w 18"/>
                    <a:gd name="T13" fmla="*/ 18 h 18"/>
                    <a:gd name="T14" fmla="*/ 18 w 18"/>
                    <a:gd name="T15" fmla="*/ 12 h 18"/>
                    <a:gd name="T16" fmla="*/ 12 w 18"/>
                    <a:gd name="T17" fmla="*/ 6 h 18"/>
                    <a:gd name="T18" fmla="*/ 12 w 18"/>
                    <a:gd name="T19" fmla="*/ 0 h 1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8" h="18">
                      <a:moveTo>
                        <a:pt x="12" y="0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6" y="18"/>
                      </a:lnTo>
                      <a:lnTo>
                        <a:pt x="12" y="18"/>
                      </a:lnTo>
                      <a:lnTo>
                        <a:pt x="18" y="12"/>
                      </a:lnTo>
                      <a:lnTo>
                        <a:pt x="12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97" name="Freeform 525"/>
                <p:cNvSpPr>
                  <a:spLocks/>
                </p:cNvSpPr>
                <p:nvPr/>
              </p:nvSpPr>
              <p:spPr bwMode="auto">
                <a:xfrm>
                  <a:off x="2424" y="1338"/>
                  <a:ext cx="18" cy="18"/>
                </a:xfrm>
                <a:custGeom>
                  <a:avLst/>
                  <a:gdLst>
                    <a:gd name="T0" fmla="*/ 12 w 18"/>
                    <a:gd name="T1" fmla="*/ 0 h 18"/>
                    <a:gd name="T2" fmla="*/ 6 w 18"/>
                    <a:gd name="T3" fmla="*/ 0 h 18"/>
                    <a:gd name="T4" fmla="*/ 0 w 18"/>
                    <a:gd name="T5" fmla="*/ 0 h 18"/>
                    <a:gd name="T6" fmla="*/ 0 w 18"/>
                    <a:gd name="T7" fmla="*/ 6 h 18"/>
                    <a:gd name="T8" fmla="*/ 0 w 18"/>
                    <a:gd name="T9" fmla="*/ 12 h 18"/>
                    <a:gd name="T10" fmla="*/ 6 w 18"/>
                    <a:gd name="T11" fmla="*/ 18 h 18"/>
                    <a:gd name="T12" fmla="*/ 12 w 18"/>
                    <a:gd name="T13" fmla="*/ 18 h 18"/>
                    <a:gd name="T14" fmla="*/ 18 w 18"/>
                    <a:gd name="T15" fmla="*/ 12 h 18"/>
                    <a:gd name="T16" fmla="*/ 12 w 18"/>
                    <a:gd name="T17" fmla="*/ 6 h 18"/>
                    <a:gd name="T18" fmla="*/ 12 w 18"/>
                    <a:gd name="T19" fmla="*/ 0 h 1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8" h="18">
                      <a:moveTo>
                        <a:pt x="12" y="0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6" y="18"/>
                      </a:lnTo>
                      <a:lnTo>
                        <a:pt x="12" y="18"/>
                      </a:lnTo>
                      <a:lnTo>
                        <a:pt x="18" y="12"/>
                      </a:lnTo>
                      <a:lnTo>
                        <a:pt x="12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87" name="Group 526"/>
              <p:cNvGrpSpPr>
                <a:grpSpLocks/>
              </p:cNvGrpSpPr>
              <p:nvPr/>
            </p:nvGrpSpPr>
            <p:grpSpPr bwMode="auto">
              <a:xfrm>
                <a:off x="2430" y="1308"/>
                <a:ext cx="18" cy="18"/>
                <a:chOff x="2430" y="1308"/>
                <a:chExt cx="18" cy="18"/>
              </a:xfrm>
              <a:grpFill/>
            </p:grpSpPr>
            <p:sp>
              <p:nvSpPr>
                <p:cNvPr id="1094" name="Freeform 527"/>
                <p:cNvSpPr>
                  <a:spLocks/>
                </p:cNvSpPr>
                <p:nvPr/>
              </p:nvSpPr>
              <p:spPr bwMode="auto">
                <a:xfrm>
                  <a:off x="2430" y="1308"/>
                  <a:ext cx="18" cy="18"/>
                </a:xfrm>
                <a:custGeom>
                  <a:avLst/>
                  <a:gdLst>
                    <a:gd name="T0" fmla="*/ 12 w 18"/>
                    <a:gd name="T1" fmla="*/ 18 h 18"/>
                    <a:gd name="T2" fmla="*/ 18 w 18"/>
                    <a:gd name="T3" fmla="*/ 12 h 18"/>
                    <a:gd name="T4" fmla="*/ 18 w 18"/>
                    <a:gd name="T5" fmla="*/ 12 h 18"/>
                    <a:gd name="T6" fmla="*/ 18 w 18"/>
                    <a:gd name="T7" fmla="*/ 6 h 18"/>
                    <a:gd name="T8" fmla="*/ 12 w 18"/>
                    <a:gd name="T9" fmla="*/ 0 h 18"/>
                    <a:gd name="T10" fmla="*/ 6 w 18"/>
                    <a:gd name="T11" fmla="*/ 6 h 18"/>
                    <a:gd name="T12" fmla="*/ 0 w 18"/>
                    <a:gd name="T13" fmla="*/ 6 h 18"/>
                    <a:gd name="T14" fmla="*/ 0 w 18"/>
                    <a:gd name="T15" fmla="*/ 12 h 18"/>
                    <a:gd name="T16" fmla="*/ 6 w 18"/>
                    <a:gd name="T17" fmla="*/ 12 h 18"/>
                    <a:gd name="T18" fmla="*/ 12 w 18"/>
                    <a:gd name="T19" fmla="*/ 18 h 1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8" h="18">
                      <a:moveTo>
                        <a:pt x="12" y="18"/>
                      </a:moveTo>
                      <a:lnTo>
                        <a:pt x="18" y="12"/>
                      </a:lnTo>
                      <a:lnTo>
                        <a:pt x="18" y="6"/>
                      </a:lnTo>
                      <a:lnTo>
                        <a:pt x="12" y="0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6" y="12"/>
                      </a:lnTo>
                      <a:lnTo>
                        <a:pt x="12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95" name="Freeform 528"/>
                <p:cNvSpPr>
                  <a:spLocks/>
                </p:cNvSpPr>
                <p:nvPr/>
              </p:nvSpPr>
              <p:spPr bwMode="auto">
                <a:xfrm>
                  <a:off x="2430" y="1308"/>
                  <a:ext cx="18" cy="18"/>
                </a:xfrm>
                <a:custGeom>
                  <a:avLst/>
                  <a:gdLst>
                    <a:gd name="T0" fmla="*/ 12 w 18"/>
                    <a:gd name="T1" fmla="*/ 18 h 18"/>
                    <a:gd name="T2" fmla="*/ 18 w 18"/>
                    <a:gd name="T3" fmla="*/ 12 h 18"/>
                    <a:gd name="T4" fmla="*/ 18 w 18"/>
                    <a:gd name="T5" fmla="*/ 6 h 18"/>
                    <a:gd name="T6" fmla="*/ 12 w 18"/>
                    <a:gd name="T7" fmla="*/ 0 h 18"/>
                    <a:gd name="T8" fmla="*/ 6 w 18"/>
                    <a:gd name="T9" fmla="*/ 6 h 18"/>
                    <a:gd name="T10" fmla="*/ 0 w 18"/>
                    <a:gd name="T11" fmla="*/ 6 h 18"/>
                    <a:gd name="T12" fmla="*/ 0 w 18"/>
                    <a:gd name="T13" fmla="*/ 12 h 18"/>
                    <a:gd name="T14" fmla="*/ 6 w 18"/>
                    <a:gd name="T15" fmla="*/ 12 h 18"/>
                    <a:gd name="T16" fmla="*/ 12 w 18"/>
                    <a:gd name="T17" fmla="*/ 18 h 1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8" h="18">
                      <a:moveTo>
                        <a:pt x="12" y="18"/>
                      </a:moveTo>
                      <a:lnTo>
                        <a:pt x="18" y="12"/>
                      </a:lnTo>
                      <a:lnTo>
                        <a:pt x="18" y="6"/>
                      </a:lnTo>
                      <a:lnTo>
                        <a:pt x="12" y="0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6" y="12"/>
                      </a:lnTo>
                      <a:lnTo>
                        <a:pt x="12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88" name="Group 529"/>
              <p:cNvGrpSpPr>
                <a:grpSpLocks/>
              </p:cNvGrpSpPr>
              <p:nvPr/>
            </p:nvGrpSpPr>
            <p:grpSpPr bwMode="auto">
              <a:xfrm>
                <a:off x="2448" y="1332"/>
                <a:ext cx="18" cy="18"/>
                <a:chOff x="2448" y="1332"/>
                <a:chExt cx="18" cy="18"/>
              </a:xfrm>
              <a:grpFill/>
            </p:grpSpPr>
            <p:sp>
              <p:nvSpPr>
                <p:cNvPr id="1092" name="Freeform 530"/>
                <p:cNvSpPr>
                  <a:spLocks/>
                </p:cNvSpPr>
                <p:nvPr/>
              </p:nvSpPr>
              <p:spPr bwMode="auto">
                <a:xfrm>
                  <a:off x="2448" y="1332"/>
                  <a:ext cx="18" cy="18"/>
                </a:xfrm>
                <a:custGeom>
                  <a:avLst/>
                  <a:gdLst>
                    <a:gd name="T0" fmla="*/ 6 w 18"/>
                    <a:gd name="T1" fmla="*/ 18 h 18"/>
                    <a:gd name="T2" fmla="*/ 12 w 18"/>
                    <a:gd name="T3" fmla="*/ 12 h 18"/>
                    <a:gd name="T4" fmla="*/ 18 w 18"/>
                    <a:gd name="T5" fmla="*/ 12 h 18"/>
                    <a:gd name="T6" fmla="*/ 12 w 18"/>
                    <a:gd name="T7" fmla="*/ 6 h 18"/>
                    <a:gd name="T8" fmla="*/ 6 w 18"/>
                    <a:gd name="T9" fmla="*/ 0 h 18"/>
                    <a:gd name="T10" fmla="*/ 6 w 18"/>
                    <a:gd name="T11" fmla="*/ 6 h 18"/>
                    <a:gd name="T12" fmla="*/ 0 w 18"/>
                    <a:gd name="T13" fmla="*/ 12 h 18"/>
                    <a:gd name="T14" fmla="*/ 6 w 18"/>
                    <a:gd name="T15" fmla="*/ 12 h 18"/>
                    <a:gd name="T16" fmla="*/ 6 w 18"/>
                    <a:gd name="T17" fmla="*/ 18 h 1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8" h="18">
                      <a:moveTo>
                        <a:pt x="6" y="18"/>
                      </a:moveTo>
                      <a:lnTo>
                        <a:pt x="12" y="12"/>
                      </a:lnTo>
                      <a:lnTo>
                        <a:pt x="18" y="12"/>
                      </a:lnTo>
                      <a:lnTo>
                        <a:pt x="12" y="6"/>
                      </a:ln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0" y="12"/>
                      </a:lnTo>
                      <a:lnTo>
                        <a:pt x="6" y="12"/>
                      </a:lnTo>
                      <a:lnTo>
                        <a:pt x="6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93" name="Freeform 531"/>
                <p:cNvSpPr>
                  <a:spLocks/>
                </p:cNvSpPr>
                <p:nvPr/>
              </p:nvSpPr>
              <p:spPr bwMode="auto">
                <a:xfrm>
                  <a:off x="2448" y="1332"/>
                  <a:ext cx="18" cy="18"/>
                </a:xfrm>
                <a:custGeom>
                  <a:avLst/>
                  <a:gdLst>
                    <a:gd name="T0" fmla="*/ 6 w 18"/>
                    <a:gd name="T1" fmla="*/ 18 h 18"/>
                    <a:gd name="T2" fmla="*/ 12 w 18"/>
                    <a:gd name="T3" fmla="*/ 12 h 18"/>
                    <a:gd name="T4" fmla="*/ 18 w 18"/>
                    <a:gd name="T5" fmla="*/ 12 h 18"/>
                    <a:gd name="T6" fmla="*/ 12 w 18"/>
                    <a:gd name="T7" fmla="*/ 6 h 18"/>
                    <a:gd name="T8" fmla="*/ 6 w 18"/>
                    <a:gd name="T9" fmla="*/ 0 h 18"/>
                    <a:gd name="T10" fmla="*/ 6 w 18"/>
                    <a:gd name="T11" fmla="*/ 6 h 18"/>
                    <a:gd name="T12" fmla="*/ 0 w 18"/>
                    <a:gd name="T13" fmla="*/ 12 h 18"/>
                    <a:gd name="T14" fmla="*/ 6 w 18"/>
                    <a:gd name="T15" fmla="*/ 12 h 18"/>
                    <a:gd name="T16" fmla="*/ 6 w 18"/>
                    <a:gd name="T17" fmla="*/ 18 h 1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8" h="18">
                      <a:moveTo>
                        <a:pt x="6" y="18"/>
                      </a:moveTo>
                      <a:lnTo>
                        <a:pt x="12" y="12"/>
                      </a:lnTo>
                      <a:lnTo>
                        <a:pt x="18" y="12"/>
                      </a:lnTo>
                      <a:lnTo>
                        <a:pt x="12" y="6"/>
                      </a:ln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0" y="12"/>
                      </a:lnTo>
                      <a:lnTo>
                        <a:pt x="6" y="12"/>
                      </a:lnTo>
                      <a:lnTo>
                        <a:pt x="6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89" name="Group 532"/>
              <p:cNvGrpSpPr>
                <a:grpSpLocks/>
              </p:cNvGrpSpPr>
              <p:nvPr/>
            </p:nvGrpSpPr>
            <p:grpSpPr bwMode="auto">
              <a:xfrm>
                <a:off x="2430" y="1362"/>
                <a:ext cx="48" cy="30"/>
                <a:chOff x="2430" y="1362"/>
                <a:chExt cx="48" cy="30"/>
              </a:xfrm>
              <a:grpFill/>
            </p:grpSpPr>
            <p:sp>
              <p:nvSpPr>
                <p:cNvPr id="1090" name="Freeform 533"/>
                <p:cNvSpPr>
                  <a:spLocks/>
                </p:cNvSpPr>
                <p:nvPr/>
              </p:nvSpPr>
              <p:spPr bwMode="auto">
                <a:xfrm>
                  <a:off x="2430" y="1362"/>
                  <a:ext cx="48" cy="30"/>
                </a:xfrm>
                <a:custGeom>
                  <a:avLst/>
                  <a:gdLst>
                    <a:gd name="T0" fmla="*/ 30 w 48"/>
                    <a:gd name="T1" fmla="*/ 0 h 30"/>
                    <a:gd name="T2" fmla="*/ 24 w 48"/>
                    <a:gd name="T3" fmla="*/ 6 h 30"/>
                    <a:gd name="T4" fmla="*/ 12 w 48"/>
                    <a:gd name="T5" fmla="*/ 6 h 30"/>
                    <a:gd name="T6" fmla="*/ 6 w 48"/>
                    <a:gd name="T7" fmla="*/ 12 h 30"/>
                    <a:gd name="T8" fmla="*/ 0 w 48"/>
                    <a:gd name="T9" fmla="*/ 18 h 30"/>
                    <a:gd name="T10" fmla="*/ 0 w 48"/>
                    <a:gd name="T11" fmla="*/ 24 h 30"/>
                    <a:gd name="T12" fmla="*/ 0 w 48"/>
                    <a:gd name="T13" fmla="*/ 24 h 30"/>
                    <a:gd name="T14" fmla="*/ 18 w 48"/>
                    <a:gd name="T15" fmla="*/ 24 h 30"/>
                    <a:gd name="T16" fmla="*/ 18 w 48"/>
                    <a:gd name="T17" fmla="*/ 24 h 30"/>
                    <a:gd name="T18" fmla="*/ 18 w 48"/>
                    <a:gd name="T19" fmla="*/ 30 h 30"/>
                    <a:gd name="T20" fmla="*/ 18 w 48"/>
                    <a:gd name="T21" fmla="*/ 30 h 30"/>
                    <a:gd name="T22" fmla="*/ 30 w 48"/>
                    <a:gd name="T23" fmla="*/ 30 h 30"/>
                    <a:gd name="T24" fmla="*/ 30 w 48"/>
                    <a:gd name="T25" fmla="*/ 30 h 30"/>
                    <a:gd name="T26" fmla="*/ 30 w 48"/>
                    <a:gd name="T27" fmla="*/ 30 h 30"/>
                    <a:gd name="T28" fmla="*/ 30 w 48"/>
                    <a:gd name="T29" fmla="*/ 24 h 30"/>
                    <a:gd name="T30" fmla="*/ 30 w 48"/>
                    <a:gd name="T31" fmla="*/ 18 h 30"/>
                    <a:gd name="T32" fmla="*/ 30 w 48"/>
                    <a:gd name="T33" fmla="*/ 18 h 30"/>
                    <a:gd name="T34" fmla="*/ 36 w 48"/>
                    <a:gd name="T35" fmla="*/ 18 h 30"/>
                    <a:gd name="T36" fmla="*/ 36 w 48"/>
                    <a:gd name="T37" fmla="*/ 24 h 30"/>
                    <a:gd name="T38" fmla="*/ 42 w 48"/>
                    <a:gd name="T39" fmla="*/ 24 h 30"/>
                    <a:gd name="T40" fmla="*/ 42 w 48"/>
                    <a:gd name="T41" fmla="*/ 18 h 30"/>
                    <a:gd name="T42" fmla="*/ 48 w 48"/>
                    <a:gd name="T43" fmla="*/ 12 h 30"/>
                    <a:gd name="T44" fmla="*/ 42 w 48"/>
                    <a:gd name="T45" fmla="*/ 6 h 30"/>
                    <a:gd name="T46" fmla="*/ 36 w 48"/>
                    <a:gd name="T47" fmla="*/ 0 h 30"/>
                    <a:gd name="T48" fmla="*/ 36 w 48"/>
                    <a:gd name="T49" fmla="*/ 0 h 30"/>
                    <a:gd name="T50" fmla="*/ 30 w 48"/>
                    <a:gd name="T51" fmla="*/ 0 h 3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48" h="30">
                      <a:moveTo>
                        <a:pt x="30" y="0"/>
                      </a:moveTo>
                      <a:lnTo>
                        <a:pt x="24" y="6"/>
                      </a:lnTo>
                      <a:lnTo>
                        <a:pt x="12" y="6"/>
                      </a:lnTo>
                      <a:lnTo>
                        <a:pt x="6" y="12"/>
                      </a:lnTo>
                      <a:lnTo>
                        <a:pt x="0" y="18"/>
                      </a:lnTo>
                      <a:lnTo>
                        <a:pt x="0" y="24"/>
                      </a:lnTo>
                      <a:lnTo>
                        <a:pt x="18" y="24"/>
                      </a:lnTo>
                      <a:lnTo>
                        <a:pt x="18" y="30"/>
                      </a:lnTo>
                      <a:lnTo>
                        <a:pt x="30" y="30"/>
                      </a:lnTo>
                      <a:lnTo>
                        <a:pt x="30" y="24"/>
                      </a:lnTo>
                      <a:lnTo>
                        <a:pt x="30" y="18"/>
                      </a:lnTo>
                      <a:lnTo>
                        <a:pt x="36" y="18"/>
                      </a:lnTo>
                      <a:lnTo>
                        <a:pt x="36" y="24"/>
                      </a:lnTo>
                      <a:lnTo>
                        <a:pt x="42" y="24"/>
                      </a:lnTo>
                      <a:lnTo>
                        <a:pt x="42" y="18"/>
                      </a:lnTo>
                      <a:lnTo>
                        <a:pt x="48" y="12"/>
                      </a:lnTo>
                      <a:lnTo>
                        <a:pt x="42" y="6"/>
                      </a:lnTo>
                      <a:lnTo>
                        <a:pt x="36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91" name="Freeform 534"/>
                <p:cNvSpPr>
                  <a:spLocks/>
                </p:cNvSpPr>
                <p:nvPr/>
              </p:nvSpPr>
              <p:spPr bwMode="auto">
                <a:xfrm>
                  <a:off x="2430" y="1362"/>
                  <a:ext cx="48" cy="30"/>
                </a:xfrm>
                <a:custGeom>
                  <a:avLst/>
                  <a:gdLst>
                    <a:gd name="T0" fmla="*/ 30 w 48"/>
                    <a:gd name="T1" fmla="*/ 0 h 30"/>
                    <a:gd name="T2" fmla="*/ 24 w 48"/>
                    <a:gd name="T3" fmla="*/ 6 h 30"/>
                    <a:gd name="T4" fmla="*/ 12 w 48"/>
                    <a:gd name="T5" fmla="*/ 6 h 30"/>
                    <a:gd name="T6" fmla="*/ 6 w 48"/>
                    <a:gd name="T7" fmla="*/ 12 h 30"/>
                    <a:gd name="T8" fmla="*/ 0 w 48"/>
                    <a:gd name="T9" fmla="*/ 18 h 30"/>
                    <a:gd name="T10" fmla="*/ 0 w 48"/>
                    <a:gd name="T11" fmla="*/ 24 h 30"/>
                    <a:gd name="T12" fmla="*/ 18 w 48"/>
                    <a:gd name="T13" fmla="*/ 24 h 30"/>
                    <a:gd name="T14" fmla="*/ 18 w 48"/>
                    <a:gd name="T15" fmla="*/ 30 h 30"/>
                    <a:gd name="T16" fmla="*/ 30 w 48"/>
                    <a:gd name="T17" fmla="*/ 30 h 30"/>
                    <a:gd name="T18" fmla="*/ 30 w 48"/>
                    <a:gd name="T19" fmla="*/ 24 h 30"/>
                    <a:gd name="T20" fmla="*/ 30 w 48"/>
                    <a:gd name="T21" fmla="*/ 18 h 30"/>
                    <a:gd name="T22" fmla="*/ 36 w 48"/>
                    <a:gd name="T23" fmla="*/ 18 h 30"/>
                    <a:gd name="T24" fmla="*/ 36 w 48"/>
                    <a:gd name="T25" fmla="*/ 24 h 30"/>
                    <a:gd name="T26" fmla="*/ 42 w 48"/>
                    <a:gd name="T27" fmla="*/ 24 h 30"/>
                    <a:gd name="T28" fmla="*/ 42 w 48"/>
                    <a:gd name="T29" fmla="*/ 18 h 30"/>
                    <a:gd name="T30" fmla="*/ 48 w 48"/>
                    <a:gd name="T31" fmla="*/ 12 h 30"/>
                    <a:gd name="T32" fmla="*/ 42 w 48"/>
                    <a:gd name="T33" fmla="*/ 6 h 30"/>
                    <a:gd name="T34" fmla="*/ 36 w 48"/>
                    <a:gd name="T35" fmla="*/ 0 h 30"/>
                    <a:gd name="T36" fmla="*/ 30 w 48"/>
                    <a:gd name="T37" fmla="*/ 0 h 3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48" h="30">
                      <a:moveTo>
                        <a:pt x="30" y="0"/>
                      </a:moveTo>
                      <a:lnTo>
                        <a:pt x="24" y="6"/>
                      </a:lnTo>
                      <a:lnTo>
                        <a:pt x="12" y="6"/>
                      </a:lnTo>
                      <a:lnTo>
                        <a:pt x="6" y="12"/>
                      </a:lnTo>
                      <a:lnTo>
                        <a:pt x="0" y="18"/>
                      </a:lnTo>
                      <a:lnTo>
                        <a:pt x="0" y="24"/>
                      </a:lnTo>
                      <a:lnTo>
                        <a:pt x="18" y="24"/>
                      </a:lnTo>
                      <a:lnTo>
                        <a:pt x="18" y="30"/>
                      </a:lnTo>
                      <a:lnTo>
                        <a:pt x="30" y="30"/>
                      </a:lnTo>
                      <a:lnTo>
                        <a:pt x="30" y="24"/>
                      </a:lnTo>
                      <a:lnTo>
                        <a:pt x="30" y="18"/>
                      </a:lnTo>
                      <a:lnTo>
                        <a:pt x="36" y="18"/>
                      </a:lnTo>
                      <a:lnTo>
                        <a:pt x="36" y="24"/>
                      </a:lnTo>
                      <a:lnTo>
                        <a:pt x="42" y="24"/>
                      </a:lnTo>
                      <a:lnTo>
                        <a:pt x="42" y="18"/>
                      </a:lnTo>
                      <a:lnTo>
                        <a:pt x="48" y="12"/>
                      </a:lnTo>
                      <a:lnTo>
                        <a:pt x="42" y="6"/>
                      </a:lnTo>
                      <a:lnTo>
                        <a:pt x="36" y="0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694" name="Group 535"/>
            <p:cNvGrpSpPr>
              <a:grpSpLocks/>
            </p:cNvGrpSpPr>
            <p:nvPr/>
          </p:nvGrpSpPr>
          <p:grpSpPr bwMode="auto">
            <a:xfrm>
              <a:off x="2962692" y="3146169"/>
              <a:ext cx="171057" cy="123391"/>
              <a:chOff x="2322" y="1380"/>
              <a:chExt cx="84" cy="72"/>
            </a:xfrm>
            <a:solidFill>
              <a:srgbClr val="0070C0">
                <a:alpha val="27059"/>
              </a:srgbClr>
            </a:solidFill>
          </p:grpSpPr>
          <p:sp>
            <p:nvSpPr>
              <p:cNvPr id="1081" name="Freeform 536"/>
              <p:cNvSpPr>
                <a:spLocks/>
              </p:cNvSpPr>
              <p:nvPr/>
            </p:nvSpPr>
            <p:spPr bwMode="auto">
              <a:xfrm>
                <a:off x="2322" y="1380"/>
                <a:ext cx="84" cy="72"/>
              </a:xfrm>
              <a:custGeom>
                <a:avLst/>
                <a:gdLst>
                  <a:gd name="T0" fmla="*/ 48 w 84"/>
                  <a:gd name="T1" fmla="*/ 42 h 72"/>
                  <a:gd name="T2" fmla="*/ 54 w 84"/>
                  <a:gd name="T3" fmla="*/ 36 h 72"/>
                  <a:gd name="T4" fmla="*/ 66 w 84"/>
                  <a:gd name="T5" fmla="*/ 36 h 72"/>
                  <a:gd name="T6" fmla="*/ 78 w 84"/>
                  <a:gd name="T7" fmla="*/ 30 h 72"/>
                  <a:gd name="T8" fmla="*/ 66 w 84"/>
                  <a:gd name="T9" fmla="*/ 30 h 72"/>
                  <a:gd name="T10" fmla="*/ 84 w 84"/>
                  <a:gd name="T11" fmla="*/ 24 h 72"/>
                  <a:gd name="T12" fmla="*/ 84 w 84"/>
                  <a:gd name="T13" fmla="*/ 24 h 72"/>
                  <a:gd name="T14" fmla="*/ 78 w 84"/>
                  <a:gd name="T15" fmla="*/ 18 h 72"/>
                  <a:gd name="T16" fmla="*/ 72 w 84"/>
                  <a:gd name="T17" fmla="*/ 6 h 72"/>
                  <a:gd name="T18" fmla="*/ 66 w 84"/>
                  <a:gd name="T19" fmla="*/ 0 h 72"/>
                  <a:gd name="T20" fmla="*/ 60 w 84"/>
                  <a:gd name="T21" fmla="*/ 0 h 72"/>
                  <a:gd name="T22" fmla="*/ 54 w 84"/>
                  <a:gd name="T23" fmla="*/ 6 h 72"/>
                  <a:gd name="T24" fmla="*/ 54 w 84"/>
                  <a:gd name="T25" fmla="*/ 6 h 72"/>
                  <a:gd name="T26" fmla="*/ 42 w 84"/>
                  <a:gd name="T27" fmla="*/ 12 h 72"/>
                  <a:gd name="T28" fmla="*/ 36 w 84"/>
                  <a:gd name="T29" fmla="*/ 30 h 72"/>
                  <a:gd name="T30" fmla="*/ 24 w 84"/>
                  <a:gd name="T31" fmla="*/ 36 h 72"/>
                  <a:gd name="T32" fmla="*/ 18 w 84"/>
                  <a:gd name="T33" fmla="*/ 42 h 72"/>
                  <a:gd name="T34" fmla="*/ 12 w 84"/>
                  <a:gd name="T35" fmla="*/ 48 h 72"/>
                  <a:gd name="T36" fmla="*/ 6 w 84"/>
                  <a:gd name="T37" fmla="*/ 66 h 72"/>
                  <a:gd name="T38" fmla="*/ 0 w 84"/>
                  <a:gd name="T39" fmla="*/ 66 h 72"/>
                  <a:gd name="T40" fmla="*/ 6 w 84"/>
                  <a:gd name="T41" fmla="*/ 72 h 72"/>
                  <a:gd name="T42" fmla="*/ 6 w 84"/>
                  <a:gd name="T43" fmla="*/ 72 h 72"/>
                  <a:gd name="T44" fmla="*/ 12 w 84"/>
                  <a:gd name="T45" fmla="*/ 72 h 72"/>
                  <a:gd name="T46" fmla="*/ 18 w 84"/>
                  <a:gd name="T47" fmla="*/ 72 h 72"/>
                  <a:gd name="T48" fmla="*/ 18 w 84"/>
                  <a:gd name="T49" fmla="*/ 66 h 72"/>
                  <a:gd name="T50" fmla="*/ 24 w 84"/>
                  <a:gd name="T51" fmla="*/ 60 h 72"/>
                  <a:gd name="T52" fmla="*/ 24 w 84"/>
                  <a:gd name="T53" fmla="*/ 60 h 72"/>
                  <a:gd name="T54" fmla="*/ 30 w 84"/>
                  <a:gd name="T55" fmla="*/ 60 h 72"/>
                  <a:gd name="T56" fmla="*/ 36 w 84"/>
                  <a:gd name="T57" fmla="*/ 54 h 72"/>
                  <a:gd name="T58" fmla="*/ 42 w 84"/>
                  <a:gd name="T59" fmla="*/ 54 h 72"/>
                  <a:gd name="T60" fmla="*/ 48 w 84"/>
                  <a:gd name="T61" fmla="*/ 42 h 7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84" h="72">
                    <a:moveTo>
                      <a:pt x="48" y="42"/>
                    </a:moveTo>
                    <a:lnTo>
                      <a:pt x="54" y="36"/>
                    </a:lnTo>
                    <a:lnTo>
                      <a:pt x="66" y="36"/>
                    </a:lnTo>
                    <a:lnTo>
                      <a:pt x="78" y="30"/>
                    </a:lnTo>
                    <a:lnTo>
                      <a:pt x="66" y="30"/>
                    </a:lnTo>
                    <a:lnTo>
                      <a:pt x="84" y="24"/>
                    </a:lnTo>
                    <a:lnTo>
                      <a:pt x="78" y="18"/>
                    </a:lnTo>
                    <a:lnTo>
                      <a:pt x="72" y="6"/>
                    </a:lnTo>
                    <a:lnTo>
                      <a:pt x="66" y="0"/>
                    </a:lnTo>
                    <a:lnTo>
                      <a:pt x="60" y="0"/>
                    </a:lnTo>
                    <a:lnTo>
                      <a:pt x="54" y="6"/>
                    </a:lnTo>
                    <a:lnTo>
                      <a:pt x="42" y="12"/>
                    </a:lnTo>
                    <a:lnTo>
                      <a:pt x="36" y="30"/>
                    </a:lnTo>
                    <a:lnTo>
                      <a:pt x="24" y="36"/>
                    </a:lnTo>
                    <a:lnTo>
                      <a:pt x="18" y="42"/>
                    </a:lnTo>
                    <a:lnTo>
                      <a:pt x="12" y="48"/>
                    </a:lnTo>
                    <a:lnTo>
                      <a:pt x="6" y="66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18" y="72"/>
                    </a:lnTo>
                    <a:lnTo>
                      <a:pt x="18" y="66"/>
                    </a:lnTo>
                    <a:lnTo>
                      <a:pt x="24" y="60"/>
                    </a:lnTo>
                    <a:lnTo>
                      <a:pt x="30" y="60"/>
                    </a:lnTo>
                    <a:lnTo>
                      <a:pt x="36" y="54"/>
                    </a:lnTo>
                    <a:lnTo>
                      <a:pt x="42" y="54"/>
                    </a:lnTo>
                    <a:lnTo>
                      <a:pt x="48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82" name="Freeform 537"/>
              <p:cNvSpPr>
                <a:spLocks/>
              </p:cNvSpPr>
              <p:nvPr/>
            </p:nvSpPr>
            <p:spPr bwMode="auto">
              <a:xfrm>
                <a:off x="2322" y="1380"/>
                <a:ext cx="84" cy="72"/>
              </a:xfrm>
              <a:custGeom>
                <a:avLst/>
                <a:gdLst>
                  <a:gd name="T0" fmla="*/ 48 w 84"/>
                  <a:gd name="T1" fmla="*/ 42 h 72"/>
                  <a:gd name="T2" fmla="*/ 54 w 84"/>
                  <a:gd name="T3" fmla="*/ 36 h 72"/>
                  <a:gd name="T4" fmla="*/ 66 w 84"/>
                  <a:gd name="T5" fmla="*/ 36 h 72"/>
                  <a:gd name="T6" fmla="*/ 78 w 84"/>
                  <a:gd name="T7" fmla="*/ 30 h 72"/>
                  <a:gd name="T8" fmla="*/ 66 w 84"/>
                  <a:gd name="T9" fmla="*/ 30 h 72"/>
                  <a:gd name="T10" fmla="*/ 84 w 84"/>
                  <a:gd name="T11" fmla="*/ 24 h 72"/>
                  <a:gd name="T12" fmla="*/ 78 w 84"/>
                  <a:gd name="T13" fmla="*/ 18 h 72"/>
                  <a:gd name="T14" fmla="*/ 72 w 84"/>
                  <a:gd name="T15" fmla="*/ 6 h 72"/>
                  <a:gd name="T16" fmla="*/ 66 w 84"/>
                  <a:gd name="T17" fmla="*/ 0 h 72"/>
                  <a:gd name="T18" fmla="*/ 60 w 84"/>
                  <a:gd name="T19" fmla="*/ 0 h 72"/>
                  <a:gd name="T20" fmla="*/ 54 w 84"/>
                  <a:gd name="T21" fmla="*/ 6 h 72"/>
                  <a:gd name="T22" fmla="*/ 42 w 84"/>
                  <a:gd name="T23" fmla="*/ 12 h 72"/>
                  <a:gd name="T24" fmla="*/ 36 w 84"/>
                  <a:gd name="T25" fmla="*/ 30 h 72"/>
                  <a:gd name="T26" fmla="*/ 24 w 84"/>
                  <a:gd name="T27" fmla="*/ 36 h 72"/>
                  <a:gd name="T28" fmla="*/ 18 w 84"/>
                  <a:gd name="T29" fmla="*/ 42 h 72"/>
                  <a:gd name="T30" fmla="*/ 12 w 84"/>
                  <a:gd name="T31" fmla="*/ 48 h 72"/>
                  <a:gd name="T32" fmla="*/ 6 w 84"/>
                  <a:gd name="T33" fmla="*/ 66 h 72"/>
                  <a:gd name="T34" fmla="*/ 0 w 84"/>
                  <a:gd name="T35" fmla="*/ 66 h 72"/>
                  <a:gd name="T36" fmla="*/ 6 w 84"/>
                  <a:gd name="T37" fmla="*/ 72 h 72"/>
                  <a:gd name="T38" fmla="*/ 12 w 84"/>
                  <a:gd name="T39" fmla="*/ 72 h 72"/>
                  <a:gd name="T40" fmla="*/ 18 w 84"/>
                  <a:gd name="T41" fmla="*/ 72 h 72"/>
                  <a:gd name="T42" fmla="*/ 18 w 84"/>
                  <a:gd name="T43" fmla="*/ 66 h 72"/>
                  <a:gd name="T44" fmla="*/ 24 w 84"/>
                  <a:gd name="T45" fmla="*/ 60 h 72"/>
                  <a:gd name="T46" fmla="*/ 30 w 84"/>
                  <a:gd name="T47" fmla="*/ 60 h 72"/>
                  <a:gd name="T48" fmla="*/ 36 w 84"/>
                  <a:gd name="T49" fmla="*/ 54 h 72"/>
                  <a:gd name="T50" fmla="*/ 42 w 84"/>
                  <a:gd name="T51" fmla="*/ 54 h 72"/>
                  <a:gd name="T52" fmla="*/ 48 w 84"/>
                  <a:gd name="T53" fmla="*/ 42 h 7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84" h="72">
                    <a:moveTo>
                      <a:pt x="48" y="42"/>
                    </a:moveTo>
                    <a:lnTo>
                      <a:pt x="54" y="36"/>
                    </a:lnTo>
                    <a:lnTo>
                      <a:pt x="66" y="36"/>
                    </a:lnTo>
                    <a:lnTo>
                      <a:pt x="78" y="30"/>
                    </a:lnTo>
                    <a:lnTo>
                      <a:pt x="66" y="30"/>
                    </a:lnTo>
                    <a:lnTo>
                      <a:pt x="84" y="24"/>
                    </a:lnTo>
                    <a:lnTo>
                      <a:pt x="78" y="18"/>
                    </a:lnTo>
                    <a:lnTo>
                      <a:pt x="72" y="6"/>
                    </a:lnTo>
                    <a:lnTo>
                      <a:pt x="66" y="0"/>
                    </a:lnTo>
                    <a:lnTo>
                      <a:pt x="60" y="0"/>
                    </a:lnTo>
                    <a:lnTo>
                      <a:pt x="54" y="6"/>
                    </a:lnTo>
                    <a:lnTo>
                      <a:pt x="42" y="12"/>
                    </a:lnTo>
                    <a:lnTo>
                      <a:pt x="36" y="30"/>
                    </a:lnTo>
                    <a:lnTo>
                      <a:pt x="24" y="36"/>
                    </a:lnTo>
                    <a:lnTo>
                      <a:pt x="18" y="42"/>
                    </a:lnTo>
                    <a:lnTo>
                      <a:pt x="12" y="48"/>
                    </a:lnTo>
                    <a:lnTo>
                      <a:pt x="6" y="66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18" y="72"/>
                    </a:lnTo>
                    <a:lnTo>
                      <a:pt x="18" y="66"/>
                    </a:lnTo>
                    <a:lnTo>
                      <a:pt x="24" y="60"/>
                    </a:lnTo>
                    <a:lnTo>
                      <a:pt x="30" y="60"/>
                    </a:lnTo>
                    <a:lnTo>
                      <a:pt x="36" y="54"/>
                    </a:lnTo>
                    <a:lnTo>
                      <a:pt x="42" y="54"/>
                    </a:lnTo>
                    <a:lnTo>
                      <a:pt x="48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95" name="Group 538"/>
            <p:cNvGrpSpPr>
              <a:grpSpLocks/>
            </p:cNvGrpSpPr>
            <p:nvPr/>
          </p:nvGrpSpPr>
          <p:grpSpPr bwMode="auto">
            <a:xfrm>
              <a:off x="2937706" y="3206853"/>
              <a:ext cx="184511" cy="135528"/>
              <a:chOff x="2310" y="1416"/>
              <a:chExt cx="90" cy="78"/>
            </a:xfrm>
            <a:solidFill>
              <a:srgbClr val="0070C0">
                <a:alpha val="27059"/>
              </a:srgbClr>
            </a:solidFill>
          </p:grpSpPr>
          <p:sp>
            <p:nvSpPr>
              <p:cNvPr id="1079" name="Freeform 539"/>
              <p:cNvSpPr>
                <a:spLocks/>
              </p:cNvSpPr>
              <p:nvPr/>
            </p:nvSpPr>
            <p:spPr bwMode="auto">
              <a:xfrm>
                <a:off x="2310" y="1416"/>
                <a:ext cx="90" cy="78"/>
              </a:xfrm>
              <a:custGeom>
                <a:avLst/>
                <a:gdLst>
                  <a:gd name="T0" fmla="*/ 78 w 90"/>
                  <a:gd name="T1" fmla="*/ 18 h 78"/>
                  <a:gd name="T2" fmla="*/ 72 w 90"/>
                  <a:gd name="T3" fmla="*/ 24 h 78"/>
                  <a:gd name="T4" fmla="*/ 78 w 90"/>
                  <a:gd name="T5" fmla="*/ 24 h 78"/>
                  <a:gd name="T6" fmla="*/ 84 w 90"/>
                  <a:gd name="T7" fmla="*/ 24 h 78"/>
                  <a:gd name="T8" fmla="*/ 90 w 90"/>
                  <a:gd name="T9" fmla="*/ 30 h 78"/>
                  <a:gd name="T10" fmla="*/ 84 w 90"/>
                  <a:gd name="T11" fmla="*/ 30 h 78"/>
                  <a:gd name="T12" fmla="*/ 84 w 90"/>
                  <a:gd name="T13" fmla="*/ 30 h 78"/>
                  <a:gd name="T14" fmla="*/ 78 w 90"/>
                  <a:gd name="T15" fmla="*/ 36 h 78"/>
                  <a:gd name="T16" fmla="*/ 78 w 90"/>
                  <a:gd name="T17" fmla="*/ 36 h 78"/>
                  <a:gd name="T18" fmla="*/ 72 w 90"/>
                  <a:gd name="T19" fmla="*/ 36 h 78"/>
                  <a:gd name="T20" fmla="*/ 72 w 90"/>
                  <a:gd name="T21" fmla="*/ 48 h 78"/>
                  <a:gd name="T22" fmla="*/ 66 w 90"/>
                  <a:gd name="T23" fmla="*/ 54 h 78"/>
                  <a:gd name="T24" fmla="*/ 60 w 90"/>
                  <a:gd name="T25" fmla="*/ 54 h 78"/>
                  <a:gd name="T26" fmla="*/ 60 w 90"/>
                  <a:gd name="T27" fmla="*/ 72 h 78"/>
                  <a:gd name="T28" fmla="*/ 54 w 90"/>
                  <a:gd name="T29" fmla="*/ 78 h 78"/>
                  <a:gd name="T30" fmla="*/ 48 w 90"/>
                  <a:gd name="T31" fmla="*/ 78 h 78"/>
                  <a:gd name="T32" fmla="*/ 42 w 90"/>
                  <a:gd name="T33" fmla="*/ 72 h 78"/>
                  <a:gd name="T34" fmla="*/ 36 w 90"/>
                  <a:gd name="T35" fmla="*/ 72 h 78"/>
                  <a:gd name="T36" fmla="*/ 36 w 90"/>
                  <a:gd name="T37" fmla="*/ 72 h 78"/>
                  <a:gd name="T38" fmla="*/ 36 w 90"/>
                  <a:gd name="T39" fmla="*/ 66 h 78"/>
                  <a:gd name="T40" fmla="*/ 30 w 90"/>
                  <a:gd name="T41" fmla="*/ 66 h 78"/>
                  <a:gd name="T42" fmla="*/ 24 w 90"/>
                  <a:gd name="T43" fmla="*/ 66 h 78"/>
                  <a:gd name="T44" fmla="*/ 18 w 90"/>
                  <a:gd name="T45" fmla="*/ 66 h 78"/>
                  <a:gd name="T46" fmla="*/ 12 w 90"/>
                  <a:gd name="T47" fmla="*/ 60 h 78"/>
                  <a:gd name="T48" fmla="*/ 0 w 90"/>
                  <a:gd name="T49" fmla="*/ 60 h 78"/>
                  <a:gd name="T50" fmla="*/ 0 w 90"/>
                  <a:gd name="T51" fmla="*/ 54 h 78"/>
                  <a:gd name="T52" fmla="*/ 0 w 90"/>
                  <a:gd name="T53" fmla="*/ 54 h 78"/>
                  <a:gd name="T54" fmla="*/ 0 w 90"/>
                  <a:gd name="T55" fmla="*/ 48 h 78"/>
                  <a:gd name="T56" fmla="*/ 0 w 90"/>
                  <a:gd name="T57" fmla="*/ 42 h 78"/>
                  <a:gd name="T58" fmla="*/ 0 w 90"/>
                  <a:gd name="T59" fmla="*/ 36 h 78"/>
                  <a:gd name="T60" fmla="*/ 0 w 90"/>
                  <a:gd name="T61" fmla="*/ 30 h 78"/>
                  <a:gd name="T62" fmla="*/ 6 w 90"/>
                  <a:gd name="T63" fmla="*/ 30 h 78"/>
                  <a:gd name="T64" fmla="*/ 18 w 90"/>
                  <a:gd name="T65" fmla="*/ 30 h 78"/>
                  <a:gd name="T66" fmla="*/ 12 w 90"/>
                  <a:gd name="T67" fmla="*/ 30 h 78"/>
                  <a:gd name="T68" fmla="*/ 18 w 90"/>
                  <a:gd name="T69" fmla="*/ 36 h 78"/>
                  <a:gd name="T70" fmla="*/ 24 w 90"/>
                  <a:gd name="T71" fmla="*/ 36 h 78"/>
                  <a:gd name="T72" fmla="*/ 24 w 90"/>
                  <a:gd name="T73" fmla="*/ 36 h 78"/>
                  <a:gd name="T74" fmla="*/ 30 w 90"/>
                  <a:gd name="T75" fmla="*/ 30 h 78"/>
                  <a:gd name="T76" fmla="*/ 36 w 90"/>
                  <a:gd name="T77" fmla="*/ 30 h 78"/>
                  <a:gd name="T78" fmla="*/ 42 w 90"/>
                  <a:gd name="T79" fmla="*/ 24 h 78"/>
                  <a:gd name="T80" fmla="*/ 48 w 90"/>
                  <a:gd name="T81" fmla="*/ 18 h 78"/>
                  <a:gd name="T82" fmla="*/ 54 w 90"/>
                  <a:gd name="T83" fmla="*/ 18 h 78"/>
                  <a:gd name="T84" fmla="*/ 60 w 90"/>
                  <a:gd name="T85" fmla="*/ 6 h 78"/>
                  <a:gd name="T86" fmla="*/ 66 w 90"/>
                  <a:gd name="T87" fmla="*/ 0 h 78"/>
                  <a:gd name="T88" fmla="*/ 78 w 90"/>
                  <a:gd name="T89" fmla="*/ 0 h 78"/>
                  <a:gd name="T90" fmla="*/ 90 w 90"/>
                  <a:gd name="T91" fmla="*/ 0 h 78"/>
                  <a:gd name="T92" fmla="*/ 84 w 90"/>
                  <a:gd name="T93" fmla="*/ 0 h 78"/>
                  <a:gd name="T94" fmla="*/ 78 w 90"/>
                  <a:gd name="T95" fmla="*/ 6 h 78"/>
                  <a:gd name="T96" fmla="*/ 78 w 90"/>
                  <a:gd name="T97" fmla="*/ 18 h 7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90" h="78">
                    <a:moveTo>
                      <a:pt x="78" y="18"/>
                    </a:moveTo>
                    <a:lnTo>
                      <a:pt x="72" y="24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78" y="36"/>
                    </a:lnTo>
                    <a:lnTo>
                      <a:pt x="72" y="36"/>
                    </a:lnTo>
                    <a:lnTo>
                      <a:pt x="72" y="48"/>
                    </a:lnTo>
                    <a:lnTo>
                      <a:pt x="66" y="54"/>
                    </a:lnTo>
                    <a:lnTo>
                      <a:pt x="60" y="54"/>
                    </a:lnTo>
                    <a:lnTo>
                      <a:pt x="60" y="72"/>
                    </a:lnTo>
                    <a:lnTo>
                      <a:pt x="54" y="78"/>
                    </a:lnTo>
                    <a:lnTo>
                      <a:pt x="48" y="78"/>
                    </a:lnTo>
                    <a:lnTo>
                      <a:pt x="42" y="72"/>
                    </a:lnTo>
                    <a:lnTo>
                      <a:pt x="36" y="72"/>
                    </a:lnTo>
                    <a:lnTo>
                      <a:pt x="36" y="66"/>
                    </a:lnTo>
                    <a:lnTo>
                      <a:pt x="30" y="66"/>
                    </a:lnTo>
                    <a:lnTo>
                      <a:pt x="24" y="66"/>
                    </a:lnTo>
                    <a:lnTo>
                      <a:pt x="18" y="66"/>
                    </a:lnTo>
                    <a:lnTo>
                      <a:pt x="12" y="60"/>
                    </a:lnTo>
                    <a:lnTo>
                      <a:pt x="0" y="60"/>
                    </a:lnTo>
                    <a:lnTo>
                      <a:pt x="0" y="54"/>
                    </a:lnTo>
                    <a:lnTo>
                      <a:pt x="0" y="48"/>
                    </a:lnTo>
                    <a:lnTo>
                      <a:pt x="0" y="42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18" y="30"/>
                    </a:lnTo>
                    <a:lnTo>
                      <a:pt x="12" y="30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2" y="24"/>
                    </a:lnTo>
                    <a:lnTo>
                      <a:pt x="48" y="18"/>
                    </a:lnTo>
                    <a:lnTo>
                      <a:pt x="54" y="18"/>
                    </a:lnTo>
                    <a:lnTo>
                      <a:pt x="60" y="6"/>
                    </a:lnTo>
                    <a:lnTo>
                      <a:pt x="66" y="0"/>
                    </a:lnTo>
                    <a:lnTo>
                      <a:pt x="78" y="0"/>
                    </a:lnTo>
                    <a:lnTo>
                      <a:pt x="90" y="0"/>
                    </a:lnTo>
                    <a:lnTo>
                      <a:pt x="84" y="0"/>
                    </a:lnTo>
                    <a:lnTo>
                      <a:pt x="78" y="6"/>
                    </a:lnTo>
                    <a:lnTo>
                      <a:pt x="78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80" name="Freeform 540"/>
              <p:cNvSpPr>
                <a:spLocks/>
              </p:cNvSpPr>
              <p:nvPr/>
            </p:nvSpPr>
            <p:spPr bwMode="auto">
              <a:xfrm>
                <a:off x="2310" y="1416"/>
                <a:ext cx="90" cy="78"/>
              </a:xfrm>
              <a:custGeom>
                <a:avLst/>
                <a:gdLst>
                  <a:gd name="T0" fmla="*/ 78 w 90"/>
                  <a:gd name="T1" fmla="*/ 18 h 78"/>
                  <a:gd name="T2" fmla="*/ 72 w 90"/>
                  <a:gd name="T3" fmla="*/ 24 h 78"/>
                  <a:gd name="T4" fmla="*/ 78 w 90"/>
                  <a:gd name="T5" fmla="*/ 24 h 78"/>
                  <a:gd name="T6" fmla="*/ 84 w 90"/>
                  <a:gd name="T7" fmla="*/ 24 h 78"/>
                  <a:gd name="T8" fmla="*/ 90 w 90"/>
                  <a:gd name="T9" fmla="*/ 30 h 78"/>
                  <a:gd name="T10" fmla="*/ 84 w 90"/>
                  <a:gd name="T11" fmla="*/ 30 h 78"/>
                  <a:gd name="T12" fmla="*/ 78 w 90"/>
                  <a:gd name="T13" fmla="*/ 36 h 78"/>
                  <a:gd name="T14" fmla="*/ 72 w 90"/>
                  <a:gd name="T15" fmla="*/ 36 h 78"/>
                  <a:gd name="T16" fmla="*/ 72 w 90"/>
                  <a:gd name="T17" fmla="*/ 48 h 78"/>
                  <a:gd name="T18" fmla="*/ 66 w 90"/>
                  <a:gd name="T19" fmla="*/ 54 h 78"/>
                  <a:gd name="T20" fmla="*/ 60 w 90"/>
                  <a:gd name="T21" fmla="*/ 54 h 78"/>
                  <a:gd name="T22" fmla="*/ 60 w 90"/>
                  <a:gd name="T23" fmla="*/ 72 h 78"/>
                  <a:gd name="T24" fmla="*/ 54 w 90"/>
                  <a:gd name="T25" fmla="*/ 78 h 78"/>
                  <a:gd name="T26" fmla="*/ 48 w 90"/>
                  <a:gd name="T27" fmla="*/ 78 h 78"/>
                  <a:gd name="T28" fmla="*/ 42 w 90"/>
                  <a:gd name="T29" fmla="*/ 72 h 78"/>
                  <a:gd name="T30" fmla="*/ 36 w 90"/>
                  <a:gd name="T31" fmla="*/ 72 h 78"/>
                  <a:gd name="T32" fmla="*/ 36 w 90"/>
                  <a:gd name="T33" fmla="*/ 66 h 78"/>
                  <a:gd name="T34" fmla="*/ 30 w 90"/>
                  <a:gd name="T35" fmla="*/ 66 h 78"/>
                  <a:gd name="T36" fmla="*/ 24 w 90"/>
                  <a:gd name="T37" fmla="*/ 66 h 78"/>
                  <a:gd name="T38" fmla="*/ 18 w 90"/>
                  <a:gd name="T39" fmla="*/ 66 h 78"/>
                  <a:gd name="T40" fmla="*/ 12 w 90"/>
                  <a:gd name="T41" fmla="*/ 60 h 78"/>
                  <a:gd name="T42" fmla="*/ 0 w 90"/>
                  <a:gd name="T43" fmla="*/ 60 h 78"/>
                  <a:gd name="T44" fmla="*/ 0 w 90"/>
                  <a:gd name="T45" fmla="*/ 54 h 78"/>
                  <a:gd name="T46" fmla="*/ 0 w 90"/>
                  <a:gd name="T47" fmla="*/ 48 h 78"/>
                  <a:gd name="T48" fmla="*/ 0 w 90"/>
                  <a:gd name="T49" fmla="*/ 42 h 78"/>
                  <a:gd name="T50" fmla="*/ 0 w 90"/>
                  <a:gd name="T51" fmla="*/ 36 h 78"/>
                  <a:gd name="T52" fmla="*/ 0 w 90"/>
                  <a:gd name="T53" fmla="*/ 30 h 78"/>
                  <a:gd name="T54" fmla="*/ 6 w 90"/>
                  <a:gd name="T55" fmla="*/ 30 h 78"/>
                  <a:gd name="T56" fmla="*/ 18 w 90"/>
                  <a:gd name="T57" fmla="*/ 30 h 78"/>
                  <a:gd name="T58" fmla="*/ 12 w 90"/>
                  <a:gd name="T59" fmla="*/ 30 h 78"/>
                  <a:gd name="T60" fmla="*/ 18 w 90"/>
                  <a:gd name="T61" fmla="*/ 36 h 78"/>
                  <a:gd name="T62" fmla="*/ 24 w 90"/>
                  <a:gd name="T63" fmla="*/ 36 h 78"/>
                  <a:gd name="T64" fmla="*/ 30 w 90"/>
                  <a:gd name="T65" fmla="*/ 30 h 78"/>
                  <a:gd name="T66" fmla="*/ 36 w 90"/>
                  <a:gd name="T67" fmla="*/ 30 h 78"/>
                  <a:gd name="T68" fmla="*/ 42 w 90"/>
                  <a:gd name="T69" fmla="*/ 24 h 78"/>
                  <a:gd name="T70" fmla="*/ 48 w 90"/>
                  <a:gd name="T71" fmla="*/ 18 h 78"/>
                  <a:gd name="T72" fmla="*/ 54 w 90"/>
                  <a:gd name="T73" fmla="*/ 18 h 78"/>
                  <a:gd name="T74" fmla="*/ 60 w 90"/>
                  <a:gd name="T75" fmla="*/ 6 h 78"/>
                  <a:gd name="T76" fmla="*/ 66 w 90"/>
                  <a:gd name="T77" fmla="*/ 0 h 78"/>
                  <a:gd name="T78" fmla="*/ 78 w 90"/>
                  <a:gd name="T79" fmla="*/ 0 h 78"/>
                  <a:gd name="T80" fmla="*/ 90 w 90"/>
                  <a:gd name="T81" fmla="*/ 0 h 78"/>
                  <a:gd name="T82" fmla="*/ 84 w 90"/>
                  <a:gd name="T83" fmla="*/ 0 h 78"/>
                  <a:gd name="T84" fmla="*/ 78 w 90"/>
                  <a:gd name="T85" fmla="*/ 6 h 78"/>
                  <a:gd name="T86" fmla="*/ 78 w 90"/>
                  <a:gd name="T87" fmla="*/ 18 h 7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90" h="78">
                    <a:moveTo>
                      <a:pt x="78" y="18"/>
                    </a:moveTo>
                    <a:lnTo>
                      <a:pt x="72" y="24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78" y="36"/>
                    </a:lnTo>
                    <a:lnTo>
                      <a:pt x="72" y="36"/>
                    </a:lnTo>
                    <a:lnTo>
                      <a:pt x="72" y="48"/>
                    </a:lnTo>
                    <a:lnTo>
                      <a:pt x="66" y="54"/>
                    </a:lnTo>
                    <a:lnTo>
                      <a:pt x="60" y="54"/>
                    </a:lnTo>
                    <a:lnTo>
                      <a:pt x="60" y="72"/>
                    </a:lnTo>
                    <a:lnTo>
                      <a:pt x="54" y="78"/>
                    </a:lnTo>
                    <a:lnTo>
                      <a:pt x="48" y="78"/>
                    </a:lnTo>
                    <a:lnTo>
                      <a:pt x="42" y="72"/>
                    </a:lnTo>
                    <a:lnTo>
                      <a:pt x="36" y="72"/>
                    </a:lnTo>
                    <a:lnTo>
                      <a:pt x="36" y="66"/>
                    </a:lnTo>
                    <a:lnTo>
                      <a:pt x="30" y="66"/>
                    </a:lnTo>
                    <a:lnTo>
                      <a:pt x="24" y="66"/>
                    </a:lnTo>
                    <a:lnTo>
                      <a:pt x="18" y="66"/>
                    </a:lnTo>
                    <a:lnTo>
                      <a:pt x="12" y="60"/>
                    </a:lnTo>
                    <a:lnTo>
                      <a:pt x="0" y="60"/>
                    </a:lnTo>
                    <a:lnTo>
                      <a:pt x="0" y="54"/>
                    </a:lnTo>
                    <a:lnTo>
                      <a:pt x="0" y="48"/>
                    </a:lnTo>
                    <a:lnTo>
                      <a:pt x="0" y="42"/>
                    </a:lnTo>
                    <a:lnTo>
                      <a:pt x="0" y="36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18" y="30"/>
                    </a:lnTo>
                    <a:lnTo>
                      <a:pt x="12" y="30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2" y="24"/>
                    </a:lnTo>
                    <a:lnTo>
                      <a:pt x="48" y="18"/>
                    </a:lnTo>
                    <a:lnTo>
                      <a:pt x="54" y="18"/>
                    </a:lnTo>
                    <a:lnTo>
                      <a:pt x="60" y="6"/>
                    </a:lnTo>
                    <a:lnTo>
                      <a:pt x="66" y="0"/>
                    </a:lnTo>
                    <a:lnTo>
                      <a:pt x="78" y="0"/>
                    </a:lnTo>
                    <a:lnTo>
                      <a:pt x="90" y="0"/>
                    </a:lnTo>
                    <a:lnTo>
                      <a:pt x="84" y="0"/>
                    </a:lnTo>
                    <a:lnTo>
                      <a:pt x="78" y="6"/>
                    </a:lnTo>
                    <a:lnTo>
                      <a:pt x="78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96" name="Group 541"/>
            <p:cNvGrpSpPr>
              <a:grpSpLocks/>
            </p:cNvGrpSpPr>
            <p:nvPr/>
          </p:nvGrpSpPr>
          <p:grpSpPr bwMode="auto">
            <a:xfrm>
              <a:off x="3546976" y="3310017"/>
              <a:ext cx="196043" cy="133505"/>
              <a:chOff x="2610" y="1476"/>
              <a:chExt cx="96" cy="78"/>
            </a:xfrm>
            <a:solidFill>
              <a:srgbClr val="0070C0">
                <a:alpha val="27059"/>
              </a:srgbClr>
            </a:solidFill>
          </p:grpSpPr>
          <p:sp>
            <p:nvSpPr>
              <p:cNvPr id="1077" name="Freeform 542"/>
              <p:cNvSpPr>
                <a:spLocks/>
              </p:cNvSpPr>
              <p:nvPr/>
            </p:nvSpPr>
            <p:spPr bwMode="auto">
              <a:xfrm>
                <a:off x="2610" y="1476"/>
                <a:ext cx="96" cy="78"/>
              </a:xfrm>
              <a:custGeom>
                <a:avLst/>
                <a:gdLst>
                  <a:gd name="T0" fmla="*/ 60 w 96"/>
                  <a:gd name="T1" fmla="*/ 30 h 78"/>
                  <a:gd name="T2" fmla="*/ 54 w 96"/>
                  <a:gd name="T3" fmla="*/ 24 h 78"/>
                  <a:gd name="T4" fmla="*/ 54 w 96"/>
                  <a:gd name="T5" fmla="*/ 24 h 78"/>
                  <a:gd name="T6" fmla="*/ 30 w 96"/>
                  <a:gd name="T7" fmla="*/ 6 h 78"/>
                  <a:gd name="T8" fmla="*/ 18 w 96"/>
                  <a:gd name="T9" fmla="*/ 6 h 78"/>
                  <a:gd name="T10" fmla="*/ 6 w 96"/>
                  <a:gd name="T11" fmla="*/ 0 h 78"/>
                  <a:gd name="T12" fmla="*/ 0 w 96"/>
                  <a:gd name="T13" fmla="*/ 60 h 78"/>
                  <a:gd name="T14" fmla="*/ 12 w 96"/>
                  <a:gd name="T15" fmla="*/ 66 h 78"/>
                  <a:gd name="T16" fmla="*/ 24 w 96"/>
                  <a:gd name="T17" fmla="*/ 60 h 78"/>
                  <a:gd name="T18" fmla="*/ 24 w 96"/>
                  <a:gd name="T19" fmla="*/ 54 h 78"/>
                  <a:gd name="T20" fmla="*/ 30 w 96"/>
                  <a:gd name="T21" fmla="*/ 48 h 78"/>
                  <a:gd name="T22" fmla="*/ 42 w 96"/>
                  <a:gd name="T23" fmla="*/ 54 h 78"/>
                  <a:gd name="T24" fmla="*/ 60 w 96"/>
                  <a:gd name="T25" fmla="*/ 60 h 78"/>
                  <a:gd name="T26" fmla="*/ 66 w 96"/>
                  <a:gd name="T27" fmla="*/ 72 h 78"/>
                  <a:gd name="T28" fmla="*/ 78 w 96"/>
                  <a:gd name="T29" fmla="*/ 78 h 78"/>
                  <a:gd name="T30" fmla="*/ 96 w 96"/>
                  <a:gd name="T31" fmla="*/ 78 h 78"/>
                  <a:gd name="T32" fmla="*/ 96 w 96"/>
                  <a:gd name="T33" fmla="*/ 78 h 78"/>
                  <a:gd name="T34" fmla="*/ 96 w 96"/>
                  <a:gd name="T35" fmla="*/ 78 h 78"/>
                  <a:gd name="T36" fmla="*/ 96 w 96"/>
                  <a:gd name="T37" fmla="*/ 72 h 78"/>
                  <a:gd name="T38" fmla="*/ 72 w 96"/>
                  <a:gd name="T39" fmla="*/ 54 h 78"/>
                  <a:gd name="T40" fmla="*/ 60 w 96"/>
                  <a:gd name="T41" fmla="*/ 42 h 78"/>
                  <a:gd name="T42" fmla="*/ 72 w 96"/>
                  <a:gd name="T43" fmla="*/ 42 h 78"/>
                  <a:gd name="T44" fmla="*/ 72 w 96"/>
                  <a:gd name="T45" fmla="*/ 36 h 78"/>
                  <a:gd name="T46" fmla="*/ 66 w 96"/>
                  <a:gd name="T47" fmla="*/ 30 h 78"/>
                  <a:gd name="T48" fmla="*/ 60 w 96"/>
                  <a:gd name="T49" fmla="*/ 30 h 78"/>
                  <a:gd name="T50" fmla="*/ 60 w 96"/>
                  <a:gd name="T51" fmla="*/ 30 h 7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96" h="78">
                    <a:moveTo>
                      <a:pt x="60" y="30"/>
                    </a:moveTo>
                    <a:lnTo>
                      <a:pt x="54" y="24"/>
                    </a:lnTo>
                    <a:lnTo>
                      <a:pt x="30" y="6"/>
                    </a:lnTo>
                    <a:lnTo>
                      <a:pt x="18" y="6"/>
                    </a:lnTo>
                    <a:lnTo>
                      <a:pt x="6" y="0"/>
                    </a:lnTo>
                    <a:lnTo>
                      <a:pt x="0" y="60"/>
                    </a:lnTo>
                    <a:lnTo>
                      <a:pt x="12" y="66"/>
                    </a:lnTo>
                    <a:lnTo>
                      <a:pt x="24" y="60"/>
                    </a:lnTo>
                    <a:lnTo>
                      <a:pt x="24" y="54"/>
                    </a:lnTo>
                    <a:lnTo>
                      <a:pt x="30" y="48"/>
                    </a:lnTo>
                    <a:lnTo>
                      <a:pt x="42" y="54"/>
                    </a:lnTo>
                    <a:lnTo>
                      <a:pt x="60" y="60"/>
                    </a:lnTo>
                    <a:lnTo>
                      <a:pt x="66" y="72"/>
                    </a:lnTo>
                    <a:lnTo>
                      <a:pt x="78" y="78"/>
                    </a:lnTo>
                    <a:lnTo>
                      <a:pt x="96" y="78"/>
                    </a:lnTo>
                    <a:lnTo>
                      <a:pt x="96" y="72"/>
                    </a:lnTo>
                    <a:lnTo>
                      <a:pt x="72" y="54"/>
                    </a:lnTo>
                    <a:lnTo>
                      <a:pt x="60" y="42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66" y="30"/>
                    </a:lnTo>
                    <a:lnTo>
                      <a:pt x="6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78" name="Freeform 543"/>
              <p:cNvSpPr>
                <a:spLocks/>
              </p:cNvSpPr>
              <p:nvPr/>
            </p:nvSpPr>
            <p:spPr bwMode="auto">
              <a:xfrm>
                <a:off x="2610" y="1476"/>
                <a:ext cx="96" cy="78"/>
              </a:xfrm>
              <a:custGeom>
                <a:avLst/>
                <a:gdLst>
                  <a:gd name="T0" fmla="*/ 60 w 96"/>
                  <a:gd name="T1" fmla="*/ 30 h 78"/>
                  <a:gd name="T2" fmla="*/ 54 w 96"/>
                  <a:gd name="T3" fmla="*/ 24 h 78"/>
                  <a:gd name="T4" fmla="*/ 30 w 96"/>
                  <a:gd name="T5" fmla="*/ 6 h 78"/>
                  <a:gd name="T6" fmla="*/ 18 w 96"/>
                  <a:gd name="T7" fmla="*/ 6 h 78"/>
                  <a:gd name="T8" fmla="*/ 6 w 96"/>
                  <a:gd name="T9" fmla="*/ 0 h 78"/>
                  <a:gd name="T10" fmla="*/ 0 w 96"/>
                  <a:gd name="T11" fmla="*/ 60 h 78"/>
                  <a:gd name="T12" fmla="*/ 12 w 96"/>
                  <a:gd name="T13" fmla="*/ 66 h 78"/>
                  <a:gd name="T14" fmla="*/ 24 w 96"/>
                  <a:gd name="T15" fmla="*/ 60 h 78"/>
                  <a:gd name="T16" fmla="*/ 24 w 96"/>
                  <a:gd name="T17" fmla="*/ 54 h 78"/>
                  <a:gd name="T18" fmla="*/ 30 w 96"/>
                  <a:gd name="T19" fmla="*/ 48 h 78"/>
                  <a:gd name="T20" fmla="*/ 42 w 96"/>
                  <a:gd name="T21" fmla="*/ 54 h 78"/>
                  <a:gd name="T22" fmla="*/ 60 w 96"/>
                  <a:gd name="T23" fmla="*/ 60 h 78"/>
                  <a:gd name="T24" fmla="*/ 66 w 96"/>
                  <a:gd name="T25" fmla="*/ 72 h 78"/>
                  <a:gd name="T26" fmla="*/ 78 w 96"/>
                  <a:gd name="T27" fmla="*/ 78 h 78"/>
                  <a:gd name="T28" fmla="*/ 96 w 96"/>
                  <a:gd name="T29" fmla="*/ 78 h 78"/>
                  <a:gd name="T30" fmla="*/ 96 w 96"/>
                  <a:gd name="T31" fmla="*/ 72 h 78"/>
                  <a:gd name="T32" fmla="*/ 72 w 96"/>
                  <a:gd name="T33" fmla="*/ 54 h 78"/>
                  <a:gd name="T34" fmla="*/ 60 w 96"/>
                  <a:gd name="T35" fmla="*/ 42 h 78"/>
                  <a:gd name="T36" fmla="*/ 72 w 96"/>
                  <a:gd name="T37" fmla="*/ 42 h 78"/>
                  <a:gd name="T38" fmla="*/ 72 w 96"/>
                  <a:gd name="T39" fmla="*/ 36 h 78"/>
                  <a:gd name="T40" fmla="*/ 66 w 96"/>
                  <a:gd name="T41" fmla="*/ 30 h 78"/>
                  <a:gd name="T42" fmla="*/ 60 w 96"/>
                  <a:gd name="T43" fmla="*/ 30 h 7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96" h="78">
                    <a:moveTo>
                      <a:pt x="60" y="30"/>
                    </a:moveTo>
                    <a:lnTo>
                      <a:pt x="54" y="24"/>
                    </a:lnTo>
                    <a:lnTo>
                      <a:pt x="30" y="6"/>
                    </a:lnTo>
                    <a:lnTo>
                      <a:pt x="18" y="6"/>
                    </a:lnTo>
                    <a:lnTo>
                      <a:pt x="6" y="0"/>
                    </a:lnTo>
                    <a:lnTo>
                      <a:pt x="0" y="60"/>
                    </a:lnTo>
                    <a:lnTo>
                      <a:pt x="12" y="66"/>
                    </a:lnTo>
                    <a:lnTo>
                      <a:pt x="24" y="60"/>
                    </a:lnTo>
                    <a:lnTo>
                      <a:pt x="24" y="54"/>
                    </a:lnTo>
                    <a:lnTo>
                      <a:pt x="30" y="48"/>
                    </a:lnTo>
                    <a:lnTo>
                      <a:pt x="42" y="54"/>
                    </a:lnTo>
                    <a:lnTo>
                      <a:pt x="60" y="60"/>
                    </a:lnTo>
                    <a:lnTo>
                      <a:pt x="66" y="72"/>
                    </a:lnTo>
                    <a:lnTo>
                      <a:pt x="78" y="78"/>
                    </a:lnTo>
                    <a:lnTo>
                      <a:pt x="96" y="78"/>
                    </a:lnTo>
                    <a:lnTo>
                      <a:pt x="96" y="72"/>
                    </a:lnTo>
                    <a:lnTo>
                      <a:pt x="72" y="54"/>
                    </a:lnTo>
                    <a:lnTo>
                      <a:pt x="60" y="42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66" y="30"/>
                    </a:lnTo>
                    <a:lnTo>
                      <a:pt x="6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97" name="Group 544"/>
            <p:cNvGrpSpPr>
              <a:grpSpLocks/>
            </p:cNvGrpSpPr>
            <p:nvPr/>
          </p:nvGrpSpPr>
          <p:grpSpPr bwMode="auto">
            <a:xfrm>
              <a:off x="3364387" y="3269560"/>
              <a:ext cx="196043" cy="145642"/>
              <a:chOff x="2520" y="1452"/>
              <a:chExt cx="96" cy="84"/>
            </a:xfrm>
            <a:solidFill>
              <a:srgbClr val="0070C0">
                <a:alpha val="27059"/>
              </a:srgbClr>
            </a:solidFill>
          </p:grpSpPr>
          <p:sp>
            <p:nvSpPr>
              <p:cNvPr id="1075" name="Freeform 545"/>
              <p:cNvSpPr>
                <a:spLocks/>
              </p:cNvSpPr>
              <p:nvPr/>
            </p:nvSpPr>
            <p:spPr bwMode="auto">
              <a:xfrm>
                <a:off x="2520" y="1452"/>
                <a:ext cx="96" cy="84"/>
              </a:xfrm>
              <a:custGeom>
                <a:avLst/>
                <a:gdLst>
                  <a:gd name="T0" fmla="*/ 96 w 96"/>
                  <a:gd name="T1" fmla="*/ 24 h 84"/>
                  <a:gd name="T2" fmla="*/ 72 w 96"/>
                  <a:gd name="T3" fmla="*/ 12 h 84"/>
                  <a:gd name="T4" fmla="*/ 66 w 96"/>
                  <a:gd name="T5" fmla="*/ 12 h 84"/>
                  <a:gd name="T6" fmla="*/ 54 w 96"/>
                  <a:gd name="T7" fmla="*/ 18 h 84"/>
                  <a:gd name="T8" fmla="*/ 54 w 96"/>
                  <a:gd name="T9" fmla="*/ 24 h 84"/>
                  <a:gd name="T10" fmla="*/ 54 w 96"/>
                  <a:gd name="T11" fmla="*/ 30 h 84"/>
                  <a:gd name="T12" fmla="*/ 48 w 96"/>
                  <a:gd name="T13" fmla="*/ 36 h 84"/>
                  <a:gd name="T14" fmla="*/ 42 w 96"/>
                  <a:gd name="T15" fmla="*/ 36 h 84"/>
                  <a:gd name="T16" fmla="*/ 36 w 96"/>
                  <a:gd name="T17" fmla="*/ 36 h 84"/>
                  <a:gd name="T18" fmla="*/ 36 w 96"/>
                  <a:gd name="T19" fmla="*/ 30 h 84"/>
                  <a:gd name="T20" fmla="*/ 30 w 96"/>
                  <a:gd name="T21" fmla="*/ 30 h 84"/>
                  <a:gd name="T22" fmla="*/ 24 w 96"/>
                  <a:gd name="T23" fmla="*/ 12 h 84"/>
                  <a:gd name="T24" fmla="*/ 18 w 96"/>
                  <a:gd name="T25" fmla="*/ 6 h 84"/>
                  <a:gd name="T26" fmla="*/ 12 w 96"/>
                  <a:gd name="T27" fmla="*/ 0 h 84"/>
                  <a:gd name="T28" fmla="*/ 6 w 96"/>
                  <a:gd name="T29" fmla="*/ 6 h 84"/>
                  <a:gd name="T30" fmla="*/ 0 w 96"/>
                  <a:gd name="T31" fmla="*/ 6 h 84"/>
                  <a:gd name="T32" fmla="*/ 0 w 96"/>
                  <a:gd name="T33" fmla="*/ 12 h 84"/>
                  <a:gd name="T34" fmla="*/ 0 w 96"/>
                  <a:gd name="T35" fmla="*/ 12 h 84"/>
                  <a:gd name="T36" fmla="*/ 6 w 96"/>
                  <a:gd name="T37" fmla="*/ 18 h 84"/>
                  <a:gd name="T38" fmla="*/ 12 w 96"/>
                  <a:gd name="T39" fmla="*/ 30 h 84"/>
                  <a:gd name="T40" fmla="*/ 12 w 96"/>
                  <a:gd name="T41" fmla="*/ 36 h 84"/>
                  <a:gd name="T42" fmla="*/ 18 w 96"/>
                  <a:gd name="T43" fmla="*/ 42 h 84"/>
                  <a:gd name="T44" fmla="*/ 18 w 96"/>
                  <a:gd name="T45" fmla="*/ 42 h 84"/>
                  <a:gd name="T46" fmla="*/ 24 w 96"/>
                  <a:gd name="T47" fmla="*/ 36 h 84"/>
                  <a:gd name="T48" fmla="*/ 36 w 96"/>
                  <a:gd name="T49" fmla="*/ 42 h 84"/>
                  <a:gd name="T50" fmla="*/ 48 w 96"/>
                  <a:gd name="T51" fmla="*/ 42 h 84"/>
                  <a:gd name="T52" fmla="*/ 54 w 96"/>
                  <a:gd name="T53" fmla="*/ 48 h 84"/>
                  <a:gd name="T54" fmla="*/ 66 w 96"/>
                  <a:gd name="T55" fmla="*/ 54 h 84"/>
                  <a:gd name="T56" fmla="*/ 78 w 96"/>
                  <a:gd name="T57" fmla="*/ 72 h 84"/>
                  <a:gd name="T58" fmla="*/ 84 w 96"/>
                  <a:gd name="T59" fmla="*/ 84 h 84"/>
                  <a:gd name="T60" fmla="*/ 90 w 96"/>
                  <a:gd name="T61" fmla="*/ 84 h 84"/>
                  <a:gd name="T62" fmla="*/ 96 w 96"/>
                  <a:gd name="T63" fmla="*/ 24 h 8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96" h="84">
                    <a:moveTo>
                      <a:pt x="96" y="24"/>
                    </a:moveTo>
                    <a:lnTo>
                      <a:pt x="72" y="12"/>
                    </a:lnTo>
                    <a:lnTo>
                      <a:pt x="66" y="12"/>
                    </a:lnTo>
                    <a:lnTo>
                      <a:pt x="54" y="18"/>
                    </a:lnTo>
                    <a:lnTo>
                      <a:pt x="54" y="24"/>
                    </a:lnTo>
                    <a:lnTo>
                      <a:pt x="54" y="30"/>
                    </a:lnTo>
                    <a:lnTo>
                      <a:pt x="48" y="36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12" y="0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12" y="30"/>
                    </a:lnTo>
                    <a:lnTo>
                      <a:pt x="12" y="36"/>
                    </a:lnTo>
                    <a:lnTo>
                      <a:pt x="18" y="42"/>
                    </a:lnTo>
                    <a:lnTo>
                      <a:pt x="24" y="36"/>
                    </a:lnTo>
                    <a:lnTo>
                      <a:pt x="36" y="42"/>
                    </a:lnTo>
                    <a:lnTo>
                      <a:pt x="48" y="42"/>
                    </a:lnTo>
                    <a:lnTo>
                      <a:pt x="54" y="48"/>
                    </a:lnTo>
                    <a:lnTo>
                      <a:pt x="66" y="54"/>
                    </a:lnTo>
                    <a:lnTo>
                      <a:pt x="78" y="72"/>
                    </a:lnTo>
                    <a:lnTo>
                      <a:pt x="84" y="84"/>
                    </a:lnTo>
                    <a:lnTo>
                      <a:pt x="90" y="84"/>
                    </a:lnTo>
                    <a:lnTo>
                      <a:pt x="9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76" name="Freeform 546"/>
              <p:cNvSpPr>
                <a:spLocks/>
              </p:cNvSpPr>
              <p:nvPr/>
            </p:nvSpPr>
            <p:spPr bwMode="auto">
              <a:xfrm>
                <a:off x="2520" y="1452"/>
                <a:ext cx="96" cy="84"/>
              </a:xfrm>
              <a:custGeom>
                <a:avLst/>
                <a:gdLst>
                  <a:gd name="T0" fmla="*/ 96 w 96"/>
                  <a:gd name="T1" fmla="*/ 24 h 84"/>
                  <a:gd name="T2" fmla="*/ 72 w 96"/>
                  <a:gd name="T3" fmla="*/ 12 h 84"/>
                  <a:gd name="T4" fmla="*/ 66 w 96"/>
                  <a:gd name="T5" fmla="*/ 12 h 84"/>
                  <a:gd name="T6" fmla="*/ 54 w 96"/>
                  <a:gd name="T7" fmla="*/ 18 h 84"/>
                  <a:gd name="T8" fmla="*/ 54 w 96"/>
                  <a:gd name="T9" fmla="*/ 24 h 84"/>
                  <a:gd name="T10" fmla="*/ 54 w 96"/>
                  <a:gd name="T11" fmla="*/ 30 h 84"/>
                  <a:gd name="T12" fmla="*/ 48 w 96"/>
                  <a:gd name="T13" fmla="*/ 36 h 84"/>
                  <a:gd name="T14" fmla="*/ 42 w 96"/>
                  <a:gd name="T15" fmla="*/ 36 h 84"/>
                  <a:gd name="T16" fmla="*/ 36 w 96"/>
                  <a:gd name="T17" fmla="*/ 36 h 84"/>
                  <a:gd name="T18" fmla="*/ 36 w 96"/>
                  <a:gd name="T19" fmla="*/ 30 h 84"/>
                  <a:gd name="T20" fmla="*/ 30 w 96"/>
                  <a:gd name="T21" fmla="*/ 30 h 84"/>
                  <a:gd name="T22" fmla="*/ 24 w 96"/>
                  <a:gd name="T23" fmla="*/ 12 h 84"/>
                  <a:gd name="T24" fmla="*/ 18 w 96"/>
                  <a:gd name="T25" fmla="*/ 6 h 84"/>
                  <a:gd name="T26" fmla="*/ 12 w 96"/>
                  <a:gd name="T27" fmla="*/ 0 h 84"/>
                  <a:gd name="T28" fmla="*/ 6 w 96"/>
                  <a:gd name="T29" fmla="*/ 6 h 84"/>
                  <a:gd name="T30" fmla="*/ 0 w 96"/>
                  <a:gd name="T31" fmla="*/ 6 h 84"/>
                  <a:gd name="T32" fmla="*/ 0 w 96"/>
                  <a:gd name="T33" fmla="*/ 12 h 84"/>
                  <a:gd name="T34" fmla="*/ 6 w 96"/>
                  <a:gd name="T35" fmla="*/ 18 h 84"/>
                  <a:gd name="T36" fmla="*/ 12 w 96"/>
                  <a:gd name="T37" fmla="*/ 30 h 84"/>
                  <a:gd name="T38" fmla="*/ 12 w 96"/>
                  <a:gd name="T39" fmla="*/ 36 h 84"/>
                  <a:gd name="T40" fmla="*/ 18 w 96"/>
                  <a:gd name="T41" fmla="*/ 42 h 84"/>
                  <a:gd name="T42" fmla="*/ 24 w 96"/>
                  <a:gd name="T43" fmla="*/ 36 h 84"/>
                  <a:gd name="T44" fmla="*/ 36 w 96"/>
                  <a:gd name="T45" fmla="*/ 42 h 84"/>
                  <a:gd name="T46" fmla="*/ 48 w 96"/>
                  <a:gd name="T47" fmla="*/ 42 h 84"/>
                  <a:gd name="T48" fmla="*/ 54 w 96"/>
                  <a:gd name="T49" fmla="*/ 48 h 84"/>
                  <a:gd name="T50" fmla="*/ 66 w 96"/>
                  <a:gd name="T51" fmla="*/ 54 h 84"/>
                  <a:gd name="T52" fmla="*/ 78 w 96"/>
                  <a:gd name="T53" fmla="*/ 72 h 84"/>
                  <a:gd name="T54" fmla="*/ 84 w 96"/>
                  <a:gd name="T55" fmla="*/ 84 h 84"/>
                  <a:gd name="T56" fmla="*/ 90 w 96"/>
                  <a:gd name="T57" fmla="*/ 84 h 84"/>
                  <a:gd name="T58" fmla="*/ 96 w 96"/>
                  <a:gd name="T59" fmla="*/ 24 h 84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96" h="84">
                    <a:moveTo>
                      <a:pt x="96" y="24"/>
                    </a:moveTo>
                    <a:lnTo>
                      <a:pt x="72" y="12"/>
                    </a:lnTo>
                    <a:lnTo>
                      <a:pt x="66" y="12"/>
                    </a:lnTo>
                    <a:lnTo>
                      <a:pt x="54" y="18"/>
                    </a:lnTo>
                    <a:lnTo>
                      <a:pt x="54" y="24"/>
                    </a:lnTo>
                    <a:lnTo>
                      <a:pt x="54" y="30"/>
                    </a:lnTo>
                    <a:lnTo>
                      <a:pt x="48" y="36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12" y="0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12" y="30"/>
                    </a:lnTo>
                    <a:lnTo>
                      <a:pt x="12" y="36"/>
                    </a:lnTo>
                    <a:lnTo>
                      <a:pt x="18" y="42"/>
                    </a:lnTo>
                    <a:lnTo>
                      <a:pt x="24" y="36"/>
                    </a:lnTo>
                    <a:lnTo>
                      <a:pt x="36" y="42"/>
                    </a:lnTo>
                    <a:lnTo>
                      <a:pt x="48" y="42"/>
                    </a:lnTo>
                    <a:lnTo>
                      <a:pt x="54" y="48"/>
                    </a:lnTo>
                    <a:lnTo>
                      <a:pt x="66" y="54"/>
                    </a:lnTo>
                    <a:lnTo>
                      <a:pt x="78" y="72"/>
                    </a:lnTo>
                    <a:lnTo>
                      <a:pt x="84" y="84"/>
                    </a:lnTo>
                    <a:lnTo>
                      <a:pt x="90" y="84"/>
                    </a:lnTo>
                    <a:lnTo>
                      <a:pt x="9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98" name="Group 547"/>
            <p:cNvGrpSpPr>
              <a:grpSpLocks/>
            </p:cNvGrpSpPr>
            <p:nvPr/>
          </p:nvGrpSpPr>
          <p:grpSpPr bwMode="auto">
            <a:xfrm>
              <a:off x="3024196" y="3508252"/>
              <a:ext cx="768795" cy="527953"/>
              <a:chOff x="2352" y="1588"/>
              <a:chExt cx="378" cy="308"/>
            </a:xfrm>
            <a:solidFill>
              <a:srgbClr val="0070C0">
                <a:alpha val="27059"/>
              </a:srgbClr>
            </a:solidFill>
          </p:grpSpPr>
          <p:sp>
            <p:nvSpPr>
              <p:cNvPr id="1073" name="Freeform 548"/>
              <p:cNvSpPr>
                <a:spLocks/>
              </p:cNvSpPr>
              <p:nvPr/>
            </p:nvSpPr>
            <p:spPr bwMode="auto">
              <a:xfrm>
                <a:off x="2352" y="1590"/>
                <a:ext cx="378" cy="306"/>
              </a:xfrm>
              <a:custGeom>
                <a:avLst/>
                <a:gdLst>
                  <a:gd name="T0" fmla="*/ 66 w 378"/>
                  <a:gd name="T1" fmla="*/ 96 h 306"/>
                  <a:gd name="T2" fmla="*/ 78 w 378"/>
                  <a:gd name="T3" fmla="*/ 78 h 306"/>
                  <a:gd name="T4" fmla="*/ 90 w 378"/>
                  <a:gd name="T5" fmla="*/ 60 h 306"/>
                  <a:gd name="T6" fmla="*/ 96 w 378"/>
                  <a:gd name="T7" fmla="*/ 54 h 306"/>
                  <a:gd name="T8" fmla="*/ 114 w 378"/>
                  <a:gd name="T9" fmla="*/ 36 h 306"/>
                  <a:gd name="T10" fmla="*/ 138 w 378"/>
                  <a:gd name="T11" fmla="*/ 42 h 306"/>
                  <a:gd name="T12" fmla="*/ 150 w 378"/>
                  <a:gd name="T13" fmla="*/ 42 h 306"/>
                  <a:gd name="T14" fmla="*/ 144 w 378"/>
                  <a:gd name="T15" fmla="*/ 30 h 306"/>
                  <a:gd name="T16" fmla="*/ 150 w 378"/>
                  <a:gd name="T17" fmla="*/ 24 h 306"/>
                  <a:gd name="T18" fmla="*/ 156 w 378"/>
                  <a:gd name="T19" fmla="*/ 12 h 306"/>
                  <a:gd name="T20" fmla="*/ 174 w 378"/>
                  <a:gd name="T21" fmla="*/ 6 h 306"/>
                  <a:gd name="T22" fmla="*/ 168 w 378"/>
                  <a:gd name="T23" fmla="*/ 0 h 306"/>
                  <a:gd name="T24" fmla="*/ 186 w 378"/>
                  <a:gd name="T25" fmla="*/ 0 h 306"/>
                  <a:gd name="T26" fmla="*/ 186 w 378"/>
                  <a:gd name="T27" fmla="*/ 6 h 306"/>
                  <a:gd name="T28" fmla="*/ 192 w 378"/>
                  <a:gd name="T29" fmla="*/ 0 h 306"/>
                  <a:gd name="T30" fmla="*/ 198 w 378"/>
                  <a:gd name="T31" fmla="*/ 12 h 306"/>
                  <a:gd name="T32" fmla="*/ 222 w 378"/>
                  <a:gd name="T33" fmla="*/ 12 h 306"/>
                  <a:gd name="T34" fmla="*/ 222 w 378"/>
                  <a:gd name="T35" fmla="*/ 24 h 306"/>
                  <a:gd name="T36" fmla="*/ 228 w 378"/>
                  <a:gd name="T37" fmla="*/ 48 h 306"/>
                  <a:gd name="T38" fmla="*/ 252 w 378"/>
                  <a:gd name="T39" fmla="*/ 60 h 306"/>
                  <a:gd name="T40" fmla="*/ 264 w 378"/>
                  <a:gd name="T41" fmla="*/ 30 h 306"/>
                  <a:gd name="T42" fmla="*/ 270 w 378"/>
                  <a:gd name="T43" fmla="*/ 0 h 306"/>
                  <a:gd name="T44" fmla="*/ 282 w 378"/>
                  <a:gd name="T45" fmla="*/ 6 h 306"/>
                  <a:gd name="T46" fmla="*/ 282 w 378"/>
                  <a:gd name="T47" fmla="*/ 30 h 306"/>
                  <a:gd name="T48" fmla="*/ 294 w 378"/>
                  <a:gd name="T49" fmla="*/ 30 h 306"/>
                  <a:gd name="T50" fmla="*/ 300 w 378"/>
                  <a:gd name="T51" fmla="*/ 48 h 306"/>
                  <a:gd name="T52" fmla="*/ 318 w 378"/>
                  <a:gd name="T53" fmla="*/ 78 h 306"/>
                  <a:gd name="T54" fmla="*/ 336 w 378"/>
                  <a:gd name="T55" fmla="*/ 108 h 306"/>
                  <a:gd name="T56" fmla="*/ 378 w 378"/>
                  <a:gd name="T57" fmla="*/ 144 h 306"/>
                  <a:gd name="T58" fmla="*/ 378 w 378"/>
                  <a:gd name="T59" fmla="*/ 210 h 306"/>
                  <a:gd name="T60" fmla="*/ 360 w 378"/>
                  <a:gd name="T61" fmla="*/ 234 h 306"/>
                  <a:gd name="T62" fmla="*/ 342 w 378"/>
                  <a:gd name="T63" fmla="*/ 258 h 306"/>
                  <a:gd name="T64" fmla="*/ 348 w 378"/>
                  <a:gd name="T65" fmla="*/ 282 h 306"/>
                  <a:gd name="T66" fmla="*/ 312 w 378"/>
                  <a:gd name="T67" fmla="*/ 306 h 306"/>
                  <a:gd name="T68" fmla="*/ 294 w 378"/>
                  <a:gd name="T69" fmla="*/ 294 h 306"/>
                  <a:gd name="T70" fmla="*/ 270 w 378"/>
                  <a:gd name="T71" fmla="*/ 294 h 306"/>
                  <a:gd name="T72" fmla="*/ 246 w 378"/>
                  <a:gd name="T73" fmla="*/ 276 h 306"/>
                  <a:gd name="T74" fmla="*/ 216 w 378"/>
                  <a:gd name="T75" fmla="*/ 246 h 306"/>
                  <a:gd name="T76" fmla="*/ 180 w 378"/>
                  <a:gd name="T77" fmla="*/ 222 h 306"/>
                  <a:gd name="T78" fmla="*/ 138 w 378"/>
                  <a:gd name="T79" fmla="*/ 222 h 306"/>
                  <a:gd name="T80" fmla="*/ 102 w 378"/>
                  <a:gd name="T81" fmla="*/ 240 h 306"/>
                  <a:gd name="T82" fmla="*/ 90 w 378"/>
                  <a:gd name="T83" fmla="*/ 252 h 306"/>
                  <a:gd name="T84" fmla="*/ 60 w 378"/>
                  <a:gd name="T85" fmla="*/ 252 h 306"/>
                  <a:gd name="T86" fmla="*/ 42 w 378"/>
                  <a:gd name="T87" fmla="*/ 264 h 306"/>
                  <a:gd name="T88" fmla="*/ 24 w 378"/>
                  <a:gd name="T89" fmla="*/ 258 h 306"/>
                  <a:gd name="T90" fmla="*/ 24 w 378"/>
                  <a:gd name="T91" fmla="*/ 252 h 306"/>
                  <a:gd name="T92" fmla="*/ 12 w 378"/>
                  <a:gd name="T93" fmla="*/ 252 h 306"/>
                  <a:gd name="T94" fmla="*/ 24 w 378"/>
                  <a:gd name="T95" fmla="*/ 222 h 306"/>
                  <a:gd name="T96" fmla="*/ 0 w 378"/>
                  <a:gd name="T97" fmla="*/ 174 h 306"/>
                  <a:gd name="T98" fmla="*/ 6 w 378"/>
                  <a:gd name="T99" fmla="*/ 150 h 306"/>
                  <a:gd name="T100" fmla="*/ 0 w 378"/>
                  <a:gd name="T101" fmla="*/ 126 h 306"/>
                  <a:gd name="T102" fmla="*/ 24 w 378"/>
                  <a:gd name="T103" fmla="*/ 102 h 30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78" h="306">
                    <a:moveTo>
                      <a:pt x="24" y="102"/>
                    </a:moveTo>
                    <a:lnTo>
                      <a:pt x="42" y="102"/>
                    </a:lnTo>
                    <a:lnTo>
                      <a:pt x="66" y="96"/>
                    </a:lnTo>
                    <a:lnTo>
                      <a:pt x="72" y="90"/>
                    </a:lnTo>
                    <a:lnTo>
                      <a:pt x="78" y="84"/>
                    </a:lnTo>
                    <a:lnTo>
                      <a:pt x="78" y="78"/>
                    </a:lnTo>
                    <a:lnTo>
                      <a:pt x="84" y="66"/>
                    </a:lnTo>
                    <a:lnTo>
                      <a:pt x="90" y="60"/>
                    </a:lnTo>
                    <a:lnTo>
                      <a:pt x="96" y="60"/>
                    </a:lnTo>
                    <a:lnTo>
                      <a:pt x="96" y="54"/>
                    </a:lnTo>
                    <a:lnTo>
                      <a:pt x="102" y="48"/>
                    </a:lnTo>
                    <a:lnTo>
                      <a:pt x="108" y="42"/>
                    </a:lnTo>
                    <a:lnTo>
                      <a:pt x="114" y="36"/>
                    </a:lnTo>
                    <a:lnTo>
                      <a:pt x="120" y="36"/>
                    </a:lnTo>
                    <a:lnTo>
                      <a:pt x="126" y="36"/>
                    </a:lnTo>
                    <a:lnTo>
                      <a:pt x="138" y="42"/>
                    </a:lnTo>
                    <a:lnTo>
                      <a:pt x="144" y="42"/>
                    </a:lnTo>
                    <a:lnTo>
                      <a:pt x="150" y="42"/>
                    </a:lnTo>
                    <a:lnTo>
                      <a:pt x="150" y="36"/>
                    </a:lnTo>
                    <a:lnTo>
                      <a:pt x="144" y="30"/>
                    </a:lnTo>
                    <a:lnTo>
                      <a:pt x="150" y="30"/>
                    </a:lnTo>
                    <a:lnTo>
                      <a:pt x="150" y="24"/>
                    </a:lnTo>
                    <a:lnTo>
                      <a:pt x="150" y="18"/>
                    </a:lnTo>
                    <a:lnTo>
                      <a:pt x="156" y="12"/>
                    </a:lnTo>
                    <a:lnTo>
                      <a:pt x="168" y="12"/>
                    </a:lnTo>
                    <a:lnTo>
                      <a:pt x="174" y="12"/>
                    </a:lnTo>
                    <a:lnTo>
                      <a:pt x="174" y="6"/>
                    </a:lnTo>
                    <a:lnTo>
                      <a:pt x="162" y="6"/>
                    </a:lnTo>
                    <a:lnTo>
                      <a:pt x="168" y="0"/>
                    </a:lnTo>
                    <a:lnTo>
                      <a:pt x="174" y="0"/>
                    </a:lnTo>
                    <a:lnTo>
                      <a:pt x="180" y="0"/>
                    </a:lnTo>
                    <a:lnTo>
                      <a:pt x="186" y="0"/>
                    </a:lnTo>
                    <a:lnTo>
                      <a:pt x="180" y="6"/>
                    </a:lnTo>
                    <a:lnTo>
                      <a:pt x="186" y="6"/>
                    </a:lnTo>
                    <a:lnTo>
                      <a:pt x="192" y="6"/>
                    </a:lnTo>
                    <a:lnTo>
                      <a:pt x="192" y="0"/>
                    </a:lnTo>
                    <a:lnTo>
                      <a:pt x="192" y="6"/>
                    </a:lnTo>
                    <a:lnTo>
                      <a:pt x="198" y="12"/>
                    </a:lnTo>
                    <a:lnTo>
                      <a:pt x="210" y="12"/>
                    </a:lnTo>
                    <a:lnTo>
                      <a:pt x="216" y="12"/>
                    </a:lnTo>
                    <a:lnTo>
                      <a:pt x="222" y="12"/>
                    </a:lnTo>
                    <a:lnTo>
                      <a:pt x="228" y="18"/>
                    </a:lnTo>
                    <a:lnTo>
                      <a:pt x="222" y="24"/>
                    </a:lnTo>
                    <a:lnTo>
                      <a:pt x="216" y="30"/>
                    </a:lnTo>
                    <a:lnTo>
                      <a:pt x="210" y="36"/>
                    </a:lnTo>
                    <a:lnTo>
                      <a:pt x="228" y="48"/>
                    </a:lnTo>
                    <a:lnTo>
                      <a:pt x="246" y="60"/>
                    </a:lnTo>
                    <a:lnTo>
                      <a:pt x="252" y="60"/>
                    </a:lnTo>
                    <a:lnTo>
                      <a:pt x="258" y="60"/>
                    </a:lnTo>
                    <a:lnTo>
                      <a:pt x="264" y="42"/>
                    </a:lnTo>
                    <a:lnTo>
                      <a:pt x="264" y="30"/>
                    </a:lnTo>
                    <a:lnTo>
                      <a:pt x="264" y="6"/>
                    </a:lnTo>
                    <a:lnTo>
                      <a:pt x="264" y="0"/>
                    </a:lnTo>
                    <a:lnTo>
                      <a:pt x="270" y="0"/>
                    </a:lnTo>
                    <a:lnTo>
                      <a:pt x="276" y="0"/>
                    </a:lnTo>
                    <a:lnTo>
                      <a:pt x="282" y="0"/>
                    </a:lnTo>
                    <a:lnTo>
                      <a:pt x="282" y="6"/>
                    </a:lnTo>
                    <a:lnTo>
                      <a:pt x="282" y="18"/>
                    </a:lnTo>
                    <a:lnTo>
                      <a:pt x="282" y="24"/>
                    </a:lnTo>
                    <a:lnTo>
                      <a:pt x="282" y="30"/>
                    </a:lnTo>
                    <a:lnTo>
                      <a:pt x="294" y="30"/>
                    </a:lnTo>
                    <a:lnTo>
                      <a:pt x="294" y="36"/>
                    </a:lnTo>
                    <a:lnTo>
                      <a:pt x="300" y="42"/>
                    </a:lnTo>
                    <a:lnTo>
                      <a:pt x="300" y="48"/>
                    </a:lnTo>
                    <a:lnTo>
                      <a:pt x="306" y="48"/>
                    </a:lnTo>
                    <a:lnTo>
                      <a:pt x="312" y="66"/>
                    </a:lnTo>
                    <a:lnTo>
                      <a:pt x="318" y="78"/>
                    </a:lnTo>
                    <a:lnTo>
                      <a:pt x="324" y="84"/>
                    </a:lnTo>
                    <a:lnTo>
                      <a:pt x="336" y="102"/>
                    </a:lnTo>
                    <a:lnTo>
                      <a:pt x="336" y="108"/>
                    </a:lnTo>
                    <a:lnTo>
                      <a:pt x="366" y="126"/>
                    </a:lnTo>
                    <a:lnTo>
                      <a:pt x="372" y="132"/>
                    </a:lnTo>
                    <a:lnTo>
                      <a:pt x="378" y="144"/>
                    </a:lnTo>
                    <a:lnTo>
                      <a:pt x="378" y="156"/>
                    </a:lnTo>
                    <a:lnTo>
                      <a:pt x="378" y="204"/>
                    </a:lnTo>
                    <a:lnTo>
                      <a:pt x="378" y="210"/>
                    </a:lnTo>
                    <a:lnTo>
                      <a:pt x="372" y="216"/>
                    </a:lnTo>
                    <a:lnTo>
                      <a:pt x="366" y="222"/>
                    </a:lnTo>
                    <a:lnTo>
                      <a:pt x="360" y="234"/>
                    </a:lnTo>
                    <a:lnTo>
                      <a:pt x="354" y="240"/>
                    </a:lnTo>
                    <a:lnTo>
                      <a:pt x="348" y="252"/>
                    </a:lnTo>
                    <a:lnTo>
                      <a:pt x="342" y="258"/>
                    </a:lnTo>
                    <a:lnTo>
                      <a:pt x="342" y="264"/>
                    </a:lnTo>
                    <a:lnTo>
                      <a:pt x="348" y="276"/>
                    </a:lnTo>
                    <a:lnTo>
                      <a:pt x="348" y="282"/>
                    </a:lnTo>
                    <a:lnTo>
                      <a:pt x="342" y="288"/>
                    </a:lnTo>
                    <a:lnTo>
                      <a:pt x="324" y="294"/>
                    </a:lnTo>
                    <a:lnTo>
                      <a:pt x="312" y="306"/>
                    </a:lnTo>
                    <a:lnTo>
                      <a:pt x="306" y="300"/>
                    </a:lnTo>
                    <a:lnTo>
                      <a:pt x="300" y="294"/>
                    </a:lnTo>
                    <a:lnTo>
                      <a:pt x="294" y="294"/>
                    </a:lnTo>
                    <a:lnTo>
                      <a:pt x="288" y="294"/>
                    </a:lnTo>
                    <a:lnTo>
                      <a:pt x="276" y="294"/>
                    </a:lnTo>
                    <a:lnTo>
                      <a:pt x="270" y="294"/>
                    </a:lnTo>
                    <a:lnTo>
                      <a:pt x="258" y="294"/>
                    </a:lnTo>
                    <a:lnTo>
                      <a:pt x="252" y="282"/>
                    </a:lnTo>
                    <a:lnTo>
                      <a:pt x="246" y="276"/>
                    </a:lnTo>
                    <a:lnTo>
                      <a:pt x="246" y="264"/>
                    </a:lnTo>
                    <a:lnTo>
                      <a:pt x="234" y="246"/>
                    </a:lnTo>
                    <a:lnTo>
                      <a:pt x="216" y="246"/>
                    </a:lnTo>
                    <a:lnTo>
                      <a:pt x="204" y="234"/>
                    </a:lnTo>
                    <a:lnTo>
                      <a:pt x="192" y="228"/>
                    </a:lnTo>
                    <a:lnTo>
                      <a:pt x="180" y="222"/>
                    </a:lnTo>
                    <a:lnTo>
                      <a:pt x="162" y="216"/>
                    </a:lnTo>
                    <a:lnTo>
                      <a:pt x="150" y="222"/>
                    </a:lnTo>
                    <a:lnTo>
                      <a:pt x="138" y="222"/>
                    </a:lnTo>
                    <a:lnTo>
                      <a:pt x="132" y="228"/>
                    </a:lnTo>
                    <a:lnTo>
                      <a:pt x="108" y="240"/>
                    </a:lnTo>
                    <a:lnTo>
                      <a:pt x="102" y="240"/>
                    </a:lnTo>
                    <a:lnTo>
                      <a:pt x="96" y="246"/>
                    </a:lnTo>
                    <a:lnTo>
                      <a:pt x="96" y="252"/>
                    </a:lnTo>
                    <a:lnTo>
                      <a:pt x="90" y="252"/>
                    </a:lnTo>
                    <a:lnTo>
                      <a:pt x="84" y="252"/>
                    </a:lnTo>
                    <a:lnTo>
                      <a:pt x="78" y="252"/>
                    </a:lnTo>
                    <a:lnTo>
                      <a:pt x="60" y="252"/>
                    </a:lnTo>
                    <a:lnTo>
                      <a:pt x="54" y="252"/>
                    </a:lnTo>
                    <a:lnTo>
                      <a:pt x="48" y="258"/>
                    </a:lnTo>
                    <a:lnTo>
                      <a:pt x="42" y="264"/>
                    </a:lnTo>
                    <a:lnTo>
                      <a:pt x="36" y="264"/>
                    </a:lnTo>
                    <a:lnTo>
                      <a:pt x="24" y="264"/>
                    </a:lnTo>
                    <a:lnTo>
                      <a:pt x="24" y="258"/>
                    </a:lnTo>
                    <a:lnTo>
                      <a:pt x="24" y="252"/>
                    </a:lnTo>
                    <a:lnTo>
                      <a:pt x="18" y="258"/>
                    </a:lnTo>
                    <a:lnTo>
                      <a:pt x="12" y="258"/>
                    </a:lnTo>
                    <a:lnTo>
                      <a:pt x="12" y="252"/>
                    </a:lnTo>
                    <a:lnTo>
                      <a:pt x="12" y="246"/>
                    </a:lnTo>
                    <a:lnTo>
                      <a:pt x="18" y="240"/>
                    </a:lnTo>
                    <a:lnTo>
                      <a:pt x="24" y="222"/>
                    </a:lnTo>
                    <a:lnTo>
                      <a:pt x="12" y="204"/>
                    </a:lnTo>
                    <a:lnTo>
                      <a:pt x="6" y="186"/>
                    </a:lnTo>
                    <a:lnTo>
                      <a:pt x="0" y="174"/>
                    </a:lnTo>
                    <a:lnTo>
                      <a:pt x="0" y="162"/>
                    </a:lnTo>
                    <a:lnTo>
                      <a:pt x="6" y="156"/>
                    </a:lnTo>
                    <a:lnTo>
                      <a:pt x="6" y="150"/>
                    </a:lnTo>
                    <a:lnTo>
                      <a:pt x="0" y="144"/>
                    </a:lnTo>
                    <a:lnTo>
                      <a:pt x="0" y="132"/>
                    </a:lnTo>
                    <a:lnTo>
                      <a:pt x="0" y="126"/>
                    </a:lnTo>
                    <a:lnTo>
                      <a:pt x="0" y="120"/>
                    </a:lnTo>
                    <a:lnTo>
                      <a:pt x="24" y="10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74" name="Freeform 549"/>
              <p:cNvSpPr>
                <a:spLocks/>
              </p:cNvSpPr>
              <p:nvPr/>
            </p:nvSpPr>
            <p:spPr bwMode="auto">
              <a:xfrm>
                <a:off x="2352" y="1588"/>
                <a:ext cx="378" cy="306"/>
              </a:xfrm>
              <a:custGeom>
                <a:avLst/>
                <a:gdLst>
                  <a:gd name="T0" fmla="*/ 66 w 378"/>
                  <a:gd name="T1" fmla="*/ 96 h 306"/>
                  <a:gd name="T2" fmla="*/ 78 w 378"/>
                  <a:gd name="T3" fmla="*/ 78 h 306"/>
                  <a:gd name="T4" fmla="*/ 96 w 378"/>
                  <a:gd name="T5" fmla="*/ 60 h 306"/>
                  <a:gd name="T6" fmla="*/ 108 w 378"/>
                  <a:gd name="T7" fmla="*/ 42 h 306"/>
                  <a:gd name="T8" fmla="*/ 126 w 378"/>
                  <a:gd name="T9" fmla="*/ 36 h 306"/>
                  <a:gd name="T10" fmla="*/ 150 w 378"/>
                  <a:gd name="T11" fmla="*/ 42 h 306"/>
                  <a:gd name="T12" fmla="*/ 150 w 378"/>
                  <a:gd name="T13" fmla="*/ 30 h 306"/>
                  <a:gd name="T14" fmla="*/ 156 w 378"/>
                  <a:gd name="T15" fmla="*/ 12 h 306"/>
                  <a:gd name="T16" fmla="*/ 174 w 378"/>
                  <a:gd name="T17" fmla="*/ 6 h 306"/>
                  <a:gd name="T18" fmla="*/ 174 w 378"/>
                  <a:gd name="T19" fmla="*/ 0 h 306"/>
                  <a:gd name="T20" fmla="*/ 180 w 378"/>
                  <a:gd name="T21" fmla="*/ 6 h 306"/>
                  <a:gd name="T22" fmla="*/ 192 w 378"/>
                  <a:gd name="T23" fmla="*/ 0 h 306"/>
                  <a:gd name="T24" fmla="*/ 210 w 378"/>
                  <a:gd name="T25" fmla="*/ 12 h 306"/>
                  <a:gd name="T26" fmla="*/ 228 w 378"/>
                  <a:gd name="T27" fmla="*/ 18 h 306"/>
                  <a:gd name="T28" fmla="*/ 210 w 378"/>
                  <a:gd name="T29" fmla="*/ 36 h 306"/>
                  <a:gd name="T30" fmla="*/ 252 w 378"/>
                  <a:gd name="T31" fmla="*/ 60 h 306"/>
                  <a:gd name="T32" fmla="*/ 264 w 378"/>
                  <a:gd name="T33" fmla="*/ 30 h 306"/>
                  <a:gd name="T34" fmla="*/ 270 w 378"/>
                  <a:gd name="T35" fmla="*/ 0 h 306"/>
                  <a:gd name="T36" fmla="*/ 282 w 378"/>
                  <a:gd name="T37" fmla="*/ 6 h 306"/>
                  <a:gd name="T38" fmla="*/ 282 w 378"/>
                  <a:gd name="T39" fmla="*/ 30 h 306"/>
                  <a:gd name="T40" fmla="*/ 300 w 378"/>
                  <a:gd name="T41" fmla="*/ 42 h 306"/>
                  <a:gd name="T42" fmla="*/ 312 w 378"/>
                  <a:gd name="T43" fmla="*/ 66 h 306"/>
                  <a:gd name="T44" fmla="*/ 336 w 378"/>
                  <a:gd name="T45" fmla="*/ 102 h 306"/>
                  <a:gd name="T46" fmla="*/ 372 w 378"/>
                  <a:gd name="T47" fmla="*/ 132 h 306"/>
                  <a:gd name="T48" fmla="*/ 378 w 378"/>
                  <a:gd name="T49" fmla="*/ 204 h 306"/>
                  <a:gd name="T50" fmla="*/ 366 w 378"/>
                  <a:gd name="T51" fmla="*/ 222 h 306"/>
                  <a:gd name="T52" fmla="*/ 348 w 378"/>
                  <a:gd name="T53" fmla="*/ 252 h 306"/>
                  <a:gd name="T54" fmla="*/ 348 w 378"/>
                  <a:gd name="T55" fmla="*/ 276 h 306"/>
                  <a:gd name="T56" fmla="*/ 324 w 378"/>
                  <a:gd name="T57" fmla="*/ 294 h 306"/>
                  <a:gd name="T58" fmla="*/ 300 w 378"/>
                  <a:gd name="T59" fmla="*/ 294 h 306"/>
                  <a:gd name="T60" fmla="*/ 276 w 378"/>
                  <a:gd name="T61" fmla="*/ 294 h 306"/>
                  <a:gd name="T62" fmla="*/ 252 w 378"/>
                  <a:gd name="T63" fmla="*/ 282 h 306"/>
                  <a:gd name="T64" fmla="*/ 234 w 378"/>
                  <a:gd name="T65" fmla="*/ 246 h 306"/>
                  <a:gd name="T66" fmla="*/ 192 w 378"/>
                  <a:gd name="T67" fmla="*/ 228 h 306"/>
                  <a:gd name="T68" fmla="*/ 150 w 378"/>
                  <a:gd name="T69" fmla="*/ 222 h 306"/>
                  <a:gd name="T70" fmla="*/ 108 w 378"/>
                  <a:gd name="T71" fmla="*/ 240 h 306"/>
                  <a:gd name="T72" fmla="*/ 96 w 378"/>
                  <a:gd name="T73" fmla="*/ 252 h 306"/>
                  <a:gd name="T74" fmla="*/ 78 w 378"/>
                  <a:gd name="T75" fmla="*/ 252 h 306"/>
                  <a:gd name="T76" fmla="*/ 48 w 378"/>
                  <a:gd name="T77" fmla="*/ 258 h 306"/>
                  <a:gd name="T78" fmla="*/ 24 w 378"/>
                  <a:gd name="T79" fmla="*/ 264 h 306"/>
                  <a:gd name="T80" fmla="*/ 18 w 378"/>
                  <a:gd name="T81" fmla="*/ 258 h 306"/>
                  <a:gd name="T82" fmla="*/ 12 w 378"/>
                  <a:gd name="T83" fmla="*/ 246 h 306"/>
                  <a:gd name="T84" fmla="*/ 12 w 378"/>
                  <a:gd name="T85" fmla="*/ 204 h 306"/>
                  <a:gd name="T86" fmla="*/ 0 w 378"/>
                  <a:gd name="T87" fmla="*/ 162 h 306"/>
                  <a:gd name="T88" fmla="*/ 0 w 378"/>
                  <a:gd name="T89" fmla="*/ 144 h 306"/>
                  <a:gd name="T90" fmla="*/ 0 w 378"/>
                  <a:gd name="T91" fmla="*/ 120 h 30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78" h="306">
                    <a:moveTo>
                      <a:pt x="24" y="102"/>
                    </a:moveTo>
                    <a:lnTo>
                      <a:pt x="42" y="102"/>
                    </a:lnTo>
                    <a:lnTo>
                      <a:pt x="66" y="96"/>
                    </a:lnTo>
                    <a:lnTo>
                      <a:pt x="72" y="90"/>
                    </a:lnTo>
                    <a:lnTo>
                      <a:pt x="78" y="84"/>
                    </a:lnTo>
                    <a:lnTo>
                      <a:pt x="78" y="78"/>
                    </a:lnTo>
                    <a:lnTo>
                      <a:pt x="84" y="66"/>
                    </a:lnTo>
                    <a:lnTo>
                      <a:pt x="90" y="60"/>
                    </a:lnTo>
                    <a:lnTo>
                      <a:pt x="96" y="60"/>
                    </a:lnTo>
                    <a:lnTo>
                      <a:pt x="96" y="54"/>
                    </a:lnTo>
                    <a:lnTo>
                      <a:pt x="102" y="48"/>
                    </a:lnTo>
                    <a:lnTo>
                      <a:pt x="108" y="42"/>
                    </a:lnTo>
                    <a:lnTo>
                      <a:pt x="114" y="36"/>
                    </a:lnTo>
                    <a:lnTo>
                      <a:pt x="120" y="36"/>
                    </a:lnTo>
                    <a:lnTo>
                      <a:pt x="126" y="36"/>
                    </a:lnTo>
                    <a:lnTo>
                      <a:pt x="138" y="42"/>
                    </a:lnTo>
                    <a:lnTo>
                      <a:pt x="144" y="42"/>
                    </a:lnTo>
                    <a:lnTo>
                      <a:pt x="150" y="42"/>
                    </a:lnTo>
                    <a:lnTo>
                      <a:pt x="150" y="36"/>
                    </a:lnTo>
                    <a:lnTo>
                      <a:pt x="144" y="30"/>
                    </a:lnTo>
                    <a:lnTo>
                      <a:pt x="150" y="30"/>
                    </a:lnTo>
                    <a:lnTo>
                      <a:pt x="150" y="24"/>
                    </a:lnTo>
                    <a:lnTo>
                      <a:pt x="150" y="18"/>
                    </a:lnTo>
                    <a:lnTo>
                      <a:pt x="156" y="12"/>
                    </a:lnTo>
                    <a:lnTo>
                      <a:pt x="168" y="12"/>
                    </a:lnTo>
                    <a:lnTo>
                      <a:pt x="174" y="12"/>
                    </a:lnTo>
                    <a:lnTo>
                      <a:pt x="174" y="6"/>
                    </a:lnTo>
                    <a:lnTo>
                      <a:pt x="162" y="6"/>
                    </a:lnTo>
                    <a:lnTo>
                      <a:pt x="168" y="0"/>
                    </a:lnTo>
                    <a:lnTo>
                      <a:pt x="174" y="0"/>
                    </a:lnTo>
                    <a:lnTo>
                      <a:pt x="180" y="0"/>
                    </a:lnTo>
                    <a:lnTo>
                      <a:pt x="186" y="0"/>
                    </a:lnTo>
                    <a:lnTo>
                      <a:pt x="180" y="6"/>
                    </a:lnTo>
                    <a:lnTo>
                      <a:pt x="186" y="6"/>
                    </a:lnTo>
                    <a:lnTo>
                      <a:pt x="192" y="6"/>
                    </a:lnTo>
                    <a:lnTo>
                      <a:pt x="192" y="0"/>
                    </a:lnTo>
                    <a:lnTo>
                      <a:pt x="192" y="6"/>
                    </a:lnTo>
                    <a:lnTo>
                      <a:pt x="198" y="12"/>
                    </a:lnTo>
                    <a:lnTo>
                      <a:pt x="210" y="12"/>
                    </a:lnTo>
                    <a:lnTo>
                      <a:pt x="216" y="12"/>
                    </a:lnTo>
                    <a:lnTo>
                      <a:pt x="222" y="12"/>
                    </a:lnTo>
                    <a:lnTo>
                      <a:pt x="228" y="18"/>
                    </a:lnTo>
                    <a:lnTo>
                      <a:pt x="222" y="24"/>
                    </a:lnTo>
                    <a:lnTo>
                      <a:pt x="216" y="30"/>
                    </a:lnTo>
                    <a:lnTo>
                      <a:pt x="210" y="36"/>
                    </a:lnTo>
                    <a:lnTo>
                      <a:pt x="228" y="48"/>
                    </a:lnTo>
                    <a:lnTo>
                      <a:pt x="246" y="60"/>
                    </a:lnTo>
                    <a:lnTo>
                      <a:pt x="252" y="60"/>
                    </a:lnTo>
                    <a:lnTo>
                      <a:pt x="258" y="60"/>
                    </a:lnTo>
                    <a:lnTo>
                      <a:pt x="264" y="42"/>
                    </a:lnTo>
                    <a:lnTo>
                      <a:pt x="264" y="30"/>
                    </a:lnTo>
                    <a:lnTo>
                      <a:pt x="264" y="6"/>
                    </a:lnTo>
                    <a:lnTo>
                      <a:pt x="264" y="0"/>
                    </a:lnTo>
                    <a:lnTo>
                      <a:pt x="270" y="0"/>
                    </a:lnTo>
                    <a:lnTo>
                      <a:pt x="276" y="0"/>
                    </a:lnTo>
                    <a:lnTo>
                      <a:pt x="282" y="0"/>
                    </a:lnTo>
                    <a:lnTo>
                      <a:pt x="282" y="6"/>
                    </a:lnTo>
                    <a:lnTo>
                      <a:pt x="282" y="18"/>
                    </a:lnTo>
                    <a:lnTo>
                      <a:pt x="282" y="24"/>
                    </a:lnTo>
                    <a:lnTo>
                      <a:pt x="282" y="30"/>
                    </a:lnTo>
                    <a:lnTo>
                      <a:pt x="294" y="30"/>
                    </a:lnTo>
                    <a:lnTo>
                      <a:pt x="294" y="36"/>
                    </a:lnTo>
                    <a:lnTo>
                      <a:pt x="300" y="42"/>
                    </a:lnTo>
                    <a:lnTo>
                      <a:pt x="300" y="48"/>
                    </a:lnTo>
                    <a:lnTo>
                      <a:pt x="306" y="48"/>
                    </a:lnTo>
                    <a:lnTo>
                      <a:pt x="312" y="66"/>
                    </a:lnTo>
                    <a:lnTo>
                      <a:pt x="318" y="78"/>
                    </a:lnTo>
                    <a:lnTo>
                      <a:pt x="324" y="84"/>
                    </a:lnTo>
                    <a:lnTo>
                      <a:pt x="336" y="102"/>
                    </a:lnTo>
                    <a:lnTo>
                      <a:pt x="336" y="108"/>
                    </a:lnTo>
                    <a:lnTo>
                      <a:pt x="366" y="126"/>
                    </a:lnTo>
                    <a:lnTo>
                      <a:pt x="372" y="132"/>
                    </a:lnTo>
                    <a:lnTo>
                      <a:pt x="378" y="144"/>
                    </a:lnTo>
                    <a:lnTo>
                      <a:pt x="378" y="156"/>
                    </a:lnTo>
                    <a:lnTo>
                      <a:pt x="378" y="204"/>
                    </a:lnTo>
                    <a:lnTo>
                      <a:pt x="378" y="210"/>
                    </a:lnTo>
                    <a:lnTo>
                      <a:pt x="372" y="216"/>
                    </a:lnTo>
                    <a:lnTo>
                      <a:pt x="366" y="222"/>
                    </a:lnTo>
                    <a:lnTo>
                      <a:pt x="360" y="234"/>
                    </a:lnTo>
                    <a:lnTo>
                      <a:pt x="354" y="240"/>
                    </a:lnTo>
                    <a:lnTo>
                      <a:pt x="348" y="252"/>
                    </a:lnTo>
                    <a:lnTo>
                      <a:pt x="342" y="258"/>
                    </a:lnTo>
                    <a:lnTo>
                      <a:pt x="342" y="264"/>
                    </a:lnTo>
                    <a:lnTo>
                      <a:pt x="348" y="276"/>
                    </a:lnTo>
                    <a:lnTo>
                      <a:pt x="348" y="282"/>
                    </a:lnTo>
                    <a:lnTo>
                      <a:pt x="342" y="288"/>
                    </a:lnTo>
                    <a:lnTo>
                      <a:pt x="324" y="294"/>
                    </a:lnTo>
                    <a:lnTo>
                      <a:pt x="312" y="306"/>
                    </a:lnTo>
                    <a:lnTo>
                      <a:pt x="306" y="300"/>
                    </a:lnTo>
                    <a:lnTo>
                      <a:pt x="300" y="294"/>
                    </a:lnTo>
                    <a:lnTo>
                      <a:pt x="294" y="294"/>
                    </a:lnTo>
                    <a:lnTo>
                      <a:pt x="288" y="294"/>
                    </a:lnTo>
                    <a:lnTo>
                      <a:pt x="276" y="294"/>
                    </a:lnTo>
                    <a:lnTo>
                      <a:pt x="270" y="294"/>
                    </a:lnTo>
                    <a:lnTo>
                      <a:pt x="258" y="294"/>
                    </a:lnTo>
                    <a:lnTo>
                      <a:pt x="252" y="282"/>
                    </a:lnTo>
                    <a:lnTo>
                      <a:pt x="246" y="276"/>
                    </a:lnTo>
                    <a:lnTo>
                      <a:pt x="246" y="264"/>
                    </a:lnTo>
                    <a:lnTo>
                      <a:pt x="234" y="246"/>
                    </a:lnTo>
                    <a:lnTo>
                      <a:pt x="216" y="246"/>
                    </a:lnTo>
                    <a:lnTo>
                      <a:pt x="204" y="234"/>
                    </a:lnTo>
                    <a:lnTo>
                      <a:pt x="192" y="228"/>
                    </a:lnTo>
                    <a:lnTo>
                      <a:pt x="180" y="222"/>
                    </a:lnTo>
                    <a:lnTo>
                      <a:pt x="162" y="216"/>
                    </a:lnTo>
                    <a:lnTo>
                      <a:pt x="150" y="222"/>
                    </a:lnTo>
                    <a:lnTo>
                      <a:pt x="138" y="222"/>
                    </a:lnTo>
                    <a:lnTo>
                      <a:pt x="132" y="228"/>
                    </a:lnTo>
                    <a:lnTo>
                      <a:pt x="108" y="240"/>
                    </a:lnTo>
                    <a:lnTo>
                      <a:pt x="102" y="240"/>
                    </a:lnTo>
                    <a:lnTo>
                      <a:pt x="96" y="246"/>
                    </a:lnTo>
                    <a:lnTo>
                      <a:pt x="96" y="252"/>
                    </a:lnTo>
                    <a:lnTo>
                      <a:pt x="90" y="252"/>
                    </a:lnTo>
                    <a:lnTo>
                      <a:pt x="84" y="252"/>
                    </a:lnTo>
                    <a:lnTo>
                      <a:pt x="78" y="252"/>
                    </a:lnTo>
                    <a:lnTo>
                      <a:pt x="60" y="252"/>
                    </a:lnTo>
                    <a:lnTo>
                      <a:pt x="54" y="252"/>
                    </a:lnTo>
                    <a:lnTo>
                      <a:pt x="48" y="258"/>
                    </a:lnTo>
                    <a:lnTo>
                      <a:pt x="42" y="264"/>
                    </a:lnTo>
                    <a:lnTo>
                      <a:pt x="36" y="264"/>
                    </a:lnTo>
                    <a:lnTo>
                      <a:pt x="24" y="264"/>
                    </a:lnTo>
                    <a:lnTo>
                      <a:pt x="24" y="258"/>
                    </a:lnTo>
                    <a:lnTo>
                      <a:pt x="24" y="252"/>
                    </a:lnTo>
                    <a:lnTo>
                      <a:pt x="18" y="258"/>
                    </a:lnTo>
                    <a:lnTo>
                      <a:pt x="12" y="258"/>
                    </a:lnTo>
                    <a:lnTo>
                      <a:pt x="12" y="252"/>
                    </a:lnTo>
                    <a:lnTo>
                      <a:pt x="12" y="246"/>
                    </a:lnTo>
                    <a:lnTo>
                      <a:pt x="18" y="240"/>
                    </a:lnTo>
                    <a:lnTo>
                      <a:pt x="24" y="222"/>
                    </a:lnTo>
                    <a:lnTo>
                      <a:pt x="12" y="204"/>
                    </a:lnTo>
                    <a:lnTo>
                      <a:pt x="6" y="186"/>
                    </a:lnTo>
                    <a:lnTo>
                      <a:pt x="0" y="174"/>
                    </a:lnTo>
                    <a:lnTo>
                      <a:pt x="0" y="162"/>
                    </a:lnTo>
                    <a:lnTo>
                      <a:pt x="6" y="156"/>
                    </a:lnTo>
                    <a:lnTo>
                      <a:pt x="6" y="150"/>
                    </a:lnTo>
                    <a:lnTo>
                      <a:pt x="0" y="144"/>
                    </a:lnTo>
                    <a:lnTo>
                      <a:pt x="0" y="132"/>
                    </a:lnTo>
                    <a:lnTo>
                      <a:pt x="0" y="126"/>
                    </a:lnTo>
                    <a:lnTo>
                      <a:pt x="0" y="120"/>
                    </a:lnTo>
                    <a:lnTo>
                      <a:pt x="24" y="10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699" name="Group 550"/>
            <p:cNvGrpSpPr>
              <a:grpSpLocks/>
            </p:cNvGrpSpPr>
            <p:nvPr/>
          </p:nvGrpSpPr>
          <p:grpSpPr bwMode="auto">
            <a:xfrm>
              <a:off x="3122217" y="3105713"/>
              <a:ext cx="351724" cy="246783"/>
              <a:chOff x="2400" y="1356"/>
              <a:chExt cx="174" cy="144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1045" name="Group 551"/>
              <p:cNvGrpSpPr>
                <a:grpSpLocks/>
              </p:cNvGrpSpPr>
              <p:nvPr/>
            </p:nvGrpSpPr>
            <p:grpSpPr bwMode="auto">
              <a:xfrm>
                <a:off x="2484" y="1428"/>
                <a:ext cx="12" cy="24"/>
                <a:chOff x="2484" y="1428"/>
                <a:chExt cx="12" cy="24"/>
              </a:xfrm>
              <a:grpFill/>
            </p:grpSpPr>
            <p:sp>
              <p:nvSpPr>
                <p:cNvPr id="1071" name="Freeform 552"/>
                <p:cNvSpPr>
                  <a:spLocks/>
                </p:cNvSpPr>
                <p:nvPr/>
              </p:nvSpPr>
              <p:spPr bwMode="auto">
                <a:xfrm>
                  <a:off x="2484" y="1428"/>
                  <a:ext cx="12" cy="24"/>
                </a:xfrm>
                <a:custGeom>
                  <a:avLst/>
                  <a:gdLst>
                    <a:gd name="T0" fmla="*/ 6 w 12"/>
                    <a:gd name="T1" fmla="*/ 0 h 24"/>
                    <a:gd name="T2" fmla="*/ 6 w 12"/>
                    <a:gd name="T3" fmla="*/ 6 h 24"/>
                    <a:gd name="T4" fmla="*/ 12 w 12"/>
                    <a:gd name="T5" fmla="*/ 12 h 24"/>
                    <a:gd name="T6" fmla="*/ 6 w 12"/>
                    <a:gd name="T7" fmla="*/ 24 h 24"/>
                    <a:gd name="T8" fmla="*/ 6 w 12"/>
                    <a:gd name="T9" fmla="*/ 24 h 24"/>
                    <a:gd name="T10" fmla="*/ 0 w 12"/>
                    <a:gd name="T11" fmla="*/ 24 h 24"/>
                    <a:gd name="T12" fmla="*/ 0 w 12"/>
                    <a:gd name="T13" fmla="*/ 12 h 24"/>
                    <a:gd name="T14" fmla="*/ 0 w 12"/>
                    <a:gd name="T15" fmla="*/ 6 h 24"/>
                    <a:gd name="T16" fmla="*/ 6 w 12"/>
                    <a:gd name="T17" fmla="*/ 0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2" h="24">
                      <a:moveTo>
                        <a:pt x="6" y="0"/>
                      </a:moveTo>
                      <a:lnTo>
                        <a:pt x="6" y="6"/>
                      </a:lnTo>
                      <a:lnTo>
                        <a:pt x="12" y="12"/>
                      </a:lnTo>
                      <a:lnTo>
                        <a:pt x="6" y="24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72" name="Freeform 553"/>
                <p:cNvSpPr>
                  <a:spLocks/>
                </p:cNvSpPr>
                <p:nvPr/>
              </p:nvSpPr>
              <p:spPr bwMode="auto">
                <a:xfrm>
                  <a:off x="2484" y="1428"/>
                  <a:ext cx="12" cy="24"/>
                </a:xfrm>
                <a:custGeom>
                  <a:avLst/>
                  <a:gdLst>
                    <a:gd name="T0" fmla="*/ 6 w 12"/>
                    <a:gd name="T1" fmla="*/ 0 h 24"/>
                    <a:gd name="T2" fmla="*/ 6 w 12"/>
                    <a:gd name="T3" fmla="*/ 6 h 24"/>
                    <a:gd name="T4" fmla="*/ 12 w 12"/>
                    <a:gd name="T5" fmla="*/ 12 h 24"/>
                    <a:gd name="T6" fmla="*/ 6 w 12"/>
                    <a:gd name="T7" fmla="*/ 24 h 24"/>
                    <a:gd name="T8" fmla="*/ 0 w 12"/>
                    <a:gd name="T9" fmla="*/ 24 h 24"/>
                    <a:gd name="T10" fmla="*/ 0 w 12"/>
                    <a:gd name="T11" fmla="*/ 12 h 24"/>
                    <a:gd name="T12" fmla="*/ 0 w 12"/>
                    <a:gd name="T13" fmla="*/ 6 h 24"/>
                    <a:gd name="T14" fmla="*/ 6 w 12"/>
                    <a:gd name="T15" fmla="*/ 0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" h="24">
                      <a:moveTo>
                        <a:pt x="6" y="0"/>
                      </a:moveTo>
                      <a:lnTo>
                        <a:pt x="6" y="6"/>
                      </a:lnTo>
                      <a:lnTo>
                        <a:pt x="12" y="12"/>
                      </a:lnTo>
                      <a:lnTo>
                        <a:pt x="6" y="24"/>
                      </a:lnTo>
                      <a:lnTo>
                        <a:pt x="0" y="24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46" name="Group 554"/>
              <p:cNvGrpSpPr>
                <a:grpSpLocks/>
              </p:cNvGrpSpPr>
              <p:nvPr/>
            </p:nvGrpSpPr>
            <p:grpSpPr bwMode="auto">
              <a:xfrm>
                <a:off x="2520" y="1416"/>
                <a:ext cx="6" cy="12"/>
                <a:chOff x="2520" y="1416"/>
                <a:chExt cx="6" cy="12"/>
              </a:xfrm>
              <a:grpFill/>
            </p:grpSpPr>
            <p:sp>
              <p:nvSpPr>
                <p:cNvPr id="1069" name="Freeform 555"/>
                <p:cNvSpPr>
                  <a:spLocks/>
                </p:cNvSpPr>
                <p:nvPr/>
              </p:nvSpPr>
              <p:spPr bwMode="auto">
                <a:xfrm>
                  <a:off x="2520" y="1416"/>
                  <a:ext cx="6" cy="12"/>
                </a:xfrm>
                <a:custGeom>
                  <a:avLst/>
                  <a:gdLst>
                    <a:gd name="T0" fmla="*/ 6 w 6"/>
                    <a:gd name="T1" fmla="*/ 12 h 12"/>
                    <a:gd name="T2" fmla="*/ 6 w 6"/>
                    <a:gd name="T3" fmla="*/ 6 h 12"/>
                    <a:gd name="T4" fmla="*/ 6 w 6"/>
                    <a:gd name="T5" fmla="*/ 6 h 12"/>
                    <a:gd name="T6" fmla="*/ 6 w 6"/>
                    <a:gd name="T7" fmla="*/ 0 h 12"/>
                    <a:gd name="T8" fmla="*/ 6 w 6"/>
                    <a:gd name="T9" fmla="*/ 0 h 12"/>
                    <a:gd name="T10" fmla="*/ 0 w 6"/>
                    <a:gd name="T11" fmla="*/ 0 h 12"/>
                    <a:gd name="T12" fmla="*/ 0 w 6"/>
                    <a:gd name="T13" fmla="*/ 6 h 12"/>
                    <a:gd name="T14" fmla="*/ 0 w 6"/>
                    <a:gd name="T15" fmla="*/ 6 h 12"/>
                    <a:gd name="T16" fmla="*/ 6 w 6"/>
                    <a:gd name="T17" fmla="*/ 12 h 1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6" h="12">
                      <a:moveTo>
                        <a:pt x="6" y="12"/>
                      </a:move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6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70" name="Freeform 556"/>
                <p:cNvSpPr>
                  <a:spLocks/>
                </p:cNvSpPr>
                <p:nvPr/>
              </p:nvSpPr>
              <p:spPr bwMode="auto">
                <a:xfrm>
                  <a:off x="2520" y="1416"/>
                  <a:ext cx="6" cy="12"/>
                </a:xfrm>
                <a:custGeom>
                  <a:avLst/>
                  <a:gdLst>
                    <a:gd name="T0" fmla="*/ 6 w 6"/>
                    <a:gd name="T1" fmla="*/ 12 h 12"/>
                    <a:gd name="T2" fmla="*/ 6 w 6"/>
                    <a:gd name="T3" fmla="*/ 6 h 12"/>
                    <a:gd name="T4" fmla="*/ 6 w 6"/>
                    <a:gd name="T5" fmla="*/ 0 h 12"/>
                    <a:gd name="T6" fmla="*/ 0 w 6"/>
                    <a:gd name="T7" fmla="*/ 0 h 12"/>
                    <a:gd name="T8" fmla="*/ 0 w 6"/>
                    <a:gd name="T9" fmla="*/ 6 h 12"/>
                    <a:gd name="T10" fmla="*/ 6 w 6"/>
                    <a:gd name="T11" fmla="*/ 12 h 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6" h="12">
                      <a:moveTo>
                        <a:pt x="6" y="12"/>
                      </a:move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6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47" name="Group 557"/>
              <p:cNvGrpSpPr>
                <a:grpSpLocks/>
              </p:cNvGrpSpPr>
              <p:nvPr/>
            </p:nvGrpSpPr>
            <p:grpSpPr bwMode="auto">
              <a:xfrm>
                <a:off x="2532" y="1386"/>
                <a:ext cx="12" cy="6"/>
                <a:chOff x="2532" y="1386"/>
                <a:chExt cx="12" cy="6"/>
              </a:xfrm>
              <a:grpFill/>
            </p:grpSpPr>
            <p:sp>
              <p:nvSpPr>
                <p:cNvPr id="1067" name="Freeform 558"/>
                <p:cNvSpPr>
                  <a:spLocks/>
                </p:cNvSpPr>
                <p:nvPr/>
              </p:nvSpPr>
              <p:spPr bwMode="auto">
                <a:xfrm>
                  <a:off x="2532" y="1386"/>
                  <a:ext cx="12" cy="6"/>
                </a:xfrm>
                <a:custGeom>
                  <a:avLst/>
                  <a:gdLst>
                    <a:gd name="T0" fmla="*/ 6 w 12"/>
                    <a:gd name="T1" fmla="*/ 6 h 6"/>
                    <a:gd name="T2" fmla="*/ 12 w 12"/>
                    <a:gd name="T3" fmla="*/ 6 h 6"/>
                    <a:gd name="T4" fmla="*/ 12 w 12"/>
                    <a:gd name="T5" fmla="*/ 6 h 6"/>
                    <a:gd name="T6" fmla="*/ 12 w 12"/>
                    <a:gd name="T7" fmla="*/ 0 h 6"/>
                    <a:gd name="T8" fmla="*/ 6 w 12"/>
                    <a:gd name="T9" fmla="*/ 0 h 6"/>
                    <a:gd name="T10" fmla="*/ 0 w 12"/>
                    <a:gd name="T11" fmla="*/ 0 h 6"/>
                    <a:gd name="T12" fmla="*/ 0 w 12"/>
                    <a:gd name="T13" fmla="*/ 6 h 6"/>
                    <a:gd name="T14" fmla="*/ 0 w 12"/>
                    <a:gd name="T15" fmla="*/ 6 h 6"/>
                    <a:gd name="T16" fmla="*/ 6 w 12"/>
                    <a:gd name="T17" fmla="*/ 6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2" h="6">
                      <a:moveTo>
                        <a:pt x="6" y="6"/>
                      </a:moveTo>
                      <a:lnTo>
                        <a:pt x="12" y="6"/>
                      </a:lnTo>
                      <a:lnTo>
                        <a:pt x="12" y="0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68" name="Freeform 559"/>
                <p:cNvSpPr>
                  <a:spLocks/>
                </p:cNvSpPr>
                <p:nvPr/>
              </p:nvSpPr>
              <p:spPr bwMode="auto">
                <a:xfrm>
                  <a:off x="2532" y="1386"/>
                  <a:ext cx="12" cy="6"/>
                </a:xfrm>
                <a:custGeom>
                  <a:avLst/>
                  <a:gdLst>
                    <a:gd name="T0" fmla="*/ 6 w 12"/>
                    <a:gd name="T1" fmla="*/ 6 h 6"/>
                    <a:gd name="T2" fmla="*/ 12 w 12"/>
                    <a:gd name="T3" fmla="*/ 6 h 6"/>
                    <a:gd name="T4" fmla="*/ 12 w 12"/>
                    <a:gd name="T5" fmla="*/ 0 h 6"/>
                    <a:gd name="T6" fmla="*/ 6 w 12"/>
                    <a:gd name="T7" fmla="*/ 0 h 6"/>
                    <a:gd name="T8" fmla="*/ 0 w 12"/>
                    <a:gd name="T9" fmla="*/ 0 h 6"/>
                    <a:gd name="T10" fmla="*/ 0 w 12"/>
                    <a:gd name="T11" fmla="*/ 6 h 6"/>
                    <a:gd name="T12" fmla="*/ 6 w 12"/>
                    <a:gd name="T13" fmla="*/ 6 h 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2" h="6">
                      <a:moveTo>
                        <a:pt x="6" y="6"/>
                      </a:moveTo>
                      <a:lnTo>
                        <a:pt x="12" y="6"/>
                      </a:lnTo>
                      <a:lnTo>
                        <a:pt x="12" y="0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48" name="Group 560"/>
              <p:cNvGrpSpPr>
                <a:grpSpLocks/>
              </p:cNvGrpSpPr>
              <p:nvPr/>
            </p:nvGrpSpPr>
            <p:grpSpPr bwMode="auto">
              <a:xfrm>
                <a:off x="2562" y="1356"/>
                <a:ext cx="12" cy="12"/>
                <a:chOff x="2562" y="1356"/>
                <a:chExt cx="12" cy="12"/>
              </a:xfrm>
              <a:grpFill/>
            </p:grpSpPr>
            <p:sp>
              <p:nvSpPr>
                <p:cNvPr id="1065" name="Freeform 561"/>
                <p:cNvSpPr>
                  <a:spLocks/>
                </p:cNvSpPr>
                <p:nvPr/>
              </p:nvSpPr>
              <p:spPr bwMode="auto">
                <a:xfrm>
                  <a:off x="2562" y="1356"/>
                  <a:ext cx="12" cy="12"/>
                </a:xfrm>
                <a:custGeom>
                  <a:avLst/>
                  <a:gdLst>
                    <a:gd name="T0" fmla="*/ 6 w 12"/>
                    <a:gd name="T1" fmla="*/ 12 h 12"/>
                    <a:gd name="T2" fmla="*/ 6 w 12"/>
                    <a:gd name="T3" fmla="*/ 12 h 12"/>
                    <a:gd name="T4" fmla="*/ 12 w 12"/>
                    <a:gd name="T5" fmla="*/ 6 h 12"/>
                    <a:gd name="T6" fmla="*/ 6 w 12"/>
                    <a:gd name="T7" fmla="*/ 6 h 12"/>
                    <a:gd name="T8" fmla="*/ 6 w 12"/>
                    <a:gd name="T9" fmla="*/ 0 h 12"/>
                    <a:gd name="T10" fmla="*/ 0 w 12"/>
                    <a:gd name="T11" fmla="*/ 6 h 12"/>
                    <a:gd name="T12" fmla="*/ 0 w 12"/>
                    <a:gd name="T13" fmla="*/ 6 h 12"/>
                    <a:gd name="T14" fmla="*/ 0 w 12"/>
                    <a:gd name="T15" fmla="*/ 12 h 12"/>
                    <a:gd name="T16" fmla="*/ 6 w 12"/>
                    <a:gd name="T17" fmla="*/ 12 h 1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2" h="12">
                      <a:moveTo>
                        <a:pt x="6" y="12"/>
                      </a:moveTo>
                      <a:lnTo>
                        <a:pt x="6" y="12"/>
                      </a:ln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6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66" name="Freeform 562"/>
                <p:cNvSpPr>
                  <a:spLocks/>
                </p:cNvSpPr>
                <p:nvPr/>
              </p:nvSpPr>
              <p:spPr bwMode="auto">
                <a:xfrm>
                  <a:off x="2562" y="1356"/>
                  <a:ext cx="12" cy="12"/>
                </a:xfrm>
                <a:custGeom>
                  <a:avLst/>
                  <a:gdLst>
                    <a:gd name="T0" fmla="*/ 6 w 12"/>
                    <a:gd name="T1" fmla="*/ 12 h 12"/>
                    <a:gd name="T2" fmla="*/ 12 w 12"/>
                    <a:gd name="T3" fmla="*/ 6 h 12"/>
                    <a:gd name="T4" fmla="*/ 6 w 12"/>
                    <a:gd name="T5" fmla="*/ 6 h 12"/>
                    <a:gd name="T6" fmla="*/ 6 w 12"/>
                    <a:gd name="T7" fmla="*/ 0 h 12"/>
                    <a:gd name="T8" fmla="*/ 0 w 12"/>
                    <a:gd name="T9" fmla="*/ 6 h 12"/>
                    <a:gd name="T10" fmla="*/ 0 w 12"/>
                    <a:gd name="T11" fmla="*/ 12 h 12"/>
                    <a:gd name="T12" fmla="*/ 6 w 12"/>
                    <a:gd name="T13" fmla="*/ 12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2" h="12">
                      <a:moveTo>
                        <a:pt x="6" y="12"/>
                      </a:move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6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49" name="Group 563"/>
              <p:cNvGrpSpPr>
                <a:grpSpLocks/>
              </p:cNvGrpSpPr>
              <p:nvPr/>
            </p:nvGrpSpPr>
            <p:grpSpPr bwMode="auto">
              <a:xfrm>
                <a:off x="2400" y="1428"/>
                <a:ext cx="108" cy="72"/>
                <a:chOff x="2400" y="1428"/>
                <a:chExt cx="108" cy="72"/>
              </a:xfrm>
              <a:grpFill/>
            </p:grpSpPr>
            <p:grpSp>
              <p:nvGrpSpPr>
                <p:cNvPr id="1050" name="Group 564"/>
                <p:cNvGrpSpPr>
                  <a:grpSpLocks/>
                </p:cNvGrpSpPr>
                <p:nvPr/>
              </p:nvGrpSpPr>
              <p:grpSpPr bwMode="auto">
                <a:xfrm>
                  <a:off x="2490" y="1476"/>
                  <a:ext cx="18" cy="12"/>
                  <a:chOff x="2490" y="1476"/>
                  <a:chExt cx="18" cy="12"/>
                </a:xfrm>
                <a:grpFill/>
              </p:grpSpPr>
              <p:sp>
                <p:nvSpPr>
                  <p:cNvPr id="1063" name="Freeform 565"/>
                  <p:cNvSpPr>
                    <a:spLocks/>
                  </p:cNvSpPr>
                  <p:nvPr/>
                </p:nvSpPr>
                <p:spPr bwMode="auto">
                  <a:xfrm>
                    <a:off x="2490" y="1476"/>
                    <a:ext cx="18" cy="12"/>
                  </a:xfrm>
                  <a:custGeom>
                    <a:avLst/>
                    <a:gdLst>
                      <a:gd name="T0" fmla="*/ 12 w 18"/>
                      <a:gd name="T1" fmla="*/ 12 h 12"/>
                      <a:gd name="T2" fmla="*/ 18 w 18"/>
                      <a:gd name="T3" fmla="*/ 12 h 12"/>
                      <a:gd name="T4" fmla="*/ 18 w 18"/>
                      <a:gd name="T5" fmla="*/ 6 h 12"/>
                      <a:gd name="T6" fmla="*/ 18 w 18"/>
                      <a:gd name="T7" fmla="*/ 0 h 12"/>
                      <a:gd name="T8" fmla="*/ 12 w 18"/>
                      <a:gd name="T9" fmla="*/ 0 h 12"/>
                      <a:gd name="T10" fmla="*/ 0 w 18"/>
                      <a:gd name="T11" fmla="*/ 0 h 12"/>
                      <a:gd name="T12" fmla="*/ 0 w 18"/>
                      <a:gd name="T13" fmla="*/ 0 h 12"/>
                      <a:gd name="T14" fmla="*/ 0 w 18"/>
                      <a:gd name="T15" fmla="*/ 6 h 12"/>
                      <a:gd name="T16" fmla="*/ 0 w 18"/>
                      <a:gd name="T17" fmla="*/ 12 h 12"/>
                      <a:gd name="T18" fmla="*/ 12 w 18"/>
                      <a:gd name="T19" fmla="*/ 12 h 12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0" t="0" r="r" b="b"/>
                    <a:pathLst>
                      <a:path w="18" h="12">
                        <a:moveTo>
                          <a:pt x="12" y="12"/>
                        </a:moveTo>
                        <a:lnTo>
                          <a:pt x="18" y="12"/>
                        </a:lnTo>
                        <a:lnTo>
                          <a:pt x="18" y="6"/>
                        </a:lnTo>
                        <a:lnTo>
                          <a:pt x="18" y="0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12"/>
                        </a:lnTo>
                        <a:lnTo>
                          <a:pt x="12" y="1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defTabSz="914354"/>
                    <a:endParaRPr lang="zh-CN" altLang="en-US" sz="300">
                      <a:solidFill>
                        <a:srgbClr val="0D566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064" name="Freeform 566"/>
                  <p:cNvSpPr>
                    <a:spLocks/>
                  </p:cNvSpPr>
                  <p:nvPr/>
                </p:nvSpPr>
                <p:spPr bwMode="auto">
                  <a:xfrm>
                    <a:off x="2490" y="1476"/>
                    <a:ext cx="18" cy="12"/>
                  </a:xfrm>
                  <a:custGeom>
                    <a:avLst/>
                    <a:gdLst>
                      <a:gd name="T0" fmla="*/ 12 w 18"/>
                      <a:gd name="T1" fmla="*/ 12 h 12"/>
                      <a:gd name="T2" fmla="*/ 18 w 18"/>
                      <a:gd name="T3" fmla="*/ 12 h 12"/>
                      <a:gd name="T4" fmla="*/ 18 w 18"/>
                      <a:gd name="T5" fmla="*/ 6 h 12"/>
                      <a:gd name="T6" fmla="*/ 18 w 18"/>
                      <a:gd name="T7" fmla="*/ 0 h 12"/>
                      <a:gd name="T8" fmla="*/ 12 w 18"/>
                      <a:gd name="T9" fmla="*/ 0 h 12"/>
                      <a:gd name="T10" fmla="*/ 0 w 18"/>
                      <a:gd name="T11" fmla="*/ 0 h 12"/>
                      <a:gd name="T12" fmla="*/ 0 w 18"/>
                      <a:gd name="T13" fmla="*/ 6 h 12"/>
                      <a:gd name="T14" fmla="*/ 0 w 18"/>
                      <a:gd name="T15" fmla="*/ 12 h 12"/>
                      <a:gd name="T16" fmla="*/ 12 w 18"/>
                      <a:gd name="T17" fmla="*/ 12 h 12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18" h="12">
                        <a:moveTo>
                          <a:pt x="12" y="12"/>
                        </a:moveTo>
                        <a:lnTo>
                          <a:pt x="18" y="12"/>
                        </a:lnTo>
                        <a:lnTo>
                          <a:pt x="18" y="6"/>
                        </a:lnTo>
                        <a:lnTo>
                          <a:pt x="18" y="0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12"/>
                        </a:lnTo>
                        <a:lnTo>
                          <a:pt x="12" y="1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defTabSz="914354"/>
                    <a:endParaRPr lang="zh-CN" altLang="en-US" sz="300">
                      <a:solidFill>
                        <a:srgbClr val="0D566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1051" name="Group 567"/>
                <p:cNvGrpSpPr>
                  <a:grpSpLocks/>
                </p:cNvGrpSpPr>
                <p:nvPr/>
              </p:nvGrpSpPr>
              <p:grpSpPr bwMode="auto">
                <a:xfrm>
                  <a:off x="2448" y="1470"/>
                  <a:ext cx="30" cy="6"/>
                  <a:chOff x="2448" y="1470"/>
                  <a:chExt cx="30" cy="6"/>
                </a:xfrm>
                <a:grpFill/>
              </p:grpSpPr>
              <p:sp>
                <p:nvSpPr>
                  <p:cNvPr id="1061" name="Freeform 568"/>
                  <p:cNvSpPr>
                    <a:spLocks/>
                  </p:cNvSpPr>
                  <p:nvPr/>
                </p:nvSpPr>
                <p:spPr bwMode="auto">
                  <a:xfrm>
                    <a:off x="2448" y="1470"/>
                    <a:ext cx="30" cy="6"/>
                  </a:xfrm>
                  <a:custGeom>
                    <a:avLst/>
                    <a:gdLst>
                      <a:gd name="T0" fmla="*/ 12 w 30"/>
                      <a:gd name="T1" fmla="*/ 6 h 6"/>
                      <a:gd name="T2" fmla="*/ 24 w 30"/>
                      <a:gd name="T3" fmla="*/ 6 h 6"/>
                      <a:gd name="T4" fmla="*/ 30 w 30"/>
                      <a:gd name="T5" fmla="*/ 6 h 6"/>
                      <a:gd name="T6" fmla="*/ 24 w 30"/>
                      <a:gd name="T7" fmla="*/ 0 h 6"/>
                      <a:gd name="T8" fmla="*/ 12 w 30"/>
                      <a:gd name="T9" fmla="*/ 0 h 6"/>
                      <a:gd name="T10" fmla="*/ 6 w 30"/>
                      <a:gd name="T11" fmla="*/ 0 h 6"/>
                      <a:gd name="T12" fmla="*/ 0 w 30"/>
                      <a:gd name="T13" fmla="*/ 6 h 6"/>
                      <a:gd name="T14" fmla="*/ 6 w 30"/>
                      <a:gd name="T15" fmla="*/ 6 h 6"/>
                      <a:gd name="T16" fmla="*/ 12 w 30"/>
                      <a:gd name="T17" fmla="*/ 6 h 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30" h="6">
                        <a:moveTo>
                          <a:pt x="12" y="6"/>
                        </a:moveTo>
                        <a:lnTo>
                          <a:pt x="24" y="6"/>
                        </a:lnTo>
                        <a:lnTo>
                          <a:pt x="30" y="6"/>
                        </a:lnTo>
                        <a:lnTo>
                          <a:pt x="24" y="0"/>
                        </a:lnTo>
                        <a:lnTo>
                          <a:pt x="12" y="0"/>
                        </a:lnTo>
                        <a:lnTo>
                          <a:pt x="6" y="0"/>
                        </a:lnTo>
                        <a:lnTo>
                          <a:pt x="0" y="6"/>
                        </a:lnTo>
                        <a:lnTo>
                          <a:pt x="6" y="6"/>
                        </a:lnTo>
                        <a:lnTo>
                          <a:pt x="12" y="6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defTabSz="914354"/>
                    <a:endParaRPr lang="zh-CN" altLang="en-US" sz="300">
                      <a:solidFill>
                        <a:srgbClr val="0D566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062" name="Freeform 569"/>
                  <p:cNvSpPr>
                    <a:spLocks/>
                  </p:cNvSpPr>
                  <p:nvPr/>
                </p:nvSpPr>
                <p:spPr bwMode="auto">
                  <a:xfrm>
                    <a:off x="2448" y="1470"/>
                    <a:ext cx="30" cy="6"/>
                  </a:xfrm>
                  <a:custGeom>
                    <a:avLst/>
                    <a:gdLst>
                      <a:gd name="T0" fmla="*/ 12 w 30"/>
                      <a:gd name="T1" fmla="*/ 6 h 6"/>
                      <a:gd name="T2" fmla="*/ 24 w 30"/>
                      <a:gd name="T3" fmla="*/ 6 h 6"/>
                      <a:gd name="T4" fmla="*/ 30 w 30"/>
                      <a:gd name="T5" fmla="*/ 6 h 6"/>
                      <a:gd name="T6" fmla="*/ 24 w 30"/>
                      <a:gd name="T7" fmla="*/ 0 h 6"/>
                      <a:gd name="T8" fmla="*/ 12 w 30"/>
                      <a:gd name="T9" fmla="*/ 0 h 6"/>
                      <a:gd name="T10" fmla="*/ 6 w 30"/>
                      <a:gd name="T11" fmla="*/ 0 h 6"/>
                      <a:gd name="T12" fmla="*/ 0 w 30"/>
                      <a:gd name="T13" fmla="*/ 6 h 6"/>
                      <a:gd name="T14" fmla="*/ 6 w 30"/>
                      <a:gd name="T15" fmla="*/ 6 h 6"/>
                      <a:gd name="T16" fmla="*/ 12 w 30"/>
                      <a:gd name="T17" fmla="*/ 6 h 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30" h="6">
                        <a:moveTo>
                          <a:pt x="12" y="6"/>
                        </a:moveTo>
                        <a:lnTo>
                          <a:pt x="24" y="6"/>
                        </a:lnTo>
                        <a:lnTo>
                          <a:pt x="30" y="6"/>
                        </a:lnTo>
                        <a:lnTo>
                          <a:pt x="24" y="0"/>
                        </a:lnTo>
                        <a:lnTo>
                          <a:pt x="12" y="0"/>
                        </a:lnTo>
                        <a:lnTo>
                          <a:pt x="6" y="0"/>
                        </a:lnTo>
                        <a:lnTo>
                          <a:pt x="0" y="6"/>
                        </a:lnTo>
                        <a:lnTo>
                          <a:pt x="6" y="6"/>
                        </a:lnTo>
                        <a:lnTo>
                          <a:pt x="12" y="6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defTabSz="914354"/>
                    <a:endParaRPr lang="zh-CN" altLang="en-US" sz="300">
                      <a:solidFill>
                        <a:srgbClr val="0D566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1052" name="Group 570"/>
                <p:cNvGrpSpPr>
                  <a:grpSpLocks/>
                </p:cNvGrpSpPr>
                <p:nvPr/>
              </p:nvGrpSpPr>
              <p:grpSpPr bwMode="auto">
                <a:xfrm>
                  <a:off x="2472" y="1488"/>
                  <a:ext cx="18" cy="6"/>
                  <a:chOff x="2472" y="1488"/>
                  <a:chExt cx="18" cy="6"/>
                </a:xfrm>
                <a:grpFill/>
              </p:grpSpPr>
              <p:sp>
                <p:nvSpPr>
                  <p:cNvPr id="1059" name="Freeform 571"/>
                  <p:cNvSpPr>
                    <a:spLocks/>
                  </p:cNvSpPr>
                  <p:nvPr/>
                </p:nvSpPr>
                <p:spPr bwMode="auto">
                  <a:xfrm>
                    <a:off x="2472" y="1488"/>
                    <a:ext cx="18" cy="6"/>
                  </a:xfrm>
                  <a:custGeom>
                    <a:avLst/>
                    <a:gdLst>
                      <a:gd name="T0" fmla="*/ 12 w 18"/>
                      <a:gd name="T1" fmla="*/ 6 h 6"/>
                      <a:gd name="T2" fmla="*/ 12 w 18"/>
                      <a:gd name="T3" fmla="*/ 6 h 6"/>
                      <a:gd name="T4" fmla="*/ 18 w 18"/>
                      <a:gd name="T5" fmla="*/ 0 h 6"/>
                      <a:gd name="T6" fmla="*/ 12 w 18"/>
                      <a:gd name="T7" fmla="*/ 0 h 6"/>
                      <a:gd name="T8" fmla="*/ 12 w 18"/>
                      <a:gd name="T9" fmla="*/ 0 h 6"/>
                      <a:gd name="T10" fmla="*/ 6 w 18"/>
                      <a:gd name="T11" fmla="*/ 0 h 6"/>
                      <a:gd name="T12" fmla="*/ 0 w 18"/>
                      <a:gd name="T13" fmla="*/ 0 h 6"/>
                      <a:gd name="T14" fmla="*/ 6 w 18"/>
                      <a:gd name="T15" fmla="*/ 6 h 6"/>
                      <a:gd name="T16" fmla="*/ 12 w 18"/>
                      <a:gd name="T17" fmla="*/ 6 h 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0" t="0" r="r" b="b"/>
                    <a:pathLst>
                      <a:path w="18" h="6">
                        <a:moveTo>
                          <a:pt x="12" y="6"/>
                        </a:moveTo>
                        <a:lnTo>
                          <a:pt x="12" y="6"/>
                        </a:lnTo>
                        <a:lnTo>
                          <a:pt x="18" y="0"/>
                        </a:lnTo>
                        <a:lnTo>
                          <a:pt x="12" y="0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lnTo>
                          <a:pt x="6" y="6"/>
                        </a:lnTo>
                        <a:lnTo>
                          <a:pt x="12" y="6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defTabSz="914354"/>
                    <a:endParaRPr lang="zh-CN" altLang="en-US" sz="300">
                      <a:solidFill>
                        <a:srgbClr val="0D566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060" name="Freeform 572"/>
                  <p:cNvSpPr>
                    <a:spLocks/>
                  </p:cNvSpPr>
                  <p:nvPr/>
                </p:nvSpPr>
                <p:spPr bwMode="auto">
                  <a:xfrm>
                    <a:off x="2472" y="1488"/>
                    <a:ext cx="18" cy="6"/>
                  </a:xfrm>
                  <a:custGeom>
                    <a:avLst/>
                    <a:gdLst>
                      <a:gd name="T0" fmla="*/ 12 w 18"/>
                      <a:gd name="T1" fmla="*/ 6 h 6"/>
                      <a:gd name="T2" fmla="*/ 18 w 18"/>
                      <a:gd name="T3" fmla="*/ 0 h 6"/>
                      <a:gd name="T4" fmla="*/ 12 w 18"/>
                      <a:gd name="T5" fmla="*/ 0 h 6"/>
                      <a:gd name="T6" fmla="*/ 6 w 18"/>
                      <a:gd name="T7" fmla="*/ 0 h 6"/>
                      <a:gd name="T8" fmla="*/ 0 w 18"/>
                      <a:gd name="T9" fmla="*/ 0 h 6"/>
                      <a:gd name="T10" fmla="*/ 6 w 18"/>
                      <a:gd name="T11" fmla="*/ 6 h 6"/>
                      <a:gd name="T12" fmla="*/ 12 w 18"/>
                      <a:gd name="T13" fmla="*/ 6 h 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0" t="0" r="r" b="b"/>
                    <a:pathLst>
                      <a:path w="18" h="6">
                        <a:moveTo>
                          <a:pt x="12" y="6"/>
                        </a:moveTo>
                        <a:lnTo>
                          <a:pt x="18" y="0"/>
                        </a:lnTo>
                        <a:lnTo>
                          <a:pt x="12" y="0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lnTo>
                          <a:pt x="6" y="6"/>
                        </a:lnTo>
                        <a:lnTo>
                          <a:pt x="12" y="6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defTabSz="914354"/>
                    <a:endParaRPr lang="zh-CN" altLang="en-US" sz="300">
                      <a:solidFill>
                        <a:srgbClr val="0D566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1053" name="Group 573"/>
                <p:cNvGrpSpPr>
                  <a:grpSpLocks/>
                </p:cNvGrpSpPr>
                <p:nvPr/>
              </p:nvGrpSpPr>
              <p:grpSpPr bwMode="auto">
                <a:xfrm>
                  <a:off x="2454" y="1482"/>
                  <a:ext cx="6" cy="12"/>
                  <a:chOff x="2454" y="1482"/>
                  <a:chExt cx="6" cy="12"/>
                </a:xfrm>
                <a:grpFill/>
              </p:grpSpPr>
              <p:sp>
                <p:nvSpPr>
                  <p:cNvPr id="1057" name="Freeform 574"/>
                  <p:cNvSpPr>
                    <a:spLocks/>
                  </p:cNvSpPr>
                  <p:nvPr/>
                </p:nvSpPr>
                <p:spPr bwMode="auto">
                  <a:xfrm>
                    <a:off x="2454" y="1482"/>
                    <a:ext cx="6" cy="12"/>
                  </a:xfrm>
                  <a:custGeom>
                    <a:avLst/>
                    <a:gdLst>
                      <a:gd name="T0" fmla="*/ 0 w 6"/>
                      <a:gd name="T1" fmla="*/ 12 h 12"/>
                      <a:gd name="T2" fmla="*/ 6 w 6"/>
                      <a:gd name="T3" fmla="*/ 6 h 12"/>
                      <a:gd name="T4" fmla="*/ 6 w 6"/>
                      <a:gd name="T5" fmla="*/ 6 h 12"/>
                      <a:gd name="T6" fmla="*/ 0 w 6"/>
                      <a:gd name="T7" fmla="*/ 0 h 12"/>
                      <a:gd name="T8" fmla="*/ 0 w 6"/>
                      <a:gd name="T9" fmla="*/ 6 h 12"/>
                      <a:gd name="T10" fmla="*/ 0 w 6"/>
                      <a:gd name="T11" fmla="*/ 6 h 12"/>
                      <a:gd name="T12" fmla="*/ 0 w 6"/>
                      <a:gd name="T13" fmla="*/ 6 h 12"/>
                      <a:gd name="T14" fmla="*/ 0 w 6"/>
                      <a:gd name="T15" fmla="*/ 12 h 1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0" t="0" r="r" b="b"/>
                    <a:pathLst>
                      <a:path w="6" h="12">
                        <a:moveTo>
                          <a:pt x="0" y="12"/>
                        </a:moveTo>
                        <a:lnTo>
                          <a:pt x="6" y="6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defTabSz="914354"/>
                    <a:endParaRPr lang="zh-CN" altLang="en-US" sz="300">
                      <a:solidFill>
                        <a:srgbClr val="0D566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058" name="Freeform 575"/>
                  <p:cNvSpPr>
                    <a:spLocks/>
                  </p:cNvSpPr>
                  <p:nvPr/>
                </p:nvSpPr>
                <p:spPr bwMode="auto">
                  <a:xfrm>
                    <a:off x="2454" y="1482"/>
                    <a:ext cx="6" cy="12"/>
                  </a:xfrm>
                  <a:custGeom>
                    <a:avLst/>
                    <a:gdLst>
                      <a:gd name="T0" fmla="*/ 0 w 6"/>
                      <a:gd name="T1" fmla="*/ 12 h 12"/>
                      <a:gd name="T2" fmla="*/ 6 w 6"/>
                      <a:gd name="T3" fmla="*/ 6 h 12"/>
                      <a:gd name="T4" fmla="*/ 0 w 6"/>
                      <a:gd name="T5" fmla="*/ 0 h 12"/>
                      <a:gd name="T6" fmla="*/ 0 w 6"/>
                      <a:gd name="T7" fmla="*/ 6 h 12"/>
                      <a:gd name="T8" fmla="*/ 0 w 6"/>
                      <a:gd name="T9" fmla="*/ 12 h 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0" t="0" r="r" b="b"/>
                    <a:pathLst>
                      <a:path w="6" h="12">
                        <a:moveTo>
                          <a:pt x="0" y="12"/>
                        </a:moveTo>
                        <a:lnTo>
                          <a:pt x="6" y="6"/>
                        </a:lnTo>
                        <a:lnTo>
                          <a:pt x="0" y="0"/>
                        </a:lnTo>
                        <a:lnTo>
                          <a:pt x="0" y="6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defTabSz="914354"/>
                    <a:endParaRPr lang="zh-CN" altLang="en-US" sz="300">
                      <a:solidFill>
                        <a:srgbClr val="0D566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1054" name="Group 576"/>
                <p:cNvGrpSpPr>
                  <a:grpSpLocks/>
                </p:cNvGrpSpPr>
                <p:nvPr/>
              </p:nvGrpSpPr>
              <p:grpSpPr bwMode="auto">
                <a:xfrm>
                  <a:off x="2400" y="1428"/>
                  <a:ext cx="60" cy="72"/>
                  <a:chOff x="2400" y="1428"/>
                  <a:chExt cx="60" cy="72"/>
                </a:xfrm>
                <a:grpFill/>
              </p:grpSpPr>
              <p:sp>
                <p:nvSpPr>
                  <p:cNvPr id="1055" name="Freeform 577"/>
                  <p:cNvSpPr>
                    <a:spLocks/>
                  </p:cNvSpPr>
                  <p:nvPr/>
                </p:nvSpPr>
                <p:spPr bwMode="auto">
                  <a:xfrm>
                    <a:off x="2400" y="1428"/>
                    <a:ext cx="60" cy="72"/>
                  </a:xfrm>
                  <a:custGeom>
                    <a:avLst/>
                    <a:gdLst>
                      <a:gd name="T0" fmla="*/ 6 w 60"/>
                      <a:gd name="T1" fmla="*/ 72 h 72"/>
                      <a:gd name="T2" fmla="*/ 6 w 60"/>
                      <a:gd name="T3" fmla="*/ 60 h 72"/>
                      <a:gd name="T4" fmla="*/ 12 w 60"/>
                      <a:gd name="T5" fmla="*/ 48 h 72"/>
                      <a:gd name="T6" fmla="*/ 0 w 60"/>
                      <a:gd name="T7" fmla="*/ 42 h 72"/>
                      <a:gd name="T8" fmla="*/ 0 w 60"/>
                      <a:gd name="T9" fmla="*/ 36 h 72"/>
                      <a:gd name="T10" fmla="*/ 6 w 60"/>
                      <a:gd name="T11" fmla="*/ 18 h 72"/>
                      <a:gd name="T12" fmla="*/ 12 w 60"/>
                      <a:gd name="T13" fmla="*/ 12 h 72"/>
                      <a:gd name="T14" fmla="*/ 18 w 60"/>
                      <a:gd name="T15" fmla="*/ 12 h 72"/>
                      <a:gd name="T16" fmla="*/ 24 w 60"/>
                      <a:gd name="T17" fmla="*/ 6 h 72"/>
                      <a:gd name="T18" fmla="*/ 42 w 60"/>
                      <a:gd name="T19" fmla="*/ 0 h 72"/>
                      <a:gd name="T20" fmla="*/ 54 w 60"/>
                      <a:gd name="T21" fmla="*/ 6 h 72"/>
                      <a:gd name="T22" fmla="*/ 60 w 60"/>
                      <a:gd name="T23" fmla="*/ 6 h 72"/>
                      <a:gd name="T24" fmla="*/ 60 w 60"/>
                      <a:gd name="T25" fmla="*/ 12 h 72"/>
                      <a:gd name="T26" fmla="*/ 54 w 60"/>
                      <a:gd name="T27" fmla="*/ 18 h 72"/>
                      <a:gd name="T28" fmla="*/ 48 w 60"/>
                      <a:gd name="T29" fmla="*/ 12 h 72"/>
                      <a:gd name="T30" fmla="*/ 36 w 60"/>
                      <a:gd name="T31" fmla="*/ 6 h 72"/>
                      <a:gd name="T32" fmla="*/ 18 w 60"/>
                      <a:gd name="T33" fmla="*/ 12 h 72"/>
                      <a:gd name="T34" fmla="*/ 18 w 60"/>
                      <a:gd name="T35" fmla="*/ 18 h 72"/>
                      <a:gd name="T36" fmla="*/ 18 w 60"/>
                      <a:gd name="T37" fmla="*/ 30 h 72"/>
                      <a:gd name="T38" fmla="*/ 30 w 60"/>
                      <a:gd name="T39" fmla="*/ 30 h 72"/>
                      <a:gd name="T40" fmla="*/ 36 w 60"/>
                      <a:gd name="T41" fmla="*/ 24 h 72"/>
                      <a:gd name="T42" fmla="*/ 42 w 60"/>
                      <a:gd name="T43" fmla="*/ 24 h 72"/>
                      <a:gd name="T44" fmla="*/ 42 w 60"/>
                      <a:gd name="T45" fmla="*/ 30 h 72"/>
                      <a:gd name="T46" fmla="*/ 24 w 60"/>
                      <a:gd name="T47" fmla="*/ 36 h 72"/>
                      <a:gd name="T48" fmla="*/ 24 w 60"/>
                      <a:gd name="T49" fmla="*/ 36 h 72"/>
                      <a:gd name="T50" fmla="*/ 30 w 60"/>
                      <a:gd name="T51" fmla="*/ 42 h 72"/>
                      <a:gd name="T52" fmla="*/ 36 w 60"/>
                      <a:gd name="T53" fmla="*/ 54 h 72"/>
                      <a:gd name="T54" fmla="*/ 48 w 60"/>
                      <a:gd name="T55" fmla="*/ 66 h 72"/>
                      <a:gd name="T56" fmla="*/ 30 w 60"/>
                      <a:gd name="T57" fmla="*/ 72 h 72"/>
                      <a:gd name="T58" fmla="*/ 24 w 60"/>
                      <a:gd name="T59" fmla="*/ 48 h 72"/>
                      <a:gd name="T60" fmla="*/ 24 w 60"/>
                      <a:gd name="T61" fmla="*/ 42 h 72"/>
                      <a:gd name="T62" fmla="*/ 18 w 60"/>
                      <a:gd name="T63" fmla="*/ 60 h 72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</a:gdLst>
                    <a:ahLst/>
                    <a:cxnLst>
                      <a:cxn ang="T64">
                        <a:pos x="T0" y="T1"/>
                      </a:cxn>
                      <a:cxn ang="T65">
                        <a:pos x="T2" y="T3"/>
                      </a:cxn>
                      <a:cxn ang="T66">
                        <a:pos x="T4" y="T5"/>
                      </a:cxn>
                      <a:cxn ang="T67">
                        <a:pos x="T6" y="T7"/>
                      </a:cxn>
                      <a:cxn ang="T68">
                        <a:pos x="T8" y="T9"/>
                      </a:cxn>
                      <a:cxn ang="T69">
                        <a:pos x="T10" y="T11"/>
                      </a:cxn>
                      <a:cxn ang="T70">
                        <a:pos x="T12" y="T13"/>
                      </a:cxn>
                      <a:cxn ang="T71">
                        <a:pos x="T14" y="T15"/>
                      </a:cxn>
                      <a:cxn ang="T72">
                        <a:pos x="T16" y="T17"/>
                      </a:cxn>
                      <a:cxn ang="T73">
                        <a:pos x="T18" y="T19"/>
                      </a:cxn>
                      <a:cxn ang="T74">
                        <a:pos x="T20" y="T21"/>
                      </a:cxn>
                      <a:cxn ang="T75">
                        <a:pos x="T22" y="T23"/>
                      </a:cxn>
                      <a:cxn ang="T76">
                        <a:pos x="T24" y="T25"/>
                      </a:cxn>
                      <a:cxn ang="T77">
                        <a:pos x="T26" y="T27"/>
                      </a:cxn>
                      <a:cxn ang="T78">
                        <a:pos x="T28" y="T29"/>
                      </a:cxn>
                      <a:cxn ang="T79">
                        <a:pos x="T30" y="T31"/>
                      </a:cxn>
                      <a:cxn ang="T80">
                        <a:pos x="T32" y="T33"/>
                      </a:cxn>
                      <a:cxn ang="T81">
                        <a:pos x="T34" y="T35"/>
                      </a:cxn>
                      <a:cxn ang="T82">
                        <a:pos x="T36" y="T37"/>
                      </a:cxn>
                      <a:cxn ang="T83">
                        <a:pos x="T38" y="T39"/>
                      </a:cxn>
                      <a:cxn ang="T84">
                        <a:pos x="T40" y="T41"/>
                      </a:cxn>
                      <a:cxn ang="T85">
                        <a:pos x="T42" y="T43"/>
                      </a:cxn>
                      <a:cxn ang="T86">
                        <a:pos x="T44" y="T45"/>
                      </a:cxn>
                      <a:cxn ang="T87">
                        <a:pos x="T46" y="T47"/>
                      </a:cxn>
                      <a:cxn ang="T88">
                        <a:pos x="T48" y="T49"/>
                      </a:cxn>
                      <a:cxn ang="T89">
                        <a:pos x="T50" y="T51"/>
                      </a:cxn>
                      <a:cxn ang="T90">
                        <a:pos x="T52" y="T53"/>
                      </a:cxn>
                      <a:cxn ang="T91">
                        <a:pos x="T54" y="T55"/>
                      </a:cxn>
                      <a:cxn ang="T92">
                        <a:pos x="T56" y="T57"/>
                      </a:cxn>
                      <a:cxn ang="T93">
                        <a:pos x="T58" y="T59"/>
                      </a:cxn>
                      <a:cxn ang="T94">
                        <a:pos x="T60" y="T61"/>
                      </a:cxn>
                      <a:cxn ang="T95">
                        <a:pos x="T62" y="T63"/>
                      </a:cxn>
                    </a:cxnLst>
                    <a:rect l="0" t="0" r="r" b="b"/>
                    <a:pathLst>
                      <a:path w="60" h="72">
                        <a:moveTo>
                          <a:pt x="12" y="66"/>
                        </a:moveTo>
                        <a:lnTo>
                          <a:pt x="6" y="72"/>
                        </a:lnTo>
                        <a:lnTo>
                          <a:pt x="6" y="60"/>
                        </a:lnTo>
                        <a:lnTo>
                          <a:pt x="6" y="54"/>
                        </a:lnTo>
                        <a:lnTo>
                          <a:pt x="12" y="48"/>
                        </a:lnTo>
                        <a:lnTo>
                          <a:pt x="6" y="42"/>
                        </a:lnTo>
                        <a:lnTo>
                          <a:pt x="0" y="42"/>
                        </a:lnTo>
                        <a:lnTo>
                          <a:pt x="0" y="36"/>
                        </a:lnTo>
                        <a:lnTo>
                          <a:pt x="6" y="24"/>
                        </a:lnTo>
                        <a:lnTo>
                          <a:pt x="6" y="18"/>
                        </a:lnTo>
                        <a:lnTo>
                          <a:pt x="12" y="12"/>
                        </a:lnTo>
                        <a:lnTo>
                          <a:pt x="18" y="12"/>
                        </a:lnTo>
                        <a:lnTo>
                          <a:pt x="18" y="6"/>
                        </a:lnTo>
                        <a:lnTo>
                          <a:pt x="24" y="6"/>
                        </a:lnTo>
                        <a:lnTo>
                          <a:pt x="36" y="0"/>
                        </a:lnTo>
                        <a:lnTo>
                          <a:pt x="42" y="0"/>
                        </a:lnTo>
                        <a:lnTo>
                          <a:pt x="54" y="6"/>
                        </a:lnTo>
                        <a:lnTo>
                          <a:pt x="60" y="6"/>
                        </a:lnTo>
                        <a:lnTo>
                          <a:pt x="60" y="12"/>
                        </a:lnTo>
                        <a:lnTo>
                          <a:pt x="60" y="18"/>
                        </a:lnTo>
                        <a:lnTo>
                          <a:pt x="54" y="18"/>
                        </a:lnTo>
                        <a:lnTo>
                          <a:pt x="48" y="12"/>
                        </a:lnTo>
                        <a:lnTo>
                          <a:pt x="36" y="6"/>
                        </a:lnTo>
                        <a:lnTo>
                          <a:pt x="30" y="6"/>
                        </a:lnTo>
                        <a:lnTo>
                          <a:pt x="18" y="12"/>
                        </a:lnTo>
                        <a:lnTo>
                          <a:pt x="18" y="18"/>
                        </a:lnTo>
                        <a:lnTo>
                          <a:pt x="18" y="24"/>
                        </a:lnTo>
                        <a:lnTo>
                          <a:pt x="18" y="30"/>
                        </a:lnTo>
                        <a:lnTo>
                          <a:pt x="30" y="30"/>
                        </a:lnTo>
                        <a:lnTo>
                          <a:pt x="36" y="24"/>
                        </a:lnTo>
                        <a:lnTo>
                          <a:pt x="42" y="24"/>
                        </a:lnTo>
                        <a:lnTo>
                          <a:pt x="42" y="30"/>
                        </a:lnTo>
                        <a:lnTo>
                          <a:pt x="36" y="30"/>
                        </a:lnTo>
                        <a:lnTo>
                          <a:pt x="24" y="36"/>
                        </a:lnTo>
                        <a:lnTo>
                          <a:pt x="30" y="42"/>
                        </a:lnTo>
                        <a:lnTo>
                          <a:pt x="36" y="48"/>
                        </a:lnTo>
                        <a:lnTo>
                          <a:pt x="36" y="54"/>
                        </a:lnTo>
                        <a:lnTo>
                          <a:pt x="42" y="60"/>
                        </a:lnTo>
                        <a:lnTo>
                          <a:pt x="48" y="66"/>
                        </a:lnTo>
                        <a:lnTo>
                          <a:pt x="36" y="72"/>
                        </a:lnTo>
                        <a:lnTo>
                          <a:pt x="30" y="72"/>
                        </a:lnTo>
                        <a:lnTo>
                          <a:pt x="30" y="60"/>
                        </a:lnTo>
                        <a:lnTo>
                          <a:pt x="24" y="48"/>
                        </a:lnTo>
                        <a:lnTo>
                          <a:pt x="24" y="42"/>
                        </a:lnTo>
                        <a:lnTo>
                          <a:pt x="18" y="42"/>
                        </a:lnTo>
                        <a:lnTo>
                          <a:pt x="18" y="60"/>
                        </a:lnTo>
                        <a:lnTo>
                          <a:pt x="12" y="66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defTabSz="914354"/>
                    <a:endParaRPr lang="zh-CN" altLang="en-US" sz="300">
                      <a:solidFill>
                        <a:srgbClr val="0D566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  <p:sp>
                <p:nvSpPr>
                  <p:cNvPr id="1056" name="Freeform 578"/>
                  <p:cNvSpPr>
                    <a:spLocks/>
                  </p:cNvSpPr>
                  <p:nvPr/>
                </p:nvSpPr>
                <p:spPr bwMode="auto">
                  <a:xfrm>
                    <a:off x="2400" y="1428"/>
                    <a:ext cx="60" cy="72"/>
                  </a:xfrm>
                  <a:custGeom>
                    <a:avLst/>
                    <a:gdLst>
                      <a:gd name="T0" fmla="*/ 12 w 60"/>
                      <a:gd name="T1" fmla="*/ 66 h 72"/>
                      <a:gd name="T2" fmla="*/ 6 w 60"/>
                      <a:gd name="T3" fmla="*/ 72 h 72"/>
                      <a:gd name="T4" fmla="*/ 6 w 60"/>
                      <a:gd name="T5" fmla="*/ 60 h 72"/>
                      <a:gd name="T6" fmla="*/ 6 w 60"/>
                      <a:gd name="T7" fmla="*/ 54 h 72"/>
                      <a:gd name="T8" fmla="*/ 12 w 60"/>
                      <a:gd name="T9" fmla="*/ 48 h 72"/>
                      <a:gd name="T10" fmla="*/ 6 w 60"/>
                      <a:gd name="T11" fmla="*/ 42 h 72"/>
                      <a:gd name="T12" fmla="*/ 0 w 60"/>
                      <a:gd name="T13" fmla="*/ 42 h 72"/>
                      <a:gd name="T14" fmla="*/ 0 w 60"/>
                      <a:gd name="T15" fmla="*/ 36 h 72"/>
                      <a:gd name="T16" fmla="*/ 6 w 60"/>
                      <a:gd name="T17" fmla="*/ 24 h 72"/>
                      <a:gd name="T18" fmla="*/ 6 w 60"/>
                      <a:gd name="T19" fmla="*/ 18 h 72"/>
                      <a:gd name="T20" fmla="*/ 12 w 60"/>
                      <a:gd name="T21" fmla="*/ 12 h 72"/>
                      <a:gd name="T22" fmla="*/ 18 w 60"/>
                      <a:gd name="T23" fmla="*/ 12 h 72"/>
                      <a:gd name="T24" fmla="*/ 18 w 60"/>
                      <a:gd name="T25" fmla="*/ 6 h 72"/>
                      <a:gd name="T26" fmla="*/ 24 w 60"/>
                      <a:gd name="T27" fmla="*/ 6 h 72"/>
                      <a:gd name="T28" fmla="*/ 36 w 60"/>
                      <a:gd name="T29" fmla="*/ 0 h 72"/>
                      <a:gd name="T30" fmla="*/ 42 w 60"/>
                      <a:gd name="T31" fmla="*/ 0 h 72"/>
                      <a:gd name="T32" fmla="*/ 54 w 60"/>
                      <a:gd name="T33" fmla="*/ 6 h 72"/>
                      <a:gd name="T34" fmla="*/ 60 w 60"/>
                      <a:gd name="T35" fmla="*/ 6 h 72"/>
                      <a:gd name="T36" fmla="*/ 60 w 60"/>
                      <a:gd name="T37" fmla="*/ 12 h 72"/>
                      <a:gd name="T38" fmla="*/ 60 w 60"/>
                      <a:gd name="T39" fmla="*/ 18 h 72"/>
                      <a:gd name="T40" fmla="*/ 54 w 60"/>
                      <a:gd name="T41" fmla="*/ 18 h 72"/>
                      <a:gd name="T42" fmla="*/ 48 w 60"/>
                      <a:gd name="T43" fmla="*/ 12 h 72"/>
                      <a:gd name="T44" fmla="*/ 36 w 60"/>
                      <a:gd name="T45" fmla="*/ 6 h 72"/>
                      <a:gd name="T46" fmla="*/ 30 w 60"/>
                      <a:gd name="T47" fmla="*/ 6 h 72"/>
                      <a:gd name="T48" fmla="*/ 18 w 60"/>
                      <a:gd name="T49" fmla="*/ 12 h 72"/>
                      <a:gd name="T50" fmla="*/ 18 w 60"/>
                      <a:gd name="T51" fmla="*/ 18 h 72"/>
                      <a:gd name="T52" fmla="*/ 18 w 60"/>
                      <a:gd name="T53" fmla="*/ 24 h 72"/>
                      <a:gd name="T54" fmla="*/ 18 w 60"/>
                      <a:gd name="T55" fmla="*/ 30 h 72"/>
                      <a:gd name="T56" fmla="*/ 30 w 60"/>
                      <a:gd name="T57" fmla="*/ 30 h 72"/>
                      <a:gd name="T58" fmla="*/ 36 w 60"/>
                      <a:gd name="T59" fmla="*/ 24 h 72"/>
                      <a:gd name="T60" fmla="*/ 42 w 60"/>
                      <a:gd name="T61" fmla="*/ 24 h 72"/>
                      <a:gd name="T62" fmla="*/ 42 w 60"/>
                      <a:gd name="T63" fmla="*/ 30 h 72"/>
                      <a:gd name="T64" fmla="*/ 36 w 60"/>
                      <a:gd name="T65" fmla="*/ 30 h 72"/>
                      <a:gd name="T66" fmla="*/ 24 w 60"/>
                      <a:gd name="T67" fmla="*/ 36 h 72"/>
                      <a:gd name="T68" fmla="*/ 30 w 60"/>
                      <a:gd name="T69" fmla="*/ 42 h 72"/>
                      <a:gd name="T70" fmla="*/ 36 w 60"/>
                      <a:gd name="T71" fmla="*/ 48 h 72"/>
                      <a:gd name="T72" fmla="*/ 36 w 60"/>
                      <a:gd name="T73" fmla="*/ 54 h 72"/>
                      <a:gd name="T74" fmla="*/ 42 w 60"/>
                      <a:gd name="T75" fmla="*/ 60 h 72"/>
                      <a:gd name="T76" fmla="*/ 48 w 60"/>
                      <a:gd name="T77" fmla="*/ 66 h 72"/>
                      <a:gd name="T78" fmla="*/ 36 w 60"/>
                      <a:gd name="T79" fmla="*/ 72 h 72"/>
                      <a:gd name="T80" fmla="*/ 30 w 60"/>
                      <a:gd name="T81" fmla="*/ 72 h 72"/>
                      <a:gd name="T82" fmla="*/ 30 w 60"/>
                      <a:gd name="T83" fmla="*/ 60 h 72"/>
                      <a:gd name="T84" fmla="*/ 24 w 60"/>
                      <a:gd name="T85" fmla="*/ 48 h 72"/>
                      <a:gd name="T86" fmla="*/ 24 w 60"/>
                      <a:gd name="T87" fmla="*/ 42 h 72"/>
                      <a:gd name="T88" fmla="*/ 18 w 60"/>
                      <a:gd name="T89" fmla="*/ 42 h 72"/>
                      <a:gd name="T90" fmla="*/ 18 w 60"/>
                      <a:gd name="T91" fmla="*/ 60 h 72"/>
                      <a:gd name="T92" fmla="*/ 12 w 60"/>
                      <a:gd name="T93" fmla="*/ 66 h 72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0" t="0" r="r" b="b"/>
                    <a:pathLst>
                      <a:path w="60" h="72">
                        <a:moveTo>
                          <a:pt x="12" y="66"/>
                        </a:moveTo>
                        <a:lnTo>
                          <a:pt x="6" y="72"/>
                        </a:lnTo>
                        <a:lnTo>
                          <a:pt x="6" y="60"/>
                        </a:lnTo>
                        <a:lnTo>
                          <a:pt x="6" y="54"/>
                        </a:lnTo>
                        <a:lnTo>
                          <a:pt x="12" y="48"/>
                        </a:lnTo>
                        <a:lnTo>
                          <a:pt x="6" y="42"/>
                        </a:lnTo>
                        <a:lnTo>
                          <a:pt x="0" y="42"/>
                        </a:lnTo>
                        <a:lnTo>
                          <a:pt x="0" y="36"/>
                        </a:lnTo>
                        <a:lnTo>
                          <a:pt x="6" y="24"/>
                        </a:lnTo>
                        <a:lnTo>
                          <a:pt x="6" y="18"/>
                        </a:lnTo>
                        <a:lnTo>
                          <a:pt x="12" y="12"/>
                        </a:lnTo>
                        <a:lnTo>
                          <a:pt x="18" y="12"/>
                        </a:lnTo>
                        <a:lnTo>
                          <a:pt x="18" y="6"/>
                        </a:lnTo>
                        <a:lnTo>
                          <a:pt x="24" y="6"/>
                        </a:lnTo>
                        <a:lnTo>
                          <a:pt x="36" y="0"/>
                        </a:lnTo>
                        <a:lnTo>
                          <a:pt x="42" y="0"/>
                        </a:lnTo>
                        <a:lnTo>
                          <a:pt x="54" y="6"/>
                        </a:lnTo>
                        <a:lnTo>
                          <a:pt x="60" y="6"/>
                        </a:lnTo>
                        <a:lnTo>
                          <a:pt x="60" y="12"/>
                        </a:lnTo>
                        <a:lnTo>
                          <a:pt x="60" y="18"/>
                        </a:lnTo>
                        <a:lnTo>
                          <a:pt x="54" y="18"/>
                        </a:lnTo>
                        <a:lnTo>
                          <a:pt x="48" y="12"/>
                        </a:lnTo>
                        <a:lnTo>
                          <a:pt x="36" y="6"/>
                        </a:lnTo>
                        <a:lnTo>
                          <a:pt x="30" y="6"/>
                        </a:lnTo>
                        <a:lnTo>
                          <a:pt x="18" y="12"/>
                        </a:lnTo>
                        <a:lnTo>
                          <a:pt x="18" y="18"/>
                        </a:lnTo>
                        <a:lnTo>
                          <a:pt x="18" y="24"/>
                        </a:lnTo>
                        <a:lnTo>
                          <a:pt x="18" y="30"/>
                        </a:lnTo>
                        <a:lnTo>
                          <a:pt x="30" y="30"/>
                        </a:lnTo>
                        <a:lnTo>
                          <a:pt x="36" y="24"/>
                        </a:lnTo>
                        <a:lnTo>
                          <a:pt x="42" y="24"/>
                        </a:lnTo>
                        <a:lnTo>
                          <a:pt x="42" y="30"/>
                        </a:lnTo>
                        <a:lnTo>
                          <a:pt x="36" y="30"/>
                        </a:lnTo>
                        <a:lnTo>
                          <a:pt x="24" y="36"/>
                        </a:lnTo>
                        <a:lnTo>
                          <a:pt x="30" y="42"/>
                        </a:lnTo>
                        <a:lnTo>
                          <a:pt x="36" y="48"/>
                        </a:lnTo>
                        <a:lnTo>
                          <a:pt x="36" y="54"/>
                        </a:lnTo>
                        <a:lnTo>
                          <a:pt x="42" y="60"/>
                        </a:lnTo>
                        <a:lnTo>
                          <a:pt x="48" y="66"/>
                        </a:lnTo>
                        <a:lnTo>
                          <a:pt x="36" y="72"/>
                        </a:lnTo>
                        <a:lnTo>
                          <a:pt x="30" y="72"/>
                        </a:lnTo>
                        <a:lnTo>
                          <a:pt x="30" y="60"/>
                        </a:lnTo>
                        <a:lnTo>
                          <a:pt x="24" y="48"/>
                        </a:lnTo>
                        <a:lnTo>
                          <a:pt x="24" y="42"/>
                        </a:lnTo>
                        <a:lnTo>
                          <a:pt x="18" y="42"/>
                        </a:lnTo>
                        <a:lnTo>
                          <a:pt x="18" y="60"/>
                        </a:lnTo>
                        <a:lnTo>
                          <a:pt x="12" y="66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defTabSz="914354"/>
                    <a:endParaRPr lang="zh-CN" altLang="en-US" sz="300">
                      <a:solidFill>
                        <a:srgbClr val="0D5661"/>
                      </a:solidFill>
                      <a:latin typeface="微软雅黑" panose="020B0503020204020204" pitchFamily="34" charset="-122"/>
                    </a:endParaRPr>
                  </a:p>
                </p:txBody>
              </p:sp>
            </p:grpSp>
          </p:grpSp>
        </p:grpSp>
        <p:grpSp>
          <p:nvGrpSpPr>
            <p:cNvPr id="700" name="Group 579"/>
            <p:cNvGrpSpPr>
              <a:grpSpLocks/>
            </p:cNvGrpSpPr>
            <p:nvPr/>
          </p:nvGrpSpPr>
          <p:grpSpPr bwMode="auto">
            <a:xfrm>
              <a:off x="2657096" y="3176511"/>
              <a:ext cx="634256" cy="267011"/>
              <a:chOff x="2172" y="1398"/>
              <a:chExt cx="312" cy="156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1024" name="Group 580"/>
              <p:cNvGrpSpPr>
                <a:grpSpLocks/>
              </p:cNvGrpSpPr>
              <p:nvPr/>
            </p:nvGrpSpPr>
            <p:grpSpPr bwMode="auto">
              <a:xfrm>
                <a:off x="2364" y="1530"/>
                <a:ext cx="12" cy="6"/>
                <a:chOff x="2364" y="1530"/>
                <a:chExt cx="12" cy="6"/>
              </a:xfrm>
              <a:grpFill/>
            </p:grpSpPr>
            <p:sp>
              <p:nvSpPr>
                <p:cNvPr id="1043" name="Freeform 581"/>
                <p:cNvSpPr>
                  <a:spLocks/>
                </p:cNvSpPr>
                <p:nvPr/>
              </p:nvSpPr>
              <p:spPr bwMode="auto">
                <a:xfrm>
                  <a:off x="2364" y="1530"/>
                  <a:ext cx="12" cy="6"/>
                </a:xfrm>
                <a:custGeom>
                  <a:avLst/>
                  <a:gdLst>
                    <a:gd name="T0" fmla="*/ 6 w 12"/>
                    <a:gd name="T1" fmla="*/ 0 h 6"/>
                    <a:gd name="T2" fmla="*/ 12 w 12"/>
                    <a:gd name="T3" fmla="*/ 0 h 6"/>
                    <a:gd name="T4" fmla="*/ 12 w 12"/>
                    <a:gd name="T5" fmla="*/ 0 h 6"/>
                    <a:gd name="T6" fmla="*/ 12 w 12"/>
                    <a:gd name="T7" fmla="*/ 6 h 6"/>
                    <a:gd name="T8" fmla="*/ 6 w 12"/>
                    <a:gd name="T9" fmla="*/ 6 h 6"/>
                    <a:gd name="T10" fmla="*/ 0 w 12"/>
                    <a:gd name="T11" fmla="*/ 6 h 6"/>
                    <a:gd name="T12" fmla="*/ 0 w 12"/>
                    <a:gd name="T13" fmla="*/ 0 h 6"/>
                    <a:gd name="T14" fmla="*/ 0 w 12"/>
                    <a:gd name="T15" fmla="*/ 0 h 6"/>
                    <a:gd name="T16" fmla="*/ 6 w 12"/>
                    <a:gd name="T17" fmla="*/ 0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2" h="6">
                      <a:moveTo>
                        <a:pt x="6" y="0"/>
                      </a:moveTo>
                      <a:lnTo>
                        <a:pt x="12" y="0"/>
                      </a:ln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44" name="Freeform 582"/>
                <p:cNvSpPr>
                  <a:spLocks/>
                </p:cNvSpPr>
                <p:nvPr/>
              </p:nvSpPr>
              <p:spPr bwMode="auto">
                <a:xfrm>
                  <a:off x="2364" y="1530"/>
                  <a:ext cx="12" cy="6"/>
                </a:xfrm>
                <a:custGeom>
                  <a:avLst/>
                  <a:gdLst>
                    <a:gd name="T0" fmla="*/ 6 w 12"/>
                    <a:gd name="T1" fmla="*/ 0 h 6"/>
                    <a:gd name="T2" fmla="*/ 12 w 12"/>
                    <a:gd name="T3" fmla="*/ 0 h 6"/>
                    <a:gd name="T4" fmla="*/ 12 w 12"/>
                    <a:gd name="T5" fmla="*/ 6 h 6"/>
                    <a:gd name="T6" fmla="*/ 6 w 12"/>
                    <a:gd name="T7" fmla="*/ 6 h 6"/>
                    <a:gd name="T8" fmla="*/ 0 w 12"/>
                    <a:gd name="T9" fmla="*/ 6 h 6"/>
                    <a:gd name="T10" fmla="*/ 0 w 12"/>
                    <a:gd name="T11" fmla="*/ 0 h 6"/>
                    <a:gd name="T12" fmla="*/ 6 w 12"/>
                    <a:gd name="T13" fmla="*/ 0 h 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2" h="6">
                      <a:moveTo>
                        <a:pt x="6" y="0"/>
                      </a:moveTo>
                      <a:lnTo>
                        <a:pt x="12" y="0"/>
                      </a:ln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25" name="Group 583"/>
              <p:cNvGrpSpPr>
                <a:grpSpLocks/>
              </p:cNvGrpSpPr>
              <p:nvPr/>
            </p:nvGrpSpPr>
            <p:grpSpPr bwMode="auto">
              <a:xfrm>
                <a:off x="2388" y="1530"/>
                <a:ext cx="18" cy="6"/>
                <a:chOff x="2388" y="1530"/>
                <a:chExt cx="18" cy="6"/>
              </a:xfrm>
              <a:grpFill/>
            </p:grpSpPr>
            <p:sp>
              <p:nvSpPr>
                <p:cNvPr id="1041" name="Freeform 584"/>
                <p:cNvSpPr>
                  <a:spLocks/>
                </p:cNvSpPr>
                <p:nvPr/>
              </p:nvSpPr>
              <p:spPr bwMode="auto">
                <a:xfrm>
                  <a:off x="2388" y="1530"/>
                  <a:ext cx="18" cy="6"/>
                </a:xfrm>
                <a:custGeom>
                  <a:avLst/>
                  <a:gdLst>
                    <a:gd name="T0" fmla="*/ 6 w 18"/>
                    <a:gd name="T1" fmla="*/ 0 h 6"/>
                    <a:gd name="T2" fmla="*/ 12 w 18"/>
                    <a:gd name="T3" fmla="*/ 0 h 6"/>
                    <a:gd name="T4" fmla="*/ 18 w 18"/>
                    <a:gd name="T5" fmla="*/ 6 h 6"/>
                    <a:gd name="T6" fmla="*/ 12 w 18"/>
                    <a:gd name="T7" fmla="*/ 6 h 6"/>
                    <a:gd name="T8" fmla="*/ 6 w 18"/>
                    <a:gd name="T9" fmla="*/ 6 h 6"/>
                    <a:gd name="T10" fmla="*/ 6 w 18"/>
                    <a:gd name="T11" fmla="*/ 6 h 6"/>
                    <a:gd name="T12" fmla="*/ 0 w 18"/>
                    <a:gd name="T13" fmla="*/ 6 h 6"/>
                    <a:gd name="T14" fmla="*/ 6 w 18"/>
                    <a:gd name="T15" fmla="*/ 0 h 6"/>
                    <a:gd name="T16" fmla="*/ 6 w 18"/>
                    <a:gd name="T17" fmla="*/ 0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8" h="6">
                      <a:moveTo>
                        <a:pt x="6" y="0"/>
                      </a:moveTo>
                      <a:lnTo>
                        <a:pt x="12" y="0"/>
                      </a:lnTo>
                      <a:lnTo>
                        <a:pt x="18" y="6"/>
                      </a:ln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42" name="Freeform 585"/>
                <p:cNvSpPr>
                  <a:spLocks/>
                </p:cNvSpPr>
                <p:nvPr/>
              </p:nvSpPr>
              <p:spPr bwMode="auto">
                <a:xfrm>
                  <a:off x="2388" y="1530"/>
                  <a:ext cx="18" cy="6"/>
                </a:xfrm>
                <a:custGeom>
                  <a:avLst/>
                  <a:gdLst>
                    <a:gd name="T0" fmla="*/ 6 w 18"/>
                    <a:gd name="T1" fmla="*/ 0 h 6"/>
                    <a:gd name="T2" fmla="*/ 12 w 18"/>
                    <a:gd name="T3" fmla="*/ 0 h 6"/>
                    <a:gd name="T4" fmla="*/ 18 w 18"/>
                    <a:gd name="T5" fmla="*/ 6 h 6"/>
                    <a:gd name="T6" fmla="*/ 12 w 18"/>
                    <a:gd name="T7" fmla="*/ 6 h 6"/>
                    <a:gd name="T8" fmla="*/ 6 w 18"/>
                    <a:gd name="T9" fmla="*/ 6 h 6"/>
                    <a:gd name="T10" fmla="*/ 0 w 18"/>
                    <a:gd name="T11" fmla="*/ 6 h 6"/>
                    <a:gd name="T12" fmla="*/ 6 w 18"/>
                    <a:gd name="T13" fmla="*/ 0 h 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8" h="6">
                      <a:moveTo>
                        <a:pt x="6" y="0"/>
                      </a:moveTo>
                      <a:lnTo>
                        <a:pt x="12" y="0"/>
                      </a:lnTo>
                      <a:lnTo>
                        <a:pt x="18" y="6"/>
                      </a:ln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26" name="Group 586"/>
              <p:cNvGrpSpPr>
                <a:grpSpLocks/>
              </p:cNvGrpSpPr>
              <p:nvPr/>
            </p:nvGrpSpPr>
            <p:grpSpPr bwMode="auto">
              <a:xfrm>
                <a:off x="2406" y="1542"/>
                <a:ext cx="6" cy="12"/>
                <a:chOff x="2406" y="1542"/>
                <a:chExt cx="6" cy="12"/>
              </a:xfrm>
              <a:grpFill/>
            </p:grpSpPr>
            <p:sp>
              <p:nvSpPr>
                <p:cNvPr id="1039" name="Freeform 587"/>
                <p:cNvSpPr>
                  <a:spLocks/>
                </p:cNvSpPr>
                <p:nvPr/>
              </p:nvSpPr>
              <p:spPr bwMode="auto">
                <a:xfrm>
                  <a:off x="2406" y="1542"/>
                  <a:ext cx="6" cy="12"/>
                </a:xfrm>
                <a:custGeom>
                  <a:avLst/>
                  <a:gdLst>
                    <a:gd name="T0" fmla="*/ 6 w 6"/>
                    <a:gd name="T1" fmla="*/ 0 h 12"/>
                    <a:gd name="T2" fmla="*/ 0 w 6"/>
                    <a:gd name="T3" fmla="*/ 0 h 12"/>
                    <a:gd name="T4" fmla="*/ 0 w 6"/>
                    <a:gd name="T5" fmla="*/ 6 h 12"/>
                    <a:gd name="T6" fmla="*/ 0 w 6"/>
                    <a:gd name="T7" fmla="*/ 12 h 12"/>
                    <a:gd name="T8" fmla="*/ 6 w 6"/>
                    <a:gd name="T9" fmla="*/ 12 h 12"/>
                    <a:gd name="T10" fmla="*/ 6 w 6"/>
                    <a:gd name="T11" fmla="*/ 12 h 12"/>
                    <a:gd name="T12" fmla="*/ 6 w 6"/>
                    <a:gd name="T13" fmla="*/ 6 h 12"/>
                    <a:gd name="T14" fmla="*/ 6 w 6"/>
                    <a:gd name="T15" fmla="*/ 0 h 12"/>
                    <a:gd name="T16" fmla="*/ 6 w 6"/>
                    <a:gd name="T17" fmla="*/ 0 h 1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6" h="12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6" y="12"/>
                      </a:lnTo>
                      <a:lnTo>
                        <a:pt x="6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40" name="Freeform 588"/>
                <p:cNvSpPr>
                  <a:spLocks/>
                </p:cNvSpPr>
                <p:nvPr/>
              </p:nvSpPr>
              <p:spPr bwMode="auto">
                <a:xfrm>
                  <a:off x="2406" y="1542"/>
                  <a:ext cx="6" cy="12"/>
                </a:xfrm>
                <a:custGeom>
                  <a:avLst/>
                  <a:gdLst>
                    <a:gd name="T0" fmla="*/ 6 w 6"/>
                    <a:gd name="T1" fmla="*/ 0 h 12"/>
                    <a:gd name="T2" fmla="*/ 0 w 6"/>
                    <a:gd name="T3" fmla="*/ 0 h 12"/>
                    <a:gd name="T4" fmla="*/ 0 w 6"/>
                    <a:gd name="T5" fmla="*/ 6 h 12"/>
                    <a:gd name="T6" fmla="*/ 0 w 6"/>
                    <a:gd name="T7" fmla="*/ 12 h 12"/>
                    <a:gd name="T8" fmla="*/ 6 w 6"/>
                    <a:gd name="T9" fmla="*/ 12 h 12"/>
                    <a:gd name="T10" fmla="*/ 6 w 6"/>
                    <a:gd name="T11" fmla="*/ 6 h 12"/>
                    <a:gd name="T12" fmla="*/ 6 w 6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12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6" y="12"/>
                      </a:lnTo>
                      <a:lnTo>
                        <a:pt x="6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27" name="Group 589"/>
              <p:cNvGrpSpPr>
                <a:grpSpLocks/>
              </p:cNvGrpSpPr>
              <p:nvPr/>
            </p:nvGrpSpPr>
            <p:grpSpPr bwMode="auto">
              <a:xfrm>
                <a:off x="2412" y="1524"/>
                <a:ext cx="24" cy="12"/>
                <a:chOff x="2412" y="1524"/>
                <a:chExt cx="24" cy="12"/>
              </a:xfrm>
              <a:grpFill/>
            </p:grpSpPr>
            <p:sp>
              <p:nvSpPr>
                <p:cNvPr id="1037" name="Freeform 590"/>
                <p:cNvSpPr>
                  <a:spLocks/>
                </p:cNvSpPr>
                <p:nvPr/>
              </p:nvSpPr>
              <p:spPr bwMode="auto">
                <a:xfrm>
                  <a:off x="2412" y="1524"/>
                  <a:ext cx="24" cy="12"/>
                </a:xfrm>
                <a:custGeom>
                  <a:avLst/>
                  <a:gdLst>
                    <a:gd name="T0" fmla="*/ 12 w 24"/>
                    <a:gd name="T1" fmla="*/ 12 h 12"/>
                    <a:gd name="T2" fmla="*/ 24 w 24"/>
                    <a:gd name="T3" fmla="*/ 12 h 12"/>
                    <a:gd name="T4" fmla="*/ 24 w 24"/>
                    <a:gd name="T5" fmla="*/ 6 h 12"/>
                    <a:gd name="T6" fmla="*/ 24 w 24"/>
                    <a:gd name="T7" fmla="*/ 6 h 12"/>
                    <a:gd name="T8" fmla="*/ 12 w 24"/>
                    <a:gd name="T9" fmla="*/ 0 h 12"/>
                    <a:gd name="T10" fmla="*/ 0 w 24"/>
                    <a:gd name="T11" fmla="*/ 6 h 12"/>
                    <a:gd name="T12" fmla="*/ 0 w 24"/>
                    <a:gd name="T13" fmla="*/ 6 h 12"/>
                    <a:gd name="T14" fmla="*/ 0 w 24"/>
                    <a:gd name="T15" fmla="*/ 12 h 12"/>
                    <a:gd name="T16" fmla="*/ 12 w 24"/>
                    <a:gd name="T17" fmla="*/ 12 h 1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4" h="12">
                      <a:moveTo>
                        <a:pt x="12" y="12"/>
                      </a:moveTo>
                      <a:lnTo>
                        <a:pt x="24" y="12"/>
                      </a:lnTo>
                      <a:lnTo>
                        <a:pt x="24" y="6"/>
                      </a:lnTo>
                      <a:lnTo>
                        <a:pt x="12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12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38" name="Freeform 591"/>
                <p:cNvSpPr>
                  <a:spLocks/>
                </p:cNvSpPr>
                <p:nvPr/>
              </p:nvSpPr>
              <p:spPr bwMode="auto">
                <a:xfrm>
                  <a:off x="2412" y="1524"/>
                  <a:ext cx="24" cy="12"/>
                </a:xfrm>
                <a:custGeom>
                  <a:avLst/>
                  <a:gdLst>
                    <a:gd name="T0" fmla="*/ 12 w 24"/>
                    <a:gd name="T1" fmla="*/ 12 h 12"/>
                    <a:gd name="T2" fmla="*/ 24 w 24"/>
                    <a:gd name="T3" fmla="*/ 12 h 12"/>
                    <a:gd name="T4" fmla="*/ 24 w 24"/>
                    <a:gd name="T5" fmla="*/ 6 h 12"/>
                    <a:gd name="T6" fmla="*/ 12 w 24"/>
                    <a:gd name="T7" fmla="*/ 0 h 12"/>
                    <a:gd name="T8" fmla="*/ 0 w 24"/>
                    <a:gd name="T9" fmla="*/ 6 h 12"/>
                    <a:gd name="T10" fmla="*/ 0 w 24"/>
                    <a:gd name="T11" fmla="*/ 12 h 12"/>
                    <a:gd name="T12" fmla="*/ 12 w 24"/>
                    <a:gd name="T13" fmla="*/ 12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4" h="12">
                      <a:moveTo>
                        <a:pt x="12" y="12"/>
                      </a:moveTo>
                      <a:lnTo>
                        <a:pt x="24" y="12"/>
                      </a:lnTo>
                      <a:lnTo>
                        <a:pt x="24" y="6"/>
                      </a:lnTo>
                      <a:lnTo>
                        <a:pt x="12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12" y="1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28" name="Group 592"/>
              <p:cNvGrpSpPr>
                <a:grpSpLocks/>
              </p:cNvGrpSpPr>
              <p:nvPr/>
            </p:nvGrpSpPr>
            <p:grpSpPr bwMode="auto">
              <a:xfrm>
                <a:off x="2172" y="1398"/>
                <a:ext cx="102" cy="108"/>
                <a:chOff x="2172" y="1398"/>
                <a:chExt cx="102" cy="108"/>
              </a:xfrm>
              <a:grpFill/>
            </p:grpSpPr>
            <p:sp>
              <p:nvSpPr>
                <p:cNvPr id="1035" name="Freeform 593"/>
                <p:cNvSpPr>
                  <a:spLocks/>
                </p:cNvSpPr>
                <p:nvPr/>
              </p:nvSpPr>
              <p:spPr bwMode="auto">
                <a:xfrm>
                  <a:off x="2172" y="1398"/>
                  <a:ext cx="102" cy="108"/>
                </a:xfrm>
                <a:custGeom>
                  <a:avLst/>
                  <a:gdLst>
                    <a:gd name="T0" fmla="*/ 0 w 102"/>
                    <a:gd name="T1" fmla="*/ 0 h 108"/>
                    <a:gd name="T2" fmla="*/ 6 w 102"/>
                    <a:gd name="T3" fmla="*/ 0 h 108"/>
                    <a:gd name="T4" fmla="*/ 12 w 102"/>
                    <a:gd name="T5" fmla="*/ 0 h 108"/>
                    <a:gd name="T6" fmla="*/ 18 w 102"/>
                    <a:gd name="T7" fmla="*/ 0 h 108"/>
                    <a:gd name="T8" fmla="*/ 18 w 102"/>
                    <a:gd name="T9" fmla="*/ 0 h 108"/>
                    <a:gd name="T10" fmla="*/ 24 w 102"/>
                    <a:gd name="T11" fmla="*/ 0 h 108"/>
                    <a:gd name="T12" fmla="*/ 24 w 102"/>
                    <a:gd name="T13" fmla="*/ 6 h 108"/>
                    <a:gd name="T14" fmla="*/ 30 w 102"/>
                    <a:gd name="T15" fmla="*/ 18 h 108"/>
                    <a:gd name="T16" fmla="*/ 48 w 102"/>
                    <a:gd name="T17" fmla="*/ 30 h 108"/>
                    <a:gd name="T18" fmla="*/ 54 w 102"/>
                    <a:gd name="T19" fmla="*/ 30 h 108"/>
                    <a:gd name="T20" fmla="*/ 84 w 102"/>
                    <a:gd name="T21" fmla="*/ 54 h 108"/>
                    <a:gd name="T22" fmla="*/ 78 w 102"/>
                    <a:gd name="T23" fmla="*/ 54 h 108"/>
                    <a:gd name="T24" fmla="*/ 78 w 102"/>
                    <a:gd name="T25" fmla="*/ 60 h 108"/>
                    <a:gd name="T26" fmla="*/ 78 w 102"/>
                    <a:gd name="T27" fmla="*/ 60 h 108"/>
                    <a:gd name="T28" fmla="*/ 84 w 102"/>
                    <a:gd name="T29" fmla="*/ 66 h 108"/>
                    <a:gd name="T30" fmla="*/ 84 w 102"/>
                    <a:gd name="T31" fmla="*/ 72 h 108"/>
                    <a:gd name="T32" fmla="*/ 96 w 102"/>
                    <a:gd name="T33" fmla="*/ 72 h 108"/>
                    <a:gd name="T34" fmla="*/ 102 w 102"/>
                    <a:gd name="T35" fmla="*/ 84 h 108"/>
                    <a:gd name="T36" fmla="*/ 102 w 102"/>
                    <a:gd name="T37" fmla="*/ 90 h 108"/>
                    <a:gd name="T38" fmla="*/ 102 w 102"/>
                    <a:gd name="T39" fmla="*/ 90 h 108"/>
                    <a:gd name="T40" fmla="*/ 102 w 102"/>
                    <a:gd name="T41" fmla="*/ 96 h 108"/>
                    <a:gd name="T42" fmla="*/ 102 w 102"/>
                    <a:gd name="T43" fmla="*/ 102 h 108"/>
                    <a:gd name="T44" fmla="*/ 102 w 102"/>
                    <a:gd name="T45" fmla="*/ 108 h 108"/>
                    <a:gd name="T46" fmla="*/ 96 w 102"/>
                    <a:gd name="T47" fmla="*/ 108 h 108"/>
                    <a:gd name="T48" fmla="*/ 96 w 102"/>
                    <a:gd name="T49" fmla="*/ 108 h 108"/>
                    <a:gd name="T50" fmla="*/ 90 w 102"/>
                    <a:gd name="T51" fmla="*/ 108 h 108"/>
                    <a:gd name="T52" fmla="*/ 78 w 102"/>
                    <a:gd name="T53" fmla="*/ 108 h 108"/>
                    <a:gd name="T54" fmla="*/ 60 w 102"/>
                    <a:gd name="T55" fmla="*/ 84 h 108"/>
                    <a:gd name="T56" fmla="*/ 42 w 102"/>
                    <a:gd name="T57" fmla="*/ 60 h 108"/>
                    <a:gd name="T58" fmla="*/ 42 w 102"/>
                    <a:gd name="T59" fmla="*/ 48 h 108"/>
                    <a:gd name="T60" fmla="*/ 30 w 102"/>
                    <a:gd name="T61" fmla="*/ 48 h 108"/>
                    <a:gd name="T62" fmla="*/ 30 w 102"/>
                    <a:gd name="T63" fmla="*/ 42 h 108"/>
                    <a:gd name="T64" fmla="*/ 24 w 102"/>
                    <a:gd name="T65" fmla="*/ 30 h 108"/>
                    <a:gd name="T66" fmla="*/ 12 w 102"/>
                    <a:gd name="T67" fmla="*/ 12 h 108"/>
                    <a:gd name="T68" fmla="*/ 6 w 102"/>
                    <a:gd name="T69" fmla="*/ 6 h 108"/>
                    <a:gd name="T70" fmla="*/ 0 w 102"/>
                    <a:gd name="T71" fmla="*/ 6 h 108"/>
                    <a:gd name="T72" fmla="*/ 0 w 102"/>
                    <a:gd name="T73" fmla="*/ 0 h 108"/>
                    <a:gd name="T74" fmla="*/ 0 w 102"/>
                    <a:gd name="T75" fmla="*/ 0 h 10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102" h="108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12" y="0"/>
                      </a:lnTo>
                      <a:lnTo>
                        <a:pt x="18" y="0"/>
                      </a:lnTo>
                      <a:lnTo>
                        <a:pt x="24" y="0"/>
                      </a:lnTo>
                      <a:lnTo>
                        <a:pt x="24" y="6"/>
                      </a:lnTo>
                      <a:lnTo>
                        <a:pt x="30" y="18"/>
                      </a:lnTo>
                      <a:lnTo>
                        <a:pt x="48" y="30"/>
                      </a:lnTo>
                      <a:lnTo>
                        <a:pt x="54" y="30"/>
                      </a:lnTo>
                      <a:lnTo>
                        <a:pt x="84" y="54"/>
                      </a:lnTo>
                      <a:lnTo>
                        <a:pt x="78" y="54"/>
                      </a:lnTo>
                      <a:lnTo>
                        <a:pt x="78" y="60"/>
                      </a:lnTo>
                      <a:lnTo>
                        <a:pt x="84" y="66"/>
                      </a:lnTo>
                      <a:lnTo>
                        <a:pt x="84" y="72"/>
                      </a:lnTo>
                      <a:lnTo>
                        <a:pt x="96" y="72"/>
                      </a:lnTo>
                      <a:lnTo>
                        <a:pt x="102" y="84"/>
                      </a:lnTo>
                      <a:lnTo>
                        <a:pt x="102" y="90"/>
                      </a:lnTo>
                      <a:lnTo>
                        <a:pt x="102" y="96"/>
                      </a:lnTo>
                      <a:lnTo>
                        <a:pt x="102" y="102"/>
                      </a:lnTo>
                      <a:lnTo>
                        <a:pt x="102" y="108"/>
                      </a:lnTo>
                      <a:lnTo>
                        <a:pt x="96" y="108"/>
                      </a:lnTo>
                      <a:lnTo>
                        <a:pt x="90" y="108"/>
                      </a:lnTo>
                      <a:lnTo>
                        <a:pt x="78" y="108"/>
                      </a:lnTo>
                      <a:lnTo>
                        <a:pt x="60" y="84"/>
                      </a:lnTo>
                      <a:lnTo>
                        <a:pt x="42" y="60"/>
                      </a:lnTo>
                      <a:lnTo>
                        <a:pt x="42" y="48"/>
                      </a:lnTo>
                      <a:lnTo>
                        <a:pt x="30" y="48"/>
                      </a:lnTo>
                      <a:lnTo>
                        <a:pt x="30" y="42"/>
                      </a:lnTo>
                      <a:lnTo>
                        <a:pt x="24" y="30"/>
                      </a:lnTo>
                      <a:lnTo>
                        <a:pt x="12" y="12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36" name="Freeform 594"/>
                <p:cNvSpPr>
                  <a:spLocks/>
                </p:cNvSpPr>
                <p:nvPr/>
              </p:nvSpPr>
              <p:spPr bwMode="auto">
                <a:xfrm>
                  <a:off x="2172" y="1398"/>
                  <a:ext cx="102" cy="108"/>
                </a:xfrm>
                <a:custGeom>
                  <a:avLst/>
                  <a:gdLst>
                    <a:gd name="T0" fmla="*/ 0 w 102"/>
                    <a:gd name="T1" fmla="*/ 0 h 108"/>
                    <a:gd name="T2" fmla="*/ 6 w 102"/>
                    <a:gd name="T3" fmla="*/ 0 h 108"/>
                    <a:gd name="T4" fmla="*/ 12 w 102"/>
                    <a:gd name="T5" fmla="*/ 0 h 108"/>
                    <a:gd name="T6" fmla="*/ 18 w 102"/>
                    <a:gd name="T7" fmla="*/ 0 h 108"/>
                    <a:gd name="T8" fmla="*/ 24 w 102"/>
                    <a:gd name="T9" fmla="*/ 0 h 108"/>
                    <a:gd name="T10" fmla="*/ 24 w 102"/>
                    <a:gd name="T11" fmla="*/ 6 h 108"/>
                    <a:gd name="T12" fmla="*/ 30 w 102"/>
                    <a:gd name="T13" fmla="*/ 18 h 108"/>
                    <a:gd name="T14" fmla="*/ 48 w 102"/>
                    <a:gd name="T15" fmla="*/ 30 h 108"/>
                    <a:gd name="T16" fmla="*/ 54 w 102"/>
                    <a:gd name="T17" fmla="*/ 30 h 108"/>
                    <a:gd name="T18" fmla="*/ 84 w 102"/>
                    <a:gd name="T19" fmla="*/ 54 h 108"/>
                    <a:gd name="T20" fmla="*/ 78 w 102"/>
                    <a:gd name="T21" fmla="*/ 54 h 108"/>
                    <a:gd name="T22" fmla="*/ 78 w 102"/>
                    <a:gd name="T23" fmla="*/ 60 h 108"/>
                    <a:gd name="T24" fmla="*/ 84 w 102"/>
                    <a:gd name="T25" fmla="*/ 66 h 108"/>
                    <a:gd name="T26" fmla="*/ 84 w 102"/>
                    <a:gd name="T27" fmla="*/ 72 h 108"/>
                    <a:gd name="T28" fmla="*/ 96 w 102"/>
                    <a:gd name="T29" fmla="*/ 72 h 108"/>
                    <a:gd name="T30" fmla="*/ 102 w 102"/>
                    <a:gd name="T31" fmla="*/ 84 h 108"/>
                    <a:gd name="T32" fmla="*/ 102 w 102"/>
                    <a:gd name="T33" fmla="*/ 90 h 108"/>
                    <a:gd name="T34" fmla="*/ 102 w 102"/>
                    <a:gd name="T35" fmla="*/ 96 h 108"/>
                    <a:gd name="T36" fmla="*/ 102 w 102"/>
                    <a:gd name="T37" fmla="*/ 102 h 108"/>
                    <a:gd name="T38" fmla="*/ 102 w 102"/>
                    <a:gd name="T39" fmla="*/ 108 h 108"/>
                    <a:gd name="T40" fmla="*/ 96 w 102"/>
                    <a:gd name="T41" fmla="*/ 108 h 108"/>
                    <a:gd name="T42" fmla="*/ 90 w 102"/>
                    <a:gd name="T43" fmla="*/ 108 h 108"/>
                    <a:gd name="T44" fmla="*/ 78 w 102"/>
                    <a:gd name="T45" fmla="*/ 108 h 108"/>
                    <a:gd name="T46" fmla="*/ 60 w 102"/>
                    <a:gd name="T47" fmla="*/ 84 h 108"/>
                    <a:gd name="T48" fmla="*/ 42 w 102"/>
                    <a:gd name="T49" fmla="*/ 60 h 108"/>
                    <a:gd name="T50" fmla="*/ 42 w 102"/>
                    <a:gd name="T51" fmla="*/ 48 h 108"/>
                    <a:gd name="T52" fmla="*/ 30 w 102"/>
                    <a:gd name="T53" fmla="*/ 48 h 108"/>
                    <a:gd name="T54" fmla="*/ 30 w 102"/>
                    <a:gd name="T55" fmla="*/ 42 h 108"/>
                    <a:gd name="T56" fmla="*/ 24 w 102"/>
                    <a:gd name="T57" fmla="*/ 30 h 108"/>
                    <a:gd name="T58" fmla="*/ 12 w 102"/>
                    <a:gd name="T59" fmla="*/ 12 h 108"/>
                    <a:gd name="T60" fmla="*/ 6 w 102"/>
                    <a:gd name="T61" fmla="*/ 6 h 108"/>
                    <a:gd name="T62" fmla="*/ 0 w 102"/>
                    <a:gd name="T63" fmla="*/ 6 h 108"/>
                    <a:gd name="T64" fmla="*/ 0 w 102"/>
                    <a:gd name="T65" fmla="*/ 0 h 10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0" t="0" r="r" b="b"/>
                  <a:pathLst>
                    <a:path w="102" h="108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12" y="0"/>
                      </a:lnTo>
                      <a:lnTo>
                        <a:pt x="18" y="0"/>
                      </a:lnTo>
                      <a:lnTo>
                        <a:pt x="24" y="0"/>
                      </a:lnTo>
                      <a:lnTo>
                        <a:pt x="24" y="6"/>
                      </a:lnTo>
                      <a:lnTo>
                        <a:pt x="30" y="18"/>
                      </a:lnTo>
                      <a:lnTo>
                        <a:pt x="48" y="30"/>
                      </a:lnTo>
                      <a:lnTo>
                        <a:pt x="54" y="30"/>
                      </a:lnTo>
                      <a:lnTo>
                        <a:pt x="84" y="54"/>
                      </a:lnTo>
                      <a:lnTo>
                        <a:pt x="78" y="54"/>
                      </a:lnTo>
                      <a:lnTo>
                        <a:pt x="78" y="60"/>
                      </a:lnTo>
                      <a:lnTo>
                        <a:pt x="84" y="66"/>
                      </a:lnTo>
                      <a:lnTo>
                        <a:pt x="84" y="72"/>
                      </a:lnTo>
                      <a:lnTo>
                        <a:pt x="96" y="72"/>
                      </a:lnTo>
                      <a:lnTo>
                        <a:pt x="102" y="84"/>
                      </a:lnTo>
                      <a:lnTo>
                        <a:pt x="102" y="90"/>
                      </a:lnTo>
                      <a:lnTo>
                        <a:pt x="102" y="96"/>
                      </a:lnTo>
                      <a:lnTo>
                        <a:pt x="102" y="102"/>
                      </a:lnTo>
                      <a:lnTo>
                        <a:pt x="102" y="108"/>
                      </a:lnTo>
                      <a:lnTo>
                        <a:pt x="96" y="108"/>
                      </a:lnTo>
                      <a:lnTo>
                        <a:pt x="90" y="108"/>
                      </a:lnTo>
                      <a:lnTo>
                        <a:pt x="78" y="108"/>
                      </a:lnTo>
                      <a:lnTo>
                        <a:pt x="60" y="84"/>
                      </a:lnTo>
                      <a:lnTo>
                        <a:pt x="42" y="60"/>
                      </a:lnTo>
                      <a:lnTo>
                        <a:pt x="42" y="48"/>
                      </a:lnTo>
                      <a:lnTo>
                        <a:pt x="30" y="48"/>
                      </a:lnTo>
                      <a:lnTo>
                        <a:pt x="30" y="42"/>
                      </a:lnTo>
                      <a:lnTo>
                        <a:pt x="24" y="30"/>
                      </a:lnTo>
                      <a:lnTo>
                        <a:pt x="12" y="12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29" name="Group 595"/>
              <p:cNvGrpSpPr>
                <a:grpSpLocks/>
              </p:cNvGrpSpPr>
              <p:nvPr/>
            </p:nvGrpSpPr>
            <p:grpSpPr bwMode="auto">
              <a:xfrm>
                <a:off x="2274" y="1512"/>
                <a:ext cx="84" cy="24"/>
                <a:chOff x="2274" y="1512"/>
                <a:chExt cx="84" cy="24"/>
              </a:xfrm>
              <a:grpFill/>
            </p:grpSpPr>
            <p:sp>
              <p:nvSpPr>
                <p:cNvPr id="1033" name="Freeform 596"/>
                <p:cNvSpPr>
                  <a:spLocks/>
                </p:cNvSpPr>
                <p:nvPr/>
              </p:nvSpPr>
              <p:spPr bwMode="auto">
                <a:xfrm>
                  <a:off x="2274" y="1512"/>
                  <a:ext cx="84" cy="24"/>
                </a:xfrm>
                <a:custGeom>
                  <a:avLst/>
                  <a:gdLst>
                    <a:gd name="T0" fmla="*/ 36 w 84"/>
                    <a:gd name="T1" fmla="*/ 18 h 24"/>
                    <a:gd name="T2" fmla="*/ 12 w 84"/>
                    <a:gd name="T3" fmla="*/ 18 h 24"/>
                    <a:gd name="T4" fmla="*/ 0 w 84"/>
                    <a:gd name="T5" fmla="*/ 6 h 24"/>
                    <a:gd name="T6" fmla="*/ 0 w 84"/>
                    <a:gd name="T7" fmla="*/ 0 h 24"/>
                    <a:gd name="T8" fmla="*/ 6 w 84"/>
                    <a:gd name="T9" fmla="*/ 0 h 24"/>
                    <a:gd name="T10" fmla="*/ 12 w 84"/>
                    <a:gd name="T11" fmla="*/ 0 h 24"/>
                    <a:gd name="T12" fmla="*/ 18 w 84"/>
                    <a:gd name="T13" fmla="*/ 0 h 24"/>
                    <a:gd name="T14" fmla="*/ 42 w 84"/>
                    <a:gd name="T15" fmla="*/ 6 h 24"/>
                    <a:gd name="T16" fmla="*/ 48 w 84"/>
                    <a:gd name="T17" fmla="*/ 6 h 24"/>
                    <a:gd name="T18" fmla="*/ 60 w 84"/>
                    <a:gd name="T19" fmla="*/ 6 h 24"/>
                    <a:gd name="T20" fmla="*/ 78 w 84"/>
                    <a:gd name="T21" fmla="*/ 12 h 24"/>
                    <a:gd name="T22" fmla="*/ 84 w 84"/>
                    <a:gd name="T23" fmla="*/ 18 h 24"/>
                    <a:gd name="T24" fmla="*/ 84 w 84"/>
                    <a:gd name="T25" fmla="*/ 24 h 24"/>
                    <a:gd name="T26" fmla="*/ 78 w 84"/>
                    <a:gd name="T27" fmla="*/ 24 h 24"/>
                    <a:gd name="T28" fmla="*/ 54 w 84"/>
                    <a:gd name="T29" fmla="*/ 24 h 24"/>
                    <a:gd name="T30" fmla="*/ 36 w 84"/>
                    <a:gd name="T31" fmla="*/ 18 h 2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84" h="24">
                      <a:moveTo>
                        <a:pt x="36" y="18"/>
                      </a:moveTo>
                      <a:lnTo>
                        <a:pt x="12" y="18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2" y="0"/>
                      </a:lnTo>
                      <a:lnTo>
                        <a:pt x="18" y="0"/>
                      </a:lnTo>
                      <a:lnTo>
                        <a:pt x="42" y="6"/>
                      </a:lnTo>
                      <a:lnTo>
                        <a:pt x="48" y="6"/>
                      </a:lnTo>
                      <a:lnTo>
                        <a:pt x="60" y="6"/>
                      </a:lnTo>
                      <a:lnTo>
                        <a:pt x="78" y="12"/>
                      </a:lnTo>
                      <a:lnTo>
                        <a:pt x="84" y="18"/>
                      </a:lnTo>
                      <a:lnTo>
                        <a:pt x="84" y="24"/>
                      </a:lnTo>
                      <a:lnTo>
                        <a:pt x="78" y="24"/>
                      </a:lnTo>
                      <a:lnTo>
                        <a:pt x="54" y="24"/>
                      </a:lnTo>
                      <a:lnTo>
                        <a:pt x="36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34" name="Freeform 597"/>
                <p:cNvSpPr>
                  <a:spLocks/>
                </p:cNvSpPr>
                <p:nvPr/>
              </p:nvSpPr>
              <p:spPr bwMode="auto">
                <a:xfrm>
                  <a:off x="2274" y="1512"/>
                  <a:ext cx="84" cy="24"/>
                </a:xfrm>
                <a:custGeom>
                  <a:avLst/>
                  <a:gdLst>
                    <a:gd name="T0" fmla="*/ 36 w 84"/>
                    <a:gd name="T1" fmla="*/ 18 h 24"/>
                    <a:gd name="T2" fmla="*/ 12 w 84"/>
                    <a:gd name="T3" fmla="*/ 18 h 24"/>
                    <a:gd name="T4" fmla="*/ 0 w 84"/>
                    <a:gd name="T5" fmla="*/ 6 h 24"/>
                    <a:gd name="T6" fmla="*/ 0 w 84"/>
                    <a:gd name="T7" fmla="*/ 0 h 24"/>
                    <a:gd name="T8" fmla="*/ 6 w 84"/>
                    <a:gd name="T9" fmla="*/ 0 h 24"/>
                    <a:gd name="T10" fmla="*/ 12 w 84"/>
                    <a:gd name="T11" fmla="*/ 0 h 24"/>
                    <a:gd name="T12" fmla="*/ 18 w 84"/>
                    <a:gd name="T13" fmla="*/ 0 h 24"/>
                    <a:gd name="T14" fmla="*/ 42 w 84"/>
                    <a:gd name="T15" fmla="*/ 6 h 24"/>
                    <a:gd name="T16" fmla="*/ 48 w 84"/>
                    <a:gd name="T17" fmla="*/ 6 h 24"/>
                    <a:gd name="T18" fmla="*/ 60 w 84"/>
                    <a:gd name="T19" fmla="*/ 6 h 24"/>
                    <a:gd name="T20" fmla="*/ 78 w 84"/>
                    <a:gd name="T21" fmla="*/ 12 h 24"/>
                    <a:gd name="T22" fmla="*/ 84 w 84"/>
                    <a:gd name="T23" fmla="*/ 18 h 24"/>
                    <a:gd name="T24" fmla="*/ 84 w 84"/>
                    <a:gd name="T25" fmla="*/ 24 h 24"/>
                    <a:gd name="T26" fmla="*/ 78 w 84"/>
                    <a:gd name="T27" fmla="*/ 24 h 24"/>
                    <a:gd name="T28" fmla="*/ 54 w 84"/>
                    <a:gd name="T29" fmla="*/ 24 h 24"/>
                    <a:gd name="T30" fmla="*/ 36 w 84"/>
                    <a:gd name="T31" fmla="*/ 18 h 2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84" h="24">
                      <a:moveTo>
                        <a:pt x="36" y="18"/>
                      </a:moveTo>
                      <a:lnTo>
                        <a:pt x="12" y="18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2" y="0"/>
                      </a:lnTo>
                      <a:lnTo>
                        <a:pt x="18" y="0"/>
                      </a:lnTo>
                      <a:lnTo>
                        <a:pt x="42" y="6"/>
                      </a:lnTo>
                      <a:lnTo>
                        <a:pt x="48" y="6"/>
                      </a:lnTo>
                      <a:lnTo>
                        <a:pt x="60" y="6"/>
                      </a:lnTo>
                      <a:lnTo>
                        <a:pt x="78" y="12"/>
                      </a:lnTo>
                      <a:lnTo>
                        <a:pt x="84" y="18"/>
                      </a:lnTo>
                      <a:lnTo>
                        <a:pt x="84" y="24"/>
                      </a:lnTo>
                      <a:lnTo>
                        <a:pt x="78" y="24"/>
                      </a:lnTo>
                      <a:lnTo>
                        <a:pt x="54" y="24"/>
                      </a:lnTo>
                      <a:lnTo>
                        <a:pt x="36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030" name="Group 598"/>
              <p:cNvGrpSpPr>
                <a:grpSpLocks/>
              </p:cNvGrpSpPr>
              <p:nvPr/>
            </p:nvGrpSpPr>
            <p:grpSpPr bwMode="auto">
              <a:xfrm>
                <a:off x="2442" y="1530"/>
                <a:ext cx="42" cy="18"/>
                <a:chOff x="2442" y="1530"/>
                <a:chExt cx="42" cy="18"/>
              </a:xfrm>
              <a:grpFill/>
            </p:grpSpPr>
            <p:sp>
              <p:nvSpPr>
                <p:cNvPr id="1031" name="Freeform 599"/>
                <p:cNvSpPr>
                  <a:spLocks/>
                </p:cNvSpPr>
                <p:nvPr/>
              </p:nvSpPr>
              <p:spPr bwMode="auto">
                <a:xfrm>
                  <a:off x="2442" y="1530"/>
                  <a:ext cx="42" cy="18"/>
                </a:xfrm>
                <a:custGeom>
                  <a:avLst/>
                  <a:gdLst>
                    <a:gd name="T0" fmla="*/ 12 w 42"/>
                    <a:gd name="T1" fmla="*/ 18 h 18"/>
                    <a:gd name="T2" fmla="*/ 0 w 42"/>
                    <a:gd name="T3" fmla="*/ 18 h 18"/>
                    <a:gd name="T4" fmla="*/ 0 w 42"/>
                    <a:gd name="T5" fmla="*/ 12 h 18"/>
                    <a:gd name="T6" fmla="*/ 6 w 42"/>
                    <a:gd name="T7" fmla="*/ 6 h 18"/>
                    <a:gd name="T8" fmla="*/ 12 w 42"/>
                    <a:gd name="T9" fmla="*/ 6 h 18"/>
                    <a:gd name="T10" fmla="*/ 18 w 42"/>
                    <a:gd name="T11" fmla="*/ 0 h 18"/>
                    <a:gd name="T12" fmla="*/ 30 w 42"/>
                    <a:gd name="T13" fmla="*/ 0 h 18"/>
                    <a:gd name="T14" fmla="*/ 36 w 42"/>
                    <a:gd name="T15" fmla="*/ 0 h 18"/>
                    <a:gd name="T16" fmla="*/ 42 w 42"/>
                    <a:gd name="T17" fmla="*/ 0 h 18"/>
                    <a:gd name="T18" fmla="*/ 42 w 42"/>
                    <a:gd name="T19" fmla="*/ 0 h 18"/>
                    <a:gd name="T20" fmla="*/ 42 w 42"/>
                    <a:gd name="T21" fmla="*/ 0 h 18"/>
                    <a:gd name="T22" fmla="*/ 42 w 42"/>
                    <a:gd name="T23" fmla="*/ 6 h 18"/>
                    <a:gd name="T24" fmla="*/ 36 w 42"/>
                    <a:gd name="T25" fmla="*/ 6 h 18"/>
                    <a:gd name="T26" fmla="*/ 30 w 42"/>
                    <a:gd name="T27" fmla="*/ 6 h 18"/>
                    <a:gd name="T28" fmla="*/ 12 w 42"/>
                    <a:gd name="T29" fmla="*/ 18 h 1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42" h="18">
                      <a:moveTo>
                        <a:pt x="12" y="18"/>
                      </a:move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18" y="0"/>
                      </a:lnTo>
                      <a:lnTo>
                        <a:pt x="30" y="0"/>
                      </a:lnTo>
                      <a:lnTo>
                        <a:pt x="36" y="0"/>
                      </a:lnTo>
                      <a:lnTo>
                        <a:pt x="42" y="0"/>
                      </a:lnTo>
                      <a:lnTo>
                        <a:pt x="42" y="6"/>
                      </a:lnTo>
                      <a:lnTo>
                        <a:pt x="36" y="6"/>
                      </a:lnTo>
                      <a:lnTo>
                        <a:pt x="30" y="6"/>
                      </a:lnTo>
                      <a:lnTo>
                        <a:pt x="12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1032" name="Freeform 600"/>
                <p:cNvSpPr>
                  <a:spLocks/>
                </p:cNvSpPr>
                <p:nvPr/>
              </p:nvSpPr>
              <p:spPr bwMode="auto">
                <a:xfrm>
                  <a:off x="2442" y="1530"/>
                  <a:ext cx="42" cy="18"/>
                </a:xfrm>
                <a:custGeom>
                  <a:avLst/>
                  <a:gdLst>
                    <a:gd name="T0" fmla="*/ 12 w 42"/>
                    <a:gd name="T1" fmla="*/ 18 h 18"/>
                    <a:gd name="T2" fmla="*/ 0 w 42"/>
                    <a:gd name="T3" fmla="*/ 18 h 18"/>
                    <a:gd name="T4" fmla="*/ 0 w 42"/>
                    <a:gd name="T5" fmla="*/ 12 h 18"/>
                    <a:gd name="T6" fmla="*/ 6 w 42"/>
                    <a:gd name="T7" fmla="*/ 6 h 18"/>
                    <a:gd name="T8" fmla="*/ 12 w 42"/>
                    <a:gd name="T9" fmla="*/ 6 h 18"/>
                    <a:gd name="T10" fmla="*/ 18 w 42"/>
                    <a:gd name="T11" fmla="*/ 0 h 18"/>
                    <a:gd name="T12" fmla="*/ 30 w 42"/>
                    <a:gd name="T13" fmla="*/ 0 h 18"/>
                    <a:gd name="T14" fmla="*/ 36 w 42"/>
                    <a:gd name="T15" fmla="*/ 0 h 18"/>
                    <a:gd name="T16" fmla="*/ 42 w 42"/>
                    <a:gd name="T17" fmla="*/ 0 h 18"/>
                    <a:gd name="T18" fmla="*/ 42 w 42"/>
                    <a:gd name="T19" fmla="*/ 6 h 18"/>
                    <a:gd name="T20" fmla="*/ 36 w 42"/>
                    <a:gd name="T21" fmla="*/ 6 h 18"/>
                    <a:gd name="T22" fmla="*/ 30 w 42"/>
                    <a:gd name="T23" fmla="*/ 6 h 18"/>
                    <a:gd name="T24" fmla="*/ 12 w 42"/>
                    <a:gd name="T25" fmla="*/ 18 h 1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42" h="18">
                      <a:moveTo>
                        <a:pt x="12" y="18"/>
                      </a:move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18" y="0"/>
                      </a:lnTo>
                      <a:lnTo>
                        <a:pt x="30" y="0"/>
                      </a:lnTo>
                      <a:lnTo>
                        <a:pt x="36" y="0"/>
                      </a:lnTo>
                      <a:lnTo>
                        <a:pt x="42" y="0"/>
                      </a:lnTo>
                      <a:lnTo>
                        <a:pt x="42" y="6"/>
                      </a:lnTo>
                      <a:lnTo>
                        <a:pt x="36" y="6"/>
                      </a:lnTo>
                      <a:lnTo>
                        <a:pt x="30" y="6"/>
                      </a:lnTo>
                      <a:lnTo>
                        <a:pt x="12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701" name="Group 601"/>
            <p:cNvGrpSpPr>
              <a:grpSpLocks/>
            </p:cNvGrpSpPr>
            <p:nvPr/>
          </p:nvGrpSpPr>
          <p:grpSpPr bwMode="auto">
            <a:xfrm>
              <a:off x="6478006" y="3455659"/>
              <a:ext cx="269078" cy="256897"/>
              <a:chOff x="4051" y="1560"/>
              <a:chExt cx="132" cy="150"/>
            </a:xfrm>
            <a:solidFill>
              <a:srgbClr val="0070C0">
                <a:alpha val="27059"/>
              </a:srgbClr>
            </a:solidFill>
          </p:grpSpPr>
          <p:sp>
            <p:nvSpPr>
              <p:cNvPr id="1022" name="Freeform 602"/>
              <p:cNvSpPr>
                <a:spLocks/>
              </p:cNvSpPr>
              <p:nvPr/>
            </p:nvSpPr>
            <p:spPr bwMode="auto">
              <a:xfrm>
                <a:off x="4051" y="1560"/>
                <a:ext cx="132" cy="150"/>
              </a:xfrm>
              <a:custGeom>
                <a:avLst/>
                <a:gdLst>
                  <a:gd name="T0" fmla="*/ 0 w 132"/>
                  <a:gd name="T1" fmla="*/ 72 h 150"/>
                  <a:gd name="T2" fmla="*/ 24 w 132"/>
                  <a:gd name="T3" fmla="*/ 60 h 150"/>
                  <a:gd name="T4" fmla="*/ 18 w 132"/>
                  <a:gd name="T5" fmla="*/ 48 h 150"/>
                  <a:gd name="T6" fmla="*/ 18 w 132"/>
                  <a:gd name="T7" fmla="*/ 36 h 150"/>
                  <a:gd name="T8" fmla="*/ 12 w 132"/>
                  <a:gd name="T9" fmla="*/ 12 h 150"/>
                  <a:gd name="T10" fmla="*/ 30 w 132"/>
                  <a:gd name="T11" fmla="*/ 12 h 150"/>
                  <a:gd name="T12" fmla="*/ 42 w 132"/>
                  <a:gd name="T13" fmla="*/ 6 h 150"/>
                  <a:gd name="T14" fmla="*/ 48 w 132"/>
                  <a:gd name="T15" fmla="*/ 6 h 150"/>
                  <a:gd name="T16" fmla="*/ 54 w 132"/>
                  <a:gd name="T17" fmla="*/ 0 h 150"/>
                  <a:gd name="T18" fmla="*/ 54 w 132"/>
                  <a:gd name="T19" fmla="*/ 6 h 150"/>
                  <a:gd name="T20" fmla="*/ 54 w 132"/>
                  <a:gd name="T21" fmla="*/ 24 h 150"/>
                  <a:gd name="T22" fmla="*/ 72 w 132"/>
                  <a:gd name="T23" fmla="*/ 36 h 150"/>
                  <a:gd name="T24" fmla="*/ 84 w 132"/>
                  <a:gd name="T25" fmla="*/ 36 h 150"/>
                  <a:gd name="T26" fmla="*/ 90 w 132"/>
                  <a:gd name="T27" fmla="*/ 48 h 150"/>
                  <a:gd name="T28" fmla="*/ 108 w 132"/>
                  <a:gd name="T29" fmla="*/ 60 h 150"/>
                  <a:gd name="T30" fmla="*/ 126 w 132"/>
                  <a:gd name="T31" fmla="*/ 66 h 150"/>
                  <a:gd name="T32" fmla="*/ 126 w 132"/>
                  <a:gd name="T33" fmla="*/ 78 h 150"/>
                  <a:gd name="T34" fmla="*/ 132 w 132"/>
                  <a:gd name="T35" fmla="*/ 84 h 150"/>
                  <a:gd name="T36" fmla="*/ 132 w 132"/>
                  <a:gd name="T37" fmla="*/ 102 h 150"/>
                  <a:gd name="T38" fmla="*/ 132 w 132"/>
                  <a:gd name="T39" fmla="*/ 120 h 150"/>
                  <a:gd name="T40" fmla="*/ 114 w 132"/>
                  <a:gd name="T41" fmla="*/ 108 h 150"/>
                  <a:gd name="T42" fmla="*/ 96 w 132"/>
                  <a:gd name="T43" fmla="*/ 120 h 150"/>
                  <a:gd name="T44" fmla="*/ 84 w 132"/>
                  <a:gd name="T45" fmla="*/ 138 h 150"/>
                  <a:gd name="T46" fmla="*/ 78 w 132"/>
                  <a:gd name="T47" fmla="*/ 138 h 150"/>
                  <a:gd name="T48" fmla="*/ 66 w 132"/>
                  <a:gd name="T49" fmla="*/ 144 h 150"/>
                  <a:gd name="T50" fmla="*/ 60 w 132"/>
                  <a:gd name="T51" fmla="*/ 144 h 150"/>
                  <a:gd name="T52" fmla="*/ 54 w 132"/>
                  <a:gd name="T53" fmla="*/ 138 h 150"/>
                  <a:gd name="T54" fmla="*/ 42 w 132"/>
                  <a:gd name="T55" fmla="*/ 144 h 150"/>
                  <a:gd name="T56" fmla="*/ 30 w 132"/>
                  <a:gd name="T57" fmla="*/ 150 h 150"/>
                  <a:gd name="T58" fmla="*/ 30 w 132"/>
                  <a:gd name="T59" fmla="*/ 150 h 150"/>
                  <a:gd name="T60" fmla="*/ 24 w 132"/>
                  <a:gd name="T61" fmla="*/ 120 h 150"/>
                  <a:gd name="T62" fmla="*/ 18 w 132"/>
                  <a:gd name="T63" fmla="*/ 108 h 150"/>
                  <a:gd name="T64" fmla="*/ 6 w 132"/>
                  <a:gd name="T65" fmla="*/ 90 h 150"/>
                  <a:gd name="T66" fmla="*/ 0 w 132"/>
                  <a:gd name="T67" fmla="*/ 72 h 15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32" h="150">
                    <a:moveTo>
                      <a:pt x="0" y="72"/>
                    </a:moveTo>
                    <a:lnTo>
                      <a:pt x="0" y="72"/>
                    </a:lnTo>
                    <a:lnTo>
                      <a:pt x="18" y="60"/>
                    </a:lnTo>
                    <a:lnTo>
                      <a:pt x="24" y="60"/>
                    </a:lnTo>
                    <a:lnTo>
                      <a:pt x="18" y="54"/>
                    </a:lnTo>
                    <a:lnTo>
                      <a:pt x="18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2" y="12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54" y="0"/>
                    </a:lnTo>
                    <a:lnTo>
                      <a:pt x="54" y="6"/>
                    </a:lnTo>
                    <a:lnTo>
                      <a:pt x="54" y="12"/>
                    </a:lnTo>
                    <a:lnTo>
                      <a:pt x="54" y="24"/>
                    </a:lnTo>
                    <a:lnTo>
                      <a:pt x="66" y="30"/>
                    </a:lnTo>
                    <a:lnTo>
                      <a:pt x="72" y="36"/>
                    </a:lnTo>
                    <a:lnTo>
                      <a:pt x="84" y="36"/>
                    </a:lnTo>
                    <a:lnTo>
                      <a:pt x="84" y="42"/>
                    </a:lnTo>
                    <a:lnTo>
                      <a:pt x="90" y="48"/>
                    </a:lnTo>
                    <a:lnTo>
                      <a:pt x="102" y="54"/>
                    </a:lnTo>
                    <a:lnTo>
                      <a:pt x="108" y="60"/>
                    </a:lnTo>
                    <a:lnTo>
                      <a:pt x="108" y="66"/>
                    </a:lnTo>
                    <a:lnTo>
                      <a:pt x="126" y="66"/>
                    </a:lnTo>
                    <a:lnTo>
                      <a:pt x="126" y="72"/>
                    </a:lnTo>
                    <a:lnTo>
                      <a:pt x="126" y="78"/>
                    </a:lnTo>
                    <a:lnTo>
                      <a:pt x="132" y="84"/>
                    </a:lnTo>
                    <a:lnTo>
                      <a:pt x="132" y="102"/>
                    </a:lnTo>
                    <a:lnTo>
                      <a:pt x="132" y="114"/>
                    </a:lnTo>
                    <a:lnTo>
                      <a:pt x="132" y="120"/>
                    </a:lnTo>
                    <a:lnTo>
                      <a:pt x="120" y="114"/>
                    </a:lnTo>
                    <a:lnTo>
                      <a:pt x="114" y="108"/>
                    </a:lnTo>
                    <a:lnTo>
                      <a:pt x="102" y="108"/>
                    </a:lnTo>
                    <a:lnTo>
                      <a:pt x="96" y="120"/>
                    </a:lnTo>
                    <a:lnTo>
                      <a:pt x="90" y="126"/>
                    </a:lnTo>
                    <a:lnTo>
                      <a:pt x="84" y="138"/>
                    </a:lnTo>
                    <a:lnTo>
                      <a:pt x="84" y="144"/>
                    </a:lnTo>
                    <a:lnTo>
                      <a:pt x="78" y="138"/>
                    </a:lnTo>
                    <a:lnTo>
                      <a:pt x="72" y="138"/>
                    </a:lnTo>
                    <a:lnTo>
                      <a:pt x="66" y="144"/>
                    </a:lnTo>
                    <a:lnTo>
                      <a:pt x="60" y="150"/>
                    </a:lnTo>
                    <a:lnTo>
                      <a:pt x="60" y="144"/>
                    </a:lnTo>
                    <a:lnTo>
                      <a:pt x="54" y="138"/>
                    </a:lnTo>
                    <a:lnTo>
                      <a:pt x="42" y="138"/>
                    </a:lnTo>
                    <a:lnTo>
                      <a:pt x="42" y="144"/>
                    </a:lnTo>
                    <a:lnTo>
                      <a:pt x="36" y="150"/>
                    </a:lnTo>
                    <a:lnTo>
                      <a:pt x="30" y="150"/>
                    </a:lnTo>
                    <a:lnTo>
                      <a:pt x="24" y="138"/>
                    </a:lnTo>
                    <a:lnTo>
                      <a:pt x="24" y="120"/>
                    </a:lnTo>
                    <a:lnTo>
                      <a:pt x="24" y="114"/>
                    </a:lnTo>
                    <a:lnTo>
                      <a:pt x="18" y="108"/>
                    </a:lnTo>
                    <a:lnTo>
                      <a:pt x="18" y="102"/>
                    </a:lnTo>
                    <a:lnTo>
                      <a:pt x="6" y="90"/>
                    </a:lnTo>
                    <a:lnTo>
                      <a:pt x="6" y="84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23" name="Freeform 603"/>
              <p:cNvSpPr>
                <a:spLocks/>
              </p:cNvSpPr>
              <p:nvPr/>
            </p:nvSpPr>
            <p:spPr bwMode="auto">
              <a:xfrm>
                <a:off x="4051" y="1560"/>
                <a:ext cx="132" cy="150"/>
              </a:xfrm>
              <a:custGeom>
                <a:avLst/>
                <a:gdLst>
                  <a:gd name="T0" fmla="*/ 0 w 132"/>
                  <a:gd name="T1" fmla="*/ 72 h 150"/>
                  <a:gd name="T2" fmla="*/ 18 w 132"/>
                  <a:gd name="T3" fmla="*/ 60 h 150"/>
                  <a:gd name="T4" fmla="*/ 24 w 132"/>
                  <a:gd name="T5" fmla="*/ 60 h 150"/>
                  <a:gd name="T6" fmla="*/ 18 w 132"/>
                  <a:gd name="T7" fmla="*/ 54 h 150"/>
                  <a:gd name="T8" fmla="*/ 18 w 132"/>
                  <a:gd name="T9" fmla="*/ 48 h 150"/>
                  <a:gd name="T10" fmla="*/ 18 w 132"/>
                  <a:gd name="T11" fmla="*/ 42 h 150"/>
                  <a:gd name="T12" fmla="*/ 18 w 132"/>
                  <a:gd name="T13" fmla="*/ 36 h 150"/>
                  <a:gd name="T14" fmla="*/ 18 w 132"/>
                  <a:gd name="T15" fmla="*/ 30 h 150"/>
                  <a:gd name="T16" fmla="*/ 12 w 132"/>
                  <a:gd name="T17" fmla="*/ 12 h 150"/>
                  <a:gd name="T18" fmla="*/ 24 w 132"/>
                  <a:gd name="T19" fmla="*/ 12 h 150"/>
                  <a:gd name="T20" fmla="*/ 30 w 132"/>
                  <a:gd name="T21" fmla="*/ 12 h 150"/>
                  <a:gd name="T22" fmla="*/ 36 w 132"/>
                  <a:gd name="T23" fmla="*/ 6 h 150"/>
                  <a:gd name="T24" fmla="*/ 42 w 132"/>
                  <a:gd name="T25" fmla="*/ 6 h 150"/>
                  <a:gd name="T26" fmla="*/ 48 w 132"/>
                  <a:gd name="T27" fmla="*/ 6 h 150"/>
                  <a:gd name="T28" fmla="*/ 48 w 132"/>
                  <a:gd name="T29" fmla="*/ 0 h 150"/>
                  <a:gd name="T30" fmla="*/ 54 w 132"/>
                  <a:gd name="T31" fmla="*/ 0 h 150"/>
                  <a:gd name="T32" fmla="*/ 54 w 132"/>
                  <a:gd name="T33" fmla="*/ 6 h 150"/>
                  <a:gd name="T34" fmla="*/ 54 w 132"/>
                  <a:gd name="T35" fmla="*/ 12 h 150"/>
                  <a:gd name="T36" fmla="*/ 54 w 132"/>
                  <a:gd name="T37" fmla="*/ 24 h 150"/>
                  <a:gd name="T38" fmla="*/ 66 w 132"/>
                  <a:gd name="T39" fmla="*/ 30 h 150"/>
                  <a:gd name="T40" fmla="*/ 72 w 132"/>
                  <a:gd name="T41" fmla="*/ 36 h 150"/>
                  <a:gd name="T42" fmla="*/ 84 w 132"/>
                  <a:gd name="T43" fmla="*/ 36 h 150"/>
                  <a:gd name="T44" fmla="*/ 84 w 132"/>
                  <a:gd name="T45" fmla="*/ 42 h 150"/>
                  <a:gd name="T46" fmla="*/ 90 w 132"/>
                  <a:gd name="T47" fmla="*/ 48 h 150"/>
                  <a:gd name="T48" fmla="*/ 102 w 132"/>
                  <a:gd name="T49" fmla="*/ 54 h 150"/>
                  <a:gd name="T50" fmla="*/ 108 w 132"/>
                  <a:gd name="T51" fmla="*/ 60 h 150"/>
                  <a:gd name="T52" fmla="*/ 108 w 132"/>
                  <a:gd name="T53" fmla="*/ 66 h 150"/>
                  <a:gd name="T54" fmla="*/ 126 w 132"/>
                  <a:gd name="T55" fmla="*/ 66 h 150"/>
                  <a:gd name="T56" fmla="*/ 126 w 132"/>
                  <a:gd name="T57" fmla="*/ 72 h 150"/>
                  <a:gd name="T58" fmla="*/ 126 w 132"/>
                  <a:gd name="T59" fmla="*/ 78 h 150"/>
                  <a:gd name="T60" fmla="*/ 132 w 132"/>
                  <a:gd name="T61" fmla="*/ 84 h 150"/>
                  <a:gd name="T62" fmla="*/ 132 w 132"/>
                  <a:gd name="T63" fmla="*/ 102 h 150"/>
                  <a:gd name="T64" fmla="*/ 132 w 132"/>
                  <a:gd name="T65" fmla="*/ 114 h 150"/>
                  <a:gd name="T66" fmla="*/ 132 w 132"/>
                  <a:gd name="T67" fmla="*/ 120 h 150"/>
                  <a:gd name="T68" fmla="*/ 120 w 132"/>
                  <a:gd name="T69" fmla="*/ 114 h 150"/>
                  <a:gd name="T70" fmla="*/ 114 w 132"/>
                  <a:gd name="T71" fmla="*/ 108 h 150"/>
                  <a:gd name="T72" fmla="*/ 102 w 132"/>
                  <a:gd name="T73" fmla="*/ 108 h 150"/>
                  <a:gd name="T74" fmla="*/ 96 w 132"/>
                  <a:gd name="T75" fmla="*/ 120 h 150"/>
                  <a:gd name="T76" fmla="*/ 90 w 132"/>
                  <a:gd name="T77" fmla="*/ 126 h 150"/>
                  <a:gd name="T78" fmla="*/ 84 w 132"/>
                  <a:gd name="T79" fmla="*/ 138 h 150"/>
                  <a:gd name="T80" fmla="*/ 84 w 132"/>
                  <a:gd name="T81" fmla="*/ 144 h 150"/>
                  <a:gd name="T82" fmla="*/ 78 w 132"/>
                  <a:gd name="T83" fmla="*/ 138 h 150"/>
                  <a:gd name="T84" fmla="*/ 72 w 132"/>
                  <a:gd name="T85" fmla="*/ 138 h 150"/>
                  <a:gd name="T86" fmla="*/ 66 w 132"/>
                  <a:gd name="T87" fmla="*/ 144 h 150"/>
                  <a:gd name="T88" fmla="*/ 60 w 132"/>
                  <a:gd name="T89" fmla="*/ 150 h 150"/>
                  <a:gd name="T90" fmla="*/ 60 w 132"/>
                  <a:gd name="T91" fmla="*/ 144 h 150"/>
                  <a:gd name="T92" fmla="*/ 54 w 132"/>
                  <a:gd name="T93" fmla="*/ 138 h 150"/>
                  <a:gd name="T94" fmla="*/ 42 w 132"/>
                  <a:gd name="T95" fmla="*/ 138 h 150"/>
                  <a:gd name="T96" fmla="*/ 42 w 132"/>
                  <a:gd name="T97" fmla="*/ 144 h 150"/>
                  <a:gd name="T98" fmla="*/ 36 w 132"/>
                  <a:gd name="T99" fmla="*/ 150 h 150"/>
                  <a:gd name="T100" fmla="*/ 30 w 132"/>
                  <a:gd name="T101" fmla="*/ 150 h 150"/>
                  <a:gd name="T102" fmla="*/ 24 w 132"/>
                  <a:gd name="T103" fmla="*/ 138 h 150"/>
                  <a:gd name="T104" fmla="*/ 24 w 132"/>
                  <a:gd name="T105" fmla="*/ 120 h 150"/>
                  <a:gd name="T106" fmla="*/ 24 w 132"/>
                  <a:gd name="T107" fmla="*/ 114 h 150"/>
                  <a:gd name="T108" fmla="*/ 18 w 132"/>
                  <a:gd name="T109" fmla="*/ 108 h 150"/>
                  <a:gd name="T110" fmla="*/ 18 w 132"/>
                  <a:gd name="T111" fmla="*/ 102 h 150"/>
                  <a:gd name="T112" fmla="*/ 6 w 132"/>
                  <a:gd name="T113" fmla="*/ 90 h 150"/>
                  <a:gd name="T114" fmla="*/ 6 w 132"/>
                  <a:gd name="T115" fmla="*/ 84 h 150"/>
                  <a:gd name="T116" fmla="*/ 0 w 132"/>
                  <a:gd name="T117" fmla="*/ 72 h 15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32" h="150">
                    <a:moveTo>
                      <a:pt x="0" y="72"/>
                    </a:moveTo>
                    <a:lnTo>
                      <a:pt x="18" y="60"/>
                    </a:lnTo>
                    <a:lnTo>
                      <a:pt x="24" y="60"/>
                    </a:lnTo>
                    <a:lnTo>
                      <a:pt x="18" y="54"/>
                    </a:lnTo>
                    <a:lnTo>
                      <a:pt x="18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2" y="12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54" y="0"/>
                    </a:lnTo>
                    <a:lnTo>
                      <a:pt x="54" y="6"/>
                    </a:lnTo>
                    <a:lnTo>
                      <a:pt x="54" y="12"/>
                    </a:lnTo>
                    <a:lnTo>
                      <a:pt x="54" y="24"/>
                    </a:lnTo>
                    <a:lnTo>
                      <a:pt x="66" y="30"/>
                    </a:lnTo>
                    <a:lnTo>
                      <a:pt x="72" y="36"/>
                    </a:lnTo>
                    <a:lnTo>
                      <a:pt x="84" y="36"/>
                    </a:lnTo>
                    <a:lnTo>
                      <a:pt x="84" y="42"/>
                    </a:lnTo>
                    <a:lnTo>
                      <a:pt x="90" y="48"/>
                    </a:lnTo>
                    <a:lnTo>
                      <a:pt x="102" y="54"/>
                    </a:lnTo>
                    <a:lnTo>
                      <a:pt x="108" y="60"/>
                    </a:lnTo>
                    <a:lnTo>
                      <a:pt x="108" y="66"/>
                    </a:lnTo>
                    <a:lnTo>
                      <a:pt x="126" y="66"/>
                    </a:lnTo>
                    <a:lnTo>
                      <a:pt x="126" y="72"/>
                    </a:lnTo>
                    <a:lnTo>
                      <a:pt x="126" y="78"/>
                    </a:lnTo>
                    <a:lnTo>
                      <a:pt x="132" y="84"/>
                    </a:lnTo>
                    <a:lnTo>
                      <a:pt x="132" y="102"/>
                    </a:lnTo>
                    <a:lnTo>
                      <a:pt x="132" y="114"/>
                    </a:lnTo>
                    <a:lnTo>
                      <a:pt x="132" y="120"/>
                    </a:lnTo>
                    <a:lnTo>
                      <a:pt x="120" y="114"/>
                    </a:lnTo>
                    <a:lnTo>
                      <a:pt x="114" y="108"/>
                    </a:lnTo>
                    <a:lnTo>
                      <a:pt x="102" y="108"/>
                    </a:lnTo>
                    <a:lnTo>
                      <a:pt x="96" y="120"/>
                    </a:lnTo>
                    <a:lnTo>
                      <a:pt x="90" y="126"/>
                    </a:lnTo>
                    <a:lnTo>
                      <a:pt x="84" y="138"/>
                    </a:lnTo>
                    <a:lnTo>
                      <a:pt x="84" y="144"/>
                    </a:lnTo>
                    <a:lnTo>
                      <a:pt x="78" y="138"/>
                    </a:lnTo>
                    <a:lnTo>
                      <a:pt x="72" y="138"/>
                    </a:lnTo>
                    <a:lnTo>
                      <a:pt x="66" y="144"/>
                    </a:lnTo>
                    <a:lnTo>
                      <a:pt x="60" y="150"/>
                    </a:lnTo>
                    <a:lnTo>
                      <a:pt x="60" y="144"/>
                    </a:lnTo>
                    <a:lnTo>
                      <a:pt x="54" y="138"/>
                    </a:lnTo>
                    <a:lnTo>
                      <a:pt x="42" y="138"/>
                    </a:lnTo>
                    <a:lnTo>
                      <a:pt x="42" y="144"/>
                    </a:lnTo>
                    <a:lnTo>
                      <a:pt x="36" y="150"/>
                    </a:lnTo>
                    <a:lnTo>
                      <a:pt x="30" y="150"/>
                    </a:lnTo>
                    <a:lnTo>
                      <a:pt x="24" y="138"/>
                    </a:lnTo>
                    <a:lnTo>
                      <a:pt x="24" y="120"/>
                    </a:lnTo>
                    <a:lnTo>
                      <a:pt x="24" y="114"/>
                    </a:lnTo>
                    <a:lnTo>
                      <a:pt x="18" y="108"/>
                    </a:lnTo>
                    <a:lnTo>
                      <a:pt x="18" y="102"/>
                    </a:lnTo>
                    <a:lnTo>
                      <a:pt x="6" y="90"/>
                    </a:lnTo>
                    <a:lnTo>
                      <a:pt x="6" y="84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02" name="Group 604"/>
            <p:cNvGrpSpPr>
              <a:grpSpLocks/>
            </p:cNvGrpSpPr>
            <p:nvPr/>
          </p:nvGrpSpPr>
          <p:grpSpPr bwMode="auto">
            <a:xfrm>
              <a:off x="6247368" y="3269560"/>
              <a:ext cx="280610" cy="319604"/>
              <a:chOff x="3937" y="1452"/>
              <a:chExt cx="138" cy="186"/>
            </a:xfrm>
            <a:solidFill>
              <a:srgbClr val="0070C0">
                <a:alpha val="27059"/>
              </a:srgbClr>
            </a:solidFill>
          </p:grpSpPr>
          <p:sp>
            <p:nvSpPr>
              <p:cNvPr id="1020" name="Freeform 605"/>
              <p:cNvSpPr>
                <a:spLocks/>
              </p:cNvSpPr>
              <p:nvPr/>
            </p:nvSpPr>
            <p:spPr bwMode="auto">
              <a:xfrm>
                <a:off x="3937" y="1452"/>
                <a:ext cx="138" cy="186"/>
              </a:xfrm>
              <a:custGeom>
                <a:avLst/>
                <a:gdLst>
                  <a:gd name="T0" fmla="*/ 60 w 138"/>
                  <a:gd name="T1" fmla="*/ 168 h 186"/>
                  <a:gd name="T2" fmla="*/ 54 w 138"/>
                  <a:gd name="T3" fmla="*/ 150 h 186"/>
                  <a:gd name="T4" fmla="*/ 30 w 138"/>
                  <a:gd name="T5" fmla="*/ 102 h 186"/>
                  <a:gd name="T6" fmla="*/ 6 w 138"/>
                  <a:gd name="T7" fmla="*/ 78 h 186"/>
                  <a:gd name="T8" fmla="*/ 6 w 138"/>
                  <a:gd name="T9" fmla="*/ 66 h 186"/>
                  <a:gd name="T10" fmla="*/ 6 w 138"/>
                  <a:gd name="T11" fmla="*/ 60 h 186"/>
                  <a:gd name="T12" fmla="*/ 0 w 138"/>
                  <a:gd name="T13" fmla="*/ 60 h 186"/>
                  <a:gd name="T14" fmla="*/ 12 w 138"/>
                  <a:gd name="T15" fmla="*/ 48 h 186"/>
                  <a:gd name="T16" fmla="*/ 12 w 138"/>
                  <a:gd name="T17" fmla="*/ 54 h 186"/>
                  <a:gd name="T18" fmla="*/ 24 w 138"/>
                  <a:gd name="T19" fmla="*/ 54 h 186"/>
                  <a:gd name="T20" fmla="*/ 30 w 138"/>
                  <a:gd name="T21" fmla="*/ 48 h 186"/>
                  <a:gd name="T22" fmla="*/ 36 w 138"/>
                  <a:gd name="T23" fmla="*/ 36 h 186"/>
                  <a:gd name="T24" fmla="*/ 42 w 138"/>
                  <a:gd name="T25" fmla="*/ 36 h 186"/>
                  <a:gd name="T26" fmla="*/ 60 w 138"/>
                  <a:gd name="T27" fmla="*/ 24 h 186"/>
                  <a:gd name="T28" fmla="*/ 66 w 138"/>
                  <a:gd name="T29" fmla="*/ 12 h 186"/>
                  <a:gd name="T30" fmla="*/ 60 w 138"/>
                  <a:gd name="T31" fmla="*/ 0 h 186"/>
                  <a:gd name="T32" fmla="*/ 84 w 138"/>
                  <a:gd name="T33" fmla="*/ 12 h 186"/>
                  <a:gd name="T34" fmla="*/ 96 w 138"/>
                  <a:gd name="T35" fmla="*/ 18 h 186"/>
                  <a:gd name="T36" fmla="*/ 96 w 138"/>
                  <a:gd name="T37" fmla="*/ 30 h 186"/>
                  <a:gd name="T38" fmla="*/ 120 w 138"/>
                  <a:gd name="T39" fmla="*/ 30 h 186"/>
                  <a:gd name="T40" fmla="*/ 120 w 138"/>
                  <a:gd name="T41" fmla="*/ 36 h 186"/>
                  <a:gd name="T42" fmla="*/ 126 w 138"/>
                  <a:gd name="T43" fmla="*/ 48 h 186"/>
                  <a:gd name="T44" fmla="*/ 120 w 138"/>
                  <a:gd name="T45" fmla="*/ 54 h 186"/>
                  <a:gd name="T46" fmla="*/ 114 w 138"/>
                  <a:gd name="T47" fmla="*/ 54 h 186"/>
                  <a:gd name="T48" fmla="*/ 96 w 138"/>
                  <a:gd name="T49" fmla="*/ 54 h 186"/>
                  <a:gd name="T50" fmla="*/ 90 w 138"/>
                  <a:gd name="T51" fmla="*/ 66 h 186"/>
                  <a:gd name="T52" fmla="*/ 84 w 138"/>
                  <a:gd name="T53" fmla="*/ 78 h 186"/>
                  <a:gd name="T54" fmla="*/ 84 w 138"/>
                  <a:gd name="T55" fmla="*/ 96 h 186"/>
                  <a:gd name="T56" fmla="*/ 90 w 138"/>
                  <a:gd name="T57" fmla="*/ 102 h 186"/>
                  <a:gd name="T58" fmla="*/ 90 w 138"/>
                  <a:gd name="T59" fmla="*/ 102 h 186"/>
                  <a:gd name="T60" fmla="*/ 96 w 138"/>
                  <a:gd name="T61" fmla="*/ 102 h 186"/>
                  <a:gd name="T62" fmla="*/ 102 w 138"/>
                  <a:gd name="T63" fmla="*/ 108 h 186"/>
                  <a:gd name="T64" fmla="*/ 114 w 138"/>
                  <a:gd name="T65" fmla="*/ 102 h 186"/>
                  <a:gd name="T66" fmla="*/ 114 w 138"/>
                  <a:gd name="T67" fmla="*/ 120 h 186"/>
                  <a:gd name="T68" fmla="*/ 120 w 138"/>
                  <a:gd name="T69" fmla="*/ 120 h 186"/>
                  <a:gd name="T70" fmla="*/ 132 w 138"/>
                  <a:gd name="T71" fmla="*/ 138 h 186"/>
                  <a:gd name="T72" fmla="*/ 132 w 138"/>
                  <a:gd name="T73" fmla="*/ 150 h 186"/>
                  <a:gd name="T74" fmla="*/ 132 w 138"/>
                  <a:gd name="T75" fmla="*/ 162 h 186"/>
                  <a:gd name="T76" fmla="*/ 132 w 138"/>
                  <a:gd name="T77" fmla="*/ 168 h 186"/>
                  <a:gd name="T78" fmla="*/ 114 w 138"/>
                  <a:gd name="T79" fmla="*/ 180 h 186"/>
                  <a:gd name="T80" fmla="*/ 96 w 138"/>
                  <a:gd name="T81" fmla="*/ 186 h 186"/>
                  <a:gd name="T82" fmla="*/ 72 w 138"/>
                  <a:gd name="T83" fmla="*/ 174 h 18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38" h="186">
                    <a:moveTo>
                      <a:pt x="66" y="174"/>
                    </a:moveTo>
                    <a:lnTo>
                      <a:pt x="60" y="168"/>
                    </a:lnTo>
                    <a:lnTo>
                      <a:pt x="54" y="162"/>
                    </a:lnTo>
                    <a:lnTo>
                      <a:pt x="54" y="150"/>
                    </a:lnTo>
                    <a:lnTo>
                      <a:pt x="36" y="114"/>
                    </a:lnTo>
                    <a:lnTo>
                      <a:pt x="30" y="102"/>
                    </a:lnTo>
                    <a:lnTo>
                      <a:pt x="24" y="96"/>
                    </a:lnTo>
                    <a:lnTo>
                      <a:pt x="6" y="78"/>
                    </a:lnTo>
                    <a:lnTo>
                      <a:pt x="6" y="72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0" y="60"/>
                    </a:lnTo>
                    <a:lnTo>
                      <a:pt x="6" y="48"/>
                    </a:lnTo>
                    <a:lnTo>
                      <a:pt x="12" y="48"/>
                    </a:lnTo>
                    <a:lnTo>
                      <a:pt x="12" y="54"/>
                    </a:lnTo>
                    <a:lnTo>
                      <a:pt x="24" y="54"/>
                    </a:lnTo>
                    <a:lnTo>
                      <a:pt x="30" y="48"/>
                    </a:lnTo>
                    <a:lnTo>
                      <a:pt x="30" y="42"/>
                    </a:lnTo>
                    <a:lnTo>
                      <a:pt x="36" y="36"/>
                    </a:lnTo>
                    <a:lnTo>
                      <a:pt x="42" y="36"/>
                    </a:lnTo>
                    <a:lnTo>
                      <a:pt x="48" y="36"/>
                    </a:lnTo>
                    <a:lnTo>
                      <a:pt x="60" y="24"/>
                    </a:lnTo>
                    <a:lnTo>
                      <a:pt x="60" y="18"/>
                    </a:lnTo>
                    <a:lnTo>
                      <a:pt x="66" y="12"/>
                    </a:lnTo>
                    <a:lnTo>
                      <a:pt x="66" y="6"/>
                    </a:lnTo>
                    <a:lnTo>
                      <a:pt x="60" y="0"/>
                    </a:lnTo>
                    <a:lnTo>
                      <a:pt x="72" y="6"/>
                    </a:lnTo>
                    <a:lnTo>
                      <a:pt x="84" y="12"/>
                    </a:lnTo>
                    <a:lnTo>
                      <a:pt x="90" y="12"/>
                    </a:lnTo>
                    <a:lnTo>
                      <a:pt x="96" y="18"/>
                    </a:lnTo>
                    <a:lnTo>
                      <a:pt x="96" y="24"/>
                    </a:lnTo>
                    <a:lnTo>
                      <a:pt x="96" y="30"/>
                    </a:lnTo>
                    <a:lnTo>
                      <a:pt x="108" y="30"/>
                    </a:lnTo>
                    <a:lnTo>
                      <a:pt x="120" y="30"/>
                    </a:lnTo>
                    <a:lnTo>
                      <a:pt x="120" y="36"/>
                    </a:lnTo>
                    <a:lnTo>
                      <a:pt x="120" y="48"/>
                    </a:lnTo>
                    <a:lnTo>
                      <a:pt x="126" y="48"/>
                    </a:lnTo>
                    <a:lnTo>
                      <a:pt x="120" y="54"/>
                    </a:lnTo>
                    <a:lnTo>
                      <a:pt x="114" y="48"/>
                    </a:lnTo>
                    <a:lnTo>
                      <a:pt x="114" y="54"/>
                    </a:lnTo>
                    <a:lnTo>
                      <a:pt x="102" y="54"/>
                    </a:lnTo>
                    <a:lnTo>
                      <a:pt x="96" y="54"/>
                    </a:lnTo>
                    <a:lnTo>
                      <a:pt x="90" y="66"/>
                    </a:lnTo>
                    <a:lnTo>
                      <a:pt x="90" y="72"/>
                    </a:lnTo>
                    <a:lnTo>
                      <a:pt x="84" y="78"/>
                    </a:lnTo>
                    <a:lnTo>
                      <a:pt x="84" y="84"/>
                    </a:lnTo>
                    <a:lnTo>
                      <a:pt x="84" y="96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96" y="102"/>
                    </a:lnTo>
                    <a:lnTo>
                      <a:pt x="102" y="108"/>
                    </a:lnTo>
                    <a:lnTo>
                      <a:pt x="108" y="108"/>
                    </a:lnTo>
                    <a:lnTo>
                      <a:pt x="114" y="102"/>
                    </a:lnTo>
                    <a:lnTo>
                      <a:pt x="114" y="120"/>
                    </a:lnTo>
                    <a:lnTo>
                      <a:pt x="120" y="120"/>
                    </a:lnTo>
                    <a:lnTo>
                      <a:pt x="126" y="120"/>
                    </a:lnTo>
                    <a:lnTo>
                      <a:pt x="132" y="138"/>
                    </a:lnTo>
                    <a:lnTo>
                      <a:pt x="132" y="144"/>
                    </a:lnTo>
                    <a:lnTo>
                      <a:pt x="132" y="150"/>
                    </a:lnTo>
                    <a:lnTo>
                      <a:pt x="132" y="156"/>
                    </a:lnTo>
                    <a:lnTo>
                      <a:pt x="132" y="162"/>
                    </a:lnTo>
                    <a:lnTo>
                      <a:pt x="138" y="168"/>
                    </a:lnTo>
                    <a:lnTo>
                      <a:pt x="132" y="168"/>
                    </a:lnTo>
                    <a:lnTo>
                      <a:pt x="126" y="174"/>
                    </a:lnTo>
                    <a:lnTo>
                      <a:pt x="114" y="180"/>
                    </a:lnTo>
                    <a:lnTo>
                      <a:pt x="108" y="180"/>
                    </a:lnTo>
                    <a:lnTo>
                      <a:pt x="96" y="186"/>
                    </a:lnTo>
                    <a:lnTo>
                      <a:pt x="90" y="186"/>
                    </a:lnTo>
                    <a:lnTo>
                      <a:pt x="72" y="174"/>
                    </a:lnTo>
                    <a:lnTo>
                      <a:pt x="66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21" name="Freeform 606"/>
              <p:cNvSpPr>
                <a:spLocks/>
              </p:cNvSpPr>
              <p:nvPr/>
            </p:nvSpPr>
            <p:spPr bwMode="auto">
              <a:xfrm>
                <a:off x="3937" y="1452"/>
                <a:ext cx="138" cy="186"/>
              </a:xfrm>
              <a:custGeom>
                <a:avLst/>
                <a:gdLst>
                  <a:gd name="T0" fmla="*/ 60 w 138"/>
                  <a:gd name="T1" fmla="*/ 168 h 186"/>
                  <a:gd name="T2" fmla="*/ 54 w 138"/>
                  <a:gd name="T3" fmla="*/ 150 h 186"/>
                  <a:gd name="T4" fmla="*/ 30 w 138"/>
                  <a:gd name="T5" fmla="*/ 102 h 186"/>
                  <a:gd name="T6" fmla="*/ 6 w 138"/>
                  <a:gd name="T7" fmla="*/ 78 h 186"/>
                  <a:gd name="T8" fmla="*/ 6 w 138"/>
                  <a:gd name="T9" fmla="*/ 66 h 186"/>
                  <a:gd name="T10" fmla="*/ 0 w 138"/>
                  <a:gd name="T11" fmla="*/ 60 h 186"/>
                  <a:gd name="T12" fmla="*/ 12 w 138"/>
                  <a:gd name="T13" fmla="*/ 48 h 186"/>
                  <a:gd name="T14" fmla="*/ 24 w 138"/>
                  <a:gd name="T15" fmla="*/ 54 h 186"/>
                  <a:gd name="T16" fmla="*/ 30 w 138"/>
                  <a:gd name="T17" fmla="*/ 42 h 186"/>
                  <a:gd name="T18" fmla="*/ 42 w 138"/>
                  <a:gd name="T19" fmla="*/ 36 h 186"/>
                  <a:gd name="T20" fmla="*/ 60 w 138"/>
                  <a:gd name="T21" fmla="*/ 24 h 186"/>
                  <a:gd name="T22" fmla="*/ 66 w 138"/>
                  <a:gd name="T23" fmla="*/ 12 h 186"/>
                  <a:gd name="T24" fmla="*/ 60 w 138"/>
                  <a:gd name="T25" fmla="*/ 0 h 186"/>
                  <a:gd name="T26" fmla="*/ 84 w 138"/>
                  <a:gd name="T27" fmla="*/ 12 h 186"/>
                  <a:gd name="T28" fmla="*/ 96 w 138"/>
                  <a:gd name="T29" fmla="*/ 18 h 186"/>
                  <a:gd name="T30" fmla="*/ 96 w 138"/>
                  <a:gd name="T31" fmla="*/ 30 h 186"/>
                  <a:gd name="T32" fmla="*/ 120 w 138"/>
                  <a:gd name="T33" fmla="*/ 30 h 186"/>
                  <a:gd name="T34" fmla="*/ 120 w 138"/>
                  <a:gd name="T35" fmla="*/ 48 h 186"/>
                  <a:gd name="T36" fmla="*/ 120 w 138"/>
                  <a:gd name="T37" fmla="*/ 54 h 186"/>
                  <a:gd name="T38" fmla="*/ 114 w 138"/>
                  <a:gd name="T39" fmla="*/ 54 h 186"/>
                  <a:gd name="T40" fmla="*/ 96 w 138"/>
                  <a:gd name="T41" fmla="*/ 54 h 186"/>
                  <a:gd name="T42" fmla="*/ 90 w 138"/>
                  <a:gd name="T43" fmla="*/ 72 h 186"/>
                  <a:gd name="T44" fmla="*/ 84 w 138"/>
                  <a:gd name="T45" fmla="*/ 84 h 186"/>
                  <a:gd name="T46" fmla="*/ 90 w 138"/>
                  <a:gd name="T47" fmla="*/ 96 h 186"/>
                  <a:gd name="T48" fmla="*/ 96 w 138"/>
                  <a:gd name="T49" fmla="*/ 102 h 186"/>
                  <a:gd name="T50" fmla="*/ 108 w 138"/>
                  <a:gd name="T51" fmla="*/ 108 h 186"/>
                  <a:gd name="T52" fmla="*/ 114 w 138"/>
                  <a:gd name="T53" fmla="*/ 120 h 186"/>
                  <a:gd name="T54" fmla="*/ 126 w 138"/>
                  <a:gd name="T55" fmla="*/ 120 h 186"/>
                  <a:gd name="T56" fmla="*/ 132 w 138"/>
                  <a:gd name="T57" fmla="*/ 144 h 186"/>
                  <a:gd name="T58" fmla="*/ 132 w 138"/>
                  <a:gd name="T59" fmla="*/ 156 h 186"/>
                  <a:gd name="T60" fmla="*/ 138 w 138"/>
                  <a:gd name="T61" fmla="*/ 168 h 186"/>
                  <a:gd name="T62" fmla="*/ 126 w 138"/>
                  <a:gd name="T63" fmla="*/ 174 h 186"/>
                  <a:gd name="T64" fmla="*/ 108 w 138"/>
                  <a:gd name="T65" fmla="*/ 180 h 186"/>
                  <a:gd name="T66" fmla="*/ 90 w 138"/>
                  <a:gd name="T67" fmla="*/ 186 h 186"/>
                  <a:gd name="T68" fmla="*/ 66 w 138"/>
                  <a:gd name="T69" fmla="*/ 174 h 18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38" h="186">
                    <a:moveTo>
                      <a:pt x="66" y="174"/>
                    </a:moveTo>
                    <a:lnTo>
                      <a:pt x="60" y="168"/>
                    </a:lnTo>
                    <a:lnTo>
                      <a:pt x="54" y="162"/>
                    </a:lnTo>
                    <a:lnTo>
                      <a:pt x="54" y="150"/>
                    </a:lnTo>
                    <a:lnTo>
                      <a:pt x="36" y="114"/>
                    </a:lnTo>
                    <a:lnTo>
                      <a:pt x="30" y="102"/>
                    </a:lnTo>
                    <a:lnTo>
                      <a:pt x="24" y="96"/>
                    </a:lnTo>
                    <a:lnTo>
                      <a:pt x="6" y="78"/>
                    </a:lnTo>
                    <a:lnTo>
                      <a:pt x="6" y="72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0" y="60"/>
                    </a:lnTo>
                    <a:lnTo>
                      <a:pt x="6" y="48"/>
                    </a:lnTo>
                    <a:lnTo>
                      <a:pt x="12" y="48"/>
                    </a:lnTo>
                    <a:lnTo>
                      <a:pt x="12" y="54"/>
                    </a:lnTo>
                    <a:lnTo>
                      <a:pt x="24" y="54"/>
                    </a:lnTo>
                    <a:lnTo>
                      <a:pt x="30" y="48"/>
                    </a:lnTo>
                    <a:lnTo>
                      <a:pt x="30" y="42"/>
                    </a:lnTo>
                    <a:lnTo>
                      <a:pt x="36" y="36"/>
                    </a:lnTo>
                    <a:lnTo>
                      <a:pt x="42" y="36"/>
                    </a:lnTo>
                    <a:lnTo>
                      <a:pt x="48" y="36"/>
                    </a:lnTo>
                    <a:lnTo>
                      <a:pt x="60" y="24"/>
                    </a:lnTo>
                    <a:lnTo>
                      <a:pt x="60" y="18"/>
                    </a:lnTo>
                    <a:lnTo>
                      <a:pt x="66" y="12"/>
                    </a:lnTo>
                    <a:lnTo>
                      <a:pt x="66" y="6"/>
                    </a:lnTo>
                    <a:lnTo>
                      <a:pt x="60" y="0"/>
                    </a:lnTo>
                    <a:lnTo>
                      <a:pt x="72" y="6"/>
                    </a:lnTo>
                    <a:lnTo>
                      <a:pt x="84" y="12"/>
                    </a:lnTo>
                    <a:lnTo>
                      <a:pt x="90" y="12"/>
                    </a:lnTo>
                    <a:lnTo>
                      <a:pt x="96" y="18"/>
                    </a:lnTo>
                    <a:lnTo>
                      <a:pt x="96" y="24"/>
                    </a:lnTo>
                    <a:lnTo>
                      <a:pt x="96" y="30"/>
                    </a:lnTo>
                    <a:lnTo>
                      <a:pt x="108" y="30"/>
                    </a:lnTo>
                    <a:lnTo>
                      <a:pt x="120" y="30"/>
                    </a:lnTo>
                    <a:lnTo>
                      <a:pt x="120" y="36"/>
                    </a:lnTo>
                    <a:lnTo>
                      <a:pt x="120" y="48"/>
                    </a:lnTo>
                    <a:lnTo>
                      <a:pt x="126" y="48"/>
                    </a:lnTo>
                    <a:lnTo>
                      <a:pt x="120" y="54"/>
                    </a:lnTo>
                    <a:lnTo>
                      <a:pt x="114" y="48"/>
                    </a:lnTo>
                    <a:lnTo>
                      <a:pt x="114" y="54"/>
                    </a:lnTo>
                    <a:lnTo>
                      <a:pt x="102" y="54"/>
                    </a:lnTo>
                    <a:lnTo>
                      <a:pt x="96" y="54"/>
                    </a:lnTo>
                    <a:lnTo>
                      <a:pt x="90" y="66"/>
                    </a:lnTo>
                    <a:lnTo>
                      <a:pt x="90" y="72"/>
                    </a:lnTo>
                    <a:lnTo>
                      <a:pt x="84" y="78"/>
                    </a:lnTo>
                    <a:lnTo>
                      <a:pt x="84" y="84"/>
                    </a:lnTo>
                    <a:lnTo>
                      <a:pt x="84" y="96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96" y="102"/>
                    </a:lnTo>
                    <a:lnTo>
                      <a:pt x="102" y="108"/>
                    </a:lnTo>
                    <a:lnTo>
                      <a:pt x="108" y="108"/>
                    </a:lnTo>
                    <a:lnTo>
                      <a:pt x="114" y="102"/>
                    </a:lnTo>
                    <a:lnTo>
                      <a:pt x="114" y="120"/>
                    </a:lnTo>
                    <a:lnTo>
                      <a:pt x="120" y="120"/>
                    </a:lnTo>
                    <a:lnTo>
                      <a:pt x="126" y="120"/>
                    </a:lnTo>
                    <a:lnTo>
                      <a:pt x="132" y="138"/>
                    </a:lnTo>
                    <a:lnTo>
                      <a:pt x="132" y="144"/>
                    </a:lnTo>
                    <a:lnTo>
                      <a:pt x="132" y="150"/>
                    </a:lnTo>
                    <a:lnTo>
                      <a:pt x="132" y="156"/>
                    </a:lnTo>
                    <a:lnTo>
                      <a:pt x="132" y="162"/>
                    </a:lnTo>
                    <a:lnTo>
                      <a:pt x="138" y="168"/>
                    </a:lnTo>
                    <a:lnTo>
                      <a:pt x="132" y="168"/>
                    </a:lnTo>
                    <a:lnTo>
                      <a:pt x="126" y="174"/>
                    </a:lnTo>
                    <a:lnTo>
                      <a:pt x="114" y="180"/>
                    </a:lnTo>
                    <a:lnTo>
                      <a:pt x="108" y="180"/>
                    </a:lnTo>
                    <a:lnTo>
                      <a:pt x="96" y="186"/>
                    </a:lnTo>
                    <a:lnTo>
                      <a:pt x="90" y="186"/>
                    </a:lnTo>
                    <a:lnTo>
                      <a:pt x="72" y="174"/>
                    </a:lnTo>
                    <a:lnTo>
                      <a:pt x="66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03" name="Group 607"/>
            <p:cNvGrpSpPr>
              <a:grpSpLocks/>
            </p:cNvGrpSpPr>
            <p:nvPr/>
          </p:nvGrpSpPr>
          <p:grpSpPr bwMode="auto">
            <a:xfrm>
              <a:off x="6441488" y="3043006"/>
              <a:ext cx="269078" cy="216441"/>
              <a:chOff x="4033" y="1320"/>
              <a:chExt cx="132" cy="126"/>
            </a:xfrm>
            <a:solidFill>
              <a:srgbClr val="0070C0">
                <a:alpha val="27059"/>
              </a:srgbClr>
            </a:solidFill>
          </p:grpSpPr>
          <p:sp>
            <p:nvSpPr>
              <p:cNvPr id="1018" name="Freeform 608"/>
              <p:cNvSpPr>
                <a:spLocks/>
              </p:cNvSpPr>
              <p:nvPr/>
            </p:nvSpPr>
            <p:spPr bwMode="auto">
              <a:xfrm>
                <a:off x="4033" y="1320"/>
                <a:ext cx="132" cy="126"/>
              </a:xfrm>
              <a:custGeom>
                <a:avLst/>
                <a:gdLst>
                  <a:gd name="T0" fmla="*/ 126 w 132"/>
                  <a:gd name="T1" fmla="*/ 36 h 126"/>
                  <a:gd name="T2" fmla="*/ 114 w 132"/>
                  <a:gd name="T3" fmla="*/ 30 h 126"/>
                  <a:gd name="T4" fmla="*/ 96 w 132"/>
                  <a:gd name="T5" fmla="*/ 18 h 126"/>
                  <a:gd name="T6" fmla="*/ 84 w 132"/>
                  <a:gd name="T7" fmla="*/ 18 h 126"/>
                  <a:gd name="T8" fmla="*/ 72 w 132"/>
                  <a:gd name="T9" fmla="*/ 24 h 126"/>
                  <a:gd name="T10" fmla="*/ 60 w 132"/>
                  <a:gd name="T11" fmla="*/ 24 h 126"/>
                  <a:gd name="T12" fmla="*/ 42 w 132"/>
                  <a:gd name="T13" fmla="*/ 18 h 126"/>
                  <a:gd name="T14" fmla="*/ 36 w 132"/>
                  <a:gd name="T15" fmla="*/ 6 h 126"/>
                  <a:gd name="T16" fmla="*/ 30 w 132"/>
                  <a:gd name="T17" fmla="*/ 0 h 126"/>
                  <a:gd name="T18" fmla="*/ 30 w 132"/>
                  <a:gd name="T19" fmla="*/ 0 h 126"/>
                  <a:gd name="T20" fmla="*/ 30 w 132"/>
                  <a:gd name="T21" fmla="*/ 6 h 126"/>
                  <a:gd name="T22" fmla="*/ 30 w 132"/>
                  <a:gd name="T23" fmla="*/ 6 h 126"/>
                  <a:gd name="T24" fmla="*/ 24 w 132"/>
                  <a:gd name="T25" fmla="*/ 12 h 126"/>
                  <a:gd name="T26" fmla="*/ 24 w 132"/>
                  <a:gd name="T27" fmla="*/ 12 h 126"/>
                  <a:gd name="T28" fmla="*/ 24 w 132"/>
                  <a:gd name="T29" fmla="*/ 12 h 126"/>
                  <a:gd name="T30" fmla="*/ 24 w 132"/>
                  <a:gd name="T31" fmla="*/ 6 h 126"/>
                  <a:gd name="T32" fmla="*/ 18 w 132"/>
                  <a:gd name="T33" fmla="*/ 6 h 126"/>
                  <a:gd name="T34" fmla="*/ 12 w 132"/>
                  <a:gd name="T35" fmla="*/ 12 h 126"/>
                  <a:gd name="T36" fmla="*/ 0 w 132"/>
                  <a:gd name="T37" fmla="*/ 18 h 126"/>
                  <a:gd name="T38" fmla="*/ 0 w 132"/>
                  <a:gd name="T39" fmla="*/ 24 h 126"/>
                  <a:gd name="T40" fmla="*/ 0 w 132"/>
                  <a:gd name="T41" fmla="*/ 36 h 126"/>
                  <a:gd name="T42" fmla="*/ 0 w 132"/>
                  <a:gd name="T43" fmla="*/ 42 h 126"/>
                  <a:gd name="T44" fmla="*/ 0 w 132"/>
                  <a:gd name="T45" fmla="*/ 60 h 126"/>
                  <a:gd name="T46" fmla="*/ 30 w 132"/>
                  <a:gd name="T47" fmla="*/ 66 h 126"/>
                  <a:gd name="T48" fmla="*/ 42 w 132"/>
                  <a:gd name="T49" fmla="*/ 72 h 126"/>
                  <a:gd name="T50" fmla="*/ 48 w 132"/>
                  <a:gd name="T51" fmla="*/ 72 h 126"/>
                  <a:gd name="T52" fmla="*/ 42 w 132"/>
                  <a:gd name="T53" fmla="*/ 78 h 126"/>
                  <a:gd name="T54" fmla="*/ 42 w 132"/>
                  <a:gd name="T55" fmla="*/ 96 h 126"/>
                  <a:gd name="T56" fmla="*/ 42 w 132"/>
                  <a:gd name="T57" fmla="*/ 102 h 126"/>
                  <a:gd name="T58" fmla="*/ 48 w 132"/>
                  <a:gd name="T59" fmla="*/ 120 h 126"/>
                  <a:gd name="T60" fmla="*/ 72 w 132"/>
                  <a:gd name="T61" fmla="*/ 126 h 126"/>
                  <a:gd name="T62" fmla="*/ 90 w 132"/>
                  <a:gd name="T63" fmla="*/ 108 h 126"/>
                  <a:gd name="T64" fmla="*/ 84 w 132"/>
                  <a:gd name="T65" fmla="*/ 102 h 126"/>
                  <a:gd name="T66" fmla="*/ 84 w 132"/>
                  <a:gd name="T67" fmla="*/ 102 h 126"/>
                  <a:gd name="T68" fmla="*/ 78 w 132"/>
                  <a:gd name="T69" fmla="*/ 90 h 126"/>
                  <a:gd name="T70" fmla="*/ 78 w 132"/>
                  <a:gd name="T71" fmla="*/ 90 h 126"/>
                  <a:gd name="T72" fmla="*/ 90 w 132"/>
                  <a:gd name="T73" fmla="*/ 90 h 126"/>
                  <a:gd name="T74" fmla="*/ 108 w 132"/>
                  <a:gd name="T75" fmla="*/ 96 h 126"/>
                  <a:gd name="T76" fmla="*/ 114 w 132"/>
                  <a:gd name="T77" fmla="*/ 90 h 126"/>
                  <a:gd name="T78" fmla="*/ 120 w 132"/>
                  <a:gd name="T79" fmla="*/ 90 h 126"/>
                  <a:gd name="T80" fmla="*/ 114 w 132"/>
                  <a:gd name="T81" fmla="*/ 72 h 126"/>
                  <a:gd name="T82" fmla="*/ 114 w 132"/>
                  <a:gd name="T83" fmla="*/ 66 h 126"/>
                  <a:gd name="T84" fmla="*/ 120 w 132"/>
                  <a:gd name="T85" fmla="*/ 54 h 126"/>
                  <a:gd name="T86" fmla="*/ 126 w 132"/>
                  <a:gd name="T87" fmla="*/ 48 h 12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32" h="126">
                    <a:moveTo>
                      <a:pt x="132" y="42"/>
                    </a:moveTo>
                    <a:lnTo>
                      <a:pt x="126" y="36"/>
                    </a:lnTo>
                    <a:lnTo>
                      <a:pt x="120" y="30"/>
                    </a:lnTo>
                    <a:lnTo>
                      <a:pt x="114" y="30"/>
                    </a:lnTo>
                    <a:lnTo>
                      <a:pt x="108" y="24"/>
                    </a:lnTo>
                    <a:lnTo>
                      <a:pt x="96" y="18"/>
                    </a:lnTo>
                    <a:lnTo>
                      <a:pt x="90" y="18"/>
                    </a:lnTo>
                    <a:lnTo>
                      <a:pt x="84" y="18"/>
                    </a:lnTo>
                    <a:lnTo>
                      <a:pt x="78" y="18"/>
                    </a:lnTo>
                    <a:lnTo>
                      <a:pt x="72" y="24"/>
                    </a:lnTo>
                    <a:lnTo>
                      <a:pt x="66" y="24"/>
                    </a:lnTo>
                    <a:lnTo>
                      <a:pt x="60" y="24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36" y="6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24" y="6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6" y="66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2"/>
                    </a:lnTo>
                    <a:lnTo>
                      <a:pt x="48" y="78"/>
                    </a:lnTo>
                    <a:lnTo>
                      <a:pt x="42" y="78"/>
                    </a:lnTo>
                    <a:lnTo>
                      <a:pt x="42" y="90"/>
                    </a:lnTo>
                    <a:lnTo>
                      <a:pt x="42" y="96"/>
                    </a:lnTo>
                    <a:lnTo>
                      <a:pt x="48" y="96"/>
                    </a:lnTo>
                    <a:lnTo>
                      <a:pt x="42" y="102"/>
                    </a:lnTo>
                    <a:lnTo>
                      <a:pt x="48" y="108"/>
                    </a:lnTo>
                    <a:lnTo>
                      <a:pt x="48" y="120"/>
                    </a:lnTo>
                    <a:lnTo>
                      <a:pt x="60" y="126"/>
                    </a:lnTo>
                    <a:lnTo>
                      <a:pt x="72" y="126"/>
                    </a:lnTo>
                    <a:lnTo>
                      <a:pt x="84" y="114"/>
                    </a:lnTo>
                    <a:lnTo>
                      <a:pt x="90" y="108"/>
                    </a:lnTo>
                    <a:lnTo>
                      <a:pt x="90" y="102"/>
                    </a:lnTo>
                    <a:lnTo>
                      <a:pt x="84" y="102"/>
                    </a:lnTo>
                    <a:lnTo>
                      <a:pt x="84" y="96"/>
                    </a:lnTo>
                    <a:lnTo>
                      <a:pt x="78" y="90"/>
                    </a:lnTo>
                    <a:lnTo>
                      <a:pt x="84" y="90"/>
                    </a:lnTo>
                    <a:lnTo>
                      <a:pt x="90" y="90"/>
                    </a:lnTo>
                    <a:lnTo>
                      <a:pt x="96" y="96"/>
                    </a:lnTo>
                    <a:lnTo>
                      <a:pt x="108" y="96"/>
                    </a:lnTo>
                    <a:lnTo>
                      <a:pt x="108" y="90"/>
                    </a:lnTo>
                    <a:lnTo>
                      <a:pt x="114" y="90"/>
                    </a:lnTo>
                    <a:lnTo>
                      <a:pt x="120" y="90"/>
                    </a:lnTo>
                    <a:lnTo>
                      <a:pt x="120" y="84"/>
                    </a:lnTo>
                    <a:lnTo>
                      <a:pt x="114" y="72"/>
                    </a:lnTo>
                    <a:lnTo>
                      <a:pt x="114" y="66"/>
                    </a:lnTo>
                    <a:lnTo>
                      <a:pt x="114" y="60"/>
                    </a:lnTo>
                    <a:lnTo>
                      <a:pt x="120" y="54"/>
                    </a:lnTo>
                    <a:lnTo>
                      <a:pt x="120" y="48"/>
                    </a:lnTo>
                    <a:lnTo>
                      <a:pt x="126" y="48"/>
                    </a:lnTo>
                    <a:lnTo>
                      <a:pt x="132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19" name="Freeform 609"/>
              <p:cNvSpPr>
                <a:spLocks/>
              </p:cNvSpPr>
              <p:nvPr/>
            </p:nvSpPr>
            <p:spPr bwMode="auto">
              <a:xfrm>
                <a:off x="4033" y="1320"/>
                <a:ext cx="132" cy="126"/>
              </a:xfrm>
              <a:custGeom>
                <a:avLst/>
                <a:gdLst>
                  <a:gd name="T0" fmla="*/ 126 w 132"/>
                  <a:gd name="T1" fmla="*/ 36 h 126"/>
                  <a:gd name="T2" fmla="*/ 114 w 132"/>
                  <a:gd name="T3" fmla="*/ 30 h 126"/>
                  <a:gd name="T4" fmla="*/ 96 w 132"/>
                  <a:gd name="T5" fmla="*/ 18 h 126"/>
                  <a:gd name="T6" fmla="*/ 84 w 132"/>
                  <a:gd name="T7" fmla="*/ 18 h 126"/>
                  <a:gd name="T8" fmla="*/ 72 w 132"/>
                  <a:gd name="T9" fmla="*/ 24 h 126"/>
                  <a:gd name="T10" fmla="*/ 60 w 132"/>
                  <a:gd name="T11" fmla="*/ 24 h 126"/>
                  <a:gd name="T12" fmla="*/ 42 w 132"/>
                  <a:gd name="T13" fmla="*/ 18 h 126"/>
                  <a:gd name="T14" fmla="*/ 30 w 132"/>
                  <a:gd name="T15" fmla="*/ 0 h 126"/>
                  <a:gd name="T16" fmla="*/ 24 w 132"/>
                  <a:gd name="T17" fmla="*/ 6 h 126"/>
                  <a:gd name="T18" fmla="*/ 24 w 132"/>
                  <a:gd name="T19" fmla="*/ 6 h 126"/>
                  <a:gd name="T20" fmla="*/ 18 w 132"/>
                  <a:gd name="T21" fmla="*/ 6 h 126"/>
                  <a:gd name="T22" fmla="*/ 6 w 132"/>
                  <a:gd name="T23" fmla="*/ 18 h 126"/>
                  <a:gd name="T24" fmla="*/ 0 w 132"/>
                  <a:gd name="T25" fmla="*/ 24 h 126"/>
                  <a:gd name="T26" fmla="*/ 0 w 132"/>
                  <a:gd name="T27" fmla="*/ 42 h 126"/>
                  <a:gd name="T28" fmla="*/ 0 w 132"/>
                  <a:gd name="T29" fmla="*/ 60 h 126"/>
                  <a:gd name="T30" fmla="*/ 30 w 132"/>
                  <a:gd name="T31" fmla="*/ 66 h 126"/>
                  <a:gd name="T32" fmla="*/ 42 w 132"/>
                  <a:gd name="T33" fmla="*/ 72 h 126"/>
                  <a:gd name="T34" fmla="*/ 48 w 132"/>
                  <a:gd name="T35" fmla="*/ 78 h 126"/>
                  <a:gd name="T36" fmla="*/ 42 w 132"/>
                  <a:gd name="T37" fmla="*/ 90 h 126"/>
                  <a:gd name="T38" fmla="*/ 48 w 132"/>
                  <a:gd name="T39" fmla="*/ 96 h 126"/>
                  <a:gd name="T40" fmla="*/ 48 w 132"/>
                  <a:gd name="T41" fmla="*/ 108 h 126"/>
                  <a:gd name="T42" fmla="*/ 60 w 132"/>
                  <a:gd name="T43" fmla="*/ 126 h 126"/>
                  <a:gd name="T44" fmla="*/ 84 w 132"/>
                  <a:gd name="T45" fmla="*/ 114 h 126"/>
                  <a:gd name="T46" fmla="*/ 90 w 132"/>
                  <a:gd name="T47" fmla="*/ 102 h 126"/>
                  <a:gd name="T48" fmla="*/ 84 w 132"/>
                  <a:gd name="T49" fmla="*/ 96 h 126"/>
                  <a:gd name="T50" fmla="*/ 84 w 132"/>
                  <a:gd name="T51" fmla="*/ 90 h 126"/>
                  <a:gd name="T52" fmla="*/ 96 w 132"/>
                  <a:gd name="T53" fmla="*/ 96 h 126"/>
                  <a:gd name="T54" fmla="*/ 108 w 132"/>
                  <a:gd name="T55" fmla="*/ 90 h 126"/>
                  <a:gd name="T56" fmla="*/ 120 w 132"/>
                  <a:gd name="T57" fmla="*/ 90 h 126"/>
                  <a:gd name="T58" fmla="*/ 114 w 132"/>
                  <a:gd name="T59" fmla="*/ 72 h 126"/>
                  <a:gd name="T60" fmla="*/ 114 w 132"/>
                  <a:gd name="T61" fmla="*/ 60 h 126"/>
                  <a:gd name="T62" fmla="*/ 120 w 132"/>
                  <a:gd name="T63" fmla="*/ 48 h 126"/>
                  <a:gd name="T64" fmla="*/ 132 w 132"/>
                  <a:gd name="T65" fmla="*/ 42 h 1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32" h="126">
                    <a:moveTo>
                      <a:pt x="132" y="42"/>
                    </a:moveTo>
                    <a:lnTo>
                      <a:pt x="126" y="36"/>
                    </a:lnTo>
                    <a:lnTo>
                      <a:pt x="120" y="30"/>
                    </a:lnTo>
                    <a:lnTo>
                      <a:pt x="114" y="30"/>
                    </a:lnTo>
                    <a:lnTo>
                      <a:pt x="108" y="24"/>
                    </a:lnTo>
                    <a:lnTo>
                      <a:pt x="96" y="18"/>
                    </a:lnTo>
                    <a:lnTo>
                      <a:pt x="90" y="18"/>
                    </a:lnTo>
                    <a:lnTo>
                      <a:pt x="84" y="18"/>
                    </a:lnTo>
                    <a:lnTo>
                      <a:pt x="78" y="18"/>
                    </a:lnTo>
                    <a:lnTo>
                      <a:pt x="72" y="24"/>
                    </a:lnTo>
                    <a:lnTo>
                      <a:pt x="66" y="24"/>
                    </a:lnTo>
                    <a:lnTo>
                      <a:pt x="60" y="24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36" y="6"/>
                    </a:lnTo>
                    <a:lnTo>
                      <a:pt x="30" y="0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24" y="6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6" y="66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42" y="72"/>
                    </a:lnTo>
                    <a:lnTo>
                      <a:pt x="48" y="72"/>
                    </a:lnTo>
                    <a:lnTo>
                      <a:pt x="48" y="78"/>
                    </a:lnTo>
                    <a:lnTo>
                      <a:pt x="42" y="78"/>
                    </a:lnTo>
                    <a:lnTo>
                      <a:pt x="42" y="90"/>
                    </a:lnTo>
                    <a:lnTo>
                      <a:pt x="42" y="96"/>
                    </a:lnTo>
                    <a:lnTo>
                      <a:pt x="48" y="96"/>
                    </a:lnTo>
                    <a:lnTo>
                      <a:pt x="42" y="102"/>
                    </a:lnTo>
                    <a:lnTo>
                      <a:pt x="48" y="108"/>
                    </a:lnTo>
                    <a:lnTo>
                      <a:pt x="48" y="120"/>
                    </a:lnTo>
                    <a:lnTo>
                      <a:pt x="60" y="126"/>
                    </a:lnTo>
                    <a:lnTo>
                      <a:pt x="72" y="126"/>
                    </a:lnTo>
                    <a:lnTo>
                      <a:pt x="84" y="114"/>
                    </a:lnTo>
                    <a:lnTo>
                      <a:pt x="90" y="108"/>
                    </a:lnTo>
                    <a:lnTo>
                      <a:pt x="90" y="102"/>
                    </a:lnTo>
                    <a:lnTo>
                      <a:pt x="84" y="102"/>
                    </a:lnTo>
                    <a:lnTo>
                      <a:pt x="84" y="96"/>
                    </a:lnTo>
                    <a:lnTo>
                      <a:pt x="78" y="90"/>
                    </a:lnTo>
                    <a:lnTo>
                      <a:pt x="84" y="90"/>
                    </a:lnTo>
                    <a:lnTo>
                      <a:pt x="90" y="90"/>
                    </a:lnTo>
                    <a:lnTo>
                      <a:pt x="96" y="96"/>
                    </a:lnTo>
                    <a:lnTo>
                      <a:pt x="108" y="96"/>
                    </a:lnTo>
                    <a:lnTo>
                      <a:pt x="108" y="90"/>
                    </a:lnTo>
                    <a:lnTo>
                      <a:pt x="114" y="90"/>
                    </a:lnTo>
                    <a:lnTo>
                      <a:pt x="120" y="90"/>
                    </a:lnTo>
                    <a:lnTo>
                      <a:pt x="120" y="84"/>
                    </a:lnTo>
                    <a:lnTo>
                      <a:pt x="114" y="72"/>
                    </a:lnTo>
                    <a:lnTo>
                      <a:pt x="114" y="66"/>
                    </a:lnTo>
                    <a:lnTo>
                      <a:pt x="114" y="60"/>
                    </a:lnTo>
                    <a:lnTo>
                      <a:pt x="120" y="54"/>
                    </a:lnTo>
                    <a:lnTo>
                      <a:pt x="120" y="48"/>
                    </a:lnTo>
                    <a:lnTo>
                      <a:pt x="126" y="48"/>
                    </a:lnTo>
                    <a:lnTo>
                      <a:pt x="132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04" name="Group 610"/>
            <p:cNvGrpSpPr>
              <a:grpSpLocks/>
            </p:cNvGrpSpPr>
            <p:nvPr/>
          </p:nvGrpSpPr>
          <p:grpSpPr bwMode="auto">
            <a:xfrm>
              <a:off x="6674049" y="3113804"/>
              <a:ext cx="73036" cy="113277"/>
              <a:chOff x="4147" y="1362"/>
              <a:chExt cx="36" cy="66"/>
            </a:xfrm>
            <a:solidFill>
              <a:srgbClr val="0070C0">
                <a:alpha val="27059"/>
              </a:srgbClr>
            </a:solidFill>
          </p:grpSpPr>
          <p:sp>
            <p:nvSpPr>
              <p:cNvPr id="1016" name="Freeform 611"/>
              <p:cNvSpPr>
                <a:spLocks/>
              </p:cNvSpPr>
              <p:nvPr/>
            </p:nvSpPr>
            <p:spPr bwMode="auto">
              <a:xfrm>
                <a:off x="4147" y="1362"/>
                <a:ext cx="36" cy="66"/>
              </a:xfrm>
              <a:custGeom>
                <a:avLst/>
                <a:gdLst>
                  <a:gd name="T0" fmla="*/ 36 w 36"/>
                  <a:gd name="T1" fmla="*/ 24 h 66"/>
                  <a:gd name="T2" fmla="*/ 18 w 36"/>
                  <a:gd name="T3" fmla="*/ 0 h 66"/>
                  <a:gd name="T4" fmla="*/ 12 w 36"/>
                  <a:gd name="T5" fmla="*/ 6 h 66"/>
                  <a:gd name="T6" fmla="*/ 6 w 36"/>
                  <a:gd name="T7" fmla="*/ 6 h 66"/>
                  <a:gd name="T8" fmla="*/ 6 w 36"/>
                  <a:gd name="T9" fmla="*/ 12 h 66"/>
                  <a:gd name="T10" fmla="*/ 0 w 36"/>
                  <a:gd name="T11" fmla="*/ 18 h 66"/>
                  <a:gd name="T12" fmla="*/ 0 w 36"/>
                  <a:gd name="T13" fmla="*/ 24 h 66"/>
                  <a:gd name="T14" fmla="*/ 0 w 36"/>
                  <a:gd name="T15" fmla="*/ 30 h 66"/>
                  <a:gd name="T16" fmla="*/ 0 w 36"/>
                  <a:gd name="T17" fmla="*/ 30 h 66"/>
                  <a:gd name="T18" fmla="*/ 6 w 36"/>
                  <a:gd name="T19" fmla="*/ 42 h 66"/>
                  <a:gd name="T20" fmla="*/ 12 w 36"/>
                  <a:gd name="T21" fmla="*/ 48 h 66"/>
                  <a:gd name="T22" fmla="*/ 12 w 36"/>
                  <a:gd name="T23" fmla="*/ 48 h 66"/>
                  <a:gd name="T24" fmla="*/ 12 w 36"/>
                  <a:gd name="T25" fmla="*/ 54 h 66"/>
                  <a:gd name="T26" fmla="*/ 12 w 36"/>
                  <a:gd name="T27" fmla="*/ 60 h 66"/>
                  <a:gd name="T28" fmla="*/ 12 w 36"/>
                  <a:gd name="T29" fmla="*/ 66 h 66"/>
                  <a:gd name="T30" fmla="*/ 18 w 36"/>
                  <a:gd name="T31" fmla="*/ 66 h 66"/>
                  <a:gd name="T32" fmla="*/ 18 w 36"/>
                  <a:gd name="T33" fmla="*/ 66 h 66"/>
                  <a:gd name="T34" fmla="*/ 24 w 36"/>
                  <a:gd name="T35" fmla="*/ 60 h 66"/>
                  <a:gd name="T36" fmla="*/ 30 w 36"/>
                  <a:gd name="T37" fmla="*/ 60 h 66"/>
                  <a:gd name="T38" fmla="*/ 36 w 36"/>
                  <a:gd name="T39" fmla="*/ 66 h 66"/>
                  <a:gd name="T40" fmla="*/ 30 w 36"/>
                  <a:gd name="T41" fmla="*/ 54 h 66"/>
                  <a:gd name="T42" fmla="*/ 30 w 36"/>
                  <a:gd name="T43" fmla="*/ 48 h 66"/>
                  <a:gd name="T44" fmla="*/ 30 w 36"/>
                  <a:gd name="T45" fmla="*/ 48 h 66"/>
                  <a:gd name="T46" fmla="*/ 24 w 36"/>
                  <a:gd name="T47" fmla="*/ 42 h 66"/>
                  <a:gd name="T48" fmla="*/ 24 w 36"/>
                  <a:gd name="T49" fmla="*/ 36 h 66"/>
                  <a:gd name="T50" fmla="*/ 24 w 36"/>
                  <a:gd name="T51" fmla="*/ 30 h 66"/>
                  <a:gd name="T52" fmla="*/ 30 w 36"/>
                  <a:gd name="T53" fmla="*/ 30 h 66"/>
                  <a:gd name="T54" fmla="*/ 30 w 36"/>
                  <a:gd name="T55" fmla="*/ 30 h 66"/>
                  <a:gd name="T56" fmla="*/ 36 w 36"/>
                  <a:gd name="T57" fmla="*/ 30 h 66"/>
                  <a:gd name="T58" fmla="*/ 36 w 36"/>
                  <a:gd name="T59" fmla="*/ 24 h 66"/>
                  <a:gd name="T60" fmla="*/ 36 w 36"/>
                  <a:gd name="T61" fmla="*/ 24 h 6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36" h="66">
                    <a:moveTo>
                      <a:pt x="36" y="24"/>
                    </a:moveTo>
                    <a:lnTo>
                      <a:pt x="18" y="0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6" y="42"/>
                    </a:lnTo>
                    <a:lnTo>
                      <a:pt x="12" y="48"/>
                    </a:lnTo>
                    <a:lnTo>
                      <a:pt x="12" y="54"/>
                    </a:lnTo>
                    <a:lnTo>
                      <a:pt x="12" y="60"/>
                    </a:lnTo>
                    <a:lnTo>
                      <a:pt x="12" y="66"/>
                    </a:lnTo>
                    <a:lnTo>
                      <a:pt x="18" y="66"/>
                    </a:lnTo>
                    <a:lnTo>
                      <a:pt x="24" y="60"/>
                    </a:lnTo>
                    <a:lnTo>
                      <a:pt x="30" y="60"/>
                    </a:lnTo>
                    <a:lnTo>
                      <a:pt x="36" y="66"/>
                    </a:lnTo>
                    <a:lnTo>
                      <a:pt x="30" y="54"/>
                    </a:lnTo>
                    <a:lnTo>
                      <a:pt x="30" y="48"/>
                    </a:lnTo>
                    <a:lnTo>
                      <a:pt x="24" y="42"/>
                    </a:lnTo>
                    <a:lnTo>
                      <a:pt x="24" y="36"/>
                    </a:lnTo>
                    <a:lnTo>
                      <a:pt x="24" y="30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3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17" name="Freeform 612"/>
              <p:cNvSpPr>
                <a:spLocks/>
              </p:cNvSpPr>
              <p:nvPr/>
            </p:nvSpPr>
            <p:spPr bwMode="auto">
              <a:xfrm>
                <a:off x="4147" y="1362"/>
                <a:ext cx="36" cy="66"/>
              </a:xfrm>
              <a:custGeom>
                <a:avLst/>
                <a:gdLst>
                  <a:gd name="T0" fmla="*/ 36 w 36"/>
                  <a:gd name="T1" fmla="*/ 24 h 66"/>
                  <a:gd name="T2" fmla="*/ 18 w 36"/>
                  <a:gd name="T3" fmla="*/ 0 h 66"/>
                  <a:gd name="T4" fmla="*/ 12 w 36"/>
                  <a:gd name="T5" fmla="*/ 6 h 66"/>
                  <a:gd name="T6" fmla="*/ 6 w 36"/>
                  <a:gd name="T7" fmla="*/ 6 h 66"/>
                  <a:gd name="T8" fmla="*/ 6 w 36"/>
                  <a:gd name="T9" fmla="*/ 12 h 66"/>
                  <a:gd name="T10" fmla="*/ 0 w 36"/>
                  <a:gd name="T11" fmla="*/ 18 h 66"/>
                  <a:gd name="T12" fmla="*/ 0 w 36"/>
                  <a:gd name="T13" fmla="*/ 24 h 66"/>
                  <a:gd name="T14" fmla="*/ 0 w 36"/>
                  <a:gd name="T15" fmla="*/ 30 h 66"/>
                  <a:gd name="T16" fmla="*/ 6 w 36"/>
                  <a:gd name="T17" fmla="*/ 42 h 66"/>
                  <a:gd name="T18" fmla="*/ 12 w 36"/>
                  <a:gd name="T19" fmla="*/ 48 h 66"/>
                  <a:gd name="T20" fmla="*/ 12 w 36"/>
                  <a:gd name="T21" fmla="*/ 54 h 66"/>
                  <a:gd name="T22" fmla="*/ 12 w 36"/>
                  <a:gd name="T23" fmla="*/ 60 h 66"/>
                  <a:gd name="T24" fmla="*/ 12 w 36"/>
                  <a:gd name="T25" fmla="*/ 66 h 66"/>
                  <a:gd name="T26" fmla="*/ 18 w 36"/>
                  <a:gd name="T27" fmla="*/ 66 h 66"/>
                  <a:gd name="T28" fmla="*/ 24 w 36"/>
                  <a:gd name="T29" fmla="*/ 60 h 66"/>
                  <a:gd name="T30" fmla="*/ 30 w 36"/>
                  <a:gd name="T31" fmla="*/ 60 h 66"/>
                  <a:gd name="T32" fmla="*/ 36 w 36"/>
                  <a:gd name="T33" fmla="*/ 66 h 66"/>
                  <a:gd name="T34" fmla="*/ 30 w 36"/>
                  <a:gd name="T35" fmla="*/ 54 h 66"/>
                  <a:gd name="T36" fmla="*/ 30 w 36"/>
                  <a:gd name="T37" fmla="*/ 48 h 66"/>
                  <a:gd name="T38" fmla="*/ 24 w 36"/>
                  <a:gd name="T39" fmla="*/ 42 h 66"/>
                  <a:gd name="T40" fmla="*/ 24 w 36"/>
                  <a:gd name="T41" fmla="*/ 36 h 66"/>
                  <a:gd name="T42" fmla="*/ 24 w 36"/>
                  <a:gd name="T43" fmla="*/ 30 h 66"/>
                  <a:gd name="T44" fmla="*/ 30 w 36"/>
                  <a:gd name="T45" fmla="*/ 30 h 66"/>
                  <a:gd name="T46" fmla="*/ 36 w 36"/>
                  <a:gd name="T47" fmla="*/ 30 h 66"/>
                  <a:gd name="T48" fmla="*/ 36 w 36"/>
                  <a:gd name="T49" fmla="*/ 24 h 6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36" h="66">
                    <a:moveTo>
                      <a:pt x="36" y="24"/>
                    </a:moveTo>
                    <a:lnTo>
                      <a:pt x="18" y="0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6" y="42"/>
                    </a:lnTo>
                    <a:lnTo>
                      <a:pt x="12" y="48"/>
                    </a:lnTo>
                    <a:lnTo>
                      <a:pt x="12" y="54"/>
                    </a:lnTo>
                    <a:lnTo>
                      <a:pt x="12" y="60"/>
                    </a:lnTo>
                    <a:lnTo>
                      <a:pt x="12" y="66"/>
                    </a:lnTo>
                    <a:lnTo>
                      <a:pt x="18" y="66"/>
                    </a:lnTo>
                    <a:lnTo>
                      <a:pt x="24" y="60"/>
                    </a:lnTo>
                    <a:lnTo>
                      <a:pt x="30" y="60"/>
                    </a:lnTo>
                    <a:lnTo>
                      <a:pt x="36" y="66"/>
                    </a:lnTo>
                    <a:lnTo>
                      <a:pt x="30" y="54"/>
                    </a:lnTo>
                    <a:lnTo>
                      <a:pt x="30" y="48"/>
                    </a:lnTo>
                    <a:lnTo>
                      <a:pt x="24" y="42"/>
                    </a:lnTo>
                    <a:lnTo>
                      <a:pt x="24" y="36"/>
                    </a:lnTo>
                    <a:lnTo>
                      <a:pt x="24" y="30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3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05" name="Group 613"/>
            <p:cNvGrpSpPr>
              <a:grpSpLocks/>
            </p:cNvGrpSpPr>
            <p:nvPr/>
          </p:nvGrpSpPr>
          <p:grpSpPr bwMode="auto">
            <a:xfrm>
              <a:off x="6722098" y="3156283"/>
              <a:ext cx="73036" cy="70798"/>
              <a:chOff x="4171" y="1386"/>
              <a:chExt cx="36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1014" name="Freeform 614"/>
              <p:cNvSpPr>
                <a:spLocks/>
              </p:cNvSpPr>
              <p:nvPr/>
            </p:nvSpPr>
            <p:spPr bwMode="auto">
              <a:xfrm>
                <a:off x="4171" y="1386"/>
                <a:ext cx="36" cy="42"/>
              </a:xfrm>
              <a:custGeom>
                <a:avLst/>
                <a:gdLst>
                  <a:gd name="T0" fmla="*/ 12 w 36"/>
                  <a:gd name="T1" fmla="*/ 0 h 42"/>
                  <a:gd name="T2" fmla="*/ 24 w 36"/>
                  <a:gd name="T3" fmla="*/ 0 h 42"/>
                  <a:gd name="T4" fmla="*/ 36 w 36"/>
                  <a:gd name="T5" fmla="*/ 6 h 42"/>
                  <a:gd name="T6" fmla="*/ 30 w 36"/>
                  <a:gd name="T7" fmla="*/ 12 h 42"/>
                  <a:gd name="T8" fmla="*/ 30 w 36"/>
                  <a:gd name="T9" fmla="*/ 18 h 42"/>
                  <a:gd name="T10" fmla="*/ 30 w 36"/>
                  <a:gd name="T11" fmla="*/ 18 h 42"/>
                  <a:gd name="T12" fmla="*/ 30 w 36"/>
                  <a:gd name="T13" fmla="*/ 24 h 42"/>
                  <a:gd name="T14" fmla="*/ 30 w 36"/>
                  <a:gd name="T15" fmla="*/ 24 h 42"/>
                  <a:gd name="T16" fmla="*/ 30 w 36"/>
                  <a:gd name="T17" fmla="*/ 30 h 42"/>
                  <a:gd name="T18" fmla="*/ 30 w 36"/>
                  <a:gd name="T19" fmla="*/ 36 h 42"/>
                  <a:gd name="T20" fmla="*/ 30 w 36"/>
                  <a:gd name="T21" fmla="*/ 36 h 42"/>
                  <a:gd name="T22" fmla="*/ 24 w 36"/>
                  <a:gd name="T23" fmla="*/ 36 h 42"/>
                  <a:gd name="T24" fmla="*/ 24 w 36"/>
                  <a:gd name="T25" fmla="*/ 36 h 42"/>
                  <a:gd name="T26" fmla="*/ 18 w 36"/>
                  <a:gd name="T27" fmla="*/ 36 h 42"/>
                  <a:gd name="T28" fmla="*/ 12 w 36"/>
                  <a:gd name="T29" fmla="*/ 36 h 42"/>
                  <a:gd name="T30" fmla="*/ 12 w 36"/>
                  <a:gd name="T31" fmla="*/ 36 h 42"/>
                  <a:gd name="T32" fmla="*/ 12 w 36"/>
                  <a:gd name="T33" fmla="*/ 42 h 42"/>
                  <a:gd name="T34" fmla="*/ 12 w 36"/>
                  <a:gd name="T35" fmla="*/ 42 h 42"/>
                  <a:gd name="T36" fmla="*/ 6 w 36"/>
                  <a:gd name="T37" fmla="*/ 30 h 42"/>
                  <a:gd name="T38" fmla="*/ 6 w 36"/>
                  <a:gd name="T39" fmla="*/ 24 h 42"/>
                  <a:gd name="T40" fmla="*/ 6 w 36"/>
                  <a:gd name="T41" fmla="*/ 24 h 42"/>
                  <a:gd name="T42" fmla="*/ 0 w 36"/>
                  <a:gd name="T43" fmla="*/ 18 h 42"/>
                  <a:gd name="T44" fmla="*/ 0 w 36"/>
                  <a:gd name="T45" fmla="*/ 12 h 42"/>
                  <a:gd name="T46" fmla="*/ 0 w 36"/>
                  <a:gd name="T47" fmla="*/ 6 h 42"/>
                  <a:gd name="T48" fmla="*/ 6 w 36"/>
                  <a:gd name="T49" fmla="*/ 6 h 42"/>
                  <a:gd name="T50" fmla="*/ 6 w 36"/>
                  <a:gd name="T51" fmla="*/ 6 h 42"/>
                  <a:gd name="T52" fmla="*/ 12 w 36"/>
                  <a:gd name="T53" fmla="*/ 6 h 42"/>
                  <a:gd name="T54" fmla="*/ 12 w 36"/>
                  <a:gd name="T55" fmla="*/ 0 h 42"/>
                  <a:gd name="T56" fmla="*/ 12 w 36"/>
                  <a:gd name="T57" fmla="*/ 0 h 4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6" h="42">
                    <a:moveTo>
                      <a:pt x="12" y="0"/>
                    </a:moveTo>
                    <a:lnTo>
                      <a:pt x="24" y="0"/>
                    </a:lnTo>
                    <a:lnTo>
                      <a:pt x="36" y="6"/>
                    </a:lnTo>
                    <a:lnTo>
                      <a:pt x="30" y="12"/>
                    </a:lnTo>
                    <a:lnTo>
                      <a:pt x="30" y="18"/>
                    </a:lnTo>
                    <a:lnTo>
                      <a:pt x="30" y="24"/>
                    </a:lnTo>
                    <a:lnTo>
                      <a:pt x="30" y="30"/>
                    </a:lnTo>
                    <a:lnTo>
                      <a:pt x="30" y="36"/>
                    </a:lnTo>
                    <a:lnTo>
                      <a:pt x="24" y="36"/>
                    </a:lnTo>
                    <a:lnTo>
                      <a:pt x="18" y="36"/>
                    </a:lnTo>
                    <a:lnTo>
                      <a:pt x="12" y="36"/>
                    </a:lnTo>
                    <a:lnTo>
                      <a:pt x="12" y="42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15" name="Freeform 615"/>
              <p:cNvSpPr>
                <a:spLocks/>
              </p:cNvSpPr>
              <p:nvPr/>
            </p:nvSpPr>
            <p:spPr bwMode="auto">
              <a:xfrm>
                <a:off x="4171" y="1386"/>
                <a:ext cx="36" cy="42"/>
              </a:xfrm>
              <a:custGeom>
                <a:avLst/>
                <a:gdLst>
                  <a:gd name="T0" fmla="*/ 12 w 36"/>
                  <a:gd name="T1" fmla="*/ 0 h 42"/>
                  <a:gd name="T2" fmla="*/ 24 w 36"/>
                  <a:gd name="T3" fmla="*/ 0 h 42"/>
                  <a:gd name="T4" fmla="*/ 36 w 36"/>
                  <a:gd name="T5" fmla="*/ 6 h 42"/>
                  <a:gd name="T6" fmla="*/ 30 w 36"/>
                  <a:gd name="T7" fmla="*/ 12 h 42"/>
                  <a:gd name="T8" fmla="*/ 30 w 36"/>
                  <a:gd name="T9" fmla="*/ 18 h 42"/>
                  <a:gd name="T10" fmla="*/ 30 w 36"/>
                  <a:gd name="T11" fmla="*/ 24 h 42"/>
                  <a:gd name="T12" fmla="*/ 30 w 36"/>
                  <a:gd name="T13" fmla="*/ 30 h 42"/>
                  <a:gd name="T14" fmla="*/ 30 w 36"/>
                  <a:gd name="T15" fmla="*/ 36 h 42"/>
                  <a:gd name="T16" fmla="*/ 24 w 36"/>
                  <a:gd name="T17" fmla="*/ 36 h 42"/>
                  <a:gd name="T18" fmla="*/ 18 w 36"/>
                  <a:gd name="T19" fmla="*/ 36 h 42"/>
                  <a:gd name="T20" fmla="*/ 12 w 36"/>
                  <a:gd name="T21" fmla="*/ 36 h 42"/>
                  <a:gd name="T22" fmla="*/ 12 w 36"/>
                  <a:gd name="T23" fmla="*/ 42 h 42"/>
                  <a:gd name="T24" fmla="*/ 6 w 36"/>
                  <a:gd name="T25" fmla="*/ 30 h 42"/>
                  <a:gd name="T26" fmla="*/ 6 w 36"/>
                  <a:gd name="T27" fmla="*/ 24 h 42"/>
                  <a:gd name="T28" fmla="*/ 0 w 36"/>
                  <a:gd name="T29" fmla="*/ 18 h 42"/>
                  <a:gd name="T30" fmla="*/ 0 w 36"/>
                  <a:gd name="T31" fmla="*/ 12 h 42"/>
                  <a:gd name="T32" fmla="*/ 0 w 36"/>
                  <a:gd name="T33" fmla="*/ 6 h 42"/>
                  <a:gd name="T34" fmla="*/ 6 w 36"/>
                  <a:gd name="T35" fmla="*/ 6 h 42"/>
                  <a:gd name="T36" fmla="*/ 12 w 36"/>
                  <a:gd name="T37" fmla="*/ 6 h 42"/>
                  <a:gd name="T38" fmla="*/ 12 w 36"/>
                  <a:gd name="T39" fmla="*/ 0 h 4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36" h="42">
                    <a:moveTo>
                      <a:pt x="12" y="0"/>
                    </a:moveTo>
                    <a:lnTo>
                      <a:pt x="24" y="0"/>
                    </a:lnTo>
                    <a:lnTo>
                      <a:pt x="36" y="6"/>
                    </a:lnTo>
                    <a:lnTo>
                      <a:pt x="30" y="12"/>
                    </a:lnTo>
                    <a:lnTo>
                      <a:pt x="30" y="18"/>
                    </a:lnTo>
                    <a:lnTo>
                      <a:pt x="30" y="24"/>
                    </a:lnTo>
                    <a:lnTo>
                      <a:pt x="30" y="30"/>
                    </a:lnTo>
                    <a:lnTo>
                      <a:pt x="30" y="36"/>
                    </a:lnTo>
                    <a:lnTo>
                      <a:pt x="24" y="36"/>
                    </a:lnTo>
                    <a:lnTo>
                      <a:pt x="18" y="36"/>
                    </a:lnTo>
                    <a:lnTo>
                      <a:pt x="12" y="36"/>
                    </a:lnTo>
                    <a:lnTo>
                      <a:pt x="12" y="42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06" name="Group 616"/>
            <p:cNvGrpSpPr>
              <a:grpSpLocks/>
            </p:cNvGrpSpPr>
            <p:nvPr/>
          </p:nvGrpSpPr>
          <p:grpSpPr bwMode="auto">
            <a:xfrm>
              <a:off x="6783602" y="3166397"/>
              <a:ext cx="59582" cy="52593"/>
              <a:chOff x="4201" y="1392"/>
              <a:chExt cx="30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1012" name="Freeform 617"/>
              <p:cNvSpPr>
                <a:spLocks/>
              </p:cNvSpPr>
              <p:nvPr/>
            </p:nvSpPr>
            <p:spPr bwMode="auto">
              <a:xfrm>
                <a:off x="4201" y="1392"/>
                <a:ext cx="30" cy="30"/>
              </a:xfrm>
              <a:custGeom>
                <a:avLst/>
                <a:gdLst>
                  <a:gd name="T0" fmla="*/ 30 w 30"/>
                  <a:gd name="T1" fmla="*/ 12 h 30"/>
                  <a:gd name="T2" fmla="*/ 18 w 30"/>
                  <a:gd name="T3" fmla="*/ 6 h 30"/>
                  <a:gd name="T4" fmla="*/ 12 w 30"/>
                  <a:gd name="T5" fmla="*/ 0 h 30"/>
                  <a:gd name="T6" fmla="*/ 6 w 30"/>
                  <a:gd name="T7" fmla="*/ 0 h 30"/>
                  <a:gd name="T8" fmla="*/ 6 w 30"/>
                  <a:gd name="T9" fmla="*/ 0 h 30"/>
                  <a:gd name="T10" fmla="*/ 0 w 30"/>
                  <a:gd name="T11" fmla="*/ 6 h 30"/>
                  <a:gd name="T12" fmla="*/ 0 w 30"/>
                  <a:gd name="T13" fmla="*/ 12 h 30"/>
                  <a:gd name="T14" fmla="*/ 0 w 30"/>
                  <a:gd name="T15" fmla="*/ 12 h 30"/>
                  <a:gd name="T16" fmla="*/ 0 w 30"/>
                  <a:gd name="T17" fmla="*/ 18 h 30"/>
                  <a:gd name="T18" fmla="*/ 0 w 30"/>
                  <a:gd name="T19" fmla="*/ 18 h 30"/>
                  <a:gd name="T20" fmla="*/ 0 w 30"/>
                  <a:gd name="T21" fmla="*/ 24 h 30"/>
                  <a:gd name="T22" fmla="*/ 0 w 30"/>
                  <a:gd name="T23" fmla="*/ 30 h 30"/>
                  <a:gd name="T24" fmla="*/ 0 w 30"/>
                  <a:gd name="T25" fmla="*/ 30 h 30"/>
                  <a:gd name="T26" fmla="*/ 0 w 30"/>
                  <a:gd name="T27" fmla="*/ 30 h 30"/>
                  <a:gd name="T28" fmla="*/ 6 w 30"/>
                  <a:gd name="T29" fmla="*/ 30 h 30"/>
                  <a:gd name="T30" fmla="*/ 12 w 30"/>
                  <a:gd name="T31" fmla="*/ 30 h 30"/>
                  <a:gd name="T32" fmla="*/ 12 w 30"/>
                  <a:gd name="T33" fmla="*/ 30 h 30"/>
                  <a:gd name="T34" fmla="*/ 18 w 30"/>
                  <a:gd name="T35" fmla="*/ 30 h 30"/>
                  <a:gd name="T36" fmla="*/ 18 w 30"/>
                  <a:gd name="T37" fmla="*/ 30 h 30"/>
                  <a:gd name="T38" fmla="*/ 24 w 30"/>
                  <a:gd name="T39" fmla="*/ 18 h 30"/>
                  <a:gd name="T40" fmla="*/ 30 w 30"/>
                  <a:gd name="T41" fmla="*/ 18 h 30"/>
                  <a:gd name="T42" fmla="*/ 30 w 30"/>
                  <a:gd name="T43" fmla="*/ 12 h 3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30" h="30">
                    <a:moveTo>
                      <a:pt x="30" y="12"/>
                    </a:moveTo>
                    <a:lnTo>
                      <a:pt x="18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24" y="18"/>
                    </a:lnTo>
                    <a:lnTo>
                      <a:pt x="30" y="18"/>
                    </a:lnTo>
                    <a:lnTo>
                      <a:pt x="3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13" name="Freeform 618"/>
              <p:cNvSpPr>
                <a:spLocks/>
              </p:cNvSpPr>
              <p:nvPr/>
            </p:nvSpPr>
            <p:spPr bwMode="auto">
              <a:xfrm>
                <a:off x="4201" y="1392"/>
                <a:ext cx="30" cy="30"/>
              </a:xfrm>
              <a:custGeom>
                <a:avLst/>
                <a:gdLst>
                  <a:gd name="T0" fmla="*/ 30 w 30"/>
                  <a:gd name="T1" fmla="*/ 12 h 30"/>
                  <a:gd name="T2" fmla="*/ 18 w 30"/>
                  <a:gd name="T3" fmla="*/ 6 h 30"/>
                  <a:gd name="T4" fmla="*/ 12 w 30"/>
                  <a:gd name="T5" fmla="*/ 0 h 30"/>
                  <a:gd name="T6" fmla="*/ 6 w 30"/>
                  <a:gd name="T7" fmla="*/ 0 h 30"/>
                  <a:gd name="T8" fmla="*/ 0 w 30"/>
                  <a:gd name="T9" fmla="*/ 6 h 30"/>
                  <a:gd name="T10" fmla="*/ 0 w 30"/>
                  <a:gd name="T11" fmla="*/ 12 h 30"/>
                  <a:gd name="T12" fmla="*/ 0 w 30"/>
                  <a:gd name="T13" fmla="*/ 18 h 30"/>
                  <a:gd name="T14" fmla="*/ 0 w 30"/>
                  <a:gd name="T15" fmla="*/ 24 h 30"/>
                  <a:gd name="T16" fmla="*/ 0 w 30"/>
                  <a:gd name="T17" fmla="*/ 30 h 30"/>
                  <a:gd name="T18" fmla="*/ 6 w 30"/>
                  <a:gd name="T19" fmla="*/ 30 h 30"/>
                  <a:gd name="T20" fmla="*/ 12 w 30"/>
                  <a:gd name="T21" fmla="*/ 30 h 30"/>
                  <a:gd name="T22" fmla="*/ 18 w 30"/>
                  <a:gd name="T23" fmla="*/ 30 h 30"/>
                  <a:gd name="T24" fmla="*/ 24 w 30"/>
                  <a:gd name="T25" fmla="*/ 18 h 30"/>
                  <a:gd name="T26" fmla="*/ 30 w 30"/>
                  <a:gd name="T27" fmla="*/ 18 h 30"/>
                  <a:gd name="T28" fmla="*/ 30 w 30"/>
                  <a:gd name="T29" fmla="*/ 12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0" h="30">
                    <a:moveTo>
                      <a:pt x="30" y="12"/>
                    </a:moveTo>
                    <a:lnTo>
                      <a:pt x="18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24" y="18"/>
                    </a:lnTo>
                    <a:lnTo>
                      <a:pt x="30" y="18"/>
                    </a:lnTo>
                    <a:lnTo>
                      <a:pt x="3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07" name="Group 619"/>
            <p:cNvGrpSpPr>
              <a:grpSpLocks/>
            </p:cNvGrpSpPr>
            <p:nvPr/>
          </p:nvGrpSpPr>
          <p:grpSpPr bwMode="auto">
            <a:xfrm>
              <a:off x="6320403" y="3043006"/>
              <a:ext cx="219107" cy="309490"/>
              <a:chOff x="3973" y="1320"/>
              <a:chExt cx="108" cy="180"/>
            </a:xfrm>
            <a:solidFill>
              <a:srgbClr val="0070C0">
                <a:alpha val="27059"/>
              </a:srgbClr>
            </a:solidFill>
          </p:grpSpPr>
          <p:sp>
            <p:nvSpPr>
              <p:cNvPr id="1010" name="Freeform 620"/>
              <p:cNvSpPr>
                <a:spLocks/>
              </p:cNvSpPr>
              <p:nvPr/>
            </p:nvSpPr>
            <p:spPr bwMode="auto">
              <a:xfrm>
                <a:off x="3973" y="1320"/>
                <a:ext cx="108" cy="180"/>
              </a:xfrm>
              <a:custGeom>
                <a:avLst/>
                <a:gdLst>
                  <a:gd name="T0" fmla="*/ 96 w 108"/>
                  <a:gd name="T1" fmla="*/ 156 h 180"/>
                  <a:gd name="T2" fmla="*/ 90 w 108"/>
                  <a:gd name="T3" fmla="*/ 180 h 180"/>
                  <a:gd name="T4" fmla="*/ 84 w 108"/>
                  <a:gd name="T5" fmla="*/ 180 h 180"/>
                  <a:gd name="T6" fmla="*/ 84 w 108"/>
                  <a:gd name="T7" fmla="*/ 168 h 180"/>
                  <a:gd name="T8" fmla="*/ 72 w 108"/>
                  <a:gd name="T9" fmla="*/ 162 h 180"/>
                  <a:gd name="T10" fmla="*/ 60 w 108"/>
                  <a:gd name="T11" fmla="*/ 156 h 180"/>
                  <a:gd name="T12" fmla="*/ 54 w 108"/>
                  <a:gd name="T13" fmla="*/ 144 h 180"/>
                  <a:gd name="T14" fmla="*/ 36 w 108"/>
                  <a:gd name="T15" fmla="*/ 138 h 180"/>
                  <a:gd name="T16" fmla="*/ 24 w 108"/>
                  <a:gd name="T17" fmla="*/ 132 h 180"/>
                  <a:gd name="T18" fmla="*/ 18 w 108"/>
                  <a:gd name="T19" fmla="*/ 126 h 180"/>
                  <a:gd name="T20" fmla="*/ 0 w 108"/>
                  <a:gd name="T21" fmla="*/ 120 h 180"/>
                  <a:gd name="T22" fmla="*/ 6 w 108"/>
                  <a:gd name="T23" fmla="*/ 108 h 180"/>
                  <a:gd name="T24" fmla="*/ 12 w 108"/>
                  <a:gd name="T25" fmla="*/ 84 h 180"/>
                  <a:gd name="T26" fmla="*/ 12 w 108"/>
                  <a:gd name="T27" fmla="*/ 54 h 180"/>
                  <a:gd name="T28" fmla="*/ 12 w 108"/>
                  <a:gd name="T29" fmla="*/ 48 h 180"/>
                  <a:gd name="T30" fmla="*/ 12 w 108"/>
                  <a:gd name="T31" fmla="*/ 42 h 180"/>
                  <a:gd name="T32" fmla="*/ 24 w 108"/>
                  <a:gd name="T33" fmla="*/ 36 h 180"/>
                  <a:gd name="T34" fmla="*/ 36 w 108"/>
                  <a:gd name="T35" fmla="*/ 18 h 180"/>
                  <a:gd name="T36" fmla="*/ 54 w 108"/>
                  <a:gd name="T37" fmla="*/ 6 h 180"/>
                  <a:gd name="T38" fmla="*/ 60 w 108"/>
                  <a:gd name="T39" fmla="*/ 6 h 180"/>
                  <a:gd name="T40" fmla="*/ 72 w 108"/>
                  <a:gd name="T41" fmla="*/ 0 h 180"/>
                  <a:gd name="T42" fmla="*/ 84 w 108"/>
                  <a:gd name="T43" fmla="*/ 0 h 180"/>
                  <a:gd name="T44" fmla="*/ 84 w 108"/>
                  <a:gd name="T45" fmla="*/ 0 h 180"/>
                  <a:gd name="T46" fmla="*/ 78 w 108"/>
                  <a:gd name="T47" fmla="*/ 6 h 180"/>
                  <a:gd name="T48" fmla="*/ 66 w 108"/>
                  <a:gd name="T49" fmla="*/ 18 h 180"/>
                  <a:gd name="T50" fmla="*/ 60 w 108"/>
                  <a:gd name="T51" fmla="*/ 24 h 180"/>
                  <a:gd name="T52" fmla="*/ 60 w 108"/>
                  <a:gd name="T53" fmla="*/ 36 h 180"/>
                  <a:gd name="T54" fmla="*/ 60 w 108"/>
                  <a:gd name="T55" fmla="*/ 36 h 180"/>
                  <a:gd name="T56" fmla="*/ 60 w 108"/>
                  <a:gd name="T57" fmla="*/ 54 h 180"/>
                  <a:gd name="T58" fmla="*/ 66 w 108"/>
                  <a:gd name="T59" fmla="*/ 66 h 180"/>
                  <a:gd name="T60" fmla="*/ 96 w 108"/>
                  <a:gd name="T61" fmla="*/ 72 h 180"/>
                  <a:gd name="T62" fmla="*/ 108 w 108"/>
                  <a:gd name="T63" fmla="*/ 72 h 180"/>
                  <a:gd name="T64" fmla="*/ 108 w 108"/>
                  <a:gd name="T65" fmla="*/ 78 h 180"/>
                  <a:gd name="T66" fmla="*/ 102 w 108"/>
                  <a:gd name="T67" fmla="*/ 90 h 180"/>
                  <a:gd name="T68" fmla="*/ 108 w 108"/>
                  <a:gd name="T69" fmla="*/ 96 h 180"/>
                  <a:gd name="T70" fmla="*/ 108 w 108"/>
                  <a:gd name="T71" fmla="*/ 108 h 180"/>
                  <a:gd name="T72" fmla="*/ 108 w 108"/>
                  <a:gd name="T73" fmla="*/ 120 h 180"/>
                  <a:gd name="T74" fmla="*/ 108 w 108"/>
                  <a:gd name="T75" fmla="*/ 120 h 180"/>
                  <a:gd name="T76" fmla="*/ 90 w 108"/>
                  <a:gd name="T77" fmla="*/ 120 h 180"/>
                  <a:gd name="T78" fmla="*/ 96 w 108"/>
                  <a:gd name="T79" fmla="*/ 126 h 180"/>
                  <a:gd name="T80" fmla="*/ 90 w 108"/>
                  <a:gd name="T81" fmla="*/ 132 h 180"/>
                  <a:gd name="T82" fmla="*/ 90 w 108"/>
                  <a:gd name="T83" fmla="*/ 138 h 18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08" h="180">
                    <a:moveTo>
                      <a:pt x="90" y="144"/>
                    </a:moveTo>
                    <a:lnTo>
                      <a:pt x="96" y="156"/>
                    </a:lnTo>
                    <a:lnTo>
                      <a:pt x="90" y="180"/>
                    </a:lnTo>
                    <a:lnTo>
                      <a:pt x="84" y="180"/>
                    </a:lnTo>
                    <a:lnTo>
                      <a:pt x="84" y="168"/>
                    </a:lnTo>
                    <a:lnTo>
                      <a:pt x="84" y="162"/>
                    </a:lnTo>
                    <a:lnTo>
                      <a:pt x="72" y="162"/>
                    </a:lnTo>
                    <a:lnTo>
                      <a:pt x="60" y="162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54" y="144"/>
                    </a:lnTo>
                    <a:lnTo>
                      <a:pt x="48" y="144"/>
                    </a:lnTo>
                    <a:lnTo>
                      <a:pt x="36" y="138"/>
                    </a:lnTo>
                    <a:lnTo>
                      <a:pt x="30" y="138"/>
                    </a:lnTo>
                    <a:lnTo>
                      <a:pt x="24" y="132"/>
                    </a:lnTo>
                    <a:lnTo>
                      <a:pt x="18" y="126"/>
                    </a:lnTo>
                    <a:lnTo>
                      <a:pt x="0" y="120"/>
                    </a:lnTo>
                    <a:lnTo>
                      <a:pt x="6" y="114"/>
                    </a:lnTo>
                    <a:lnTo>
                      <a:pt x="6" y="108"/>
                    </a:lnTo>
                    <a:lnTo>
                      <a:pt x="12" y="96"/>
                    </a:lnTo>
                    <a:lnTo>
                      <a:pt x="12" y="84"/>
                    </a:lnTo>
                    <a:lnTo>
                      <a:pt x="12" y="66"/>
                    </a:lnTo>
                    <a:lnTo>
                      <a:pt x="12" y="54"/>
                    </a:lnTo>
                    <a:lnTo>
                      <a:pt x="12" y="48"/>
                    </a:lnTo>
                    <a:lnTo>
                      <a:pt x="12" y="42"/>
                    </a:lnTo>
                    <a:lnTo>
                      <a:pt x="24" y="36"/>
                    </a:lnTo>
                    <a:lnTo>
                      <a:pt x="30" y="24"/>
                    </a:lnTo>
                    <a:lnTo>
                      <a:pt x="36" y="18"/>
                    </a:lnTo>
                    <a:lnTo>
                      <a:pt x="48" y="12"/>
                    </a:lnTo>
                    <a:lnTo>
                      <a:pt x="54" y="6"/>
                    </a:lnTo>
                    <a:lnTo>
                      <a:pt x="60" y="6"/>
                    </a:lnTo>
                    <a:lnTo>
                      <a:pt x="72" y="0"/>
                    </a:lnTo>
                    <a:lnTo>
                      <a:pt x="84" y="0"/>
                    </a:lnTo>
                    <a:lnTo>
                      <a:pt x="78" y="6"/>
                    </a:lnTo>
                    <a:lnTo>
                      <a:pt x="72" y="12"/>
                    </a:lnTo>
                    <a:lnTo>
                      <a:pt x="66" y="18"/>
                    </a:lnTo>
                    <a:lnTo>
                      <a:pt x="60" y="18"/>
                    </a:lnTo>
                    <a:lnTo>
                      <a:pt x="60" y="24"/>
                    </a:lnTo>
                    <a:lnTo>
                      <a:pt x="60" y="36"/>
                    </a:lnTo>
                    <a:lnTo>
                      <a:pt x="60" y="42"/>
                    </a:lnTo>
                    <a:lnTo>
                      <a:pt x="60" y="54"/>
                    </a:lnTo>
                    <a:lnTo>
                      <a:pt x="60" y="60"/>
                    </a:lnTo>
                    <a:lnTo>
                      <a:pt x="66" y="66"/>
                    </a:lnTo>
                    <a:lnTo>
                      <a:pt x="90" y="66"/>
                    </a:lnTo>
                    <a:lnTo>
                      <a:pt x="96" y="72"/>
                    </a:lnTo>
                    <a:lnTo>
                      <a:pt x="102" y="72"/>
                    </a:lnTo>
                    <a:lnTo>
                      <a:pt x="108" y="72"/>
                    </a:lnTo>
                    <a:lnTo>
                      <a:pt x="108" y="78"/>
                    </a:lnTo>
                    <a:lnTo>
                      <a:pt x="102" y="78"/>
                    </a:lnTo>
                    <a:lnTo>
                      <a:pt x="102" y="90"/>
                    </a:lnTo>
                    <a:lnTo>
                      <a:pt x="102" y="96"/>
                    </a:lnTo>
                    <a:lnTo>
                      <a:pt x="108" y="96"/>
                    </a:lnTo>
                    <a:lnTo>
                      <a:pt x="102" y="102"/>
                    </a:lnTo>
                    <a:lnTo>
                      <a:pt x="108" y="108"/>
                    </a:lnTo>
                    <a:lnTo>
                      <a:pt x="108" y="120"/>
                    </a:lnTo>
                    <a:lnTo>
                      <a:pt x="102" y="114"/>
                    </a:lnTo>
                    <a:lnTo>
                      <a:pt x="90" y="120"/>
                    </a:lnTo>
                    <a:lnTo>
                      <a:pt x="90" y="126"/>
                    </a:lnTo>
                    <a:lnTo>
                      <a:pt x="96" y="126"/>
                    </a:lnTo>
                    <a:lnTo>
                      <a:pt x="96" y="132"/>
                    </a:lnTo>
                    <a:lnTo>
                      <a:pt x="90" y="132"/>
                    </a:lnTo>
                    <a:lnTo>
                      <a:pt x="90" y="138"/>
                    </a:lnTo>
                    <a:lnTo>
                      <a:pt x="90" y="14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11" name="Freeform 621"/>
              <p:cNvSpPr>
                <a:spLocks/>
              </p:cNvSpPr>
              <p:nvPr/>
            </p:nvSpPr>
            <p:spPr bwMode="auto">
              <a:xfrm>
                <a:off x="3973" y="1320"/>
                <a:ext cx="108" cy="180"/>
              </a:xfrm>
              <a:custGeom>
                <a:avLst/>
                <a:gdLst>
                  <a:gd name="T0" fmla="*/ 90 w 108"/>
                  <a:gd name="T1" fmla="*/ 144 h 180"/>
                  <a:gd name="T2" fmla="*/ 96 w 108"/>
                  <a:gd name="T3" fmla="*/ 156 h 180"/>
                  <a:gd name="T4" fmla="*/ 90 w 108"/>
                  <a:gd name="T5" fmla="*/ 180 h 180"/>
                  <a:gd name="T6" fmla="*/ 84 w 108"/>
                  <a:gd name="T7" fmla="*/ 180 h 180"/>
                  <a:gd name="T8" fmla="*/ 84 w 108"/>
                  <a:gd name="T9" fmla="*/ 168 h 180"/>
                  <a:gd name="T10" fmla="*/ 84 w 108"/>
                  <a:gd name="T11" fmla="*/ 162 h 180"/>
                  <a:gd name="T12" fmla="*/ 72 w 108"/>
                  <a:gd name="T13" fmla="*/ 162 h 180"/>
                  <a:gd name="T14" fmla="*/ 60 w 108"/>
                  <a:gd name="T15" fmla="*/ 162 h 180"/>
                  <a:gd name="T16" fmla="*/ 60 w 108"/>
                  <a:gd name="T17" fmla="*/ 156 h 180"/>
                  <a:gd name="T18" fmla="*/ 60 w 108"/>
                  <a:gd name="T19" fmla="*/ 150 h 180"/>
                  <a:gd name="T20" fmla="*/ 54 w 108"/>
                  <a:gd name="T21" fmla="*/ 144 h 180"/>
                  <a:gd name="T22" fmla="*/ 48 w 108"/>
                  <a:gd name="T23" fmla="*/ 144 h 180"/>
                  <a:gd name="T24" fmla="*/ 36 w 108"/>
                  <a:gd name="T25" fmla="*/ 138 h 180"/>
                  <a:gd name="T26" fmla="*/ 30 w 108"/>
                  <a:gd name="T27" fmla="*/ 138 h 180"/>
                  <a:gd name="T28" fmla="*/ 24 w 108"/>
                  <a:gd name="T29" fmla="*/ 132 h 180"/>
                  <a:gd name="T30" fmla="*/ 18 w 108"/>
                  <a:gd name="T31" fmla="*/ 126 h 180"/>
                  <a:gd name="T32" fmla="*/ 0 w 108"/>
                  <a:gd name="T33" fmla="*/ 120 h 180"/>
                  <a:gd name="T34" fmla="*/ 6 w 108"/>
                  <a:gd name="T35" fmla="*/ 114 h 180"/>
                  <a:gd name="T36" fmla="*/ 6 w 108"/>
                  <a:gd name="T37" fmla="*/ 108 h 180"/>
                  <a:gd name="T38" fmla="*/ 12 w 108"/>
                  <a:gd name="T39" fmla="*/ 96 h 180"/>
                  <a:gd name="T40" fmla="*/ 12 w 108"/>
                  <a:gd name="T41" fmla="*/ 84 h 180"/>
                  <a:gd name="T42" fmla="*/ 12 w 108"/>
                  <a:gd name="T43" fmla="*/ 66 h 180"/>
                  <a:gd name="T44" fmla="*/ 12 w 108"/>
                  <a:gd name="T45" fmla="*/ 54 h 180"/>
                  <a:gd name="T46" fmla="*/ 12 w 108"/>
                  <a:gd name="T47" fmla="*/ 48 h 180"/>
                  <a:gd name="T48" fmla="*/ 12 w 108"/>
                  <a:gd name="T49" fmla="*/ 42 h 180"/>
                  <a:gd name="T50" fmla="*/ 24 w 108"/>
                  <a:gd name="T51" fmla="*/ 36 h 180"/>
                  <a:gd name="T52" fmla="*/ 30 w 108"/>
                  <a:gd name="T53" fmla="*/ 24 h 180"/>
                  <a:gd name="T54" fmla="*/ 36 w 108"/>
                  <a:gd name="T55" fmla="*/ 18 h 180"/>
                  <a:gd name="T56" fmla="*/ 48 w 108"/>
                  <a:gd name="T57" fmla="*/ 12 h 180"/>
                  <a:gd name="T58" fmla="*/ 54 w 108"/>
                  <a:gd name="T59" fmla="*/ 6 h 180"/>
                  <a:gd name="T60" fmla="*/ 60 w 108"/>
                  <a:gd name="T61" fmla="*/ 6 h 180"/>
                  <a:gd name="T62" fmla="*/ 72 w 108"/>
                  <a:gd name="T63" fmla="*/ 0 h 180"/>
                  <a:gd name="T64" fmla="*/ 84 w 108"/>
                  <a:gd name="T65" fmla="*/ 0 h 180"/>
                  <a:gd name="T66" fmla="*/ 78 w 108"/>
                  <a:gd name="T67" fmla="*/ 6 h 180"/>
                  <a:gd name="T68" fmla="*/ 72 w 108"/>
                  <a:gd name="T69" fmla="*/ 12 h 180"/>
                  <a:gd name="T70" fmla="*/ 66 w 108"/>
                  <a:gd name="T71" fmla="*/ 18 h 180"/>
                  <a:gd name="T72" fmla="*/ 60 w 108"/>
                  <a:gd name="T73" fmla="*/ 18 h 180"/>
                  <a:gd name="T74" fmla="*/ 60 w 108"/>
                  <a:gd name="T75" fmla="*/ 24 h 180"/>
                  <a:gd name="T76" fmla="*/ 60 w 108"/>
                  <a:gd name="T77" fmla="*/ 36 h 180"/>
                  <a:gd name="T78" fmla="*/ 60 w 108"/>
                  <a:gd name="T79" fmla="*/ 42 h 180"/>
                  <a:gd name="T80" fmla="*/ 60 w 108"/>
                  <a:gd name="T81" fmla="*/ 54 h 180"/>
                  <a:gd name="T82" fmla="*/ 60 w 108"/>
                  <a:gd name="T83" fmla="*/ 60 h 180"/>
                  <a:gd name="T84" fmla="*/ 66 w 108"/>
                  <a:gd name="T85" fmla="*/ 66 h 180"/>
                  <a:gd name="T86" fmla="*/ 90 w 108"/>
                  <a:gd name="T87" fmla="*/ 66 h 180"/>
                  <a:gd name="T88" fmla="*/ 96 w 108"/>
                  <a:gd name="T89" fmla="*/ 72 h 180"/>
                  <a:gd name="T90" fmla="*/ 102 w 108"/>
                  <a:gd name="T91" fmla="*/ 72 h 180"/>
                  <a:gd name="T92" fmla="*/ 108 w 108"/>
                  <a:gd name="T93" fmla="*/ 72 h 180"/>
                  <a:gd name="T94" fmla="*/ 108 w 108"/>
                  <a:gd name="T95" fmla="*/ 78 h 180"/>
                  <a:gd name="T96" fmla="*/ 102 w 108"/>
                  <a:gd name="T97" fmla="*/ 78 h 180"/>
                  <a:gd name="T98" fmla="*/ 102 w 108"/>
                  <a:gd name="T99" fmla="*/ 90 h 180"/>
                  <a:gd name="T100" fmla="*/ 102 w 108"/>
                  <a:gd name="T101" fmla="*/ 96 h 180"/>
                  <a:gd name="T102" fmla="*/ 108 w 108"/>
                  <a:gd name="T103" fmla="*/ 96 h 180"/>
                  <a:gd name="T104" fmla="*/ 102 w 108"/>
                  <a:gd name="T105" fmla="*/ 102 h 180"/>
                  <a:gd name="T106" fmla="*/ 108 w 108"/>
                  <a:gd name="T107" fmla="*/ 108 h 180"/>
                  <a:gd name="T108" fmla="*/ 108 w 108"/>
                  <a:gd name="T109" fmla="*/ 120 h 180"/>
                  <a:gd name="T110" fmla="*/ 102 w 108"/>
                  <a:gd name="T111" fmla="*/ 114 h 180"/>
                  <a:gd name="T112" fmla="*/ 90 w 108"/>
                  <a:gd name="T113" fmla="*/ 120 h 180"/>
                  <a:gd name="T114" fmla="*/ 90 w 108"/>
                  <a:gd name="T115" fmla="*/ 126 h 180"/>
                  <a:gd name="T116" fmla="*/ 96 w 108"/>
                  <a:gd name="T117" fmla="*/ 126 h 180"/>
                  <a:gd name="T118" fmla="*/ 96 w 108"/>
                  <a:gd name="T119" fmla="*/ 132 h 180"/>
                  <a:gd name="T120" fmla="*/ 90 w 108"/>
                  <a:gd name="T121" fmla="*/ 132 h 180"/>
                  <a:gd name="T122" fmla="*/ 90 w 108"/>
                  <a:gd name="T123" fmla="*/ 138 h 180"/>
                  <a:gd name="T124" fmla="*/ 90 w 108"/>
                  <a:gd name="T125" fmla="*/ 144 h 18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8" h="180">
                    <a:moveTo>
                      <a:pt x="90" y="144"/>
                    </a:moveTo>
                    <a:lnTo>
                      <a:pt x="96" y="156"/>
                    </a:lnTo>
                    <a:lnTo>
                      <a:pt x="90" y="180"/>
                    </a:lnTo>
                    <a:lnTo>
                      <a:pt x="84" y="180"/>
                    </a:lnTo>
                    <a:lnTo>
                      <a:pt x="84" y="168"/>
                    </a:lnTo>
                    <a:lnTo>
                      <a:pt x="84" y="162"/>
                    </a:lnTo>
                    <a:lnTo>
                      <a:pt x="72" y="162"/>
                    </a:lnTo>
                    <a:lnTo>
                      <a:pt x="60" y="162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54" y="144"/>
                    </a:lnTo>
                    <a:lnTo>
                      <a:pt x="48" y="144"/>
                    </a:lnTo>
                    <a:lnTo>
                      <a:pt x="36" y="138"/>
                    </a:lnTo>
                    <a:lnTo>
                      <a:pt x="30" y="138"/>
                    </a:lnTo>
                    <a:lnTo>
                      <a:pt x="24" y="132"/>
                    </a:lnTo>
                    <a:lnTo>
                      <a:pt x="18" y="126"/>
                    </a:lnTo>
                    <a:lnTo>
                      <a:pt x="0" y="120"/>
                    </a:lnTo>
                    <a:lnTo>
                      <a:pt x="6" y="114"/>
                    </a:lnTo>
                    <a:lnTo>
                      <a:pt x="6" y="108"/>
                    </a:lnTo>
                    <a:lnTo>
                      <a:pt x="12" y="96"/>
                    </a:lnTo>
                    <a:lnTo>
                      <a:pt x="12" y="84"/>
                    </a:lnTo>
                    <a:lnTo>
                      <a:pt x="12" y="66"/>
                    </a:lnTo>
                    <a:lnTo>
                      <a:pt x="12" y="54"/>
                    </a:lnTo>
                    <a:lnTo>
                      <a:pt x="12" y="48"/>
                    </a:lnTo>
                    <a:lnTo>
                      <a:pt x="12" y="42"/>
                    </a:lnTo>
                    <a:lnTo>
                      <a:pt x="24" y="36"/>
                    </a:lnTo>
                    <a:lnTo>
                      <a:pt x="30" y="24"/>
                    </a:lnTo>
                    <a:lnTo>
                      <a:pt x="36" y="18"/>
                    </a:lnTo>
                    <a:lnTo>
                      <a:pt x="48" y="12"/>
                    </a:lnTo>
                    <a:lnTo>
                      <a:pt x="54" y="6"/>
                    </a:lnTo>
                    <a:lnTo>
                      <a:pt x="60" y="6"/>
                    </a:lnTo>
                    <a:lnTo>
                      <a:pt x="72" y="0"/>
                    </a:lnTo>
                    <a:lnTo>
                      <a:pt x="84" y="0"/>
                    </a:lnTo>
                    <a:lnTo>
                      <a:pt x="78" y="6"/>
                    </a:lnTo>
                    <a:lnTo>
                      <a:pt x="72" y="12"/>
                    </a:lnTo>
                    <a:lnTo>
                      <a:pt x="66" y="18"/>
                    </a:lnTo>
                    <a:lnTo>
                      <a:pt x="60" y="18"/>
                    </a:lnTo>
                    <a:lnTo>
                      <a:pt x="60" y="24"/>
                    </a:lnTo>
                    <a:lnTo>
                      <a:pt x="60" y="36"/>
                    </a:lnTo>
                    <a:lnTo>
                      <a:pt x="60" y="42"/>
                    </a:lnTo>
                    <a:lnTo>
                      <a:pt x="60" y="54"/>
                    </a:lnTo>
                    <a:lnTo>
                      <a:pt x="60" y="60"/>
                    </a:lnTo>
                    <a:lnTo>
                      <a:pt x="66" y="66"/>
                    </a:lnTo>
                    <a:lnTo>
                      <a:pt x="90" y="66"/>
                    </a:lnTo>
                    <a:lnTo>
                      <a:pt x="96" y="72"/>
                    </a:lnTo>
                    <a:lnTo>
                      <a:pt x="102" y="72"/>
                    </a:lnTo>
                    <a:lnTo>
                      <a:pt x="108" y="72"/>
                    </a:lnTo>
                    <a:lnTo>
                      <a:pt x="108" y="78"/>
                    </a:lnTo>
                    <a:lnTo>
                      <a:pt x="102" y="78"/>
                    </a:lnTo>
                    <a:lnTo>
                      <a:pt x="102" y="90"/>
                    </a:lnTo>
                    <a:lnTo>
                      <a:pt x="102" y="96"/>
                    </a:lnTo>
                    <a:lnTo>
                      <a:pt x="108" y="96"/>
                    </a:lnTo>
                    <a:lnTo>
                      <a:pt x="102" y="102"/>
                    </a:lnTo>
                    <a:lnTo>
                      <a:pt x="108" y="108"/>
                    </a:lnTo>
                    <a:lnTo>
                      <a:pt x="108" y="120"/>
                    </a:lnTo>
                    <a:lnTo>
                      <a:pt x="102" y="114"/>
                    </a:lnTo>
                    <a:lnTo>
                      <a:pt x="90" y="120"/>
                    </a:lnTo>
                    <a:lnTo>
                      <a:pt x="90" y="126"/>
                    </a:lnTo>
                    <a:lnTo>
                      <a:pt x="96" y="126"/>
                    </a:lnTo>
                    <a:lnTo>
                      <a:pt x="96" y="132"/>
                    </a:lnTo>
                    <a:lnTo>
                      <a:pt x="90" y="132"/>
                    </a:lnTo>
                    <a:lnTo>
                      <a:pt x="90" y="138"/>
                    </a:lnTo>
                    <a:lnTo>
                      <a:pt x="90" y="14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08" name="Group 622"/>
            <p:cNvGrpSpPr>
              <a:grpSpLocks/>
            </p:cNvGrpSpPr>
            <p:nvPr/>
          </p:nvGrpSpPr>
          <p:grpSpPr bwMode="auto">
            <a:xfrm>
              <a:off x="6258900" y="3249332"/>
              <a:ext cx="121085" cy="113277"/>
              <a:chOff x="3943" y="1440"/>
              <a:chExt cx="60" cy="66"/>
            </a:xfrm>
            <a:solidFill>
              <a:srgbClr val="0070C0">
                <a:alpha val="27059"/>
              </a:srgbClr>
            </a:solidFill>
          </p:grpSpPr>
          <p:sp>
            <p:nvSpPr>
              <p:cNvPr id="1008" name="Freeform 623"/>
              <p:cNvSpPr>
                <a:spLocks/>
              </p:cNvSpPr>
              <p:nvPr/>
            </p:nvSpPr>
            <p:spPr bwMode="auto">
              <a:xfrm>
                <a:off x="3943" y="1440"/>
                <a:ext cx="60" cy="66"/>
              </a:xfrm>
              <a:custGeom>
                <a:avLst/>
                <a:gdLst>
                  <a:gd name="T0" fmla="*/ 6 w 60"/>
                  <a:gd name="T1" fmla="*/ 60 h 66"/>
                  <a:gd name="T2" fmla="*/ 6 w 60"/>
                  <a:gd name="T3" fmla="*/ 60 h 66"/>
                  <a:gd name="T4" fmla="*/ 6 w 60"/>
                  <a:gd name="T5" fmla="*/ 60 h 66"/>
                  <a:gd name="T6" fmla="*/ 0 w 60"/>
                  <a:gd name="T7" fmla="*/ 54 h 66"/>
                  <a:gd name="T8" fmla="*/ 0 w 60"/>
                  <a:gd name="T9" fmla="*/ 54 h 66"/>
                  <a:gd name="T10" fmla="*/ 0 w 60"/>
                  <a:gd name="T11" fmla="*/ 42 h 66"/>
                  <a:gd name="T12" fmla="*/ 12 w 60"/>
                  <a:gd name="T13" fmla="*/ 36 h 66"/>
                  <a:gd name="T14" fmla="*/ 18 w 60"/>
                  <a:gd name="T15" fmla="*/ 30 h 66"/>
                  <a:gd name="T16" fmla="*/ 18 w 60"/>
                  <a:gd name="T17" fmla="*/ 18 h 66"/>
                  <a:gd name="T18" fmla="*/ 24 w 60"/>
                  <a:gd name="T19" fmla="*/ 18 h 66"/>
                  <a:gd name="T20" fmla="*/ 30 w 60"/>
                  <a:gd name="T21" fmla="*/ 12 h 66"/>
                  <a:gd name="T22" fmla="*/ 30 w 60"/>
                  <a:gd name="T23" fmla="*/ 6 h 66"/>
                  <a:gd name="T24" fmla="*/ 30 w 60"/>
                  <a:gd name="T25" fmla="*/ 6 h 66"/>
                  <a:gd name="T26" fmla="*/ 30 w 60"/>
                  <a:gd name="T27" fmla="*/ 0 h 66"/>
                  <a:gd name="T28" fmla="*/ 48 w 60"/>
                  <a:gd name="T29" fmla="*/ 6 h 66"/>
                  <a:gd name="T30" fmla="*/ 48 w 60"/>
                  <a:gd name="T31" fmla="*/ 6 h 66"/>
                  <a:gd name="T32" fmla="*/ 54 w 60"/>
                  <a:gd name="T33" fmla="*/ 12 h 66"/>
                  <a:gd name="T34" fmla="*/ 60 w 60"/>
                  <a:gd name="T35" fmla="*/ 24 h 66"/>
                  <a:gd name="T36" fmla="*/ 54 w 60"/>
                  <a:gd name="T37" fmla="*/ 30 h 66"/>
                  <a:gd name="T38" fmla="*/ 54 w 60"/>
                  <a:gd name="T39" fmla="*/ 36 h 66"/>
                  <a:gd name="T40" fmla="*/ 42 w 60"/>
                  <a:gd name="T41" fmla="*/ 48 h 66"/>
                  <a:gd name="T42" fmla="*/ 36 w 60"/>
                  <a:gd name="T43" fmla="*/ 48 h 66"/>
                  <a:gd name="T44" fmla="*/ 30 w 60"/>
                  <a:gd name="T45" fmla="*/ 48 h 66"/>
                  <a:gd name="T46" fmla="*/ 30 w 60"/>
                  <a:gd name="T47" fmla="*/ 48 h 66"/>
                  <a:gd name="T48" fmla="*/ 24 w 60"/>
                  <a:gd name="T49" fmla="*/ 54 h 66"/>
                  <a:gd name="T50" fmla="*/ 24 w 60"/>
                  <a:gd name="T51" fmla="*/ 60 h 66"/>
                  <a:gd name="T52" fmla="*/ 18 w 60"/>
                  <a:gd name="T53" fmla="*/ 66 h 66"/>
                  <a:gd name="T54" fmla="*/ 18 w 60"/>
                  <a:gd name="T55" fmla="*/ 66 h 66"/>
                  <a:gd name="T56" fmla="*/ 18 w 60"/>
                  <a:gd name="T57" fmla="*/ 66 h 66"/>
                  <a:gd name="T58" fmla="*/ 6 w 60"/>
                  <a:gd name="T59" fmla="*/ 66 h 66"/>
                  <a:gd name="T60" fmla="*/ 6 w 60"/>
                  <a:gd name="T61" fmla="*/ 60 h 6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60" h="66">
                    <a:moveTo>
                      <a:pt x="6" y="60"/>
                    </a:moveTo>
                    <a:lnTo>
                      <a:pt x="6" y="60"/>
                    </a:lnTo>
                    <a:lnTo>
                      <a:pt x="0" y="54"/>
                    </a:lnTo>
                    <a:lnTo>
                      <a:pt x="0" y="42"/>
                    </a:lnTo>
                    <a:lnTo>
                      <a:pt x="12" y="36"/>
                    </a:lnTo>
                    <a:lnTo>
                      <a:pt x="18" y="30"/>
                    </a:lnTo>
                    <a:lnTo>
                      <a:pt x="18" y="18"/>
                    </a:lnTo>
                    <a:lnTo>
                      <a:pt x="24" y="18"/>
                    </a:lnTo>
                    <a:lnTo>
                      <a:pt x="30" y="12"/>
                    </a:lnTo>
                    <a:lnTo>
                      <a:pt x="30" y="6"/>
                    </a:lnTo>
                    <a:lnTo>
                      <a:pt x="30" y="0"/>
                    </a:lnTo>
                    <a:lnTo>
                      <a:pt x="48" y="6"/>
                    </a:lnTo>
                    <a:lnTo>
                      <a:pt x="54" y="12"/>
                    </a:lnTo>
                    <a:lnTo>
                      <a:pt x="60" y="24"/>
                    </a:lnTo>
                    <a:lnTo>
                      <a:pt x="54" y="30"/>
                    </a:lnTo>
                    <a:lnTo>
                      <a:pt x="54" y="36"/>
                    </a:lnTo>
                    <a:lnTo>
                      <a:pt x="42" y="48"/>
                    </a:lnTo>
                    <a:lnTo>
                      <a:pt x="36" y="48"/>
                    </a:lnTo>
                    <a:lnTo>
                      <a:pt x="30" y="48"/>
                    </a:lnTo>
                    <a:lnTo>
                      <a:pt x="24" y="54"/>
                    </a:lnTo>
                    <a:lnTo>
                      <a:pt x="24" y="60"/>
                    </a:lnTo>
                    <a:lnTo>
                      <a:pt x="18" y="66"/>
                    </a:lnTo>
                    <a:lnTo>
                      <a:pt x="6" y="66"/>
                    </a:lnTo>
                    <a:lnTo>
                      <a:pt x="6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09" name="Freeform 624"/>
              <p:cNvSpPr>
                <a:spLocks/>
              </p:cNvSpPr>
              <p:nvPr/>
            </p:nvSpPr>
            <p:spPr bwMode="auto">
              <a:xfrm>
                <a:off x="3943" y="1440"/>
                <a:ext cx="60" cy="66"/>
              </a:xfrm>
              <a:custGeom>
                <a:avLst/>
                <a:gdLst>
                  <a:gd name="T0" fmla="*/ 6 w 60"/>
                  <a:gd name="T1" fmla="*/ 60 h 66"/>
                  <a:gd name="T2" fmla="*/ 0 w 60"/>
                  <a:gd name="T3" fmla="*/ 54 h 66"/>
                  <a:gd name="T4" fmla="*/ 0 w 60"/>
                  <a:gd name="T5" fmla="*/ 42 h 66"/>
                  <a:gd name="T6" fmla="*/ 12 w 60"/>
                  <a:gd name="T7" fmla="*/ 36 h 66"/>
                  <a:gd name="T8" fmla="*/ 18 w 60"/>
                  <a:gd name="T9" fmla="*/ 30 h 66"/>
                  <a:gd name="T10" fmla="*/ 18 w 60"/>
                  <a:gd name="T11" fmla="*/ 18 h 66"/>
                  <a:gd name="T12" fmla="*/ 24 w 60"/>
                  <a:gd name="T13" fmla="*/ 18 h 66"/>
                  <a:gd name="T14" fmla="*/ 30 w 60"/>
                  <a:gd name="T15" fmla="*/ 12 h 66"/>
                  <a:gd name="T16" fmla="*/ 30 w 60"/>
                  <a:gd name="T17" fmla="*/ 6 h 66"/>
                  <a:gd name="T18" fmla="*/ 30 w 60"/>
                  <a:gd name="T19" fmla="*/ 0 h 66"/>
                  <a:gd name="T20" fmla="*/ 48 w 60"/>
                  <a:gd name="T21" fmla="*/ 6 h 66"/>
                  <a:gd name="T22" fmla="*/ 54 w 60"/>
                  <a:gd name="T23" fmla="*/ 12 h 66"/>
                  <a:gd name="T24" fmla="*/ 60 w 60"/>
                  <a:gd name="T25" fmla="*/ 24 h 66"/>
                  <a:gd name="T26" fmla="*/ 54 w 60"/>
                  <a:gd name="T27" fmla="*/ 30 h 66"/>
                  <a:gd name="T28" fmla="*/ 54 w 60"/>
                  <a:gd name="T29" fmla="*/ 36 h 66"/>
                  <a:gd name="T30" fmla="*/ 42 w 60"/>
                  <a:gd name="T31" fmla="*/ 48 h 66"/>
                  <a:gd name="T32" fmla="*/ 36 w 60"/>
                  <a:gd name="T33" fmla="*/ 48 h 66"/>
                  <a:gd name="T34" fmla="*/ 30 w 60"/>
                  <a:gd name="T35" fmla="*/ 48 h 66"/>
                  <a:gd name="T36" fmla="*/ 24 w 60"/>
                  <a:gd name="T37" fmla="*/ 54 h 66"/>
                  <a:gd name="T38" fmla="*/ 24 w 60"/>
                  <a:gd name="T39" fmla="*/ 60 h 66"/>
                  <a:gd name="T40" fmla="*/ 18 w 60"/>
                  <a:gd name="T41" fmla="*/ 66 h 66"/>
                  <a:gd name="T42" fmla="*/ 6 w 60"/>
                  <a:gd name="T43" fmla="*/ 66 h 66"/>
                  <a:gd name="T44" fmla="*/ 6 w 60"/>
                  <a:gd name="T45" fmla="*/ 60 h 6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0" h="66">
                    <a:moveTo>
                      <a:pt x="6" y="60"/>
                    </a:moveTo>
                    <a:lnTo>
                      <a:pt x="0" y="54"/>
                    </a:lnTo>
                    <a:lnTo>
                      <a:pt x="0" y="42"/>
                    </a:lnTo>
                    <a:lnTo>
                      <a:pt x="12" y="36"/>
                    </a:lnTo>
                    <a:lnTo>
                      <a:pt x="18" y="30"/>
                    </a:lnTo>
                    <a:lnTo>
                      <a:pt x="18" y="18"/>
                    </a:lnTo>
                    <a:lnTo>
                      <a:pt x="24" y="18"/>
                    </a:lnTo>
                    <a:lnTo>
                      <a:pt x="30" y="12"/>
                    </a:lnTo>
                    <a:lnTo>
                      <a:pt x="30" y="6"/>
                    </a:lnTo>
                    <a:lnTo>
                      <a:pt x="30" y="0"/>
                    </a:lnTo>
                    <a:lnTo>
                      <a:pt x="48" y="6"/>
                    </a:lnTo>
                    <a:lnTo>
                      <a:pt x="54" y="12"/>
                    </a:lnTo>
                    <a:lnTo>
                      <a:pt x="60" y="24"/>
                    </a:lnTo>
                    <a:lnTo>
                      <a:pt x="54" y="30"/>
                    </a:lnTo>
                    <a:lnTo>
                      <a:pt x="54" y="36"/>
                    </a:lnTo>
                    <a:lnTo>
                      <a:pt x="42" y="48"/>
                    </a:lnTo>
                    <a:lnTo>
                      <a:pt x="36" y="48"/>
                    </a:lnTo>
                    <a:lnTo>
                      <a:pt x="30" y="48"/>
                    </a:lnTo>
                    <a:lnTo>
                      <a:pt x="24" y="54"/>
                    </a:lnTo>
                    <a:lnTo>
                      <a:pt x="24" y="60"/>
                    </a:lnTo>
                    <a:lnTo>
                      <a:pt x="18" y="66"/>
                    </a:lnTo>
                    <a:lnTo>
                      <a:pt x="6" y="66"/>
                    </a:lnTo>
                    <a:lnTo>
                      <a:pt x="6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09" name="Group 625"/>
            <p:cNvGrpSpPr>
              <a:grpSpLocks/>
            </p:cNvGrpSpPr>
            <p:nvPr/>
          </p:nvGrpSpPr>
          <p:grpSpPr bwMode="auto">
            <a:xfrm>
              <a:off x="6416503" y="3692328"/>
              <a:ext cx="415149" cy="845534"/>
              <a:chOff x="4021" y="1698"/>
              <a:chExt cx="204" cy="492"/>
            </a:xfrm>
            <a:solidFill>
              <a:srgbClr val="0070C0">
                <a:alpha val="27059"/>
              </a:srgbClr>
            </a:solidFill>
          </p:grpSpPr>
          <p:sp>
            <p:nvSpPr>
              <p:cNvPr id="1006" name="Freeform 626"/>
              <p:cNvSpPr>
                <a:spLocks/>
              </p:cNvSpPr>
              <p:nvPr/>
            </p:nvSpPr>
            <p:spPr bwMode="auto">
              <a:xfrm>
                <a:off x="4021" y="1698"/>
                <a:ext cx="204" cy="492"/>
              </a:xfrm>
              <a:custGeom>
                <a:avLst/>
                <a:gdLst>
                  <a:gd name="T0" fmla="*/ 66 w 204"/>
                  <a:gd name="T1" fmla="*/ 24 h 492"/>
                  <a:gd name="T2" fmla="*/ 54 w 204"/>
                  <a:gd name="T3" fmla="*/ 42 h 492"/>
                  <a:gd name="T4" fmla="*/ 36 w 204"/>
                  <a:gd name="T5" fmla="*/ 84 h 492"/>
                  <a:gd name="T6" fmla="*/ 30 w 204"/>
                  <a:gd name="T7" fmla="*/ 186 h 492"/>
                  <a:gd name="T8" fmla="*/ 18 w 204"/>
                  <a:gd name="T9" fmla="*/ 210 h 492"/>
                  <a:gd name="T10" fmla="*/ 18 w 204"/>
                  <a:gd name="T11" fmla="*/ 228 h 492"/>
                  <a:gd name="T12" fmla="*/ 18 w 204"/>
                  <a:gd name="T13" fmla="*/ 240 h 492"/>
                  <a:gd name="T14" fmla="*/ 18 w 204"/>
                  <a:gd name="T15" fmla="*/ 276 h 492"/>
                  <a:gd name="T16" fmla="*/ 18 w 204"/>
                  <a:gd name="T17" fmla="*/ 294 h 492"/>
                  <a:gd name="T18" fmla="*/ 18 w 204"/>
                  <a:gd name="T19" fmla="*/ 318 h 492"/>
                  <a:gd name="T20" fmla="*/ 6 w 204"/>
                  <a:gd name="T21" fmla="*/ 330 h 492"/>
                  <a:gd name="T22" fmla="*/ 0 w 204"/>
                  <a:gd name="T23" fmla="*/ 396 h 492"/>
                  <a:gd name="T24" fmla="*/ 6 w 204"/>
                  <a:gd name="T25" fmla="*/ 414 h 492"/>
                  <a:gd name="T26" fmla="*/ 42 w 204"/>
                  <a:gd name="T27" fmla="*/ 438 h 492"/>
                  <a:gd name="T28" fmla="*/ 78 w 204"/>
                  <a:gd name="T29" fmla="*/ 480 h 492"/>
                  <a:gd name="T30" fmla="*/ 90 w 204"/>
                  <a:gd name="T31" fmla="*/ 486 h 492"/>
                  <a:gd name="T32" fmla="*/ 72 w 204"/>
                  <a:gd name="T33" fmla="*/ 462 h 492"/>
                  <a:gd name="T34" fmla="*/ 54 w 204"/>
                  <a:gd name="T35" fmla="*/ 456 h 492"/>
                  <a:gd name="T36" fmla="*/ 48 w 204"/>
                  <a:gd name="T37" fmla="*/ 426 h 492"/>
                  <a:gd name="T38" fmla="*/ 48 w 204"/>
                  <a:gd name="T39" fmla="*/ 396 h 492"/>
                  <a:gd name="T40" fmla="*/ 72 w 204"/>
                  <a:gd name="T41" fmla="*/ 372 h 492"/>
                  <a:gd name="T42" fmla="*/ 72 w 204"/>
                  <a:gd name="T43" fmla="*/ 348 h 492"/>
                  <a:gd name="T44" fmla="*/ 60 w 204"/>
                  <a:gd name="T45" fmla="*/ 336 h 492"/>
                  <a:gd name="T46" fmla="*/ 60 w 204"/>
                  <a:gd name="T47" fmla="*/ 318 h 492"/>
                  <a:gd name="T48" fmla="*/ 84 w 204"/>
                  <a:gd name="T49" fmla="*/ 300 h 492"/>
                  <a:gd name="T50" fmla="*/ 96 w 204"/>
                  <a:gd name="T51" fmla="*/ 276 h 492"/>
                  <a:gd name="T52" fmla="*/ 84 w 204"/>
                  <a:gd name="T53" fmla="*/ 252 h 492"/>
                  <a:gd name="T54" fmla="*/ 108 w 204"/>
                  <a:gd name="T55" fmla="*/ 252 h 492"/>
                  <a:gd name="T56" fmla="*/ 114 w 204"/>
                  <a:gd name="T57" fmla="*/ 222 h 492"/>
                  <a:gd name="T58" fmla="*/ 144 w 204"/>
                  <a:gd name="T59" fmla="*/ 222 h 492"/>
                  <a:gd name="T60" fmla="*/ 162 w 204"/>
                  <a:gd name="T61" fmla="*/ 210 h 492"/>
                  <a:gd name="T62" fmla="*/ 162 w 204"/>
                  <a:gd name="T63" fmla="*/ 174 h 492"/>
                  <a:gd name="T64" fmla="*/ 156 w 204"/>
                  <a:gd name="T65" fmla="*/ 150 h 492"/>
                  <a:gd name="T66" fmla="*/ 150 w 204"/>
                  <a:gd name="T67" fmla="*/ 120 h 492"/>
                  <a:gd name="T68" fmla="*/ 168 w 204"/>
                  <a:gd name="T69" fmla="*/ 90 h 492"/>
                  <a:gd name="T70" fmla="*/ 204 w 204"/>
                  <a:gd name="T71" fmla="*/ 54 h 492"/>
                  <a:gd name="T72" fmla="*/ 198 w 204"/>
                  <a:gd name="T73" fmla="*/ 42 h 492"/>
                  <a:gd name="T74" fmla="*/ 192 w 204"/>
                  <a:gd name="T75" fmla="*/ 54 h 492"/>
                  <a:gd name="T76" fmla="*/ 150 w 204"/>
                  <a:gd name="T77" fmla="*/ 66 h 492"/>
                  <a:gd name="T78" fmla="*/ 132 w 204"/>
                  <a:gd name="T79" fmla="*/ 18 h 492"/>
                  <a:gd name="T80" fmla="*/ 108 w 204"/>
                  <a:gd name="T81" fmla="*/ 12 h 492"/>
                  <a:gd name="T82" fmla="*/ 102 w 204"/>
                  <a:gd name="T83" fmla="*/ 0 h 492"/>
                  <a:gd name="T84" fmla="*/ 90 w 204"/>
                  <a:gd name="T85" fmla="*/ 6 h 492"/>
                  <a:gd name="T86" fmla="*/ 72 w 204"/>
                  <a:gd name="T87" fmla="*/ 0 h 492"/>
                  <a:gd name="T88" fmla="*/ 66 w 204"/>
                  <a:gd name="T89" fmla="*/ 12 h 4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204" h="492">
                    <a:moveTo>
                      <a:pt x="66" y="12"/>
                    </a:moveTo>
                    <a:lnTo>
                      <a:pt x="66" y="18"/>
                    </a:lnTo>
                    <a:lnTo>
                      <a:pt x="66" y="24"/>
                    </a:lnTo>
                    <a:lnTo>
                      <a:pt x="60" y="30"/>
                    </a:lnTo>
                    <a:lnTo>
                      <a:pt x="54" y="36"/>
                    </a:lnTo>
                    <a:lnTo>
                      <a:pt x="54" y="42"/>
                    </a:lnTo>
                    <a:lnTo>
                      <a:pt x="48" y="54"/>
                    </a:lnTo>
                    <a:lnTo>
                      <a:pt x="42" y="72"/>
                    </a:lnTo>
                    <a:lnTo>
                      <a:pt x="36" y="84"/>
                    </a:lnTo>
                    <a:lnTo>
                      <a:pt x="36" y="108"/>
                    </a:lnTo>
                    <a:lnTo>
                      <a:pt x="36" y="174"/>
                    </a:lnTo>
                    <a:lnTo>
                      <a:pt x="30" y="186"/>
                    </a:lnTo>
                    <a:lnTo>
                      <a:pt x="24" y="198"/>
                    </a:lnTo>
                    <a:lnTo>
                      <a:pt x="24" y="210"/>
                    </a:lnTo>
                    <a:lnTo>
                      <a:pt x="18" y="210"/>
                    </a:lnTo>
                    <a:lnTo>
                      <a:pt x="18" y="216"/>
                    </a:lnTo>
                    <a:lnTo>
                      <a:pt x="24" y="216"/>
                    </a:lnTo>
                    <a:lnTo>
                      <a:pt x="18" y="228"/>
                    </a:lnTo>
                    <a:lnTo>
                      <a:pt x="18" y="234"/>
                    </a:lnTo>
                    <a:lnTo>
                      <a:pt x="18" y="240"/>
                    </a:lnTo>
                    <a:lnTo>
                      <a:pt x="18" y="246"/>
                    </a:lnTo>
                    <a:lnTo>
                      <a:pt x="18" y="276"/>
                    </a:lnTo>
                    <a:lnTo>
                      <a:pt x="18" y="288"/>
                    </a:lnTo>
                    <a:lnTo>
                      <a:pt x="18" y="294"/>
                    </a:lnTo>
                    <a:lnTo>
                      <a:pt x="18" y="306"/>
                    </a:lnTo>
                    <a:lnTo>
                      <a:pt x="18" y="312"/>
                    </a:lnTo>
                    <a:lnTo>
                      <a:pt x="18" y="318"/>
                    </a:lnTo>
                    <a:lnTo>
                      <a:pt x="18" y="324"/>
                    </a:lnTo>
                    <a:lnTo>
                      <a:pt x="12" y="324"/>
                    </a:lnTo>
                    <a:lnTo>
                      <a:pt x="6" y="330"/>
                    </a:lnTo>
                    <a:lnTo>
                      <a:pt x="6" y="336"/>
                    </a:lnTo>
                    <a:lnTo>
                      <a:pt x="6" y="396"/>
                    </a:lnTo>
                    <a:lnTo>
                      <a:pt x="0" y="396"/>
                    </a:lnTo>
                    <a:lnTo>
                      <a:pt x="0" y="402"/>
                    </a:lnTo>
                    <a:lnTo>
                      <a:pt x="6" y="408"/>
                    </a:lnTo>
                    <a:lnTo>
                      <a:pt x="6" y="414"/>
                    </a:lnTo>
                    <a:lnTo>
                      <a:pt x="12" y="426"/>
                    </a:lnTo>
                    <a:lnTo>
                      <a:pt x="42" y="426"/>
                    </a:lnTo>
                    <a:lnTo>
                      <a:pt x="42" y="438"/>
                    </a:lnTo>
                    <a:lnTo>
                      <a:pt x="42" y="456"/>
                    </a:lnTo>
                    <a:lnTo>
                      <a:pt x="48" y="480"/>
                    </a:lnTo>
                    <a:lnTo>
                      <a:pt x="78" y="480"/>
                    </a:lnTo>
                    <a:lnTo>
                      <a:pt x="90" y="492"/>
                    </a:lnTo>
                    <a:lnTo>
                      <a:pt x="90" y="486"/>
                    </a:lnTo>
                    <a:lnTo>
                      <a:pt x="90" y="480"/>
                    </a:lnTo>
                    <a:lnTo>
                      <a:pt x="84" y="468"/>
                    </a:lnTo>
                    <a:lnTo>
                      <a:pt x="72" y="462"/>
                    </a:lnTo>
                    <a:lnTo>
                      <a:pt x="60" y="462"/>
                    </a:lnTo>
                    <a:lnTo>
                      <a:pt x="54" y="456"/>
                    </a:lnTo>
                    <a:lnTo>
                      <a:pt x="54" y="450"/>
                    </a:lnTo>
                    <a:lnTo>
                      <a:pt x="48" y="438"/>
                    </a:lnTo>
                    <a:lnTo>
                      <a:pt x="48" y="426"/>
                    </a:lnTo>
                    <a:lnTo>
                      <a:pt x="42" y="414"/>
                    </a:lnTo>
                    <a:lnTo>
                      <a:pt x="42" y="402"/>
                    </a:lnTo>
                    <a:lnTo>
                      <a:pt x="48" y="396"/>
                    </a:lnTo>
                    <a:lnTo>
                      <a:pt x="60" y="378"/>
                    </a:lnTo>
                    <a:lnTo>
                      <a:pt x="66" y="372"/>
                    </a:lnTo>
                    <a:lnTo>
                      <a:pt x="72" y="372"/>
                    </a:lnTo>
                    <a:lnTo>
                      <a:pt x="72" y="366"/>
                    </a:lnTo>
                    <a:lnTo>
                      <a:pt x="72" y="354"/>
                    </a:lnTo>
                    <a:lnTo>
                      <a:pt x="72" y="348"/>
                    </a:lnTo>
                    <a:lnTo>
                      <a:pt x="72" y="342"/>
                    </a:lnTo>
                    <a:lnTo>
                      <a:pt x="66" y="342"/>
                    </a:lnTo>
                    <a:lnTo>
                      <a:pt x="60" y="336"/>
                    </a:lnTo>
                    <a:lnTo>
                      <a:pt x="60" y="324"/>
                    </a:lnTo>
                    <a:lnTo>
                      <a:pt x="60" y="318"/>
                    </a:lnTo>
                    <a:lnTo>
                      <a:pt x="66" y="318"/>
                    </a:lnTo>
                    <a:lnTo>
                      <a:pt x="72" y="318"/>
                    </a:lnTo>
                    <a:lnTo>
                      <a:pt x="84" y="300"/>
                    </a:lnTo>
                    <a:lnTo>
                      <a:pt x="84" y="288"/>
                    </a:lnTo>
                    <a:lnTo>
                      <a:pt x="84" y="276"/>
                    </a:lnTo>
                    <a:lnTo>
                      <a:pt x="96" y="276"/>
                    </a:lnTo>
                    <a:lnTo>
                      <a:pt x="96" y="264"/>
                    </a:lnTo>
                    <a:lnTo>
                      <a:pt x="84" y="264"/>
                    </a:lnTo>
                    <a:lnTo>
                      <a:pt x="84" y="252"/>
                    </a:lnTo>
                    <a:lnTo>
                      <a:pt x="90" y="252"/>
                    </a:lnTo>
                    <a:lnTo>
                      <a:pt x="108" y="252"/>
                    </a:lnTo>
                    <a:lnTo>
                      <a:pt x="108" y="234"/>
                    </a:lnTo>
                    <a:lnTo>
                      <a:pt x="114" y="228"/>
                    </a:lnTo>
                    <a:lnTo>
                      <a:pt x="114" y="222"/>
                    </a:lnTo>
                    <a:lnTo>
                      <a:pt x="120" y="222"/>
                    </a:lnTo>
                    <a:lnTo>
                      <a:pt x="126" y="222"/>
                    </a:lnTo>
                    <a:lnTo>
                      <a:pt x="144" y="222"/>
                    </a:lnTo>
                    <a:lnTo>
                      <a:pt x="150" y="216"/>
                    </a:lnTo>
                    <a:lnTo>
                      <a:pt x="156" y="216"/>
                    </a:lnTo>
                    <a:lnTo>
                      <a:pt x="162" y="210"/>
                    </a:lnTo>
                    <a:lnTo>
                      <a:pt x="168" y="198"/>
                    </a:lnTo>
                    <a:lnTo>
                      <a:pt x="168" y="192"/>
                    </a:lnTo>
                    <a:lnTo>
                      <a:pt x="162" y="174"/>
                    </a:lnTo>
                    <a:lnTo>
                      <a:pt x="156" y="162"/>
                    </a:lnTo>
                    <a:lnTo>
                      <a:pt x="156" y="156"/>
                    </a:lnTo>
                    <a:lnTo>
                      <a:pt x="156" y="150"/>
                    </a:lnTo>
                    <a:lnTo>
                      <a:pt x="156" y="144"/>
                    </a:lnTo>
                    <a:lnTo>
                      <a:pt x="150" y="132"/>
                    </a:lnTo>
                    <a:lnTo>
                      <a:pt x="150" y="120"/>
                    </a:lnTo>
                    <a:lnTo>
                      <a:pt x="156" y="114"/>
                    </a:lnTo>
                    <a:lnTo>
                      <a:pt x="162" y="102"/>
                    </a:lnTo>
                    <a:lnTo>
                      <a:pt x="168" y="90"/>
                    </a:lnTo>
                    <a:lnTo>
                      <a:pt x="174" y="84"/>
                    </a:lnTo>
                    <a:lnTo>
                      <a:pt x="198" y="60"/>
                    </a:lnTo>
                    <a:lnTo>
                      <a:pt x="204" y="54"/>
                    </a:lnTo>
                    <a:lnTo>
                      <a:pt x="204" y="48"/>
                    </a:lnTo>
                    <a:lnTo>
                      <a:pt x="198" y="48"/>
                    </a:lnTo>
                    <a:lnTo>
                      <a:pt x="198" y="42"/>
                    </a:lnTo>
                    <a:lnTo>
                      <a:pt x="192" y="42"/>
                    </a:lnTo>
                    <a:lnTo>
                      <a:pt x="192" y="54"/>
                    </a:lnTo>
                    <a:lnTo>
                      <a:pt x="186" y="60"/>
                    </a:lnTo>
                    <a:lnTo>
                      <a:pt x="186" y="66"/>
                    </a:lnTo>
                    <a:lnTo>
                      <a:pt x="150" y="66"/>
                    </a:lnTo>
                    <a:lnTo>
                      <a:pt x="162" y="36"/>
                    </a:lnTo>
                    <a:lnTo>
                      <a:pt x="132" y="24"/>
                    </a:lnTo>
                    <a:lnTo>
                      <a:pt x="132" y="18"/>
                    </a:lnTo>
                    <a:lnTo>
                      <a:pt x="120" y="18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14" y="6"/>
                    </a:lnTo>
                    <a:lnTo>
                      <a:pt x="108" y="0"/>
                    </a:lnTo>
                    <a:lnTo>
                      <a:pt x="102" y="0"/>
                    </a:lnTo>
                    <a:lnTo>
                      <a:pt x="90" y="12"/>
                    </a:lnTo>
                    <a:lnTo>
                      <a:pt x="90" y="6"/>
                    </a:lnTo>
                    <a:lnTo>
                      <a:pt x="84" y="0"/>
                    </a:lnTo>
                    <a:lnTo>
                      <a:pt x="72" y="0"/>
                    </a:lnTo>
                    <a:lnTo>
                      <a:pt x="72" y="6"/>
                    </a:lnTo>
                    <a:lnTo>
                      <a:pt x="6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07" name="Freeform 627"/>
              <p:cNvSpPr>
                <a:spLocks/>
              </p:cNvSpPr>
              <p:nvPr/>
            </p:nvSpPr>
            <p:spPr bwMode="auto">
              <a:xfrm>
                <a:off x="4021" y="1698"/>
                <a:ext cx="204" cy="492"/>
              </a:xfrm>
              <a:custGeom>
                <a:avLst/>
                <a:gdLst>
                  <a:gd name="T0" fmla="*/ 66 w 204"/>
                  <a:gd name="T1" fmla="*/ 18 h 492"/>
                  <a:gd name="T2" fmla="*/ 60 w 204"/>
                  <a:gd name="T3" fmla="*/ 30 h 492"/>
                  <a:gd name="T4" fmla="*/ 54 w 204"/>
                  <a:gd name="T5" fmla="*/ 42 h 492"/>
                  <a:gd name="T6" fmla="*/ 42 w 204"/>
                  <a:gd name="T7" fmla="*/ 72 h 492"/>
                  <a:gd name="T8" fmla="*/ 36 w 204"/>
                  <a:gd name="T9" fmla="*/ 108 h 492"/>
                  <a:gd name="T10" fmla="*/ 30 w 204"/>
                  <a:gd name="T11" fmla="*/ 186 h 492"/>
                  <a:gd name="T12" fmla="*/ 24 w 204"/>
                  <a:gd name="T13" fmla="*/ 210 h 492"/>
                  <a:gd name="T14" fmla="*/ 18 w 204"/>
                  <a:gd name="T15" fmla="*/ 216 h 492"/>
                  <a:gd name="T16" fmla="*/ 18 w 204"/>
                  <a:gd name="T17" fmla="*/ 228 h 492"/>
                  <a:gd name="T18" fmla="*/ 18 w 204"/>
                  <a:gd name="T19" fmla="*/ 240 h 492"/>
                  <a:gd name="T20" fmla="*/ 18 w 204"/>
                  <a:gd name="T21" fmla="*/ 276 h 492"/>
                  <a:gd name="T22" fmla="*/ 18 w 204"/>
                  <a:gd name="T23" fmla="*/ 294 h 492"/>
                  <a:gd name="T24" fmla="*/ 18 w 204"/>
                  <a:gd name="T25" fmla="*/ 312 h 492"/>
                  <a:gd name="T26" fmla="*/ 18 w 204"/>
                  <a:gd name="T27" fmla="*/ 324 h 492"/>
                  <a:gd name="T28" fmla="*/ 6 w 204"/>
                  <a:gd name="T29" fmla="*/ 330 h 492"/>
                  <a:gd name="T30" fmla="*/ 6 w 204"/>
                  <a:gd name="T31" fmla="*/ 396 h 492"/>
                  <a:gd name="T32" fmla="*/ 0 w 204"/>
                  <a:gd name="T33" fmla="*/ 402 h 492"/>
                  <a:gd name="T34" fmla="*/ 6 w 204"/>
                  <a:gd name="T35" fmla="*/ 414 h 492"/>
                  <a:gd name="T36" fmla="*/ 42 w 204"/>
                  <a:gd name="T37" fmla="*/ 426 h 492"/>
                  <a:gd name="T38" fmla="*/ 42 w 204"/>
                  <a:gd name="T39" fmla="*/ 456 h 492"/>
                  <a:gd name="T40" fmla="*/ 78 w 204"/>
                  <a:gd name="T41" fmla="*/ 480 h 492"/>
                  <a:gd name="T42" fmla="*/ 90 w 204"/>
                  <a:gd name="T43" fmla="*/ 486 h 492"/>
                  <a:gd name="T44" fmla="*/ 84 w 204"/>
                  <a:gd name="T45" fmla="*/ 468 h 492"/>
                  <a:gd name="T46" fmla="*/ 60 w 204"/>
                  <a:gd name="T47" fmla="*/ 462 h 492"/>
                  <a:gd name="T48" fmla="*/ 54 w 204"/>
                  <a:gd name="T49" fmla="*/ 450 h 492"/>
                  <a:gd name="T50" fmla="*/ 48 w 204"/>
                  <a:gd name="T51" fmla="*/ 426 h 492"/>
                  <a:gd name="T52" fmla="*/ 42 w 204"/>
                  <a:gd name="T53" fmla="*/ 402 h 492"/>
                  <a:gd name="T54" fmla="*/ 60 w 204"/>
                  <a:gd name="T55" fmla="*/ 378 h 492"/>
                  <a:gd name="T56" fmla="*/ 72 w 204"/>
                  <a:gd name="T57" fmla="*/ 372 h 492"/>
                  <a:gd name="T58" fmla="*/ 72 w 204"/>
                  <a:gd name="T59" fmla="*/ 354 h 492"/>
                  <a:gd name="T60" fmla="*/ 72 w 204"/>
                  <a:gd name="T61" fmla="*/ 342 h 492"/>
                  <a:gd name="T62" fmla="*/ 60 w 204"/>
                  <a:gd name="T63" fmla="*/ 336 h 492"/>
                  <a:gd name="T64" fmla="*/ 60 w 204"/>
                  <a:gd name="T65" fmla="*/ 318 h 492"/>
                  <a:gd name="T66" fmla="*/ 72 w 204"/>
                  <a:gd name="T67" fmla="*/ 318 h 492"/>
                  <a:gd name="T68" fmla="*/ 84 w 204"/>
                  <a:gd name="T69" fmla="*/ 288 h 492"/>
                  <a:gd name="T70" fmla="*/ 96 w 204"/>
                  <a:gd name="T71" fmla="*/ 276 h 492"/>
                  <a:gd name="T72" fmla="*/ 84 w 204"/>
                  <a:gd name="T73" fmla="*/ 264 h 492"/>
                  <a:gd name="T74" fmla="*/ 90 w 204"/>
                  <a:gd name="T75" fmla="*/ 252 h 492"/>
                  <a:gd name="T76" fmla="*/ 108 w 204"/>
                  <a:gd name="T77" fmla="*/ 234 h 492"/>
                  <a:gd name="T78" fmla="*/ 114 w 204"/>
                  <a:gd name="T79" fmla="*/ 222 h 492"/>
                  <a:gd name="T80" fmla="*/ 126 w 204"/>
                  <a:gd name="T81" fmla="*/ 222 h 492"/>
                  <a:gd name="T82" fmla="*/ 150 w 204"/>
                  <a:gd name="T83" fmla="*/ 216 h 492"/>
                  <a:gd name="T84" fmla="*/ 162 w 204"/>
                  <a:gd name="T85" fmla="*/ 210 h 492"/>
                  <a:gd name="T86" fmla="*/ 168 w 204"/>
                  <a:gd name="T87" fmla="*/ 192 h 492"/>
                  <a:gd name="T88" fmla="*/ 156 w 204"/>
                  <a:gd name="T89" fmla="*/ 162 h 492"/>
                  <a:gd name="T90" fmla="*/ 156 w 204"/>
                  <a:gd name="T91" fmla="*/ 150 h 492"/>
                  <a:gd name="T92" fmla="*/ 150 w 204"/>
                  <a:gd name="T93" fmla="*/ 132 h 492"/>
                  <a:gd name="T94" fmla="*/ 156 w 204"/>
                  <a:gd name="T95" fmla="*/ 114 h 492"/>
                  <a:gd name="T96" fmla="*/ 168 w 204"/>
                  <a:gd name="T97" fmla="*/ 90 h 492"/>
                  <a:gd name="T98" fmla="*/ 198 w 204"/>
                  <a:gd name="T99" fmla="*/ 60 h 492"/>
                  <a:gd name="T100" fmla="*/ 204 w 204"/>
                  <a:gd name="T101" fmla="*/ 48 h 492"/>
                  <a:gd name="T102" fmla="*/ 198 w 204"/>
                  <a:gd name="T103" fmla="*/ 42 h 492"/>
                  <a:gd name="T104" fmla="*/ 192 w 204"/>
                  <a:gd name="T105" fmla="*/ 54 h 492"/>
                  <a:gd name="T106" fmla="*/ 186 w 204"/>
                  <a:gd name="T107" fmla="*/ 66 h 492"/>
                  <a:gd name="T108" fmla="*/ 162 w 204"/>
                  <a:gd name="T109" fmla="*/ 36 h 492"/>
                  <a:gd name="T110" fmla="*/ 132 w 204"/>
                  <a:gd name="T111" fmla="*/ 18 h 492"/>
                  <a:gd name="T112" fmla="*/ 114 w 204"/>
                  <a:gd name="T113" fmla="*/ 12 h 492"/>
                  <a:gd name="T114" fmla="*/ 114 w 204"/>
                  <a:gd name="T115" fmla="*/ 6 h 492"/>
                  <a:gd name="T116" fmla="*/ 102 w 204"/>
                  <a:gd name="T117" fmla="*/ 0 h 492"/>
                  <a:gd name="T118" fmla="*/ 90 w 204"/>
                  <a:gd name="T119" fmla="*/ 6 h 492"/>
                  <a:gd name="T120" fmla="*/ 72 w 204"/>
                  <a:gd name="T121" fmla="*/ 0 h 492"/>
                  <a:gd name="T122" fmla="*/ 66 w 204"/>
                  <a:gd name="T123" fmla="*/ 12 h 49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204" h="492">
                    <a:moveTo>
                      <a:pt x="66" y="12"/>
                    </a:moveTo>
                    <a:lnTo>
                      <a:pt x="66" y="18"/>
                    </a:lnTo>
                    <a:lnTo>
                      <a:pt x="66" y="24"/>
                    </a:lnTo>
                    <a:lnTo>
                      <a:pt x="60" y="30"/>
                    </a:lnTo>
                    <a:lnTo>
                      <a:pt x="54" y="36"/>
                    </a:lnTo>
                    <a:lnTo>
                      <a:pt x="54" y="42"/>
                    </a:lnTo>
                    <a:lnTo>
                      <a:pt x="48" y="54"/>
                    </a:lnTo>
                    <a:lnTo>
                      <a:pt x="42" y="72"/>
                    </a:lnTo>
                    <a:lnTo>
                      <a:pt x="36" y="84"/>
                    </a:lnTo>
                    <a:lnTo>
                      <a:pt x="36" y="108"/>
                    </a:lnTo>
                    <a:lnTo>
                      <a:pt x="36" y="174"/>
                    </a:lnTo>
                    <a:lnTo>
                      <a:pt x="30" y="186"/>
                    </a:lnTo>
                    <a:lnTo>
                      <a:pt x="24" y="198"/>
                    </a:lnTo>
                    <a:lnTo>
                      <a:pt x="24" y="210"/>
                    </a:lnTo>
                    <a:lnTo>
                      <a:pt x="18" y="210"/>
                    </a:lnTo>
                    <a:lnTo>
                      <a:pt x="18" y="216"/>
                    </a:lnTo>
                    <a:lnTo>
                      <a:pt x="24" y="216"/>
                    </a:lnTo>
                    <a:lnTo>
                      <a:pt x="18" y="228"/>
                    </a:lnTo>
                    <a:lnTo>
                      <a:pt x="18" y="234"/>
                    </a:lnTo>
                    <a:lnTo>
                      <a:pt x="18" y="240"/>
                    </a:lnTo>
                    <a:lnTo>
                      <a:pt x="18" y="246"/>
                    </a:lnTo>
                    <a:lnTo>
                      <a:pt x="18" y="276"/>
                    </a:lnTo>
                    <a:lnTo>
                      <a:pt x="18" y="288"/>
                    </a:lnTo>
                    <a:lnTo>
                      <a:pt x="18" y="294"/>
                    </a:lnTo>
                    <a:lnTo>
                      <a:pt x="18" y="306"/>
                    </a:lnTo>
                    <a:lnTo>
                      <a:pt x="18" y="312"/>
                    </a:lnTo>
                    <a:lnTo>
                      <a:pt x="18" y="318"/>
                    </a:lnTo>
                    <a:lnTo>
                      <a:pt x="18" y="324"/>
                    </a:lnTo>
                    <a:lnTo>
                      <a:pt x="12" y="324"/>
                    </a:lnTo>
                    <a:lnTo>
                      <a:pt x="6" y="330"/>
                    </a:lnTo>
                    <a:lnTo>
                      <a:pt x="6" y="336"/>
                    </a:lnTo>
                    <a:lnTo>
                      <a:pt x="6" y="396"/>
                    </a:lnTo>
                    <a:lnTo>
                      <a:pt x="0" y="396"/>
                    </a:lnTo>
                    <a:lnTo>
                      <a:pt x="0" y="402"/>
                    </a:lnTo>
                    <a:lnTo>
                      <a:pt x="6" y="408"/>
                    </a:lnTo>
                    <a:lnTo>
                      <a:pt x="6" y="414"/>
                    </a:lnTo>
                    <a:lnTo>
                      <a:pt x="12" y="426"/>
                    </a:lnTo>
                    <a:lnTo>
                      <a:pt x="42" y="426"/>
                    </a:lnTo>
                    <a:lnTo>
                      <a:pt x="42" y="438"/>
                    </a:lnTo>
                    <a:lnTo>
                      <a:pt x="42" y="456"/>
                    </a:lnTo>
                    <a:lnTo>
                      <a:pt x="48" y="480"/>
                    </a:lnTo>
                    <a:lnTo>
                      <a:pt x="78" y="480"/>
                    </a:lnTo>
                    <a:lnTo>
                      <a:pt x="90" y="492"/>
                    </a:lnTo>
                    <a:lnTo>
                      <a:pt x="90" y="486"/>
                    </a:lnTo>
                    <a:lnTo>
                      <a:pt x="90" y="480"/>
                    </a:lnTo>
                    <a:lnTo>
                      <a:pt x="84" y="468"/>
                    </a:lnTo>
                    <a:lnTo>
                      <a:pt x="72" y="462"/>
                    </a:lnTo>
                    <a:lnTo>
                      <a:pt x="60" y="462"/>
                    </a:lnTo>
                    <a:lnTo>
                      <a:pt x="54" y="456"/>
                    </a:lnTo>
                    <a:lnTo>
                      <a:pt x="54" y="450"/>
                    </a:lnTo>
                    <a:lnTo>
                      <a:pt x="48" y="438"/>
                    </a:lnTo>
                    <a:lnTo>
                      <a:pt x="48" y="426"/>
                    </a:lnTo>
                    <a:lnTo>
                      <a:pt x="42" y="414"/>
                    </a:lnTo>
                    <a:lnTo>
                      <a:pt x="42" y="402"/>
                    </a:lnTo>
                    <a:lnTo>
                      <a:pt x="48" y="396"/>
                    </a:lnTo>
                    <a:lnTo>
                      <a:pt x="60" y="378"/>
                    </a:lnTo>
                    <a:lnTo>
                      <a:pt x="66" y="372"/>
                    </a:lnTo>
                    <a:lnTo>
                      <a:pt x="72" y="372"/>
                    </a:lnTo>
                    <a:lnTo>
                      <a:pt x="72" y="366"/>
                    </a:lnTo>
                    <a:lnTo>
                      <a:pt x="72" y="354"/>
                    </a:lnTo>
                    <a:lnTo>
                      <a:pt x="72" y="348"/>
                    </a:lnTo>
                    <a:lnTo>
                      <a:pt x="72" y="342"/>
                    </a:lnTo>
                    <a:lnTo>
                      <a:pt x="66" y="342"/>
                    </a:lnTo>
                    <a:lnTo>
                      <a:pt x="60" y="336"/>
                    </a:lnTo>
                    <a:lnTo>
                      <a:pt x="60" y="324"/>
                    </a:lnTo>
                    <a:lnTo>
                      <a:pt x="60" y="318"/>
                    </a:lnTo>
                    <a:lnTo>
                      <a:pt x="66" y="318"/>
                    </a:lnTo>
                    <a:lnTo>
                      <a:pt x="72" y="318"/>
                    </a:lnTo>
                    <a:lnTo>
                      <a:pt x="84" y="300"/>
                    </a:lnTo>
                    <a:lnTo>
                      <a:pt x="84" y="288"/>
                    </a:lnTo>
                    <a:lnTo>
                      <a:pt x="84" y="276"/>
                    </a:lnTo>
                    <a:lnTo>
                      <a:pt x="96" y="276"/>
                    </a:lnTo>
                    <a:lnTo>
                      <a:pt x="96" y="264"/>
                    </a:lnTo>
                    <a:lnTo>
                      <a:pt x="84" y="264"/>
                    </a:lnTo>
                    <a:lnTo>
                      <a:pt x="84" y="252"/>
                    </a:lnTo>
                    <a:lnTo>
                      <a:pt x="90" y="252"/>
                    </a:lnTo>
                    <a:lnTo>
                      <a:pt x="108" y="252"/>
                    </a:lnTo>
                    <a:lnTo>
                      <a:pt x="108" y="234"/>
                    </a:lnTo>
                    <a:lnTo>
                      <a:pt x="114" y="228"/>
                    </a:lnTo>
                    <a:lnTo>
                      <a:pt x="114" y="222"/>
                    </a:lnTo>
                    <a:lnTo>
                      <a:pt x="120" y="222"/>
                    </a:lnTo>
                    <a:lnTo>
                      <a:pt x="126" y="222"/>
                    </a:lnTo>
                    <a:lnTo>
                      <a:pt x="144" y="222"/>
                    </a:lnTo>
                    <a:lnTo>
                      <a:pt x="150" y="216"/>
                    </a:lnTo>
                    <a:lnTo>
                      <a:pt x="156" y="216"/>
                    </a:lnTo>
                    <a:lnTo>
                      <a:pt x="162" y="210"/>
                    </a:lnTo>
                    <a:lnTo>
                      <a:pt x="168" y="198"/>
                    </a:lnTo>
                    <a:lnTo>
                      <a:pt x="168" y="192"/>
                    </a:lnTo>
                    <a:lnTo>
                      <a:pt x="162" y="174"/>
                    </a:lnTo>
                    <a:lnTo>
                      <a:pt x="156" y="162"/>
                    </a:lnTo>
                    <a:lnTo>
                      <a:pt x="156" y="156"/>
                    </a:lnTo>
                    <a:lnTo>
                      <a:pt x="156" y="150"/>
                    </a:lnTo>
                    <a:lnTo>
                      <a:pt x="156" y="144"/>
                    </a:lnTo>
                    <a:lnTo>
                      <a:pt x="150" y="132"/>
                    </a:lnTo>
                    <a:lnTo>
                      <a:pt x="150" y="120"/>
                    </a:lnTo>
                    <a:lnTo>
                      <a:pt x="156" y="114"/>
                    </a:lnTo>
                    <a:lnTo>
                      <a:pt x="162" y="102"/>
                    </a:lnTo>
                    <a:lnTo>
                      <a:pt x="168" y="90"/>
                    </a:lnTo>
                    <a:lnTo>
                      <a:pt x="174" y="84"/>
                    </a:lnTo>
                    <a:lnTo>
                      <a:pt x="198" y="60"/>
                    </a:lnTo>
                    <a:lnTo>
                      <a:pt x="204" y="54"/>
                    </a:lnTo>
                    <a:lnTo>
                      <a:pt x="204" y="48"/>
                    </a:lnTo>
                    <a:lnTo>
                      <a:pt x="198" y="48"/>
                    </a:lnTo>
                    <a:lnTo>
                      <a:pt x="198" y="42"/>
                    </a:lnTo>
                    <a:lnTo>
                      <a:pt x="192" y="42"/>
                    </a:lnTo>
                    <a:lnTo>
                      <a:pt x="192" y="54"/>
                    </a:lnTo>
                    <a:lnTo>
                      <a:pt x="186" y="60"/>
                    </a:lnTo>
                    <a:lnTo>
                      <a:pt x="186" y="66"/>
                    </a:lnTo>
                    <a:lnTo>
                      <a:pt x="150" y="66"/>
                    </a:lnTo>
                    <a:lnTo>
                      <a:pt x="162" y="36"/>
                    </a:lnTo>
                    <a:lnTo>
                      <a:pt x="132" y="24"/>
                    </a:lnTo>
                    <a:lnTo>
                      <a:pt x="132" y="18"/>
                    </a:lnTo>
                    <a:lnTo>
                      <a:pt x="120" y="18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14" y="6"/>
                    </a:lnTo>
                    <a:lnTo>
                      <a:pt x="108" y="0"/>
                    </a:lnTo>
                    <a:lnTo>
                      <a:pt x="102" y="0"/>
                    </a:lnTo>
                    <a:lnTo>
                      <a:pt x="90" y="12"/>
                    </a:lnTo>
                    <a:lnTo>
                      <a:pt x="90" y="6"/>
                    </a:lnTo>
                    <a:lnTo>
                      <a:pt x="84" y="0"/>
                    </a:lnTo>
                    <a:lnTo>
                      <a:pt x="72" y="0"/>
                    </a:lnTo>
                    <a:lnTo>
                      <a:pt x="72" y="6"/>
                    </a:lnTo>
                    <a:lnTo>
                      <a:pt x="6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10" name="Group 628"/>
            <p:cNvGrpSpPr>
              <a:grpSpLocks/>
            </p:cNvGrpSpPr>
            <p:nvPr/>
          </p:nvGrpSpPr>
          <p:grpSpPr bwMode="auto">
            <a:xfrm>
              <a:off x="6416503" y="3186625"/>
              <a:ext cx="805313" cy="742371"/>
              <a:chOff x="4021" y="1404"/>
              <a:chExt cx="396" cy="432"/>
            </a:xfrm>
            <a:solidFill>
              <a:srgbClr val="0070C0">
                <a:alpha val="27059"/>
              </a:srgbClr>
            </a:solidFill>
          </p:grpSpPr>
          <p:sp>
            <p:nvSpPr>
              <p:cNvPr id="1004" name="Freeform 629"/>
              <p:cNvSpPr>
                <a:spLocks/>
              </p:cNvSpPr>
              <p:nvPr/>
            </p:nvSpPr>
            <p:spPr bwMode="auto">
              <a:xfrm>
                <a:off x="4021" y="1404"/>
                <a:ext cx="396" cy="432"/>
              </a:xfrm>
              <a:custGeom>
                <a:avLst/>
                <a:gdLst>
                  <a:gd name="T0" fmla="*/ 240 w 396"/>
                  <a:gd name="T1" fmla="*/ 372 h 432"/>
                  <a:gd name="T2" fmla="*/ 288 w 396"/>
                  <a:gd name="T3" fmla="*/ 312 h 432"/>
                  <a:gd name="T4" fmla="*/ 336 w 396"/>
                  <a:gd name="T5" fmla="*/ 288 h 432"/>
                  <a:gd name="T6" fmla="*/ 354 w 396"/>
                  <a:gd name="T7" fmla="*/ 228 h 432"/>
                  <a:gd name="T8" fmla="*/ 396 w 396"/>
                  <a:gd name="T9" fmla="*/ 144 h 432"/>
                  <a:gd name="T10" fmla="*/ 396 w 396"/>
                  <a:gd name="T11" fmla="*/ 120 h 432"/>
                  <a:gd name="T12" fmla="*/ 378 w 396"/>
                  <a:gd name="T13" fmla="*/ 102 h 432"/>
                  <a:gd name="T14" fmla="*/ 300 w 396"/>
                  <a:gd name="T15" fmla="*/ 72 h 432"/>
                  <a:gd name="T16" fmla="*/ 288 w 396"/>
                  <a:gd name="T17" fmla="*/ 60 h 432"/>
                  <a:gd name="T18" fmla="*/ 252 w 396"/>
                  <a:gd name="T19" fmla="*/ 54 h 432"/>
                  <a:gd name="T20" fmla="*/ 216 w 396"/>
                  <a:gd name="T21" fmla="*/ 72 h 432"/>
                  <a:gd name="T22" fmla="*/ 222 w 396"/>
                  <a:gd name="T23" fmla="*/ 66 h 432"/>
                  <a:gd name="T24" fmla="*/ 240 w 396"/>
                  <a:gd name="T25" fmla="*/ 36 h 432"/>
                  <a:gd name="T26" fmla="*/ 210 w 396"/>
                  <a:gd name="T27" fmla="*/ 0 h 432"/>
                  <a:gd name="T28" fmla="*/ 198 w 396"/>
                  <a:gd name="T29" fmla="*/ 18 h 432"/>
                  <a:gd name="T30" fmla="*/ 186 w 396"/>
                  <a:gd name="T31" fmla="*/ 18 h 432"/>
                  <a:gd name="T32" fmla="*/ 174 w 396"/>
                  <a:gd name="T33" fmla="*/ 18 h 432"/>
                  <a:gd name="T34" fmla="*/ 162 w 396"/>
                  <a:gd name="T35" fmla="*/ 18 h 432"/>
                  <a:gd name="T36" fmla="*/ 150 w 396"/>
                  <a:gd name="T37" fmla="*/ 18 h 432"/>
                  <a:gd name="T38" fmla="*/ 138 w 396"/>
                  <a:gd name="T39" fmla="*/ 24 h 432"/>
                  <a:gd name="T40" fmla="*/ 132 w 396"/>
                  <a:gd name="T41" fmla="*/ 0 h 432"/>
                  <a:gd name="T42" fmla="*/ 120 w 396"/>
                  <a:gd name="T43" fmla="*/ 6 h 432"/>
                  <a:gd name="T44" fmla="*/ 96 w 396"/>
                  <a:gd name="T45" fmla="*/ 6 h 432"/>
                  <a:gd name="T46" fmla="*/ 90 w 396"/>
                  <a:gd name="T47" fmla="*/ 12 h 432"/>
                  <a:gd name="T48" fmla="*/ 102 w 396"/>
                  <a:gd name="T49" fmla="*/ 24 h 432"/>
                  <a:gd name="T50" fmla="*/ 60 w 396"/>
                  <a:gd name="T51" fmla="*/ 36 h 432"/>
                  <a:gd name="T52" fmla="*/ 42 w 396"/>
                  <a:gd name="T53" fmla="*/ 42 h 432"/>
                  <a:gd name="T54" fmla="*/ 42 w 396"/>
                  <a:gd name="T55" fmla="*/ 48 h 432"/>
                  <a:gd name="T56" fmla="*/ 42 w 396"/>
                  <a:gd name="T57" fmla="*/ 72 h 432"/>
                  <a:gd name="T58" fmla="*/ 36 w 396"/>
                  <a:gd name="T59" fmla="*/ 102 h 432"/>
                  <a:gd name="T60" fmla="*/ 12 w 396"/>
                  <a:gd name="T61" fmla="*/ 102 h 432"/>
                  <a:gd name="T62" fmla="*/ 0 w 396"/>
                  <a:gd name="T63" fmla="*/ 126 h 432"/>
                  <a:gd name="T64" fmla="*/ 6 w 396"/>
                  <a:gd name="T65" fmla="*/ 150 h 432"/>
                  <a:gd name="T66" fmla="*/ 12 w 396"/>
                  <a:gd name="T67" fmla="*/ 150 h 432"/>
                  <a:gd name="T68" fmla="*/ 30 w 396"/>
                  <a:gd name="T69" fmla="*/ 150 h 432"/>
                  <a:gd name="T70" fmla="*/ 36 w 396"/>
                  <a:gd name="T71" fmla="*/ 168 h 432"/>
                  <a:gd name="T72" fmla="*/ 66 w 396"/>
                  <a:gd name="T73" fmla="*/ 162 h 432"/>
                  <a:gd name="T74" fmla="*/ 78 w 396"/>
                  <a:gd name="T75" fmla="*/ 156 h 432"/>
                  <a:gd name="T76" fmla="*/ 84 w 396"/>
                  <a:gd name="T77" fmla="*/ 180 h 432"/>
                  <a:gd name="T78" fmla="*/ 114 w 396"/>
                  <a:gd name="T79" fmla="*/ 192 h 432"/>
                  <a:gd name="T80" fmla="*/ 132 w 396"/>
                  <a:gd name="T81" fmla="*/ 216 h 432"/>
                  <a:gd name="T82" fmla="*/ 156 w 396"/>
                  <a:gd name="T83" fmla="*/ 234 h 432"/>
                  <a:gd name="T84" fmla="*/ 162 w 396"/>
                  <a:gd name="T85" fmla="*/ 258 h 432"/>
                  <a:gd name="T86" fmla="*/ 162 w 396"/>
                  <a:gd name="T87" fmla="*/ 282 h 432"/>
                  <a:gd name="T88" fmla="*/ 180 w 396"/>
                  <a:gd name="T89" fmla="*/ 318 h 432"/>
                  <a:gd name="T90" fmla="*/ 192 w 396"/>
                  <a:gd name="T91" fmla="*/ 324 h 432"/>
                  <a:gd name="T92" fmla="*/ 204 w 396"/>
                  <a:gd name="T93" fmla="*/ 348 h 432"/>
                  <a:gd name="T94" fmla="*/ 162 w 396"/>
                  <a:gd name="T95" fmla="*/ 396 h 432"/>
                  <a:gd name="T96" fmla="*/ 180 w 396"/>
                  <a:gd name="T97" fmla="*/ 408 h 432"/>
                  <a:gd name="T98" fmla="*/ 210 w 396"/>
                  <a:gd name="T99" fmla="*/ 432 h 43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396" h="432">
                    <a:moveTo>
                      <a:pt x="216" y="420"/>
                    </a:moveTo>
                    <a:lnTo>
                      <a:pt x="222" y="414"/>
                    </a:lnTo>
                    <a:lnTo>
                      <a:pt x="228" y="396"/>
                    </a:lnTo>
                    <a:lnTo>
                      <a:pt x="240" y="372"/>
                    </a:lnTo>
                    <a:lnTo>
                      <a:pt x="252" y="348"/>
                    </a:lnTo>
                    <a:lnTo>
                      <a:pt x="258" y="336"/>
                    </a:lnTo>
                    <a:lnTo>
                      <a:pt x="270" y="324"/>
                    </a:lnTo>
                    <a:lnTo>
                      <a:pt x="288" y="312"/>
                    </a:lnTo>
                    <a:lnTo>
                      <a:pt x="312" y="306"/>
                    </a:lnTo>
                    <a:lnTo>
                      <a:pt x="318" y="300"/>
                    </a:lnTo>
                    <a:lnTo>
                      <a:pt x="324" y="294"/>
                    </a:lnTo>
                    <a:lnTo>
                      <a:pt x="336" y="288"/>
                    </a:lnTo>
                    <a:lnTo>
                      <a:pt x="342" y="276"/>
                    </a:lnTo>
                    <a:lnTo>
                      <a:pt x="348" y="258"/>
                    </a:lnTo>
                    <a:lnTo>
                      <a:pt x="354" y="240"/>
                    </a:lnTo>
                    <a:lnTo>
                      <a:pt x="354" y="228"/>
                    </a:lnTo>
                    <a:lnTo>
                      <a:pt x="354" y="216"/>
                    </a:lnTo>
                    <a:lnTo>
                      <a:pt x="384" y="162"/>
                    </a:lnTo>
                    <a:lnTo>
                      <a:pt x="390" y="156"/>
                    </a:lnTo>
                    <a:lnTo>
                      <a:pt x="396" y="144"/>
                    </a:lnTo>
                    <a:lnTo>
                      <a:pt x="396" y="138"/>
                    </a:lnTo>
                    <a:lnTo>
                      <a:pt x="396" y="132"/>
                    </a:lnTo>
                    <a:lnTo>
                      <a:pt x="396" y="126"/>
                    </a:lnTo>
                    <a:lnTo>
                      <a:pt x="396" y="120"/>
                    </a:lnTo>
                    <a:lnTo>
                      <a:pt x="396" y="114"/>
                    </a:lnTo>
                    <a:lnTo>
                      <a:pt x="390" y="108"/>
                    </a:lnTo>
                    <a:lnTo>
                      <a:pt x="384" y="102"/>
                    </a:lnTo>
                    <a:lnTo>
                      <a:pt x="378" y="102"/>
                    </a:lnTo>
                    <a:lnTo>
                      <a:pt x="366" y="90"/>
                    </a:lnTo>
                    <a:lnTo>
                      <a:pt x="348" y="84"/>
                    </a:lnTo>
                    <a:lnTo>
                      <a:pt x="336" y="84"/>
                    </a:lnTo>
                    <a:lnTo>
                      <a:pt x="300" y="72"/>
                    </a:lnTo>
                    <a:lnTo>
                      <a:pt x="288" y="72"/>
                    </a:lnTo>
                    <a:lnTo>
                      <a:pt x="282" y="72"/>
                    </a:lnTo>
                    <a:lnTo>
                      <a:pt x="288" y="66"/>
                    </a:lnTo>
                    <a:lnTo>
                      <a:pt x="288" y="60"/>
                    </a:lnTo>
                    <a:lnTo>
                      <a:pt x="282" y="60"/>
                    </a:lnTo>
                    <a:lnTo>
                      <a:pt x="276" y="60"/>
                    </a:lnTo>
                    <a:lnTo>
                      <a:pt x="252" y="54"/>
                    </a:lnTo>
                    <a:lnTo>
                      <a:pt x="234" y="60"/>
                    </a:lnTo>
                    <a:lnTo>
                      <a:pt x="228" y="66"/>
                    </a:lnTo>
                    <a:lnTo>
                      <a:pt x="222" y="72"/>
                    </a:lnTo>
                    <a:lnTo>
                      <a:pt x="216" y="72"/>
                    </a:lnTo>
                    <a:lnTo>
                      <a:pt x="210" y="72"/>
                    </a:lnTo>
                    <a:lnTo>
                      <a:pt x="216" y="72"/>
                    </a:lnTo>
                    <a:lnTo>
                      <a:pt x="216" y="66"/>
                    </a:lnTo>
                    <a:lnTo>
                      <a:pt x="222" y="66"/>
                    </a:lnTo>
                    <a:lnTo>
                      <a:pt x="228" y="54"/>
                    </a:lnTo>
                    <a:lnTo>
                      <a:pt x="234" y="48"/>
                    </a:lnTo>
                    <a:lnTo>
                      <a:pt x="240" y="42"/>
                    </a:lnTo>
                    <a:lnTo>
                      <a:pt x="240" y="36"/>
                    </a:lnTo>
                    <a:lnTo>
                      <a:pt x="240" y="30"/>
                    </a:lnTo>
                    <a:lnTo>
                      <a:pt x="234" y="18"/>
                    </a:lnTo>
                    <a:lnTo>
                      <a:pt x="222" y="6"/>
                    </a:lnTo>
                    <a:lnTo>
                      <a:pt x="210" y="0"/>
                    </a:lnTo>
                    <a:lnTo>
                      <a:pt x="210" y="6"/>
                    </a:lnTo>
                    <a:lnTo>
                      <a:pt x="204" y="6"/>
                    </a:lnTo>
                    <a:lnTo>
                      <a:pt x="198" y="18"/>
                    </a:lnTo>
                    <a:lnTo>
                      <a:pt x="192" y="18"/>
                    </a:lnTo>
                    <a:lnTo>
                      <a:pt x="186" y="18"/>
                    </a:lnTo>
                    <a:lnTo>
                      <a:pt x="180" y="18"/>
                    </a:lnTo>
                    <a:lnTo>
                      <a:pt x="174" y="18"/>
                    </a:lnTo>
                    <a:lnTo>
                      <a:pt x="168" y="18"/>
                    </a:lnTo>
                    <a:lnTo>
                      <a:pt x="162" y="18"/>
                    </a:lnTo>
                    <a:lnTo>
                      <a:pt x="162" y="24"/>
                    </a:lnTo>
                    <a:lnTo>
                      <a:pt x="150" y="18"/>
                    </a:lnTo>
                    <a:lnTo>
                      <a:pt x="144" y="24"/>
                    </a:lnTo>
                    <a:lnTo>
                      <a:pt x="138" y="24"/>
                    </a:lnTo>
                    <a:lnTo>
                      <a:pt x="138" y="18"/>
                    </a:lnTo>
                    <a:lnTo>
                      <a:pt x="138" y="12"/>
                    </a:lnTo>
                    <a:lnTo>
                      <a:pt x="138" y="6"/>
                    </a:lnTo>
                    <a:lnTo>
                      <a:pt x="132" y="0"/>
                    </a:lnTo>
                    <a:lnTo>
                      <a:pt x="132" y="6"/>
                    </a:lnTo>
                    <a:lnTo>
                      <a:pt x="126" y="6"/>
                    </a:lnTo>
                    <a:lnTo>
                      <a:pt x="120" y="6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02" y="6"/>
                    </a:lnTo>
                    <a:lnTo>
                      <a:pt x="96" y="6"/>
                    </a:lnTo>
                    <a:lnTo>
                      <a:pt x="90" y="6"/>
                    </a:lnTo>
                    <a:lnTo>
                      <a:pt x="90" y="12"/>
                    </a:lnTo>
                    <a:lnTo>
                      <a:pt x="90" y="18"/>
                    </a:lnTo>
                    <a:lnTo>
                      <a:pt x="96" y="18"/>
                    </a:lnTo>
                    <a:lnTo>
                      <a:pt x="102" y="18"/>
                    </a:lnTo>
                    <a:lnTo>
                      <a:pt x="102" y="24"/>
                    </a:lnTo>
                    <a:lnTo>
                      <a:pt x="96" y="30"/>
                    </a:lnTo>
                    <a:lnTo>
                      <a:pt x="84" y="42"/>
                    </a:lnTo>
                    <a:lnTo>
                      <a:pt x="66" y="42"/>
                    </a:lnTo>
                    <a:lnTo>
                      <a:pt x="60" y="36"/>
                    </a:lnTo>
                    <a:lnTo>
                      <a:pt x="54" y="30"/>
                    </a:lnTo>
                    <a:lnTo>
                      <a:pt x="36" y="36"/>
                    </a:lnTo>
                    <a:lnTo>
                      <a:pt x="42" y="42"/>
                    </a:lnTo>
                    <a:lnTo>
                      <a:pt x="48" y="48"/>
                    </a:lnTo>
                    <a:lnTo>
                      <a:pt x="42" y="48"/>
                    </a:lnTo>
                    <a:lnTo>
                      <a:pt x="42" y="54"/>
                    </a:lnTo>
                    <a:lnTo>
                      <a:pt x="42" y="60"/>
                    </a:lnTo>
                    <a:lnTo>
                      <a:pt x="42" y="66"/>
                    </a:lnTo>
                    <a:lnTo>
                      <a:pt x="42" y="72"/>
                    </a:lnTo>
                    <a:lnTo>
                      <a:pt x="36" y="96"/>
                    </a:lnTo>
                    <a:lnTo>
                      <a:pt x="36" y="102"/>
                    </a:lnTo>
                    <a:lnTo>
                      <a:pt x="30" y="96"/>
                    </a:lnTo>
                    <a:lnTo>
                      <a:pt x="24" y="102"/>
                    </a:lnTo>
                    <a:lnTo>
                      <a:pt x="18" y="102"/>
                    </a:lnTo>
                    <a:lnTo>
                      <a:pt x="12" y="102"/>
                    </a:lnTo>
                    <a:lnTo>
                      <a:pt x="6" y="114"/>
                    </a:lnTo>
                    <a:lnTo>
                      <a:pt x="6" y="120"/>
                    </a:lnTo>
                    <a:lnTo>
                      <a:pt x="0" y="126"/>
                    </a:lnTo>
                    <a:lnTo>
                      <a:pt x="0" y="132"/>
                    </a:lnTo>
                    <a:lnTo>
                      <a:pt x="0" y="144"/>
                    </a:lnTo>
                    <a:lnTo>
                      <a:pt x="6" y="144"/>
                    </a:lnTo>
                    <a:lnTo>
                      <a:pt x="6" y="150"/>
                    </a:lnTo>
                    <a:lnTo>
                      <a:pt x="0" y="150"/>
                    </a:lnTo>
                    <a:lnTo>
                      <a:pt x="6" y="150"/>
                    </a:lnTo>
                    <a:lnTo>
                      <a:pt x="12" y="150"/>
                    </a:lnTo>
                    <a:lnTo>
                      <a:pt x="18" y="156"/>
                    </a:lnTo>
                    <a:lnTo>
                      <a:pt x="24" y="156"/>
                    </a:lnTo>
                    <a:lnTo>
                      <a:pt x="30" y="150"/>
                    </a:lnTo>
                    <a:lnTo>
                      <a:pt x="30" y="168"/>
                    </a:lnTo>
                    <a:lnTo>
                      <a:pt x="36" y="168"/>
                    </a:lnTo>
                    <a:lnTo>
                      <a:pt x="54" y="168"/>
                    </a:lnTo>
                    <a:lnTo>
                      <a:pt x="60" y="168"/>
                    </a:lnTo>
                    <a:lnTo>
                      <a:pt x="66" y="162"/>
                    </a:lnTo>
                    <a:lnTo>
                      <a:pt x="72" y="162"/>
                    </a:lnTo>
                    <a:lnTo>
                      <a:pt x="78" y="162"/>
                    </a:lnTo>
                    <a:lnTo>
                      <a:pt x="78" y="156"/>
                    </a:lnTo>
                    <a:lnTo>
                      <a:pt x="84" y="156"/>
                    </a:lnTo>
                    <a:lnTo>
                      <a:pt x="84" y="162"/>
                    </a:lnTo>
                    <a:lnTo>
                      <a:pt x="84" y="168"/>
                    </a:lnTo>
                    <a:lnTo>
                      <a:pt x="84" y="180"/>
                    </a:lnTo>
                    <a:lnTo>
                      <a:pt x="96" y="186"/>
                    </a:lnTo>
                    <a:lnTo>
                      <a:pt x="102" y="192"/>
                    </a:lnTo>
                    <a:lnTo>
                      <a:pt x="108" y="192"/>
                    </a:lnTo>
                    <a:lnTo>
                      <a:pt x="114" y="192"/>
                    </a:lnTo>
                    <a:lnTo>
                      <a:pt x="114" y="198"/>
                    </a:lnTo>
                    <a:lnTo>
                      <a:pt x="120" y="204"/>
                    </a:lnTo>
                    <a:lnTo>
                      <a:pt x="126" y="210"/>
                    </a:lnTo>
                    <a:lnTo>
                      <a:pt x="132" y="216"/>
                    </a:lnTo>
                    <a:lnTo>
                      <a:pt x="138" y="222"/>
                    </a:lnTo>
                    <a:lnTo>
                      <a:pt x="156" y="222"/>
                    </a:lnTo>
                    <a:lnTo>
                      <a:pt x="156" y="228"/>
                    </a:lnTo>
                    <a:lnTo>
                      <a:pt x="156" y="234"/>
                    </a:lnTo>
                    <a:lnTo>
                      <a:pt x="162" y="240"/>
                    </a:lnTo>
                    <a:lnTo>
                      <a:pt x="162" y="258"/>
                    </a:lnTo>
                    <a:lnTo>
                      <a:pt x="162" y="270"/>
                    </a:lnTo>
                    <a:lnTo>
                      <a:pt x="162" y="276"/>
                    </a:lnTo>
                    <a:lnTo>
                      <a:pt x="156" y="276"/>
                    </a:lnTo>
                    <a:lnTo>
                      <a:pt x="162" y="282"/>
                    </a:lnTo>
                    <a:lnTo>
                      <a:pt x="162" y="288"/>
                    </a:lnTo>
                    <a:lnTo>
                      <a:pt x="162" y="312"/>
                    </a:lnTo>
                    <a:lnTo>
                      <a:pt x="168" y="318"/>
                    </a:lnTo>
                    <a:lnTo>
                      <a:pt x="180" y="318"/>
                    </a:lnTo>
                    <a:lnTo>
                      <a:pt x="186" y="318"/>
                    </a:lnTo>
                    <a:lnTo>
                      <a:pt x="192" y="324"/>
                    </a:lnTo>
                    <a:lnTo>
                      <a:pt x="192" y="336"/>
                    </a:lnTo>
                    <a:lnTo>
                      <a:pt x="198" y="342"/>
                    </a:lnTo>
                    <a:lnTo>
                      <a:pt x="204" y="342"/>
                    </a:lnTo>
                    <a:lnTo>
                      <a:pt x="204" y="348"/>
                    </a:lnTo>
                    <a:lnTo>
                      <a:pt x="198" y="354"/>
                    </a:lnTo>
                    <a:lnTo>
                      <a:pt x="174" y="378"/>
                    </a:lnTo>
                    <a:lnTo>
                      <a:pt x="168" y="384"/>
                    </a:lnTo>
                    <a:lnTo>
                      <a:pt x="162" y="396"/>
                    </a:lnTo>
                    <a:lnTo>
                      <a:pt x="168" y="396"/>
                    </a:lnTo>
                    <a:lnTo>
                      <a:pt x="174" y="396"/>
                    </a:lnTo>
                    <a:lnTo>
                      <a:pt x="180" y="408"/>
                    </a:lnTo>
                    <a:lnTo>
                      <a:pt x="186" y="408"/>
                    </a:lnTo>
                    <a:lnTo>
                      <a:pt x="198" y="414"/>
                    </a:lnTo>
                    <a:lnTo>
                      <a:pt x="210" y="426"/>
                    </a:lnTo>
                    <a:lnTo>
                      <a:pt x="210" y="432"/>
                    </a:lnTo>
                    <a:lnTo>
                      <a:pt x="216" y="42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05" name="Freeform 630"/>
              <p:cNvSpPr>
                <a:spLocks/>
              </p:cNvSpPr>
              <p:nvPr/>
            </p:nvSpPr>
            <p:spPr bwMode="auto">
              <a:xfrm>
                <a:off x="4021" y="1404"/>
                <a:ext cx="396" cy="432"/>
              </a:xfrm>
              <a:custGeom>
                <a:avLst/>
                <a:gdLst>
                  <a:gd name="T0" fmla="*/ 228 w 396"/>
                  <a:gd name="T1" fmla="*/ 396 h 432"/>
                  <a:gd name="T2" fmla="*/ 258 w 396"/>
                  <a:gd name="T3" fmla="*/ 336 h 432"/>
                  <a:gd name="T4" fmla="*/ 312 w 396"/>
                  <a:gd name="T5" fmla="*/ 306 h 432"/>
                  <a:gd name="T6" fmla="*/ 336 w 396"/>
                  <a:gd name="T7" fmla="*/ 288 h 432"/>
                  <a:gd name="T8" fmla="*/ 354 w 396"/>
                  <a:gd name="T9" fmla="*/ 240 h 432"/>
                  <a:gd name="T10" fmla="*/ 384 w 396"/>
                  <a:gd name="T11" fmla="*/ 162 h 432"/>
                  <a:gd name="T12" fmla="*/ 396 w 396"/>
                  <a:gd name="T13" fmla="*/ 138 h 432"/>
                  <a:gd name="T14" fmla="*/ 396 w 396"/>
                  <a:gd name="T15" fmla="*/ 120 h 432"/>
                  <a:gd name="T16" fmla="*/ 384 w 396"/>
                  <a:gd name="T17" fmla="*/ 102 h 432"/>
                  <a:gd name="T18" fmla="*/ 348 w 396"/>
                  <a:gd name="T19" fmla="*/ 84 h 432"/>
                  <a:gd name="T20" fmla="*/ 288 w 396"/>
                  <a:gd name="T21" fmla="*/ 72 h 432"/>
                  <a:gd name="T22" fmla="*/ 288 w 396"/>
                  <a:gd name="T23" fmla="*/ 60 h 432"/>
                  <a:gd name="T24" fmla="*/ 252 w 396"/>
                  <a:gd name="T25" fmla="*/ 54 h 432"/>
                  <a:gd name="T26" fmla="*/ 222 w 396"/>
                  <a:gd name="T27" fmla="*/ 72 h 432"/>
                  <a:gd name="T28" fmla="*/ 216 w 396"/>
                  <a:gd name="T29" fmla="*/ 72 h 432"/>
                  <a:gd name="T30" fmla="*/ 228 w 396"/>
                  <a:gd name="T31" fmla="*/ 54 h 432"/>
                  <a:gd name="T32" fmla="*/ 240 w 396"/>
                  <a:gd name="T33" fmla="*/ 36 h 432"/>
                  <a:gd name="T34" fmla="*/ 222 w 396"/>
                  <a:gd name="T35" fmla="*/ 6 h 432"/>
                  <a:gd name="T36" fmla="*/ 204 w 396"/>
                  <a:gd name="T37" fmla="*/ 6 h 432"/>
                  <a:gd name="T38" fmla="*/ 186 w 396"/>
                  <a:gd name="T39" fmla="*/ 18 h 432"/>
                  <a:gd name="T40" fmla="*/ 168 w 396"/>
                  <a:gd name="T41" fmla="*/ 18 h 432"/>
                  <a:gd name="T42" fmla="*/ 150 w 396"/>
                  <a:gd name="T43" fmla="*/ 18 h 432"/>
                  <a:gd name="T44" fmla="*/ 138 w 396"/>
                  <a:gd name="T45" fmla="*/ 18 h 432"/>
                  <a:gd name="T46" fmla="*/ 132 w 396"/>
                  <a:gd name="T47" fmla="*/ 0 h 432"/>
                  <a:gd name="T48" fmla="*/ 120 w 396"/>
                  <a:gd name="T49" fmla="*/ 6 h 432"/>
                  <a:gd name="T50" fmla="*/ 102 w 396"/>
                  <a:gd name="T51" fmla="*/ 6 h 432"/>
                  <a:gd name="T52" fmla="*/ 90 w 396"/>
                  <a:gd name="T53" fmla="*/ 12 h 432"/>
                  <a:gd name="T54" fmla="*/ 102 w 396"/>
                  <a:gd name="T55" fmla="*/ 18 h 432"/>
                  <a:gd name="T56" fmla="*/ 84 w 396"/>
                  <a:gd name="T57" fmla="*/ 42 h 432"/>
                  <a:gd name="T58" fmla="*/ 54 w 396"/>
                  <a:gd name="T59" fmla="*/ 30 h 432"/>
                  <a:gd name="T60" fmla="*/ 48 w 396"/>
                  <a:gd name="T61" fmla="*/ 48 h 432"/>
                  <a:gd name="T62" fmla="*/ 42 w 396"/>
                  <a:gd name="T63" fmla="*/ 60 h 432"/>
                  <a:gd name="T64" fmla="*/ 36 w 396"/>
                  <a:gd name="T65" fmla="*/ 96 h 432"/>
                  <a:gd name="T66" fmla="*/ 24 w 396"/>
                  <a:gd name="T67" fmla="*/ 102 h 432"/>
                  <a:gd name="T68" fmla="*/ 6 w 396"/>
                  <a:gd name="T69" fmla="*/ 114 h 432"/>
                  <a:gd name="T70" fmla="*/ 0 w 396"/>
                  <a:gd name="T71" fmla="*/ 132 h 432"/>
                  <a:gd name="T72" fmla="*/ 6 w 396"/>
                  <a:gd name="T73" fmla="*/ 150 h 432"/>
                  <a:gd name="T74" fmla="*/ 12 w 396"/>
                  <a:gd name="T75" fmla="*/ 150 h 432"/>
                  <a:gd name="T76" fmla="*/ 30 w 396"/>
                  <a:gd name="T77" fmla="*/ 150 h 432"/>
                  <a:gd name="T78" fmla="*/ 54 w 396"/>
                  <a:gd name="T79" fmla="*/ 168 h 432"/>
                  <a:gd name="T80" fmla="*/ 72 w 396"/>
                  <a:gd name="T81" fmla="*/ 162 h 432"/>
                  <a:gd name="T82" fmla="*/ 84 w 396"/>
                  <a:gd name="T83" fmla="*/ 156 h 432"/>
                  <a:gd name="T84" fmla="*/ 84 w 396"/>
                  <a:gd name="T85" fmla="*/ 180 h 432"/>
                  <a:gd name="T86" fmla="*/ 108 w 396"/>
                  <a:gd name="T87" fmla="*/ 192 h 432"/>
                  <a:gd name="T88" fmla="*/ 120 w 396"/>
                  <a:gd name="T89" fmla="*/ 204 h 432"/>
                  <a:gd name="T90" fmla="*/ 138 w 396"/>
                  <a:gd name="T91" fmla="*/ 222 h 432"/>
                  <a:gd name="T92" fmla="*/ 156 w 396"/>
                  <a:gd name="T93" fmla="*/ 234 h 432"/>
                  <a:gd name="T94" fmla="*/ 162 w 396"/>
                  <a:gd name="T95" fmla="*/ 270 h 432"/>
                  <a:gd name="T96" fmla="*/ 162 w 396"/>
                  <a:gd name="T97" fmla="*/ 282 h 432"/>
                  <a:gd name="T98" fmla="*/ 168 w 396"/>
                  <a:gd name="T99" fmla="*/ 318 h 432"/>
                  <a:gd name="T100" fmla="*/ 192 w 396"/>
                  <a:gd name="T101" fmla="*/ 324 h 432"/>
                  <a:gd name="T102" fmla="*/ 204 w 396"/>
                  <a:gd name="T103" fmla="*/ 342 h 432"/>
                  <a:gd name="T104" fmla="*/ 174 w 396"/>
                  <a:gd name="T105" fmla="*/ 378 h 432"/>
                  <a:gd name="T106" fmla="*/ 168 w 396"/>
                  <a:gd name="T107" fmla="*/ 396 h 432"/>
                  <a:gd name="T108" fmla="*/ 186 w 396"/>
                  <a:gd name="T109" fmla="*/ 408 h 432"/>
                  <a:gd name="T110" fmla="*/ 210 w 396"/>
                  <a:gd name="T111" fmla="*/ 432 h 43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396" h="432">
                    <a:moveTo>
                      <a:pt x="216" y="420"/>
                    </a:moveTo>
                    <a:lnTo>
                      <a:pt x="222" y="414"/>
                    </a:lnTo>
                    <a:lnTo>
                      <a:pt x="228" y="396"/>
                    </a:lnTo>
                    <a:lnTo>
                      <a:pt x="240" y="372"/>
                    </a:lnTo>
                    <a:lnTo>
                      <a:pt x="252" y="348"/>
                    </a:lnTo>
                    <a:lnTo>
                      <a:pt x="258" y="336"/>
                    </a:lnTo>
                    <a:lnTo>
                      <a:pt x="270" y="324"/>
                    </a:lnTo>
                    <a:lnTo>
                      <a:pt x="288" y="312"/>
                    </a:lnTo>
                    <a:lnTo>
                      <a:pt x="312" y="306"/>
                    </a:lnTo>
                    <a:lnTo>
                      <a:pt x="318" y="300"/>
                    </a:lnTo>
                    <a:lnTo>
                      <a:pt x="324" y="294"/>
                    </a:lnTo>
                    <a:lnTo>
                      <a:pt x="336" y="288"/>
                    </a:lnTo>
                    <a:lnTo>
                      <a:pt x="342" y="276"/>
                    </a:lnTo>
                    <a:lnTo>
                      <a:pt x="348" y="258"/>
                    </a:lnTo>
                    <a:lnTo>
                      <a:pt x="354" y="240"/>
                    </a:lnTo>
                    <a:lnTo>
                      <a:pt x="354" y="228"/>
                    </a:lnTo>
                    <a:lnTo>
                      <a:pt x="354" y="216"/>
                    </a:lnTo>
                    <a:lnTo>
                      <a:pt x="384" y="162"/>
                    </a:lnTo>
                    <a:lnTo>
                      <a:pt x="390" y="156"/>
                    </a:lnTo>
                    <a:lnTo>
                      <a:pt x="396" y="144"/>
                    </a:lnTo>
                    <a:lnTo>
                      <a:pt x="396" y="138"/>
                    </a:lnTo>
                    <a:lnTo>
                      <a:pt x="396" y="132"/>
                    </a:lnTo>
                    <a:lnTo>
                      <a:pt x="396" y="126"/>
                    </a:lnTo>
                    <a:lnTo>
                      <a:pt x="396" y="120"/>
                    </a:lnTo>
                    <a:lnTo>
                      <a:pt x="396" y="114"/>
                    </a:lnTo>
                    <a:lnTo>
                      <a:pt x="390" y="108"/>
                    </a:lnTo>
                    <a:lnTo>
                      <a:pt x="384" y="102"/>
                    </a:lnTo>
                    <a:lnTo>
                      <a:pt x="378" y="102"/>
                    </a:lnTo>
                    <a:lnTo>
                      <a:pt x="366" y="90"/>
                    </a:lnTo>
                    <a:lnTo>
                      <a:pt x="348" y="84"/>
                    </a:lnTo>
                    <a:lnTo>
                      <a:pt x="336" y="84"/>
                    </a:lnTo>
                    <a:lnTo>
                      <a:pt x="300" y="72"/>
                    </a:lnTo>
                    <a:lnTo>
                      <a:pt x="288" y="72"/>
                    </a:lnTo>
                    <a:lnTo>
                      <a:pt x="282" y="72"/>
                    </a:lnTo>
                    <a:lnTo>
                      <a:pt x="288" y="66"/>
                    </a:lnTo>
                    <a:lnTo>
                      <a:pt x="288" y="60"/>
                    </a:lnTo>
                    <a:lnTo>
                      <a:pt x="282" y="60"/>
                    </a:lnTo>
                    <a:lnTo>
                      <a:pt x="276" y="60"/>
                    </a:lnTo>
                    <a:lnTo>
                      <a:pt x="252" y="54"/>
                    </a:lnTo>
                    <a:lnTo>
                      <a:pt x="234" y="60"/>
                    </a:lnTo>
                    <a:lnTo>
                      <a:pt x="228" y="66"/>
                    </a:lnTo>
                    <a:lnTo>
                      <a:pt x="222" y="72"/>
                    </a:lnTo>
                    <a:lnTo>
                      <a:pt x="216" y="72"/>
                    </a:lnTo>
                    <a:lnTo>
                      <a:pt x="210" y="72"/>
                    </a:lnTo>
                    <a:lnTo>
                      <a:pt x="216" y="72"/>
                    </a:lnTo>
                    <a:lnTo>
                      <a:pt x="216" y="66"/>
                    </a:lnTo>
                    <a:lnTo>
                      <a:pt x="222" y="66"/>
                    </a:lnTo>
                    <a:lnTo>
                      <a:pt x="228" y="54"/>
                    </a:lnTo>
                    <a:lnTo>
                      <a:pt x="234" y="48"/>
                    </a:lnTo>
                    <a:lnTo>
                      <a:pt x="240" y="42"/>
                    </a:lnTo>
                    <a:lnTo>
                      <a:pt x="240" y="36"/>
                    </a:lnTo>
                    <a:lnTo>
                      <a:pt x="240" y="30"/>
                    </a:lnTo>
                    <a:lnTo>
                      <a:pt x="234" y="18"/>
                    </a:lnTo>
                    <a:lnTo>
                      <a:pt x="222" y="6"/>
                    </a:lnTo>
                    <a:lnTo>
                      <a:pt x="210" y="0"/>
                    </a:lnTo>
                    <a:lnTo>
                      <a:pt x="210" y="6"/>
                    </a:lnTo>
                    <a:lnTo>
                      <a:pt x="204" y="6"/>
                    </a:lnTo>
                    <a:lnTo>
                      <a:pt x="198" y="18"/>
                    </a:lnTo>
                    <a:lnTo>
                      <a:pt x="192" y="18"/>
                    </a:lnTo>
                    <a:lnTo>
                      <a:pt x="186" y="18"/>
                    </a:lnTo>
                    <a:lnTo>
                      <a:pt x="180" y="18"/>
                    </a:lnTo>
                    <a:lnTo>
                      <a:pt x="174" y="18"/>
                    </a:lnTo>
                    <a:lnTo>
                      <a:pt x="168" y="18"/>
                    </a:lnTo>
                    <a:lnTo>
                      <a:pt x="162" y="18"/>
                    </a:lnTo>
                    <a:lnTo>
                      <a:pt x="162" y="24"/>
                    </a:lnTo>
                    <a:lnTo>
                      <a:pt x="150" y="18"/>
                    </a:lnTo>
                    <a:lnTo>
                      <a:pt x="144" y="24"/>
                    </a:lnTo>
                    <a:lnTo>
                      <a:pt x="138" y="24"/>
                    </a:lnTo>
                    <a:lnTo>
                      <a:pt x="138" y="18"/>
                    </a:lnTo>
                    <a:lnTo>
                      <a:pt x="138" y="12"/>
                    </a:lnTo>
                    <a:lnTo>
                      <a:pt x="138" y="6"/>
                    </a:lnTo>
                    <a:lnTo>
                      <a:pt x="132" y="0"/>
                    </a:lnTo>
                    <a:lnTo>
                      <a:pt x="132" y="6"/>
                    </a:lnTo>
                    <a:lnTo>
                      <a:pt x="126" y="6"/>
                    </a:lnTo>
                    <a:lnTo>
                      <a:pt x="120" y="6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02" y="6"/>
                    </a:lnTo>
                    <a:lnTo>
                      <a:pt x="96" y="6"/>
                    </a:lnTo>
                    <a:lnTo>
                      <a:pt x="90" y="6"/>
                    </a:lnTo>
                    <a:lnTo>
                      <a:pt x="90" y="12"/>
                    </a:lnTo>
                    <a:lnTo>
                      <a:pt x="90" y="18"/>
                    </a:lnTo>
                    <a:lnTo>
                      <a:pt x="96" y="18"/>
                    </a:lnTo>
                    <a:lnTo>
                      <a:pt x="102" y="18"/>
                    </a:lnTo>
                    <a:lnTo>
                      <a:pt x="102" y="24"/>
                    </a:lnTo>
                    <a:lnTo>
                      <a:pt x="96" y="30"/>
                    </a:lnTo>
                    <a:lnTo>
                      <a:pt x="84" y="42"/>
                    </a:lnTo>
                    <a:lnTo>
                      <a:pt x="66" y="42"/>
                    </a:lnTo>
                    <a:lnTo>
                      <a:pt x="60" y="36"/>
                    </a:lnTo>
                    <a:lnTo>
                      <a:pt x="54" y="30"/>
                    </a:lnTo>
                    <a:lnTo>
                      <a:pt x="36" y="36"/>
                    </a:lnTo>
                    <a:lnTo>
                      <a:pt x="42" y="42"/>
                    </a:lnTo>
                    <a:lnTo>
                      <a:pt x="48" y="48"/>
                    </a:lnTo>
                    <a:lnTo>
                      <a:pt x="42" y="48"/>
                    </a:lnTo>
                    <a:lnTo>
                      <a:pt x="42" y="54"/>
                    </a:lnTo>
                    <a:lnTo>
                      <a:pt x="42" y="60"/>
                    </a:lnTo>
                    <a:lnTo>
                      <a:pt x="42" y="66"/>
                    </a:lnTo>
                    <a:lnTo>
                      <a:pt x="42" y="72"/>
                    </a:lnTo>
                    <a:lnTo>
                      <a:pt x="36" y="96"/>
                    </a:lnTo>
                    <a:lnTo>
                      <a:pt x="36" y="102"/>
                    </a:lnTo>
                    <a:lnTo>
                      <a:pt x="30" y="96"/>
                    </a:lnTo>
                    <a:lnTo>
                      <a:pt x="24" y="102"/>
                    </a:lnTo>
                    <a:lnTo>
                      <a:pt x="18" y="102"/>
                    </a:lnTo>
                    <a:lnTo>
                      <a:pt x="12" y="102"/>
                    </a:lnTo>
                    <a:lnTo>
                      <a:pt x="6" y="114"/>
                    </a:lnTo>
                    <a:lnTo>
                      <a:pt x="6" y="120"/>
                    </a:lnTo>
                    <a:lnTo>
                      <a:pt x="0" y="126"/>
                    </a:lnTo>
                    <a:lnTo>
                      <a:pt x="0" y="132"/>
                    </a:lnTo>
                    <a:lnTo>
                      <a:pt x="0" y="144"/>
                    </a:lnTo>
                    <a:lnTo>
                      <a:pt x="6" y="144"/>
                    </a:lnTo>
                    <a:lnTo>
                      <a:pt x="6" y="150"/>
                    </a:lnTo>
                    <a:lnTo>
                      <a:pt x="0" y="150"/>
                    </a:lnTo>
                    <a:lnTo>
                      <a:pt x="6" y="150"/>
                    </a:lnTo>
                    <a:lnTo>
                      <a:pt x="12" y="150"/>
                    </a:lnTo>
                    <a:lnTo>
                      <a:pt x="18" y="156"/>
                    </a:lnTo>
                    <a:lnTo>
                      <a:pt x="24" y="156"/>
                    </a:lnTo>
                    <a:lnTo>
                      <a:pt x="30" y="150"/>
                    </a:lnTo>
                    <a:lnTo>
                      <a:pt x="30" y="168"/>
                    </a:lnTo>
                    <a:lnTo>
                      <a:pt x="36" y="168"/>
                    </a:lnTo>
                    <a:lnTo>
                      <a:pt x="54" y="168"/>
                    </a:lnTo>
                    <a:lnTo>
                      <a:pt x="60" y="168"/>
                    </a:lnTo>
                    <a:lnTo>
                      <a:pt x="66" y="162"/>
                    </a:lnTo>
                    <a:lnTo>
                      <a:pt x="72" y="162"/>
                    </a:lnTo>
                    <a:lnTo>
                      <a:pt x="78" y="162"/>
                    </a:lnTo>
                    <a:lnTo>
                      <a:pt x="78" y="156"/>
                    </a:lnTo>
                    <a:lnTo>
                      <a:pt x="84" y="156"/>
                    </a:lnTo>
                    <a:lnTo>
                      <a:pt x="84" y="162"/>
                    </a:lnTo>
                    <a:lnTo>
                      <a:pt x="84" y="168"/>
                    </a:lnTo>
                    <a:lnTo>
                      <a:pt x="84" y="180"/>
                    </a:lnTo>
                    <a:lnTo>
                      <a:pt x="96" y="186"/>
                    </a:lnTo>
                    <a:lnTo>
                      <a:pt x="102" y="192"/>
                    </a:lnTo>
                    <a:lnTo>
                      <a:pt x="108" y="192"/>
                    </a:lnTo>
                    <a:lnTo>
                      <a:pt x="114" y="192"/>
                    </a:lnTo>
                    <a:lnTo>
                      <a:pt x="114" y="198"/>
                    </a:lnTo>
                    <a:lnTo>
                      <a:pt x="120" y="204"/>
                    </a:lnTo>
                    <a:lnTo>
                      <a:pt x="126" y="210"/>
                    </a:lnTo>
                    <a:lnTo>
                      <a:pt x="132" y="216"/>
                    </a:lnTo>
                    <a:lnTo>
                      <a:pt x="138" y="222"/>
                    </a:lnTo>
                    <a:lnTo>
                      <a:pt x="156" y="222"/>
                    </a:lnTo>
                    <a:lnTo>
                      <a:pt x="156" y="228"/>
                    </a:lnTo>
                    <a:lnTo>
                      <a:pt x="156" y="234"/>
                    </a:lnTo>
                    <a:lnTo>
                      <a:pt x="162" y="240"/>
                    </a:lnTo>
                    <a:lnTo>
                      <a:pt x="162" y="258"/>
                    </a:lnTo>
                    <a:lnTo>
                      <a:pt x="162" y="270"/>
                    </a:lnTo>
                    <a:lnTo>
                      <a:pt x="162" y="276"/>
                    </a:lnTo>
                    <a:lnTo>
                      <a:pt x="156" y="276"/>
                    </a:lnTo>
                    <a:lnTo>
                      <a:pt x="162" y="282"/>
                    </a:lnTo>
                    <a:lnTo>
                      <a:pt x="162" y="288"/>
                    </a:lnTo>
                    <a:lnTo>
                      <a:pt x="162" y="312"/>
                    </a:lnTo>
                    <a:lnTo>
                      <a:pt x="168" y="318"/>
                    </a:lnTo>
                    <a:lnTo>
                      <a:pt x="180" y="318"/>
                    </a:lnTo>
                    <a:lnTo>
                      <a:pt x="186" y="318"/>
                    </a:lnTo>
                    <a:lnTo>
                      <a:pt x="192" y="324"/>
                    </a:lnTo>
                    <a:lnTo>
                      <a:pt x="192" y="336"/>
                    </a:lnTo>
                    <a:lnTo>
                      <a:pt x="198" y="342"/>
                    </a:lnTo>
                    <a:lnTo>
                      <a:pt x="204" y="342"/>
                    </a:lnTo>
                    <a:lnTo>
                      <a:pt x="204" y="348"/>
                    </a:lnTo>
                    <a:lnTo>
                      <a:pt x="198" y="354"/>
                    </a:lnTo>
                    <a:lnTo>
                      <a:pt x="174" y="378"/>
                    </a:lnTo>
                    <a:lnTo>
                      <a:pt x="168" y="384"/>
                    </a:lnTo>
                    <a:lnTo>
                      <a:pt x="162" y="396"/>
                    </a:lnTo>
                    <a:lnTo>
                      <a:pt x="168" y="396"/>
                    </a:lnTo>
                    <a:lnTo>
                      <a:pt x="174" y="396"/>
                    </a:lnTo>
                    <a:lnTo>
                      <a:pt x="180" y="408"/>
                    </a:lnTo>
                    <a:lnTo>
                      <a:pt x="186" y="408"/>
                    </a:lnTo>
                    <a:lnTo>
                      <a:pt x="198" y="414"/>
                    </a:lnTo>
                    <a:lnTo>
                      <a:pt x="210" y="426"/>
                    </a:lnTo>
                    <a:lnTo>
                      <a:pt x="210" y="432"/>
                    </a:lnTo>
                    <a:lnTo>
                      <a:pt x="216" y="42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11" name="Group 631"/>
            <p:cNvGrpSpPr>
              <a:grpSpLocks/>
            </p:cNvGrpSpPr>
            <p:nvPr/>
          </p:nvGrpSpPr>
          <p:grpSpPr bwMode="auto">
            <a:xfrm>
              <a:off x="6383829" y="3577027"/>
              <a:ext cx="249858" cy="970949"/>
              <a:chOff x="3989" y="1631"/>
              <a:chExt cx="122" cy="565"/>
            </a:xfrm>
            <a:solidFill>
              <a:srgbClr val="0070C0">
                <a:alpha val="27059"/>
              </a:srgbClr>
            </a:solidFill>
          </p:grpSpPr>
          <p:sp>
            <p:nvSpPr>
              <p:cNvPr id="1002" name="Freeform 632"/>
              <p:cNvSpPr>
                <a:spLocks/>
              </p:cNvSpPr>
              <p:nvPr/>
            </p:nvSpPr>
            <p:spPr bwMode="auto">
              <a:xfrm>
                <a:off x="3997" y="1632"/>
                <a:ext cx="114" cy="564"/>
              </a:xfrm>
              <a:custGeom>
                <a:avLst/>
                <a:gdLst>
                  <a:gd name="T0" fmla="*/ 108 w 114"/>
                  <a:gd name="T1" fmla="*/ 564 h 564"/>
                  <a:gd name="T2" fmla="*/ 96 w 114"/>
                  <a:gd name="T3" fmla="*/ 558 h 564"/>
                  <a:gd name="T4" fmla="*/ 84 w 114"/>
                  <a:gd name="T5" fmla="*/ 564 h 564"/>
                  <a:gd name="T6" fmla="*/ 78 w 114"/>
                  <a:gd name="T7" fmla="*/ 558 h 564"/>
                  <a:gd name="T8" fmla="*/ 78 w 114"/>
                  <a:gd name="T9" fmla="*/ 552 h 564"/>
                  <a:gd name="T10" fmla="*/ 72 w 114"/>
                  <a:gd name="T11" fmla="*/ 558 h 564"/>
                  <a:gd name="T12" fmla="*/ 54 w 114"/>
                  <a:gd name="T13" fmla="*/ 546 h 564"/>
                  <a:gd name="T14" fmla="*/ 42 w 114"/>
                  <a:gd name="T15" fmla="*/ 540 h 564"/>
                  <a:gd name="T16" fmla="*/ 54 w 114"/>
                  <a:gd name="T17" fmla="*/ 522 h 564"/>
                  <a:gd name="T18" fmla="*/ 48 w 114"/>
                  <a:gd name="T19" fmla="*/ 510 h 564"/>
                  <a:gd name="T20" fmla="*/ 36 w 114"/>
                  <a:gd name="T21" fmla="*/ 504 h 564"/>
                  <a:gd name="T22" fmla="*/ 24 w 114"/>
                  <a:gd name="T23" fmla="*/ 516 h 564"/>
                  <a:gd name="T24" fmla="*/ 0 w 114"/>
                  <a:gd name="T25" fmla="*/ 480 h 564"/>
                  <a:gd name="T26" fmla="*/ 0 w 114"/>
                  <a:gd name="T27" fmla="*/ 438 h 564"/>
                  <a:gd name="T28" fmla="*/ 18 w 114"/>
                  <a:gd name="T29" fmla="*/ 384 h 564"/>
                  <a:gd name="T30" fmla="*/ 24 w 114"/>
                  <a:gd name="T31" fmla="*/ 336 h 564"/>
                  <a:gd name="T32" fmla="*/ 24 w 114"/>
                  <a:gd name="T33" fmla="*/ 312 h 564"/>
                  <a:gd name="T34" fmla="*/ 18 w 114"/>
                  <a:gd name="T35" fmla="*/ 300 h 564"/>
                  <a:gd name="T36" fmla="*/ 30 w 114"/>
                  <a:gd name="T37" fmla="*/ 294 h 564"/>
                  <a:gd name="T38" fmla="*/ 36 w 114"/>
                  <a:gd name="T39" fmla="*/ 276 h 564"/>
                  <a:gd name="T40" fmla="*/ 36 w 114"/>
                  <a:gd name="T41" fmla="*/ 258 h 564"/>
                  <a:gd name="T42" fmla="*/ 36 w 114"/>
                  <a:gd name="T43" fmla="*/ 252 h 564"/>
                  <a:gd name="T44" fmla="*/ 30 w 114"/>
                  <a:gd name="T45" fmla="*/ 258 h 564"/>
                  <a:gd name="T46" fmla="*/ 30 w 114"/>
                  <a:gd name="T47" fmla="*/ 276 h 564"/>
                  <a:gd name="T48" fmla="*/ 24 w 114"/>
                  <a:gd name="T49" fmla="*/ 282 h 564"/>
                  <a:gd name="T50" fmla="*/ 18 w 114"/>
                  <a:gd name="T51" fmla="*/ 264 h 564"/>
                  <a:gd name="T52" fmla="*/ 30 w 114"/>
                  <a:gd name="T53" fmla="*/ 228 h 564"/>
                  <a:gd name="T54" fmla="*/ 36 w 114"/>
                  <a:gd name="T55" fmla="*/ 186 h 564"/>
                  <a:gd name="T56" fmla="*/ 42 w 114"/>
                  <a:gd name="T57" fmla="*/ 156 h 564"/>
                  <a:gd name="T58" fmla="*/ 48 w 114"/>
                  <a:gd name="T59" fmla="*/ 120 h 564"/>
                  <a:gd name="T60" fmla="*/ 54 w 114"/>
                  <a:gd name="T61" fmla="*/ 96 h 564"/>
                  <a:gd name="T62" fmla="*/ 54 w 114"/>
                  <a:gd name="T63" fmla="*/ 78 h 564"/>
                  <a:gd name="T64" fmla="*/ 54 w 114"/>
                  <a:gd name="T65" fmla="*/ 54 h 564"/>
                  <a:gd name="T66" fmla="*/ 54 w 114"/>
                  <a:gd name="T67" fmla="*/ 24 h 564"/>
                  <a:gd name="T68" fmla="*/ 36 w 114"/>
                  <a:gd name="T69" fmla="*/ 6 h 564"/>
                  <a:gd name="T70" fmla="*/ 42 w 114"/>
                  <a:gd name="T71" fmla="*/ 6 h 564"/>
                  <a:gd name="T72" fmla="*/ 54 w 114"/>
                  <a:gd name="T73" fmla="*/ 6 h 564"/>
                  <a:gd name="T74" fmla="*/ 72 w 114"/>
                  <a:gd name="T75" fmla="*/ 36 h 564"/>
                  <a:gd name="T76" fmla="*/ 78 w 114"/>
                  <a:gd name="T77" fmla="*/ 42 h 564"/>
                  <a:gd name="T78" fmla="*/ 84 w 114"/>
                  <a:gd name="T79" fmla="*/ 78 h 564"/>
                  <a:gd name="T80" fmla="*/ 90 w 114"/>
                  <a:gd name="T81" fmla="*/ 78 h 564"/>
                  <a:gd name="T82" fmla="*/ 90 w 114"/>
                  <a:gd name="T83" fmla="*/ 90 h 564"/>
                  <a:gd name="T84" fmla="*/ 78 w 114"/>
                  <a:gd name="T85" fmla="*/ 102 h 564"/>
                  <a:gd name="T86" fmla="*/ 72 w 114"/>
                  <a:gd name="T87" fmla="*/ 120 h 564"/>
                  <a:gd name="T88" fmla="*/ 60 w 114"/>
                  <a:gd name="T89" fmla="*/ 150 h 564"/>
                  <a:gd name="T90" fmla="*/ 60 w 114"/>
                  <a:gd name="T91" fmla="*/ 240 h 564"/>
                  <a:gd name="T92" fmla="*/ 48 w 114"/>
                  <a:gd name="T93" fmla="*/ 264 h 564"/>
                  <a:gd name="T94" fmla="*/ 42 w 114"/>
                  <a:gd name="T95" fmla="*/ 276 h 564"/>
                  <a:gd name="T96" fmla="*/ 48 w 114"/>
                  <a:gd name="T97" fmla="*/ 282 h 564"/>
                  <a:gd name="T98" fmla="*/ 42 w 114"/>
                  <a:gd name="T99" fmla="*/ 300 h 564"/>
                  <a:gd name="T100" fmla="*/ 42 w 114"/>
                  <a:gd name="T101" fmla="*/ 306 h 564"/>
                  <a:gd name="T102" fmla="*/ 42 w 114"/>
                  <a:gd name="T103" fmla="*/ 312 h 564"/>
                  <a:gd name="T104" fmla="*/ 42 w 114"/>
                  <a:gd name="T105" fmla="*/ 354 h 564"/>
                  <a:gd name="T106" fmla="*/ 42 w 114"/>
                  <a:gd name="T107" fmla="*/ 360 h 564"/>
                  <a:gd name="T108" fmla="*/ 42 w 114"/>
                  <a:gd name="T109" fmla="*/ 378 h 564"/>
                  <a:gd name="T110" fmla="*/ 42 w 114"/>
                  <a:gd name="T111" fmla="*/ 390 h 564"/>
                  <a:gd name="T112" fmla="*/ 30 w 114"/>
                  <a:gd name="T113" fmla="*/ 396 h 564"/>
                  <a:gd name="T114" fmla="*/ 30 w 114"/>
                  <a:gd name="T115" fmla="*/ 462 h 564"/>
                  <a:gd name="T116" fmla="*/ 24 w 114"/>
                  <a:gd name="T117" fmla="*/ 468 h 564"/>
                  <a:gd name="T118" fmla="*/ 30 w 114"/>
                  <a:gd name="T119" fmla="*/ 480 h 564"/>
                  <a:gd name="T120" fmla="*/ 66 w 114"/>
                  <a:gd name="T121" fmla="*/ 492 h 564"/>
                  <a:gd name="T122" fmla="*/ 66 w 114"/>
                  <a:gd name="T123" fmla="*/ 522 h 564"/>
                  <a:gd name="T124" fmla="*/ 102 w 114"/>
                  <a:gd name="T125" fmla="*/ 546 h 56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14" h="564">
                    <a:moveTo>
                      <a:pt x="114" y="558"/>
                    </a:moveTo>
                    <a:lnTo>
                      <a:pt x="108" y="564"/>
                    </a:lnTo>
                    <a:lnTo>
                      <a:pt x="102" y="558"/>
                    </a:lnTo>
                    <a:lnTo>
                      <a:pt x="96" y="558"/>
                    </a:lnTo>
                    <a:lnTo>
                      <a:pt x="90" y="558"/>
                    </a:lnTo>
                    <a:lnTo>
                      <a:pt x="84" y="564"/>
                    </a:lnTo>
                    <a:lnTo>
                      <a:pt x="78" y="564"/>
                    </a:lnTo>
                    <a:lnTo>
                      <a:pt x="78" y="558"/>
                    </a:lnTo>
                    <a:lnTo>
                      <a:pt x="78" y="552"/>
                    </a:lnTo>
                    <a:lnTo>
                      <a:pt x="72" y="552"/>
                    </a:lnTo>
                    <a:lnTo>
                      <a:pt x="72" y="558"/>
                    </a:lnTo>
                    <a:lnTo>
                      <a:pt x="54" y="558"/>
                    </a:lnTo>
                    <a:lnTo>
                      <a:pt x="54" y="546"/>
                    </a:lnTo>
                    <a:lnTo>
                      <a:pt x="42" y="546"/>
                    </a:lnTo>
                    <a:lnTo>
                      <a:pt x="42" y="540"/>
                    </a:lnTo>
                    <a:lnTo>
                      <a:pt x="48" y="534"/>
                    </a:lnTo>
                    <a:lnTo>
                      <a:pt x="54" y="522"/>
                    </a:lnTo>
                    <a:lnTo>
                      <a:pt x="54" y="516"/>
                    </a:lnTo>
                    <a:lnTo>
                      <a:pt x="48" y="510"/>
                    </a:lnTo>
                    <a:lnTo>
                      <a:pt x="42" y="510"/>
                    </a:lnTo>
                    <a:lnTo>
                      <a:pt x="36" y="504"/>
                    </a:lnTo>
                    <a:lnTo>
                      <a:pt x="30" y="510"/>
                    </a:lnTo>
                    <a:lnTo>
                      <a:pt x="24" y="516"/>
                    </a:lnTo>
                    <a:lnTo>
                      <a:pt x="0" y="492"/>
                    </a:lnTo>
                    <a:lnTo>
                      <a:pt x="0" y="480"/>
                    </a:lnTo>
                    <a:lnTo>
                      <a:pt x="0" y="468"/>
                    </a:lnTo>
                    <a:lnTo>
                      <a:pt x="0" y="438"/>
                    </a:lnTo>
                    <a:lnTo>
                      <a:pt x="6" y="402"/>
                    </a:lnTo>
                    <a:lnTo>
                      <a:pt x="18" y="384"/>
                    </a:lnTo>
                    <a:lnTo>
                      <a:pt x="24" y="360"/>
                    </a:lnTo>
                    <a:lnTo>
                      <a:pt x="24" y="336"/>
                    </a:lnTo>
                    <a:lnTo>
                      <a:pt x="12" y="324"/>
                    </a:lnTo>
                    <a:lnTo>
                      <a:pt x="24" y="312"/>
                    </a:lnTo>
                    <a:lnTo>
                      <a:pt x="24" y="300"/>
                    </a:lnTo>
                    <a:lnTo>
                      <a:pt x="18" y="300"/>
                    </a:lnTo>
                    <a:lnTo>
                      <a:pt x="24" y="294"/>
                    </a:lnTo>
                    <a:lnTo>
                      <a:pt x="30" y="294"/>
                    </a:lnTo>
                    <a:lnTo>
                      <a:pt x="36" y="288"/>
                    </a:lnTo>
                    <a:lnTo>
                      <a:pt x="36" y="276"/>
                    </a:lnTo>
                    <a:lnTo>
                      <a:pt x="36" y="270"/>
                    </a:lnTo>
                    <a:lnTo>
                      <a:pt x="36" y="258"/>
                    </a:lnTo>
                    <a:lnTo>
                      <a:pt x="42" y="246"/>
                    </a:lnTo>
                    <a:lnTo>
                      <a:pt x="36" y="252"/>
                    </a:lnTo>
                    <a:lnTo>
                      <a:pt x="30" y="258"/>
                    </a:lnTo>
                    <a:lnTo>
                      <a:pt x="30" y="264"/>
                    </a:lnTo>
                    <a:lnTo>
                      <a:pt x="30" y="276"/>
                    </a:lnTo>
                    <a:lnTo>
                      <a:pt x="24" y="282"/>
                    </a:lnTo>
                    <a:lnTo>
                      <a:pt x="18" y="264"/>
                    </a:lnTo>
                    <a:lnTo>
                      <a:pt x="24" y="246"/>
                    </a:lnTo>
                    <a:lnTo>
                      <a:pt x="30" y="228"/>
                    </a:lnTo>
                    <a:lnTo>
                      <a:pt x="36" y="204"/>
                    </a:lnTo>
                    <a:lnTo>
                      <a:pt x="36" y="186"/>
                    </a:lnTo>
                    <a:lnTo>
                      <a:pt x="36" y="180"/>
                    </a:lnTo>
                    <a:lnTo>
                      <a:pt x="42" y="156"/>
                    </a:lnTo>
                    <a:lnTo>
                      <a:pt x="48" y="138"/>
                    </a:lnTo>
                    <a:lnTo>
                      <a:pt x="48" y="120"/>
                    </a:lnTo>
                    <a:lnTo>
                      <a:pt x="54" y="108"/>
                    </a:lnTo>
                    <a:lnTo>
                      <a:pt x="54" y="96"/>
                    </a:lnTo>
                    <a:lnTo>
                      <a:pt x="54" y="84"/>
                    </a:lnTo>
                    <a:lnTo>
                      <a:pt x="54" y="78"/>
                    </a:lnTo>
                    <a:lnTo>
                      <a:pt x="54" y="72"/>
                    </a:lnTo>
                    <a:lnTo>
                      <a:pt x="54" y="54"/>
                    </a:lnTo>
                    <a:lnTo>
                      <a:pt x="54" y="42"/>
                    </a:lnTo>
                    <a:lnTo>
                      <a:pt x="54" y="24"/>
                    </a:lnTo>
                    <a:lnTo>
                      <a:pt x="42" y="18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54" y="0"/>
                    </a:lnTo>
                    <a:lnTo>
                      <a:pt x="54" y="6"/>
                    </a:lnTo>
                    <a:lnTo>
                      <a:pt x="66" y="24"/>
                    </a:lnTo>
                    <a:lnTo>
                      <a:pt x="72" y="36"/>
                    </a:lnTo>
                    <a:lnTo>
                      <a:pt x="78" y="36"/>
                    </a:lnTo>
                    <a:lnTo>
                      <a:pt x="78" y="42"/>
                    </a:lnTo>
                    <a:lnTo>
                      <a:pt x="84" y="78"/>
                    </a:lnTo>
                    <a:lnTo>
                      <a:pt x="90" y="78"/>
                    </a:lnTo>
                    <a:lnTo>
                      <a:pt x="90" y="84"/>
                    </a:lnTo>
                    <a:lnTo>
                      <a:pt x="90" y="90"/>
                    </a:lnTo>
                    <a:lnTo>
                      <a:pt x="84" y="96"/>
                    </a:lnTo>
                    <a:lnTo>
                      <a:pt x="78" y="102"/>
                    </a:lnTo>
                    <a:lnTo>
                      <a:pt x="78" y="108"/>
                    </a:lnTo>
                    <a:lnTo>
                      <a:pt x="72" y="120"/>
                    </a:lnTo>
                    <a:lnTo>
                      <a:pt x="66" y="138"/>
                    </a:lnTo>
                    <a:lnTo>
                      <a:pt x="60" y="150"/>
                    </a:lnTo>
                    <a:lnTo>
                      <a:pt x="60" y="174"/>
                    </a:lnTo>
                    <a:lnTo>
                      <a:pt x="60" y="240"/>
                    </a:lnTo>
                    <a:lnTo>
                      <a:pt x="54" y="252"/>
                    </a:lnTo>
                    <a:lnTo>
                      <a:pt x="48" y="264"/>
                    </a:lnTo>
                    <a:lnTo>
                      <a:pt x="48" y="276"/>
                    </a:lnTo>
                    <a:lnTo>
                      <a:pt x="42" y="276"/>
                    </a:lnTo>
                    <a:lnTo>
                      <a:pt x="42" y="282"/>
                    </a:lnTo>
                    <a:lnTo>
                      <a:pt x="48" y="282"/>
                    </a:lnTo>
                    <a:lnTo>
                      <a:pt x="42" y="294"/>
                    </a:lnTo>
                    <a:lnTo>
                      <a:pt x="42" y="300"/>
                    </a:lnTo>
                    <a:lnTo>
                      <a:pt x="42" y="306"/>
                    </a:lnTo>
                    <a:lnTo>
                      <a:pt x="42" y="312"/>
                    </a:lnTo>
                    <a:lnTo>
                      <a:pt x="42" y="342"/>
                    </a:lnTo>
                    <a:lnTo>
                      <a:pt x="42" y="354"/>
                    </a:lnTo>
                    <a:lnTo>
                      <a:pt x="42" y="360"/>
                    </a:lnTo>
                    <a:lnTo>
                      <a:pt x="42" y="372"/>
                    </a:lnTo>
                    <a:lnTo>
                      <a:pt x="42" y="378"/>
                    </a:lnTo>
                    <a:lnTo>
                      <a:pt x="42" y="384"/>
                    </a:lnTo>
                    <a:lnTo>
                      <a:pt x="42" y="390"/>
                    </a:lnTo>
                    <a:lnTo>
                      <a:pt x="36" y="390"/>
                    </a:lnTo>
                    <a:lnTo>
                      <a:pt x="30" y="396"/>
                    </a:lnTo>
                    <a:lnTo>
                      <a:pt x="30" y="402"/>
                    </a:lnTo>
                    <a:lnTo>
                      <a:pt x="30" y="462"/>
                    </a:lnTo>
                    <a:lnTo>
                      <a:pt x="24" y="462"/>
                    </a:lnTo>
                    <a:lnTo>
                      <a:pt x="24" y="468"/>
                    </a:lnTo>
                    <a:lnTo>
                      <a:pt x="30" y="474"/>
                    </a:lnTo>
                    <a:lnTo>
                      <a:pt x="30" y="480"/>
                    </a:lnTo>
                    <a:lnTo>
                      <a:pt x="36" y="492"/>
                    </a:lnTo>
                    <a:lnTo>
                      <a:pt x="66" y="492"/>
                    </a:lnTo>
                    <a:lnTo>
                      <a:pt x="66" y="504"/>
                    </a:lnTo>
                    <a:lnTo>
                      <a:pt x="66" y="522"/>
                    </a:lnTo>
                    <a:lnTo>
                      <a:pt x="72" y="546"/>
                    </a:lnTo>
                    <a:lnTo>
                      <a:pt x="102" y="546"/>
                    </a:lnTo>
                    <a:lnTo>
                      <a:pt x="114" y="55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03" name="Freeform 633"/>
              <p:cNvSpPr>
                <a:spLocks/>
              </p:cNvSpPr>
              <p:nvPr/>
            </p:nvSpPr>
            <p:spPr bwMode="auto">
              <a:xfrm>
                <a:off x="3989" y="1631"/>
                <a:ext cx="114" cy="563"/>
              </a:xfrm>
              <a:custGeom>
                <a:avLst/>
                <a:gdLst>
                  <a:gd name="T0" fmla="*/ 108 w 114"/>
                  <a:gd name="T1" fmla="*/ 564 h 564"/>
                  <a:gd name="T2" fmla="*/ 96 w 114"/>
                  <a:gd name="T3" fmla="*/ 558 h 564"/>
                  <a:gd name="T4" fmla="*/ 84 w 114"/>
                  <a:gd name="T5" fmla="*/ 564 h 564"/>
                  <a:gd name="T6" fmla="*/ 78 w 114"/>
                  <a:gd name="T7" fmla="*/ 558 h 564"/>
                  <a:gd name="T8" fmla="*/ 72 w 114"/>
                  <a:gd name="T9" fmla="*/ 552 h 564"/>
                  <a:gd name="T10" fmla="*/ 54 w 114"/>
                  <a:gd name="T11" fmla="*/ 558 h 564"/>
                  <a:gd name="T12" fmla="*/ 42 w 114"/>
                  <a:gd name="T13" fmla="*/ 546 h 564"/>
                  <a:gd name="T14" fmla="*/ 48 w 114"/>
                  <a:gd name="T15" fmla="*/ 534 h 564"/>
                  <a:gd name="T16" fmla="*/ 54 w 114"/>
                  <a:gd name="T17" fmla="*/ 516 h 564"/>
                  <a:gd name="T18" fmla="*/ 42 w 114"/>
                  <a:gd name="T19" fmla="*/ 510 h 564"/>
                  <a:gd name="T20" fmla="*/ 30 w 114"/>
                  <a:gd name="T21" fmla="*/ 510 h 564"/>
                  <a:gd name="T22" fmla="*/ 0 w 114"/>
                  <a:gd name="T23" fmla="*/ 492 h 564"/>
                  <a:gd name="T24" fmla="*/ 0 w 114"/>
                  <a:gd name="T25" fmla="*/ 468 h 564"/>
                  <a:gd name="T26" fmla="*/ 6 w 114"/>
                  <a:gd name="T27" fmla="*/ 402 h 564"/>
                  <a:gd name="T28" fmla="*/ 24 w 114"/>
                  <a:gd name="T29" fmla="*/ 360 h 564"/>
                  <a:gd name="T30" fmla="*/ 12 w 114"/>
                  <a:gd name="T31" fmla="*/ 324 h 564"/>
                  <a:gd name="T32" fmla="*/ 24 w 114"/>
                  <a:gd name="T33" fmla="*/ 300 h 564"/>
                  <a:gd name="T34" fmla="*/ 24 w 114"/>
                  <a:gd name="T35" fmla="*/ 294 h 564"/>
                  <a:gd name="T36" fmla="*/ 36 w 114"/>
                  <a:gd name="T37" fmla="*/ 288 h 564"/>
                  <a:gd name="T38" fmla="*/ 36 w 114"/>
                  <a:gd name="T39" fmla="*/ 270 h 564"/>
                  <a:gd name="T40" fmla="*/ 42 w 114"/>
                  <a:gd name="T41" fmla="*/ 246 h 564"/>
                  <a:gd name="T42" fmla="*/ 30 w 114"/>
                  <a:gd name="T43" fmla="*/ 258 h 564"/>
                  <a:gd name="T44" fmla="*/ 30 w 114"/>
                  <a:gd name="T45" fmla="*/ 276 h 564"/>
                  <a:gd name="T46" fmla="*/ 18 w 114"/>
                  <a:gd name="T47" fmla="*/ 264 h 564"/>
                  <a:gd name="T48" fmla="*/ 30 w 114"/>
                  <a:gd name="T49" fmla="*/ 228 h 564"/>
                  <a:gd name="T50" fmla="*/ 36 w 114"/>
                  <a:gd name="T51" fmla="*/ 186 h 564"/>
                  <a:gd name="T52" fmla="*/ 42 w 114"/>
                  <a:gd name="T53" fmla="*/ 156 h 564"/>
                  <a:gd name="T54" fmla="*/ 48 w 114"/>
                  <a:gd name="T55" fmla="*/ 120 h 564"/>
                  <a:gd name="T56" fmla="*/ 54 w 114"/>
                  <a:gd name="T57" fmla="*/ 96 h 564"/>
                  <a:gd name="T58" fmla="*/ 54 w 114"/>
                  <a:gd name="T59" fmla="*/ 78 h 564"/>
                  <a:gd name="T60" fmla="*/ 54 w 114"/>
                  <a:gd name="T61" fmla="*/ 54 h 564"/>
                  <a:gd name="T62" fmla="*/ 54 w 114"/>
                  <a:gd name="T63" fmla="*/ 24 h 564"/>
                  <a:gd name="T64" fmla="*/ 36 w 114"/>
                  <a:gd name="T65" fmla="*/ 6 h 564"/>
                  <a:gd name="T66" fmla="*/ 54 w 114"/>
                  <a:gd name="T67" fmla="*/ 0 h 564"/>
                  <a:gd name="T68" fmla="*/ 66 w 114"/>
                  <a:gd name="T69" fmla="*/ 24 h 564"/>
                  <a:gd name="T70" fmla="*/ 78 w 114"/>
                  <a:gd name="T71" fmla="*/ 36 h 564"/>
                  <a:gd name="T72" fmla="*/ 84 w 114"/>
                  <a:gd name="T73" fmla="*/ 78 h 564"/>
                  <a:gd name="T74" fmla="*/ 90 w 114"/>
                  <a:gd name="T75" fmla="*/ 84 h 564"/>
                  <a:gd name="T76" fmla="*/ 84 w 114"/>
                  <a:gd name="T77" fmla="*/ 96 h 564"/>
                  <a:gd name="T78" fmla="*/ 78 w 114"/>
                  <a:gd name="T79" fmla="*/ 108 h 564"/>
                  <a:gd name="T80" fmla="*/ 66 w 114"/>
                  <a:gd name="T81" fmla="*/ 138 h 564"/>
                  <a:gd name="T82" fmla="*/ 60 w 114"/>
                  <a:gd name="T83" fmla="*/ 174 h 564"/>
                  <a:gd name="T84" fmla="*/ 54 w 114"/>
                  <a:gd name="T85" fmla="*/ 252 h 564"/>
                  <a:gd name="T86" fmla="*/ 48 w 114"/>
                  <a:gd name="T87" fmla="*/ 276 h 564"/>
                  <a:gd name="T88" fmla="*/ 42 w 114"/>
                  <a:gd name="T89" fmla="*/ 282 h 564"/>
                  <a:gd name="T90" fmla="*/ 42 w 114"/>
                  <a:gd name="T91" fmla="*/ 294 h 564"/>
                  <a:gd name="T92" fmla="*/ 42 w 114"/>
                  <a:gd name="T93" fmla="*/ 306 h 564"/>
                  <a:gd name="T94" fmla="*/ 42 w 114"/>
                  <a:gd name="T95" fmla="*/ 342 h 564"/>
                  <a:gd name="T96" fmla="*/ 42 w 114"/>
                  <a:gd name="T97" fmla="*/ 360 h 564"/>
                  <a:gd name="T98" fmla="*/ 42 w 114"/>
                  <a:gd name="T99" fmla="*/ 378 h 564"/>
                  <a:gd name="T100" fmla="*/ 42 w 114"/>
                  <a:gd name="T101" fmla="*/ 390 h 564"/>
                  <a:gd name="T102" fmla="*/ 30 w 114"/>
                  <a:gd name="T103" fmla="*/ 396 h 564"/>
                  <a:gd name="T104" fmla="*/ 30 w 114"/>
                  <a:gd name="T105" fmla="*/ 462 h 564"/>
                  <a:gd name="T106" fmla="*/ 24 w 114"/>
                  <a:gd name="T107" fmla="*/ 468 h 564"/>
                  <a:gd name="T108" fmla="*/ 30 w 114"/>
                  <a:gd name="T109" fmla="*/ 480 h 564"/>
                  <a:gd name="T110" fmla="*/ 66 w 114"/>
                  <a:gd name="T111" fmla="*/ 492 h 564"/>
                  <a:gd name="T112" fmla="*/ 66 w 114"/>
                  <a:gd name="T113" fmla="*/ 522 h 564"/>
                  <a:gd name="T114" fmla="*/ 102 w 114"/>
                  <a:gd name="T115" fmla="*/ 546 h 56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14" h="564">
                    <a:moveTo>
                      <a:pt x="114" y="558"/>
                    </a:moveTo>
                    <a:lnTo>
                      <a:pt x="108" y="564"/>
                    </a:lnTo>
                    <a:lnTo>
                      <a:pt x="102" y="558"/>
                    </a:lnTo>
                    <a:lnTo>
                      <a:pt x="96" y="558"/>
                    </a:lnTo>
                    <a:lnTo>
                      <a:pt x="90" y="558"/>
                    </a:lnTo>
                    <a:lnTo>
                      <a:pt x="84" y="564"/>
                    </a:lnTo>
                    <a:lnTo>
                      <a:pt x="78" y="564"/>
                    </a:lnTo>
                    <a:lnTo>
                      <a:pt x="78" y="558"/>
                    </a:lnTo>
                    <a:lnTo>
                      <a:pt x="78" y="552"/>
                    </a:lnTo>
                    <a:lnTo>
                      <a:pt x="72" y="552"/>
                    </a:lnTo>
                    <a:lnTo>
                      <a:pt x="72" y="558"/>
                    </a:lnTo>
                    <a:lnTo>
                      <a:pt x="54" y="558"/>
                    </a:lnTo>
                    <a:lnTo>
                      <a:pt x="54" y="546"/>
                    </a:lnTo>
                    <a:lnTo>
                      <a:pt x="42" y="546"/>
                    </a:lnTo>
                    <a:lnTo>
                      <a:pt x="42" y="540"/>
                    </a:lnTo>
                    <a:lnTo>
                      <a:pt x="48" y="534"/>
                    </a:lnTo>
                    <a:lnTo>
                      <a:pt x="54" y="522"/>
                    </a:lnTo>
                    <a:lnTo>
                      <a:pt x="54" y="516"/>
                    </a:lnTo>
                    <a:lnTo>
                      <a:pt x="48" y="510"/>
                    </a:lnTo>
                    <a:lnTo>
                      <a:pt x="42" y="510"/>
                    </a:lnTo>
                    <a:lnTo>
                      <a:pt x="36" y="504"/>
                    </a:lnTo>
                    <a:lnTo>
                      <a:pt x="30" y="510"/>
                    </a:lnTo>
                    <a:lnTo>
                      <a:pt x="24" y="516"/>
                    </a:lnTo>
                    <a:lnTo>
                      <a:pt x="0" y="492"/>
                    </a:lnTo>
                    <a:lnTo>
                      <a:pt x="0" y="480"/>
                    </a:lnTo>
                    <a:lnTo>
                      <a:pt x="0" y="468"/>
                    </a:lnTo>
                    <a:lnTo>
                      <a:pt x="0" y="438"/>
                    </a:lnTo>
                    <a:lnTo>
                      <a:pt x="6" y="402"/>
                    </a:lnTo>
                    <a:lnTo>
                      <a:pt x="18" y="384"/>
                    </a:lnTo>
                    <a:lnTo>
                      <a:pt x="24" y="360"/>
                    </a:lnTo>
                    <a:lnTo>
                      <a:pt x="24" y="336"/>
                    </a:lnTo>
                    <a:lnTo>
                      <a:pt x="12" y="324"/>
                    </a:lnTo>
                    <a:lnTo>
                      <a:pt x="24" y="312"/>
                    </a:lnTo>
                    <a:lnTo>
                      <a:pt x="24" y="300"/>
                    </a:lnTo>
                    <a:lnTo>
                      <a:pt x="18" y="300"/>
                    </a:lnTo>
                    <a:lnTo>
                      <a:pt x="24" y="294"/>
                    </a:lnTo>
                    <a:lnTo>
                      <a:pt x="30" y="294"/>
                    </a:lnTo>
                    <a:lnTo>
                      <a:pt x="36" y="288"/>
                    </a:lnTo>
                    <a:lnTo>
                      <a:pt x="36" y="276"/>
                    </a:lnTo>
                    <a:lnTo>
                      <a:pt x="36" y="270"/>
                    </a:lnTo>
                    <a:lnTo>
                      <a:pt x="36" y="258"/>
                    </a:lnTo>
                    <a:lnTo>
                      <a:pt x="42" y="246"/>
                    </a:lnTo>
                    <a:lnTo>
                      <a:pt x="36" y="252"/>
                    </a:lnTo>
                    <a:lnTo>
                      <a:pt x="30" y="258"/>
                    </a:lnTo>
                    <a:lnTo>
                      <a:pt x="30" y="264"/>
                    </a:lnTo>
                    <a:lnTo>
                      <a:pt x="30" y="276"/>
                    </a:lnTo>
                    <a:lnTo>
                      <a:pt x="24" y="282"/>
                    </a:lnTo>
                    <a:lnTo>
                      <a:pt x="18" y="264"/>
                    </a:lnTo>
                    <a:lnTo>
                      <a:pt x="24" y="246"/>
                    </a:lnTo>
                    <a:lnTo>
                      <a:pt x="30" y="228"/>
                    </a:lnTo>
                    <a:lnTo>
                      <a:pt x="36" y="204"/>
                    </a:lnTo>
                    <a:lnTo>
                      <a:pt x="36" y="186"/>
                    </a:lnTo>
                    <a:lnTo>
                      <a:pt x="36" y="180"/>
                    </a:lnTo>
                    <a:lnTo>
                      <a:pt x="42" y="156"/>
                    </a:lnTo>
                    <a:lnTo>
                      <a:pt x="48" y="138"/>
                    </a:lnTo>
                    <a:lnTo>
                      <a:pt x="48" y="120"/>
                    </a:lnTo>
                    <a:lnTo>
                      <a:pt x="54" y="108"/>
                    </a:lnTo>
                    <a:lnTo>
                      <a:pt x="54" y="96"/>
                    </a:lnTo>
                    <a:lnTo>
                      <a:pt x="54" y="84"/>
                    </a:lnTo>
                    <a:lnTo>
                      <a:pt x="54" y="78"/>
                    </a:lnTo>
                    <a:lnTo>
                      <a:pt x="54" y="72"/>
                    </a:lnTo>
                    <a:lnTo>
                      <a:pt x="54" y="54"/>
                    </a:lnTo>
                    <a:lnTo>
                      <a:pt x="54" y="42"/>
                    </a:lnTo>
                    <a:lnTo>
                      <a:pt x="54" y="24"/>
                    </a:lnTo>
                    <a:lnTo>
                      <a:pt x="42" y="18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54" y="0"/>
                    </a:lnTo>
                    <a:lnTo>
                      <a:pt x="54" y="6"/>
                    </a:lnTo>
                    <a:lnTo>
                      <a:pt x="66" y="24"/>
                    </a:lnTo>
                    <a:lnTo>
                      <a:pt x="72" y="36"/>
                    </a:lnTo>
                    <a:lnTo>
                      <a:pt x="78" y="36"/>
                    </a:lnTo>
                    <a:lnTo>
                      <a:pt x="78" y="42"/>
                    </a:lnTo>
                    <a:lnTo>
                      <a:pt x="84" y="78"/>
                    </a:lnTo>
                    <a:lnTo>
                      <a:pt x="90" y="78"/>
                    </a:lnTo>
                    <a:lnTo>
                      <a:pt x="90" y="84"/>
                    </a:lnTo>
                    <a:lnTo>
                      <a:pt x="90" y="90"/>
                    </a:lnTo>
                    <a:lnTo>
                      <a:pt x="84" y="96"/>
                    </a:lnTo>
                    <a:lnTo>
                      <a:pt x="78" y="102"/>
                    </a:lnTo>
                    <a:lnTo>
                      <a:pt x="78" y="108"/>
                    </a:lnTo>
                    <a:lnTo>
                      <a:pt x="72" y="120"/>
                    </a:lnTo>
                    <a:lnTo>
                      <a:pt x="66" y="138"/>
                    </a:lnTo>
                    <a:lnTo>
                      <a:pt x="60" y="150"/>
                    </a:lnTo>
                    <a:lnTo>
                      <a:pt x="60" y="174"/>
                    </a:lnTo>
                    <a:lnTo>
                      <a:pt x="60" y="240"/>
                    </a:lnTo>
                    <a:lnTo>
                      <a:pt x="54" y="252"/>
                    </a:lnTo>
                    <a:lnTo>
                      <a:pt x="48" y="264"/>
                    </a:lnTo>
                    <a:lnTo>
                      <a:pt x="48" y="276"/>
                    </a:lnTo>
                    <a:lnTo>
                      <a:pt x="42" y="276"/>
                    </a:lnTo>
                    <a:lnTo>
                      <a:pt x="42" y="282"/>
                    </a:lnTo>
                    <a:lnTo>
                      <a:pt x="48" y="282"/>
                    </a:lnTo>
                    <a:lnTo>
                      <a:pt x="42" y="294"/>
                    </a:lnTo>
                    <a:lnTo>
                      <a:pt x="42" y="300"/>
                    </a:lnTo>
                    <a:lnTo>
                      <a:pt x="42" y="306"/>
                    </a:lnTo>
                    <a:lnTo>
                      <a:pt x="42" y="312"/>
                    </a:lnTo>
                    <a:lnTo>
                      <a:pt x="42" y="342"/>
                    </a:lnTo>
                    <a:lnTo>
                      <a:pt x="42" y="354"/>
                    </a:lnTo>
                    <a:lnTo>
                      <a:pt x="42" y="360"/>
                    </a:lnTo>
                    <a:lnTo>
                      <a:pt x="42" y="372"/>
                    </a:lnTo>
                    <a:lnTo>
                      <a:pt x="42" y="378"/>
                    </a:lnTo>
                    <a:lnTo>
                      <a:pt x="42" y="384"/>
                    </a:lnTo>
                    <a:lnTo>
                      <a:pt x="42" y="390"/>
                    </a:lnTo>
                    <a:lnTo>
                      <a:pt x="36" y="390"/>
                    </a:lnTo>
                    <a:lnTo>
                      <a:pt x="30" y="396"/>
                    </a:lnTo>
                    <a:lnTo>
                      <a:pt x="30" y="402"/>
                    </a:lnTo>
                    <a:lnTo>
                      <a:pt x="30" y="462"/>
                    </a:lnTo>
                    <a:lnTo>
                      <a:pt x="24" y="462"/>
                    </a:lnTo>
                    <a:lnTo>
                      <a:pt x="24" y="468"/>
                    </a:lnTo>
                    <a:lnTo>
                      <a:pt x="30" y="474"/>
                    </a:lnTo>
                    <a:lnTo>
                      <a:pt x="30" y="480"/>
                    </a:lnTo>
                    <a:lnTo>
                      <a:pt x="36" y="492"/>
                    </a:lnTo>
                    <a:lnTo>
                      <a:pt x="66" y="492"/>
                    </a:lnTo>
                    <a:lnTo>
                      <a:pt x="66" y="504"/>
                    </a:lnTo>
                    <a:lnTo>
                      <a:pt x="66" y="522"/>
                    </a:lnTo>
                    <a:lnTo>
                      <a:pt x="72" y="546"/>
                    </a:lnTo>
                    <a:lnTo>
                      <a:pt x="102" y="546"/>
                    </a:lnTo>
                    <a:lnTo>
                      <a:pt x="114" y="55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12" name="Group 634"/>
            <p:cNvGrpSpPr>
              <a:grpSpLocks/>
            </p:cNvGrpSpPr>
            <p:nvPr/>
          </p:nvGrpSpPr>
          <p:grpSpPr bwMode="auto">
            <a:xfrm>
              <a:off x="6635609" y="3639735"/>
              <a:ext cx="172979" cy="165870"/>
              <a:chOff x="4129" y="1668"/>
              <a:chExt cx="84" cy="96"/>
            </a:xfrm>
            <a:solidFill>
              <a:srgbClr val="0070C0">
                <a:alpha val="27059"/>
              </a:srgbClr>
            </a:solidFill>
          </p:grpSpPr>
          <p:sp>
            <p:nvSpPr>
              <p:cNvPr id="1000" name="Freeform 635"/>
              <p:cNvSpPr>
                <a:spLocks/>
              </p:cNvSpPr>
              <p:nvPr/>
            </p:nvSpPr>
            <p:spPr bwMode="auto">
              <a:xfrm>
                <a:off x="4129" y="1668"/>
                <a:ext cx="84" cy="96"/>
              </a:xfrm>
              <a:custGeom>
                <a:avLst/>
                <a:gdLst>
                  <a:gd name="T0" fmla="*/ 84 w 84"/>
                  <a:gd name="T1" fmla="*/ 72 h 96"/>
                  <a:gd name="T2" fmla="*/ 84 w 84"/>
                  <a:gd name="T3" fmla="*/ 66 h 96"/>
                  <a:gd name="T4" fmla="*/ 84 w 84"/>
                  <a:gd name="T5" fmla="*/ 60 h 96"/>
                  <a:gd name="T6" fmla="*/ 78 w 84"/>
                  <a:gd name="T7" fmla="*/ 54 h 96"/>
                  <a:gd name="T8" fmla="*/ 78 w 84"/>
                  <a:gd name="T9" fmla="*/ 54 h 96"/>
                  <a:gd name="T10" fmla="*/ 72 w 84"/>
                  <a:gd name="T11" fmla="*/ 54 h 96"/>
                  <a:gd name="T12" fmla="*/ 72 w 84"/>
                  <a:gd name="T13" fmla="*/ 54 h 96"/>
                  <a:gd name="T14" fmla="*/ 60 w 84"/>
                  <a:gd name="T15" fmla="*/ 54 h 96"/>
                  <a:gd name="T16" fmla="*/ 54 w 84"/>
                  <a:gd name="T17" fmla="*/ 48 h 96"/>
                  <a:gd name="T18" fmla="*/ 54 w 84"/>
                  <a:gd name="T19" fmla="*/ 24 h 96"/>
                  <a:gd name="T20" fmla="*/ 54 w 84"/>
                  <a:gd name="T21" fmla="*/ 12 h 96"/>
                  <a:gd name="T22" fmla="*/ 48 w 84"/>
                  <a:gd name="T23" fmla="*/ 6 h 96"/>
                  <a:gd name="T24" fmla="*/ 36 w 84"/>
                  <a:gd name="T25" fmla="*/ 0 h 96"/>
                  <a:gd name="T26" fmla="*/ 30 w 84"/>
                  <a:gd name="T27" fmla="*/ 0 h 96"/>
                  <a:gd name="T28" fmla="*/ 24 w 84"/>
                  <a:gd name="T29" fmla="*/ 6 h 96"/>
                  <a:gd name="T30" fmla="*/ 6 w 84"/>
                  <a:gd name="T31" fmla="*/ 18 h 96"/>
                  <a:gd name="T32" fmla="*/ 6 w 84"/>
                  <a:gd name="T33" fmla="*/ 24 h 96"/>
                  <a:gd name="T34" fmla="*/ 0 w 84"/>
                  <a:gd name="T35" fmla="*/ 42 h 96"/>
                  <a:gd name="T36" fmla="*/ 6 w 84"/>
                  <a:gd name="T37" fmla="*/ 42 h 96"/>
                  <a:gd name="T38" fmla="*/ 12 w 84"/>
                  <a:gd name="T39" fmla="*/ 48 h 96"/>
                  <a:gd name="T40" fmla="*/ 24 w 84"/>
                  <a:gd name="T41" fmla="*/ 48 h 96"/>
                  <a:gd name="T42" fmla="*/ 24 w 84"/>
                  <a:gd name="T43" fmla="*/ 54 h 96"/>
                  <a:gd name="T44" fmla="*/ 54 w 84"/>
                  <a:gd name="T45" fmla="*/ 66 h 96"/>
                  <a:gd name="T46" fmla="*/ 42 w 84"/>
                  <a:gd name="T47" fmla="*/ 96 h 96"/>
                  <a:gd name="T48" fmla="*/ 78 w 84"/>
                  <a:gd name="T49" fmla="*/ 96 h 96"/>
                  <a:gd name="T50" fmla="*/ 78 w 84"/>
                  <a:gd name="T51" fmla="*/ 90 h 96"/>
                  <a:gd name="T52" fmla="*/ 84 w 84"/>
                  <a:gd name="T53" fmla="*/ 84 h 96"/>
                  <a:gd name="T54" fmla="*/ 84 w 84"/>
                  <a:gd name="T55" fmla="*/ 72 h 9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4" h="96">
                    <a:moveTo>
                      <a:pt x="84" y="72"/>
                    </a:moveTo>
                    <a:lnTo>
                      <a:pt x="84" y="66"/>
                    </a:lnTo>
                    <a:lnTo>
                      <a:pt x="84" y="60"/>
                    </a:lnTo>
                    <a:lnTo>
                      <a:pt x="78" y="54"/>
                    </a:lnTo>
                    <a:lnTo>
                      <a:pt x="72" y="54"/>
                    </a:lnTo>
                    <a:lnTo>
                      <a:pt x="60" y="54"/>
                    </a:lnTo>
                    <a:lnTo>
                      <a:pt x="54" y="48"/>
                    </a:lnTo>
                    <a:lnTo>
                      <a:pt x="54" y="24"/>
                    </a:lnTo>
                    <a:lnTo>
                      <a:pt x="54" y="12"/>
                    </a:lnTo>
                    <a:lnTo>
                      <a:pt x="48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0" y="42"/>
                    </a:lnTo>
                    <a:lnTo>
                      <a:pt x="6" y="42"/>
                    </a:lnTo>
                    <a:lnTo>
                      <a:pt x="12" y="48"/>
                    </a:lnTo>
                    <a:lnTo>
                      <a:pt x="24" y="48"/>
                    </a:lnTo>
                    <a:lnTo>
                      <a:pt x="24" y="54"/>
                    </a:lnTo>
                    <a:lnTo>
                      <a:pt x="54" y="66"/>
                    </a:lnTo>
                    <a:lnTo>
                      <a:pt x="42" y="96"/>
                    </a:lnTo>
                    <a:lnTo>
                      <a:pt x="78" y="96"/>
                    </a:lnTo>
                    <a:lnTo>
                      <a:pt x="78" y="90"/>
                    </a:lnTo>
                    <a:lnTo>
                      <a:pt x="84" y="84"/>
                    </a:lnTo>
                    <a:lnTo>
                      <a:pt x="84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001" name="Freeform 636"/>
              <p:cNvSpPr>
                <a:spLocks/>
              </p:cNvSpPr>
              <p:nvPr/>
            </p:nvSpPr>
            <p:spPr bwMode="auto">
              <a:xfrm>
                <a:off x="4129" y="1668"/>
                <a:ext cx="84" cy="96"/>
              </a:xfrm>
              <a:custGeom>
                <a:avLst/>
                <a:gdLst>
                  <a:gd name="T0" fmla="*/ 84 w 84"/>
                  <a:gd name="T1" fmla="*/ 72 h 96"/>
                  <a:gd name="T2" fmla="*/ 84 w 84"/>
                  <a:gd name="T3" fmla="*/ 66 h 96"/>
                  <a:gd name="T4" fmla="*/ 84 w 84"/>
                  <a:gd name="T5" fmla="*/ 60 h 96"/>
                  <a:gd name="T6" fmla="*/ 78 w 84"/>
                  <a:gd name="T7" fmla="*/ 54 h 96"/>
                  <a:gd name="T8" fmla="*/ 72 w 84"/>
                  <a:gd name="T9" fmla="*/ 54 h 96"/>
                  <a:gd name="T10" fmla="*/ 60 w 84"/>
                  <a:gd name="T11" fmla="*/ 54 h 96"/>
                  <a:gd name="T12" fmla="*/ 54 w 84"/>
                  <a:gd name="T13" fmla="*/ 48 h 96"/>
                  <a:gd name="T14" fmla="*/ 54 w 84"/>
                  <a:gd name="T15" fmla="*/ 24 h 96"/>
                  <a:gd name="T16" fmla="*/ 54 w 84"/>
                  <a:gd name="T17" fmla="*/ 12 h 96"/>
                  <a:gd name="T18" fmla="*/ 48 w 84"/>
                  <a:gd name="T19" fmla="*/ 6 h 96"/>
                  <a:gd name="T20" fmla="*/ 36 w 84"/>
                  <a:gd name="T21" fmla="*/ 0 h 96"/>
                  <a:gd name="T22" fmla="*/ 30 w 84"/>
                  <a:gd name="T23" fmla="*/ 0 h 96"/>
                  <a:gd name="T24" fmla="*/ 24 w 84"/>
                  <a:gd name="T25" fmla="*/ 6 h 96"/>
                  <a:gd name="T26" fmla="*/ 6 w 84"/>
                  <a:gd name="T27" fmla="*/ 18 h 96"/>
                  <a:gd name="T28" fmla="*/ 6 w 84"/>
                  <a:gd name="T29" fmla="*/ 24 h 96"/>
                  <a:gd name="T30" fmla="*/ 0 w 84"/>
                  <a:gd name="T31" fmla="*/ 42 h 96"/>
                  <a:gd name="T32" fmla="*/ 6 w 84"/>
                  <a:gd name="T33" fmla="*/ 42 h 96"/>
                  <a:gd name="T34" fmla="*/ 12 w 84"/>
                  <a:gd name="T35" fmla="*/ 48 h 96"/>
                  <a:gd name="T36" fmla="*/ 24 w 84"/>
                  <a:gd name="T37" fmla="*/ 48 h 96"/>
                  <a:gd name="T38" fmla="*/ 24 w 84"/>
                  <a:gd name="T39" fmla="*/ 54 h 96"/>
                  <a:gd name="T40" fmla="*/ 54 w 84"/>
                  <a:gd name="T41" fmla="*/ 66 h 96"/>
                  <a:gd name="T42" fmla="*/ 42 w 84"/>
                  <a:gd name="T43" fmla="*/ 96 h 96"/>
                  <a:gd name="T44" fmla="*/ 78 w 84"/>
                  <a:gd name="T45" fmla="*/ 96 h 96"/>
                  <a:gd name="T46" fmla="*/ 78 w 84"/>
                  <a:gd name="T47" fmla="*/ 90 h 96"/>
                  <a:gd name="T48" fmla="*/ 84 w 84"/>
                  <a:gd name="T49" fmla="*/ 84 h 96"/>
                  <a:gd name="T50" fmla="*/ 84 w 84"/>
                  <a:gd name="T51" fmla="*/ 72 h 9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84" h="96">
                    <a:moveTo>
                      <a:pt x="84" y="72"/>
                    </a:moveTo>
                    <a:lnTo>
                      <a:pt x="84" y="66"/>
                    </a:lnTo>
                    <a:lnTo>
                      <a:pt x="84" y="60"/>
                    </a:lnTo>
                    <a:lnTo>
                      <a:pt x="78" y="54"/>
                    </a:lnTo>
                    <a:lnTo>
                      <a:pt x="72" y="54"/>
                    </a:lnTo>
                    <a:lnTo>
                      <a:pt x="60" y="54"/>
                    </a:lnTo>
                    <a:lnTo>
                      <a:pt x="54" y="48"/>
                    </a:lnTo>
                    <a:lnTo>
                      <a:pt x="54" y="24"/>
                    </a:lnTo>
                    <a:lnTo>
                      <a:pt x="54" y="12"/>
                    </a:lnTo>
                    <a:lnTo>
                      <a:pt x="48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0" y="42"/>
                    </a:lnTo>
                    <a:lnTo>
                      <a:pt x="6" y="42"/>
                    </a:lnTo>
                    <a:lnTo>
                      <a:pt x="12" y="48"/>
                    </a:lnTo>
                    <a:lnTo>
                      <a:pt x="24" y="48"/>
                    </a:lnTo>
                    <a:lnTo>
                      <a:pt x="24" y="54"/>
                    </a:lnTo>
                    <a:lnTo>
                      <a:pt x="54" y="66"/>
                    </a:lnTo>
                    <a:lnTo>
                      <a:pt x="42" y="96"/>
                    </a:lnTo>
                    <a:lnTo>
                      <a:pt x="78" y="96"/>
                    </a:lnTo>
                    <a:lnTo>
                      <a:pt x="78" y="90"/>
                    </a:lnTo>
                    <a:lnTo>
                      <a:pt x="84" y="84"/>
                    </a:lnTo>
                    <a:lnTo>
                      <a:pt x="84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13" name="Group 637"/>
            <p:cNvGrpSpPr>
              <a:grpSpLocks/>
            </p:cNvGrpSpPr>
            <p:nvPr/>
          </p:nvGrpSpPr>
          <p:grpSpPr bwMode="auto">
            <a:xfrm>
              <a:off x="6147424" y="3032892"/>
              <a:ext cx="86489" cy="80912"/>
              <a:chOff x="3889" y="1314"/>
              <a:chExt cx="42" cy="48"/>
            </a:xfrm>
            <a:solidFill>
              <a:srgbClr val="0070C0">
                <a:alpha val="27059"/>
              </a:srgbClr>
            </a:solidFill>
          </p:grpSpPr>
          <p:sp>
            <p:nvSpPr>
              <p:cNvPr id="998" name="Freeform 638"/>
              <p:cNvSpPr>
                <a:spLocks/>
              </p:cNvSpPr>
              <p:nvPr/>
            </p:nvSpPr>
            <p:spPr bwMode="auto">
              <a:xfrm>
                <a:off x="3889" y="1314"/>
                <a:ext cx="42" cy="48"/>
              </a:xfrm>
              <a:custGeom>
                <a:avLst/>
                <a:gdLst>
                  <a:gd name="T0" fmla="*/ 36 w 42"/>
                  <a:gd name="T1" fmla="*/ 48 h 48"/>
                  <a:gd name="T2" fmla="*/ 36 w 42"/>
                  <a:gd name="T3" fmla="*/ 42 h 48"/>
                  <a:gd name="T4" fmla="*/ 30 w 42"/>
                  <a:gd name="T5" fmla="*/ 42 h 48"/>
                  <a:gd name="T6" fmla="*/ 30 w 42"/>
                  <a:gd name="T7" fmla="*/ 36 h 48"/>
                  <a:gd name="T8" fmla="*/ 36 w 42"/>
                  <a:gd name="T9" fmla="*/ 30 h 48"/>
                  <a:gd name="T10" fmla="*/ 36 w 42"/>
                  <a:gd name="T11" fmla="*/ 30 h 48"/>
                  <a:gd name="T12" fmla="*/ 36 w 42"/>
                  <a:gd name="T13" fmla="*/ 24 h 48"/>
                  <a:gd name="T14" fmla="*/ 36 w 42"/>
                  <a:gd name="T15" fmla="*/ 18 h 48"/>
                  <a:gd name="T16" fmla="*/ 36 w 42"/>
                  <a:gd name="T17" fmla="*/ 12 h 48"/>
                  <a:gd name="T18" fmla="*/ 42 w 42"/>
                  <a:gd name="T19" fmla="*/ 6 h 48"/>
                  <a:gd name="T20" fmla="*/ 42 w 42"/>
                  <a:gd name="T21" fmla="*/ 0 h 48"/>
                  <a:gd name="T22" fmla="*/ 36 w 42"/>
                  <a:gd name="T23" fmla="*/ 0 h 48"/>
                  <a:gd name="T24" fmla="*/ 36 w 42"/>
                  <a:gd name="T25" fmla="*/ 0 h 48"/>
                  <a:gd name="T26" fmla="*/ 30 w 42"/>
                  <a:gd name="T27" fmla="*/ 0 h 48"/>
                  <a:gd name="T28" fmla="*/ 30 w 42"/>
                  <a:gd name="T29" fmla="*/ 0 h 48"/>
                  <a:gd name="T30" fmla="*/ 24 w 42"/>
                  <a:gd name="T31" fmla="*/ 0 h 48"/>
                  <a:gd name="T32" fmla="*/ 24 w 42"/>
                  <a:gd name="T33" fmla="*/ 6 h 48"/>
                  <a:gd name="T34" fmla="*/ 18 w 42"/>
                  <a:gd name="T35" fmla="*/ 12 h 48"/>
                  <a:gd name="T36" fmla="*/ 12 w 42"/>
                  <a:gd name="T37" fmla="*/ 12 h 48"/>
                  <a:gd name="T38" fmla="*/ 12 w 42"/>
                  <a:gd name="T39" fmla="*/ 18 h 48"/>
                  <a:gd name="T40" fmla="*/ 12 w 42"/>
                  <a:gd name="T41" fmla="*/ 18 h 48"/>
                  <a:gd name="T42" fmla="*/ 12 w 42"/>
                  <a:gd name="T43" fmla="*/ 24 h 48"/>
                  <a:gd name="T44" fmla="*/ 6 w 42"/>
                  <a:gd name="T45" fmla="*/ 24 h 48"/>
                  <a:gd name="T46" fmla="*/ 6 w 42"/>
                  <a:gd name="T47" fmla="*/ 24 h 48"/>
                  <a:gd name="T48" fmla="*/ 6 w 42"/>
                  <a:gd name="T49" fmla="*/ 30 h 48"/>
                  <a:gd name="T50" fmla="*/ 6 w 42"/>
                  <a:gd name="T51" fmla="*/ 30 h 48"/>
                  <a:gd name="T52" fmla="*/ 6 w 42"/>
                  <a:gd name="T53" fmla="*/ 30 h 48"/>
                  <a:gd name="T54" fmla="*/ 0 w 42"/>
                  <a:gd name="T55" fmla="*/ 30 h 48"/>
                  <a:gd name="T56" fmla="*/ 0 w 42"/>
                  <a:gd name="T57" fmla="*/ 30 h 48"/>
                  <a:gd name="T58" fmla="*/ 0 w 42"/>
                  <a:gd name="T59" fmla="*/ 30 h 48"/>
                  <a:gd name="T60" fmla="*/ 6 w 42"/>
                  <a:gd name="T61" fmla="*/ 36 h 48"/>
                  <a:gd name="T62" fmla="*/ 12 w 42"/>
                  <a:gd name="T63" fmla="*/ 48 h 48"/>
                  <a:gd name="T64" fmla="*/ 12 w 42"/>
                  <a:gd name="T65" fmla="*/ 48 h 48"/>
                  <a:gd name="T66" fmla="*/ 18 w 42"/>
                  <a:gd name="T67" fmla="*/ 48 h 48"/>
                  <a:gd name="T68" fmla="*/ 18 w 42"/>
                  <a:gd name="T69" fmla="*/ 48 h 48"/>
                  <a:gd name="T70" fmla="*/ 30 w 42"/>
                  <a:gd name="T71" fmla="*/ 48 h 48"/>
                  <a:gd name="T72" fmla="*/ 36 w 42"/>
                  <a:gd name="T73" fmla="*/ 48 h 48"/>
                  <a:gd name="T74" fmla="*/ 36 w 42"/>
                  <a:gd name="T75" fmla="*/ 48 h 4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2" h="48">
                    <a:moveTo>
                      <a:pt x="36" y="48"/>
                    </a:moveTo>
                    <a:lnTo>
                      <a:pt x="36" y="42"/>
                    </a:lnTo>
                    <a:lnTo>
                      <a:pt x="30" y="42"/>
                    </a:lnTo>
                    <a:lnTo>
                      <a:pt x="30" y="36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42" y="6"/>
                    </a:lnTo>
                    <a:lnTo>
                      <a:pt x="42" y="0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24" y="6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12" y="48"/>
                    </a:lnTo>
                    <a:lnTo>
                      <a:pt x="18" y="48"/>
                    </a:lnTo>
                    <a:lnTo>
                      <a:pt x="30" y="48"/>
                    </a:lnTo>
                    <a:lnTo>
                      <a:pt x="36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99" name="Freeform 639"/>
              <p:cNvSpPr>
                <a:spLocks/>
              </p:cNvSpPr>
              <p:nvPr/>
            </p:nvSpPr>
            <p:spPr bwMode="auto">
              <a:xfrm>
                <a:off x="3889" y="1314"/>
                <a:ext cx="42" cy="48"/>
              </a:xfrm>
              <a:custGeom>
                <a:avLst/>
                <a:gdLst>
                  <a:gd name="T0" fmla="*/ 36 w 42"/>
                  <a:gd name="T1" fmla="*/ 48 h 48"/>
                  <a:gd name="T2" fmla="*/ 36 w 42"/>
                  <a:gd name="T3" fmla="*/ 42 h 48"/>
                  <a:gd name="T4" fmla="*/ 30 w 42"/>
                  <a:gd name="T5" fmla="*/ 42 h 48"/>
                  <a:gd name="T6" fmla="*/ 30 w 42"/>
                  <a:gd name="T7" fmla="*/ 36 h 48"/>
                  <a:gd name="T8" fmla="*/ 36 w 42"/>
                  <a:gd name="T9" fmla="*/ 30 h 48"/>
                  <a:gd name="T10" fmla="*/ 36 w 42"/>
                  <a:gd name="T11" fmla="*/ 24 h 48"/>
                  <a:gd name="T12" fmla="*/ 36 w 42"/>
                  <a:gd name="T13" fmla="*/ 18 h 48"/>
                  <a:gd name="T14" fmla="*/ 36 w 42"/>
                  <a:gd name="T15" fmla="*/ 12 h 48"/>
                  <a:gd name="T16" fmla="*/ 42 w 42"/>
                  <a:gd name="T17" fmla="*/ 6 h 48"/>
                  <a:gd name="T18" fmla="*/ 42 w 42"/>
                  <a:gd name="T19" fmla="*/ 0 h 48"/>
                  <a:gd name="T20" fmla="*/ 36 w 42"/>
                  <a:gd name="T21" fmla="*/ 0 h 48"/>
                  <a:gd name="T22" fmla="*/ 30 w 42"/>
                  <a:gd name="T23" fmla="*/ 0 h 48"/>
                  <a:gd name="T24" fmla="*/ 24 w 42"/>
                  <a:gd name="T25" fmla="*/ 0 h 48"/>
                  <a:gd name="T26" fmla="*/ 24 w 42"/>
                  <a:gd name="T27" fmla="*/ 6 h 48"/>
                  <a:gd name="T28" fmla="*/ 18 w 42"/>
                  <a:gd name="T29" fmla="*/ 12 h 48"/>
                  <a:gd name="T30" fmla="*/ 12 w 42"/>
                  <a:gd name="T31" fmla="*/ 12 h 48"/>
                  <a:gd name="T32" fmla="*/ 12 w 42"/>
                  <a:gd name="T33" fmla="*/ 18 h 48"/>
                  <a:gd name="T34" fmla="*/ 12 w 42"/>
                  <a:gd name="T35" fmla="*/ 24 h 48"/>
                  <a:gd name="T36" fmla="*/ 6 w 42"/>
                  <a:gd name="T37" fmla="*/ 24 h 48"/>
                  <a:gd name="T38" fmla="*/ 6 w 42"/>
                  <a:gd name="T39" fmla="*/ 30 h 48"/>
                  <a:gd name="T40" fmla="*/ 0 w 42"/>
                  <a:gd name="T41" fmla="*/ 30 h 48"/>
                  <a:gd name="T42" fmla="*/ 6 w 42"/>
                  <a:gd name="T43" fmla="*/ 36 h 48"/>
                  <a:gd name="T44" fmla="*/ 12 w 42"/>
                  <a:gd name="T45" fmla="*/ 48 h 48"/>
                  <a:gd name="T46" fmla="*/ 18 w 42"/>
                  <a:gd name="T47" fmla="*/ 48 h 48"/>
                  <a:gd name="T48" fmla="*/ 30 w 42"/>
                  <a:gd name="T49" fmla="*/ 48 h 48"/>
                  <a:gd name="T50" fmla="*/ 36 w 42"/>
                  <a:gd name="T51" fmla="*/ 48 h 4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42" h="48">
                    <a:moveTo>
                      <a:pt x="36" y="48"/>
                    </a:moveTo>
                    <a:lnTo>
                      <a:pt x="36" y="42"/>
                    </a:lnTo>
                    <a:lnTo>
                      <a:pt x="30" y="42"/>
                    </a:lnTo>
                    <a:lnTo>
                      <a:pt x="30" y="36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42" y="6"/>
                    </a:lnTo>
                    <a:lnTo>
                      <a:pt x="42" y="0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24" y="6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0" y="30"/>
                    </a:lnTo>
                    <a:lnTo>
                      <a:pt x="6" y="36"/>
                    </a:lnTo>
                    <a:lnTo>
                      <a:pt x="12" y="48"/>
                    </a:lnTo>
                    <a:lnTo>
                      <a:pt x="18" y="48"/>
                    </a:lnTo>
                    <a:lnTo>
                      <a:pt x="30" y="48"/>
                    </a:lnTo>
                    <a:lnTo>
                      <a:pt x="36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14" name="Group 640"/>
            <p:cNvGrpSpPr>
              <a:grpSpLocks/>
            </p:cNvGrpSpPr>
            <p:nvPr/>
          </p:nvGrpSpPr>
          <p:grpSpPr bwMode="auto">
            <a:xfrm>
              <a:off x="6064779" y="2970185"/>
              <a:ext cx="82645" cy="93049"/>
              <a:chOff x="3847" y="1278"/>
              <a:chExt cx="42" cy="54"/>
            </a:xfrm>
            <a:solidFill>
              <a:srgbClr val="0070C0">
                <a:alpha val="27059"/>
              </a:srgbClr>
            </a:solidFill>
          </p:grpSpPr>
          <p:sp>
            <p:nvSpPr>
              <p:cNvPr id="996" name="Freeform 641"/>
              <p:cNvSpPr>
                <a:spLocks/>
              </p:cNvSpPr>
              <p:nvPr/>
            </p:nvSpPr>
            <p:spPr bwMode="auto">
              <a:xfrm>
                <a:off x="3847" y="1278"/>
                <a:ext cx="42" cy="54"/>
              </a:xfrm>
              <a:custGeom>
                <a:avLst/>
                <a:gdLst>
                  <a:gd name="T0" fmla="*/ 42 w 42"/>
                  <a:gd name="T1" fmla="*/ 30 h 54"/>
                  <a:gd name="T2" fmla="*/ 42 w 42"/>
                  <a:gd name="T3" fmla="*/ 30 h 54"/>
                  <a:gd name="T4" fmla="*/ 30 w 42"/>
                  <a:gd name="T5" fmla="*/ 36 h 54"/>
                  <a:gd name="T6" fmla="*/ 30 w 42"/>
                  <a:gd name="T7" fmla="*/ 36 h 54"/>
                  <a:gd name="T8" fmla="*/ 24 w 42"/>
                  <a:gd name="T9" fmla="*/ 42 h 54"/>
                  <a:gd name="T10" fmla="*/ 24 w 42"/>
                  <a:gd name="T11" fmla="*/ 42 h 54"/>
                  <a:gd name="T12" fmla="*/ 12 w 42"/>
                  <a:gd name="T13" fmla="*/ 48 h 54"/>
                  <a:gd name="T14" fmla="*/ 12 w 42"/>
                  <a:gd name="T15" fmla="*/ 54 h 54"/>
                  <a:gd name="T16" fmla="*/ 0 w 42"/>
                  <a:gd name="T17" fmla="*/ 42 h 54"/>
                  <a:gd name="T18" fmla="*/ 0 w 42"/>
                  <a:gd name="T19" fmla="*/ 42 h 54"/>
                  <a:gd name="T20" fmla="*/ 0 w 42"/>
                  <a:gd name="T21" fmla="*/ 30 h 54"/>
                  <a:gd name="T22" fmla="*/ 0 w 42"/>
                  <a:gd name="T23" fmla="*/ 30 h 54"/>
                  <a:gd name="T24" fmla="*/ 6 w 42"/>
                  <a:gd name="T25" fmla="*/ 24 h 54"/>
                  <a:gd name="T26" fmla="*/ 0 w 42"/>
                  <a:gd name="T27" fmla="*/ 24 h 54"/>
                  <a:gd name="T28" fmla="*/ 0 w 42"/>
                  <a:gd name="T29" fmla="*/ 24 h 54"/>
                  <a:gd name="T30" fmla="*/ 6 w 42"/>
                  <a:gd name="T31" fmla="*/ 18 h 54"/>
                  <a:gd name="T32" fmla="*/ 24 w 42"/>
                  <a:gd name="T33" fmla="*/ 18 h 54"/>
                  <a:gd name="T34" fmla="*/ 24 w 42"/>
                  <a:gd name="T35" fmla="*/ 12 h 54"/>
                  <a:gd name="T36" fmla="*/ 12 w 42"/>
                  <a:gd name="T37" fmla="*/ 6 h 54"/>
                  <a:gd name="T38" fmla="*/ 18 w 42"/>
                  <a:gd name="T39" fmla="*/ 6 h 54"/>
                  <a:gd name="T40" fmla="*/ 18 w 42"/>
                  <a:gd name="T41" fmla="*/ 0 h 54"/>
                  <a:gd name="T42" fmla="*/ 30 w 42"/>
                  <a:gd name="T43" fmla="*/ 0 h 54"/>
                  <a:gd name="T44" fmla="*/ 30 w 42"/>
                  <a:gd name="T45" fmla="*/ 0 h 54"/>
                  <a:gd name="T46" fmla="*/ 30 w 42"/>
                  <a:gd name="T47" fmla="*/ 24 h 54"/>
                  <a:gd name="T48" fmla="*/ 36 w 42"/>
                  <a:gd name="T49" fmla="*/ 24 h 54"/>
                  <a:gd name="T50" fmla="*/ 36 w 42"/>
                  <a:gd name="T51" fmla="*/ 24 h 54"/>
                  <a:gd name="T52" fmla="*/ 42 w 42"/>
                  <a:gd name="T53" fmla="*/ 30 h 5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2" h="54">
                    <a:moveTo>
                      <a:pt x="42" y="30"/>
                    </a:moveTo>
                    <a:lnTo>
                      <a:pt x="42" y="30"/>
                    </a:lnTo>
                    <a:lnTo>
                      <a:pt x="30" y="36"/>
                    </a:lnTo>
                    <a:lnTo>
                      <a:pt x="24" y="42"/>
                    </a:lnTo>
                    <a:lnTo>
                      <a:pt x="12" y="48"/>
                    </a:lnTo>
                    <a:lnTo>
                      <a:pt x="12" y="54"/>
                    </a:lnTo>
                    <a:lnTo>
                      <a:pt x="0" y="42"/>
                    </a:lnTo>
                    <a:lnTo>
                      <a:pt x="0" y="30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6" y="18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12" y="6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30" y="0"/>
                    </a:lnTo>
                    <a:lnTo>
                      <a:pt x="30" y="24"/>
                    </a:lnTo>
                    <a:lnTo>
                      <a:pt x="36" y="24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97" name="Freeform 642"/>
              <p:cNvSpPr>
                <a:spLocks/>
              </p:cNvSpPr>
              <p:nvPr/>
            </p:nvSpPr>
            <p:spPr bwMode="auto">
              <a:xfrm>
                <a:off x="3847" y="1278"/>
                <a:ext cx="42" cy="54"/>
              </a:xfrm>
              <a:custGeom>
                <a:avLst/>
                <a:gdLst>
                  <a:gd name="T0" fmla="*/ 42 w 42"/>
                  <a:gd name="T1" fmla="*/ 30 h 54"/>
                  <a:gd name="T2" fmla="*/ 30 w 42"/>
                  <a:gd name="T3" fmla="*/ 36 h 54"/>
                  <a:gd name="T4" fmla="*/ 24 w 42"/>
                  <a:gd name="T5" fmla="*/ 42 h 54"/>
                  <a:gd name="T6" fmla="*/ 12 w 42"/>
                  <a:gd name="T7" fmla="*/ 48 h 54"/>
                  <a:gd name="T8" fmla="*/ 12 w 42"/>
                  <a:gd name="T9" fmla="*/ 54 h 54"/>
                  <a:gd name="T10" fmla="*/ 0 w 42"/>
                  <a:gd name="T11" fmla="*/ 42 h 54"/>
                  <a:gd name="T12" fmla="*/ 0 w 42"/>
                  <a:gd name="T13" fmla="*/ 30 h 54"/>
                  <a:gd name="T14" fmla="*/ 6 w 42"/>
                  <a:gd name="T15" fmla="*/ 24 h 54"/>
                  <a:gd name="T16" fmla="*/ 0 w 42"/>
                  <a:gd name="T17" fmla="*/ 24 h 54"/>
                  <a:gd name="T18" fmla="*/ 6 w 42"/>
                  <a:gd name="T19" fmla="*/ 18 h 54"/>
                  <a:gd name="T20" fmla="*/ 24 w 42"/>
                  <a:gd name="T21" fmla="*/ 18 h 54"/>
                  <a:gd name="T22" fmla="*/ 24 w 42"/>
                  <a:gd name="T23" fmla="*/ 12 h 54"/>
                  <a:gd name="T24" fmla="*/ 12 w 42"/>
                  <a:gd name="T25" fmla="*/ 6 h 54"/>
                  <a:gd name="T26" fmla="*/ 18 w 42"/>
                  <a:gd name="T27" fmla="*/ 6 h 54"/>
                  <a:gd name="T28" fmla="*/ 18 w 42"/>
                  <a:gd name="T29" fmla="*/ 0 h 54"/>
                  <a:gd name="T30" fmla="*/ 30 w 42"/>
                  <a:gd name="T31" fmla="*/ 0 h 54"/>
                  <a:gd name="T32" fmla="*/ 30 w 42"/>
                  <a:gd name="T33" fmla="*/ 24 h 54"/>
                  <a:gd name="T34" fmla="*/ 36 w 42"/>
                  <a:gd name="T35" fmla="*/ 24 h 54"/>
                  <a:gd name="T36" fmla="*/ 42 w 42"/>
                  <a:gd name="T37" fmla="*/ 30 h 5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2" h="54">
                    <a:moveTo>
                      <a:pt x="42" y="30"/>
                    </a:moveTo>
                    <a:lnTo>
                      <a:pt x="30" y="36"/>
                    </a:lnTo>
                    <a:lnTo>
                      <a:pt x="24" y="42"/>
                    </a:lnTo>
                    <a:lnTo>
                      <a:pt x="12" y="48"/>
                    </a:lnTo>
                    <a:lnTo>
                      <a:pt x="12" y="54"/>
                    </a:lnTo>
                    <a:lnTo>
                      <a:pt x="0" y="42"/>
                    </a:lnTo>
                    <a:lnTo>
                      <a:pt x="0" y="30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6" y="18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12" y="6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30" y="0"/>
                    </a:lnTo>
                    <a:lnTo>
                      <a:pt x="30" y="24"/>
                    </a:lnTo>
                    <a:lnTo>
                      <a:pt x="36" y="24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15" name="Group 643"/>
            <p:cNvGrpSpPr>
              <a:grpSpLocks/>
            </p:cNvGrpSpPr>
            <p:nvPr/>
          </p:nvGrpSpPr>
          <p:grpSpPr bwMode="auto">
            <a:xfrm>
              <a:off x="6124361" y="2960071"/>
              <a:ext cx="23064" cy="52593"/>
              <a:chOff x="3877" y="1272"/>
              <a:chExt cx="12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994" name="Freeform 644"/>
              <p:cNvSpPr>
                <a:spLocks/>
              </p:cNvSpPr>
              <p:nvPr/>
            </p:nvSpPr>
            <p:spPr bwMode="auto">
              <a:xfrm>
                <a:off x="3877" y="1272"/>
                <a:ext cx="12" cy="30"/>
              </a:xfrm>
              <a:custGeom>
                <a:avLst/>
                <a:gdLst>
                  <a:gd name="T0" fmla="*/ 12 w 12"/>
                  <a:gd name="T1" fmla="*/ 0 h 30"/>
                  <a:gd name="T2" fmla="*/ 12 w 12"/>
                  <a:gd name="T3" fmla="*/ 0 h 30"/>
                  <a:gd name="T4" fmla="*/ 6 w 12"/>
                  <a:gd name="T5" fmla="*/ 0 h 30"/>
                  <a:gd name="T6" fmla="*/ 0 w 12"/>
                  <a:gd name="T7" fmla="*/ 0 h 30"/>
                  <a:gd name="T8" fmla="*/ 0 w 12"/>
                  <a:gd name="T9" fmla="*/ 0 h 30"/>
                  <a:gd name="T10" fmla="*/ 0 w 12"/>
                  <a:gd name="T11" fmla="*/ 6 h 30"/>
                  <a:gd name="T12" fmla="*/ 0 w 12"/>
                  <a:gd name="T13" fmla="*/ 30 h 30"/>
                  <a:gd name="T14" fmla="*/ 6 w 12"/>
                  <a:gd name="T15" fmla="*/ 30 h 30"/>
                  <a:gd name="T16" fmla="*/ 6 w 12"/>
                  <a:gd name="T17" fmla="*/ 30 h 30"/>
                  <a:gd name="T18" fmla="*/ 12 w 12"/>
                  <a:gd name="T19" fmla="*/ 24 h 30"/>
                  <a:gd name="T20" fmla="*/ 12 w 12"/>
                  <a:gd name="T21" fmla="*/ 6 h 30"/>
                  <a:gd name="T22" fmla="*/ 12 w 12"/>
                  <a:gd name="T23" fmla="*/ 0 h 3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2" h="30">
                    <a:moveTo>
                      <a:pt x="12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12" y="24"/>
                    </a:lnTo>
                    <a:lnTo>
                      <a:pt x="12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95" name="Freeform 645"/>
              <p:cNvSpPr>
                <a:spLocks/>
              </p:cNvSpPr>
              <p:nvPr/>
            </p:nvSpPr>
            <p:spPr bwMode="auto">
              <a:xfrm>
                <a:off x="3877" y="1272"/>
                <a:ext cx="12" cy="30"/>
              </a:xfrm>
              <a:custGeom>
                <a:avLst/>
                <a:gdLst>
                  <a:gd name="T0" fmla="*/ 12 w 12"/>
                  <a:gd name="T1" fmla="*/ 0 h 30"/>
                  <a:gd name="T2" fmla="*/ 6 w 12"/>
                  <a:gd name="T3" fmla="*/ 0 h 30"/>
                  <a:gd name="T4" fmla="*/ 0 w 12"/>
                  <a:gd name="T5" fmla="*/ 0 h 30"/>
                  <a:gd name="T6" fmla="*/ 0 w 12"/>
                  <a:gd name="T7" fmla="*/ 6 h 30"/>
                  <a:gd name="T8" fmla="*/ 0 w 12"/>
                  <a:gd name="T9" fmla="*/ 30 h 30"/>
                  <a:gd name="T10" fmla="*/ 6 w 12"/>
                  <a:gd name="T11" fmla="*/ 30 h 30"/>
                  <a:gd name="T12" fmla="*/ 12 w 12"/>
                  <a:gd name="T13" fmla="*/ 24 h 30"/>
                  <a:gd name="T14" fmla="*/ 12 w 12"/>
                  <a:gd name="T15" fmla="*/ 6 h 30"/>
                  <a:gd name="T16" fmla="*/ 12 w 12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30">
                    <a:moveTo>
                      <a:pt x="12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12" y="24"/>
                    </a:lnTo>
                    <a:lnTo>
                      <a:pt x="12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16" name="Group 646"/>
            <p:cNvGrpSpPr>
              <a:grpSpLocks/>
            </p:cNvGrpSpPr>
            <p:nvPr/>
          </p:nvGrpSpPr>
          <p:grpSpPr bwMode="auto">
            <a:xfrm>
              <a:off x="6172410" y="3113804"/>
              <a:ext cx="74957" cy="52593"/>
              <a:chOff x="3901" y="1362"/>
              <a:chExt cx="36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992" name="Freeform 647"/>
              <p:cNvSpPr>
                <a:spLocks/>
              </p:cNvSpPr>
              <p:nvPr/>
            </p:nvSpPr>
            <p:spPr bwMode="auto">
              <a:xfrm>
                <a:off x="3901" y="1362"/>
                <a:ext cx="36" cy="30"/>
              </a:xfrm>
              <a:custGeom>
                <a:avLst/>
                <a:gdLst>
                  <a:gd name="T0" fmla="*/ 36 w 36"/>
                  <a:gd name="T1" fmla="*/ 12 h 30"/>
                  <a:gd name="T2" fmla="*/ 36 w 36"/>
                  <a:gd name="T3" fmla="*/ 12 h 30"/>
                  <a:gd name="T4" fmla="*/ 30 w 36"/>
                  <a:gd name="T5" fmla="*/ 6 h 30"/>
                  <a:gd name="T6" fmla="*/ 24 w 36"/>
                  <a:gd name="T7" fmla="*/ 0 h 30"/>
                  <a:gd name="T8" fmla="*/ 24 w 36"/>
                  <a:gd name="T9" fmla="*/ 0 h 30"/>
                  <a:gd name="T10" fmla="*/ 24 w 36"/>
                  <a:gd name="T11" fmla="*/ 0 h 30"/>
                  <a:gd name="T12" fmla="*/ 18 w 36"/>
                  <a:gd name="T13" fmla="*/ 0 h 30"/>
                  <a:gd name="T14" fmla="*/ 6 w 36"/>
                  <a:gd name="T15" fmla="*/ 0 h 30"/>
                  <a:gd name="T16" fmla="*/ 6 w 36"/>
                  <a:gd name="T17" fmla="*/ 0 h 30"/>
                  <a:gd name="T18" fmla="*/ 0 w 36"/>
                  <a:gd name="T19" fmla="*/ 0 h 30"/>
                  <a:gd name="T20" fmla="*/ 0 w 36"/>
                  <a:gd name="T21" fmla="*/ 0 h 30"/>
                  <a:gd name="T22" fmla="*/ 0 w 36"/>
                  <a:gd name="T23" fmla="*/ 0 h 30"/>
                  <a:gd name="T24" fmla="*/ 0 w 36"/>
                  <a:gd name="T25" fmla="*/ 0 h 30"/>
                  <a:gd name="T26" fmla="*/ 0 w 36"/>
                  <a:gd name="T27" fmla="*/ 6 h 30"/>
                  <a:gd name="T28" fmla="*/ 0 w 36"/>
                  <a:gd name="T29" fmla="*/ 12 h 30"/>
                  <a:gd name="T30" fmla="*/ 6 w 36"/>
                  <a:gd name="T31" fmla="*/ 18 h 30"/>
                  <a:gd name="T32" fmla="*/ 6 w 36"/>
                  <a:gd name="T33" fmla="*/ 12 h 30"/>
                  <a:gd name="T34" fmla="*/ 6 w 36"/>
                  <a:gd name="T35" fmla="*/ 12 h 30"/>
                  <a:gd name="T36" fmla="*/ 6 w 36"/>
                  <a:gd name="T37" fmla="*/ 12 h 30"/>
                  <a:gd name="T38" fmla="*/ 6 w 36"/>
                  <a:gd name="T39" fmla="*/ 12 h 30"/>
                  <a:gd name="T40" fmla="*/ 18 w 36"/>
                  <a:gd name="T41" fmla="*/ 18 h 30"/>
                  <a:gd name="T42" fmla="*/ 12 w 36"/>
                  <a:gd name="T43" fmla="*/ 24 h 30"/>
                  <a:gd name="T44" fmla="*/ 18 w 36"/>
                  <a:gd name="T45" fmla="*/ 24 h 30"/>
                  <a:gd name="T46" fmla="*/ 18 w 36"/>
                  <a:gd name="T47" fmla="*/ 24 h 30"/>
                  <a:gd name="T48" fmla="*/ 18 w 36"/>
                  <a:gd name="T49" fmla="*/ 24 h 30"/>
                  <a:gd name="T50" fmla="*/ 18 w 36"/>
                  <a:gd name="T51" fmla="*/ 24 h 30"/>
                  <a:gd name="T52" fmla="*/ 18 w 36"/>
                  <a:gd name="T53" fmla="*/ 24 h 30"/>
                  <a:gd name="T54" fmla="*/ 18 w 36"/>
                  <a:gd name="T55" fmla="*/ 24 h 30"/>
                  <a:gd name="T56" fmla="*/ 24 w 36"/>
                  <a:gd name="T57" fmla="*/ 30 h 30"/>
                  <a:gd name="T58" fmla="*/ 24 w 36"/>
                  <a:gd name="T59" fmla="*/ 24 h 30"/>
                  <a:gd name="T60" fmla="*/ 30 w 36"/>
                  <a:gd name="T61" fmla="*/ 24 h 30"/>
                  <a:gd name="T62" fmla="*/ 30 w 36"/>
                  <a:gd name="T63" fmla="*/ 18 h 30"/>
                  <a:gd name="T64" fmla="*/ 30 w 36"/>
                  <a:gd name="T65" fmla="*/ 18 h 30"/>
                  <a:gd name="T66" fmla="*/ 36 w 36"/>
                  <a:gd name="T67" fmla="*/ 12 h 3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6" h="30">
                    <a:moveTo>
                      <a:pt x="36" y="12"/>
                    </a:moveTo>
                    <a:lnTo>
                      <a:pt x="36" y="12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18" y="18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93" name="Freeform 648"/>
              <p:cNvSpPr>
                <a:spLocks/>
              </p:cNvSpPr>
              <p:nvPr/>
            </p:nvSpPr>
            <p:spPr bwMode="auto">
              <a:xfrm>
                <a:off x="3901" y="1362"/>
                <a:ext cx="36" cy="30"/>
              </a:xfrm>
              <a:custGeom>
                <a:avLst/>
                <a:gdLst>
                  <a:gd name="T0" fmla="*/ 36 w 36"/>
                  <a:gd name="T1" fmla="*/ 12 h 30"/>
                  <a:gd name="T2" fmla="*/ 30 w 36"/>
                  <a:gd name="T3" fmla="*/ 6 h 30"/>
                  <a:gd name="T4" fmla="*/ 24 w 36"/>
                  <a:gd name="T5" fmla="*/ 0 h 30"/>
                  <a:gd name="T6" fmla="*/ 18 w 36"/>
                  <a:gd name="T7" fmla="*/ 0 h 30"/>
                  <a:gd name="T8" fmla="*/ 6 w 36"/>
                  <a:gd name="T9" fmla="*/ 0 h 30"/>
                  <a:gd name="T10" fmla="*/ 0 w 36"/>
                  <a:gd name="T11" fmla="*/ 0 h 30"/>
                  <a:gd name="T12" fmla="*/ 0 w 36"/>
                  <a:gd name="T13" fmla="*/ 6 h 30"/>
                  <a:gd name="T14" fmla="*/ 0 w 36"/>
                  <a:gd name="T15" fmla="*/ 12 h 30"/>
                  <a:gd name="T16" fmla="*/ 6 w 36"/>
                  <a:gd name="T17" fmla="*/ 18 h 30"/>
                  <a:gd name="T18" fmla="*/ 6 w 36"/>
                  <a:gd name="T19" fmla="*/ 12 h 30"/>
                  <a:gd name="T20" fmla="*/ 18 w 36"/>
                  <a:gd name="T21" fmla="*/ 18 h 30"/>
                  <a:gd name="T22" fmla="*/ 12 w 36"/>
                  <a:gd name="T23" fmla="*/ 24 h 30"/>
                  <a:gd name="T24" fmla="*/ 18 w 36"/>
                  <a:gd name="T25" fmla="*/ 24 h 30"/>
                  <a:gd name="T26" fmla="*/ 24 w 36"/>
                  <a:gd name="T27" fmla="*/ 30 h 30"/>
                  <a:gd name="T28" fmla="*/ 24 w 36"/>
                  <a:gd name="T29" fmla="*/ 24 h 30"/>
                  <a:gd name="T30" fmla="*/ 30 w 36"/>
                  <a:gd name="T31" fmla="*/ 24 h 30"/>
                  <a:gd name="T32" fmla="*/ 30 w 36"/>
                  <a:gd name="T33" fmla="*/ 18 h 30"/>
                  <a:gd name="T34" fmla="*/ 36 w 36"/>
                  <a:gd name="T35" fmla="*/ 12 h 3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6" h="30">
                    <a:moveTo>
                      <a:pt x="36" y="12"/>
                    </a:move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18" y="18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17" name="Group 649"/>
            <p:cNvGrpSpPr>
              <a:grpSpLocks/>
            </p:cNvGrpSpPr>
            <p:nvPr/>
          </p:nvGrpSpPr>
          <p:grpSpPr bwMode="auto">
            <a:xfrm>
              <a:off x="6220460" y="3134032"/>
              <a:ext cx="123007" cy="42479"/>
              <a:chOff x="3925" y="1374"/>
              <a:chExt cx="60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990" name="Freeform 650"/>
              <p:cNvSpPr>
                <a:spLocks/>
              </p:cNvSpPr>
              <p:nvPr/>
            </p:nvSpPr>
            <p:spPr bwMode="auto">
              <a:xfrm>
                <a:off x="3925" y="1374"/>
                <a:ext cx="60" cy="24"/>
              </a:xfrm>
              <a:custGeom>
                <a:avLst/>
                <a:gdLst>
                  <a:gd name="T0" fmla="*/ 12 w 60"/>
                  <a:gd name="T1" fmla="*/ 0 h 24"/>
                  <a:gd name="T2" fmla="*/ 6 w 60"/>
                  <a:gd name="T3" fmla="*/ 6 h 24"/>
                  <a:gd name="T4" fmla="*/ 6 w 60"/>
                  <a:gd name="T5" fmla="*/ 12 h 24"/>
                  <a:gd name="T6" fmla="*/ 0 w 60"/>
                  <a:gd name="T7" fmla="*/ 12 h 24"/>
                  <a:gd name="T8" fmla="*/ 0 w 60"/>
                  <a:gd name="T9" fmla="*/ 12 h 24"/>
                  <a:gd name="T10" fmla="*/ 6 w 60"/>
                  <a:gd name="T11" fmla="*/ 18 h 24"/>
                  <a:gd name="T12" fmla="*/ 6 w 60"/>
                  <a:gd name="T13" fmla="*/ 12 h 24"/>
                  <a:gd name="T14" fmla="*/ 12 w 60"/>
                  <a:gd name="T15" fmla="*/ 12 h 24"/>
                  <a:gd name="T16" fmla="*/ 24 w 60"/>
                  <a:gd name="T17" fmla="*/ 12 h 24"/>
                  <a:gd name="T18" fmla="*/ 24 w 60"/>
                  <a:gd name="T19" fmla="*/ 12 h 24"/>
                  <a:gd name="T20" fmla="*/ 30 w 60"/>
                  <a:gd name="T21" fmla="*/ 18 h 24"/>
                  <a:gd name="T22" fmla="*/ 30 w 60"/>
                  <a:gd name="T23" fmla="*/ 18 h 24"/>
                  <a:gd name="T24" fmla="*/ 36 w 60"/>
                  <a:gd name="T25" fmla="*/ 24 h 24"/>
                  <a:gd name="T26" fmla="*/ 42 w 60"/>
                  <a:gd name="T27" fmla="*/ 18 h 24"/>
                  <a:gd name="T28" fmla="*/ 42 w 60"/>
                  <a:gd name="T29" fmla="*/ 18 h 24"/>
                  <a:gd name="T30" fmla="*/ 42 w 60"/>
                  <a:gd name="T31" fmla="*/ 18 h 24"/>
                  <a:gd name="T32" fmla="*/ 42 w 60"/>
                  <a:gd name="T33" fmla="*/ 18 h 24"/>
                  <a:gd name="T34" fmla="*/ 42 w 60"/>
                  <a:gd name="T35" fmla="*/ 12 h 24"/>
                  <a:gd name="T36" fmla="*/ 42 w 60"/>
                  <a:gd name="T37" fmla="*/ 12 h 24"/>
                  <a:gd name="T38" fmla="*/ 48 w 60"/>
                  <a:gd name="T39" fmla="*/ 12 h 24"/>
                  <a:gd name="T40" fmla="*/ 48 w 60"/>
                  <a:gd name="T41" fmla="*/ 12 h 24"/>
                  <a:gd name="T42" fmla="*/ 48 w 60"/>
                  <a:gd name="T43" fmla="*/ 6 h 24"/>
                  <a:gd name="T44" fmla="*/ 54 w 60"/>
                  <a:gd name="T45" fmla="*/ 6 h 24"/>
                  <a:gd name="T46" fmla="*/ 54 w 60"/>
                  <a:gd name="T47" fmla="*/ 12 h 24"/>
                  <a:gd name="T48" fmla="*/ 60 w 60"/>
                  <a:gd name="T49" fmla="*/ 12 h 24"/>
                  <a:gd name="T50" fmla="*/ 60 w 60"/>
                  <a:gd name="T51" fmla="*/ 12 h 24"/>
                  <a:gd name="T52" fmla="*/ 60 w 60"/>
                  <a:gd name="T53" fmla="*/ 6 h 24"/>
                  <a:gd name="T54" fmla="*/ 60 w 60"/>
                  <a:gd name="T55" fmla="*/ 6 h 24"/>
                  <a:gd name="T56" fmla="*/ 60 w 60"/>
                  <a:gd name="T57" fmla="*/ 6 h 24"/>
                  <a:gd name="T58" fmla="*/ 54 w 60"/>
                  <a:gd name="T59" fmla="*/ 6 h 24"/>
                  <a:gd name="T60" fmla="*/ 54 w 60"/>
                  <a:gd name="T61" fmla="*/ 6 h 24"/>
                  <a:gd name="T62" fmla="*/ 48 w 60"/>
                  <a:gd name="T63" fmla="*/ 0 h 24"/>
                  <a:gd name="T64" fmla="*/ 42 w 60"/>
                  <a:gd name="T65" fmla="*/ 6 h 24"/>
                  <a:gd name="T66" fmla="*/ 30 w 60"/>
                  <a:gd name="T67" fmla="*/ 6 h 24"/>
                  <a:gd name="T68" fmla="*/ 24 w 60"/>
                  <a:gd name="T69" fmla="*/ 6 h 24"/>
                  <a:gd name="T70" fmla="*/ 18 w 60"/>
                  <a:gd name="T71" fmla="*/ 6 h 24"/>
                  <a:gd name="T72" fmla="*/ 12 w 60"/>
                  <a:gd name="T73" fmla="*/ 0 h 2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24">
                    <a:moveTo>
                      <a:pt x="12" y="0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24" y="12"/>
                    </a:lnTo>
                    <a:lnTo>
                      <a:pt x="30" y="18"/>
                    </a:lnTo>
                    <a:lnTo>
                      <a:pt x="36" y="24"/>
                    </a:lnTo>
                    <a:lnTo>
                      <a:pt x="42" y="18"/>
                    </a:lnTo>
                    <a:lnTo>
                      <a:pt x="42" y="12"/>
                    </a:lnTo>
                    <a:lnTo>
                      <a:pt x="48" y="12"/>
                    </a:lnTo>
                    <a:lnTo>
                      <a:pt x="48" y="6"/>
                    </a:lnTo>
                    <a:lnTo>
                      <a:pt x="54" y="6"/>
                    </a:lnTo>
                    <a:lnTo>
                      <a:pt x="54" y="12"/>
                    </a:lnTo>
                    <a:lnTo>
                      <a:pt x="60" y="12"/>
                    </a:lnTo>
                    <a:lnTo>
                      <a:pt x="60" y="6"/>
                    </a:lnTo>
                    <a:lnTo>
                      <a:pt x="54" y="6"/>
                    </a:lnTo>
                    <a:lnTo>
                      <a:pt x="48" y="0"/>
                    </a:lnTo>
                    <a:lnTo>
                      <a:pt x="42" y="6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91" name="Freeform 651"/>
              <p:cNvSpPr>
                <a:spLocks/>
              </p:cNvSpPr>
              <p:nvPr/>
            </p:nvSpPr>
            <p:spPr bwMode="auto">
              <a:xfrm>
                <a:off x="3925" y="1374"/>
                <a:ext cx="60" cy="24"/>
              </a:xfrm>
              <a:custGeom>
                <a:avLst/>
                <a:gdLst>
                  <a:gd name="T0" fmla="*/ 12 w 60"/>
                  <a:gd name="T1" fmla="*/ 0 h 24"/>
                  <a:gd name="T2" fmla="*/ 6 w 60"/>
                  <a:gd name="T3" fmla="*/ 6 h 24"/>
                  <a:gd name="T4" fmla="*/ 6 w 60"/>
                  <a:gd name="T5" fmla="*/ 12 h 24"/>
                  <a:gd name="T6" fmla="*/ 0 w 60"/>
                  <a:gd name="T7" fmla="*/ 12 h 24"/>
                  <a:gd name="T8" fmla="*/ 6 w 60"/>
                  <a:gd name="T9" fmla="*/ 18 h 24"/>
                  <a:gd name="T10" fmla="*/ 6 w 60"/>
                  <a:gd name="T11" fmla="*/ 12 h 24"/>
                  <a:gd name="T12" fmla="*/ 12 w 60"/>
                  <a:gd name="T13" fmla="*/ 12 h 24"/>
                  <a:gd name="T14" fmla="*/ 24 w 60"/>
                  <a:gd name="T15" fmla="*/ 12 h 24"/>
                  <a:gd name="T16" fmla="*/ 30 w 60"/>
                  <a:gd name="T17" fmla="*/ 18 h 24"/>
                  <a:gd name="T18" fmla="*/ 36 w 60"/>
                  <a:gd name="T19" fmla="*/ 24 h 24"/>
                  <a:gd name="T20" fmla="*/ 42 w 60"/>
                  <a:gd name="T21" fmla="*/ 18 h 24"/>
                  <a:gd name="T22" fmla="*/ 42 w 60"/>
                  <a:gd name="T23" fmla="*/ 12 h 24"/>
                  <a:gd name="T24" fmla="*/ 48 w 60"/>
                  <a:gd name="T25" fmla="*/ 12 h 24"/>
                  <a:gd name="T26" fmla="*/ 48 w 60"/>
                  <a:gd name="T27" fmla="*/ 6 h 24"/>
                  <a:gd name="T28" fmla="*/ 54 w 60"/>
                  <a:gd name="T29" fmla="*/ 6 h 24"/>
                  <a:gd name="T30" fmla="*/ 54 w 60"/>
                  <a:gd name="T31" fmla="*/ 12 h 24"/>
                  <a:gd name="T32" fmla="*/ 60 w 60"/>
                  <a:gd name="T33" fmla="*/ 12 h 24"/>
                  <a:gd name="T34" fmla="*/ 60 w 60"/>
                  <a:gd name="T35" fmla="*/ 6 h 24"/>
                  <a:gd name="T36" fmla="*/ 54 w 60"/>
                  <a:gd name="T37" fmla="*/ 6 h 24"/>
                  <a:gd name="T38" fmla="*/ 48 w 60"/>
                  <a:gd name="T39" fmla="*/ 0 h 24"/>
                  <a:gd name="T40" fmla="*/ 42 w 60"/>
                  <a:gd name="T41" fmla="*/ 6 h 24"/>
                  <a:gd name="T42" fmla="*/ 30 w 60"/>
                  <a:gd name="T43" fmla="*/ 6 h 24"/>
                  <a:gd name="T44" fmla="*/ 24 w 60"/>
                  <a:gd name="T45" fmla="*/ 6 h 24"/>
                  <a:gd name="T46" fmla="*/ 18 w 60"/>
                  <a:gd name="T47" fmla="*/ 6 h 24"/>
                  <a:gd name="T48" fmla="*/ 12 w 60"/>
                  <a:gd name="T49" fmla="*/ 0 h 2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0" h="24">
                    <a:moveTo>
                      <a:pt x="12" y="0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24" y="12"/>
                    </a:lnTo>
                    <a:lnTo>
                      <a:pt x="30" y="18"/>
                    </a:lnTo>
                    <a:lnTo>
                      <a:pt x="36" y="24"/>
                    </a:lnTo>
                    <a:lnTo>
                      <a:pt x="42" y="18"/>
                    </a:lnTo>
                    <a:lnTo>
                      <a:pt x="42" y="12"/>
                    </a:lnTo>
                    <a:lnTo>
                      <a:pt x="48" y="12"/>
                    </a:lnTo>
                    <a:lnTo>
                      <a:pt x="48" y="6"/>
                    </a:lnTo>
                    <a:lnTo>
                      <a:pt x="54" y="6"/>
                    </a:lnTo>
                    <a:lnTo>
                      <a:pt x="54" y="12"/>
                    </a:lnTo>
                    <a:lnTo>
                      <a:pt x="60" y="12"/>
                    </a:lnTo>
                    <a:lnTo>
                      <a:pt x="60" y="6"/>
                    </a:lnTo>
                    <a:lnTo>
                      <a:pt x="54" y="6"/>
                    </a:lnTo>
                    <a:lnTo>
                      <a:pt x="48" y="0"/>
                    </a:lnTo>
                    <a:lnTo>
                      <a:pt x="42" y="6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18" name="Group 652"/>
            <p:cNvGrpSpPr>
              <a:grpSpLocks/>
            </p:cNvGrpSpPr>
            <p:nvPr/>
          </p:nvGrpSpPr>
          <p:grpSpPr bwMode="auto">
            <a:xfrm>
              <a:off x="5574672" y="2713288"/>
              <a:ext cx="586206" cy="329718"/>
              <a:chOff x="3607" y="1128"/>
              <a:chExt cx="288" cy="192"/>
            </a:xfrm>
            <a:solidFill>
              <a:srgbClr val="0070C0">
                <a:alpha val="27059"/>
              </a:srgbClr>
            </a:solidFill>
          </p:grpSpPr>
          <p:sp>
            <p:nvSpPr>
              <p:cNvPr id="988" name="Freeform 653"/>
              <p:cNvSpPr>
                <a:spLocks/>
              </p:cNvSpPr>
              <p:nvPr/>
            </p:nvSpPr>
            <p:spPr bwMode="auto">
              <a:xfrm>
                <a:off x="3607" y="1128"/>
                <a:ext cx="288" cy="192"/>
              </a:xfrm>
              <a:custGeom>
                <a:avLst/>
                <a:gdLst>
                  <a:gd name="T0" fmla="*/ 288 w 288"/>
                  <a:gd name="T1" fmla="*/ 138 h 192"/>
                  <a:gd name="T2" fmla="*/ 288 w 288"/>
                  <a:gd name="T3" fmla="*/ 132 h 192"/>
                  <a:gd name="T4" fmla="*/ 288 w 288"/>
                  <a:gd name="T5" fmla="*/ 126 h 192"/>
                  <a:gd name="T6" fmla="*/ 276 w 288"/>
                  <a:gd name="T7" fmla="*/ 126 h 192"/>
                  <a:gd name="T8" fmla="*/ 258 w 288"/>
                  <a:gd name="T9" fmla="*/ 126 h 192"/>
                  <a:gd name="T10" fmla="*/ 252 w 288"/>
                  <a:gd name="T11" fmla="*/ 126 h 192"/>
                  <a:gd name="T12" fmla="*/ 252 w 288"/>
                  <a:gd name="T13" fmla="*/ 138 h 192"/>
                  <a:gd name="T14" fmla="*/ 246 w 288"/>
                  <a:gd name="T15" fmla="*/ 144 h 192"/>
                  <a:gd name="T16" fmla="*/ 240 w 288"/>
                  <a:gd name="T17" fmla="*/ 150 h 192"/>
                  <a:gd name="T18" fmla="*/ 222 w 288"/>
                  <a:gd name="T19" fmla="*/ 150 h 192"/>
                  <a:gd name="T20" fmla="*/ 198 w 288"/>
                  <a:gd name="T21" fmla="*/ 144 h 192"/>
                  <a:gd name="T22" fmla="*/ 192 w 288"/>
                  <a:gd name="T23" fmla="*/ 132 h 192"/>
                  <a:gd name="T24" fmla="*/ 186 w 288"/>
                  <a:gd name="T25" fmla="*/ 114 h 192"/>
                  <a:gd name="T26" fmla="*/ 186 w 288"/>
                  <a:gd name="T27" fmla="*/ 102 h 192"/>
                  <a:gd name="T28" fmla="*/ 186 w 288"/>
                  <a:gd name="T29" fmla="*/ 90 h 192"/>
                  <a:gd name="T30" fmla="*/ 174 w 288"/>
                  <a:gd name="T31" fmla="*/ 72 h 192"/>
                  <a:gd name="T32" fmla="*/ 162 w 288"/>
                  <a:gd name="T33" fmla="*/ 48 h 192"/>
                  <a:gd name="T34" fmla="*/ 150 w 288"/>
                  <a:gd name="T35" fmla="*/ 42 h 192"/>
                  <a:gd name="T36" fmla="*/ 138 w 288"/>
                  <a:gd name="T37" fmla="*/ 42 h 192"/>
                  <a:gd name="T38" fmla="*/ 126 w 288"/>
                  <a:gd name="T39" fmla="*/ 42 h 192"/>
                  <a:gd name="T40" fmla="*/ 114 w 288"/>
                  <a:gd name="T41" fmla="*/ 24 h 192"/>
                  <a:gd name="T42" fmla="*/ 102 w 288"/>
                  <a:gd name="T43" fmla="*/ 12 h 192"/>
                  <a:gd name="T44" fmla="*/ 90 w 288"/>
                  <a:gd name="T45" fmla="*/ 12 h 192"/>
                  <a:gd name="T46" fmla="*/ 72 w 288"/>
                  <a:gd name="T47" fmla="*/ 18 h 192"/>
                  <a:gd name="T48" fmla="*/ 48 w 288"/>
                  <a:gd name="T49" fmla="*/ 12 h 192"/>
                  <a:gd name="T50" fmla="*/ 24 w 288"/>
                  <a:gd name="T51" fmla="*/ 6 h 192"/>
                  <a:gd name="T52" fmla="*/ 18 w 288"/>
                  <a:gd name="T53" fmla="*/ 0 h 192"/>
                  <a:gd name="T54" fmla="*/ 0 w 288"/>
                  <a:gd name="T55" fmla="*/ 12 h 192"/>
                  <a:gd name="T56" fmla="*/ 24 w 288"/>
                  <a:gd name="T57" fmla="*/ 66 h 192"/>
                  <a:gd name="T58" fmla="*/ 36 w 288"/>
                  <a:gd name="T59" fmla="*/ 72 h 192"/>
                  <a:gd name="T60" fmla="*/ 48 w 288"/>
                  <a:gd name="T61" fmla="*/ 96 h 192"/>
                  <a:gd name="T62" fmla="*/ 72 w 288"/>
                  <a:gd name="T63" fmla="*/ 114 h 192"/>
                  <a:gd name="T64" fmla="*/ 72 w 288"/>
                  <a:gd name="T65" fmla="*/ 108 h 192"/>
                  <a:gd name="T66" fmla="*/ 60 w 288"/>
                  <a:gd name="T67" fmla="*/ 90 h 192"/>
                  <a:gd name="T68" fmla="*/ 54 w 288"/>
                  <a:gd name="T69" fmla="*/ 72 h 192"/>
                  <a:gd name="T70" fmla="*/ 36 w 288"/>
                  <a:gd name="T71" fmla="*/ 48 h 192"/>
                  <a:gd name="T72" fmla="*/ 24 w 288"/>
                  <a:gd name="T73" fmla="*/ 18 h 192"/>
                  <a:gd name="T74" fmla="*/ 24 w 288"/>
                  <a:gd name="T75" fmla="*/ 12 h 192"/>
                  <a:gd name="T76" fmla="*/ 42 w 288"/>
                  <a:gd name="T77" fmla="*/ 36 h 192"/>
                  <a:gd name="T78" fmla="*/ 60 w 288"/>
                  <a:gd name="T79" fmla="*/ 60 h 192"/>
                  <a:gd name="T80" fmla="*/ 72 w 288"/>
                  <a:gd name="T81" fmla="*/ 66 h 192"/>
                  <a:gd name="T82" fmla="*/ 72 w 288"/>
                  <a:gd name="T83" fmla="*/ 72 h 192"/>
                  <a:gd name="T84" fmla="*/ 108 w 288"/>
                  <a:gd name="T85" fmla="*/ 120 h 192"/>
                  <a:gd name="T86" fmla="*/ 114 w 288"/>
                  <a:gd name="T87" fmla="*/ 150 h 192"/>
                  <a:gd name="T88" fmla="*/ 138 w 288"/>
                  <a:gd name="T89" fmla="*/ 156 h 192"/>
                  <a:gd name="T90" fmla="*/ 156 w 288"/>
                  <a:gd name="T91" fmla="*/ 174 h 192"/>
                  <a:gd name="T92" fmla="*/ 180 w 288"/>
                  <a:gd name="T93" fmla="*/ 174 h 192"/>
                  <a:gd name="T94" fmla="*/ 228 w 288"/>
                  <a:gd name="T95" fmla="*/ 180 h 192"/>
                  <a:gd name="T96" fmla="*/ 234 w 288"/>
                  <a:gd name="T97" fmla="*/ 186 h 192"/>
                  <a:gd name="T98" fmla="*/ 240 w 288"/>
                  <a:gd name="T99" fmla="*/ 180 h 192"/>
                  <a:gd name="T100" fmla="*/ 246 w 288"/>
                  <a:gd name="T101" fmla="*/ 174 h 192"/>
                  <a:gd name="T102" fmla="*/ 240 w 288"/>
                  <a:gd name="T103" fmla="*/ 174 h 192"/>
                  <a:gd name="T104" fmla="*/ 264 w 288"/>
                  <a:gd name="T105" fmla="*/ 168 h 192"/>
                  <a:gd name="T106" fmla="*/ 252 w 288"/>
                  <a:gd name="T107" fmla="*/ 156 h 192"/>
                  <a:gd name="T108" fmla="*/ 258 w 288"/>
                  <a:gd name="T109" fmla="*/ 150 h 192"/>
                  <a:gd name="T110" fmla="*/ 270 w 288"/>
                  <a:gd name="T111" fmla="*/ 144 h 192"/>
                  <a:gd name="T112" fmla="*/ 276 w 288"/>
                  <a:gd name="T113" fmla="*/ 144 h 192"/>
                  <a:gd name="T114" fmla="*/ 282 w 288"/>
                  <a:gd name="T115" fmla="*/ 144 h 19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288" h="192">
                    <a:moveTo>
                      <a:pt x="282" y="144"/>
                    </a:moveTo>
                    <a:lnTo>
                      <a:pt x="288" y="138"/>
                    </a:lnTo>
                    <a:lnTo>
                      <a:pt x="288" y="132"/>
                    </a:lnTo>
                    <a:lnTo>
                      <a:pt x="288" y="126"/>
                    </a:lnTo>
                    <a:lnTo>
                      <a:pt x="282" y="126"/>
                    </a:lnTo>
                    <a:lnTo>
                      <a:pt x="276" y="126"/>
                    </a:lnTo>
                    <a:lnTo>
                      <a:pt x="264" y="126"/>
                    </a:lnTo>
                    <a:lnTo>
                      <a:pt x="258" y="126"/>
                    </a:lnTo>
                    <a:lnTo>
                      <a:pt x="252" y="126"/>
                    </a:lnTo>
                    <a:lnTo>
                      <a:pt x="252" y="132"/>
                    </a:lnTo>
                    <a:lnTo>
                      <a:pt x="252" y="138"/>
                    </a:lnTo>
                    <a:lnTo>
                      <a:pt x="252" y="144"/>
                    </a:lnTo>
                    <a:lnTo>
                      <a:pt x="246" y="144"/>
                    </a:lnTo>
                    <a:lnTo>
                      <a:pt x="240" y="150"/>
                    </a:lnTo>
                    <a:lnTo>
                      <a:pt x="234" y="150"/>
                    </a:lnTo>
                    <a:lnTo>
                      <a:pt x="222" y="150"/>
                    </a:lnTo>
                    <a:lnTo>
                      <a:pt x="210" y="150"/>
                    </a:lnTo>
                    <a:lnTo>
                      <a:pt x="198" y="144"/>
                    </a:lnTo>
                    <a:lnTo>
                      <a:pt x="192" y="132"/>
                    </a:lnTo>
                    <a:lnTo>
                      <a:pt x="192" y="126"/>
                    </a:lnTo>
                    <a:lnTo>
                      <a:pt x="186" y="114"/>
                    </a:lnTo>
                    <a:lnTo>
                      <a:pt x="186" y="108"/>
                    </a:lnTo>
                    <a:lnTo>
                      <a:pt x="186" y="102"/>
                    </a:lnTo>
                    <a:lnTo>
                      <a:pt x="186" y="90"/>
                    </a:lnTo>
                    <a:lnTo>
                      <a:pt x="186" y="78"/>
                    </a:lnTo>
                    <a:lnTo>
                      <a:pt x="174" y="72"/>
                    </a:lnTo>
                    <a:lnTo>
                      <a:pt x="168" y="60"/>
                    </a:lnTo>
                    <a:lnTo>
                      <a:pt x="162" y="48"/>
                    </a:lnTo>
                    <a:lnTo>
                      <a:pt x="156" y="42"/>
                    </a:lnTo>
                    <a:lnTo>
                      <a:pt x="150" y="42"/>
                    </a:lnTo>
                    <a:lnTo>
                      <a:pt x="144" y="42"/>
                    </a:lnTo>
                    <a:lnTo>
                      <a:pt x="138" y="42"/>
                    </a:lnTo>
                    <a:lnTo>
                      <a:pt x="132" y="42"/>
                    </a:lnTo>
                    <a:lnTo>
                      <a:pt x="126" y="42"/>
                    </a:lnTo>
                    <a:lnTo>
                      <a:pt x="120" y="36"/>
                    </a:lnTo>
                    <a:lnTo>
                      <a:pt x="114" y="24"/>
                    </a:lnTo>
                    <a:lnTo>
                      <a:pt x="108" y="12"/>
                    </a:lnTo>
                    <a:lnTo>
                      <a:pt x="102" y="12"/>
                    </a:lnTo>
                    <a:lnTo>
                      <a:pt x="96" y="12"/>
                    </a:lnTo>
                    <a:lnTo>
                      <a:pt x="90" y="12"/>
                    </a:lnTo>
                    <a:lnTo>
                      <a:pt x="84" y="18"/>
                    </a:lnTo>
                    <a:lnTo>
                      <a:pt x="72" y="18"/>
                    </a:lnTo>
                    <a:lnTo>
                      <a:pt x="66" y="18"/>
                    </a:lnTo>
                    <a:lnTo>
                      <a:pt x="48" y="12"/>
                    </a:lnTo>
                    <a:lnTo>
                      <a:pt x="36" y="12"/>
                    </a:lnTo>
                    <a:lnTo>
                      <a:pt x="24" y="6"/>
                    </a:lnTo>
                    <a:lnTo>
                      <a:pt x="18" y="0"/>
                    </a:lnTo>
                    <a:lnTo>
                      <a:pt x="12" y="6"/>
                    </a:lnTo>
                    <a:lnTo>
                      <a:pt x="0" y="12"/>
                    </a:lnTo>
                    <a:lnTo>
                      <a:pt x="18" y="48"/>
                    </a:lnTo>
                    <a:lnTo>
                      <a:pt x="24" y="66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42" y="84"/>
                    </a:lnTo>
                    <a:lnTo>
                      <a:pt x="48" y="96"/>
                    </a:lnTo>
                    <a:lnTo>
                      <a:pt x="60" y="108"/>
                    </a:lnTo>
                    <a:lnTo>
                      <a:pt x="72" y="114"/>
                    </a:lnTo>
                    <a:lnTo>
                      <a:pt x="72" y="108"/>
                    </a:lnTo>
                    <a:lnTo>
                      <a:pt x="66" y="102"/>
                    </a:lnTo>
                    <a:lnTo>
                      <a:pt x="60" y="90"/>
                    </a:lnTo>
                    <a:lnTo>
                      <a:pt x="54" y="78"/>
                    </a:lnTo>
                    <a:lnTo>
                      <a:pt x="54" y="72"/>
                    </a:lnTo>
                    <a:lnTo>
                      <a:pt x="48" y="66"/>
                    </a:lnTo>
                    <a:lnTo>
                      <a:pt x="36" y="48"/>
                    </a:lnTo>
                    <a:lnTo>
                      <a:pt x="24" y="36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0" y="18"/>
                    </a:lnTo>
                    <a:lnTo>
                      <a:pt x="42" y="36"/>
                    </a:lnTo>
                    <a:lnTo>
                      <a:pt x="48" y="48"/>
                    </a:lnTo>
                    <a:lnTo>
                      <a:pt x="60" y="60"/>
                    </a:lnTo>
                    <a:lnTo>
                      <a:pt x="66" y="66"/>
                    </a:lnTo>
                    <a:lnTo>
                      <a:pt x="72" y="66"/>
                    </a:lnTo>
                    <a:lnTo>
                      <a:pt x="72" y="72"/>
                    </a:lnTo>
                    <a:lnTo>
                      <a:pt x="108" y="108"/>
                    </a:lnTo>
                    <a:lnTo>
                      <a:pt x="108" y="120"/>
                    </a:lnTo>
                    <a:lnTo>
                      <a:pt x="114" y="132"/>
                    </a:lnTo>
                    <a:lnTo>
                      <a:pt x="114" y="150"/>
                    </a:lnTo>
                    <a:lnTo>
                      <a:pt x="126" y="156"/>
                    </a:lnTo>
                    <a:lnTo>
                      <a:pt x="138" y="156"/>
                    </a:lnTo>
                    <a:lnTo>
                      <a:pt x="150" y="162"/>
                    </a:lnTo>
                    <a:lnTo>
                      <a:pt x="156" y="174"/>
                    </a:lnTo>
                    <a:lnTo>
                      <a:pt x="168" y="174"/>
                    </a:lnTo>
                    <a:lnTo>
                      <a:pt x="180" y="174"/>
                    </a:lnTo>
                    <a:lnTo>
                      <a:pt x="204" y="180"/>
                    </a:lnTo>
                    <a:lnTo>
                      <a:pt x="228" y="180"/>
                    </a:lnTo>
                    <a:lnTo>
                      <a:pt x="234" y="186"/>
                    </a:lnTo>
                    <a:lnTo>
                      <a:pt x="240" y="192"/>
                    </a:lnTo>
                    <a:lnTo>
                      <a:pt x="240" y="180"/>
                    </a:lnTo>
                    <a:lnTo>
                      <a:pt x="246" y="174"/>
                    </a:lnTo>
                    <a:lnTo>
                      <a:pt x="240" y="174"/>
                    </a:lnTo>
                    <a:lnTo>
                      <a:pt x="246" y="168"/>
                    </a:lnTo>
                    <a:lnTo>
                      <a:pt x="264" y="168"/>
                    </a:lnTo>
                    <a:lnTo>
                      <a:pt x="264" y="162"/>
                    </a:lnTo>
                    <a:lnTo>
                      <a:pt x="252" y="156"/>
                    </a:lnTo>
                    <a:lnTo>
                      <a:pt x="258" y="156"/>
                    </a:lnTo>
                    <a:lnTo>
                      <a:pt x="258" y="150"/>
                    </a:lnTo>
                    <a:lnTo>
                      <a:pt x="270" y="150"/>
                    </a:lnTo>
                    <a:lnTo>
                      <a:pt x="270" y="144"/>
                    </a:lnTo>
                    <a:lnTo>
                      <a:pt x="276" y="144"/>
                    </a:lnTo>
                    <a:lnTo>
                      <a:pt x="282" y="14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89" name="Freeform 654"/>
              <p:cNvSpPr>
                <a:spLocks/>
              </p:cNvSpPr>
              <p:nvPr/>
            </p:nvSpPr>
            <p:spPr bwMode="auto">
              <a:xfrm>
                <a:off x="3607" y="1128"/>
                <a:ext cx="288" cy="192"/>
              </a:xfrm>
              <a:custGeom>
                <a:avLst/>
                <a:gdLst>
                  <a:gd name="T0" fmla="*/ 288 w 288"/>
                  <a:gd name="T1" fmla="*/ 138 h 192"/>
                  <a:gd name="T2" fmla="*/ 288 w 288"/>
                  <a:gd name="T3" fmla="*/ 126 h 192"/>
                  <a:gd name="T4" fmla="*/ 276 w 288"/>
                  <a:gd name="T5" fmla="*/ 126 h 192"/>
                  <a:gd name="T6" fmla="*/ 258 w 288"/>
                  <a:gd name="T7" fmla="*/ 126 h 192"/>
                  <a:gd name="T8" fmla="*/ 252 w 288"/>
                  <a:gd name="T9" fmla="*/ 132 h 192"/>
                  <a:gd name="T10" fmla="*/ 252 w 288"/>
                  <a:gd name="T11" fmla="*/ 144 h 192"/>
                  <a:gd name="T12" fmla="*/ 240 w 288"/>
                  <a:gd name="T13" fmla="*/ 150 h 192"/>
                  <a:gd name="T14" fmla="*/ 222 w 288"/>
                  <a:gd name="T15" fmla="*/ 150 h 192"/>
                  <a:gd name="T16" fmla="*/ 198 w 288"/>
                  <a:gd name="T17" fmla="*/ 144 h 192"/>
                  <a:gd name="T18" fmla="*/ 192 w 288"/>
                  <a:gd name="T19" fmla="*/ 126 h 192"/>
                  <a:gd name="T20" fmla="*/ 186 w 288"/>
                  <a:gd name="T21" fmla="*/ 108 h 192"/>
                  <a:gd name="T22" fmla="*/ 186 w 288"/>
                  <a:gd name="T23" fmla="*/ 90 h 192"/>
                  <a:gd name="T24" fmla="*/ 174 w 288"/>
                  <a:gd name="T25" fmla="*/ 72 h 192"/>
                  <a:gd name="T26" fmla="*/ 162 w 288"/>
                  <a:gd name="T27" fmla="*/ 48 h 192"/>
                  <a:gd name="T28" fmla="*/ 150 w 288"/>
                  <a:gd name="T29" fmla="*/ 42 h 192"/>
                  <a:gd name="T30" fmla="*/ 138 w 288"/>
                  <a:gd name="T31" fmla="*/ 42 h 192"/>
                  <a:gd name="T32" fmla="*/ 126 w 288"/>
                  <a:gd name="T33" fmla="*/ 42 h 192"/>
                  <a:gd name="T34" fmla="*/ 114 w 288"/>
                  <a:gd name="T35" fmla="*/ 24 h 192"/>
                  <a:gd name="T36" fmla="*/ 102 w 288"/>
                  <a:gd name="T37" fmla="*/ 12 h 192"/>
                  <a:gd name="T38" fmla="*/ 90 w 288"/>
                  <a:gd name="T39" fmla="*/ 12 h 192"/>
                  <a:gd name="T40" fmla="*/ 72 w 288"/>
                  <a:gd name="T41" fmla="*/ 18 h 192"/>
                  <a:gd name="T42" fmla="*/ 48 w 288"/>
                  <a:gd name="T43" fmla="*/ 12 h 192"/>
                  <a:gd name="T44" fmla="*/ 24 w 288"/>
                  <a:gd name="T45" fmla="*/ 6 h 192"/>
                  <a:gd name="T46" fmla="*/ 12 w 288"/>
                  <a:gd name="T47" fmla="*/ 6 h 192"/>
                  <a:gd name="T48" fmla="*/ 18 w 288"/>
                  <a:gd name="T49" fmla="*/ 48 h 192"/>
                  <a:gd name="T50" fmla="*/ 30 w 288"/>
                  <a:gd name="T51" fmla="*/ 66 h 192"/>
                  <a:gd name="T52" fmla="*/ 42 w 288"/>
                  <a:gd name="T53" fmla="*/ 84 h 192"/>
                  <a:gd name="T54" fmla="*/ 60 w 288"/>
                  <a:gd name="T55" fmla="*/ 108 h 192"/>
                  <a:gd name="T56" fmla="*/ 72 w 288"/>
                  <a:gd name="T57" fmla="*/ 108 h 192"/>
                  <a:gd name="T58" fmla="*/ 60 w 288"/>
                  <a:gd name="T59" fmla="*/ 90 h 192"/>
                  <a:gd name="T60" fmla="*/ 54 w 288"/>
                  <a:gd name="T61" fmla="*/ 72 h 192"/>
                  <a:gd name="T62" fmla="*/ 36 w 288"/>
                  <a:gd name="T63" fmla="*/ 48 h 192"/>
                  <a:gd name="T64" fmla="*/ 24 w 288"/>
                  <a:gd name="T65" fmla="*/ 18 h 192"/>
                  <a:gd name="T66" fmla="*/ 30 w 288"/>
                  <a:gd name="T67" fmla="*/ 18 h 192"/>
                  <a:gd name="T68" fmla="*/ 48 w 288"/>
                  <a:gd name="T69" fmla="*/ 48 h 192"/>
                  <a:gd name="T70" fmla="*/ 66 w 288"/>
                  <a:gd name="T71" fmla="*/ 66 h 192"/>
                  <a:gd name="T72" fmla="*/ 72 w 288"/>
                  <a:gd name="T73" fmla="*/ 72 h 192"/>
                  <a:gd name="T74" fmla="*/ 108 w 288"/>
                  <a:gd name="T75" fmla="*/ 120 h 192"/>
                  <a:gd name="T76" fmla="*/ 114 w 288"/>
                  <a:gd name="T77" fmla="*/ 150 h 192"/>
                  <a:gd name="T78" fmla="*/ 138 w 288"/>
                  <a:gd name="T79" fmla="*/ 156 h 192"/>
                  <a:gd name="T80" fmla="*/ 156 w 288"/>
                  <a:gd name="T81" fmla="*/ 174 h 192"/>
                  <a:gd name="T82" fmla="*/ 180 w 288"/>
                  <a:gd name="T83" fmla="*/ 174 h 192"/>
                  <a:gd name="T84" fmla="*/ 228 w 288"/>
                  <a:gd name="T85" fmla="*/ 180 h 192"/>
                  <a:gd name="T86" fmla="*/ 240 w 288"/>
                  <a:gd name="T87" fmla="*/ 192 h 192"/>
                  <a:gd name="T88" fmla="*/ 246 w 288"/>
                  <a:gd name="T89" fmla="*/ 174 h 192"/>
                  <a:gd name="T90" fmla="*/ 246 w 288"/>
                  <a:gd name="T91" fmla="*/ 168 h 192"/>
                  <a:gd name="T92" fmla="*/ 264 w 288"/>
                  <a:gd name="T93" fmla="*/ 162 h 192"/>
                  <a:gd name="T94" fmla="*/ 258 w 288"/>
                  <a:gd name="T95" fmla="*/ 156 h 192"/>
                  <a:gd name="T96" fmla="*/ 270 w 288"/>
                  <a:gd name="T97" fmla="*/ 150 h 192"/>
                  <a:gd name="T98" fmla="*/ 276 w 288"/>
                  <a:gd name="T99" fmla="*/ 144 h 19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288" h="192">
                    <a:moveTo>
                      <a:pt x="282" y="144"/>
                    </a:moveTo>
                    <a:lnTo>
                      <a:pt x="288" y="138"/>
                    </a:lnTo>
                    <a:lnTo>
                      <a:pt x="288" y="132"/>
                    </a:lnTo>
                    <a:lnTo>
                      <a:pt x="288" y="126"/>
                    </a:lnTo>
                    <a:lnTo>
                      <a:pt x="282" y="126"/>
                    </a:lnTo>
                    <a:lnTo>
                      <a:pt x="276" y="126"/>
                    </a:lnTo>
                    <a:lnTo>
                      <a:pt x="264" y="126"/>
                    </a:lnTo>
                    <a:lnTo>
                      <a:pt x="258" y="126"/>
                    </a:lnTo>
                    <a:lnTo>
                      <a:pt x="252" y="126"/>
                    </a:lnTo>
                    <a:lnTo>
                      <a:pt x="252" y="132"/>
                    </a:lnTo>
                    <a:lnTo>
                      <a:pt x="252" y="138"/>
                    </a:lnTo>
                    <a:lnTo>
                      <a:pt x="252" y="144"/>
                    </a:lnTo>
                    <a:lnTo>
                      <a:pt x="246" y="144"/>
                    </a:lnTo>
                    <a:lnTo>
                      <a:pt x="240" y="150"/>
                    </a:lnTo>
                    <a:lnTo>
                      <a:pt x="234" y="150"/>
                    </a:lnTo>
                    <a:lnTo>
                      <a:pt x="222" y="150"/>
                    </a:lnTo>
                    <a:lnTo>
                      <a:pt x="210" y="150"/>
                    </a:lnTo>
                    <a:lnTo>
                      <a:pt x="198" y="144"/>
                    </a:lnTo>
                    <a:lnTo>
                      <a:pt x="192" y="132"/>
                    </a:lnTo>
                    <a:lnTo>
                      <a:pt x="192" y="126"/>
                    </a:lnTo>
                    <a:lnTo>
                      <a:pt x="186" y="114"/>
                    </a:lnTo>
                    <a:lnTo>
                      <a:pt x="186" y="108"/>
                    </a:lnTo>
                    <a:lnTo>
                      <a:pt x="186" y="102"/>
                    </a:lnTo>
                    <a:lnTo>
                      <a:pt x="186" y="90"/>
                    </a:lnTo>
                    <a:lnTo>
                      <a:pt x="186" y="78"/>
                    </a:lnTo>
                    <a:lnTo>
                      <a:pt x="174" y="72"/>
                    </a:lnTo>
                    <a:lnTo>
                      <a:pt x="168" y="60"/>
                    </a:lnTo>
                    <a:lnTo>
                      <a:pt x="162" y="48"/>
                    </a:lnTo>
                    <a:lnTo>
                      <a:pt x="156" y="42"/>
                    </a:lnTo>
                    <a:lnTo>
                      <a:pt x="150" y="42"/>
                    </a:lnTo>
                    <a:lnTo>
                      <a:pt x="144" y="42"/>
                    </a:lnTo>
                    <a:lnTo>
                      <a:pt x="138" y="42"/>
                    </a:lnTo>
                    <a:lnTo>
                      <a:pt x="132" y="42"/>
                    </a:lnTo>
                    <a:lnTo>
                      <a:pt x="126" y="42"/>
                    </a:lnTo>
                    <a:lnTo>
                      <a:pt x="120" y="36"/>
                    </a:lnTo>
                    <a:lnTo>
                      <a:pt x="114" y="24"/>
                    </a:lnTo>
                    <a:lnTo>
                      <a:pt x="108" y="12"/>
                    </a:lnTo>
                    <a:lnTo>
                      <a:pt x="102" y="12"/>
                    </a:lnTo>
                    <a:lnTo>
                      <a:pt x="96" y="12"/>
                    </a:lnTo>
                    <a:lnTo>
                      <a:pt x="90" y="12"/>
                    </a:lnTo>
                    <a:lnTo>
                      <a:pt x="84" y="18"/>
                    </a:lnTo>
                    <a:lnTo>
                      <a:pt x="72" y="18"/>
                    </a:lnTo>
                    <a:lnTo>
                      <a:pt x="66" y="18"/>
                    </a:lnTo>
                    <a:lnTo>
                      <a:pt x="48" y="12"/>
                    </a:lnTo>
                    <a:lnTo>
                      <a:pt x="36" y="12"/>
                    </a:lnTo>
                    <a:lnTo>
                      <a:pt x="24" y="6"/>
                    </a:lnTo>
                    <a:lnTo>
                      <a:pt x="18" y="0"/>
                    </a:lnTo>
                    <a:lnTo>
                      <a:pt x="12" y="6"/>
                    </a:lnTo>
                    <a:lnTo>
                      <a:pt x="0" y="12"/>
                    </a:lnTo>
                    <a:lnTo>
                      <a:pt x="18" y="48"/>
                    </a:lnTo>
                    <a:lnTo>
                      <a:pt x="24" y="66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42" y="84"/>
                    </a:lnTo>
                    <a:lnTo>
                      <a:pt x="48" y="96"/>
                    </a:lnTo>
                    <a:lnTo>
                      <a:pt x="60" y="108"/>
                    </a:lnTo>
                    <a:lnTo>
                      <a:pt x="72" y="114"/>
                    </a:lnTo>
                    <a:lnTo>
                      <a:pt x="72" y="108"/>
                    </a:lnTo>
                    <a:lnTo>
                      <a:pt x="66" y="102"/>
                    </a:lnTo>
                    <a:lnTo>
                      <a:pt x="60" y="90"/>
                    </a:lnTo>
                    <a:lnTo>
                      <a:pt x="54" y="78"/>
                    </a:lnTo>
                    <a:lnTo>
                      <a:pt x="54" y="72"/>
                    </a:lnTo>
                    <a:lnTo>
                      <a:pt x="48" y="66"/>
                    </a:lnTo>
                    <a:lnTo>
                      <a:pt x="36" y="48"/>
                    </a:lnTo>
                    <a:lnTo>
                      <a:pt x="24" y="36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0" y="18"/>
                    </a:lnTo>
                    <a:lnTo>
                      <a:pt x="42" y="36"/>
                    </a:lnTo>
                    <a:lnTo>
                      <a:pt x="48" y="48"/>
                    </a:lnTo>
                    <a:lnTo>
                      <a:pt x="60" y="60"/>
                    </a:lnTo>
                    <a:lnTo>
                      <a:pt x="66" y="66"/>
                    </a:lnTo>
                    <a:lnTo>
                      <a:pt x="72" y="66"/>
                    </a:lnTo>
                    <a:lnTo>
                      <a:pt x="72" y="72"/>
                    </a:lnTo>
                    <a:lnTo>
                      <a:pt x="108" y="108"/>
                    </a:lnTo>
                    <a:lnTo>
                      <a:pt x="108" y="120"/>
                    </a:lnTo>
                    <a:lnTo>
                      <a:pt x="114" y="132"/>
                    </a:lnTo>
                    <a:lnTo>
                      <a:pt x="114" y="150"/>
                    </a:lnTo>
                    <a:lnTo>
                      <a:pt x="126" y="156"/>
                    </a:lnTo>
                    <a:lnTo>
                      <a:pt x="138" y="156"/>
                    </a:lnTo>
                    <a:lnTo>
                      <a:pt x="150" y="162"/>
                    </a:lnTo>
                    <a:lnTo>
                      <a:pt x="156" y="174"/>
                    </a:lnTo>
                    <a:lnTo>
                      <a:pt x="168" y="174"/>
                    </a:lnTo>
                    <a:lnTo>
                      <a:pt x="180" y="174"/>
                    </a:lnTo>
                    <a:lnTo>
                      <a:pt x="204" y="180"/>
                    </a:lnTo>
                    <a:lnTo>
                      <a:pt x="228" y="180"/>
                    </a:lnTo>
                    <a:lnTo>
                      <a:pt x="234" y="186"/>
                    </a:lnTo>
                    <a:lnTo>
                      <a:pt x="240" y="192"/>
                    </a:lnTo>
                    <a:lnTo>
                      <a:pt x="240" y="180"/>
                    </a:lnTo>
                    <a:lnTo>
                      <a:pt x="246" y="174"/>
                    </a:lnTo>
                    <a:lnTo>
                      <a:pt x="240" y="174"/>
                    </a:lnTo>
                    <a:lnTo>
                      <a:pt x="246" y="168"/>
                    </a:lnTo>
                    <a:lnTo>
                      <a:pt x="264" y="168"/>
                    </a:lnTo>
                    <a:lnTo>
                      <a:pt x="264" y="162"/>
                    </a:lnTo>
                    <a:lnTo>
                      <a:pt x="252" y="156"/>
                    </a:lnTo>
                    <a:lnTo>
                      <a:pt x="258" y="156"/>
                    </a:lnTo>
                    <a:lnTo>
                      <a:pt x="258" y="150"/>
                    </a:lnTo>
                    <a:lnTo>
                      <a:pt x="270" y="150"/>
                    </a:lnTo>
                    <a:lnTo>
                      <a:pt x="270" y="144"/>
                    </a:lnTo>
                    <a:lnTo>
                      <a:pt x="276" y="144"/>
                    </a:lnTo>
                    <a:lnTo>
                      <a:pt x="282" y="14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19" name="Group 655"/>
            <p:cNvGrpSpPr>
              <a:grpSpLocks/>
            </p:cNvGrpSpPr>
            <p:nvPr/>
          </p:nvGrpSpPr>
          <p:grpSpPr bwMode="auto">
            <a:xfrm>
              <a:off x="6099375" y="3022778"/>
              <a:ext cx="134539" cy="50570"/>
              <a:chOff x="3865" y="1308"/>
              <a:chExt cx="66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986" name="Freeform 656"/>
              <p:cNvSpPr>
                <a:spLocks/>
              </p:cNvSpPr>
              <p:nvPr/>
            </p:nvSpPr>
            <p:spPr bwMode="auto">
              <a:xfrm>
                <a:off x="3865" y="1308"/>
                <a:ext cx="66" cy="30"/>
              </a:xfrm>
              <a:custGeom>
                <a:avLst/>
                <a:gdLst>
                  <a:gd name="T0" fmla="*/ 60 w 66"/>
                  <a:gd name="T1" fmla="*/ 6 h 30"/>
                  <a:gd name="T2" fmla="*/ 60 w 66"/>
                  <a:gd name="T3" fmla="*/ 6 h 30"/>
                  <a:gd name="T4" fmla="*/ 54 w 66"/>
                  <a:gd name="T5" fmla="*/ 6 h 30"/>
                  <a:gd name="T6" fmla="*/ 54 w 66"/>
                  <a:gd name="T7" fmla="*/ 6 h 30"/>
                  <a:gd name="T8" fmla="*/ 48 w 66"/>
                  <a:gd name="T9" fmla="*/ 6 h 30"/>
                  <a:gd name="T10" fmla="*/ 48 w 66"/>
                  <a:gd name="T11" fmla="*/ 12 h 30"/>
                  <a:gd name="T12" fmla="*/ 42 w 66"/>
                  <a:gd name="T13" fmla="*/ 18 h 30"/>
                  <a:gd name="T14" fmla="*/ 36 w 66"/>
                  <a:gd name="T15" fmla="*/ 18 h 30"/>
                  <a:gd name="T16" fmla="*/ 36 w 66"/>
                  <a:gd name="T17" fmla="*/ 24 h 30"/>
                  <a:gd name="T18" fmla="*/ 36 w 66"/>
                  <a:gd name="T19" fmla="*/ 24 h 30"/>
                  <a:gd name="T20" fmla="*/ 36 w 66"/>
                  <a:gd name="T21" fmla="*/ 30 h 30"/>
                  <a:gd name="T22" fmla="*/ 30 w 66"/>
                  <a:gd name="T23" fmla="*/ 30 h 30"/>
                  <a:gd name="T24" fmla="*/ 30 w 66"/>
                  <a:gd name="T25" fmla="*/ 30 h 30"/>
                  <a:gd name="T26" fmla="*/ 30 w 66"/>
                  <a:gd name="T27" fmla="*/ 30 h 30"/>
                  <a:gd name="T28" fmla="*/ 24 w 66"/>
                  <a:gd name="T29" fmla="*/ 30 h 30"/>
                  <a:gd name="T30" fmla="*/ 24 w 66"/>
                  <a:gd name="T31" fmla="*/ 30 h 30"/>
                  <a:gd name="T32" fmla="*/ 24 w 66"/>
                  <a:gd name="T33" fmla="*/ 30 h 30"/>
                  <a:gd name="T34" fmla="*/ 24 w 66"/>
                  <a:gd name="T35" fmla="*/ 30 h 30"/>
                  <a:gd name="T36" fmla="*/ 24 w 66"/>
                  <a:gd name="T37" fmla="*/ 30 h 30"/>
                  <a:gd name="T38" fmla="*/ 24 w 66"/>
                  <a:gd name="T39" fmla="*/ 24 h 30"/>
                  <a:gd name="T40" fmla="*/ 24 w 66"/>
                  <a:gd name="T41" fmla="*/ 24 h 30"/>
                  <a:gd name="T42" fmla="*/ 18 w 66"/>
                  <a:gd name="T43" fmla="*/ 18 h 30"/>
                  <a:gd name="T44" fmla="*/ 12 w 66"/>
                  <a:gd name="T45" fmla="*/ 18 h 30"/>
                  <a:gd name="T46" fmla="*/ 12 w 66"/>
                  <a:gd name="T47" fmla="*/ 24 h 30"/>
                  <a:gd name="T48" fmla="*/ 12 w 66"/>
                  <a:gd name="T49" fmla="*/ 18 h 30"/>
                  <a:gd name="T50" fmla="*/ 6 w 66"/>
                  <a:gd name="T51" fmla="*/ 18 h 30"/>
                  <a:gd name="T52" fmla="*/ 0 w 66"/>
                  <a:gd name="T53" fmla="*/ 18 h 30"/>
                  <a:gd name="T54" fmla="*/ 0 w 66"/>
                  <a:gd name="T55" fmla="*/ 18 h 30"/>
                  <a:gd name="T56" fmla="*/ 6 w 66"/>
                  <a:gd name="T57" fmla="*/ 12 h 30"/>
                  <a:gd name="T58" fmla="*/ 6 w 66"/>
                  <a:gd name="T59" fmla="*/ 12 h 30"/>
                  <a:gd name="T60" fmla="*/ 12 w 66"/>
                  <a:gd name="T61" fmla="*/ 6 h 30"/>
                  <a:gd name="T62" fmla="*/ 12 w 66"/>
                  <a:gd name="T63" fmla="*/ 6 h 30"/>
                  <a:gd name="T64" fmla="*/ 18 w 66"/>
                  <a:gd name="T65" fmla="*/ 0 h 30"/>
                  <a:gd name="T66" fmla="*/ 24 w 66"/>
                  <a:gd name="T67" fmla="*/ 0 h 30"/>
                  <a:gd name="T68" fmla="*/ 24 w 66"/>
                  <a:gd name="T69" fmla="*/ 0 h 30"/>
                  <a:gd name="T70" fmla="*/ 24 w 66"/>
                  <a:gd name="T71" fmla="*/ 0 h 30"/>
                  <a:gd name="T72" fmla="*/ 36 w 66"/>
                  <a:gd name="T73" fmla="*/ 0 h 30"/>
                  <a:gd name="T74" fmla="*/ 42 w 66"/>
                  <a:gd name="T75" fmla="*/ 0 h 30"/>
                  <a:gd name="T76" fmla="*/ 48 w 66"/>
                  <a:gd name="T77" fmla="*/ 0 h 30"/>
                  <a:gd name="T78" fmla="*/ 60 w 66"/>
                  <a:gd name="T79" fmla="*/ 0 h 30"/>
                  <a:gd name="T80" fmla="*/ 66 w 66"/>
                  <a:gd name="T81" fmla="*/ 0 h 30"/>
                  <a:gd name="T82" fmla="*/ 60 w 66"/>
                  <a:gd name="T83" fmla="*/ 6 h 3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66" h="30">
                    <a:moveTo>
                      <a:pt x="60" y="6"/>
                    </a:moveTo>
                    <a:lnTo>
                      <a:pt x="60" y="6"/>
                    </a:lnTo>
                    <a:lnTo>
                      <a:pt x="54" y="6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18" y="18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6" y="12"/>
                    </a:lnTo>
                    <a:lnTo>
                      <a:pt x="12" y="6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6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87" name="Freeform 657"/>
              <p:cNvSpPr>
                <a:spLocks/>
              </p:cNvSpPr>
              <p:nvPr/>
            </p:nvSpPr>
            <p:spPr bwMode="auto">
              <a:xfrm>
                <a:off x="3865" y="1308"/>
                <a:ext cx="66" cy="30"/>
              </a:xfrm>
              <a:custGeom>
                <a:avLst/>
                <a:gdLst>
                  <a:gd name="T0" fmla="*/ 60 w 66"/>
                  <a:gd name="T1" fmla="*/ 6 h 30"/>
                  <a:gd name="T2" fmla="*/ 54 w 66"/>
                  <a:gd name="T3" fmla="*/ 6 h 30"/>
                  <a:gd name="T4" fmla="*/ 48 w 66"/>
                  <a:gd name="T5" fmla="*/ 6 h 30"/>
                  <a:gd name="T6" fmla="*/ 48 w 66"/>
                  <a:gd name="T7" fmla="*/ 12 h 30"/>
                  <a:gd name="T8" fmla="*/ 42 w 66"/>
                  <a:gd name="T9" fmla="*/ 18 h 30"/>
                  <a:gd name="T10" fmla="*/ 36 w 66"/>
                  <a:gd name="T11" fmla="*/ 18 h 30"/>
                  <a:gd name="T12" fmla="*/ 36 w 66"/>
                  <a:gd name="T13" fmla="*/ 24 h 30"/>
                  <a:gd name="T14" fmla="*/ 36 w 66"/>
                  <a:gd name="T15" fmla="*/ 30 h 30"/>
                  <a:gd name="T16" fmla="*/ 30 w 66"/>
                  <a:gd name="T17" fmla="*/ 30 h 30"/>
                  <a:gd name="T18" fmla="*/ 24 w 66"/>
                  <a:gd name="T19" fmla="*/ 30 h 30"/>
                  <a:gd name="T20" fmla="*/ 24 w 66"/>
                  <a:gd name="T21" fmla="*/ 24 h 30"/>
                  <a:gd name="T22" fmla="*/ 18 w 66"/>
                  <a:gd name="T23" fmla="*/ 18 h 30"/>
                  <a:gd name="T24" fmla="*/ 12 w 66"/>
                  <a:gd name="T25" fmla="*/ 18 h 30"/>
                  <a:gd name="T26" fmla="*/ 12 w 66"/>
                  <a:gd name="T27" fmla="*/ 24 h 30"/>
                  <a:gd name="T28" fmla="*/ 12 w 66"/>
                  <a:gd name="T29" fmla="*/ 18 h 30"/>
                  <a:gd name="T30" fmla="*/ 6 w 66"/>
                  <a:gd name="T31" fmla="*/ 18 h 30"/>
                  <a:gd name="T32" fmla="*/ 0 w 66"/>
                  <a:gd name="T33" fmla="*/ 18 h 30"/>
                  <a:gd name="T34" fmla="*/ 6 w 66"/>
                  <a:gd name="T35" fmla="*/ 12 h 30"/>
                  <a:gd name="T36" fmla="*/ 12 w 66"/>
                  <a:gd name="T37" fmla="*/ 6 h 30"/>
                  <a:gd name="T38" fmla="*/ 18 w 66"/>
                  <a:gd name="T39" fmla="*/ 0 h 30"/>
                  <a:gd name="T40" fmla="*/ 24 w 66"/>
                  <a:gd name="T41" fmla="*/ 0 h 30"/>
                  <a:gd name="T42" fmla="*/ 36 w 66"/>
                  <a:gd name="T43" fmla="*/ 0 h 30"/>
                  <a:gd name="T44" fmla="*/ 42 w 66"/>
                  <a:gd name="T45" fmla="*/ 0 h 30"/>
                  <a:gd name="T46" fmla="*/ 48 w 66"/>
                  <a:gd name="T47" fmla="*/ 0 h 30"/>
                  <a:gd name="T48" fmla="*/ 60 w 66"/>
                  <a:gd name="T49" fmla="*/ 0 h 30"/>
                  <a:gd name="T50" fmla="*/ 66 w 66"/>
                  <a:gd name="T51" fmla="*/ 0 h 30"/>
                  <a:gd name="T52" fmla="*/ 60 w 66"/>
                  <a:gd name="T53" fmla="*/ 6 h 3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66" h="30">
                    <a:moveTo>
                      <a:pt x="60" y="6"/>
                    </a:moveTo>
                    <a:lnTo>
                      <a:pt x="54" y="6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30"/>
                    </a:lnTo>
                    <a:lnTo>
                      <a:pt x="24" y="24"/>
                    </a:lnTo>
                    <a:lnTo>
                      <a:pt x="18" y="18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6" y="12"/>
                    </a:lnTo>
                    <a:lnTo>
                      <a:pt x="12" y="6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6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20" name="Group 658"/>
            <p:cNvGrpSpPr>
              <a:grpSpLocks/>
            </p:cNvGrpSpPr>
            <p:nvPr/>
          </p:nvGrpSpPr>
          <p:grpSpPr bwMode="auto">
            <a:xfrm>
              <a:off x="6087843" y="3053120"/>
              <a:ext cx="59582" cy="30342"/>
              <a:chOff x="3859" y="1326"/>
              <a:chExt cx="30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984" name="Freeform 659"/>
              <p:cNvSpPr>
                <a:spLocks/>
              </p:cNvSpPr>
              <p:nvPr/>
            </p:nvSpPr>
            <p:spPr bwMode="auto">
              <a:xfrm>
                <a:off x="3859" y="1326"/>
                <a:ext cx="30" cy="18"/>
              </a:xfrm>
              <a:custGeom>
                <a:avLst/>
                <a:gdLst>
                  <a:gd name="T0" fmla="*/ 30 w 30"/>
                  <a:gd name="T1" fmla="*/ 12 h 18"/>
                  <a:gd name="T2" fmla="*/ 30 w 30"/>
                  <a:gd name="T3" fmla="*/ 18 h 18"/>
                  <a:gd name="T4" fmla="*/ 12 w 30"/>
                  <a:gd name="T5" fmla="*/ 12 h 18"/>
                  <a:gd name="T6" fmla="*/ 6 w 30"/>
                  <a:gd name="T7" fmla="*/ 12 h 18"/>
                  <a:gd name="T8" fmla="*/ 0 w 30"/>
                  <a:gd name="T9" fmla="*/ 6 h 18"/>
                  <a:gd name="T10" fmla="*/ 0 w 30"/>
                  <a:gd name="T11" fmla="*/ 6 h 18"/>
                  <a:gd name="T12" fmla="*/ 6 w 30"/>
                  <a:gd name="T13" fmla="*/ 0 h 18"/>
                  <a:gd name="T14" fmla="*/ 6 w 30"/>
                  <a:gd name="T15" fmla="*/ 0 h 18"/>
                  <a:gd name="T16" fmla="*/ 12 w 30"/>
                  <a:gd name="T17" fmla="*/ 0 h 18"/>
                  <a:gd name="T18" fmla="*/ 12 w 30"/>
                  <a:gd name="T19" fmla="*/ 0 h 18"/>
                  <a:gd name="T20" fmla="*/ 18 w 30"/>
                  <a:gd name="T21" fmla="*/ 0 h 18"/>
                  <a:gd name="T22" fmla="*/ 18 w 30"/>
                  <a:gd name="T23" fmla="*/ 0 h 18"/>
                  <a:gd name="T24" fmla="*/ 18 w 30"/>
                  <a:gd name="T25" fmla="*/ 6 h 18"/>
                  <a:gd name="T26" fmla="*/ 24 w 30"/>
                  <a:gd name="T27" fmla="*/ 0 h 18"/>
                  <a:gd name="T28" fmla="*/ 24 w 30"/>
                  <a:gd name="T29" fmla="*/ 0 h 18"/>
                  <a:gd name="T30" fmla="*/ 30 w 30"/>
                  <a:gd name="T31" fmla="*/ 6 h 18"/>
                  <a:gd name="T32" fmla="*/ 30 w 30"/>
                  <a:gd name="T33" fmla="*/ 6 h 18"/>
                  <a:gd name="T34" fmla="*/ 30 w 30"/>
                  <a:gd name="T35" fmla="*/ 12 h 18"/>
                  <a:gd name="T36" fmla="*/ 30 w 30"/>
                  <a:gd name="T37" fmla="*/ 12 h 1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0" h="18">
                    <a:moveTo>
                      <a:pt x="30" y="12"/>
                    </a:moveTo>
                    <a:lnTo>
                      <a:pt x="30" y="18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18" y="6"/>
                    </a:lnTo>
                    <a:lnTo>
                      <a:pt x="24" y="0"/>
                    </a:lnTo>
                    <a:lnTo>
                      <a:pt x="30" y="6"/>
                    </a:lnTo>
                    <a:lnTo>
                      <a:pt x="3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85" name="Freeform 660"/>
              <p:cNvSpPr>
                <a:spLocks/>
              </p:cNvSpPr>
              <p:nvPr/>
            </p:nvSpPr>
            <p:spPr bwMode="auto">
              <a:xfrm>
                <a:off x="3859" y="1326"/>
                <a:ext cx="30" cy="18"/>
              </a:xfrm>
              <a:custGeom>
                <a:avLst/>
                <a:gdLst>
                  <a:gd name="T0" fmla="*/ 30 w 30"/>
                  <a:gd name="T1" fmla="*/ 12 h 18"/>
                  <a:gd name="T2" fmla="*/ 30 w 30"/>
                  <a:gd name="T3" fmla="*/ 18 h 18"/>
                  <a:gd name="T4" fmla="*/ 12 w 30"/>
                  <a:gd name="T5" fmla="*/ 12 h 18"/>
                  <a:gd name="T6" fmla="*/ 6 w 30"/>
                  <a:gd name="T7" fmla="*/ 12 h 18"/>
                  <a:gd name="T8" fmla="*/ 0 w 30"/>
                  <a:gd name="T9" fmla="*/ 6 h 18"/>
                  <a:gd name="T10" fmla="*/ 6 w 30"/>
                  <a:gd name="T11" fmla="*/ 0 h 18"/>
                  <a:gd name="T12" fmla="*/ 12 w 30"/>
                  <a:gd name="T13" fmla="*/ 0 h 18"/>
                  <a:gd name="T14" fmla="*/ 18 w 30"/>
                  <a:gd name="T15" fmla="*/ 0 h 18"/>
                  <a:gd name="T16" fmla="*/ 18 w 30"/>
                  <a:gd name="T17" fmla="*/ 6 h 18"/>
                  <a:gd name="T18" fmla="*/ 24 w 30"/>
                  <a:gd name="T19" fmla="*/ 0 h 18"/>
                  <a:gd name="T20" fmla="*/ 30 w 30"/>
                  <a:gd name="T21" fmla="*/ 6 h 18"/>
                  <a:gd name="T22" fmla="*/ 30 w 30"/>
                  <a:gd name="T23" fmla="*/ 12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0" h="18">
                    <a:moveTo>
                      <a:pt x="30" y="12"/>
                    </a:moveTo>
                    <a:lnTo>
                      <a:pt x="30" y="18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18" y="6"/>
                    </a:lnTo>
                    <a:lnTo>
                      <a:pt x="24" y="0"/>
                    </a:lnTo>
                    <a:lnTo>
                      <a:pt x="30" y="6"/>
                    </a:lnTo>
                    <a:lnTo>
                      <a:pt x="3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21" name="Group 661"/>
            <p:cNvGrpSpPr>
              <a:grpSpLocks/>
            </p:cNvGrpSpPr>
            <p:nvPr/>
          </p:nvGrpSpPr>
          <p:grpSpPr bwMode="auto">
            <a:xfrm>
              <a:off x="6674049" y="3063234"/>
              <a:ext cx="11532" cy="10114"/>
              <a:chOff x="4147" y="1332"/>
              <a:chExt cx="6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82" name="Freeform 662"/>
              <p:cNvSpPr>
                <a:spLocks/>
              </p:cNvSpPr>
              <p:nvPr/>
            </p:nvSpPr>
            <p:spPr bwMode="auto">
              <a:xfrm>
                <a:off x="4147" y="1332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0 h 6"/>
                  <a:gd name="T4" fmla="*/ 6 w 6"/>
                  <a:gd name="T5" fmla="*/ 0 h 6"/>
                  <a:gd name="T6" fmla="*/ 0 w 6"/>
                  <a:gd name="T7" fmla="*/ 0 h 6"/>
                  <a:gd name="T8" fmla="*/ 6 w 6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83" name="Freeform 663"/>
              <p:cNvSpPr>
                <a:spLocks/>
              </p:cNvSpPr>
              <p:nvPr/>
            </p:nvSpPr>
            <p:spPr bwMode="auto">
              <a:xfrm>
                <a:off x="4147" y="1332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0 h 6"/>
                  <a:gd name="T4" fmla="*/ 0 w 6"/>
                  <a:gd name="T5" fmla="*/ 0 h 6"/>
                  <a:gd name="T6" fmla="*/ 6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22" name="Group 664"/>
            <p:cNvGrpSpPr>
              <a:grpSpLocks/>
            </p:cNvGrpSpPr>
            <p:nvPr/>
          </p:nvGrpSpPr>
          <p:grpSpPr bwMode="auto">
            <a:xfrm>
              <a:off x="6660595" y="2982321"/>
              <a:ext cx="13454" cy="8091"/>
              <a:chOff x="4141" y="1284"/>
              <a:chExt cx="6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80" name="Freeform 665"/>
              <p:cNvSpPr>
                <a:spLocks/>
              </p:cNvSpPr>
              <p:nvPr/>
            </p:nvSpPr>
            <p:spPr bwMode="auto">
              <a:xfrm>
                <a:off x="4141" y="1284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  <a:gd name="T4" fmla="*/ 0 w 6"/>
                  <a:gd name="T5" fmla="*/ 0 h 6"/>
                  <a:gd name="T6" fmla="*/ 0 w 6"/>
                  <a:gd name="T7" fmla="*/ 0 h 6"/>
                  <a:gd name="T8" fmla="*/ 0 w 6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81" name="Freeform 666"/>
              <p:cNvSpPr>
                <a:spLocks/>
              </p:cNvSpPr>
              <p:nvPr/>
            </p:nvSpPr>
            <p:spPr bwMode="auto">
              <a:xfrm>
                <a:off x="4141" y="1284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  <a:gd name="T4" fmla="*/ 0 w 6"/>
                  <a:gd name="T5" fmla="*/ 0 h 6"/>
                  <a:gd name="T6" fmla="*/ 0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23" name="Group 667"/>
            <p:cNvGrpSpPr>
              <a:grpSpLocks/>
            </p:cNvGrpSpPr>
            <p:nvPr/>
          </p:nvGrpSpPr>
          <p:grpSpPr bwMode="auto">
            <a:xfrm>
              <a:off x="6674049" y="3002550"/>
              <a:ext cx="11532" cy="10114"/>
              <a:chOff x="4147" y="1296"/>
              <a:chExt cx="6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78" name="Freeform 668"/>
              <p:cNvSpPr>
                <a:spLocks/>
              </p:cNvSpPr>
              <p:nvPr/>
            </p:nvSpPr>
            <p:spPr bwMode="auto">
              <a:xfrm>
                <a:off x="4147" y="1296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6 h 6"/>
                  <a:gd name="T4" fmla="*/ 6 w 6"/>
                  <a:gd name="T5" fmla="*/ 0 h 6"/>
                  <a:gd name="T6" fmla="*/ 0 w 6"/>
                  <a:gd name="T7" fmla="*/ 6 h 6"/>
                  <a:gd name="T8" fmla="*/ 6 w 6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79" name="Freeform 669"/>
              <p:cNvSpPr>
                <a:spLocks/>
              </p:cNvSpPr>
              <p:nvPr/>
            </p:nvSpPr>
            <p:spPr bwMode="auto">
              <a:xfrm>
                <a:off x="4147" y="1296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0 h 6"/>
                  <a:gd name="T4" fmla="*/ 0 w 6"/>
                  <a:gd name="T5" fmla="*/ 6 h 6"/>
                  <a:gd name="T6" fmla="*/ 6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24" name="Group 670"/>
            <p:cNvGrpSpPr>
              <a:grpSpLocks/>
            </p:cNvGrpSpPr>
            <p:nvPr/>
          </p:nvGrpSpPr>
          <p:grpSpPr bwMode="auto">
            <a:xfrm>
              <a:off x="6674049" y="3043006"/>
              <a:ext cx="11532" cy="10114"/>
              <a:chOff x="4147" y="1320"/>
              <a:chExt cx="6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76" name="Freeform 671"/>
              <p:cNvSpPr>
                <a:spLocks/>
              </p:cNvSpPr>
              <p:nvPr/>
            </p:nvSpPr>
            <p:spPr bwMode="auto">
              <a:xfrm>
                <a:off x="4147" y="1320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6 h 6"/>
                  <a:gd name="T4" fmla="*/ 6 w 6"/>
                  <a:gd name="T5" fmla="*/ 0 h 6"/>
                  <a:gd name="T6" fmla="*/ 0 w 6"/>
                  <a:gd name="T7" fmla="*/ 6 h 6"/>
                  <a:gd name="T8" fmla="*/ 6 w 6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77" name="Freeform 672"/>
              <p:cNvSpPr>
                <a:spLocks/>
              </p:cNvSpPr>
              <p:nvPr/>
            </p:nvSpPr>
            <p:spPr bwMode="auto">
              <a:xfrm>
                <a:off x="4147" y="1320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0 h 6"/>
                  <a:gd name="T4" fmla="*/ 0 w 6"/>
                  <a:gd name="T5" fmla="*/ 6 h 6"/>
                  <a:gd name="T6" fmla="*/ 6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25" name="Group 673"/>
            <p:cNvGrpSpPr>
              <a:grpSpLocks/>
            </p:cNvGrpSpPr>
            <p:nvPr/>
          </p:nvGrpSpPr>
          <p:grpSpPr bwMode="auto">
            <a:xfrm>
              <a:off x="6685581" y="3022778"/>
              <a:ext cx="1922" cy="10114"/>
              <a:chOff x="4153" y="1308"/>
              <a:chExt cx="1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74" name="Freeform 674"/>
              <p:cNvSpPr>
                <a:spLocks/>
              </p:cNvSpPr>
              <p:nvPr/>
            </p:nvSpPr>
            <p:spPr bwMode="auto">
              <a:xfrm>
                <a:off x="4153" y="1308"/>
                <a:ext cx="1" cy="6"/>
              </a:xfrm>
              <a:custGeom>
                <a:avLst/>
                <a:gdLst>
                  <a:gd name="T0" fmla="*/ 0 w 1"/>
                  <a:gd name="T1" fmla="*/ 6 h 6"/>
                  <a:gd name="T2" fmla="*/ 0 w 1"/>
                  <a:gd name="T3" fmla="*/ 6 h 6"/>
                  <a:gd name="T4" fmla="*/ 0 w 1"/>
                  <a:gd name="T5" fmla="*/ 0 h 6"/>
                  <a:gd name="T6" fmla="*/ 0 w 1"/>
                  <a:gd name="T7" fmla="*/ 6 h 6"/>
                  <a:gd name="T8" fmla="*/ 0 w 1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75" name="Freeform 675"/>
              <p:cNvSpPr>
                <a:spLocks/>
              </p:cNvSpPr>
              <p:nvPr/>
            </p:nvSpPr>
            <p:spPr bwMode="auto">
              <a:xfrm>
                <a:off x="4153" y="1308"/>
                <a:ext cx="1" cy="6"/>
              </a:xfrm>
              <a:custGeom>
                <a:avLst/>
                <a:gdLst>
                  <a:gd name="T0" fmla="*/ 0 w 1"/>
                  <a:gd name="T1" fmla="*/ 6 h 6"/>
                  <a:gd name="T2" fmla="*/ 0 w 1"/>
                  <a:gd name="T3" fmla="*/ 0 h 6"/>
                  <a:gd name="T4" fmla="*/ 0 w 1"/>
                  <a:gd name="T5" fmla="*/ 6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26" name="Group 676"/>
            <p:cNvGrpSpPr>
              <a:grpSpLocks/>
            </p:cNvGrpSpPr>
            <p:nvPr/>
          </p:nvGrpSpPr>
          <p:grpSpPr bwMode="auto">
            <a:xfrm>
              <a:off x="6601013" y="2982321"/>
              <a:ext cx="23064" cy="0"/>
              <a:chOff x="4111" y="1284"/>
              <a:chExt cx="12" cy="1"/>
            </a:xfrm>
            <a:solidFill>
              <a:srgbClr val="0070C0">
                <a:alpha val="27059"/>
              </a:srgbClr>
            </a:solidFill>
          </p:grpSpPr>
          <p:sp>
            <p:nvSpPr>
              <p:cNvPr id="972" name="Freeform 677"/>
              <p:cNvSpPr>
                <a:spLocks/>
              </p:cNvSpPr>
              <p:nvPr/>
            </p:nvSpPr>
            <p:spPr bwMode="auto">
              <a:xfrm>
                <a:off x="4111" y="1284"/>
                <a:ext cx="12" cy="1"/>
              </a:xfrm>
              <a:custGeom>
                <a:avLst/>
                <a:gdLst>
                  <a:gd name="T0" fmla="*/ 6 w 12"/>
                  <a:gd name="T1" fmla="*/ 0 h 1"/>
                  <a:gd name="T2" fmla="*/ 6 w 12"/>
                  <a:gd name="T3" fmla="*/ 0 h 1"/>
                  <a:gd name="T4" fmla="*/ 12 w 12"/>
                  <a:gd name="T5" fmla="*/ 0 h 1"/>
                  <a:gd name="T6" fmla="*/ 6 w 12"/>
                  <a:gd name="T7" fmla="*/ 0 h 1"/>
                  <a:gd name="T8" fmla="*/ 6 w 12"/>
                  <a:gd name="T9" fmla="*/ 0 h 1"/>
                  <a:gd name="T10" fmla="*/ 0 w 12"/>
                  <a:gd name="T11" fmla="*/ 0 h 1"/>
                  <a:gd name="T12" fmla="*/ 0 w 12"/>
                  <a:gd name="T13" fmla="*/ 0 h 1"/>
                  <a:gd name="T14" fmla="*/ 0 w 12"/>
                  <a:gd name="T15" fmla="*/ 0 h 1"/>
                  <a:gd name="T16" fmla="*/ 6 w 12"/>
                  <a:gd name="T17" fmla="*/ 0 h 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">
                    <a:moveTo>
                      <a:pt x="6" y="0"/>
                    </a:moveTo>
                    <a:lnTo>
                      <a:pt x="6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73" name="Freeform 678"/>
              <p:cNvSpPr>
                <a:spLocks/>
              </p:cNvSpPr>
              <p:nvPr/>
            </p:nvSpPr>
            <p:spPr bwMode="auto">
              <a:xfrm>
                <a:off x="4111" y="1284"/>
                <a:ext cx="12" cy="1"/>
              </a:xfrm>
              <a:custGeom>
                <a:avLst/>
                <a:gdLst>
                  <a:gd name="T0" fmla="*/ 6 w 12"/>
                  <a:gd name="T1" fmla="*/ 0 h 1"/>
                  <a:gd name="T2" fmla="*/ 12 w 12"/>
                  <a:gd name="T3" fmla="*/ 0 h 1"/>
                  <a:gd name="T4" fmla="*/ 6 w 12"/>
                  <a:gd name="T5" fmla="*/ 0 h 1"/>
                  <a:gd name="T6" fmla="*/ 0 w 12"/>
                  <a:gd name="T7" fmla="*/ 0 h 1"/>
                  <a:gd name="T8" fmla="*/ 6 w 12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2" h="1">
                    <a:moveTo>
                      <a:pt x="6" y="0"/>
                    </a:move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27" name="Group 679"/>
            <p:cNvGrpSpPr>
              <a:grpSpLocks/>
            </p:cNvGrpSpPr>
            <p:nvPr/>
          </p:nvGrpSpPr>
          <p:grpSpPr bwMode="auto">
            <a:xfrm>
              <a:off x="6331935" y="2816451"/>
              <a:ext cx="36518" cy="10114"/>
              <a:chOff x="3979" y="1188"/>
              <a:chExt cx="18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70" name="Freeform 680"/>
              <p:cNvSpPr>
                <a:spLocks/>
              </p:cNvSpPr>
              <p:nvPr/>
            </p:nvSpPr>
            <p:spPr bwMode="auto">
              <a:xfrm>
                <a:off x="3979" y="1188"/>
                <a:ext cx="18" cy="6"/>
              </a:xfrm>
              <a:custGeom>
                <a:avLst/>
                <a:gdLst>
                  <a:gd name="T0" fmla="*/ 6 w 18"/>
                  <a:gd name="T1" fmla="*/ 6 h 6"/>
                  <a:gd name="T2" fmla="*/ 18 w 18"/>
                  <a:gd name="T3" fmla="*/ 6 h 6"/>
                  <a:gd name="T4" fmla="*/ 12 w 18"/>
                  <a:gd name="T5" fmla="*/ 6 h 6"/>
                  <a:gd name="T6" fmla="*/ 6 w 18"/>
                  <a:gd name="T7" fmla="*/ 0 h 6"/>
                  <a:gd name="T8" fmla="*/ 0 w 18"/>
                  <a:gd name="T9" fmla="*/ 6 h 6"/>
                  <a:gd name="T10" fmla="*/ 0 w 18"/>
                  <a:gd name="T11" fmla="*/ 6 h 6"/>
                  <a:gd name="T12" fmla="*/ 6 w 18"/>
                  <a:gd name="T13" fmla="*/ 6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6" y="6"/>
                    </a:moveTo>
                    <a:lnTo>
                      <a:pt x="18" y="6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71" name="Freeform 681"/>
              <p:cNvSpPr>
                <a:spLocks/>
              </p:cNvSpPr>
              <p:nvPr/>
            </p:nvSpPr>
            <p:spPr bwMode="auto">
              <a:xfrm>
                <a:off x="3979" y="1188"/>
                <a:ext cx="18" cy="6"/>
              </a:xfrm>
              <a:custGeom>
                <a:avLst/>
                <a:gdLst>
                  <a:gd name="T0" fmla="*/ 6 w 18"/>
                  <a:gd name="T1" fmla="*/ 6 h 6"/>
                  <a:gd name="T2" fmla="*/ 18 w 18"/>
                  <a:gd name="T3" fmla="*/ 6 h 6"/>
                  <a:gd name="T4" fmla="*/ 12 w 18"/>
                  <a:gd name="T5" fmla="*/ 6 h 6"/>
                  <a:gd name="T6" fmla="*/ 6 w 18"/>
                  <a:gd name="T7" fmla="*/ 0 h 6"/>
                  <a:gd name="T8" fmla="*/ 0 w 18"/>
                  <a:gd name="T9" fmla="*/ 6 h 6"/>
                  <a:gd name="T10" fmla="*/ 6 w 18"/>
                  <a:gd name="T11" fmla="*/ 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6">
                    <a:moveTo>
                      <a:pt x="6" y="6"/>
                    </a:moveTo>
                    <a:lnTo>
                      <a:pt x="18" y="6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28" name="Group 682"/>
            <p:cNvGrpSpPr>
              <a:grpSpLocks/>
            </p:cNvGrpSpPr>
            <p:nvPr/>
          </p:nvGrpSpPr>
          <p:grpSpPr bwMode="auto">
            <a:xfrm>
              <a:off x="6393439" y="2826565"/>
              <a:ext cx="0" cy="30342"/>
              <a:chOff x="4009" y="1194"/>
              <a:chExt cx="1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968" name="Freeform 683"/>
              <p:cNvSpPr>
                <a:spLocks/>
              </p:cNvSpPr>
              <p:nvPr/>
            </p:nvSpPr>
            <p:spPr bwMode="auto">
              <a:xfrm>
                <a:off x="4009" y="1194"/>
                <a:ext cx="1" cy="18"/>
              </a:xfrm>
              <a:custGeom>
                <a:avLst/>
                <a:gdLst>
                  <a:gd name="T0" fmla="*/ 0 w 1"/>
                  <a:gd name="T1" fmla="*/ 18 h 18"/>
                  <a:gd name="T2" fmla="*/ 0 w 1"/>
                  <a:gd name="T3" fmla="*/ 6 h 18"/>
                  <a:gd name="T4" fmla="*/ 0 w 1"/>
                  <a:gd name="T5" fmla="*/ 0 h 18"/>
                  <a:gd name="T6" fmla="*/ 0 w 1"/>
                  <a:gd name="T7" fmla="*/ 0 h 18"/>
                  <a:gd name="T8" fmla="*/ 0 w 1"/>
                  <a:gd name="T9" fmla="*/ 6 h 18"/>
                  <a:gd name="T10" fmla="*/ 0 w 1"/>
                  <a:gd name="T11" fmla="*/ 18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" h="18">
                    <a:moveTo>
                      <a:pt x="0" y="18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69" name="Freeform 684"/>
              <p:cNvSpPr>
                <a:spLocks/>
              </p:cNvSpPr>
              <p:nvPr/>
            </p:nvSpPr>
            <p:spPr bwMode="auto">
              <a:xfrm>
                <a:off x="4009" y="1194"/>
                <a:ext cx="1" cy="18"/>
              </a:xfrm>
              <a:custGeom>
                <a:avLst/>
                <a:gdLst>
                  <a:gd name="T0" fmla="*/ 0 w 1"/>
                  <a:gd name="T1" fmla="*/ 18 h 18"/>
                  <a:gd name="T2" fmla="*/ 0 w 1"/>
                  <a:gd name="T3" fmla="*/ 6 h 18"/>
                  <a:gd name="T4" fmla="*/ 0 w 1"/>
                  <a:gd name="T5" fmla="*/ 0 h 18"/>
                  <a:gd name="T6" fmla="*/ 0 w 1"/>
                  <a:gd name="T7" fmla="*/ 6 h 18"/>
                  <a:gd name="T8" fmla="*/ 0 w 1"/>
                  <a:gd name="T9" fmla="*/ 18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" h="18">
                    <a:moveTo>
                      <a:pt x="0" y="18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29" name="Group 685"/>
            <p:cNvGrpSpPr>
              <a:grpSpLocks/>
            </p:cNvGrpSpPr>
            <p:nvPr/>
          </p:nvGrpSpPr>
          <p:grpSpPr bwMode="auto">
            <a:xfrm>
              <a:off x="6416503" y="2877135"/>
              <a:ext cx="11532" cy="12137"/>
              <a:chOff x="4021" y="1224"/>
              <a:chExt cx="6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66" name="Freeform 686"/>
              <p:cNvSpPr>
                <a:spLocks/>
              </p:cNvSpPr>
              <p:nvPr/>
            </p:nvSpPr>
            <p:spPr bwMode="auto">
              <a:xfrm>
                <a:off x="4021" y="1224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0 h 6"/>
                  <a:gd name="T4" fmla="*/ 6 w 6"/>
                  <a:gd name="T5" fmla="*/ 0 h 6"/>
                  <a:gd name="T6" fmla="*/ 0 w 6"/>
                  <a:gd name="T7" fmla="*/ 0 h 6"/>
                  <a:gd name="T8" fmla="*/ 6 w 6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67" name="Freeform 687"/>
              <p:cNvSpPr>
                <a:spLocks/>
              </p:cNvSpPr>
              <p:nvPr/>
            </p:nvSpPr>
            <p:spPr bwMode="auto">
              <a:xfrm>
                <a:off x="4021" y="1224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0 h 6"/>
                  <a:gd name="T4" fmla="*/ 0 w 6"/>
                  <a:gd name="T5" fmla="*/ 0 h 6"/>
                  <a:gd name="T6" fmla="*/ 6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30" name="Group 688"/>
            <p:cNvGrpSpPr>
              <a:grpSpLocks/>
            </p:cNvGrpSpPr>
            <p:nvPr/>
          </p:nvGrpSpPr>
          <p:grpSpPr bwMode="auto">
            <a:xfrm>
              <a:off x="6441488" y="2877135"/>
              <a:ext cx="11532" cy="12137"/>
              <a:chOff x="4033" y="1224"/>
              <a:chExt cx="6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64" name="Freeform 689"/>
              <p:cNvSpPr>
                <a:spLocks/>
              </p:cNvSpPr>
              <p:nvPr/>
            </p:nvSpPr>
            <p:spPr bwMode="auto">
              <a:xfrm>
                <a:off x="4033" y="1224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6 h 6"/>
                  <a:gd name="T4" fmla="*/ 6 w 6"/>
                  <a:gd name="T5" fmla="*/ 0 h 6"/>
                  <a:gd name="T6" fmla="*/ 0 w 6"/>
                  <a:gd name="T7" fmla="*/ 6 h 6"/>
                  <a:gd name="T8" fmla="*/ 6 w 6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65" name="Freeform 690"/>
              <p:cNvSpPr>
                <a:spLocks/>
              </p:cNvSpPr>
              <p:nvPr/>
            </p:nvSpPr>
            <p:spPr bwMode="auto">
              <a:xfrm>
                <a:off x="4033" y="1224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0 h 6"/>
                  <a:gd name="T4" fmla="*/ 0 w 6"/>
                  <a:gd name="T5" fmla="*/ 6 h 6"/>
                  <a:gd name="T6" fmla="*/ 6 w 6"/>
                  <a:gd name="T7" fmla="*/ 6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31" name="Group 691"/>
            <p:cNvGrpSpPr>
              <a:grpSpLocks/>
            </p:cNvGrpSpPr>
            <p:nvPr/>
          </p:nvGrpSpPr>
          <p:grpSpPr bwMode="auto">
            <a:xfrm>
              <a:off x="6428034" y="2929728"/>
              <a:ext cx="38440" cy="10114"/>
              <a:chOff x="4027" y="1254"/>
              <a:chExt cx="18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62" name="Freeform 692"/>
              <p:cNvSpPr>
                <a:spLocks/>
              </p:cNvSpPr>
              <p:nvPr/>
            </p:nvSpPr>
            <p:spPr bwMode="auto">
              <a:xfrm>
                <a:off x="4027" y="1254"/>
                <a:ext cx="18" cy="6"/>
              </a:xfrm>
              <a:custGeom>
                <a:avLst/>
                <a:gdLst>
                  <a:gd name="T0" fmla="*/ 0 w 18"/>
                  <a:gd name="T1" fmla="*/ 6 h 6"/>
                  <a:gd name="T2" fmla="*/ 6 w 18"/>
                  <a:gd name="T3" fmla="*/ 0 h 6"/>
                  <a:gd name="T4" fmla="*/ 12 w 18"/>
                  <a:gd name="T5" fmla="*/ 0 h 6"/>
                  <a:gd name="T6" fmla="*/ 12 w 18"/>
                  <a:gd name="T7" fmla="*/ 0 h 6"/>
                  <a:gd name="T8" fmla="*/ 18 w 18"/>
                  <a:gd name="T9" fmla="*/ 6 h 6"/>
                  <a:gd name="T10" fmla="*/ 12 w 18"/>
                  <a:gd name="T11" fmla="*/ 6 h 6"/>
                  <a:gd name="T12" fmla="*/ 0 w 18"/>
                  <a:gd name="T13" fmla="*/ 6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0" y="6"/>
                    </a:moveTo>
                    <a:lnTo>
                      <a:pt x="6" y="0"/>
                    </a:lnTo>
                    <a:lnTo>
                      <a:pt x="12" y="0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63" name="Freeform 693"/>
              <p:cNvSpPr>
                <a:spLocks/>
              </p:cNvSpPr>
              <p:nvPr/>
            </p:nvSpPr>
            <p:spPr bwMode="auto">
              <a:xfrm>
                <a:off x="4027" y="1254"/>
                <a:ext cx="18" cy="6"/>
              </a:xfrm>
              <a:custGeom>
                <a:avLst/>
                <a:gdLst>
                  <a:gd name="T0" fmla="*/ 0 w 18"/>
                  <a:gd name="T1" fmla="*/ 6 h 6"/>
                  <a:gd name="T2" fmla="*/ 6 w 18"/>
                  <a:gd name="T3" fmla="*/ 0 h 6"/>
                  <a:gd name="T4" fmla="*/ 12 w 18"/>
                  <a:gd name="T5" fmla="*/ 0 h 6"/>
                  <a:gd name="T6" fmla="*/ 18 w 18"/>
                  <a:gd name="T7" fmla="*/ 6 h 6"/>
                  <a:gd name="T8" fmla="*/ 12 w 18"/>
                  <a:gd name="T9" fmla="*/ 6 h 6"/>
                  <a:gd name="T10" fmla="*/ 0 w 18"/>
                  <a:gd name="T11" fmla="*/ 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8" h="6">
                    <a:moveTo>
                      <a:pt x="0" y="6"/>
                    </a:moveTo>
                    <a:lnTo>
                      <a:pt x="6" y="0"/>
                    </a:lnTo>
                    <a:lnTo>
                      <a:pt x="12" y="0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32" name="Group 694"/>
            <p:cNvGrpSpPr>
              <a:grpSpLocks/>
            </p:cNvGrpSpPr>
            <p:nvPr/>
          </p:nvGrpSpPr>
          <p:grpSpPr bwMode="auto">
            <a:xfrm>
              <a:off x="6379985" y="2877135"/>
              <a:ext cx="13454" cy="32365"/>
              <a:chOff x="4003" y="1224"/>
              <a:chExt cx="6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960" name="Freeform 695"/>
              <p:cNvSpPr>
                <a:spLocks/>
              </p:cNvSpPr>
              <p:nvPr/>
            </p:nvSpPr>
            <p:spPr bwMode="auto">
              <a:xfrm>
                <a:off x="4003" y="1224"/>
                <a:ext cx="6" cy="18"/>
              </a:xfrm>
              <a:custGeom>
                <a:avLst/>
                <a:gdLst>
                  <a:gd name="T0" fmla="*/ 0 w 6"/>
                  <a:gd name="T1" fmla="*/ 0 h 18"/>
                  <a:gd name="T2" fmla="*/ 0 w 6"/>
                  <a:gd name="T3" fmla="*/ 0 h 18"/>
                  <a:gd name="T4" fmla="*/ 0 w 6"/>
                  <a:gd name="T5" fmla="*/ 6 h 18"/>
                  <a:gd name="T6" fmla="*/ 6 w 6"/>
                  <a:gd name="T7" fmla="*/ 12 h 18"/>
                  <a:gd name="T8" fmla="*/ 6 w 6"/>
                  <a:gd name="T9" fmla="*/ 18 h 18"/>
                  <a:gd name="T10" fmla="*/ 6 w 6"/>
                  <a:gd name="T11" fmla="*/ 12 h 18"/>
                  <a:gd name="T12" fmla="*/ 6 w 6"/>
                  <a:gd name="T13" fmla="*/ 6 h 18"/>
                  <a:gd name="T14" fmla="*/ 0 w 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8">
                    <a:moveTo>
                      <a:pt x="0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61" name="Freeform 696"/>
              <p:cNvSpPr>
                <a:spLocks/>
              </p:cNvSpPr>
              <p:nvPr/>
            </p:nvSpPr>
            <p:spPr bwMode="auto">
              <a:xfrm>
                <a:off x="4003" y="1224"/>
                <a:ext cx="6" cy="18"/>
              </a:xfrm>
              <a:custGeom>
                <a:avLst/>
                <a:gdLst>
                  <a:gd name="T0" fmla="*/ 0 w 6"/>
                  <a:gd name="T1" fmla="*/ 0 h 18"/>
                  <a:gd name="T2" fmla="*/ 0 w 6"/>
                  <a:gd name="T3" fmla="*/ 6 h 18"/>
                  <a:gd name="T4" fmla="*/ 6 w 6"/>
                  <a:gd name="T5" fmla="*/ 12 h 18"/>
                  <a:gd name="T6" fmla="*/ 6 w 6"/>
                  <a:gd name="T7" fmla="*/ 18 h 18"/>
                  <a:gd name="T8" fmla="*/ 6 w 6"/>
                  <a:gd name="T9" fmla="*/ 12 h 18"/>
                  <a:gd name="T10" fmla="*/ 6 w 6"/>
                  <a:gd name="T11" fmla="*/ 6 h 18"/>
                  <a:gd name="T12" fmla="*/ 0 w 6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18">
                    <a:moveTo>
                      <a:pt x="0" y="0"/>
                    </a:moveTo>
                    <a:lnTo>
                      <a:pt x="0" y="6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33" name="Group 697"/>
            <p:cNvGrpSpPr>
              <a:grpSpLocks/>
            </p:cNvGrpSpPr>
            <p:nvPr/>
          </p:nvGrpSpPr>
          <p:grpSpPr bwMode="auto">
            <a:xfrm>
              <a:off x="6466474" y="2960071"/>
              <a:ext cx="61504" cy="30342"/>
              <a:chOff x="4045" y="1272"/>
              <a:chExt cx="30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958" name="Freeform 698"/>
              <p:cNvSpPr>
                <a:spLocks/>
              </p:cNvSpPr>
              <p:nvPr/>
            </p:nvSpPr>
            <p:spPr bwMode="auto">
              <a:xfrm>
                <a:off x="4045" y="1272"/>
                <a:ext cx="30" cy="18"/>
              </a:xfrm>
              <a:custGeom>
                <a:avLst/>
                <a:gdLst>
                  <a:gd name="T0" fmla="*/ 6 w 30"/>
                  <a:gd name="T1" fmla="*/ 0 h 18"/>
                  <a:gd name="T2" fmla="*/ 6 w 30"/>
                  <a:gd name="T3" fmla="*/ 0 h 18"/>
                  <a:gd name="T4" fmla="*/ 6 w 30"/>
                  <a:gd name="T5" fmla="*/ 6 h 18"/>
                  <a:gd name="T6" fmla="*/ 0 w 30"/>
                  <a:gd name="T7" fmla="*/ 6 h 18"/>
                  <a:gd name="T8" fmla="*/ 0 w 30"/>
                  <a:gd name="T9" fmla="*/ 12 h 18"/>
                  <a:gd name="T10" fmla="*/ 0 w 30"/>
                  <a:gd name="T11" fmla="*/ 18 h 18"/>
                  <a:gd name="T12" fmla="*/ 6 w 30"/>
                  <a:gd name="T13" fmla="*/ 18 h 18"/>
                  <a:gd name="T14" fmla="*/ 6 w 30"/>
                  <a:gd name="T15" fmla="*/ 18 h 18"/>
                  <a:gd name="T16" fmla="*/ 12 w 30"/>
                  <a:gd name="T17" fmla="*/ 18 h 18"/>
                  <a:gd name="T18" fmla="*/ 12 w 30"/>
                  <a:gd name="T19" fmla="*/ 12 h 18"/>
                  <a:gd name="T20" fmla="*/ 12 w 30"/>
                  <a:gd name="T21" fmla="*/ 12 h 18"/>
                  <a:gd name="T22" fmla="*/ 18 w 30"/>
                  <a:gd name="T23" fmla="*/ 18 h 18"/>
                  <a:gd name="T24" fmla="*/ 24 w 30"/>
                  <a:gd name="T25" fmla="*/ 12 h 18"/>
                  <a:gd name="T26" fmla="*/ 30 w 30"/>
                  <a:gd name="T27" fmla="*/ 12 h 18"/>
                  <a:gd name="T28" fmla="*/ 30 w 30"/>
                  <a:gd name="T29" fmla="*/ 6 h 18"/>
                  <a:gd name="T30" fmla="*/ 24 w 30"/>
                  <a:gd name="T31" fmla="*/ 6 h 18"/>
                  <a:gd name="T32" fmla="*/ 18 w 30"/>
                  <a:gd name="T33" fmla="*/ 6 h 18"/>
                  <a:gd name="T34" fmla="*/ 24 w 30"/>
                  <a:gd name="T35" fmla="*/ 0 h 18"/>
                  <a:gd name="T36" fmla="*/ 18 w 30"/>
                  <a:gd name="T37" fmla="*/ 0 h 18"/>
                  <a:gd name="T38" fmla="*/ 12 w 30"/>
                  <a:gd name="T39" fmla="*/ 0 h 18"/>
                  <a:gd name="T40" fmla="*/ 6 w 30"/>
                  <a:gd name="T41" fmla="*/ 0 h 1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30" h="18">
                    <a:moveTo>
                      <a:pt x="6" y="0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2" y="12"/>
                    </a:lnTo>
                    <a:lnTo>
                      <a:pt x="18" y="18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59" name="Freeform 699"/>
              <p:cNvSpPr>
                <a:spLocks/>
              </p:cNvSpPr>
              <p:nvPr/>
            </p:nvSpPr>
            <p:spPr bwMode="auto">
              <a:xfrm>
                <a:off x="4045" y="1272"/>
                <a:ext cx="30" cy="18"/>
              </a:xfrm>
              <a:custGeom>
                <a:avLst/>
                <a:gdLst>
                  <a:gd name="T0" fmla="*/ 6 w 30"/>
                  <a:gd name="T1" fmla="*/ 0 h 18"/>
                  <a:gd name="T2" fmla="*/ 6 w 30"/>
                  <a:gd name="T3" fmla="*/ 6 h 18"/>
                  <a:gd name="T4" fmla="*/ 0 w 30"/>
                  <a:gd name="T5" fmla="*/ 6 h 18"/>
                  <a:gd name="T6" fmla="*/ 0 w 30"/>
                  <a:gd name="T7" fmla="*/ 12 h 18"/>
                  <a:gd name="T8" fmla="*/ 0 w 30"/>
                  <a:gd name="T9" fmla="*/ 18 h 18"/>
                  <a:gd name="T10" fmla="*/ 6 w 30"/>
                  <a:gd name="T11" fmla="*/ 18 h 18"/>
                  <a:gd name="T12" fmla="*/ 12 w 30"/>
                  <a:gd name="T13" fmla="*/ 18 h 18"/>
                  <a:gd name="T14" fmla="*/ 12 w 30"/>
                  <a:gd name="T15" fmla="*/ 12 h 18"/>
                  <a:gd name="T16" fmla="*/ 18 w 30"/>
                  <a:gd name="T17" fmla="*/ 18 h 18"/>
                  <a:gd name="T18" fmla="*/ 24 w 30"/>
                  <a:gd name="T19" fmla="*/ 12 h 18"/>
                  <a:gd name="T20" fmla="*/ 30 w 30"/>
                  <a:gd name="T21" fmla="*/ 12 h 18"/>
                  <a:gd name="T22" fmla="*/ 30 w 30"/>
                  <a:gd name="T23" fmla="*/ 6 h 18"/>
                  <a:gd name="T24" fmla="*/ 24 w 30"/>
                  <a:gd name="T25" fmla="*/ 6 h 18"/>
                  <a:gd name="T26" fmla="*/ 18 w 30"/>
                  <a:gd name="T27" fmla="*/ 6 h 18"/>
                  <a:gd name="T28" fmla="*/ 24 w 30"/>
                  <a:gd name="T29" fmla="*/ 0 h 18"/>
                  <a:gd name="T30" fmla="*/ 18 w 30"/>
                  <a:gd name="T31" fmla="*/ 0 h 18"/>
                  <a:gd name="T32" fmla="*/ 12 w 30"/>
                  <a:gd name="T33" fmla="*/ 0 h 18"/>
                  <a:gd name="T34" fmla="*/ 6 w 30"/>
                  <a:gd name="T35" fmla="*/ 0 h 18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0" h="18">
                    <a:moveTo>
                      <a:pt x="6" y="0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2" y="12"/>
                    </a:lnTo>
                    <a:lnTo>
                      <a:pt x="18" y="18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34" name="Group 700"/>
            <p:cNvGrpSpPr>
              <a:grpSpLocks/>
            </p:cNvGrpSpPr>
            <p:nvPr/>
          </p:nvGrpSpPr>
          <p:grpSpPr bwMode="auto">
            <a:xfrm>
              <a:off x="6404971" y="2949956"/>
              <a:ext cx="73036" cy="40456"/>
              <a:chOff x="4015" y="1266"/>
              <a:chExt cx="36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956" name="Freeform 701"/>
              <p:cNvSpPr>
                <a:spLocks/>
              </p:cNvSpPr>
              <p:nvPr/>
            </p:nvSpPr>
            <p:spPr bwMode="auto">
              <a:xfrm>
                <a:off x="4015" y="1266"/>
                <a:ext cx="36" cy="24"/>
              </a:xfrm>
              <a:custGeom>
                <a:avLst/>
                <a:gdLst>
                  <a:gd name="T0" fmla="*/ 12 w 36"/>
                  <a:gd name="T1" fmla="*/ 0 h 24"/>
                  <a:gd name="T2" fmla="*/ 6 w 36"/>
                  <a:gd name="T3" fmla="*/ 6 h 24"/>
                  <a:gd name="T4" fmla="*/ 12 w 36"/>
                  <a:gd name="T5" fmla="*/ 6 h 24"/>
                  <a:gd name="T6" fmla="*/ 18 w 36"/>
                  <a:gd name="T7" fmla="*/ 6 h 24"/>
                  <a:gd name="T8" fmla="*/ 18 w 36"/>
                  <a:gd name="T9" fmla="*/ 6 h 24"/>
                  <a:gd name="T10" fmla="*/ 18 w 36"/>
                  <a:gd name="T11" fmla="*/ 12 h 24"/>
                  <a:gd name="T12" fmla="*/ 24 w 36"/>
                  <a:gd name="T13" fmla="*/ 12 h 24"/>
                  <a:gd name="T14" fmla="*/ 18 w 36"/>
                  <a:gd name="T15" fmla="*/ 12 h 24"/>
                  <a:gd name="T16" fmla="*/ 18 w 36"/>
                  <a:gd name="T17" fmla="*/ 18 h 24"/>
                  <a:gd name="T18" fmla="*/ 6 w 36"/>
                  <a:gd name="T19" fmla="*/ 12 h 24"/>
                  <a:gd name="T20" fmla="*/ 6 w 36"/>
                  <a:gd name="T21" fmla="*/ 12 h 24"/>
                  <a:gd name="T22" fmla="*/ 0 w 36"/>
                  <a:gd name="T23" fmla="*/ 18 h 24"/>
                  <a:gd name="T24" fmla="*/ 6 w 36"/>
                  <a:gd name="T25" fmla="*/ 18 h 24"/>
                  <a:gd name="T26" fmla="*/ 12 w 36"/>
                  <a:gd name="T27" fmla="*/ 18 h 24"/>
                  <a:gd name="T28" fmla="*/ 12 w 36"/>
                  <a:gd name="T29" fmla="*/ 18 h 24"/>
                  <a:gd name="T30" fmla="*/ 18 w 36"/>
                  <a:gd name="T31" fmla="*/ 18 h 24"/>
                  <a:gd name="T32" fmla="*/ 18 w 36"/>
                  <a:gd name="T33" fmla="*/ 24 h 24"/>
                  <a:gd name="T34" fmla="*/ 24 w 36"/>
                  <a:gd name="T35" fmla="*/ 24 h 24"/>
                  <a:gd name="T36" fmla="*/ 30 w 36"/>
                  <a:gd name="T37" fmla="*/ 24 h 24"/>
                  <a:gd name="T38" fmla="*/ 36 w 36"/>
                  <a:gd name="T39" fmla="*/ 24 h 24"/>
                  <a:gd name="T40" fmla="*/ 30 w 36"/>
                  <a:gd name="T41" fmla="*/ 24 h 24"/>
                  <a:gd name="T42" fmla="*/ 30 w 36"/>
                  <a:gd name="T43" fmla="*/ 18 h 24"/>
                  <a:gd name="T44" fmla="*/ 30 w 36"/>
                  <a:gd name="T45" fmla="*/ 12 h 24"/>
                  <a:gd name="T46" fmla="*/ 36 w 36"/>
                  <a:gd name="T47" fmla="*/ 12 h 24"/>
                  <a:gd name="T48" fmla="*/ 36 w 36"/>
                  <a:gd name="T49" fmla="*/ 6 h 24"/>
                  <a:gd name="T50" fmla="*/ 36 w 36"/>
                  <a:gd name="T51" fmla="*/ 6 h 24"/>
                  <a:gd name="T52" fmla="*/ 24 w 36"/>
                  <a:gd name="T53" fmla="*/ 0 h 24"/>
                  <a:gd name="T54" fmla="*/ 18 w 36"/>
                  <a:gd name="T55" fmla="*/ 0 h 24"/>
                  <a:gd name="T56" fmla="*/ 12 w 36"/>
                  <a:gd name="T57" fmla="*/ 0 h 2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36" h="24">
                    <a:moveTo>
                      <a:pt x="12" y="0"/>
                    </a:moveTo>
                    <a:lnTo>
                      <a:pt x="6" y="6"/>
                    </a:lnTo>
                    <a:lnTo>
                      <a:pt x="12" y="6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18" y="12"/>
                    </a:lnTo>
                    <a:lnTo>
                      <a:pt x="18" y="18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18" y="24"/>
                    </a:lnTo>
                    <a:lnTo>
                      <a:pt x="24" y="24"/>
                    </a:lnTo>
                    <a:lnTo>
                      <a:pt x="30" y="24"/>
                    </a:lnTo>
                    <a:lnTo>
                      <a:pt x="36" y="24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6" y="12"/>
                    </a:lnTo>
                    <a:lnTo>
                      <a:pt x="36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57" name="Freeform 702"/>
              <p:cNvSpPr>
                <a:spLocks/>
              </p:cNvSpPr>
              <p:nvPr/>
            </p:nvSpPr>
            <p:spPr bwMode="auto">
              <a:xfrm>
                <a:off x="4015" y="1266"/>
                <a:ext cx="36" cy="24"/>
              </a:xfrm>
              <a:custGeom>
                <a:avLst/>
                <a:gdLst>
                  <a:gd name="T0" fmla="*/ 12 w 36"/>
                  <a:gd name="T1" fmla="*/ 0 h 24"/>
                  <a:gd name="T2" fmla="*/ 6 w 36"/>
                  <a:gd name="T3" fmla="*/ 6 h 24"/>
                  <a:gd name="T4" fmla="*/ 12 w 36"/>
                  <a:gd name="T5" fmla="*/ 6 h 24"/>
                  <a:gd name="T6" fmla="*/ 18 w 36"/>
                  <a:gd name="T7" fmla="*/ 6 h 24"/>
                  <a:gd name="T8" fmla="*/ 18 w 36"/>
                  <a:gd name="T9" fmla="*/ 12 h 24"/>
                  <a:gd name="T10" fmla="*/ 24 w 36"/>
                  <a:gd name="T11" fmla="*/ 12 h 24"/>
                  <a:gd name="T12" fmla="*/ 18 w 36"/>
                  <a:gd name="T13" fmla="*/ 12 h 24"/>
                  <a:gd name="T14" fmla="*/ 18 w 36"/>
                  <a:gd name="T15" fmla="*/ 18 h 24"/>
                  <a:gd name="T16" fmla="*/ 6 w 36"/>
                  <a:gd name="T17" fmla="*/ 12 h 24"/>
                  <a:gd name="T18" fmla="*/ 0 w 36"/>
                  <a:gd name="T19" fmla="*/ 18 h 24"/>
                  <a:gd name="T20" fmla="*/ 6 w 36"/>
                  <a:gd name="T21" fmla="*/ 18 h 24"/>
                  <a:gd name="T22" fmla="*/ 12 w 36"/>
                  <a:gd name="T23" fmla="*/ 18 h 24"/>
                  <a:gd name="T24" fmla="*/ 18 w 36"/>
                  <a:gd name="T25" fmla="*/ 18 h 24"/>
                  <a:gd name="T26" fmla="*/ 18 w 36"/>
                  <a:gd name="T27" fmla="*/ 24 h 24"/>
                  <a:gd name="T28" fmla="*/ 24 w 36"/>
                  <a:gd name="T29" fmla="*/ 24 h 24"/>
                  <a:gd name="T30" fmla="*/ 30 w 36"/>
                  <a:gd name="T31" fmla="*/ 24 h 24"/>
                  <a:gd name="T32" fmla="*/ 36 w 36"/>
                  <a:gd name="T33" fmla="*/ 24 h 24"/>
                  <a:gd name="T34" fmla="*/ 30 w 36"/>
                  <a:gd name="T35" fmla="*/ 24 h 24"/>
                  <a:gd name="T36" fmla="*/ 30 w 36"/>
                  <a:gd name="T37" fmla="*/ 18 h 24"/>
                  <a:gd name="T38" fmla="*/ 30 w 36"/>
                  <a:gd name="T39" fmla="*/ 12 h 24"/>
                  <a:gd name="T40" fmla="*/ 36 w 36"/>
                  <a:gd name="T41" fmla="*/ 12 h 24"/>
                  <a:gd name="T42" fmla="*/ 36 w 36"/>
                  <a:gd name="T43" fmla="*/ 6 h 24"/>
                  <a:gd name="T44" fmla="*/ 24 w 36"/>
                  <a:gd name="T45" fmla="*/ 0 h 24"/>
                  <a:gd name="T46" fmla="*/ 18 w 36"/>
                  <a:gd name="T47" fmla="*/ 0 h 24"/>
                  <a:gd name="T48" fmla="*/ 12 w 36"/>
                  <a:gd name="T49" fmla="*/ 0 h 2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36" h="24">
                    <a:moveTo>
                      <a:pt x="12" y="0"/>
                    </a:moveTo>
                    <a:lnTo>
                      <a:pt x="6" y="6"/>
                    </a:lnTo>
                    <a:lnTo>
                      <a:pt x="12" y="6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18" y="12"/>
                    </a:lnTo>
                    <a:lnTo>
                      <a:pt x="18" y="18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18" y="24"/>
                    </a:lnTo>
                    <a:lnTo>
                      <a:pt x="24" y="24"/>
                    </a:lnTo>
                    <a:lnTo>
                      <a:pt x="30" y="24"/>
                    </a:lnTo>
                    <a:lnTo>
                      <a:pt x="36" y="24"/>
                    </a:lnTo>
                    <a:lnTo>
                      <a:pt x="30" y="24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36" y="12"/>
                    </a:lnTo>
                    <a:lnTo>
                      <a:pt x="36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35" name="Group 703"/>
            <p:cNvGrpSpPr>
              <a:grpSpLocks/>
            </p:cNvGrpSpPr>
            <p:nvPr/>
          </p:nvGrpSpPr>
          <p:grpSpPr bwMode="auto">
            <a:xfrm>
              <a:off x="6331935" y="2982321"/>
              <a:ext cx="36518" cy="8091"/>
              <a:chOff x="3979" y="1284"/>
              <a:chExt cx="18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54" name="Freeform 704"/>
              <p:cNvSpPr>
                <a:spLocks/>
              </p:cNvSpPr>
              <p:nvPr/>
            </p:nvSpPr>
            <p:spPr bwMode="auto">
              <a:xfrm>
                <a:off x="3979" y="1284"/>
                <a:ext cx="18" cy="6"/>
              </a:xfrm>
              <a:custGeom>
                <a:avLst/>
                <a:gdLst>
                  <a:gd name="T0" fmla="*/ 12 w 18"/>
                  <a:gd name="T1" fmla="*/ 0 h 6"/>
                  <a:gd name="T2" fmla="*/ 6 w 18"/>
                  <a:gd name="T3" fmla="*/ 0 h 6"/>
                  <a:gd name="T4" fmla="*/ 0 w 18"/>
                  <a:gd name="T5" fmla="*/ 0 h 6"/>
                  <a:gd name="T6" fmla="*/ 0 w 18"/>
                  <a:gd name="T7" fmla="*/ 0 h 6"/>
                  <a:gd name="T8" fmla="*/ 6 w 18"/>
                  <a:gd name="T9" fmla="*/ 6 h 6"/>
                  <a:gd name="T10" fmla="*/ 18 w 18"/>
                  <a:gd name="T11" fmla="*/ 6 h 6"/>
                  <a:gd name="T12" fmla="*/ 18 w 18"/>
                  <a:gd name="T13" fmla="*/ 6 h 6"/>
                  <a:gd name="T14" fmla="*/ 18 w 18"/>
                  <a:gd name="T15" fmla="*/ 6 h 6"/>
                  <a:gd name="T16" fmla="*/ 18 w 18"/>
                  <a:gd name="T17" fmla="*/ 6 h 6"/>
                  <a:gd name="T18" fmla="*/ 18 w 18"/>
                  <a:gd name="T19" fmla="*/ 0 h 6"/>
                  <a:gd name="T20" fmla="*/ 18 w 18"/>
                  <a:gd name="T21" fmla="*/ 0 h 6"/>
                  <a:gd name="T22" fmla="*/ 12 w 18"/>
                  <a:gd name="T23" fmla="*/ 0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8" h="6">
                    <a:moveTo>
                      <a:pt x="12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55" name="Freeform 705"/>
              <p:cNvSpPr>
                <a:spLocks/>
              </p:cNvSpPr>
              <p:nvPr/>
            </p:nvSpPr>
            <p:spPr bwMode="auto">
              <a:xfrm>
                <a:off x="3979" y="1284"/>
                <a:ext cx="18" cy="6"/>
              </a:xfrm>
              <a:custGeom>
                <a:avLst/>
                <a:gdLst>
                  <a:gd name="T0" fmla="*/ 12 w 18"/>
                  <a:gd name="T1" fmla="*/ 0 h 6"/>
                  <a:gd name="T2" fmla="*/ 6 w 18"/>
                  <a:gd name="T3" fmla="*/ 0 h 6"/>
                  <a:gd name="T4" fmla="*/ 0 w 18"/>
                  <a:gd name="T5" fmla="*/ 0 h 6"/>
                  <a:gd name="T6" fmla="*/ 6 w 18"/>
                  <a:gd name="T7" fmla="*/ 6 h 6"/>
                  <a:gd name="T8" fmla="*/ 18 w 18"/>
                  <a:gd name="T9" fmla="*/ 6 h 6"/>
                  <a:gd name="T10" fmla="*/ 18 w 18"/>
                  <a:gd name="T11" fmla="*/ 0 h 6"/>
                  <a:gd name="T12" fmla="*/ 12 w 18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12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36" name="Group 706"/>
            <p:cNvGrpSpPr>
              <a:grpSpLocks/>
            </p:cNvGrpSpPr>
            <p:nvPr/>
          </p:nvGrpSpPr>
          <p:grpSpPr bwMode="auto">
            <a:xfrm>
              <a:off x="6197396" y="2889272"/>
              <a:ext cx="219107" cy="70798"/>
              <a:chOff x="3913" y="1230"/>
              <a:chExt cx="108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952" name="Freeform 707"/>
              <p:cNvSpPr>
                <a:spLocks/>
              </p:cNvSpPr>
              <p:nvPr/>
            </p:nvSpPr>
            <p:spPr bwMode="auto">
              <a:xfrm>
                <a:off x="3913" y="1230"/>
                <a:ext cx="108" cy="42"/>
              </a:xfrm>
              <a:custGeom>
                <a:avLst/>
                <a:gdLst>
                  <a:gd name="T0" fmla="*/ 12 w 108"/>
                  <a:gd name="T1" fmla="*/ 0 h 42"/>
                  <a:gd name="T2" fmla="*/ 6 w 108"/>
                  <a:gd name="T3" fmla="*/ 6 h 42"/>
                  <a:gd name="T4" fmla="*/ 0 w 108"/>
                  <a:gd name="T5" fmla="*/ 12 h 42"/>
                  <a:gd name="T6" fmla="*/ 0 w 108"/>
                  <a:gd name="T7" fmla="*/ 12 h 42"/>
                  <a:gd name="T8" fmla="*/ 6 w 108"/>
                  <a:gd name="T9" fmla="*/ 18 h 42"/>
                  <a:gd name="T10" fmla="*/ 12 w 108"/>
                  <a:gd name="T11" fmla="*/ 18 h 42"/>
                  <a:gd name="T12" fmla="*/ 18 w 108"/>
                  <a:gd name="T13" fmla="*/ 12 h 42"/>
                  <a:gd name="T14" fmla="*/ 24 w 108"/>
                  <a:gd name="T15" fmla="*/ 12 h 42"/>
                  <a:gd name="T16" fmla="*/ 24 w 108"/>
                  <a:gd name="T17" fmla="*/ 12 h 42"/>
                  <a:gd name="T18" fmla="*/ 42 w 108"/>
                  <a:gd name="T19" fmla="*/ 18 h 42"/>
                  <a:gd name="T20" fmla="*/ 54 w 108"/>
                  <a:gd name="T21" fmla="*/ 24 h 42"/>
                  <a:gd name="T22" fmla="*/ 54 w 108"/>
                  <a:gd name="T23" fmla="*/ 30 h 42"/>
                  <a:gd name="T24" fmla="*/ 66 w 108"/>
                  <a:gd name="T25" fmla="*/ 30 h 42"/>
                  <a:gd name="T26" fmla="*/ 72 w 108"/>
                  <a:gd name="T27" fmla="*/ 30 h 42"/>
                  <a:gd name="T28" fmla="*/ 72 w 108"/>
                  <a:gd name="T29" fmla="*/ 36 h 42"/>
                  <a:gd name="T30" fmla="*/ 66 w 108"/>
                  <a:gd name="T31" fmla="*/ 36 h 42"/>
                  <a:gd name="T32" fmla="*/ 72 w 108"/>
                  <a:gd name="T33" fmla="*/ 42 h 42"/>
                  <a:gd name="T34" fmla="*/ 78 w 108"/>
                  <a:gd name="T35" fmla="*/ 42 h 42"/>
                  <a:gd name="T36" fmla="*/ 96 w 108"/>
                  <a:gd name="T37" fmla="*/ 42 h 42"/>
                  <a:gd name="T38" fmla="*/ 102 w 108"/>
                  <a:gd name="T39" fmla="*/ 42 h 42"/>
                  <a:gd name="T40" fmla="*/ 108 w 108"/>
                  <a:gd name="T41" fmla="*/ 36 h 42"/>
                  <a:gd name="T42" fmla="*/ 108 w 108"/>
                  <a:gd name="T43" fmla="*/ 36 h 42"/>
                  <a:gd name="T44" fmla="*/ 102 w 108"/>
                  <a:gd name="T45" fmla="*/ 36 h 42"/>
                  <a:gd name="T46" fmla="*/ 90 w 108"/>
                  <a:gd name="T47" fmla="*/ 24 h 42"/>
                  <a:gd name="T48" fmla="*/ 90 w 108"/>
                  <a:gd name="T49" fmla="*/ 24 h 42"/>
                  <a:gd name="T50" fmla="*/ 66 w 108"/>
                  <a:gd name="T51" fmla="*/ 18 h 42"/>
                  <a:gd name="T52" fmla="*/ 60 w 108"/>
                  <a:gd name="T53" fmla="*/ 18 h 42"/>
                  <a:gd name="T54" fmla="*/ 42 w 108"/>
                  <a:gd name="T55" fmla="*/ 6 h 42"/>
                  <a:gd name="T56" fmla="*/ 24 w 108"/>
                  <a:gd name="T57" fmla="*/ 0 h 42"/>
                  <a:gd name="T58" fmla="*/ 12 w 108"/>
                  <a:gd name="T59" fmla="*/ 0 h 4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08" h="42">
                    <a:moveTo>
                      <a:pt x="12" y="0"/>
                    </a:moveTo>
                    <a:lnTo>
                      <a:pt x="6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42" y="18"/>
                    </a:lnTo>
                    <a:lnTo>
                      <a:pt x="54" y="24"/>
                    </a:lnTo>
                    <a:lnTo>
                      <a:pt x="54" y="30"/>
                    </a:lnTo>
                    <a:lnTo>
                      <a:pt x="66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66" y="36"/>
                    </a:lnTo>
                    <a:lnTo>
                      <a:pt x="72" y="42"/>
                    </a:lnTo>
                    <a:lnTo>
                      <a:pt x="78" y="42"/>
                    </a:lnTo>
                    <a:lnTo>
                      <a:pt x="96" y="42"/>
                    </a:lnTo>
                    <a:lnTo>
                      <a:pt x="102" y="42"/>
                    </a:lnTo>
                    <a:lnTo>
                      <a:pt x="108" y="36"/>
                    </a:lnTo>
                    <a:lnTo>
                      <a:pt x="102" y="36"/>
                    </a:lnTo>
                    <a:lnTo>
                      <a:pt x="90" y="24"/>
                    </a:lnTo>
                    <a:lnTo>
                      <a:pt x="66" y="18"/>
                    </a:lnTo>
                    <a:lnTo>
                      <a:pt x="60" y="18"/>
                    </a:lnTo>
                    <a:lnTo>
                      <a:pt x="42" y="6"/>
                    </a:lnTo>
                    <a:lnTo>
                      <a:pt x="2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53" name="Freeform 708"/>
              <p:cNvSpPr>
                <a:spLocks/>
              </p:cNvSpPr>
              <p:nvPr/>
            </p:nvSpPr>
            <p:spPr bwMode="auto">
              <a:xfrm>
                <a:off x="3913" y="1230"/>
                <a:ext cx="108" cy="42"/>
              </a:xfrm>
              <a:custGeom>
                <a:avLst/>
                <a:gdLst>
                  <a:gd name="T0" fmla="*/ 12 w 108"/>
                  <a:gd name="T1" fmla="*/ 0 h 42"/>
                  <a:gd name="T2" fmla="*/ 6 w 108"/>
                  <a:gd name="T3" fmla="*/ 6 h 42"/>
                  <a:gd name="T4" fmla="*/ 0 w 108"/>
                  <a:gd name="T5" fmla="*/ 12 h 42"/>
                  <a:gd name="T6" fmla="*/ 6 w 108"/>
                  <a:gd name="T7" fmla="*/ 18 h 42"/>
                  <a:gd name="T8" fmla="*/ 12 w 108"/>
                  <a:gd name="T9" fmla="*/ 18 h 42"/>
                  <a:gd name="T10" fmla="*/ 18 w 108"/>
                  <a:gd name="T11" fmla="*/ 12 h 42"/>
                  <a:gd name="T12" fmla="*/ 24 w 108"/>
                  <a:gd name="T13" fmla="*/ 12 h 42"/>
                  <a:gd name="T14" fmla="*/ 42 w 108"/>
                  <a:gd name="T15" fmla="*/ 18 h 42"/>
                  <a:gd name="T16" fmla="*/ 54 w 108"/>
                  <a:gd name="T17" fmla="*/ 24 h 42"/>
                  <a:gd name="T18" fmla="*/ 54 w 108"/>
                  <a:gd name="T19" fmla="*/ 30 h 42"/>
                  <a:gd name="T20" fmla="*/ 66 w 108"/>
                  <a:gd name="T21" fmla="*/ 30 h 42"/>
                  <a:gd name="T22" fmla="*/ 72 w 108"/>
                  <a:gd name="T23" fmla="*/ 30 h 42"/>
                  <a:gd name="T24" fmla="*/ 72 w 108"/>
                  <a:gd name="T25" fmla="*/ 36 h 42"/>
                  <a:gd name="T26" fmla="*/ 66 w 108"/>
                  <a:gd name="T27" fmla="*/ 36 h 42"/>
                  <a:gd name="T28" fmla="*/ 72 w 108"/>
                  <a:gd name="T29" fmla="*/ 42 h 42"/>
                  <a:gd name="T30" fmla="*/ 78 w 108"/>
                  <a:gd name="T31" fmla="*/ 42 h 42"/>
                  <a:gd name="T32" fmla="*/ 96 w 108"/>
                  <a:gd name="T33" fmla="*/ 42 h 42"/>
                  <a:gd name="T34" fmla="*/ 102 w 108"/>
                  <a:gd name="T35" fmla="*/ 42 h 42"/>
                  <a:gd name="T36" fmla="*/ 108 w 108"/>
                  <a:gd name="T37" fmla="*/ 36 h 42"/>
                  <a:gd name="T38" fmla="*/ 102 w 108"/>
                  <a:gd name="T39" fmla="*/ 36 h 42"/>
                  <a:gd name="T40" fmla="*/ 90 w 108"/>
                  <a:gd name="T41" fmla="*/ 24 h 42"/>
                  <a:gd name="T42" fmla="*/ 66 w 108"/>
                  <a:gd name="T43" fmla="*/ 18 h 42"/>
                  <a:gd name="T44" fmla="*/ 60 w 108"/>
                  <a:gd name="T45" fmla="*/ 18 h 42"/>
                  <a:gd name="T46" fmla="*/ 42 w 108"/>
                  <a:gd name="T47" fmla="*/ 6 h 42"/>
                  <a:gd name="T48" fmla="*/ 24 w 108"/>
                  <a:gd name="T49" fmla="*/ 0 h 42"/>
                  <a:gd name="T50" fmla="*/ 12 w 108"/>
                  <a:gd name="T51" fmla="*/ 0 h 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8" h="42">
                    <a:moveTo>
                      <a:pt x="12" y="0"/>
                    </a:moveTo>
                    <a:lnTo>
                      <a:pt x="6" y="6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42" y="18"/>
                    </a:lnTo>
                    <a:lnTo>
                      <a:pt x="54" y="24"/>
                    </a:lnTo>
                    <a:lnTo>
                      <a:pt x="54" y="30"/>
                    </a:lnTo>
                    <a:lnTo>
                      <a:pt x="66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66" y="36"/>
                    </a:lnTo>
                    <a:lnTo>
                      <a:pt x="72" y="42"/>
                    </a:lnTo>
                    <a:lnTo>
                      <a:pt x="78" y="42"/>
                    </a:lnTo>
                    <a:lnTo>
                      <a:pt x="96" y="42"/>
                    </a:lnTo>
                    <a:lnTo>
                      <a:pt x="102" y="42"/>
                    </a:lnTo>
                    <a:lnTo>
                      <a:pt x="108" y="36"/>
                    </a:lnTo>
                    <a:lnTo>
                      <a:pt x="102" y="36"/>
                    </a:lnTo>
                    <a:lnTo>
                      <a:pt x="90" y="24"/>
                    </a:lnTo>
                    <a:lnTo>
                      <a:pt x="66" y="18"/>
                    </a:lnTo>
                    <a:lnTo>
                      <a:pt x="60" y="18"/>
                    </a:lnTo>
                    <a:lnTo>
                      <a:pt x="42" y="6"/>
                    </a:lnTo>
                    <a:lnTo>
                      <a:pt x="2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37" name="Group 709"/>
            <p:cNvGrpSpPr>
              <a:grpSpLocks/>
            </p:cNvGrpSpPr>
            <p:nvPr/>
          </p:nvGrpSpPr>
          <p:grpSpPr bwMode="auto">
            <a:xfrm>
              <a:off x="6539510" y="2982321"/>
              <a:ext cx="48050" cy="8091"/>
              <a:chOff x="4081" y="1284"/>
              <a:chExt cx="24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50" name="Freeform 710"/>
              <p:cNvSpPr>
                <a:spLocks/>
              </p:cNvSpPr>
              <p:nvPr/>
            </p:nvSpPr>
            <p:spPr bwMode="auto">
              <a:xfrm>
                <a:off x="4081" y="1284"/>
                <a:ext cx="24" cy="6"/>
              </a:xfrm>
              <a:custGeom>
                <a:avLst/>
                <a:gdLst>
                  <a:gd name="T0" fmla="*/ 6 w 24"/>
                  <a:gd name="T1" fmla="*/ 0 h 6"/>
                  <a:gd name="T2" fmla="*/ 0 w 24"/>
                  <a:gd name="T3" fmla="*/ 0 h 6"/>
                  <a:gd name="T4" fmla="*/ 0 w 24"/>
                  <a:gd name="T5" fmla="*/ 6 h 6"/>
                  <a:gd name="T6" fmla="*/ 6 w 24"/>
                  <a:gd name="T7" fmla="*/ 6 h 6"/>
                  <a:gd name="T8" fmla="*/ 12 w 24"/>
                  <a:gd name="T9" fmla="*/ 6 h 6"/>
                  <a:gd name="T10" fmla="*/ 18 w 24"/>
                  <a:gd name="T11" fmla="*/ 6 h 6"/>
                  <a:gd name="T12" fmla="*/ 18 w 24"/>
                  <a:gd name="T13" fmla="*/ 6 h 6"/>
                  <a:gd name="T14" fmla="*/ 24 w 24"/>
                  <a:gd name="T15" fmla="*/ 0 h 6"/>
                  <a:gd name="T16" fmla="*/ 18 w 24"/>
                  <a:gd name="T17" fmla="*/ 0 h 6"/>
                  <a:gd name="T18" fmla="*/ 12 w 24"/>
                  <a:gd name="T19" fmla="*/ 0 h 6"/>
                  <a:gd name="T20" fmla="*/ 6 w 24"/>
                  <a:gd name="T21" fmla="*/ 0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4" h="6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8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51" name="Freeform 711"/>
              <p:cNvSpPr>
                <a:spLocks/>
              </p:cNvSpPr>
              <p:nvPr/>
            </p:nvSpPr>
            <p:spPr bwMode="auto">
              <a:xfrm>
                <a:off x="4081" y="1284"/>
                <a:ext cx="24" cy="6"/>
              </a:xfrm>
              <a:custGeom>
                <a:avLst/>
                <a:gdLst>
                  <a:gd name="T0" fmla="*/ 6 w 24"/>
                  <a:gd name="T1" fmla="*/ 0 h 6"/>
                  <a:gd name="T2" fmla="*/ 0 w 24"/>
                  <a:gd name="T3" fmla="*/ 0 h 6"/>
                  <a:gd name="T4" fmla="*/ 0 w 24"/>
                  <a:gd name="T5" fmla="*/ 6 h 6"/>
                  <a:gd name="T6" fmla="*/ 6 w 24"/>
                  <a:gd name="T7" fmla="*/ 6 h 6"/>
                  <a:gd name="T8" fmla="*/ 12 w 24"/>
                  <a:gd name="T9" fmla="*/ 6 h 6"/>
                  <a:gd name="T10" fmla="*/ 18 w 24"/>
                  <a:gd name="T11" fmla="*/ 6 h 6"/>
                  <a:gd name="T12" fmla="*/ 24 w 24"/>
                  <a:gd name="T13" fmla="*/ 0 h 6"/>
                  <a:gd name="T14" fmla="*/ 18 w 24"/>
                  <a:gd name="T15" fmla="*/ 0 h 6"/>
                  <a:gd name="T16" fmla="*/ 12 w 24"/>
                  <a:gd name="T17" fmla="*/ 0 h 6"/>
                  <a:gd name="T18" fmla="*/ 6 w 24"/>
                  <a:gd name="T19" fmla="*/ 0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4" h="6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8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38" name="Group 712"/>
            <p:cNvGrpSpPr>
              <a:grpSpLocks/>
            </p:cNvGrpSpPr>
            <p:nvPr/>
          </p:nvGrpSpPr>
          <p:grpSpPr bwMode="auto">
            <a:xfrm>
              <a:off x="6562574" y="1145610"/>
              <a:ext cx="670773" cy="845534"/>
              <a:chOff x="4093" y="216"/>
              <a:chExt cx="330" cy="492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935" name="Group 713"/>
              <p:cNvGrpSpPr>
                <a:grpSpLocks/>
              </p:cNvGrpSpPr>
              <p:nvPr/>
            </p:nvGrpSpPr>
            <p:grpSpPr bwMode="auto">
              <a:xfrm>
                <a:off x="4393" y="354"/>
                <a:ext cx="18" cy="12"/>
                <a:chOff x="4393" y="354"/>
                <a:chExt cx="18" cy="12"/>
              </a:xfrm>
              <a:grpFill/>
            </p:grpSpPr>
            <p:sp>
              <p:nvSpPr>
                <p:cNvPr id="948" name="Freeform 714"/>
                <p:cNvSpPr>
                  <a:spLocks/>
                </p:cNvSpPr>
                <p:nvPr/>
              </p:nvSpPr>
              <p:spPr bwMode="auto">
                <a:xfrm>
                  <a:off x="4393" y="354"/>
                  <a:ext cx="18" cy="12"/>
                </a:xfrm>
                <a:custGeom>
                  <a:avLst/>
                  <a:gdLst>
                    <a:gd name="T0" fmla="*/ 6 w 18"/>
                    <a:gd name="T1" fmla="*/ 0 h 12"/>
                    <a:gd name="T2" fmla="*/ 6 w 18"/>
                    <a:gd name="T3" fmla="*/ 0 h 12"/>
                    <a:gd name="T4" fmla="*/ 0 w 18"/>
                    <a:gd name="T5" fmla="*/ 0 h 12"/>
                    <a:gd name="T6" fmla="*/ 0 w 18"/>
                    <a:gd name="T7" fmla="*/ 6 h 12"/>
                    <a:gd name="T8" fmla="*/ 6 w 18"/>
                    <a:gd name="T9" fmla="*/ 12 h 12"/>
                    <a:gd name="T10" fmla="*/ 12 w 18"/>
                    <a:gd name="T11" fmla="*/ 12 h 12"/>
                    <a:gd name="T12" fmla="*/ 18 w 18"/>
                    <a:gd name="T13" fmla="*/ 12 h 12"/>
                    <a:gd name="T14" fmla="*/ 12 w 18"/>
                    <a:gd name="T15" fmla="*/ 6 h 12"/>
                    <a:gd name="T16" fmla="*/ 6 w 18"/>
                    <a:gd name="T17" fmla="*/ 0 h 12"/>
                    <a:gd name="T18" fmla="*/ 6 w 18"/>
                    <a:gd name="T19" fmla="*/ 0 h 1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8" h="12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6" y="12"/>
                      </a:lnTo>
                      <a:lnTo>
                        <a:pt x="12" y="12"/>
                      </a:lnTo>
                      <a:lnTo>
                        <a:pt x="18" y="12"/>
                      </a:lnTo>
                      <a:lnTo>
                        <a:pt x="12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949" name="Freeform 715"/>
                <p:cNvSpPr>
                  <a:spLocks/>
                </p:cNvSpPr>
                <p:nvPr/>
              </p:nvSpPr>
              <p:spPr bwMode="auto">
                <a:xfrm>
                  <a:off x="4393" y="354"/>
                  <a:ext cx="18" cy="12"/>
                </a:xfrm>
                <a:custGeom>
                  <a:avLst/>
                  <a:gdLst>
                    <a:gd name="T0" fmla="*/ 6 w 18"/>
                    <a:gd name="T1" fmla="*/ 0 h 12"/>
                    <a:gd name="T2" fmla="*/ 0 w 18"/>
                    <a:gd name="T3" fmla="*/ 0 h 12"/>
                    <a:gd name="T4" fmla="*/ 0 w 18"/>
                    <a:gd name="T5" fmla="*/ 6 h 12"/>
                    <a:gd name="T6" fmla="*/ 6 w 18"/>
                    <a:gd name="T7" fmla="*/ 12 h 12"/>
                    <a:gd name="T8" fmla="*/ 12 w 18"/>
                    <a:gd name="T9" fmla="*/ 12 h 12"/>
                    <a:gd name="T10" fmla="*/ 18 w 18"/>
                    <a:gd name="T11" fmla="*/ 12 h 12"/>
                    <a:gd name="T12" fmla="*/ 12 w 18"/>
                    <a:gd name="T13" fmla="*/ 6 h 12"/>
                    <a:gd name="T14" fmla="*/ 6 w 18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8" h="12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6" y="12"/>
                      </a:lnTo>
                      <a:lnTo>
                        <a:pt x="12" y="12"/>
                      </a:lnTo>
                      <a:lnTo>
                        <a:pt x="18" y="12"/>
                      </a:lnTo>
                      <a:lnTo>
                        <a:pt x="12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936" name="Group 716"/>
              <p:cNvGrpSpPr>
                <a:grpSpLocks/>
              </p:cNvGrpSpPr>
              <p:nvPr/>
            </p:nvGrpSpPr>
            <p:grpSpPr bwMode="auto">
              <a:xfrm>
                <a:off x="4093" y="216"/>
                <a:ext cx="330" cy="492"/>
                <a:chOff x="4093" y="216"/>
                <a:chExt cx="330" cy="492"/>
              </a:xfrm>
              <a:grpFill/>
            </p:grpSpPr>
            <p:sp>
              <p:nvSpPr>
                <p:cNvPr id="946" name="Freeform 717"/>
                <p:cNvSpPr>
                  <a:spLocks/>
                </p:cNvSpPr>
                <p:nvPr/>
              </p:nvSpPr>
              <p:spPr bwMode="auto">
                <a:xfrm>
                  <a:off x="4093" y="216"/>
                  <a:ext cx="330" cy="492"/>
                </a:xfrm>
                <a:custGeom>
                  <a:avLst/>
                  <a:gdLst>
                    <a:gd name="T0" fmla="*/ 72 w 330"/>
                    <a:gd name="T1" fmla="*/ 84 h 492"/>
                    <a:gd name="T2" fmla="*/ 42 w 330"/>
                    <a:gd name="T3" fmla="*/ 96 h 492"/>
                    <a:gd name="T4" fmla="*/ 48 w 330"/>
                    <a:gd name="T5" fmla="*/ 132 h 492"/>
                    <a:gd name="T6" fmla="*/ 36 w 330"/>
                    <a:gd name="T7" fmla="*/ 150 h 492"/>
                    <a:gd name="T8" fmla="*/ 12 w 330"/>
                    <a:gd name="T9" fmla="*/ 156 h 492"/>
                    <a:gd name="T10" fmla="*/ 6 w 330"/>
                    <a:gd name="T11" fmla="*/ 174 h 492"/>
                    <a:gd name="T12" fmla="*/ 30 w 330"/>
                    <a:gd name="T13" fmla="*/ 186 h 492"/>
                    <a:gd name="T14" fmla="*/ 30 w 330"/>
                    <a:gd name="T15" fmla="*/ 198 h 492"/>
                    <a:gd name="T16" fmla="*/ 18 w 330"/>
                    <a:gd name="T17" fmla="*/ 204 h 492"/>
                    <a:gd name="T18" fmla="*/ 12 w 330"/>
                    <a:gd name="T19" fmla="*/ 216 h 492"/>
                    <a:gd name="T20" fmla="*/ 36 w 330"/>
                    <a:gd name="T21" fmla="*/ 234 h 492"/>
                    <a:gd name="T22" fmla="*/ 84 w 330"/>
                    <a:gd name="T23" fmla="*/ 228 h 492"/>
                    <a:gd name="T24" fmla="*/ 102 w 330"/>
                    <a:gd name="T25" fmla="*/ 264 h 492"/>
                    <a:gd name="T26" fmla="*/ 108 w 330"/>
                    <a:gd name="T27" fmla="*/ 300 h 492"/>
                    <a:gd name="T28" fmla="*/ 108 w 330"/>
                    <a:gd name="T29" fmla="*/ 312 h 492"/>
                    <a:gd name="T30" fmla="*/ 108 w 330"/>
                    <a:gd name="T31" fmla="*/ 318 h 492"/>
                    <a:gd name="T32" fmla="*/ 126 w 330"/>
                    <a:gd name="T33" fmla="*/ 336 h 492"/>
                    <a:gd name="T34" fmla="*/ 126 w 330"/>
                    <a:gd name="T35" fmla="*/ 342 h 492"/>
                    <a:gd name="T36" fmla="*/ 126 w 330"/>
                    <a:gd name="T37" fmla="*/ 348 h 492"/>
                    <a:gd name="T38" fmla="*/ 120 w 330"/>
                    <a:gd name="T39" fmla="*/ 378 h 492"/>
                    <a:gd name="T40" fmla="*/ 120 w 330"/>
                    <a:gd name="T41" fmla="*/ 426 h 492"/>
                    <a:gd name="T42" fmla="*/ 144 w 330"/>
                    <a:gd name="T43" fmla="*/ 480 h 492"/>
                    <a:gd name="T44" fmla="*/ 156 w 330"/>
                    <a:gd name="T45" fmla="*/ 486 h 492"/>
                    <a:gd name="T46" fmla="*/ 174 w 330"/>
                    <a:gd name="T47" fmla="*/ 474 h 492"/>
                    <a:gd name="T48" fmla="*/ 186 w 330"/>
                    <a:gd name="T49" fmla="*/ 438 h 492"/>
                    <a:gd name="T50" fmla="*/ 198 w 330"/>
                    <a:gd name="T51" fmla="*/ 420 h 492"/>
                    <a:gd name="T52" fmla="*/ 234 w 330"/>
                    <a:gd name="T53" fmla="*/ 390 h 492"/>
                    <a:gd name="T54" fmla="*/ 252 w 330"/>
                    <a:gd name="T55" fmla="*/ 372 h 492"/>
                    <a:gd name="T56" fmla="*/ 264 w 330"/>
                    <a:gd name="T57" fmla="*/ 372 h 492"/>
                    <a:gd name="T58" fmla="*/ 282 w 330"/>
                    <a:gd name="T59" fmla="*/ 342 h 492"/>
                    <a:gd name="T60" fmla="*/ 252 w 330"/>
                    <a:gd name="T61" fmla="*/ 348 h 492"/>
                    <a:gd name="T62" fmla="*/ 270 w 330"/>
                    <a:gd name="T63" fmla="*/ 330 h 492"/>
                    <a:gd name="T64" fmla="*/ 270 w 330"/>
                    <a:gd name="T65" fmla="*/ 318 h 492"/>
                    <a:gd name="T66" fmla="*/ 288 w 330"/>
                    <a:gd name="T67" fmla="*/ 312 h 492"/>
                    <a:gd name="T68" fmla="*/ 288 w 330"/>
                    <a:gd name="T69" fmla="*/ 288 h 492"/>
                    <a:gd name="T70" fmla="*/ 306 w 330"/>
                    <a:gd name="T71" fmla="*/ 270 h 492"/>
                    <a:gd name="T72" fmla="*/ 306 w 330"/>
                    <a:gd name="T73" fmla="*/ 234 h 492"/>
                    <a:gd name="T74" fmla="*/ 276 w 330"/>
                    <a:gd name="T75" fmla="*/ 198 h 492"/>
                    <a:gd name="T76" fmla="*/ 282 w 330"/>
                    <a:gd name="T77" fmla="*/ 138 h 492"/>
                    <a:gd name="T78" fmla="*/ 306 w 330"/>
                    <a:gd name="T79" fmla="*/ 120 h 492"/>
                    <a:gd name="T80" fmla="*/ 306 w 330"/>
                    <a:gd name="T81" fmla="*/ 102 h 492"/>
                    <a:gd name="T82" fmla="*/ 324 w 330"/>
                    <a:gd name="T83" fmla="*/ 78 h 492"/>
                    <a:gd name="T84" fmla="*/ 312 w 330"/>
                    <a:gd name="T85" fmla="*/ 54 h 492"/>
                    <a:gd name="T86" fmla="*/ 306 w 330"/>
                    <a:gd name="T87" fmla="*/ 66 h 492"/>
                    <a:gd name="T88" fmla="*/ 282 w 330"/>
                    <a:gd name="T89" fmla="*/ 78 h 492"/>
                    <a:gd name="T90" fmla="*/ 282 w 330"/>
                    <a:gd name="T91" fmla="*/ 48 h 492"/>
                    <a:gd name="T92" fmla="*/ 276 w 330"/>
                    <a:gd name="T93" fmla="*/ 48 h 492"/>
                    <a:gd name="T94" fmla="*/ 246 w 330"/>
                    <a:gd name="T95" fmla="*/ 48 h 492"/>
                    <a:gd name="T96" fmla="*/ 276 w 330"/>
                    <a:gd name="T97" fmla="*/ 24 h 492"/>
                    <a:gd name="T98" fmla="*/ 252 w 330"/>
                    <a:gd name="T99" fmla="*/ 12 h 492"/>
                    <a:gd name="T100" fmla="*/ 216 w 330"/>
                    <a:gd name="T101" fmla="*/ 24 h 492"/>
                    <a:gd name="T102" fmla="*/ 234 w 330"/>
                    <a:gd name="T103" fmla="*/ 0 h 492"/>
                    <a:gd name="T104" fmla="*/ 156 w 330"/>
                    <a:gd name="T105" fmla="*/ 18 h 492"/>
                    <a:gd name="T106" fmla="*/ 144 w 330"/>
                    <a:gd name="T107" fmla="*/ 24 h 492"/>
                    <a:gd name="T108" fmla="*/ 126 w 330"/>
                    <a:gd name="T109" fmla="*/ 54 h 49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0" t="0" r="r" b="b"/>
                  <a:pathLst>
                    <a:path w="330" h="492">
                      <a:moveTo>
                        <a:pt x="78" y="54"/>
                      </a:moveTo>
                      <a:lnTo>
                        <a:pt x="72" y="60"/>
                      </a:lnTo>
                      <a:lnTo>
                        <a:pt x="72" y="66"/>
                      </a:lnTo>
                      <a:lnTo>
                        <a:pt x="72" y="78"/>
                      </a:lnTo>
                      <a:lnTo>
                        <a:pt x="72" y="84"/>
                      </a:lnTo>
                      <a:lnTo>
                        <a:pt x="66" y="90"/>
                      </a:lnTo>
                      <a:lnTo>
                        <a:pt x="54" y="90"/>
                      </a:lnTo>
                      <a:lnTo>
                        <a:pt x="48" y="90"/>
                      </a:lnTo>
                      <a:lnTo>
                        <a:pt x="42" y="96"/>
                      </a:lnTo>
                      <a:lnTo>
                        <a:pt x="36" y="102"/>
                      </a:lnTo>
                      <a:lnTo>
                        <a:pt x="36" y="108"/>
                      </a:lnTo>
                      <a:lnTo>
                        <a:pt x="36" y="114"/>
                      </a:lnTo>
                      <a:lnTo>
                        <a:pt x="48" y="114"/>
                      </a:lnTo>
                      <a:lnTo>
                        <a:pt x="48" y="120"/>
                      </a:lnTo>
                      <a:lnTo>
                        <a:pt x="48" y="132"/>
                      </a:lnTo>
                      <a:lnTo>
                        <a:pt x="48" y="138"/>
                      </a:lnTo>
                      <a:lnTo>
                        <a:pt x="48" y="144"/>
                      </a:lnTo>
                      <a:lnTo>
                        <a:pt x="42" y="144"/>
                      </a:lnTo>
                      <a:lnTo>
                        <a:pt x="36" y="150"/>
                      </a:lnTo>
                      <a:lnTo>
                        <a:pt x="30" y="150"/>
                      </a:lnTo>
                      <a:lnTo>
                        <a:pt x="18" y="156"/>
                      </a:lnTo>
                      <a:lnTo>
                        <a:pt x="12" y="156"/>
                      </a:lnTo>
                      <a:lnTo>
                        <a:pt x="6" y="162"/>
                      </a:lnTo>
                      <a:lnTo>
                        <a:pt x="0" y="162"/>
                      </a:lnTo>
                      <a:lnTo>
                        <a:pt x="0" y="168"/>
                      </a:lnTo>
                      <a:lnTo>
                        <a:pt x="0" y="174"/>
                      </a:lnTo>
                      <a:lnTo>
                        <a:pt x="6" y="174"/>
                      </a:lnTo>
                      <a:lnTo>
                        <a:pt x="12" y="180"/>
                      </a:lnTo>
                      <a:lnTo>
                        <a:pt x="18" y="186"/>
                      </a:lnTo>
                      <a:lnTo>
                        <a:pt x="24" y="192"/>
                      </a:lnTo>
                      <a:lnTo>
                        <a:pt x="30" y="186"/>
                      </a:lnTo>
                      <a:lnTo>
                        <a:pt x="36" y="186"/>
                      </a:lnTo>
                      <a:lnTo>
                        <a:pt x="36" y="192"/>
                      </a:lnTo>
                      <a:lnTo>
                        <a:pt x="30" y="198"/>
                      </a:lnTo>
                      <a:lnTo>
                        <a:pt x="30" y="204"/>
                      </a:lnTo>
                      <a:lnTo>
                        <a:pt x="30" y="198"/>
                      </a:lnTo>
                      <a:lnTo>
                        <a:pt x="24" y="198"/>
                      </a:lnTo>
                      <a:lnTo>
                        <a:pt x="18" y="204"/>
                      </a:lnTo>
                      <a:lnTo>
                        <a:pt x="12" y="198"/>
                      </a:lnTo>
                      <a:lnTo>
                        <a:pt x="6" y="204"/>
                      </a:lnTo>
                      <a:lnTo>
                        <a:pt x="6" y="210"/>
                      </a:lnTo>
                      <a:lnTo>
                        <a:pt x="12" y="216"/>
                      </a:lnTo>
                      <a:lnTo>
                        <a:pt x="18" y="216"/>
                      </a:lnTo>
                      <a:lnTo>
                        <a:pt x="18" y="222"/>
                      </a:lnTo>
                      <a:lnTo>
                        <a:pt x="24" y="228"/>
                      </a:lnTo>
                      <a:lnTo>
                        <a:pt x="30" y="228"/>
                      </a:lnTo>
                      <a:lnTo>
                        <a:pt x="36" y="234"/>
                      </a:lnTo>
                      <a:lnTo>
                        <a:pt x="42" y="234"/>
                      </a:lnTo>
                      <a:lnTo>
                        <a:pt x="54" y="228"/>
                      </a:lnTo>
                      <a:lnTo>
                        <a:pt x="60" y="222"/>
                      </a:lnTo>
                      <a:lnTo>
                        <a:pt x="78" y="222"/>
                      </a:lnTo>
                      <a:lnTo>
                        <a:pt x="84" y="228"/>
                      </a:lnTo>
                      <a:lnTo>
                        <a:pt x="84" y="234"/>
                      </a:lnTo>
                      <a:lnTo>
                        <a:pt x="90" y="234"/>
                      </a:lnTo>
                      <a:lnTo>
                        <a:pt x="96" y="240"/>
                      </a:lnTo>
                      <a:lnTo>
                        <a:pt x="96" y="246"/>
                      </a:lnTo>
                      <a:lnTo>
                        <a:pt x="96" y="258"/>
                      </a:lnTo>
                      <a:lnTo>
                        <a:pt x="102" y="264"/>
                      </a:lnTo>
                      <a:lnTo>
                        <a:pt x="102" y="276"/>
                      </a:lnTo>
                      <a:lnTo>
                        <a:pt x="102" y="288"/>
                      </a:lnTo>
                      <a:lnTo>
                        <a:pt x="102" y="294"/>
                      </a:lnTo>
                      <a:lnTo>
                        <a:pt x="108" y="294"/>
                      </a:lnTo>
                      <a:lnTo>
                        <a:pt x="108" y="300"/>
                      </a:lnTo>
                      <a:lnTo>
                        <a:pt x="108" y="306"/>
                      </a:lnTo>
                      <a:lnTo>
                        <a:pt x="102" y="306"/>
                      </a:lnTo>
                      <a:lnTo>
                        <a:pt x="108" y="312"/>
                      </a:lnTo>
                      <a:lnTo>
                        <a:pt x="102" y="318"/>
                      </a:lnTo>
                      <a:lnTo>
                        <a:pt x="96" y="324"/>
                      </a:lnTo>
                      <a:lnTo>
                        <a:pt x="102" y="324"/>
                      </a:lnTo>
                      <a:lnTo>
                        <a:pt x="108" y="324"/>
                      </a:lnTo>
                      <a:lnTo>
                        <a:pt x="108" y="318"/>
                      </a:lnTo>
                      <a:lnTo>
                        <a:pt x="114" y="312"/>
                      </a:lnTo>
                      <a:lnTo>
                        <a:pt x="120" y="318"/>
                      </a:lnTo>
                      <a:lnTo>
                        <a:pt x="120" y="324"/>
                      </a:lnTo>
                      <a:lnTo>
                        <a:pt x="120" y="330"/>
                      </a:lnTo>
                      <a:lnTo>
                        <a:pt x="126" y="336"/>
                      </a:lnTo>
                      <a:lnTo>
                        <a:pt x="132" y="336"/>
                      </a:lnTo>
                      <a:lnTo>
                        <a:pt x="132" y="342"/>
                      </a:lnTo>
                      <a:lnTo>
                        <a:pt x="126" y="342"/>
                      </a:lnTo>
                      <a:lnTo>
                        <a:pt x="120" y="336"/>
                      </a:lnTo>
                      <a:lnTo>
                        <a:pt x="114" y="336"/>
                      </a:lnTo>
                      <a:lnTo>
                        <a:pt x="108" y="336"/>
                      </a:lnTo>
                      <a:lnTo>
                        <a:pt x="108" y="342"/>
                      </a:lnTo>
                      <a:lnTo>
                        <a:pt x="114" y="348"/>
                      </a:lnTo>
                      <a:lnTo>
                        <a:pt x="126" y="348"/>
                      </a:lnTo>
                      <a:lnTo>
                        <a:pt x="132" y="354"/>
                      </a:lnTo>
                      <a:lnTo>
                        <a:pt x="132" y="360"/>
                      </a:lnTo>
                      <a:lnTo>
                        <a:pt x="126" y="366"/>
                      </a:lnTo>
                      <a:lnTo>
                        <a:pt x="120" y="372"/>
                      </a:lnTo>
                      <a:lnTo>
                        <a:pt x="114" y="372"/>
                      </a:lnTo>
                      <a:lnTo>
                        <a:pt x="120" y="378"/>
                      </a:lnTo>
                      <a:lnTo>
                        <a:pt x="114" y="384"/>
                      </a:lnTo>
                      <a:lnTo>
                        <a:pt x="108" y="390"/>
                      </a:lnTo>
                      <a:lnTo>
                        <a:pt x="114" y="402"/>
                      </a:lnTo>
                      <a:lnTo>
                        <a:pt x="114" y="414"/>
                      </a:lnTo>
                      <a:lnTo>
                        <a:pt x="120" y="426"/>
                      </a:lnTo>
                      <a:lnTo>
                        <a:pt x="120" y="438"/>
                      </a:lnTo>
                      <a:lnTo>
                        <a:pt x="126" y="444"/>
                      </a:lnTo>
                      <a:lnTo>
                        <a:pt x="132" y="462"/>
                      </a:lnTo>
                      <a:lnTo>
                        <a:pt x="138" y="474"/>
                      </a:lnTo>
                      <a:lnTo>
                        <a:pt x="138" y="480"/>
                      </a:lnTo>
                      <a:lnTo>
                        <a:pt x="144" y="480"/>
                      </a:lnTo>
                      <a:lnTo>
                        <a:pt x="150" y="480"/>
                      </a:lnTo>
                      <a:lnTo>
                        <a:pt x="156" y="480"/>
                      </a:lnTo>
                      <a:lnTo>
                        <a:pt x="162" y="474"/>
                      </a:lnTo>
                      <a:lnTo>
                        <a:pt x="162" y="480"/>
                      </a:lnTo>
                      <a:lnTo>
                        <a:pt x="156" y="486"/>
                      </a:lnTo>
                      <a:lnTo>
                        <a:pt x="168" y="492"/>
                      </a:lnTo>
                      <a:lnTo>
                        <a:pt x="174" y="492"/>
                      </a:lnTo>
                      <a:lnTo>
                        <a:pt x="174" y="486"/>
                      </a:lnTo>
                      <a:lnTo>
                        <a:pt x="174" y="474"/>
                      </a:lnTo>
                      <a:lnTo>
                        <a:pt x="174" y="468"/>
                      </a:lnTo>
                      <a:lnTo>
                        <a:pt x="180" y="462"/>
                      </a:lnTo>
                      <a:lnTo>
                        <a:pt x="174" y="456"/>
                      </a:lnTo>
                      <a:lnTo>
                        <a:pt x="180" y="456"/>
                      </a:lnTo>
                      <a:lnTo>
                        <a:pt x="186" y="450"/>
                      </a:lnTo>
                      <a:lnTo>
                        <a:pt x="186" y="438"/>
                      </a:lnTo>
                      <a:lnTo>
                        <a:pt x="186" y="426"/>
                      </a:lnTo>
                      <a:lnTo>
                        <a:pt x="186" y="420"/>
                      </a:lnTo>
                      <a:lnTo>
                        <a:pt x="192" y="420"/>
                      </a:lnTo>
                      <a:lnTo>
                        <a:pt x="198" y="420"/>
                      </a:lnTo>
                      <a:lnTo>
                        <a:pt x="204" y="414"/>
                      </a:lnTo>
                      <a:lnTo>
                        <a:pt x="210" y="414"/>
                      </a:lnTo>
                      <a:lnTo>
                        <a:pt x="222" y="396"/>
                      </a:lnTo>
                      <a:lnTo>
                        <a:pt x="234" y="390"/>
                      </a:lnTo>
                      <a:lnTo>
                        <a:pt x="240" y="384"/>
                      </a:lnTo>
                      <a:lnTo>
                        <a:pt x="246" y="384"/>
                      </a:lnTo>
                      <a:lnTo>
                        <a:pt x="246" y="372"/>
                      </a:lnTo>
                      <a:lnTo>
                        <a:pt x="252" y="372"/>
                      </a:lnTo>
                      <a:lnTo>
                        <a:pt x="258" y="372"/>
                      </a:lnTo>
                      <a:lnTo>
                        <a:pt x="264" y="372"/>
                      </a:lnTo>
                      <a:lnTo>
                        <a:pt x="276" y="360"/>
                      </a:lnTo>
                      <a:lnTo>
                        <a:pt x="282" y="354"/>
                      </a:lnTo>
                      <a:lnTo>
                        <a:pt x="288" y="354"/>
                      </a:lnTo>
                      <a:lnTo>
                        <a:pt x="288" y="348"/>
                      </a:lnTo>
                      <a:lnTo>
                        <a:pt x="282" y="342"/>
                      </a:lnTo>
                      <a:lnTo>
                        <a:pt x="270" y="342"/>
                      </a:lnTo>
                      <a:lnTo>
                        <a:pt x="270" y="348"/>
                      </a:lnTo>
                      <a:lnTo>
                        <a:pt x="258" y="354"/>
                      </a:lnTo>
                      <a:lnTo>
                        <a:pt x="246" y="348"/>
                      </a:lnTo>
                      <a:lnTo>
                        <a:pt x="252" y="348"/>
                      </a:lnTo>
                      <a:lnTo>
                        <a:pt x="258" y="348"/>
                      </a:lnTo>
                      <a:lnTo>
                        <a:pt x="264" y="342"/>
                      </a:lnTo>
                      <a:lnTo>
                        <a:pt x="270" y="336"/>
                      </a:lnTo>
                      <a:lnTo>
                        <a:pt x="264" y="330"/>
                      </a:lnTo>
                      <a:lnTo>
                        <a:pt x="270" y="330"/>
                      </a:lnTo>
                      <a:lnTo>
                        <a:pt x="270" y="324"/>
                      </a:lnTo>
                      <a:lnTo>
                        <a:pt x="264" y="324"/>
                      </a:lnTo>
                      <a:lnTo>
                        <a:pt x="264" y="318"/>
                      </a:lnTo>
                      <a:lnTo>
                        <a:pt x="270" y="318"/>
                      </a:lnTo>
                      <a:lnTo>
                        <a:pt x="276" y="324"/>
                      </a:lnTo>
                      <a:lnTo>
                        <a:pt x="282" y="336"/>
                      </a:lnTo>
                      <a:lnTo>
                        <a:pt x="294" y="342"/>
                      </a:lnTo>
                      <a:lnTo>
                        <a:pt x="294" y="324"/>
                      </a:lnTo>
                      <a:lnTo>
                        <a:pt x="294" y="318"/>
                      </a:lnTo>
                      <a:lnTo>
                        <a:pt x="288" y="312"/>
                      </a:lnTo>
                      <a:lnTo>
                        <a:pt x="282" y="306"/>
                      </a:lnTo>
                      <a:lnTo>
                        <a:pt x="288" y="306"/>
                      </a:lnTo>
                      <a:lnTo>
                        <a:pt x="288" y="294"/>
                      </a:lnTo>
                      <a:lnTo>
                        <a:pt x="288" y="288"/>
                      </a:lnTo>
                      <a:lnTo>
                        <a:pt x="288" y="282"/>
                      </a:lnTo>
                      <a:lnTo>
                        <a:pt x="294" y="282"/>
                      </a:lnTo>
                      <a:lnTo>
                        <a:pt x="300" y="282"/>
                      </a:lnTo>
                      <a:lnTo>
                        <a:pt x="300" y="276"/>
                      </a:lnTo>
                      <a:lnTo>
                        <a:pt x="306" y="270"/>
                      </a:lnTo>
                      <a:lnTo>
                        <a:pt x="312" y="258"/>
                      </a:lnTo>
                      <a:lnTo>
                        <a:pt x="318" y="252"/>
                      </a:lnTo>
                      <a:lnTo>
                        <a:pt x="318" y="246"/>
                      </a:lnTo>
                      <a:lnTo>
                        <a:pt x="312" y="240"/>
                      </a:lnTo>
                      <a:lnTo>
                        <a:pt x="306" y="240"/>
                      </a:lnTo>
                      <a:lnTo>
                        <a:pt x="306" y="234"/>
                      </a:lnTo>
                      <a:lnTo>
                        <a:pt x="306" y="228"/>
                      </a:lnTo>
                      <a:lnTo>
                        <a:pt x="300" y="228"/>
                      </a:lnTo>
                      <a:lnTo>
                        <a:pt x="288" y="228"/>
                      </a:lnTo>
                      <a:lnTo>
                        <a:pt x="288" y="222"/>
                      </a:lnTo>
                      <a:lnTo>
                        <a:pt x="282" y="198"/>
                      </a:lnTo>
                      <a:lnTo>
                        <a:pt x="276" y="198"/>
                      </a:lnTo>
                      <a:lnTo>
                        <a:pt x="276" y="192"/>
                      </a:lnTo>
                      <a:lnTo>
                        <a:pt x="276" y="186"/>
                      </a:lnTo>
                      <a:lnTo>
                        <a:pt x="282" y="180"/>
                      </a:lnTo>
                      <a:lnTo>
                        <a:pt x="282" y="174"/>
                      </a:lnTo>
                      <a:lnTo>
                        <a:pt x="282" y="156"/>
                      </a:lnTo>
                      <a:lnTo>
                        <a:pt x="282" y="138"/>
                      </a:lnTo>
                      <a:lnTo>
                        <a:pt x="282" y="132"/>
                      </a:lnTo>
                      <a:lnTo>
                        <a:pt x="288" y="126"/>
                      </a:lnTo>
                      <a:lnTo>
                        <a:pt x="294" y="126"/>
                      </a:lnTo>
                      <a:lnTo>
                        <a:pt x="300" y="126"/>
                      </a:lnTo>
                      <a:lnTo>
                        <a:pt x="306" y="120"/>
                      </a:lnTo>
                      <a:lnTo>
                        <a:pt x="306" y="114"/>
                      </a:lnTo>
                      <a:lnTo>
                        <a:pt x="306" y="108"/>
                      </a:lnTo>
                      <a:lnTo>
                        <a:pt x="306" y="102"/>
                      </a:lnTo>
                      <a:lnTo>
                        <a:pt x="312" y="102"/>
                      </a:lnTo>
                      <a:lnTo>
                        <a:pt x="306" y="102"/>
                      </a:lnTo>
                      <a:lnTo>
                        <a:pt x="294" y="102"/>
                      </a:lnTo>
                      <a:lnTo>
                        <a:pt x="300" y="96"/>
                      </a:lnTo>
                      <a:lnTo>
                        <a:pt x="312" y="90"/>
                      </a:lnTo>
                      <a:lnTo>
                        <a:pt x="318" y="84"/>
                      </a:lnTo>
                      <a:lnTo>
                        <a:pt x="324" y="78"/>
                      </a:lnTo>
                      <a:lnTo>
                        <a:pt x="324" y="72"/>
                      </a:lnTo>
                      <a:lnTo>
                        <a:pt x="324" y="66"/>
                      </a:lnTo>
                      <a:lnTo>
                        <a:pt x="330" y="60"/>
                      </a:lnTo>
                      <a:lnTo>
                        <a:pt x="318" y="48"/>
                      </a:lnTo>
                      <a:lnTo>
                        <a:pt x="312" y="54"/>
                      </a:lnTo>
                      <a:lnTo>
                        <a:pt x="312" y="60"/>
                      </a:lnTo>
                      <a:lnTo>
                        <a:pt x="306" y="54"/>
                      </a:lnTo>
                      <a:lnTo>
                        <a:pt x="306" y="60"/>
                      </a:lnTo>
                      <a:lnTo>
                        <a:pt x="306" y="66"/>
                      </a:lnTo>
                      <a:lnTo>
                        <a:pt x="300" y="72"/>
                      </a:lnTo>
                      <a:lnTo>
                        <a:pt x="294" y="78"/>
                      </a:lnTo>
                      <a:lnTo>
                        <a:pt x="282" y="90"/>
                      </a:lnTo>
                      <a:lnTo>
                        <a:pt x="264" y="102"/>
                      </a:lnTo>
                      <a:lnTo>
                        <a:pt x="276" y="90"/>
                      </a:lnTo>
                      <a:lnTo>
                        <a:pt x="282" y="78"/>
                      </a:lnTo>
                      <a:lnTo>
                        <a:pt x="282" y="72"/>
                      </a:lnTo>
                      <a:lnTo>
                        <a:pt x="288" y="60"/>
                      </a:lnTo>
                      <a:lnTo>
                        <a:pt x="294" y="48"/>
                      </a:lnTo>
                      <a:lnTo>
                        <a:pt x="294" y="42"/>
                      </a:lnTo>
                      <a:lnTo>
                        <a:pt x="288" y="42"/>
                      </a:lnTo>
                      <a:lnTo>
                        <a:pt x="282" y="48"/>
                      </a:lnTo>
                      <a:lnTo>
                        <a:pt x="270" y="54"/>
                      </a:lnTo>
                      <a:lnTo>
                        <a:pt x="264" y="60"/>
                      </a:lnTo>
                      <a:lnTo>
                        <a:pt x="270" y="54"/>
                      </a:lnTo>
                      <a:lnTo>
                        <a:pt x="276" y="48"/>
                      </a:lnTo>
                      <a:lnTo>
                        <a:pt x="270" y="42"/>
                      </a:lnTo>
                      <a:lnTo>
                        <a:pt x="264" y="42"/>
                      </a:lnTo>
                      <a:lnTo>
                        <a:pt x="252" y="42"/>
                      </a:lnTo>
                      <a:lnTo>
                        <a:pt x="246" y="48"/>
                      </a:lnTo>
                      <a:lnTo>
                        <a:pt x="240" y="54"/>
                      </a:lnTo>
                      <a:lnTo>
                        <a:pt x="246" y="48"/>
                      </a:lnTo>
                      <a:lnTo>
                        <a:pt x="246" y="42"/>
                      </a:lnTo>
                      <a:lnTo>
                        <a:pt x="252" y="42"/>
                      </a:lnTo>
                      <a:lnTo>
                        <a:pt x="270" y="36"/>
                      </a:lnTo>
                      <a:lnTo>
                        <a:pt x="270" y="30"/>
                      </a:lnTo>
                      <a:lnTo>
                        <a:pt x="276" y="30"/>
                      </a:lnTo>
                      <a:lnTo>
                        <a:pt x="276" y="24"/>
                      </a:lnTo>
                      <a:lnTo>
                        <a:pt x="270" y="18"/>
                      </a:lnTo>
                      <a:lnTo>
                        <a:pt x="264" y="18"/>
                      </a:lnTo>
                      <a:lnTo>
                        <a:pt x="258" y="18"/>
                      </a:lnTo>
                      <a:lnTo>
                        <a:pt x="252" y="18"/>
                      </a:lnTo>
                      <a:lnTo>
                        <a:pt x="252" y="12"/>
                      </a:lnTo>
                      <a:lnTo>
                        <a:pt x="246" y="12"/>
                      </a:lnTo>
                      <a:lnTo>
                        <a:pt x="240" y="18"/>
                      </a:lnTo>
                      <a:lnTo>
                        <a:pt x="234" y="18"/>
                      </a:lnTo>
                      <a:lnTo>
                        <a:pt x="228" y="18"/>
                      </a:lnTo>
                      <a:lnTo>
                        <a:pt x="222" y="24"/>
                      </a:lnTo>
                      <a:lnTo>
                        <a:pt x="216" y="24"/>
                      </a:lnTo>
                      <a:lnTo>
                        <a:pt x="222" y="18"/>
                      </a:lnTo>
                      <a:lnTo>
                        <a:pt x="234" y="12"/>
                      </a:lnTo>
                      <a:lnTo>
                        <a:pt x="240" y="6"/>
                      </a:lnTo>
                      <a:lnTo>
                        <a:pt x="240" y="0"/>
                      </a:lnTo>
                      <a:lnTo>
                        <a:pt x="234" y="0"/>
                      </a:lnTo>
                      <a:lnTo>
                        <a:pt x="222" y="0"/>
                      </a:lnTo>
                      <a:lnTo>
                        <a:pt x="204" y="0"/>
                      </a:lnTo>
                      <a:lnTo>
                        <a:pt x="192" y="0"/>
                      </a:lnTo>
                      <a:lnTo>
                        <a:pt x="186" y="0"/>
                      </a:lnTo>
                      <a:lnTo>
                        <a:pt x="180" y="6"/>
                      </a:lnTo>
                      <a:lnTo>
                        <a:pt x="156" y="18"/>
                      </a:lnTo>
                      <a:lnTo>
                        <a:pt x="162" y="24"/>
                      </a:lnTo>
                      <a:lnTo>
                        <a:pt x="168" y="30"/>
                      </a:lnTo>
                      <a:lnTo>
                        <a:pt x="168" y="36"/>
                      </a:lnTo>
                      <a:lnTo>
                        <a:pt x="156" y="24"/>
                      </a:lnTo>
                      <a:lnTo>
                        <a:pt x="144" y="24"/>
                      </a:lnTo>
                      <a:lnTo>
                        <a:pt x="150" y="42"/>
                      </a:lnTo>
                      <a:lnTo>
                        <a:pt x="138" y="36"/>
                      </a:lnTo>
                      <a:lnTo>
                        <a:pt x="120" y="36"/>
                      </a:lnTo>
                      <a:lnTo>
                        <a:pt x="120" y="42"/>
                      </a:lnTo>
                      <a:lnTo>
                        <a:pt x="120" y="48"/>
                      </a:lnTo>
                      <a:lnTo>
                        <a:pt x="126" y="54"/>
                      </a:lnTo>
                      <a:lnTo>
                        <a:pt x="114" y="42"/>
                      </a:lnTo>
                      <a:lnTo>
                        <a:pt x="96" y="48"/>
                      </a:lnTo>
                      <a:lnTo>
                        <a:pt x="78" y="5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947" name="Freeform 718"/>
                <p:cNvSpPr>
                  <a:spLocks/>
                </p:cNvSpPr>
                <p:nvPr/>
              </p:nvSpPr>
              <p:spPr bwMode="auto">
                <a:xfrm>
                  <a:off x="4093" y="216"/>
                  <a:ext cx="330" cy="492"/>
                </a:xfrm>
                <a:custGeom>
                  <a:avLst/>
                  <a:gdLst>
                    <a:gd name="T0" fmla="*/ 72 w 330"/>
                    <a:gd name="T1" fmla="*/ 84 h 492"/>
                    <a:gd name="T2" fmla="*/ 36 w 330"/>
                    <a:gd name="T3" fmla="*/ 102 h 492"/>
                    <a:gd name="T4" fmla="*/ 48 w 330"/>
                    <a:gd name="T5" fmla="*/ 132 h 492"/>
                    <a:gd name="T6" fmla="*/ 30 w 330"/>
                    <a:gd name="T7" fmla="*/ 150 h 492"/>
                    <a:gd name="T8" fmla="*/ 0 w 330"/>
                    <a:gd name="T9" fmla="*/ 168 h 492"/>
                    <a:gd name="T10" fmla="*/ 24 w 330"/>
                    <a:gd name="T11" fmla="*/ 192 h 492"/>
                    <a:gd name="T12" fmla="*/ 30 w 330"/>
                    <a:gd name="T13" fmla="*/ 204 h 492"/>
                    <a:gd name="T14" fmla="*/ 6 w 330"/>
                    <a:gd name="T15" fmla="*/ 204 h 492"/>
                    <a:gd name="T16" fmla="*/ 24 w 330"/>
                    <a:gd name="T17" fmla="*/ 228 h 492"/>
                    <a:gd name="T18" fmla="*/ 60 w 330"/>
                    <a:gd name="T19" fmla="*/ 222 h 492"/>
                    <a:gd name="T20" fmla="*/ 96 w 330"/>
                    <a:gd name="T21" fmla="*/ 240 h 492"/>
                    <a:gd name="T22" fmla="*/ 102 w 330"/>
                    <a:gd name="T23" fmla="*/ 288 h 492"/>
                    <a:gd name="T24" fmla="*/ 102 w 330"/>
                    <a:gd name="T25" fmla="*/ 306 h 492"/>
                    <a:gd name="T26" fmla="*/ 108 w 330"/>
                    <a:gd name="T27" fmla="*/ 324 h 492"/>
                    <a:gd name="T28" fmla="*/ 120 w 330"/>
                    <a:gd name="T29" fmla="*/ 330 h 492"/>
                    <a:gd name="T30" fmla="*/ 120 w 330"/>
                    <a:gd name="T31" fmla="*/ 336 h 492"/>
                    <a:gd name="T32" fmla="*/ 126 w 330"/>
                    <a:gd name="T33" fmla="*/ 348 h 492"/>
                    <a:gd name="T34" fmla="*/ 114 w 330"/>
                    <a:gd name="T35" fmla="*/ 372 h 492"/>
                    <a:gd name="T36" fmla="*/ 114 w 330"/>
                    <a:gd name="T37" fmla="*/ 414 h 492"/>
                    <a:gd name="T38" fmla="*/ 138 w 330"/>
                    <a:gd name="T39" fmla="*/ 474 h 492"/>
                    <a:gd name="T40" fmla="*/ 162 w 330"/>
                    <a:gd name="T41" fmla="*/ 474 h 492"/>
                    <a:gd name="T42" fmla="*/ 174 w 330"/>
                    <a:gd name="T43" fmla="*/ 486 h 492"/>
                    <a:gd name="T44" fmla="*/ 180 w 330"/>
                    <a:gd name="T45" fmla="*/ 456 h 492"/>
                    <a:gd name="T46" fmla="*/ 192 w 330"/>
                    <a:gd name="T47" fmla="*/ 420 h 492"/>
                    <a:gd name="T48" fmla="*/ 234 w 330"/>
                    <a:gd name="T49" fmla="*/ 390 h 492"/>
                    <a:gd name="T50" fmla="*/ 258 w 330"/>
                    <a:gd name="T51" fmla="*/ 372 h 492"/>
                    <a:gd name="T52" fmla="*/ 288 w 330"/>
                    <a:gd name="T53" fmla="*/ 348 h 492"/>
                    <a:gd name="T54" fmla="*/ 246 w 330"/>
                    <a:gd name="T55" fmla="*/ 348 h 492"/>
                    <a:gd name="T56" fmla="*/ 264 w 330"/>
                    <a:gd name="T57" fmla="*/ 330 h 492"/>
                    <a:gd name="T58" fmla="*/ 270 w 330"/>
                    <a:gd name="T59" fmla="*/ 318 h 492"/>
                    <a:gd name="T60" fmla="*/ 294 w 330"/>
                    <a:gd name="T61" fmla="*/ 318 h 492"/>
                    <a:gd name="T62" fmla="*/ 288 w 330"/>
                    <a:gd name="T63" fmla="*/ 288 h 492"/>
                    <a:gd name="T64" fmla="*/ 306 w 330"/>
                    <a:gd name="T65" fmla="*/ 270 h 492"/>
                    <a:gd name="T66" fmla="*/ 306 w 330"/>
                    <a:gd name="T67" fmla="*/ 240 h 492"/>
                    <a:gd name="T68" fmla="*/ 288 w 330"/>
                    <a:gd name="T69" fmla="*/ 222 h 492"/>
                    <a:gd name="T70" fmla="*/ 282 w 330"/>
                    <a:gd name="T71" fmla="*/ 180 h 492"/>
                    <a:gd name="T72" fmla="*/ 288 w 330"/>
                    <a:gd name="T73" fmla="*/ 126 h 492"/>
                    <a:gd name="T74" fmla="*/ 306 w 330"/>
                    <a:gd name="T75" fmla="*/ 108 h 492"/>
                    <a:gd name="T76" fmla="*/ 300 w 330"/>
                    <a:gd name="T77" fmla="*/ 96 h 492"/>
                    <a:gd name="T78" fmla="*/ 324 w 330"/>
                    <a:gd name="T79" fmla="*/ 66 h 492"/>
                    <a:gd name="T80" fmla="*/ 306 w 330"/>
                    <a:gd name="T81" fmla="*/ 54 h 492"/>
                    <a:gd name="T82" fmla="*/ 282 w 330"/>
                    <a:gd name="T83" fmla="*/ 90 h 492"/>
                    <a:gd name="T84" fmla="*/ 288 w 330"/>
                    <a:gd name="T85" fmla="*/ 60 h 492"/>
                    <a:gd name="T86" fmla="*/ 270 w 330"/>
                    <a:gd name="T87" fmla="*/ 54 h 492"/>
                    <a:gd name="T88" fmla="*/ 264 w 330"/>
                    <a:gd name="T89" fmla="*/ 42 h 492"/>
                    <a:gd name="T90" fmla="*/ 246 w 330"/>
                    <a:gd name="T91" fmla="*/ 42 h 492"/>
                    <a:gd name="T92" fmla="*/ 276 w 330"/>
                    <a:gd name="T93" fmla="*/ 24 h 492"/>
                    <a:gd name="T94" fmla="*/ 252 w 330"/>
                    <a:gd name="T95" fmla="*/ 12 h 492"/>
                    <a:gd name="T96" fmla="*/ 222 w 330"/>
                    <a:gd name="T97" fmla="*/ 24 h 492"/>
                    <a:gd name="T98" fmla="*/ 240 w 330"/>
                    <a:gd name="T99" fmla="*/ 0 h 492"/>
                    <a:gd name="T100" fmla="*/ 186 w 330"/>
                    <a:gd name="T101" fmla="*/ 0 h 492"/>
                    <a:gd name="T102" fmla="*/ 168 w 330"/>
                    <a:gd name="T103" fmla="*/ 36 h 492"/>
                    <a:gd name="T104" fmla="*/ 120 w 330"/>
                    <a:gd name="T105" fmla="*/ 36 h 492"/>
                    <a:gd name="T106" fmla="*/ 96 w 330"/>
                    <a:gd name="T107" fmla="*/ 48 h 49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330" h="492">
                      <a:moveTo>
                        <a:pt x="78" y="54"/>
                      </a:moveTo>
                      <a:lnTo>
                        <a:pt x="72" y="60"/>
                      </a:lnTo>
                      <a:lnTo>
                        <a:pt x="72" y="66"/>
                      </a:lnTo>
                      <a:lnTo>
                        <a:pt x="72" y="78"/>
                      </a:lnTo>
                      <a:lnTo>
                        <a:pt x="72" y="84"/>
                      </a:lnTo>
                      <a:lnTo>
                        <a:pt x="66" y="90"/>
                      </a:lnTo>
                      <a:lnTo>
                        <a:pt x="54" y="90"/>
                      </a:lnTo>
                      <a:lnTo>
                        <a:pt x="48" y="90"/>
                      </a:lnTo>
                      <a:lnTo>
                        <a:pt x="42" y="96"/>
                      </a:lnTo>
                      <a:lnTo>
                        <a:pt x="36" y="102"/>
                      </a:lnTo>
                      <a:lnTo>
                        <a:pt x="36" y="108"/>
                      </a:lnTo>
                      <a:lnTo>
                        <a:pt x="36" y="114"/>
                      </a:lnTo>
                      <a:lnTo>
                        <a:pt x="48" y="114"/>
                      </a:lnTo>
                      <a:lnTo>
                        <a:pt x="48" y="120"/>
                      </a:lnTo>
                      <a:lnTo>
                        <a:pt x="48" y="132"/>
                      </a:lnTo>
                      <a:lnTo>
                        <a:pt x="48" y="138"/>
                      </a:lnTo>
                      <a:lnTo>
                        <a:pt x="48" y="144"/>
                      </a:lnTo>
                      <a:lnTo>
                        <a:pt x="42" y="144"/>
                      </a:lnTo>
                      <a:lnTo>
                        <a:pt x="36" y="150"/>
                      </a:lnTo>
                      <a:lnTo>
                        <a:pt x="30" y="150"/>
                      </a:lnTo>
                      <a:lnTo>
                        <a:pt x="18" y="156"/>
                      </a:lnTo>
                      <a:lnTo>
                        <a:pt x="12" y="156"/>
                      </a:lnTo>
                      <a:lnTo>
                        <a:pt x="6" y="162"/>
                      </a:lnTo>
                      <a:lnTo>
                        <a:pt x="0" y="162"/>
                      </a:lnTo>
                      <a:lnTo>
                        <a:pt x="0" y="168"/>
                      </a:lnTo>
                      <a:lnTo>
                        <a:pt x="0" y="174"/>
                      </a:lnTo>
                      <a:lnTo>
                        <a:pt x="6" y="174"/>
                      </a:lnTo>
                      <a:lnTo>
                        <a:pt x="12" y="180"/>
                      </a:lnTo>
                      <a:lnTo>
                        <a:pt x="18" y="186"/>
                      </a:lnTo>
                      <a:lnTo>
                        <a:pt x="24" y="192"/>
                      </a:lnTo>
                      <a:lnTo>
                        <a:pt x="30" y="186"/>
                      </a:lnTo>
                      <a:lnTo>
                        <a:pt x="36" y="186"/>
                      </a:lnTo>
                      <a:lnTo>
                        <a:pt x="36" y="192"/>
                      </a:lnTo>
                      <a:lnTo>
                        <a:pt x="30" y="198"/>
                      </a:lnTo>
                      <a:lnTo>
                        <a:pt x="30" y="204"/>
                      </a:lnTo>
                      <a:lnTo>
                        <a:pt x="30" y="198"/>
                      </a:lnTo>
                      <a:lnTo>
                        <a:pt x="24" y="198"/>
                      </a:lnTo>
                      <a:lnTo>
                        <a:pt x="18" y="204"/>
                      </a:lnTo>
                      <a:lnTo>
                        <a:pt x="12" y="198"/>
                      </a:lnTo>
                      <a:lnTo>
                        <a:pt x="6" y="204"/>
                      </a:lnTo>
                      <a:lnTo>
                        <a:pt x="6" y="210"/>
                      </a:lnTo>
                      <a:lnTo>
                        <a:pt x="12" y="216"/>
                      </a:lnTo>
                      <a:lnTo>
                        <a:pt x="18" y="216"/>
                      </a:lnTo>
                      <a:lnTo>
                        <a:pt x="18" y="222"/>
                      </a:lnTo>
                      <a:lnTo>
                        <a:pt x="24" y="228"/>
                      </a:lnTo>
                      <a:lnTo>
                        <a:pt x="30" y="228"/>
                      </a:lnTo>
                      <a:lnTo>
                        <a:pt x="36" y="234"/>
                      </a:lnTo>
                      <a:lnTo>
                        <a:pt x="42" y="234"/>
                      </a:lnTo>
                      <a:lnTo>
                        <a:pt x="54" y="228"/>
                      </a:lnTo>
                      <a:lnTo>
                        <a:pt x="60" y="222"/>
                      </a:lnTo>
                      <a:lnTo>
                        <a:pt x="78" y="222"/>
                      </a:lnTo>
                      <a:lnTo>
                        <a:pt x="84" y="228"/>
                      </a:lnTo>
                      <a:lnTo>
                        <a:pt x="84" y="234"/>
                      </a:lnTo>
                      <a:lnTo>
                        <a:pt x="90" y="234"/>
                      </a:lnTo>
                      <a:lnTo>
                        <a:pt x="96" y="240"/>
                      </a:lnTo>
                      <a:lnTo>
                        <a:pt x="96" y="246"/>
                      </a:lnTo>
                      <a:lnTo>
                        <a:pt x="96" y="258"/>
                      </a:lnTo>
                      <a:lnTo>
                        <a:pt x="102" y="264"/>
                      </a:lnTo>
                      <a:lnTo>
                        <a:pt x="102" y="276"/>
                      </a:lnTo>
                      <a:lnTo>
                        <a:pt x="102" y="288"/>
                      </a:lnTo>
                      <a:lnTo>
                        <a:pt x="102" y="294"/>
                      </a:lnTo>
                      <a:lnTo>
                        <a:pt x="108" y="294"/>
                      </a:lnTo>
                      <a:lnTo>
                        <a:pt x="108" y="300"/>
                      </a:lnTo>
                      <a:lnTo>
                        <a:pt x="108" y="306"/>
                      </a:lnTo>
                      <a:lnTo>
                        <a:pt x="102" y="306"/>
                      </a:lnTo>
                      <a:lnTo>
                        <a:pt x="108" y="312"/>
                      </a:lnTo>
                      <a:lnTo>
                        <a:pt x="102" y="318"/>
                      </a:lnTo>
                      <a:lnTo>
                        <a:pt x="96" y="324"/>
                      </a:lnTo>
                      <a:lnTo>
                        <a:pt x="102" y="324"/>
                      </a:lnTo>
                      <a:lnTo>
                        <a:pt x="108" y="324"/>
                      </a:lnTo>
                      <a:lnTo>
                        <a:pt x="108" y="318"/>
                      </a:lnTo>
                      <a:lnTo>
                        <a:pt x="114" y="312"/>
                      </a:lnTo>
                      <a:lnTo>
                        <a:pt x="120" y="318"/>
                      </a:lnTo>
                      <a:lnTo>
                        <a:pt x="120" y="324"/>
                      </a:lnTo>
                      <a:lnTo>
                        <a:pt x="120" y="330"/>
                      </a:lnTo>
                      <a:lnTo>
                        <a:pt x="126" y="336"/>
                      </a:lnTo>
                      <a:lnTo>
                        <a:pt x="132" y="336"/>
                      </a:lnTo>
                      <a:lnTo>
                        <a:pt x="132" y="342"/>
                      </a:lnTo>
                      <a:lnTo>
                        <a:pt x="126" y="342"/>
                      </a:lnTo>
                      <a:lnTo>
                        <a:pt x="120" y="336"/>
                      </a:lnTo>
                      <a:lnTo>
                        <a:pt x="114" y="336"/>
                      </a:lnTo>
                      <a:lnTo>
                        <a:pt x="108" y="336"/>
                      </a:lnTo>
                      <a:lnTo>
                        <a:pt x="108" y="342"/>
                      </a:lnTo>
                      <a:lnTo>
                        <a:pt x="114" y="348"/>
                      </a:lnTo>
                      <a:lnTo>
                        <a:pt x="126" y="348"/>
                      </a:lnTo>
                      <a:lnTo>
                        <a:pt x="132" y="354"/>
                      </a:lnTo>
                      <a:lnTo>
                        <a:pt x="132" y="360"/>
                      </a:lnTo>
                      <a:lnTo>
                        <a:pt x="126" y="366"/>
                      </a:lnTo>
                      <a:lnTo>
                        <a:pt x="120" y="372"/>
                      </a:lnTo>
                      <a:lnTo>
                        <a:pt x="114" y="372"/>
                      </a:lnTo>
                      <a:lnTo>
                        <a:pt x="120" y="378"/>
                      </a:lnTo>
                      <a:lnTo>
                        <a:pt x="114" y="384"/>
                      </a:lnTo>
                      <a:lnTo>
                        <a:pt x="108" y="390"/>
                      </a:lnTo>
                      <a:lnTo>
                        <a:pt x="114" y="402"/>
                      </a:lnTo>
                      <a:lnTo>
                        <a:pt x="114" y="414"/>
                      </a:lnTo>
                      <a:lnTo>
                        <a:pt x="120" y="426"/>
                      </a:lnTo>
                      <a:lnTo>
                        <a:pt x="120" y="438"/>
                      </a:lnTo>
                      <a:lnTo>
                        <a:pt x="126" y="444"/>
                      </a:lnTo>
                      <a:lnTo>
                        <a:pt x="132" y="462"/>
                      </a:lnTo>
                      <a:lnTo>
                        <a:pt x="138" y="474"/>
                      </a:lnTo>
                      <a:lnTo>
                        <a:pt x="138" y="480"/>
                      </a:lnTo>
                      <a:lnTo>
                        <a:pt x="144" y="480"/>
                      </a:lnTo>
                      <a:lnTo>
                        <a:pt x="150" y="480"/>
                      </a:lnTo>
                      <a:lnTo>
                        <a:pt x="156" y="480"/>
                      </a:lnTo>
                      <a:lnTo>
                        <a:pt x="162" y="474"/>
                      </a:lnTo>
                      <a:lnTo>
                        <a:pt x="162" y="480"/>
                      </a:lnTo>
                      <a:lnTo>
                        <a:pt x="156" y="486"/>
                      </a:lnTo>
                      <a:lnTo>
                        <a:pt x="168" y="492"/>
                      </a:lnTo>
                      <a:lnTo>
                        <a:pt x="174" y="492"/>
                      </a:lnTo>
                      <a:lnTo>
                        <a:pt x="174" y="486"/>
                      </a:lnTo>
                      <a:lnTo>
                        <a:pt x="174" y="474"/>
                      </a:lnTo>
                      <a:lnTo>
                        <a:pt x="174" y="468"/>
                      </a:lnTo>
                      <a:lnTo>
                        <a:pt x="180" y="462"/>
                      </a:lnTo>
                      <a:lnTo>
                        <a:pt x="174" y="456"/>
                      </a:lnTo>
                      <a:lnTo>
                        <a:pt x="180" y="456"/>
                      </a:lnTo>
                      <a:lnTo>
                        <a:pt x="186" y="450"/>
                      </a:lnTo>
                      <a:lnTo>
                        <a:pt x="186" y="438"/>
                      </a:lnTo>
                      <a:lnTo>
                        <a:pt x="186" y="426"/>
                      </a:lnTo>
                      <a:lnTo>
                        <a:pt x="186" y="420"/>
                      </a:lnTo>
                      <a:lnTo>
                        <a:pt x="192" y="420"/>
                      </a:lnTo>
                      <a:lnTo>
                        <a:pt x="198" y="420"/>
                      </a:lnTo>
                      <a:lnTo>
                        <a:pt x="204" y="414"/>
                      </a:lnTo>
                      <a:lnTo>
                        <a:pt x="210" y="414"/>
                      </a:lnTo>
                      <a:lnTo>
                        <a:pt x="222" y="396"/>
                      </a:lnTo>
                      <a:lnTo>
                        <a:pt x="234" y="390"/>
                      </a:lnTo>
                      <a:lnTo>
                        <a:pt x="240" y="384"/>
                      </a:lnTo>
                      <a:lnTo>
                        <a:pt x="246" y="384"/>
                      </a:lnTo>
                      <a:lnTo>
                        <a:pt x="246" y="372"/>
                      </a:lnTo>
                      <a:lnTo>
                        <a:pt x="252" y="372"/>
                      </a:lnTo>
                      <a:lnTo>
                        <a:pt x="258" y="372"/>
                      </a:lnTo>
                      <a:lnTo>
                        <a:pt x="264" y="372"/>
                      </a:lnTo>
                      <a:lnTo>
                        <a:pt x="276" y="360"/>
                      </a:lnTo>
                      <a:lnTo>
                        <a:pt x="282" y="354"/>
                      </a:lnTo>
                      <a:lnTo>
                        <a:pt x="288" y="354"/>
                      </a:lnTo>
                      <a:lnTo>
                        <a:pt x="288" y="348"/>
                      </a:lnTo>
                      <a:lnTo>
                        <a:pt x="282" y="342"/>
                      </a:lnTo>
                      <a:lnTo>
                        <a:pt x="270" y="342"/>
                      </a:lnTo>
                      <a:lnTo>
                        <a:pt x="270" y="348"/>
                      </a:lnTo>
                      <a:lnTo>
                        <a:pt x="258" y="354"/>
                      </a:lnTo>
                      <a:lnTo>
                        <a:pt x="246" y="348"/>
                      </a:lnTo>
                      <a:lnTo>
                        <a:pt x="252" y="348"/>
                      </a:lnTo>
                      <a:lnTo>
                        <a:pt x="258" y="348"/>
                      </a:lnTo>
                      <a:lnTo>
                        <a:pt x="264" y="342"/>
                      </a:lnTo>
                      <a:lnTo>
                        <a:pt x="270" y="336"/>
                      </a:lnTo>
                      <a:lnTo>
                        <a:pt x="264" y="330"/>
                      </a:lnTo>
                      <a:lnTo>
                        <a:pt x="270" y="330"/>
                      </a:lnTo>
                      <a:lnTo>
                        <a:pt x="270" y="324"/>
                      </a:lnTo>
                      <a:lnTo>
                        <a:pt x="264" y="324"/>
                      </a:lnTo>
                      <a:lnTo>
                        <a:pt x="264" y="318"/>
                      </a:lnTo>
                      <a:lnTo>
                        <a:pt x="270" y="318"/>
                      </a:lnTo>
                      <a:lnTo>
                        <a:pt x="276" y="324"/>
                      </a:lnTo>
                      <a:lnTo>
                        <a:pt x="282" y="336"/>
                      </a:lnTo>
                      <a:lnTo>
                        <a:pt x="294" y="342"/>
                      </a:lnTo>
                      <a:lnTo>
                        <a:pt x="294" y="324"/>
                      </a:lnTo>
                      <a:lnTo>
                        <a:pt x="294" y="318"/>
                      </a:lnTo>
                      <a:lnTo>
                        <a:pt x="288" y="312"/>
                      </a:lnTo>
                      <a:lnTo>
                        <a:pt x="282" y="306"/>
                      </a:lnTo>
                      <a:lnTo>
                        <a:pt x="288" y="306"/>
                      </a:lnTo>
                      <a:lnTo>
                        <a:pt x="288" y="294"/>
                      </a:lnTo>
                      <a:lnTo>
                        <a:pt x="288" y="288"/>
                      </a:lnTo>
                      <a:lnTo>
                        <a:pt x="288" y="282"/>
                      </a:lnTo>
                      <a:lnTo>
                        <a:pt x="294" y="282"/>
                      </a:lnTo>
                      <a:lnTo>
                        <a:pt x="300" y="282"/>
                      </a:lnTo>
                      <a:lnTo>
                        <a:pt x="300" y="276"/>
                      </a:lnTo>
                      <a:lnTo>
                        <a:pt x="306" y="270"/>
                      </a:lnTo>
                      <a:lnTo>
                        <a:pt x="312" y="258"/>
                      </a:lnTo>
                      <a:lnTo>
                        <a:pt x="318" y="252"/>
                      </a:lnTo>
                      <a:lnTo>
                        <a:pt x="318" y="246"/>
                      </a:lnTo>
                      <a:lnTo>
                        <a:pt x="312" y="240"/>
                      </a:lnTo>
                      <a:lnTo>
                        <a:pt x="306" y="240"/>
                      </a:lnTo>
                      <a:lnTo>
                        <a:pt x="306" y="234"/>
                      </a:lnTo>
                      <a:lnTo>
                        <a:pt x="306" y="228"/>
                      </a:lnTo>
                      <a:lnTo>
                        <a:pt x="300" y="228"/>
                      </a:lnTo>
                      <a:lnTo>
                        <a:pt x="288" y="228"/>
                      </a:lnTo>
                      <a:lnTo>
                        <a:pt x="288" y="222"/>
                      </a:lnTo>
                      <a:lnTo>
                        <a:pt x="282" y="198"/>
                      </a:lnTo>
                      <a:lnTo>
                        <a:pt x="276" y="198"/>
                      </a:lnTo>
                      <a:lnTo>
                        <a:pt x="276" y="192"/>
                      </a:lnTo>
                      <a:lnTo>
                        <a:pt x="276" y="186"/>
                      </a:lnTo>
                      <a:lnTo>
                        <a:pt x="282" y="180"/>
                      </a:lnTo>
                      <a:lnTo>
                        <a:pt x="282" y="174"/>
                      </a:lnTo>
                      <a:lnTo>
                        <a:pt x="282" y="156"/>
                      </a:lnTo>
                      <a:lnTo>
                        <a:pt x="282" y="138"/>
                      </a:lnTo>
                      <a:lnTo>
                        <a:pt x="282" y="132"/>
                      </a:lnTo>
                      <a:lnTo>
                        <a:pt x="288" y="126"/>
                      </a:lnTo>
                      <a:lnTo>
                        <a:pt x="294" y="126"/>
                      </a:lnTo>
                      <a:lnTo>
                        <a:pt x="300" y="126"/>
                      </a:lnTo>
                      <a:lnTo>
                        <a:pt x="306" y="120"/>
                      </a:lnTo>
                      <a:lnTo>
                        <a:pt x="306" y="114"/>
                      </a:lnTo>
                      <a:lnTo>
                        <a:pt x="306" y="108"/>
                      </a:lnTo>
                      <a:lnTo>
                        <a:pt x="306" y="102"/>
                      </a:lnTo>
                      <a:lnTo>
                        <a:pt x="312" y="102"/>
                      </a:lnTo>
                      <a:lnTo>
                        <a:pt x="306" y="102"/>
                      </a:lnTo>
                      <a:lnTo>
                        <a:pt x="294" y="102"/>
                      </a:lnTo>
                      <a:lnTo>
                        <a:pt x="300" y="96"/>
                      </a:lnTo>
                      <a:lnTo>
                        <a:pt x="312" y="90"/>
                      </a:lnTo>
                      <a:lnTo>
                        <a:pt x="318" y="84"/>
                      </a:lnTo>
                      <a:lnTo>
                        <a:pt x="324" y="78"/>
                      </a:lnTo>
                      <a:lnTo>
                        <a:pt x="324" y="72"/>
                      </a:lnTo>
                      <a:lnTo>
                        <a:pt x="324" y="66"/>
                      </a:lnTo>
                      <a:lnTo>
                        <a:pt x="330" y="60"/>
                      </a:lnTo>
                      <a:lnTo>
                        <a:pt x="318" y="48"/>
                      </a:lnTo>
                      <a:lnTo>
                        <a:pt x="312" y="54"/>
                      </a:lnTo>
                      <a:lnTo>
                        <a:pt x="312" y="60"/>
                      </a:lnTo>
                      <a:lnTo>
                        <a:pt x="306" y="54"/>
                      </a:lnTo>
                      <a:lnTo>
                        <a:pt x="306" y="60"/>
                      </a:lnTo>
                      <a:lnTo>
                        <a:pt x="306" y="66"/>
                      </a:lnTo>
                      <a:lnTo>
                        <a:pt x="300" y="72"/>
                      </a:lnTo>
                      <a:lnTo>
                        <a:pt x="294" y="78"/>
                      </a:lnTo>
                      <a:lnTo>
                        <a:pt x="282" y="90"/>
                      </a:lnTo>
                      <a:lnTo>
                        <a:pt x="264" y="102"/>
                      </a:lnTo>
                      <a:lnTo>
                        <a:pt x="276" y="90"/>
                      </a:lnTo>
                      <a:lnTo>
                        <a:pt x="282" y="78"/>
                      </a:lnTo>
                      <a:lnTo>
                        <a:pt x="282" y="72"/>
                      </a:lnTo>
                      <a:lnTo>
                        <a:pt x="288" y="60"/>
                      </a:lnTo>
                      <a:lnTo>
                        <a:pt x="294" y="48"/>
                      </a:lnTo>
                      <a:lnTo>
                        <a:pt x="294" y="42"/>
                      </a:lnTo>
                      <a:lnTo>
                        <a:pt x="288" y="42"/>
                      </a:lnTo>
                      <a:lnTo>
                        <a:pt x="282" y="48"/>
                      </a:lnTo>
                      <a:lnTo>
                        <a:pt x="270" y="54"/>
                      </a:lnTo>
                      <a:lnTo>
                        <a:pt x="264" y="60"/>
                      </a:lnTo>
                      <a:lnTo>
                        <a:pt x="270" y="54"/>
                      </a:lnTo>
                      <a:lnTo>
                        <a:pt x="276" y="48"/>
                      </a:lnTo>
                      <a:lnTo>
                        <a:pt x="270" y="42"/>
                      </a:lnTo>
                      <a:lnTo>
                        <a:pt x="264" y="42"/>
                      </a:lnTo>
                      <a:lnTo>
                        <a:pt x="252" y="42"/>
                      </a:lnTo>
                      <a:lnTo>
                        <a:pt x="246" y="48"/>
                      </a:lnTo>
                      <a:lnTo>
                        <a:pt x="240" y="54"/>
                      </a:lnTo>
                      <a:lnTo>
                        <a:pt x="246" y="48"/>
                      </a:lnTo>
                      <a:lnTo>
                        <a:pt x="246" y="42"/>
                      </a:lnTo>
                      <a:lnTo>
                        <a:pt x="252" y="42"/>
                      </a:lnTo>
                      <a:lnTo>
                        <a:pt x="270" y="36"/>
                      </a:lnTo>
                      <a:lnTo>
                        <a:pt x="270" y="30"/>
                      </a:lnTo>
                      <a:lnTo>
                        <a:pt x="276" y="30"/>
                      </a:lnTo>
                      <a:lnTo>
                        <a:pt x="276" y="24"/>
                      </a:lnTo>
                      <a:lnTo>
                        <a:pt x="270" y="18"/>
                      </a:lnTo>
                      <a:lnTo>
                        <a:pt x="264" y="18"/>
                      </a:lnTo>
                      <a:lnTo>
                        <a:pt x="258" y="18"/>
                      </a:lnTo>
                      <a:lnTo>
                        <a:pt x="252" y="18"/>
                      </a:lnTo>
                      <a:lnTo>
                        <a:pt x="252" y="12"/>
                      </a:lnTo>
                      <a:lnTo>
                        <a:pt x="246" y="12"/>
                      </a:lnTo>
                      <a:lnTo>
                        <a:pt x="240" y="18"/>
                      </a:lnTo>
                      <a:lnTo>
                        <a:pt x="234" y="18"/>
                      </a:lnTo>
                      <a:lnTo>
                        <a:pt x="228" y="18"/>
                      </a:lnTo>
                      <a:lnTo>
                        <a:pt x="222" y="24"/>
                      </a:lnTo>
                      <a:lnTo>
                        <a:pt x="216" y="24"/>
                      </a:lnTo>
                      <a:lnTo>
                        <a:pt x="222" y="18"/>
                      </a:lnTo>
                      <a:lnTo>
                        <a:pt x="234" y="12"/>
                      </a:lnTo>
                      <a:lnTo>
                        <a:pt x="240" y="6"/>
                      </a:lnTo>
                      <a:lnTo>
                        <a:pt x="240" y="0"/>
                      </a:lnTo>
                      <a:lnTo>
                        <a:pt x="234" y="0"/>
                      </a:lnTo>
                      <a:lnTo>
                        <a:pt x="222" y="0"/>
                      </a:lnTo>
                      <a:lnTo>
                        <a:pt x="204" y="0"/>
                      </a:lnTo>
                      <a:lnTo>
                        <a:pt x="192" y="0"/>
                      </a:lnTo>
                      <a:lnTo>
                        <a:pt x="186" y="0"/>
                      </a:lnTo>
                      <a:lnTo>
                        <a:pt x="180" y="6"/>
                      </a:lnTo>
                      <a:lnTo>
                        <a:pt x="156" y="18"/>
                      </a:lnTo>
                      <a:lnTo>
                        <a:pt x="162" y="24"/>
                      </a:lnTo>
                      <a:lnTo>
                        <a:pt x="168" y="30"/>
                      </a:lnTo>
                      <a:lnTo>
                        <a:pt x="168" y="36"/>
                      </a:lnTo>
                      <a:lnTo>
                        <a:pt x="156" y="24"/>
                      </a:lnTo>
                      <a:lnTo>
                        <a:pt x="144" y="24"/>
                      </a:lnTo>
                      <a:lnTo>
                        <a:pt x="150" y="42"/>
                      </a:lnTo>
                      <a:lnTo>
                        <a:pt x="138" y="36"/>
                      </a:lnTo>
                      <a:lnTo>
                        <a:pt x="120" y="36"/>
                      </a:lnTo>
                      <a:lnTo>
                        <a:pt x="120" y="42"/>
                      </a:lnTo>
                      <a:lnTo>
                        <a:pt x="120" y="48"/>
                      </a:lnTo>
                      <a:lnTo>
                        <a:pt x="126" y="54"/>
                      </a:lnTo>
                      <a:lnTo>
                        <a:pt x="114" y="42"/>
                      </a:lnTo>
                      <a:lnTo>
                        <a:pt x="96" y="48"/>
                      </a:lnTo>
                      <a:lnTo>
                        <a:pt x="78" y="5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937" name="Group 719"/>
              <p:cNvGrpSpPr>
                <a:grpSpLocks/>
              </p:cNvGrpSpPr>
              <p:nvPr/>
            </p:nvGrpSpPr>
            <p:grpSpPr bwMode="auto">
              <a:xfrm>
                <a:off x="4399" y="336"/>
                <a:ext cx="18" cy="6"/>
                <a:chOff x="4399" y="336"/>
                <a:chExt cx="18" cy="6"/>
              </a:xfrm>
              <a:grpFill/>
            </p:grpSpPr>
            <p:sp>
              <p:nvSpPr>
                <p:cNvPr id="944" name="Freeform 720"/>
                <p:cNvSpPr>
                  <a:spLocks/>
                </p:cNvSpPr>
                <p:nvPr/>
              </p:nvSpPr>
              <p:spPr bwMode="auto">
                <a:xfrm>
                  <a:off x="4399" y="336"/>
                  <a:ext cx="18" cy="6"/>
                </a:xfrm>
                <a:custGeom>
                  <a:avLst/>
                  <a:gdLst>
                    <a:gd name="T0" fmla="*/ 6 w 18"/>
                    <a:gd name="T1" fmla="*/ 0 h 6"/>
                    <a:gd name="T2" fmla="*/ 6 w 18"/>
                    <a:gd name="T3" fmla="*/ 0 h 6"/>
                    <a:gd name="T4" fmla="*/ 0 w 18"/>
                    <a:gd name="T5" fmla="*/ 6 h 6"/>
                    <a:gd name="T6" fmla="*/ 0 w 18"/>
                    <a:gd name="T7" fmla="*/ 6 h 6"/>
                    <a:gd name="T8" fmla="*/ 12 w 18"/>
                    <a:gd name="T9" fmla="*/ 6 h 6"/>
                    <a:gd name="T10" fmla="*/ 18 w 18"/>
                    <a:gd name="T11" fmla="*/ 0 h 6"/>
                    <a:gd name="T12" fmla="*/ 18 w 18"/>
                    <a:gd name="T13" fmla="*/ 0 h 6"/>
                    <a:gd name="T14" fmla="*/ 18 w 18"/>
                    <a:gd name="T15" fmla="*/ 0 h 6"/>
                    <a:gd name="T16" fmla="*/ 12 w 18"/>
                    <a:gd name="T17" fmla="*/ 0 h 6"/>
                    <a:gd name="T18" fmla="*/ 6 w 18"/>
                    <a:gd name="T19" fmla="*/ 0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8" h="6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0" y="6"/>
                      </a:lnTo>
                      <a:lnTo>
                        <a:pt x="12" y="6"/>
                      </a:lnTo>
                      <a:lnTo>
                        <a:pt x="18" y="0"/>
                      </a:lnTo>
                      <a:lnTo>
                        <a:pt x="12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945" name="Freeform 721"/>
                <p:cNvSpPr>
                  <a:spLocks/>
                </p:cNvSpPr>
                <p:nvPr/>
              </p:nvSpPr>
              <p:spPr bwMode="auto">
                <a:xfrm>
                  <a:off x="4399" y="336"/>
                  <a:ext cx="18" cy="6"/>
                </a:xfrm>
                <a:custGeom>
                  <a:avLst/>
                  <a:gdLst>
                    <a:gd name="T0" fmla="*/ 6 w 18"/>
                    <a:gd name="T1" fmla="*/ 0 h 6"/>
                    <a:gd name="T2" fmla="*/ 0 w 18"/>
                    <a:gd name="T3" fmla="*/ 6 h 6"/>
                    <a:gd name="T4" fmla="*/ 12 w 18"/>
                    <a:gd name="T5" fmla="*/ 6 h 6"/>
                    <a:gd name="T6" fmla="*/ 18 w 18"/>
                    <a:gd name="T7" fmla="*/ 0 h 6"/>
                    <a:gd name="T8" fmla="*/ 12 w 18"/>
                    <a:gd name="T9" fmla="*/ 0 h 6"/>
                    <a:gd name="T10" fmla="*/ 6 w 18"/>
                    <a:gd name="T11" fmla="*/ 0 h 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8" h="6">
                      <a:moveTo>
                        <a:pt x="6" y="0"/>
                      </a:moveTo>
                      <a:lnTo>
                        <a:pt x="0" y="6"/>
                      </a:lnTo>
                      <a:lnTo>
                        <a:pt x="12" y="6"/>
                      </a:lnTo>
                      <a:lnTo>
                        <a:pt x="18" y="0"/>
                      </a:lnTo>
                      <a:lnTo>
                        <a:pt x="12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938" name="Group 722"/>
              <p:cNvGrpSpPr>
                <a:grpSpLocks/>
              </p:cNvGrpSpPr>
              <p:nvPr/>
            </p:nvGrpSpPr>
            <p:grpSpPr bwMode="auto">
              <a:xfrm>
                <a:off x="4381" y="366"/>
                <a:ext cx="12" cy="18"/>
                <a:chOff x="4381" y="366"/>
                <a:chExt cx="12" cy="18"/>
              </a:xfrm>
              <a:grpFill/>
            </p:grpSpPr>
            <p:sp>
              <p:nvSpPr>
                <p:cNvPr id="942" name="Freeform 723"/>
                <p:cNvSpPr>
                  <a:spLocks/>
                </p:cNvSpPr>
                <p:nvPr/>
              </p:nvSpPr>
              <p:spPr bwMode="auto">
                <a:xfrm>
                  <a:off x="4381" y="366"/>
                  <a:ext cx="12" cy="18"/>
                </a:xfrm>
                <a:custGeom>
                  <a:avLst/>
                  <a:gdLst>
                    <a:gd name="T0" fmla="*/ 12 w 12"/>
                    <a:gd name="T1" fmla="*/ 0 h 18"/>
                    <a:gd name="T2" fmla="*/ 6 w 12"/>
                    <a:gd name="T3" fmla="*/ 0 h 18"/>
                    <a:gd name="T4" fmla="*/ 6 w 12"/>
                    <a:gd name="T5" fmla="*/ 6 h 18"/>
                    <a:gd name="T6" fmla="*/ 0 w 12"/>
                    <a:gd name="T7" fmla="*/ 12 h 18"/>
                    <a:gd name="T8" fmla="*/ 6 w 12"/>
                    <a:gd name="T9" fmla="*/ 12 h 18"/>
                    <a:gd name="T10" fmla="*/ 6 w 12"/>
                    <a:gd name="T11" fmla="*/ 12 h 18"/>
                    <a:gd name="T12" fmla="*/ 6 w 12"/>
                    <a:gd name="T13" fmla="*/ 18 h 18"/>
                    <a:gd name="T14" fmla="*/ 12 w 12"/>
                    <a:gd name="T15" fmla="*/ 18 h 18"/>
                    <a:gd name="T16" fmla="*/ 12 w 12"/>
                    <a:gd name="T17" fmla="*/ 12 h 18"/>
                    <a:gd name="T18" fmla="*/ 12 w 12"/>
                    <a:gd name="T19" fmla="*/ 12 h 18"/>
                    <a:gd name="T20" fmla="*/ 12 w 12"/>
                    <a:gd name="T21" fmla="*/ 6 h 18"/>
                    <a:gd name="T22" fmla="*/ 12 w 12"/>
                    <a:gd name="T23" fmla="*/ 0 h 1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12" h="18">
                      <a:moveTo>
                        <a:pt x="12" y="0"/>
                      </a:move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0" y="12"/>
                      </a:lnTo>
                      <a:lnTo>
                        <a:pt x="6" y="12"/>
                      </a:lnTo>
                      <a:lnTo>
                        <a:pt x="6" y="18"/>
                      </a:lnTo>
                      <a:lnTo>
                        <a:pt x="12" y="18"/>
                      </a:lnTo>
                      <a:lnTo>
                        <a:pt x="12" y="12"/>
                      </a:lnTo>
                      <a:lnTo>
                        <a:pt x="12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943" name="Freeform 724"/>
                <p:cNvSpPr>
                  <a:spLocks/>
                </p:cNvSpPr>
                <p:nvPr/>
              </p:nvSpPr>
              <p:spPr bwMode="auto">
                <a:xfrm>
                  <a:off x="4381" y="366"/>
                  <a:ext cx="12" cy="18"/>
                </a:xfrm>
                <a:custGeom>
                  <a:avLst/>
                  <a:gdLst>
                    <a:gd name="T0" fmla="*/ 12 w 12"/>
                    <a:gd name="T1" fmla="*/ 0 h 18"/>
                    <a:gd name="T2" fmla="*/ 6 w 12"/>
                    <a:gd name="T3" fmla="*/ 0 h 18"/>
                    <a:gd name="T4" fmla="*/ 6 w 12"/>
                    <a:gd name="T5" fmla="*/ 6 h 18"/>
                    <a:gd name="T6" fmla="*/ 0 w 12"/>
                    <a:gd name="T7" fmla="*/ 12 h 18"/>
                    <a:gd name="T8" fmla="*/ 6 w 12"/>
                    <a:gd name="T9" fmla="*/ 12 h 18"/>
                    <a:gd name="T10" fmla="*/ 6 w 12"/>
                    <a:gd name="T11" fmla="*/ 18 h 18"/>
                    <a:gd name="T12" fmla="*/ 12 w 12"/>
                    <a:gd name="T13" fmla="*/ 18 h 18"/>
                    <a:gd name="T14" fmla="*/ 12 w 12"/>
                    <a:gd name="T15" fmla="*/ 12 h 18"/>
                    <a:gd name="T16" fmla="*/ 12 w 12"/>
                    <a:gd name="T17" fmla="*/ 6 h 18"/>
                    <a:gd name="T18" fmla="*/ 12 w 12"/>
                    <a:gd name="T19" fmla="*/ 0 h 1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2" h="18">
                      <a:moveTo>
                        <a:pt x="12" y="0"/>
                      </a:move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0" y="12"/>
                      </a:lnTo>
                      <a:lnTo>
                        <a:pt x="6" y="12"/>
                      </a:lnTo>
                      <a:lnTo>
                        <a:pt x="6" y="18"/>
                      </a:lnTo>
                      <a:lnTo>
                        <a:pt x="12" y="18"/>
                      </a:lnTo>
                      <a:lnTo>
                        <a:pt x="12" y="12"/>
                      </a:lnTo>
                      <a:lnTo>
                        <a:pt x="12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939" name="Group 725"/>
              <p:cNvGrpSpPr>
                <a:grpSpLocks/>
              </p:cNvGrpSpPr>
              <p:nvPr/>
            </p:nvGrpSpPr>
            <p:grpSpPr bwMode="auto">
              <a:xfrm>
                <a:off x="4387" y="402"/>
                <a:ext cx="30" cy="30"/>
                <a:chOff x="4387" y="402"/>
                <a:chExt cx="30" cy="30"/>
              </a:xfrm>
              <a:grpFill/>
            </p:grpSpPr>
            <p:sp>
              <p:nvSpPr>
                <p:cNvPr id="940" name="Freeform 726"/>
                <p:cNvSpPr>
                  <a:spLocks/>
                </p:cNvSpPr>
                <p:nvPr/>
              </p:nvSpPr>
              <p:spPr bwMode="auto">
                <a:xfrm>
                  <a:off x="4387" y="402"/>
                  <a:ext cx="30" cy="30"/>
                </a:xfrm>
                <a:custGeom>
                  <a:avLst/>
                  <a:gdLst>
                    <a:gd name="T0" fmla="*/ 6 w 30"/>
                    <a:gd name="T1" fmla="*/ 0 h 30"/>
                    <a:gd name="T2" fmla="*/ 6 w 30"/>
                    <a:gd name="T3" fmla="*/ 0 h 30"/>
                    <a:gd name="T4" fmla="*/ 0 w 30"/>
                    <a:gd name="T5" fmla="*/ 6 h 30"/>
                    <a:gd name="T6" fmla="*/ 0 w 30"/>
                    <a:gd name="T7" fmla="*/ 12 h 30"/>
                    <a:gd name="T8" fmla="*/ 0 w 30"/>
                    <a:gd name="T9" fmla="*/ 18 h 30"/>
                    <a:gd name="T10" fmla="*/ 6 w 30"/>
                    <a:gd name="T11" fmla="*/ 18 h 30"/>
                    <a:gd name="T12" fmla="*/ 0 w 30"/>
                    <a:gd name="T13" fmla="*/ 18 h 30"/>
                    <a:gd name="T14" fmla="*/ 0 w 30"/>
                    <a:gd name="T15" fmla="*/ 24 h 30"/>
                    <a:gd name="T16" fmla="*/ 0 w 30"/>
                    <a:gd name="T17" fmla="*/ 30 h 30"/>
                    <a:gd name="T18" fmla="*/ 6 w 30"/>
                    <a:gd name="T19" fmla="*/ 30 h 30"/>
                    <a:gd name="T20" fmla="*/ 6 w 30"/>
                    <a:gd name="T21" fmla="*/ 30 h 30"/>
                    <a:gd name="T22" fmla="*/ 6 w 30"/>
                    <a:gd name="T23" fmla="*/ 30 h 30"/>
                    <a:gd name="T24" fmla="*/ 12 w 30"/>
                    <a:gd name="T25" fmla="*/ 24 h 30"/>
                    <a:gd name="T26" fmla="*/ 12 w 30"/>
                    <a:gd name="T27" fmla="*/ 24 h 30"/>
                    <a:gd name="T28" fmla="*/ 12 w 30"/>
                    <a:gd name="T29" fmla="*/ 24 h 30"/>
                    <a:gd name="T30" fmla="*/ 24 w 30"/>
                    <a:gd name="T31" fmla="*/ 30 h 30"/>
                    <a:gd name="T32" fmla="*/ 30 w 30"/>
                    <a:gd name="T33" fmla="*/ 30 h 30"/>
                    <a:gd name="T34" fmla="*/ 30 w 30"/>
                    <a:gd name="T35" fmla="*/ 30 h 30"/>
                    <a:gd name="T36" fmla="*/ 24 w 30"/>
                    <a:gd name="T37" fmla="*/ 18 h 30"/>
                    <a:gd name="T38" fmla="*/ 24 w 30"/>
                    <a:gd name="T39" fmla="*/ 18 h 30"/>
                    <a:gd name="T40" fmla="*/ 24 w 30"/>
                    <a:gd name="T41" fmla="*/ 18 h 30"/>
                    <a:gd name="T42" fmla="*/ 24 w 30"/>
                    <a:gd name="T43" fmla="*/ 12 h 30"/>
                    <a:gd name="T44" fmla="*/ 18 w 30"/>
                    <a:gd name="T45" fmla="*/ 12 h 30"/>
                    <a:gd name="T46" fmla="*/ 12 w 30"/>
                    <a:gd name="T47" fmla="*/ 12 h 30"/>
                    <a:gd name="T48" fmla="*/ 12 w 30"/>
                    <a:gd name="T49" fmla="*/ 12 h 30"/>
                    <a:gd name="T50" fmla="*/ 12 w 30"/>
                    <a:gd name="T51" fmla="*/ 6 h 30"/>
                    <a:gd name="T52" fmla="*/ 18 w 30"/>
                    <a:gd name="T53" fmla="*/ 6 h 30"/>
                    <a:gd name="T54" fmla="*/ 18 w 30"/>
                    <a:gd name="T55" fmla="*/ 0 h 30"/>
                    <a:gd name="T56" fmla="*/ 12 w 30"/>
                    <a:gd name="T57" fmla="*/ 0 h 30"/>
                    <a:gd name="T58" fmla="*/ 6 w 30"/>
                    <a:gd name="T59" fmla="*/ 0 h 30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30" h="30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0" y="18"/>
                      </a:lnTo>
                      <a:lnTo>
                        <a:pt x="6" y="18"/>
                      </a:lnTo>
                      <a:lnTo>
                        <a:pt x="0" y="18"/>
                      </a:lnTo>
                      <a:lnTo>
                        <a:pt x="0" y="24"/>
                      </a:lnTo>
                      <a:lnTo>
                        <a:pt x="0" y="30"/>
                      </a:lnTo>
                      <a:lnTo>
                        <a:pt x="6" y="30"/>
                      </a:lnTo>
                      <a:lnTo>
                        <a:pt x="12" y="24"/>
                      </a:lnTo>
                      <a:lnTo>
                        <a:pt x="24" y="30"/>
                      </a:lnTo>
                      <a:lnTo>
                        <a:pt x="30" y="30"/>
                      </a:lnTo>
                      <a:lnTo>
                        <a:pt x="24" y="18"/>
                      </a:lnTo>
                      <a:lnTo>
                        <a:pt x="24" y="12"/>
                      </a:lnTo>
                      <a:lnTo>
                        <a:pt x="18" y="12"/>
                      </a:lnTo>
                      <a:lnTo>
                        <a:pt x="12" y="12"/>
                      </a:lnTo>
                      <a:lnTo>
                        <a:pt x="12" y="6"/>
                      </a:lnTo>
                      <a:lnTo>
                        <a:pt x="18" y="6"/>
                      </a:lnTo>
                      <a:lnTo>
                        <a:pt x="18" y="0"/>
                      </a:lnTo>
                      <a:lnTo>
                        <a:pt x="12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941" name="Freeform 727"/>
                <p:cNvSpPr>
                  <a:spLocks/>
                </p:cNvSpPr>
                <p:nvPr/>
              </p:nvSpPr>
              <p:spPr bwMode="auto">
                <a:xfrm>
                  <a:off x="4387" y="402"/>
                  <a:ext cx="30" cy="30"/>
                </a:xfrm>
                <a:custGeom>
                  <a:avLst/>
                  <a:gdLst>
                    <a:gd name="T0" fmla="*/ 6 w 30"/>
                    <a:gd name="T1" fmla="*/ 0 h 30"/>
                    <a:gd name="T2" fmla="*/ 0 w 30"/>
                    <a:gd name="T3" fmla="*/ 6 h 30"/>
                    <a:gd name="T4" fmla="*/ 0 w 30"/>
                    <a:gd name="T5" fmla="*/ 12 h 30"/>
                    <a:gd name="T6" fmla="*/ 0 w 30"/>
                    <a:gd name="T7" fmla="*/ 18 h 30"/>
                    <a:gd name="T8" fmla="*/ 6 w 30"/>
                    <a:gd name="T9" fmla="*/ 18 h 30"/>
                    <a:gd name="T10" fmla="*/ 0 w 30"/>
                    <a:gd name="T11" fmla="*/ 18 h 30"/>
                    <a:gd name="T12" fmla="*/ 0 w 30"/>
                    <a:gd name="T13" fmla="*/ 24 h 30"/>
                    <a:gd name="T14" fmla="*/ 0 w 30"/>
                    <a:gd name="T15" fmla="*/ 30 h 30"/>
                    <a:gd name="T16" fmla="*/ 6 w 30"/>
                    <a:gd name="T17" fmla="*/ 30 h 30"/>
                    <a:gd name="T18" fmla="*/ 12 w 30"/>
                    <a:gd name="T19" fmla="*/ 24 h 30"/>
                    <a:gd name="T20" fmla="*/ 24 w 30"/>
                    <a:gd name="T21" fmla="*/ 30 h 30"/>
                    <a:gd name="T22" fmla="*/ 30 w 30"/>
                    <a:gd name="T23" fmla="*/ 30 h 30"/>
                    <a:gd name="T24" fmla="*/ 24 w 30"/>
                    <a:gd name="T25" fmla="*/ 18 h 30"/>
                    <a:gd name="T26" fmla="*/ 24 w 30"/>
                    <a:gd name="T27" fmla="*/ 12 h 30"/>
                    <a:gd name="T28" fmla="*/ 18 w 30"/>
                    <a:gd name="T29" fmla="*/ 12 h 30"/>
                    <a:gd name="T30" fmla="*/ 12 w 30"/>
                    <a:gd name="T31" fmla="*/ 12 h 30"/>
                    <a:gd name="T32" fmla="*/ 12 w 30"/>
                    <a:gd name="T33" fmla="*/ 6 h 30"/>
                    <a:gd name="T34" fmla="*/ 18 w 30"/>
                    <a:gd name="T35" fmla="*/ 6 h 30"/>
                    <a:gd name="T36" fmla="*/ 18 w 30"/>
                    <a:gd name="T37" fmla="*/ 0 h 30"/>
                    <a:gd name="T38" fmla="*/ 12 w 30"/>
                    <a:gd name="T39" fmla="*/ 0 h 30"/>
                    <a:gd name="T40" fmla="*/ 6 w 30"/>
                    <a:gd name="T41" fmla="*/ 0 h 3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30" h="30">
                      <a:moveTo>
                        <a:pt x="6" y="0"/>
                      </a:move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0" y="18"/>
                      </a:lnTo>
                      <a:lnTo>
                        <a:pt x="6" y="18"/>
                      </a:lnTo>
                      <a:lnTo>
                        <a:pt x="0" y="18"/>
                      </a:lnTo>
                      <a:lnTo>
                        <a:pt x="0" y="24"/>
                      </a:lnTo>
                      <a:lnTo>
                        <a:pt x="0" y="30"/>
                      </a:lnTo>
                      <a:lnTo>
                        <a:pt x="6" y="30"/>
                      </a:lnTo>
                      <a:lnTo>
                        <a:pt x="12" y="24"/>
                      </a:lnTo>
                      <a:lnTo>
                        <a:pt x="24" y="30"/>
                      </a:lnTo>
                      <a:lnTo>
                        <a:pt x="30" y="30"/>
                      </a:lnTo>
                      <a:lnTo>
                        <a:pt x="24" y="18"/>
                      </a:lnTo>
                      <a:lnTo>
                        <a:pt x="24" y="12"/>
                      </a:lnTo>
                      <a:lnTo>
                        <a:pt x="18" y="12"/>
                      </a:lnTo>
                      <a:lnTo>
                        <a:pt x="12" y="12"/>
                      </a:lnTo>
                      <a:lnTo>
                        <a:pt x="12" y="6"/>
                      </a:lnTo>
                      <a:lnTo>
                        <a:pt x="18" y="6"/>
                      </a:lnTo>
                      <a:lnTo>
                        <a:pt x="18" y="0"/>
                      </a:lnTo>
                      <a:lnTo>
                        <a:pt x="12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739" name="Group 728"/>
            <p:cNvGrpSpPr>
              <a:grpSpLocks/>
            </p:cNvGrpSpPr>
            <p:nvPr/>
          </p:nvGrpSpPr>
          <p:grpSpPr bwMode="auto">
            <a:xfrm>
              <a:off x="6270432" y="1515785"/>
              <a:ext cx="426681" cy="414676"/>
              <a:chOff x="3949" y="432"/>
              <a:chExt cx="210" cy="240"/>
            </a:xfrm>
            <a:solidFill>
              <a:srgbClr val="0070C0">
                <a:alpha val="27059"/>
              </a:srgbClr>
            </a:solidFill>
          </p:grpSpPr>
          <p:sp>
            <p:nvSpPr>
              <p:cNvPr id="933" name="Freeform 729"/>
              <p:cNvSpPr>
                <a:spLocks/>
              </p:cNvSpPr>
              <p:nvPr/>
            </p:nvSpPr>
            <p:spPr bwMode="auto">
              <a:xfrm>
                <a:off x="3949" y="432"/>
                <a:ext cx="210" cy="240"/>
              </a:xfrm>
              <a:custGeom>
                <a:avLst/>
                <a:gdLst>
                  <a:gd name="T0" fmla="*/ 72 w 210"/>
                  <a:gd name="T1" fmla="*/ 90 h 240"/>
                  <a:gd name="T2" fmla="*/ 78 w 210"/>
                  <a:gd name="T3" fmla="*/ 96 h 240"/>
                  <a:gd name="T4" fmla="*/ 102 w 210"/>
                  <a:gd name="T5" fmla="*/ 108 h 240"/>
                  <a:gd name="T6" fmla="*/ 108 w 210"/>
                  <a:gd name="T7" fmla="*/ 108 h 240"/>
                  <a:gd name="T8" fmla="*/ 120 w 210"/>
                  <a:gd name="T9" fmla="*/ 132 h 240"/>
                  <a:gd name="T10" fmla="*/ 114 w 210"/>
                  <a:gd name="T11" fmla="*/ 162 h 240"/>
                  <a:gd name="T12" fmla="*/ 102 w 210"/>
                  <a:gd name="T13" fmla="*/ 180 h 240"/>
                  <a:gd name="T14" fmla="*/ 84 w 210"/>
                  <a:gd name="T15" fmla="*/ 180 h 240"/>
                  <a:gd name="T16" fmla="*/ 90 w 210"/>
                  <a:gd name="T17" fmla="*/ 198 h 240"/>
                  <a:gd name="T18" fmla="*/ 108 w 210"/>
                  <a:gd name="T19" fmla="*/ 192 h 240"/>
                  <a:gd name="T20" fmla="*/ 120 w 210"/>
                  <a:gd name="T21" fmla="*/ 204 h 240"/>
                  <a:gd name="T22" fmla="*/ 132 w 210"/>
                  <a:gd name="T23" fmla="*/ 222 h 240"/>
                  <a:gd name="T24" fmla="*/ 150 w 210"/>
                  <a:gd name="T25" fmla="*/ 228 h 240"/>
                  <a:gd name="T26" fmla="*/ 168 w 210"/>
                  <a:gd name="T27" fmla="*/ 240 h 240"/>
                  <a:gd name="T28" fmla="*/ 156 w 210"/>
                  <a:gd name="T29" fmla="*/ 222 h 240"/>
                  <a:gd name="T30" fmla="*/ 156 w 210"/>
                  <a:gd name="T31" fmla="*/ 210 h 240"/>
                  <a:gd name="T32" fmla="*/ 174 w 210"/>
                  <a:gd name="T33" fmla="*/ 222 h 240"/>
                  <a:gd name="T34" fmla="*/ 180 w 210"/>
                  <a:gd name="T35" fmla="*/ 228 h 240"/>
                  <a:gd name="T36" fmla="*/ 186 w 210"/>
                  <a:gd name="T37" fmla="*/ 210 h 240"/>
                  <a:gd name="T38" fmla="*/ 180 w 210"/>
                  <a:gd name="T39" fmla="*/ 198 h 240"/>
                  <a:gd name="T40" fmla="*/ 168 w 210"/>
                  <a:gd name="T41" fmla="*/ 192 h 240"/>
                  <a:gd name="T42" fmla="*/ 156 w 210"/>
                  <a:gd name="T43" fmla="*/ 180 h 240"/>
                  <a:gd name="T44" fmla="*/ 156 w 210"/>
                  <a:gd name="T45" fmla="*/ 156 h 240"/>
                  <a:gd name="T46" fmla="*/ 162 w 210"/>
                  <a:gd name="T47" fmla="*/ 156 h 240"/>
                  <a:gd name="T48" fmla="*/ 174 w 210"/>
                  <a:gd name="T49" fmla="*/ 186 h 240"/>
                  <a:gd name="T50" fmla="*/ 186 w 210"/>
                  <a:gd name="T51" fmla="*/ 180 h 240"/>
                  <a:gd name="T52" fmla="*/ 204 w 210"/>
                  <a:gd name="T53" fmla="*/ 174 h 240"/>
                  <a:gd name="T54" fmla="*/ 204 w 210"/>
                  <a:gd name="T55" fmla="*/ 162 h 240"/>
                  <a:gd name="T56" fmla="*/ 204 w 210"/>
                  <a:gd name="T57" fmla="*/ 156 h 240"/>
                  <a:gd name="T58" fmla="*/ 204 w 210"/>
                  <a:gd name="T59" fmla="*/ 150 h 240"/>
                  <a:gd name="T60" fmla="*/ 198 w 210"/>
                  <a:gd name="T61" fmla="*/ 150 h 240"/>
                  <a:gd name="T62" fmla="*/ 192 w 210"/>
                  <a:gd name="T63" fmla="*/ 150 h 240"/>
                  <a:gd name="T64" fmla="*/ 180 w 210"/>
                  <a:gd name="T65" fmla="*/ 138 h 240"/>
                  <a:gd name="T66" fmla="*/ 156 w 210"/>
                  <a:gd name="T67" fmla="*/ 126 h 240"/>
                  <a:gd name="T68" fmla="*/ 156 w 210"/>
                  <a:gd name="T69" fmla="*/ 120 h 240"/>
                  <a:gd name="T70" fmla="*/ 168 w 210"/>
                  <a:gd name="T71" fmla="*/ 108 h 240"/>
                  <a:gd name="T72" fmla="*/ 162 w 210"/>
                  <a:gd name="T73" fmla="*/ 102 h 240"/>
                  <a:gd name="T74" fmla="*/ 162 w 210"/>
                  <a:gd name="T75" fmla="*/ 90 h 240"/>
                  <a:gd name="T76" fmla="*/ 150 w 210"/>
                  <a:gd name="T77" fmla="*/ 78 h 240"/>
                  <a:gd name="T78" fmla="*/ 144 w 210"/>
                  <a:gd name="T79" fmla="*/ 66 h 240"/>
                  <a:gd name="T80" fmla="*/ 132 w 210"/>
                  <a:gd name="T81" fmla="*/ 72 h 240"/>
                  <a:gd name="T82" fmla="*/ 132 w 210"/>
                  <a:gd name="T83" fmla="*/ 60 h 240"/>
                  <a:gd name="T84" fmla="*/ 126 w 210"/>
                  <a:gd name="T85" fmla="*/ 60 h 240"/>
                  <a:gd name="T86" fmla="*/ 108 w 210"/>
                  <a:gd name="T87" fmla="*/ 42 h 240"/>
                  <a:gd name="T88" fmla="*/ 78 w 210"/>
                  <a:gd name="T89" fmla="*/ 36 h 240"/>
                  <a:gd name="T90" fmla="*/ 60 w 210"/>
                  <a:gd name="T91" fmla="*/ 30 h 240"/>
                  <a:gd name="T92" fmla="*/ 66 w 210"/>
                  <a:gd name="T93" fmla="*/ 12 h 240"/>
                  <a:gd name="T94" fmla="*/ 54 w 210"/>
                  <a:gd name="T95" fmla="*/ 6 h 240"/>
                  <a:gd name="T96" fmla="*/ 42 w 210"/>
                  <a:gd name="T97" fmla="*/ 24 h 240"/>
                  <a:gd name="T98" fmla="*/ 54 w 210"/>
                  <a:gd name="T99" fmla="*/ 66 h 240"/>
                  <a:gd name="T100" fmla="*/ 42 w 210"/>
                  <a:gd name="T101" fmla="*/ 60 h 240"/>
                  <a:gd name="T102" fmla="*/ 30 w 210"/>
                  <a:gd name="T103" fmla="*/ 18 h 240"/>
                  <a:gd name="T104" fmla="*/ 36 w 210"/>
                  <a:gd name="T105" fmla="*/ 0 h 240"/>
                  <a:gd name="T106" fmla="*/ 12 w 210"/>
                  <a:gd name="T107" fmla="*/ 12 h 240"/>
                  <a:gd name="T108" fmla="*/ 0 w 210"/>
                  <a:gd name="T109" fmla="*/ 42 h 240"/>
                  <a:gd name="T110" fmla="*/ 12 w 210"/>
                  <a:gd name="T111" fmla="*/ 60 h 240"/>
                  <a:gd name="T112" fmla="*/ 18 w 210"/>
                  <a:gd name="T113" fmla="*/ 84 h 240"/>
                  <a:gd name="T114" fmla="*/ 24 w 210"/>
                  <a:gd name="T115" fmla="*/ 84 h 240"/>
                  <a:gd name="T116" fmla="*/ 60 w 210"/>
                  <a:gd name="T117" fmla="*/ 90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10" h="240">
                    <a:moveTo>
                      <a:pt x="60" y="90"/>
                    </a:moveTo>
                    <a:lnTo>
                      <a:pt x="66" y="96"/>
                    </a:lnTo>
                    <a:lnTo>
                      <a:pt x="72" y="90"/>
                    </a:lnTo>
                    <a:lnTo>
                      <a:pt x="78" y="96"/>
                    </a:lnTo>
                    <a:lnTo>
                      <a:pt x="84" y="96"/>
                    </a:lnTo>
                    <a:lnTo>
                      <a:pt x="102" y="102"/>
                    </a:lnTo>
                    <a:lnTo>
                      <a:pt x="102" y="108"/>
                    </a:lnTo>
                    <a:lnTo>
                      <a:pt x="102" y="114"/>
                    </a:lnTo>
                    <a:lnTo>
                      <a:pt x="108" y="108"/>
                    </a:lnTo>
                    <a:lnTo>
                      <a:pt x="114" y="114"/>
                    </a:lnTo>
                    <a:lnTo>
                      <a:pt x="120" y="132"/>
                    </a:lnTo>
                    <a:lnTo>
                      <a:pt x="114" y="144"/>
                    </a:lnTo>
                    <a:lnTo>
                      <a:pt x="114" y="156"/>
                    </a:lnTo>
                    <a:lnTo>
                      <a:pt x="114" y="162"/>
                    </a:lnTo>
                    <a:lnTo>
                      <a:pt x="108" y="168"/>
                    </a:lnTo>
                    <a:lnTo>
                      <a:pt x="108" y="174"/>
                    </a:lnTo>
                    <a:lnTo>
                      <a:pt x="102" y="180"/>
                    </a:lnTo>
                    <a:lnTo>
                      <a:pt x="96" y="180"/>
                    </a:lnTo>
                    <a:lnTo>
                      <a:pt x="90" y="180"/>
                    </a:lnTo>
                    <a:lnTo>
                      <a:pt x="84" y="180"/>
                    </a:lnTo>
                    <a:lnTo>
                      <a:pt x="84" y="186"/>
                    </a:lnTo>
                    <a:lnTo>
                      <a:pt x="84" y="192"/>
                    </a:lnTo>
                    <a:lnTo>
                      <a:pt x="90" y="198"/>
                    </a:lnTo>
                    <a:lnTo>
                      <a:pt x="102" y="198"/>
                    </a:lnTo>
                    <a:lnTo>
                      <a:pt x="108" y="198"/>
                    </a:lnTo>
                    <a:lnTo>
                      <a:pt x="108" y="192"/>
                    </a:lnTo>
                    <a:lnTo>
                      <a:pt x="120" y="204"/>
                    </a:lnTo>
                    <a:lnTo>
                      <a:pt x="132" y="204"/>
                    </a:lnTo>
                    <a:lnTo>
                      <a:pt x="132" y="210"/>
                    </a:lnTo>
                    <a:lnTo>
                      <a:pt x="132" y="222"/>
                    </a:lnTo>
                    <a:lnTo>
                      <a:pt x="144" y="222"/>
                    </a:lnTo>
                    <a:lnTo>
                      <a:pt x="150" y="228"/>
                    </a:lnTo>
                    <a:lnTo>
                      <a:pt x="156" y="234"/>
                    </a:lnTo>
                    <a:lnTo>
                      <a:pt x="162" y="240"/>
                    </a:lnTo>
                    <a:lnTo>
                      <a:pt x="168" y="240"/>
                    </a:lnTo>
                    <a:lnTo>
                      <a:pt x="168" y="234"/>
                    </a:lnTo>
                    <a:lnTo>
                      <a:pt x="162" y="222"/>
                    </a:lnTo>
                    <a:lnTo>
                      <a:pt x="156" y="222"/>
                    </a:lnTo>
                    <a:lnTo>
                      <a:pt x="156" y="216"/>
                    </a:lnTo>
                    <a:lnTo>
                      <a:pt x="156" y="210"/>
                    </a:lnTo>
                    <a:lnTo>
                      <a:pt x="168" y="216"/>
                    </a:lnTo>
                    <a:lnTo>
                      <a:pt x="174" y="222"/>
                    </a:lnTo>
                    <a:lnTo>
                      <a:pt x="180" y="228"/>
                    </a:lnTo>
                    <a:lnTo>
                      <a:pt x="186" y="228"/>
                    </a:lnTo>
                    <a:lnTo>
                      <a:pt x="186" y="222"/>
                    </a:lnTo>
                    <a:lnTo>
                      <a:pt x="186" y="210"/>
                    </a:lnTo>
                    <a:lnTo>
                      <a:pt x="180" y="198"/>
                    </a:lnTo>
                    <a:lnTo>
                      <a:pt x="174" y="198"/>
                    </a:lnTo>
                    <a:lnTo>
                      <a:pt x="168" y="192"/>
                    </a:lnTo>
                    <a:lnTo>
                      <a:pt x="162" y="186"/>
                    </a:lnTo>
                    <a:lnTo>
                      <a:pt x="156" y="180"/>
                    </a:lnTo>
                    <a:lnTo>
                      <a:pt x="156" y="174"/>
                    </a:lnTo>
                    <a:lnTo>
                      <a:pt x="156" y="162"/>
                    </a:lnTo>
                    <a:lnTo>
                      <a:pt x="156" y="156"/>
                    </a:lnTo>
                    <a:lnTo>
                      <a:pt x="162" y="156"/>
                    </a:lnTo>
                    <a:lnTo>
                      <a:pt x="168" y="162"/>
                    </a:lnTo>
                    <a:lnTo>
                      <a:pt x="168" y="168"/>
                    </a:lnTo>
                    <a:lnTo>
                      <a:pt x="174" y="186"/>
                    </a:lnTo>
                    <a:lnTo>
                      <a:pt x="180" y="186"/>
                    </a:lnTo>
                    <a:lnTo>
                      <a:pt x="186" y="180"/>
                    </a:lnTo>
                    <a:lnTo>
                      <a:pt x="192" y="180"/>
                    </a:lnTo>
                    <a:lnTo>
                      <a:pt x="198" y="174"/>
                    </a:lnTo>
                    <a:lnTo>
                      <a:pt x="204" y="174"/>
                    </a:lnTo>
                    <a:lnTo>
                      <a:pt x="210" y="168"/>
                    </a:lnTo>
                    <a:lnTo>
                      <a:pt x="204" y="162"/>
                    </a:lnTo>
                    <a:lnTo>
                      <a:pt x="198" y="162"/>
                    </a:lnTo>
                    <a:lnTo>
                      <a:pt x="204" y="156"/>
                    </a:lnTo>
                    <a:lnTo>
                      <a:pt x="204" y="150"/>
                    </a:lnTo>
                    <a:lnTo>
                      <a:pt x="198" y="150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38"/>
                    </a:lnTo>
                    <a:lnTo>
                      <a:pt x="180" y="138"/>
                    </a:lnTo>
                    <a:lnTo>
                      <a:pt x="168" y="132"/>
                    </a:lnTo>
                    <a:lnTo>
                      <a:pt x="162" y="126"/>
                    </a:lnTo>
                    <a:lnTo>
                      <a:pt x="156" y="126"/>
                    </a:lnTo>
                    <a:lnTo>
                      <a:pt x="156" y="120"/>
                    </a:lnTo>
                    <a:lnTo>
                      <a:pt x="156" y="114"/>
                    </a:lnTo>
                    <a:lnTo>
                      <a:pt x="162" y="108"/>
                    </a:lnTo>
                    <a:lnTo>
                      <a:pt x="168" y="108"/>
                    </a:lnTo>
                    <a:lnTo>
                      <a:pt x="168" y="102"/>
                    </a:lnTo>
                    <a:lnTo>
                      <a:pt x="162" y="102"/>
                    </a:lnTo>
                    <a:lnTo>
                      <a:pt x="162" y="96"/>
                    </a:lnTo>
                    <a:lnTo>
                      <a:pt x="162" y="90"/>
                    </a:lnTo>
                    <a:lnTo>
                      <a:pt x="156" y="84"/>
                    </a:lnTo>
                    <a:lnTo>
                      <a:pt x="156" y="78"/>
                    </a:lnTo>
                    <a:lnTo>
                      <a:pt x="150" y="78"/>
                    </a:lnTo>
                    <a:lnTo>
                      <a:pt x="144" y="72"/>
                    </a:lnTo>
                    <a:lnTo>
                      <a:pt x="144" y="66"/>
                    </a:lnTo>
                    <a:lnTo>
                      <a:pt x="138" y="72"/>
                    </a:lnTo>
                    <a:lnTo>
                      <a:pt x="132" y="72"/>
                    </a:lnTo>
                    <a:lnTo>
                      <a:pt x="132" y="66"/>
                    </a:lnTo>
                    <a:lnTo>
                      <a:pt x="132" y="60"/>
                    </a:lnTo>
                    <a:lnTo>
                      <a:pt x="126" y="54"/>
                    </a:lnTo>
                    <a:lnTo>
                      <a:pt x="126" y="60"/>
                    </a:lnTo>
                    <a:lnTo>
                      <a:pt x="120" y="54"/>
                    </a:lnTo>
                    <a:lnTo>
                      <a:pt x="114" y="48"/>
                    </a:lnTo>
                    <a:lnTo>
                      <a:pt x="108" y="42"/>
                    </a:lnTo>
                    <a:lnTo>
                      <a:pt x="102" y="36"/>
                    </a:lnTo>
                    <a:lnTo>
                      <a:pt x="84" y="36"/>
                    </a:lnTo>
                    <a:lnTo>
                      <a:pt x="78" y="36"/>
                    </a:lnTo>
                    <a:lnTo>
                      <a:pt x="72" y="36"/>
                    </a:lnTo>
                    <a:lnTo>
                      <a:pt x="72" y="30"/>
                    </a:lnTo>
                    <a:lnTo>
                      <a:pt x="60" y="30"/>
                    </a:lnTo>
                    <a:lnTo>
                      <a:pt x="60" y="18"/>
                    </a:lnTo>
                    <a:lnTo>
                      <a:pt x="66" y="12"/>
                    </a:lnTo>
                    <a:lnTo>
                      <a:pt x="66" y="6"/>
                    </a:lnTo>
                    <a:lnTo>
                      <a:pt x="60" y="0"/>
                    </a:lnTo>
                    <a:lnTo>
                      <a:pt x="54" y="6"/>
                    </a:lnTo>
                    <a:lnTo>
                      <a:pt x="48" y="6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42" y="42"/>
                    </a:lnTo>
                    <a:lnTo>
                      <a:pt x="54" y="60"/>
                    </a:lnTo>
                    <a:lnTo>
                      <a:pt x="54" y="66"/>
                    </a:lnTo>
                    <a:lnTo>
                      <a:pt x="48" y="66"/>
                    </a:lnTo>
                    <a:lnTo>
                      <a:pt x="42" y="60"/>
                    </a:lnTo>
                    <a:lnTo>
                      <a:pt x="36" y="42"/>
                    </a:lnTo>
                    <a:lnTo>
                      <a:pt x="30" y="30"/>
                    </a:lnTo>
                    <a:lnTo>
                      <a:pt x="30" y="18"/>
                    </a:lnTo>
                    <a:lnTo>
                      <a:pt x="36" y="12"/>
                    </a:lnTo>
                    <a:lnTo>
                      <a:pt x="42" y="0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12" y="12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0" y="42"/>
                    </a:lnTo>
                    <a:lnTo>
                      <a:pt x="6" y="48"/>
                    </a:lnTo>
                    <a:lnTo>
                      <a:pt x="12" y="60"/>
                    </a:lnTo>
                    <a:lnTo>
                      <a:pt x="18" y="78"/>
                    </a:lnTo>
                    <a:lnTo>
                      <a:pt x="18" y="84"/>
                    </a:lnTo>
                    <a:lnTo>
                      <a:pt x="24" y="84"/>
                    </a:lnTo>
                    <a:lnTo>
                      <a:pt x="24" y="78"/>
                    </a:lnTo>
                    <a:lnTo>
                      <a:pt x="24" y="84"/>
                    </a:lnTo>
                    <a:lnTo>
                      <a:pt x="36" y="90"/>
                    </a:lnTo>
                    <a:lnTo>
                      <a:pt x="48" y="90"/>
                    </a:lnTo>
                    <a:lnTo>
                      <a:pt x="6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34" name="Freeform 730"/>
              <p:cNvSpPr>
                <a:spLocks/>
              </p:cNvSpPr>
              <p:nvPr/>
            </p:nvSpPr>
            <p:spPr bwMode="auto">
              <a:xfrm>
                <a:off x="3949" y="432"/>
                <a:ext cx="210" cy="240"/>
              </a:xfrm>
              <a:custGeom>
                <a:avLst/>
                <a:gdLst>
                  <a:gd name="T0" fmla="*/ 72 w 210"/>
                  <a:gd name="T1" fmla="*/ 90 h 240"/>
                  <a:gd name="T2" fmla="*/ 102 w 210"/>
                  <a:gd name="T3" fmla="*/ 102 h 240"/>
                  <a:gd name="T4" fmla="*/ 108 w 210"/>
                  <a:gd name="T5" fmla="*/ 108 h 240"/>
                  <a:gd name="T6" fmla="*/ 114 w 210"/>
                  <a:gd name="T7" fmla="*/ 144 h 240"/>
                  <a:gd name="T8" fmla="*/ 108 w 210"/>
                  <a:gd name="T9" fmla="*/ 168 h 240"/>
                  <a:gd name="T10" fmla="*/ 96 w 210"/>
                  <a:gd name="T11" fmla="*/ 180 h 240"/>
                  <a:gd name="T12" fmla="*/ 84 w 210"/>
                  <a:gd name="T13" fmla="*/ 186 h 240"/>
                  <a:gd name="T14" fmla="*/ 102 w 210"/>
                  <a:gd name="T15" fmla="*/ 198 h 240"/>
                  <a:gd name="T16" fmla="*/ 120 w 210"/>
                  <a:gd name="T17" fmla="*/ 204 h 240"/>
                  <a:gd name="T18" fmla="*/ 132 w 210"/>
                  <a:gd name="T19" fmla="*/ 222 h 240"/>
                  <a:gd name="T20" fmla="*/ 156 w 210"/>
                  <a:gd name="T21" fmla="*/ 234 h 240"/>
                  <a:gd name="T22" fmla="*/ 168 w 210"/>
                  <a:gd name="T23" fmla="*/ 234 h 240"/>
                  <a:gd name="T24" fmla="*/ 156 w 210"/>
                  <a:gd name="T25" fmla="*/ 216 h 240"/>
                  <a:gd name="T26" fmla="*/ 174 w 210"/>
                  <a:gd name="T27" fmla="*/ 222 h 240"/>
                  <a:gd name="T28" fmla="*/ 186 w 210"/>
                  <a:gd name="T29" fmla="*/ 222 h 240"/>
                  <a:gd name="T30" fmla="*/ 174 w 210"/>
                  <a:gd name="T31" fmla="*/ 198 h 240"/>
                  <a:gd name="T32" fmla="*/ 156 w 210"/>
                  <a:gd name="T33" fmla="*/ 180 h 240"/>
                  <a:gd name="T34" fmla="*/ 156 w 210"/>
                  <a:gd name="T35" fmla="*/ 156 h 240"/>
                  <a:gd name="T36" fmla="*/ 168 w 210"/>
                  <a:gd name="T37" fmla="*/ 168 h 240"/>
                  <a:gd name="T38" fmla="*/ 186 w 210"/>
                  <a:gd name="T39" fmla="*/ 180 h 240"/>
                  <a:gd name="T40" fmla="*/ 204 w 210"/>
                  <a:gd name="T41" fmla="*/ 174 h 240"/>
                  <a:gd name="T42" fmla="*/ 198 w 210"/>
                  <a:gd name="T43" fmla="*/ 162 h 240"/>
                  <a:gd name="T44" fmla="*/ 198 w 210"/>
                  <a:gd name="T45" fmla="*/ 150 h 240"/>
                  <a:gd name="T46" fmla="*/ 186 w 210"/>
                  <a:gd name="T47" fmla="*/ 138 h 240"/>
                  <a:gd name="T48" fmla="*/ 162 w 210"/>
                  <a:gd name="T49" fmla="*/ 126 h 240"/>
                  <a:gd name="T50" fmla="*/ 156 w 210"/>
                  <a:gd name="T51" fmla="*/ 114 h 240"/>
                  <a:gd name="T52" fmla="*/ 168 w 210"/>
                  <a:gd name="T53" fmla="*/ 102 h 240"/>
                  <a:gd name="T54" fmla="*/ 162 w 210"/>
                  <a:gd name="T55" fmla="*/ 90 h 240"/>
                  <a:gd name="T56" fmla="*/ 150 w 210"/>
                  <a:gd name="T57" fmla="*/ 78 h 240"/>
                  <a:gd name="T58" fmla="*/ 138 w 210"/>
                  <a:gd name="T59" fmla="*/ 72 h 240"/>
                  <a:gd name="T60" fmla="*/ 132 w 210"/>
                  <a:gd name="T61" fmla="*/ 60 h 240"/>
                  <a:gd name="T62" fmla="*/ 120 w 210"/>
                  <a:gd name="T63" fmla="*/ 54 h 240"/>
                  <a:gd name="T64" fmla="*/ 102 w 210"/>
                  <a:gd name="T65" fmla="*/ 36 h 240"/>
                  <a:gd name="T66" fmla="*/ 72 w 210"/>
                  <a:gd name="T67" fmla="*/ 36 h 240"/>
                  <a:gd name="T68" fmla="*/ 60 w 210"/>
                  <a:gd name="T69" fmla="*/ 18 h 240"/>
                  <a:gd name="T70" fmla="*/ 60 w 210"/>
                  <a:gd name="T71" fmla="*/ 0 h 240"/>
                  <a:gd name="T72" fmla="*/ 42 w 210"/>
                  <a:gd name="T73" fmla="*/ 18 h 240"/>
                  <a:gd name="T74" fmla="*/ 54 w 210"/>
                  <a:gd name="T75" fmla="*/ 60 h 240"/>
                  <a:gd name="T76" fmla="*/ 42 w 210"/>
                  <a:gd name="T77" fmla="*/ 60 h 240"/>
                  <a:gd name="T78" fmla="*/ 30 w 210"/>
                  <a:gd name="T79" fmla="*/ 18 h 240"/>
                  <a:gd name="T80" fmla="*/ 36 w 210"/>
                  <a:gd name="T81" fmla="*/ 0 h 240"/>
                  <a:gd name="T82" fmla="*/ 6 w 210"/>
                  <a:gd name="T83" fmla="*/ 24 h 240"/>
                  <a:gd name="T84" fmla="*/ 6 w 210"/>
                  <a:gd name="T85" fmla="*/ 48 h 240"/>
                  <a:gd name="T86" fmla="*/ 18 w 210"/>
                  <a:gd name="T87" fmla="*/ 84 h 240"/>
                  <a:gd name="T88" fmla="*/ 24 w 210"/>
                  <a:gd name="T89" fmla="*/ 84 h 240"/>
                  <a:gd name="T90" fmla="*/ 60 w 210"/>
                  <a:gd name="T91" fmla="*/ 90 h 24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210" h="240">
                    <a:moveTo>
                      <a:pt x="60" y="90"/>
                    </a:moveTo>
                    <a:lnTo>
                      <a:pt x="66" y="96"/>
                    </a:lnTo>
                    <a:lnTo>
                      <a:pt x="72" y="90"/>
                    </a:lnTo>
                    <a:lnTo>
                      <a:pt x="78" y="96"/>
                    </a:lnTo>
                    <a:lnTo>
                      <a:pt x="84" y="96"/>
                    </a:lnTo>
                    <a:lnTo>
                      <a:pt x="102" y="102"/>
                    </a:lnTo>
                    <a:lnTo>
                      <a:pt x="102" y="108"/>
                    </a:lnTo>
                    <a:lnTo>
                      <a:pt x="102" y="114"/>
                    </a:lnTo>
                    <a:lnTo>
                      <a:pt x="108" y="108"/>
                    </a:lnTo>
                    <a:lnTo>
                      <a:pt x="114" y="114"/>
                    </a:lnTo>
                    <a:lnTo>
                      <a:pt x="120" y="132"/>
                    </a:lnTo>
                    <a:lnTo>
                      <a:pt x="114" y="144"/>
                    </a:lnTo>
                    <a:lnTo>
                      <a:pt x="114" y="156"/>
                    </a:lnTo>
                    <a:lnTo>
                      <a:pt x="114" y="162"/>
                    </a:lnTo>
                    <a:lnTo>
                      <a:pt x="108" y="168"/>
                    </a:lnTo>
                    <a:lnTo>
                      <a:pt x="108" y="174"/>
                    </a:lnTo>
                    <a:lnTo>
                      <a:pt x="102" y="180"/>
                    </a:lnTo>
                    <a:lnTo>
                      <a:pt x="96" y="180"/>
                    </a:lnTo>
                    <a:lnTo>
                      <a:pt x="90" y="180"/>
                    </a:lnTo>
                    <a:lnTo>
                      <a:pt x="84" y="180"/>
                    </a:lnTo>
                    <a:lnTo>
                      <a:pt x="84" y="186"/>
                    </a:lnTo>
                    <a:lnTo>
                      <a:pt x="84" y="192"/>
                    </a:lnTo>
                    <a:lnTo>
                      <a:pt x="90" y="198"/>
                    </a:lnTo>
                    <a:lnTo>
                      <a:pt x="102" y="198"/>
                    </a:lnTo>
                    <a:lnTo>
                      <a:pt x="108" y="198"/>
                    </a:lnTo>
                    <a:lnTo>
                      <a:pt x="108" y="192"/>
                    </a:lnTo>
                    <a:lnTo>
                      <a:pt x="120" y="204"/>
                    </a:lnTo>
                    <a:lnTo>
                      <a:pt x="132" y="204"/>
                    </a:lnTo>
                    <a:lnTo>
                      <a:pt x="132" y="210"/>
                    </a:lnTo>
                    <a:lnTo>
                      <a:pt x="132" y="222"/>
                    </a:lnTo>
                    <a:lnTo>
                      <a:pt x="144" y="222"/>
                    </a:lnTo>
                    <a:lnTo>
                      <a:pt x="150" y="228"/>
                    </a:lnTo>
                    <a:lnTo>
                      <a:pt x="156" y="234"/>
                    </a:lnTo>
                    <a:lnTo>
                      <a:pt x="162" y="240"/>
                    </a:lnTo>
                    <a:lnTo>
                      <a:pt x="168" y="240"/>
                    </a:lnTo>
                    <a:lnTo>
                      <a:pt x="168" y="234"/>
                    </a:lnTo>
                    <a:lnTo>
                      <a:pt x="162" y="222"/>
                    </a:lnTo>
                    <a:lnTo>
                      <a:pt x="156" y="222"/>
                    </a:lnTo>
                    <a:lnTo>
                      <a:pt x="156" y="216"/>
                    </a:lnTo>
                    <a:lnTo>
                      <a:pt x="156" y="210"/>
                    </a:lnTo>
                    <a:lnTo>
                      <a:pt x="168" y="216"/>
                    </a:lnTo>
                    <a:lnTo>
                      <a:pt x="174" y="222"/>
                    </a:lnTo>
                    <a:lnTo>
                      <a:pt x="180" y="228"/>
                    </a:lnTo>
                    <a:lnTo>
                      <a:pt x="186" y="228"/>
                    </a:lnTo>
                    <a:lnTo>
                      <a:pt x="186" y="222"/>
                    </a:lnTo>
                    <a:lnTo>
                      <a:pt x="186" y="210"/>
                    </a:lnTo>
                    <a:lnTo>
                      <a:pt x="180" y="198"/>
                    </a:lnTo>
                    <a:lnTo>
                      <a:pt x="174" y="198"/>
                    </a:lnTo>
                    <a:lnTo>
                      <a:pt x="168" y="192"/>
                    </a:lnTo>
                    <a:lnTo>
                      <a:pt x="162" y="186"/>
                    </a:lnTo>
                    <a:lnTo>
                      <a:pt x="156" y="180"/>
                    </a:lnTo>
                    <a:lnTo>
                      <a:pt x="156" y="174"/>
                    </a:lnTo>
                    <a:lnTo>
                      <a:pt x="156" y="162"/>
                    </a:lnTo>
                    <a:lnTo>
                      <a:pt x="156" y="156"/>
                    </a:lnTo>
                    <a:lnTo>
                      <a:pt x="162" y="156"/>
                    </a:lnTo>
                    <a:lnTo>
                      <a:pt x="168" y="162"/>
                    </a:lnTo>
                    <a:lnTo>
                      <a:pt x="168" y="168"/>
                    </a:lnTo>
                    <a:lnTo>
                      <a:pt x="174" y="186"/>
                    </a:lnTo>
                    <a:lnTo>
                      <a:pt x="180" y="186"/>
                    </a:lnTo>
                    <a:lnTo>
                      <a:pt x="186" y="180"/>
                    </a:lnTo>
                    <a:lnTo>
                      <a:pt x="192" y="180"/>
                    </a:lnTo>
                    <a:lnTo>
                      <a:pt x="198" y="174"/>
                    </a:lnTo>
                    <a:lnTo>
                      <a:pt x="204" y="174"/>
                    </a:lnTo>
                    <a:lnTo>
                      <a:pt x="210" y="168"/>
                    </a:lnTo>
                    <a:lnTo>
                      <a:pt x="204" y="162"/>
                    </a:lnTo>
                    <a:lnTo>
                      <a:pt x="198" y="162"/>
                    </a:lnTo>
                    <a:lnTo>
                      <a:pt x="204" y="156"/>
                    </a:lnTo>
                    <a:lnTo>
                      <a:pt x="204" y="150"/>
                    </a:lnTo>
                    <a:lnTo>
                      <a:pt x="198" y="150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38"/>
                    </a:lnTo>
                    <a:lnTo>
                      <a:pt x="180" y="138"/>
                    </a:lnTo>
                    <a:lnTo>
                      <a:pt x="168" y="132"/>
                    </a:lnTo>
                    <a:lnTo>
                      <a:pt x="162" y="126"/>
                    </a:lnTo>
                    <a:lnTo>
                      <a:pt x="156" y="126"/>
                    </a:lnTo>
                    <a:lnTo>
                      <a:pt x="156" y="120"/>
                    </a:lnTo>
                    <a:lnTo>
                      <a:pt x="156" y="114"/>
                    </a:lnTo>
                    <a:lnTo>
                      <a:pt x="162" y="108"/>
                    </a:lnTo>
                    <a:lnTo>
                      <a:pt x="168" y="108"/>
                    </a:lnTo>
                    <a:lnTo>
                      <a:pt x="168" y="102"/>
                    </a:lnTo>
                    <a:lnTo>
                      <a:pt x="162" y="102"/>
                    </a:lnTo>
                    <a:lnTo>
                      <a:pt x="162" y="96"/>
                    </a:lnTo>
                    <a:lnTo>
                      <a:pt x="162" y="90"/>
                    </a:lnTo>
                    <a:lnTo>
                      <a:pt x="156" y="84"/>
                    </a:lnTo>
                    <a:lnTo>
                      <a:pt x="156" y="78"/>
                    </a:lnTo>
                    <a:lnTo>
                      <a:pt x="150" y="78"/>
                    </a:lnTo>
                    <a:lnTo>
                      <a:pt x="144" y="72"/>
                    </a:lnTo>
                    <a:lnTo>
                      <a:pt x="144" y="66"/>
                    </a:lnTo>
                    <a:lnTo>
                      <a:pt x="138" y="72"/>
                    </a:lnTo>
                    <a:lnTo>
                      <a:pt x="132" y="72"/>
                    </a:lnTo>
                    <a:lnTo>
                      <a:pt x="132" y="66"/>
                    </a:lnTo>
                    <a:lnTo>
                      <a:pt x="132" y="60"/>
                    </a:lnTo>
                    <a:lnTo>
                      <a:pt x="126" y="54"/>
                    </a:lnTo>
                    <a:lnTo>
                      <a:pt x="126" y="60"/>
                    </a:lnTo>
                    <a:lnTo>
                      <a:pt x="120" y="54"/>
                    </a:lnTo>
                    <a:lnTo>
                      <a:pt x="114" y="48"/>
                    </a:lnTo>
                    <a:lnTo>
                      <a:pt x="108" y="42"/>
                    </a:lnTo>
                    <a:lnTo>
                      <a:pt x="102" y="36"/>
                    </a:lnTo>
                    <a:lnTo>
                      <a:pt x="84" y="36"/>
                    </a:lnTo>
                    <a:lnTo>
                      <a:pt x="78" y="36"/>
                    </a:lnTo>
                    <a:lnTo>
                      <a:pt x="72" y="36"/>
                    </a:lnTo>
                    <a:lnTo>
                      <a:pt x="72" y="30"/>
                    </a:lnTo>
                    <a:lnTo>
                      <a:pt x="60" y="30"/>
                    </a:lnTo>
                    <a:lnTo>
                      <a:pt x="60" y="18"/>
                    </a:lnTo>
                    <a:lnTo>
                      <a:pt x="66" y="12"/>
                    </a:lnTo>
                    <a:lnTo>
                      <a:pt x="66" y="6"/>
                    </a:lnTo>
                    <a:lnTo>
                      <a:pt x="60" y="0"/>
                    </a:lnTo>
                    <a:lnTo>
                      <a:pt x="54" y="6"/>
                    </a:lnTo>
                    <a:lnTo>
                      <a:pt x="48" y="6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42" y="42"/>
                    </a:lnTo>
                    <a:lnTo>
                      <a:pt x="54" y="60"/>
                    </a:lnTo>
                    <a:lnTo>
                      <a:pt x="54" y="66"/>
                    </a:lnTo>
                    <a:lnTo>
                      <a:pt x="48" y="66"/>
                    </a:lnTo>
                    <a:lnTo>
                      <a:pt x="42" y="60"/>
                    </a:lnTo>
                    <a:lnTo>
                      <a:pt x="36" y="42"/>
                    </a:lnTo>
                    <a:lnTo>
                      <a:pt x="30" y="30"/>
                    </a:lnTo>
                    <a:lnTo>
                      <a:pt x="30" y="18"/>
                    </a:lnTo>
                    <a:lnTo>
                      <a:pt x="36" y="12"/>
                    </a:lnTo>
                    <a:lnTo>
                      <a:pt x="42" y="0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12" y="12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0" y="42"/>
                    </a:lnTo>
                    <a:lnTo>
                      <a:pt x="6" y="48"/>
                    </a:lnTo>
                    <a:lnTo>
                      <a:pt x="12" y="60"/>
                    </a:lnTo>
                    <a:lnTo>
                      <a:pt x="18" y="78"/>
                    </a:lnTo>
                    <a:lnTo>
                      <a:pt x="18" y="84"/>
                    </a:lnTo>
                    <a:lnTo>
                      <a:pt x="24" y="84"/>
                    </a:lnTo>
                    <a:lnTo>
                      <a:pt x="24" y="78"/>
                    </a:lnTo>
                    <a:lnTo>
                      <a:pt x="24" y="84"/>
                    </a:lnTo>
                    <a:lnTo>
                      <a:pt x="36" y="90"/>
                    </a:lnTo>
                    <a:lnTo>
                      <a:pt x="48" y="90"/>
                    </a:lnTo>
                    <a:lnTo>
                      <a:pt x="6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40" name="Group 731"/>
            <p:cNvGrpSpPr>
              <a:grpSpLocks/>
            </p:cNvGrpSpPr>
            <p:nvPr/>
          </p:nvGrpSpPr>
          <p:grpSpPr bwMode="auto">
            <a:xfrm>
              <a:off x="6172410" y="1825274"/>
              <a:ext cx="123007" cy="72821"/>
              <a:chOff x="3901" y="612"/>
              <a:chExt cx="60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931" name="Freeform 732"/>
              <p:cNvSpPr>
                <a:spLocks/>
              </p:cNvSpPr>
              <p:nvPr/>
            </p:nvSpPr>
            <p:spPr bwMode="auto">
              <a:xfrm>
                <a:off x="3901" y="612"/>
                <a:ext cx="60" cy="42"/>
              </a:xfrm>
              <a:custGeom>
                <a:avLst/>
                <a:gdLst>
                  <a:gd name="T0" fmla="*/ 6 w 60"/>
                  <a:gd name="T1" fmla="*/ 24 h 42"/>
                  <a:gd name="T2" fmla="*/ 0 w 60"/>
                  <a:gd name="T3" fmla="*/ 30 h 42"/>
                  <a:gd name="T4" fmla="*/ 6 w 60"/>
                  <a:gd name="T5" fmla="*/ 30 h 42"/>
                  <a:gd name="T6" fmla="*/ 12 w 60"/>
                  <a:gd name="T7" fmla="*/ 30 h 42"/>
                  <a:gd name="T8" fmla="*/ 12 w 60"/>
                  <a:gd name="T9" fmla="*/ 36 h 42"/>
                  <a:gd name="T10" fmla="*/ 12 w 60"/>
                  <a:gd name="T11" fmla="*/ 36 h 42"/>
                  <a:gd name="T12" fmla="*/ 18 w 60"/>
                  <a:gd name="T13" fmla="*/ 42 h 42"/>
                  <a:gd name="T14" fmla="*/ 18 w 60"/>
                  <a:gd name="T15" fmla="*/ 42 h 42"/>
                  <a:gd name="T16" fmla="*/ 24 w 60"/>
                  <a:gd name="T17" fmla="*/ 42 h 42"/>
                  <a:gd name="T18" fmla="*/ 42 w 60"/>
                  <a:gd name="T19" fmla="*/ 30 h 42"/>
                  <a:gd name="T20" fmla="*/ 54 w 60"/>
                  <a:gd name="T21" fmla="*/ 36 h 42"/>
                  <a:gd name="T22" fmla="*/ 60 w 60"/>
                  <a:gd name="T23" fmla="*/ 30 h 42"/>
                  <a:gd name="T24" fmla="*/ 54 w 60"/>
                  <a:gd name="T25" fmla="*/ 24 h 42"/>
                  <a:gd name="T26" fmla="*/ 54 w 60"/>
                  <a:gd name="T27" fmla="*/ 18 h 42"/>
                  <a:gd name="T28" fmla="*/ 48 w 60"/>
                  <a:gd name="T29" fmla="*/ 18 h 42"/>
                  <a:gd name="T30" fmla="*/ 36 w 60"/>
                  <a:gd name="T31" fmla="*/ 12 h 42"/>
                  <a:gd name="T32" fmla="*/ 30 w 60"/>
                  <a:gd name="T33" fmla="*/ 6 h 42"/>
                  <a:gd name="T34" fmla="*/ 24 w 60"/>
                  <a:gd name="T35" fmla="*/ 6 h 42"/>
                  <a:gd name="T36" fmla="*/ 24 w 60"/>
                  <a:gd name="T37" fmla="*/ 0 h 42"/>
                  <a:gd name="T38" fmla="*/ 18 w 60"/>
                  <a:gd name="T39" fmla="*/ 6 h 42"/>
                  <a:gd name="T40" fmla="*/ 12 w 60"/>
                  <a:gd name="T41" fmla="*/ 12 h 42"/>
                  <a:gd name="T42" fmla="*/ 6 w 60"/>
                  <a:gd name="T43" fmla="*/ 18 h 42"/>
                  <a:gd name="T44" fmla="*/ 6 w 60"/>
                  <a:gd name="T45" fmla="*/ 24 h 4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0" h="42">
                    <a:moveTo>
                      <a:pt x="6" y="24"/>
                    </a:moveTo>
                    <a:lnTo>
                      <a:pt x="0" y="30"/>
                    </a:lnTo>
                    <a:lnTo>
                      <a:pt x="6" y="30"/>
                    </a:lnTo>
                    <a:lnTo>
                      <a:pt x="12" y="30"/>
                    </a:lnTo>
                    <a:lnTo>
                      <a:pt x="12" y="36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42" y="30"/>
                    </a:lnTo>
                    <a:lnTo>
                      <a:pt x="54" y="36"/>
                    </a:lnTo>
                    <a:lnTo>
                      <a:pt x="60" y="30"/>
                    </a:lnTo>
                    <a:lnTo>
                      <a:pt x="54" y="24"/>
                    </a:lnTo>
                    <a:lnTo>
                      <a:pt x="54" y="18"/>
                    </a:lnTo>
                    <a:lnTo>
                      <a:pt x="48" y="18"/>
                    </a:lnTo>
                    <a:lnTo>
                      <a:pt x="36" y="12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32" name="Freeform 733"/>
              <p:cNvSpPr>
                <a:spLocks/>
              </p:cNvSpPr>
              <p:nvPr/>
            </p:nvSpPr>
            <p:spPr bwMode="auto">
              <a:xfrm>
                <a:off x="3901" y="612"/>
                <a:ext cx="60" cy="42"/>
              </a:xfrm>
              <a:custGeom>
                <a:avLst/>
                <a:gdLst>
                  <a:gd name="T0" fmla="*/ 6 w 60"/>
                  <a:gd name="T1" fmla="*/ 24 h 42"/>
                  <a:gd name="T2" fmla="*/ 0 w 60"/>
                  <a:gd name="T3" fmla="*/ 30 h 42"/>
                  <a:gd name="T4" fmla="*/ 6 w 60"/>
                  <a:gd name="T5" fmla="*/ 30 h 42"/>
                  <a:gd name="T6" fmla="*/ 12 w 60"/>
                  <a:gd name="T7" fmla="*/ 30 h 42"/>
                  <a:gd name="T8" fmla="*/ 12 w 60"/>
                  <a:gd name="T9" fmla="*/ 36 h 42"/>
                  <a:gd name="T10" fmla="*/ 18 w 60"/>
                  <a:gd name="T11" fmla="*/ 42 h 42"/>
                  <a:gd name="T12" fmla="*/ 24 w 60"/>
                  <a:gd name="T13" fmla="*/ 42 h 42"/>
                  <a:gd name="T14" fmla="*/ 42 w 60"/>
                  <a:gd name="T15" fmla="*/ 30 h 42"/>
                  <a:gd name="T16" fmla="*/ 54 w 60"/>
                  <a:gd name="T17" fmla="*/ 36 h 42"/>
                  <a:gd name="T18" fmla="*/ 60 w 60"/>
                  <a:gd name="T19" fmla="*/ 30 h 42"/>
                  <a:gd name="T20" fmla="*/ 54 w 60"/>
                  <a:gd name="T21" fmla="*/ 24 h 42"/>
                  <a:gd name="T22" fmla="*/ 54 w 60"/>
                  <a:gd name="T23" fmla="*/ 18 h 42"/>
                  <a:gd name="T24" fmla="*/ 48 w 60"/>
                  <a:gd name="T25" fmla="*/ 18 h 42"/>
                  <a:gd name="T26" fmla="*/ 36 w 60"/>
                  <a:gd name="T27" fmla="*/ 12 h 42"/>
                  <a:gd name="T28" fmla="*/ 30 w 60"/>
                  <a:gd name="T29" fmla="*/ 6 h 42"/>
                  <a:gd name="T30" fmla="*/ 24 w 60"/>
                  <a:gd name="T31" fmla="*/ 6 h 42"/>
                  <a:gd name="T32" fmla="*/ 24 w 60"/>
                  <a:gd name="T33" fmla="*/ 0 h 42"/>
                  <a:gd name="T34" fmla="*/ 18 w 60"/>
                  <a:gd name="T35" fmla="*/ 6 h 42"/>
                  <a:gd name="T36" fmla="*/ 12 w 60"/>
                  <a:gd name="T37" fmla="*/ 12 h 42"/>
                  <a:gd name="T38" fmla="*/ 6 w 60"/>
                  <a:gd name="T39" fmla="*/ 18 h 42"/>
                  <a:gd name="T40" fmla="*/ 6 w 60"/>
                  <a:gd name="T41" fmla="*/ 24 h 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60" h="42">
                    <a:moveTo>
                      <a:pt x="6" y="24"/>
                    </a:moveTo>
                    <a:lnTo>
                      <a:pt x="0" y="30"/>
                    </a:lnTo>
                    <a:lnTo>
                      <a:pt x="6" y="30"/>
                    </a:lnTo>
                    <a:lnTo>
                      <a:pt x="12" y="30"/>
                    </a:lnTo>
                    <a:lnTo>
                      <a:pt x="12" y="36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42" y="30"/>
                    </a:lnTo>
                    <a:lnTo>
                      <a:pt x="54" y="36"/>
                    </a:lnTo>
                    <a:lnTo>
                      <a:pt x="60" y="30"/>
                    </a:lnTo>
                    <a:lnTo>
                      <a:pt x="54" y="24"/>
                    </a:lnTo>
                    <a:lnTo>
                      <a:pt x="54" y="18"/>
                    </a:lnTo>
                    <a:lnTo>
                      <a:pt x="48" y="18"/>
                    </a:lnTo>
                    <a:lnTo>
                      <a:pt x="36" y="12"/>
                    </a:lnTo>
                    <a:lnTo>
                      <a:pt x="30" y="6"/>
                    </a:lnTo>
                    <a:lnTo>
                      <a:pt x="24" y="6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41" name="Group 734"/>
            <p:cNvGrpSpPr>
              <a:grpSpLocks/>
            </p:cNvGrpSpPr>
            <p:nvPr/>
          </p:nvGrpSpPr>
          <p:grpSpPr bwMode="auto">
            <a:xfrm>
              <a:off x="6112829" y="1155724"/>
              <a:ext cx="48050" cy="10114"/>
              <a:chOff x="3871" y="222"/>
              <a:chExt cx="24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929" name="Freeform 735"/>
              <p:cNvSpPr>
                <a:spLocks/>
              </p:cNvSpPr>
              <p:nvPr/>
            </p:nvSpPr>
            <p:spPr bwMode="auto">
              <a:xfrm>
                <a:off x="3871" y="222"/>
                <a:ext cx="24" cy="6"/>
              </a:xfrm>
              <a:custGeom>
                <a:avLst/>
                <a:gdLst>
                  <a:gd name="T0" fmla="*/ 6 w 24"/>
                  <a:gd name="T1" fmla="*/ 0 h 6"/>
                  <a:gd name="T2" fmla="*/ 0 w 24"/>
                  <a:gd name="T3" fmla="*/ 0 h 6"/>
                  <a:gd name="T4" fmla="*/ 0 w 24"/>
                  <a:gd name="T5" fmla="*/ 6 h 6"/>
                  <a:gd name="T6" fmla="*/ 0 w 24"/>
                  <a:gd name="T7" fmla="*/ 6 h 6"/>
                  <a:gd name="T8" fmla="*/ 18 w 24"/>
                  <a:gd name="T9" fmla="*/ 6 h 6"/>
                  <a:gd name="T10" fmla="*/ 24 w 24"/>
                  <a:gd name="T11" fmla="*/ 6 h 6"/>
                  <a:gd name="T12" fmla="*/ 24 w 24"/>
                  <a:gd name="T13" fmla="*/ 6 h 6"/>
                  <a:gd name="T14" fmla="*/ 18 w 24"/>
                  <a:gd name="T15" fmla="*/ 0 h 6"/>
                  <a:gd name="T16" fmla="*/ 18 w 24"/>
                  <a:gd name="T17" fmla="*/ 0 h 6"/>
                  <a:gd name="T18" fmla="*/ 12 w 24"/>
                  <a:gd name="T19" fmla="*/ 0 h 6"/>
                  <a:gd name="T20" fmla="*/ 6 w 24"/>
                  <a:gd name="T21" fmla="*/ 0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4" h="6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18" y="6"/>
                    </a:lnTo>
                    <a:lnTo>
                      <a:pt x="24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30" name="Freeform 736"/>
              <p:cNvSpPr>
                <a:spLocks/>
              </p:cNvSpPr>
              <p:nvPr/>
            </p:nvSpPr>
            <p:spPr bwMode="auto">
              <a:xfrm>
                <a:off x="3871" y="222"/>
                <a:ext cx="24" cy="6"/>
              </a:xfrm>
              <a:custGeom>
                <a:avLst/>
                <a:gdLst>
                  <a:gd name="T0" fmla="*/ 6 w 24"/>
                  <a:gd name="T1" fmla="*/ 0 h 6"/>
                  <a:gd name="T2" fmla="*/ 0 w 24"/>
                  <a:gd name="T3" fmla="*/ 0 h 6"/>
                  <a:gd name="T4" fmla="*/ 0 w 24"/>
                  <a:gd name="T5" fmla="*/ 6 h 6"/>
                  <a:gd name="T6" fmla="*/ 18 w 24"/>
                  <a:gd name="T7" fmla="*/ 6 h 6"/>
                  <a:gd name="T8" fmla="*/ 24 w 24"/>
                  <a:gd name="T9" fmla="*/ 6 h 6"/>
                  <a:gd name="T10" fmla="*/ 18 w 24"/>
                  <a:gd name="T11" fmla="*/ 0 h 6"/>
                  <a:gd name="T12" fmla="*/ 12 w 24"/>
                  <a:gd name="T13" fmla="*/ 0 h 6"/>
                  <a:gd name="T14" fmla="*/ 6 w 24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6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18" y="6"/>
                    </a:lnTo>
                    <a:lnTo>
                      <a:pt x="24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42" name="Group 737"/>
            <p:cNvGrpSpPr>
              <a:grpSpLocks/>
            </p:cNvGrpSpPr>
            <p:nvPr/>
          </p:nvGrpSpPr>
          <p:grpSpPr bwMode="auto">
            <a:xfrm>
              <a:off x="5868736" y="1404530"/>
              <a:ext cx="121085" cy="153734"/>
              <a:chOff x="3751" y="366"/>
              <a:chExt cx="60" cy="90"/>
            </a:xfrm>
            <a:solidFill>
              <a:srgbClr val="0070C0">
                <a:alpha val="27059"/>
              </a:srgbClr>
            </a:solidFill>
          </p:grpSpPr>
          <p:sp>
            <p:nvSpPr>
              <p:cNvPr id="927" name="Freeform 738"/>
              <p:cNvSpPr>
                <a:spLocks/>
              </p:cNvSpPr>
              <p:nvPr/>
            </p:nvSpPr>
            <p:spPr bwMode="auto">
              <a:xfrm>
                <a:off x="3751" y="366"/>
                <a:ext cx="60" cy="90"/>
              </a:xfrm>
              <a:custGeom>
                <a:avLst/>
                <a:gdLst>
                  <a:gd name="T0" fmla="*/ 6 w 60"/>
                  <a:gd name="T1" fmla="*/ 36 h 90"/>
                  <a:gd name="T2" fmla="*/ 6 w 60"/>
                  <a:gd name="T3" fmla="*/ 36 h 90"/>
                  <a:gd name="T4" fmla="*/ 0 w 60"/>
                  <a:gd name="T5" fmla="*/ 36 h 90"/>
                  <a:gd name="T6" fmla="*/ 0 w 60"/>
                  <a:gd name="T7" fmla="*/ 36 h 90"/>
                  <a:gd name="T8" fmla="*/ 0 w 60"/>
                  <a:gd name="T9" fmla="*/ 36 h 90"/>
                  <a:gd name="T10" fmla="*/ 0 w 60"/>
                  <a:gd name="T11" fmla="*/ 48 h 90"/>
                  <a:gd name="T12" fmla="*/ 0 w 60"/>
                  <a:gd name="T13" fmla="*/ 54 h 90"/>
                  <a:gd name="T14" fmla="*/ 6 w 60"/>
                  <a:gd name="T15" fmla="*/ 60 h 90"/>
                  <a:gd name="T16" fmla="*/ 12 w 60"/>
                  <a:gd name="T17" fmla="*/ 66 h 90"/>
                  <a:gd name="T18" fmla="*/ 18 w 60"/>
                  <a:gd name="T19" fmla="*/ 66 h 90"/>
                  <a:gd name="T20" fmla="*/ 24 w 60"/>
                  <a:gd name="T21" fmla="*/ 78 h 90"/>
                  <a:gd name="T22" fmla="*/ 24 w 60"/>
                  <a:gd name="T23" fmla="*/ 90 h 90"/>
                  <a:gd name="T24" fmla="*/ 36 w 60"/>
                  <a:gd name="T25" fmla="*/ 90 h 90"/>
                  <a:gd name="T26" fmla="*/ 48 w 60"/>
                  <a:gd name="T27" fmla="*/ 90 h 90"/>
                  <a:gd name="T28" fmla="*/ 54 w 60"/>
                  <a:gd name="T29" fmla="*/ 90 h 90"/>
                  <a:gd name="T30" fmla="*/ 60 w 60"/>
                  <a:gd name="T31" fmla="*/ 84 h 90"/>
                  <a:gd name="T32" fmla="*/ 60 w 60"/>
                  <a:gd name="T33" fmla="*/ 78 h 90"/>
                  <a:gd name="T34" fmla="*/ 60 w 60"/>
                  <a:gd name="T35" fmla="*/ 66 h 90"/>
                  <a:gd name="T36" fmla="*/ 60 w 60"/>
                  <a:gd name="T37" fmla="*/ 60 h 90"/>
                  <a:gd name="T38" fmla="*/ 60 w 60"/>
                  <a:gd name="T39" fmla="*/ 54 h 90"/>
                  <a:gd name="T40" fmla="*/ 60 w 60"/>
                  <a:gd name="T41" fmla="*/ 42 h 90"/>
                  <a:gd name="T42" fmla="*/ 48 w 60"/>
                  <a:gd name="T43" fmla="*/ 42 h 90"/>
                  <a:gd name="T44" fmla="*/ 48 w 60"/>
                  <a:gd name="T45" fmla="*/ 42 h 90"/>
                  <a:gd name="T46" fmla="*/ 42 w 60"/>
                  <a:gd name="T47" fmla="*/ 36 h 90"/>
                  <a:gd name="T48" fmla="*/ 48 w 60"/>
                  <a:gd name="T49" fmla="*/ 30 h 90"/>
                  <a:gd name="T50" fmla="*/ 48 w 60"/>
                  <a:gd name="T51" fmla="*/ 30 h 90"/>
                  <a:gd name="T52" fmla="*/ 54 w 60"/>
                  <a:gd name="T53" fmla="*/ 30 h 90"/>
                  <a:gd name="T54" fmla="*/ 60 w 60"/>
                  <a:gd name="T55" fmla="*/ 18 h 90"/>
                  <a:gd name="T56" fmla="*/ 60 w 60"/>
                  <a:gd name="T57" fmla="*/ 12 h 90"/>
                  <a:gd name="T58" fmla="*/ 54 w 60"/>
                  <a:gd name="T59" fmla="*/ 12 h 90"/>
                  <a:gd name="T60" fmla="*/ 54 w 60"/>
                  <a:gd name="T61" fmla="*/ 6 h 90"/>
                  <a:gd name="T62" fmla="*/ 48 w 60"/>
                  <a:gd name="T63" fmla="*/ 0 h 90"/>
                  <a:gd name="T64" fmla="*/ 36 w 60"/>
                  <a:gd name="T65" fmla="*/ 6 h 90"/>
                  <a:gd name="T66" fmla="*/ 30 w 60"/>
                  <a:gd name="T67" fmla="*/ 6 h 90"/>
                  <a:gd name="T68" fmla="*/ 24 w 60"/>
                  <a:gd name="T69" fmla="*/ 0 h 90"/>
                  <a:gd name="T70" fmla="*/ 18 w 60"/>
                  <a:gd name="T71" fmla="*/ 6 h 90"/>
                  <a:gd name="T72" fmla="*/ 12 w 60"/>
                  <a:gd name="T73" fmla="*/ 12 h 90"/>
                  <a:gd name="T74" fmla="*/ 12 w 60"/>
                  <a:gd name="T75" fmla="*/ 18 h 90"/>
                  <a:gd name="T76" fmla="*/ 12 w 60"/>
                  <a:gd name="T77" fmla="*/ 24 h 90"/>
                  <a:gd name="T78" fmla="*/ 18 w 60"/>
                  <a:gd name="T79" fmla="*/ 30 h 90"/>
                  <a:gd name="T80" fmla="*/ 24 w 60"/>
                  <a:gd name="T81" fmla="*/ 36 h 90"/>
                  <a:gd name="T82" fmla="*/ 24 w 60"/>
                  <a:gd name="T83" fmla="*/ 42 h 90"/>
                  <a:gd name="T84" fmla="*/ 18 w 60"/>
                  <a:gd name="T85" fmla="*/ 42 h 90"/>
                  <a:gd name="T86" fmla="*/ 18 w 60"/>
                  <a:gd name="T87" fmla="*/ 42 h 90"/>
                  <a:gd name="T88" fmla="*/ 6 w 60"/>
                  <a:gd name="T89" fmla="*/ 36 h 9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60" h="90">
                    <a:moveTo>
                      <a:pt x="6" y="36"/>
                    </a:moveTo>
                    <a:lnTo>
                      <a:pt x="6" y="36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66"/>
                    </a:lnTo>
                    <a:lnTo>
                      <a:pt x="24" y="78"/>
                    </a:lnTo>
                    <a:lnTo>
                      <a:pt x="24" y="90"/>
                    </a:lnTo>
                    <a:lnTo>
                      <a:pt x="36" y="90"/>
                    </a:lnTo>
                    <a:lnTo>
                      <a:pt x="48" y="90"/>
                    </a:lnTo>
                    <a:lnTo>
                      <a:pt x="54" y="90"/>
                    </a:lnTo>
                    <a:lnTo>
                      <a:pt x="60" y="84"/>
                    </a:lnTo>
                    <a:lnTo>
                      <a:pt x="60" y="78"/>
                    </a:lnTo>
                    <a:lnTo>
                      <a:pt x="60" y="66"/>
                    </a:lnTo>
                    <a:lnTo>
                      <a:pt x="60" y="60"/>
                    </a:lnTo>
                    <a:lnTo>
                      <a:pt x="60" y="54"/>
                    </a:lnTo>
                    <a:lnTo>
                      <a:pt x="60" y="42"/>
                    </a:lnTo>
                    <a:lnTo>
                      <a:pt x="48" y="42"/>
                    </a:lnTo>
                    <a:lnTo>
                      <a:pt x="42" y="36"/>
                    </a:lnTo>
                    <a:lnTo>
                      <a:pt x="48" y="30"/>
                    </a:lnTo>
                    <a:lnTo>
                      <a:pt x="54" y="30"/>
                    </a:lnTo>
                    <a:lnTo>
                      <a:pt x="60" y="18"/>
                    </a:lnTo>
                    <a:lnTo>
                      <a:pt x="60" y="12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48" y="0"/>
                    </a:lnTo>
                    <a:lnTo>
                      <a:pt x="36" y="6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8" y="30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18" y="42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28" name="Freeform 739"/>
              <p:cNvSpPr>
                <a:spLocks/>
              </p:cNvSpPr>
              <p:nvPr/>
            </p:nvSpPr>
            <p:spPr bwMode="auto">
              <a:xfrm>
                <a:off x="3751" y="366"/>
                <a:ext cx="60" cy="90"/>
              </a:xfrm>
              <a:custGeom>
                <a:avLst/>
                <a:gdLst>
                  <a:gd name="T0" fmla="*/ 6 w 60"/>
                  <a:gd name="T1" fmla="*/ 36 h 90"/>
                  <a:gd name="T2" fmla="*/ 0 w 60"/>
                  <a:gd name="T3" fmla="*/ 36 h 90"/>
                  <a:gd name="T4" fmla="*/ 0 w 60"/>
                  <a:gd name="T5" fmla="*/ 48 h 90"/>
                  <a:gd name="T6" fmla="*/ 0 w 60"/>
                  <a:gd name="T7" fmla="*/ 54 h 90"/>
                  <a:gd name="T8" fmla="*/ 6 w 60"/>
                  <a:gd name="T9" fmla="*/ 60 h 90"/>
                  <a:gd name="T10" fmla="*/ 12 w 60"/>
                  <a:gd name="T11" fmla="*/ 66 h 90"/>
                  <a:gd name="T12" fmla="*/ 18 w 60"/>
                  <a:gd name="T13" fmla="*/ 66 h 90"/>
                  <a:gd name="T14" fmla="*/ 24 w 60"/>
                  <a:gd name="T15" fmla="*/ 78 h 90"/>
                  <a:gd name="T16" fmla="*/ 24 w 60"/>
                  <a:gd name="T17" fmla="*/ 90 h 90"/>
                  <a:gd name="T18" fmla="*/ 36 w 60"/>
                  <a:gd name="T19" fmla="*/ 90 h 90"/>
                  <a:gd name="T20" fmla="*/ 48 w 60"/>
                  <a:gd name="T21" fmla="*/ 90 h 90"/>
                  <a:gd name="T22" fmla="*/ 54 w 60"/>
                  <a:gd name="T23" fmla="*/ 90 h 90"/>
                  <a:gd name="T24" fmla="*/ 60 w 60"/>
                  <a:gd name="T25" fmla="*/ 84 h 90"/>
                  <a:gd name="T26" fmla="*/ 60 w 60"/>
                  <a:gd name="T27" fmla="*/ 78 h 90"/>
                  <a:gd name="T28" fmla="*/ 60 w 60"/>
                  <a:gd name="T29" fmla="*/ 66 h 90"/>
                  <a:gd name="T30" fmla="*/ 60 w 60"/>
                  <a:gd name="T31" fmla="*/ 60 h 90"/>
                  <a:gd name="T32" fmla="*/ 60 w 60"/>
                  <a:gd name="T33" fmla="*/ 54 h 90"/>
                  <a:gd name="T34" fmla="*/ 60 w 60"/>
                  <a:gd name="T35" fmla="*/ 42 h 90"/>
                  <a:gd name="T36" fmla="*/ 48 w 60"/>
                  <a:gd name="T37" fmla="*/ 42 h 90"/>
                  <a:gd name="T38" fmla="*/ 42 w 60"/>
                  <a:gd name="T39" fmla="*/ 36 h 90"/>
                  <a:gd name="T40" fmla="*/ 48 w 60"/>
                  <a:gd name="T41" fmla="*/ 30 h 90"/>
                  <a:gd name="T42" fmla="*/ 54 w 60"/>
                  <a:gd name="T43" fmla="*/ 30 h 90"/>
                  <a:gd name="T44" fmla="*/ 60 w 60"/>
                  <a:gd name="T45" fmla="*/ 18 h 90"/>
                  <a:gd name="T46" fmla="*/ 60 w 60"/>
                  <a:gd name="T47" fmla="*/ 12 h 90"/>
                  <a:gd name="T48" fmla="*/ 54 w 60"/>
                  <a:gd name="T49" fmla="*/ 12 h 90"/>
                  <a:gd name="T50" fmla="*/ 54 w 60"/>
                  <a:gd name="T51" fmla="*/ 6 h 90"/>
                  <a:gd name="T52" fmla="*/ 48 w 60"/>
                  <a:gd name="T53" fmla="*/ 0 h 90"/>
                  <a:gd name="T54" fmla="*/ 36 w 60"/>
                  <a:gd name="T55" fmla="*/ 6 h 90"/>
                  <a:gd name="T56" fmla="*/ 30 w 60"/>
                  <a:gd name="T57" fmla="*/ 6 h 90"/>
                  <a:gd name="T58" fmla="*/ 24 w 60"/>
                  <a:gd name="T59" fmla="*/ 0 h 90"/>
                  <a:gd name="T60" fmla="*/ 18 w 60"/>
                  <a:gd name="T61" fmla="*/ 6 h 90"/>
                  <a:gd name="T62" fmla="*/ 12 w 60"/>
                  <a:gd name="T63" fmla="*/ 12 h 90"/>
                  <a:gd name="T64" fmla="*/ 12 w 60"/>
                  <a:gd name="T65" fmla="*/ 18 h 90"/>
                  <a:gd name="T66" fmla="*/ 12 w 60"/>
                  <a:gd name="T67" fmla="*/ 24 h 90"/>
                  <a:gd name="T68" fmla="*/ 18 w 60"/>
                  <a:gd name="T69" fmla="*/ 30 h 90"/>
                  <a:gd name="T70" fmla="*/ 24 w 60"/>
                  <a:gd name="T71" fmla="*/ 36 h 90"/>
                  <a:gd name="T72" fmla="*/ 24 w 60"/>
                  <a:gd name="T73" fmla="*/ 42 h 90"/>
                  <a:gd name="T74" fmla="*/ 18 w 60"/>
                  <a:gd name="T75" fmla="*/ 42 h 90"/>
                  <a:gd name="T76" fmla="*/ 6 w 60"/>
                  <a:gd name="T77" fmla="*/ 36 h 9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60" h="90">
                    <a:moveTo>
                      <a:pt x="6" y="36"/>
                    </a:moveTo>
                    <a:lnTo>
                      <a:pt x="0" y="36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66"/>
                    </a:lnTo>
                    <a:lnTo>
                      <a:pt x="24" y="78"/>
                    </a:lnTo>
                    <a:lnTo>
                      <a:pt x="24" y="90"/>
                    </a:lnTo>
                    <a:lnTo>
                      <a:pt x="36" y="90"/>
                    </a:lnTo>
                    <a:lnTo>
                      <a:pt x="48" y="90"/>
                    </a:lnTo>
                    <a:lnTo>
                      <a:pt x="54" y="90"/>
                    </a:lnTo>
                    <a:lnTo>
                      <a:pt x="60" y="84"/>
                    </a:lnTo>
                    <a:lnTo>
                      <a:pt x="60" y="78"/>
                    </a:lnTo>
                    <a:lnTo>
                      <a:pt x="60" y="66"/>
                    </a:lnTo>
                    <a:lnTo>
                      <a:pt x="60" y="60"/>
                    </a:lnTo>
                    <a:lnTo>
                      <a:pt x="60" y="54"/>
                    </a:lnTo>
                    <a:lnTo>
                      <a:pt x="60" y="42"/>
                    </a:lnTo>
                    <a:lnTo>
                      <a:pt x="48" y="42"/>
                    </a:lnTo>
                    <a:lnTo>
                      <a:pt x="42" y="36"/>
                    </a:lnTo>
                    <a:lnTo>
                      <a:pt x="48" y="30"/>
                    </a:lnTo>
                    <a:lnTo>
                      <a:pt x="54" y="30"/>
                    </a:lnTo>
                    <a:lnTo>
                      <a:pt x="60" y="18"/>
                    </a:lnTo>
                    <a:lnTo>
                      <a:pt x="60" y="12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48" y="0"/>
                    </a:lnTo>
                    <a:lnTo>
                      <a:pt x="36" y="6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8" y="30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18" y="42"/>
                    </a:lnTo>
                    <a:lnTo>
                      <a:pt x="6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43" name="Group 740"/>
            <p:cNvGrpSpPr>
              <a:grpSpLocks/>
            </p:cNvGrpSpPr>
            <p:nvPr/>
          </p:nvGrpSpPr>
          <p:grpSpPr bwMode="auto">
            <a:xfrm>
              <a:off x="6087843" y="1424758"/>
              <a:ext cx="98021" cy="133505"/>
              <a:chOff x="3859" y="378"/>
              <a:chExt cx="48" cy="78"/>
            </a:xfrm>
            <a:solidFill>
              <a:srgbClr val="0070C0">
                <a:alpha val="27059"/>
              </a:srgbClr>
            </a:solidFill>
          </p:grpSpPr>
          <p:sp>
            <p:nvSpPr>
              <p:cNvPr id="925" name="Freeform 741"/>
              <p:cNvSpPr>
                <a:spLocks/>
              </p:cNvSpPr>
              <p:nvPr/>
            </p:nvSpPr>
            <p:spPr bwMode="auto">
              <a:xfrm>
                <a:off x="3859" y="378"/>
                <a:ext cx="48" cy="78"/>
              </a:xfrm>
              <a:custGeom>
                <a:avLst/>
                <a:gdLst>
                  <a:gd name="T0" fmla="*/ 24 w 48"/>
                  <a:gd name="T1" fmla="*/ 0 h 78"/>
                  <a:gd name="T2" fmla="*/ 18 w 48"/>
                  <a:gd name="T3" fmla="*/ 0 h 78"/>
                  <a:gd name="T4" fmla="*/ 18 w 48"/>
                  <a:gd name="T5" fmla="*/ 0 h 78"/>
                  <a:gd name="T6" fmla="*/ 12 w 48"/>
                  <a:gd name="T7" fmla="*/ 0 h 78"/>
                  <a:gd name="T8" fmla="*/ 12 w 48"/>
                  <a:gd name="T9" fmla="*/ 0 h 78"/>
                  <a:gd name="T10" fmla="*/ 12 w 48"/>
                  <a:gd name="T11" fmla="*/ 0 h 78"/>
                  <a:gd name="T12" fmla="*/ 6 w 48"/>
                  <a:gd name="T13" fmla="*/ 12 h 78"/>
                  <a:gd name="T14" fmla="*/ 0 w 48"/>
                  <a:gd name="T15" fmla="*/ 12 h 78"/>
                  <a:gd name="T16" fmla="*/ 0 w 48"/>
                  <a:gd name="T17" fmla="*/ 18 h 78"/>
                  <a:gd name="T18" fmla="*/ 0 w 48"/>
                  <a:gd name="T19" fmla="*/ 24 h 78"/>
                  <a:gd name="T20" fmla="*/ 0 w 48"/>
                  <a:gd name="T21" fmla="*/ 30 h 78"/>
                  <a:gd name="T22" fmla="*/ 0 w 48"/>
                  <a:gd name="T23" fmla="*/ 36 h 78"/>
                  <a:gd name="T24" fmla="*/ 0 w 48"/>
                  <a:gd name="T25" fmla="*/ 36 h 78"/>
                  <a:gd name="T26" fmla="*/ 0 w 48"/>
                  <a:gd name="T27" fmla="*/ 54 h 78"/>
                  <a:gd name="T28" fmla="*/ 6 w 48"/>
                  <a:gd name="T29" fmla="*/ 78 h 78"/>
                  <a:gd name="T30" fmla="*/ 12 w 48"/>
                  <a:gd name="T31" fmla="*/ 78 h 78"/>
                  <a:gd name="T32" fmla="*/ 18 w 48"/>
                  <a:gd name="T33" fmla="*/ 72 h 78"/>
                  <a:gd name="T34" fmla="*/ 18 w 48"/>
                  <a:gd name="T35" fmla="*/ 66 h 78"/>
                  <a:gd name="T36" fmla="*/ 18 w 48"/>
                  <a:gd name="T37" fmla="*/ 60 h 78"/>
                  <a:gd name="T38" fmla="*/ 18 w 48"/>
                  <a:gd name="T39" fmla="*/ 48 h 78"/>
                  <a:gd name="T40" fmla="*/ 24 w 48"/>
                  <a:gd name="T41" fmla="*/ 48 h 78"/>
                  <a:gd name="T42" fmla="*/ 30 w 48"/>
                  <a:gd name="T43" fmla="*/ 48 h 78"/>
                  <a:gd name="T44" fmla="*/ 36 w 48"/>
                  <a:gd name="T45" fmla="*/ 42 h 78"/>
                  <a:gd name="T46" fmla="*/ 36 w 48"/>
                  <a:gd name="T47" fmla="*/ 36 h 78"/>
                  <a:gd name="T48" fmla="*/ 42 w 48"/>
                  <a:gd name="T49" fmla="*/ 30 h 78"/>
                  <a:gd name="T50" fmla="*/ 48 w 48"/>
                  <a:gd name="T51" fmla="*/ 24 h 78"/>
                  <a:gd name="T52" fmla="*/ 48 w 48"/>
                  <a:gd name="T53" fmla="*/ 18 h 78"/>
                  <a:gd name="T54" fmla="*/ 48 w 48"/>
                  <a:gd name="T55" fmla="*/ 12 h 78"/>
                  <a:gd name="T56" fmla="*/ 48 w 48"/>
                  <a:gd name="T57" fmla="*/ 6 h 78"/>
                  <a:gd name="T58" fmla="*/ 48 w 48"/>
                  <a:gd name="T59" fmla="*/ 6 h 78"/>
                  <a:gd name="T60" fmla="*/ 48 w 48"/>
                  <a:gd name="T61" fmla="*/ 6 h 78"/>
                  <a:gd name="T62" fmla="*/ 42 w 48"/>
                  <a:gd name="T63" fmla="*/ 6 h 78"/>
                  <a:gd name="T64" fmla="*/ 36 w 48"/>
                  <a:gd name="T65" fmla="*/ 6 h 78"/>
                  <a:gd name="T66" fmla="*/ 30 w 48"/>
                  <a:gd name="T67" fmla="*/ 0 h 78"/>
                  <a:gd name="T68" fmla="*/ 24 w 48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8" h="78">
                    <a:moveTo>
                      <a:pt x="24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54"/>
                    </a:lnTo>
                    <a:lnTo>
                      <a:pt x="6" y="78"/>
                    </a:lnTo>
                    <a:lnTo>
                      <a:pt x="12" y="78"/>
                    </a:lnTo>
                    <a:lnTo>
                      <a:pt x="18" y="72"/>
                    </a:lnTo>
                    <a:lnTo>
                      <a:pt x="18" y="66"/>
                    </a:lnTo>
                    <a:lnTo>
                      <a:pt x="18" y="60"/>
                    </a:lnTo>
                    <a:lnTo>
                      <a:pt x="18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6" y="42"/>
                    </a:lnTo>
                    <a:lnTo>
                      <a:pt x="36" y="36"/>
                    </a:lnTo>
                    <a:lnTo>
                      <a:pt x="42" y="30"/>
                    </a:lnTo>
                    <a:lnTo>
                      <a:pt x="48" y="24"/>
                    </a:lnTo>
                    <a:lnTo>
                      <a:pt x="48" y="18"/>
                    </a:lnTo>
                    <a:lnTo>
                      <a:pt x="48" y="12"/>
                    </a:lnTo>
                    <a:lnTo>
                      <a:pt x="48" y="6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26" name="Freeform 742"/>
              <p:cNvSpPr>
                <a:spLocks/>
              </p:cNvSpPr>
              <p:nvPr/>
            </p:nvSpPr>
            <p:spPr bwMode="auto">
              <a:xfrm>
                <a:off x="3859" y="378"/>
                <a:ext cx="48" cy="78"/>
              </a:xfrm>
              <a:custGeom>
                <a:avLst/>
                <a:gdLst>
                  <a:gd name="T0" fmla="*/ 24 w 48"/>
                  <a:gd name="T1" fmla="*/ 0 h 78"/>
                  <a:gd name="T2" fmla="*/ 18 w 48"/>
                  <a:gd name="T3" fmla="*/ 0 h 78"/>
                  <a:gd name="T4" fmla="*/ 12 w 48"/>
                  <a:gd name="T5" fmla="*/ 0 h 78"/>
                  <a:gd name="T6" fmla="*/ 6 w 48"/>
                  <a:gd name="T7" fmla="*/ 12 h 78"/>
                  <a:gd name="T8" fmla="*/ 0 w 48"/>
                  <a:gd name="T9" fmla="*/ 12 h 78"/>
                  <a:gd name="T10" fmla="*/ 0 w 48"/>
                  <a:gd name="T11" fmla="*/ 18 h 78"/>
                  <a:gd name="T12" fmla="*/ 0 w 48"/>
                  <a:gd name="T13" fmla="*/ 24 h 78"/>
                  <a:gd name="T14" fmla="*/ 0 w 48"/>
                  <a:gd name="T15" fmla="*/ 30 h 78"/>
                  <a:gd name="T16" fmla="*/ 0 w 48"/>
                  <a:gd name="T17" fmla="*/ 36 h 78"/>
                  <a:gd name="T18" fmla="*/ 0 w 48"/>
                  <a:gd name="T19" fmla="*/ 54 h 78"/>
                  <a:gd name="T20" fmla="*/ 6 w 48"/>
                  <a:gd name="T21" fmla="*/ 78 h 78"/>
                  <a:gd name="T22" fmla="*/ 12 w 48"/>
                  <a:gd name="T23" fmla="*/ 78 h 78"/>
                  <a:gd name="T24" fmla="*/ 18 w 48"/>
                  <a:gd name="T25" fmla="*/ 72 h 78"/>
                  <a:gd name="T26" fmla="*/ 18 w 48"/>
                  <a:gd name="T27" fmla="*/ 66 h 78"/>
                  <a:gd name="T28" fmla="*/ 18 w 48"/>
                  <a:gd name="T29" fmla="*/ 60 h 78"/>
                  <a:gd name="T30" fmla="*/ 18 w 48"/>
                  <a:gd name="T31" fmla="*/ 48 h 78"/>
                  <a:gd name="T32" fmla="*/ 24 w 48"/>
                  <a:gd name="T33" fmla="*/ 48 h 78"/>
                  <a:gd name="T34" fmla="*/ 30 w 48"/>
                  <a:gd name="T35" fmla="*/ 48 h 78"/>
                  <a:gd name="T36" fmla="*/ 36 w 48"/>
                  <a:gd name="T37" fmla="*/ 42 h 78"/>
                  <a:gd name="T38" fmla="*/ 36 w 48"/>
                  <a:gd name="T39" fmla="*/ 36 h 78"/>
                  <a:gd name="T40" fmla="*/ 42 w 48"/>
                  <a:gd name="T41" fmla="*/ 30 h 78"/>
                  <a:gd name="T42" fmla="*/ 48 w 48"/>
                  <a:gd name="T43" fmla="*/ 24 h 78"/>
                  <a:gd name="T44" fmla="*/ 48 w 48"/>
                  <a:gd name="T45" fmla="*/ 18 h 78"/>
                  <a:gd name="T46" fmla="*/ 48 w 48"/>
                  <a:gd name="T47" fmla="*/ 12 h 78"/>
                  <a:gd name="T48" fmla="*/ 48 w 48"/>
                  <a:gd name="T49" fmla="*/ 6 h 78"/>
                  <a:gd name="T50" fmla="*/ 42 w 48"/>
                  <a:gd name="T51" fmla="*/ 6 h 78"/>
                  <a:gd name="T52" fmla="*/ 36 w 48"/>
                  <a:gd name="T53" fmla="*/ 6 h 78"/>
                  <a:gd name="T54" fmla="*/ 30 w 48"/>
                  <a:gd name="T55" fmla="*/ 0 h 78"/>
                  <a:gd name="T56" fmla="*/ 24 w 48"/>
                  <a:gd name="T57" fmla="*/ 0 h 7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48" h="78">
                    <a:moveTo>
                      <a:pt x="24" y="0"/>
                    </a:moveTo>
                    <a:lnTo>
                      <a:pt x="18" y="0"/>
                    </a:lnTo>
                    <a:lnTo>
                      <a:pt x="12" y="0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0" y="54"/>
                    </a:lnTo>
                    <a:lnTo>
                      <a:pt x="6" y="78"/>
                    </a:lnTo>
                    <a:lnTo>
                      <a:pt x="12" y="78"/>
                    </a:lnTo>
                    <a:lnTo>
                      <a:pt x="18" y="72"/>
                    </a:lnTo>
                    <a:lnTo>
                      <a:pt x="18" y="66"/>
                    </a:lnTo>
                    <a:lnTo>
                      <a:pt x="18" y="60"/>
                    </a:lnTo>
                    <a:lnTo>
                      <a:pt x="18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6" y="42"/>
                    </a:lnTo>
                    <a:lnTo>
                      <a:pt x="36" y="36"/>
                    </a:lnTo>
                    <a:lnTo>
                      <a:pt x="42" y="30"/>
                    </a:lnTo>
                    <a:lnTo>
                      <a:pt x="48" y="24"/>
                    </a:lnTo>
                    <a:lnTo>
                      <a:pt x="48" y="18"/>
                    </a:lnTo>
                    <a:lnTo>
                      <a:pt x="48" y="12"/>
                    </a:lnTo>
                    <a:lnTo>
                      <a:pt x="48" y="6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0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44" name="Group 743"/>
            <p:cNvGrpSpPr>
              <a:grpSpLocks/>
            </p:cNvGrpSpPr>
            <p:nvPr/>
          </p:nvGrpSpPr>
          <p:grpSpPr bwMode="auto">
            <a:xfrm>
              <a:off x="5476651" y="1384302"/>
              <a:ext cx="159525" cy="153734"/>
              <a:chOff x="3559" y="354"/>
              <a:chExt cx="78" cy="90"/>
            </a:xfrm>
            <a:solidFill>
              <a:srgbClr val="0070C0">
                <a:alpha val="27059"/>
              </a:srgbClr>
            </a:solidFill>
          </p:grpSpPr>
          <p:sp>
            <p:nvSpPr>
              <p:cNvPr id="923" name="Freeform 744"/>
              <p:cNvSpPr>
                <a:spLocks/>
              </p:cNvSpPr>
              <p:nvPr/>
            </p:nvSpPr>
            <p:spPr bwMode="auto">
              <a:xfrm>
                <a:off x="3559" y="354"/>
                <a:ext cx="78" cy="90"/>
              </a:xfrm>
              <a:custGeom>
                <a:avLst/>
                <a:gdLst>
                  <a:gd name="T0" fmla="*/ 0 w 78"/>
                  <a:gd name="T1" fmla="*/ 60 h 90"/>
                  <a:gd name="T2" fmla="*/ 0 w 78"/>
                  <a:gd name="T3" fmla="*/ 66 h 90"/>
                  <a:gd name="T4" fmla="*/ 0 w 78"/>
                  <a:gd name="T5" fmla="*/ 66 h 90"/>
                  <a:gd name="T6" fmla="*/ 0 w 78"/>
                  <a:gd name="T7" fmla="*/ 72 h 90"/>
                  <a:gd name="T8" fmla="*/ 6 w 78"/>
                  <a:gd name="T9" fmla="*/ 72 h 90"/>
                  <a:gd name="T10" fmla="*/ 6 w 78"/>
                  <a:gd name="T11" fmla="*/ 78 h 90"/>
                  <a:gd name="T12" fmla="*/ 12 w 78"/>
                  <a:gd name="T13" fmla="*/ 84 h 90"/>
                  <a:gd name="T14" fmla="*/ 12 w 78"/>
                  <a:gd name="T15" fmla="*/ 90 h 90"/>
                  <a:gd name="T16" fmla="*/ 18 w 78"/>
                  <a:gd name="T17" fmla="*/ 90 h 90"/>
                  <a:gd name="T18" fmla="*/ 24 w 78"/>
                  <a:gd name="T19" fmla="*/ 84 h 90"/>
                  <a:gd name="T20" fmla="*/ 24 w 78"/>
                  <a:gd name="T21" fmla="*/ 84 h 90"/>
                  <a:gd name="T22" fmla="*/ 30 w 78"/>
                  <a:gd name="T23" fmla="*/ 78 h 90"/>
                  <a:gd name="T24" fmla="*/ 30 w 78"/>
                  <a:gd name="T25" fmla="*/ 78 h 90"/>
                  <a:gd name="T26" fmla="*/ 36 w 78"/>
                  <a:gd name="T27" fmla="*/ 78 h 90"/>
                  <a:gd name="T28" fmla="*/ 36 w 78"/>
                  <a:gd name="T29" fmla="*/ 78 h 90"/>
                  <a:gd name="T30" fmla="*/ 42 w 78"/>
                  <a:gd name="T31" fmla="*/ 72 h 90"/>
                  <a:gd name="T32" fmla="*/ 42 w 78"/>
                  <a:gd name="T33" fmla="*/ 60 h 90"/>
                  <a:gd name="T34" fmla="*/ 48 w 78"/>
                  <a:gd name="T35" fmla="*/ 48 h 90"/>
                  <a:gd name="T36" fmla="*/ 54 w 78"/>
                  <a:gd name="T37" fmla="*/ 42 h 90"/>
                  <a:gd name="T38" fmla="*/ 60 w 78"/>
                  <a:gd name="T39" fmla="*/ 36 h 90"/>
                  <a:gd name="T40" fmla="*/ 78 w 78"/>
                  <a:gd name="T41" fmla="*/ 30 h 90"/>
                  <a:gd name="T42" fmla="*/ 78 w 78"/>
                  <a:gd name="T43" fmla="*/ 24 h 90"/>
                  <a:gd name="T44" fmla="*/ 66 w 78"/>
                  <a:gd name="T45" fmla="*/ 18 h 90"/>
                  <a:gd name="T46" fmla="*/ 60 w 78"/>
                  <a:gd name="T47" fmla="*/ 12 h 90"/>
                  <a:gd name="T48" fmla="*/ 60 w 78"/>
                  <a:gd name="T49" fmla="*/ 12 h 90"/>
                  <a:gd name="T50" fmla="*/ 54 w 78"/>
                  <a:gd name="T51" fmla="*/ 18 h 90"/>
                  <a:gd name="T52" fmla="*/ 48 w 78"/>
                  <a:gd name="T53" fmla="*/ 18 h 90"/>
                  <a:gd name="T54" fmla="*/ 48 w 78"/>
                  <a:gd name="T55" fmla="*/ 18 h 90"/>
                  <a:gd name="T56" fmla="*/ 48 w 78"/>
                  <a:gd name="T57" fmla="*/ 12 h 90"/>
                  <a:gd name="T58" fmla="*/ 42 w 78"/>
                  <a:gd name="T59" fmla="*/ 6 h 90"/>
                  <a:gd name="T60" fmla="*/ 42 w 78"/>
                  <a:gd name="T61" fmla="*/ 6 h 90"/>
                  <a:gd name="T62" fmla="*/ 36 w 78"/>
                  <a:gd name="T63" fmla="*/ 12 h 90"/>
                  <a:gd name="T64" fmla="*/ 30 w 78"/>
                  <a:gd name="T65" fmla="*/ 6 h 90"/>
                  <a:gd name="T66" fmla="*/ 30 w 78"/>
                  <a:gd name="T67" fmla="*/ 6 h 90"/>
                  <a:gd name="T68" fmla="*/ 30 w 78"/>
                  <a:gd name="T69" fmla="*/ 0 h 90"/>
                  <a:gd name="T70" fmla="*/ 30 w 78"/>
                  <a:gd name="T71" fmla="*/ 0 h 90"/>
                  <a:gd name="T72" fmla="*/ 24 w 78"/>
                  <a:gd name="T73" fmla="*/ 6 h 90"/>
                  <a:gd name="T74" fmla="*/ 18 w 78"/>
                  <a:gd name="T75" fmla="*/ 6 h 90"/>
                  <a:gd name="T76" fmla="*/ 18 w 78"/>
                  <a:gd name="T77" fmla="*/ 6 h 90"/>
                  <a:gd name="T78" fmla="*/ 18 w 78"/>
                  <a:gd name="T79" fmla="*/ 6 h 90"/>
                  <a:gd name="T80" fmla="*/ 12 w 78"/>
                  <a:gd name="T81" fmla="*/ 6 h 90"/>
                  <a:gd name="T82" fmla="*/ 12 w 78"/>
                  <a:gd name="T83" fmla="*/ 12 h 90"/>
                  <a:gd name="T84" fmla="*/ 12 w 78"/>
                  <a:gd name="T85" fmla="*/ 18 h 90"/>
                  <a:gd name="T86" fmla="*/ 12 w 78"/>
                  <a:gd name="T87" fmla="*/ 24 h 90"/>
                  <a:gd name="T88" fmla="*/ 12 w 78"/>
                  <a:gd name="T89" fmla="*/ 30 h 90"/>
                  <a:gd name="T90" fmla="*/ 12 w 78"/>
                  <a:gd name="T91" fmla="*/ 30 h 90"/>
                  <a:gd name="T92" fmla="*/ 6 w 78"/>
                  <a:gd name="T93" fmla="*/ 36 h 90"/>
                  <a:gd name="T94" fmla="*/ 6 w 78"/>
                  <a:gd name="T95" fmla="*/ 48 h 90"/>
                  <a:gd name="T96" fmla="*/ 0 w 78"/>
                  <a:gd name="T97" fmla="*/ 60 h 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6"/>
                    </a:lnTo>
                    <a:lnTo>
                      <a:pt x="0" y="72"/>
                    </a:lnTo>
                    <a:lnTo>
                      <a:pt x="6" y="72"/>
                    </a:lnTo>
                    <a:lnTo>
                      <a:pt x="6" y="78"/>
                    </a:lnTo>
                    <a:lnTo>
                      <a:pt x="12" y="84"/>
                    </a:lnTo>
                    <a:lnTo>
                      <a:pt x="12" y="90"/>
                    </a:lnTo>
                    <a:lnTo>
                      <a:pt x="18" y="90"/>
                    </a:lnTo>
                    <a:lnTo>
                      <a:pt x="24" y="84"/>
                    </a:lnTo>
                    <a:lnTo>
                      <a:pt x="30" y="78"/>
                    </a:lnTo>
                    <a:lnTo>
                      <a:pt x="36" y="78"/>
                    </a:lnTo>
                    <a:lnTo>
                      <a:pt x="42" y="72"/>
                    </a:lnTo>
                    <a:lnTo>
                      <a:pt x="42" y="60"/>
                    </a:lnTo>
                    <a:lnTo>
                      <a:pt x="48" y="48"/>
                    </a:lnTo>
                    <a:lnTo>
                      <a:pt x="54" y="42"/>
                    </a:lnTo>
                    <a:lnTo>
                      <a:pt x="60" y="36"/>
                    </a:lnTo>
                    <a:lnTo>
                      <a:pt x="78" y="30"/>
                    </a:lnTo>
                    <a:lnTo>
                      <a:pt x="78" y="24"/>
                    </a:lnTo>
                    <a:lnTo>
                      <a:pt x="66" y="18"/>
                    </a:lnTo>
                    <a:lnTo>
                      <a:pt x="60" y="12"/>
                    </a:lnTo>
                    <a:lnTo>
                      <a:pt x="54" y="18"/>
                    </a:lnTo>
                    <a:lnTo>
                      <a:pt x="48" y="18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6" y="12"/>
                    </a:lnTo>
                    <a:lnTo>
                      <a:pt x="30" y="6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30"/>
                    </a:lnTo>
                    <a:lnTo>
                      <a:pt x="6" y="36"/>
                    </a:lnTo>
                    <a:lnTo>
                      <a:pt x="6" y="48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24" name="Freeform 745"/>
              <p:cNvSpPr>
                <a:spLocks/>
              </p:cNvSpPr>
              <p:nvPr/>
            </p:nvSpPr>
            <p:spPr bwMode="auto">
              <a:xfrm>
                <a:off x="3559" y="354"/>
                <a:ext cx="78" cy="90"/>
              </a:xfrm>
              <a:custGeom>
                <a:avLst/>
                <a:gdLst>
                  <a:gd name="T0" fmla="*/ 0 w 78"/>
                  <a:gd name="T1" fmla="*/ 60 h 90"/>
                  <a:gd name="T2" fmla="*/ 0 w 78"/>
                  <a:gd name="T3" fmla="*/ 66 h 90"/>
                  <a:gd name="T4" fmla="*/ 0 w 78"/>
                  <a:gd name="T5" fmla="*/ 72 h 90"/>
                  <a:gd name="T6" fmla="*/ 6 w 78"/>
                  <a:gd name="T7" fmla="*/ 72 h 90"/>
                  <a:gd name="T8" fmla="*/ 6 w 78"/>
                  <a:gd name="T9" fmla="*/ 78 h 90"/>
                  <a:gd name="T10" fmla="*/ 12 w 78"/>
                  <a:gd name="T11" fmla="*/ 84 h 90"/>
                  <a:gd name="T12" fmla="*/ 12 w 78"/>
                  <a:gd name="T13" fmla="*/ 90 h 90"/>
                  <a:gd name="T14" fmla="*/ 18 w 78"/>
                  <a:gd name="T15" fmla="*/ 90 h 90"/>
                  <a:gd name="T16" fmla="*/ 24 w 78"/>
                  <a:gd name="T17" fmla="*/ 84 h 90"/>
                  <a:gd name="T18" fmla="*/ 30 w 78"/>
                  <a:gd name="T19" fmla="*/ 78 h 90"/>
                  <a:gd name="T20" fmla="*/ 36 w 78"/>
                  <a:gd name="T21" fmla="*/ 78 h 90"/>
                  <a:gd name="T22" fmla="*/ 42 w 78"/>
                  <a:gd name="T23" fmla="*/ 72 h 90"/>
                  <a:gd name="T24" fmla="*/ 42 w 78"/>
                  <a:gd name="T25" fmla="*/ 60 h 90"/>
                  <a:gd name="T26" fmla="*/ 48 w 78"/>
                  <a:gd name="T27" fmla="*/ 48 h 90"/>
                  <a:gd name="T28" fmla="*/ 54 w 78"/>
                  <a:gd name="T29" fmla="*/ 42 h 90"/>
                  <a:gd name="T30" fmla="*/ 60 w 78"/>
                  <a:gd name="T31" fmla="*/ 36 h 90"/>
                  <a:gd name="T32" fmla="*/ 78 w 78"/>
                  <a:gd name="T33" fmla="*/ 30 h 90"/>
                  <a:gd name="T34" fmla="*/ 78 w 78"/>
                  <a:gd name="T35" fmla="*/ 24 h 90"/>
                  <a:gd name="T36" fmla="*/ 66 w 78"/>
                  <a:gd name="T37" fmla="*/ 18 h 90"/>
                  <a:gd name="T38" fmla="*/ 60 w 78"/>
                  <a:gd name="T39" fmla="*/ 12 h 90"/>
                  <a:gd name="T40" fmla="*/ 54 w 78"/>
                  <a:gd name="T41" fmla="*/ 18 h 90"/>
                  <a:gd name="T42" fmla="*/ 48 w 78"/>
                  <a:gd name="T43" fmla="*/ 18 h 90"/>
                  <a:gd name="T44" fmla="*/ 48 w 78"/>
                  <a:gd name="T45" fmla="*/ 12 h 90"/>
                  <a:gd name="T46" fmla="*/ 42 w 78"/>
                  <a:gd name="T47" fmla="*/ 6 h 90"/>
                  <a:gd name="T48" fmla="*/ 36 w 78"/>
                  <a:gd name="T49" fmla="*/ 12 h 90"/>
                  <a:gd name="T50" fmla="*/ 30 w 78"/>
                  <a:gd name="T51" fmla="*/ 6 h 90"/>
                  <a:gd name="T52" fmla="*/ 30 w 78"/>
                  <a:gd name="T53" fmla="*/ 0 h 90"/>
                  <a:gd name="T54" fmla="*/ 24 w 78"/>
                  <a:gd name="T55" fmla="*/ 6 h 90"/>
                  <a:gd name="T56" fmla="*/ 18 w 78"/>
                  <a:gd name="T57" fmla="*/ 6 h 90"/>
                  <a:gd name="T58" fmla="*/ 12 w 78"/>
                  <a:gd name="T59" fmla="*/ 6 h 90"/>
                  <a:gd name="T60" fmla="*/ 12 w 78"/>
                  <a:gd name="T61" fmla="*/ 12 h 90"/>
                  <a:gd name="T62" fmla="*/ 12 w 78"/>
                  <a:gd name="T63" fmla="*/ 18 h 90"/>
                  <a:gd name="T64" fmla="*/ 12 w 78"/>
                  <a:gd name="T65" fmla="*/ 24 h 90"/>
                  <a:gd name="T66" fmla="*/ 12 w 78"/>
                  <a:gd name="T67" fmla="*/ 30 h 90"/>
                  <a:gd name="T68" fmla="*/ 6 w 78"/>
                  <a:gd name="T69" fmla="*/ 36 h 90"/>
                  <a:gd name="T70" fmla="*/ 6 w 78"/>
                  <a:gd name="T71" fmla="*/ 48 h 90"/>
                  <a:gd name="T72" fmla="*/ 0 w 78"/>
                  <a:gd name="T73" fmla="*/ 60 h 9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6"/>
                    </a:lnTo>
                    <a:lnTo>
                      <a:pt x="0" y="72"/>
                    </a:lnTo>
                    <a:lnTo>
                      <a:pt x="6" y="72"/>
                    </a:lnTo>
                    <a:lnTo>
                      <a:pt x="6" y="78"/>
                    </a:lnTo>
                    <a:lnTo>
                      <a:pt x="12" y="84"/>
                    </a:lnTo>
                    <a:lnTo>
                      <a:pt x="12" y="90"/>
                    </a:lnTo>
                    <a:lnTo>
                      <a:pt x="18" y="90"/>
                    </a:lnTo>
                    <a:lnTo>
                      <a:pt x="24" y="84"/>
                    </a:lnTo>
                    <a:lnTo>
                      <a:pt x="30" y="78"/>
                    </a:lnTo>
                    <a:lnTo>
                      <a:pt x="36" y="78"/>
                    </a:lnTo>
                    <a:lnTo>
                      <a:pt x="42" y="72"/>
                    </a:lnTo>
                    <a:lnTo>
                      <a:pt x="42" y="60"/>
                    </a:lnTo>
                    <a:lnTo>
                      <a:pt x="48" y="48"/>
                    </a:lnTo>
                    <a:lnTo>
                      <a:pt x="54" y="42"/>
                    </a:lnTo>
                    <a:lnTo>
                      <a:pt x="60" y="36"/>
                    </a:lnTo>
                    <a:lnTo>
                      <a:pt x="78" y="30"/>
                    </a:lnTo>
                    <a:lnTo>
                      <a:pt x="78" y="24"/>
                    </a:lnTo>
                    <a:lnTo>
                      <a:pt x="66" y="18"/>
                    </a:lnTo>
                    <a:lnTo>
                      <a:pt x="60" y="12"/>
                    </a:lnTo>
                    <a:lnTo>
                      <a:pt x="54" y="18"/>
                    </a:lnTo>
                    <a:lnTo>
                      <a:pt x="48" y="18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6" y="12"/>
                    </a:lnTo>
                    <a:lnTo>
                      <a:pt x="30" y="6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2" y="30"/>
                    </a:lnTo>
                    <a:lnTo>
                      <a:pt x="6" y="36"/>
                    </a:lnTo>
                    <a:lnTo>
                      <a:pt x="6" y="48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45" name="Group 746"/>
            <p:cNvGrpSpPr>
              <a:grpSpLocks/>
            </p:cNvGrpSpPr>
            <p:nvPr/>
          </p:nvGrpSpPr>
          <p:grpSpPr bwMode="auto">
            <a:xfrm>
              <a:off x="5563140" y="1455100"/>
              <a:ext cx="353646" cy="236669"/>
              <a:chOff x="3601" y="396"/>
              <a:chExt cx="174" cy="138"/>
            </a:xfrm>
            <a:solidFill>
              <a:srgbClr val="0070C0">
                <a:alpha val="27059"/>
              </a:srgbClr>
            </a:solidFill>
          </p:grpSpPr>
          <p:sp>
            <p:nvSpPr>
              <p:cNvPr id="921" name="Freeform 747"/>
              <p:cNvSpPr>
                <a:spLocks/>
              </p:cNvSpPr>
              <p:nvPr/>
            </p:nvSpPr>
            <p:spPr bwMode="auto">
              <a:xfrm>
                <a:off x="3601" y="396"/>
                <a:ext cx="174" cy="138"/>
              </a:xfrm>
              <a:custGeom>
                <a:avLst/>
                <a:gdLst>
                  <a:gd name="T0" fmla="*/ 24 w 174"/>
                  <a:gd name="T1" fmla="*/ 60 h 138"/>
                  <a:gd name="T2" fmla="*/ 30 w 174"/>
                  <a:gd name="T3" fmla="*/ 54 h 138"/>
                  <a:gd name="T4" fmla="*/ 36 w 174"/>
                  <a:gd name="T5" fmla="*/ 60 h 138"/>
                  <a:gd name="T6" fmla="*/ 18 w 174"/>
                  <a:gd name="T7" fmla="*/ 66 h 138"/>
                  <a:gd name="T8" fmla="*/ 12 w 174"/>
                  <a:gd name="T9" fmla="*/ 66 h 138"/>
                  <a:gd name="T10" fmla="*/ 6 w 174"/>
                  <a:gd name="T11" fmla="*/ 72 h 138"/>
                  <a:gd name="T12" fmla="*/ 6 w 174"/>
                  <a:gd name="T13" fmla="*/ 78 h 138"/>
                  <a:gd name="T14" fmla="*/ 42 w 174"/>
                  <a:gd name="T15" fmla="*/ 78 h 138"/>
                  <a:gd name="T16" fmla="*/ 60 w 174"/>
                  <a:gd name="T17" fmla="*/ 84 h 138"/>
                  <a:gd name="T18" fmla="*/ 60 w 174"/>
                  <a:gd name="T19" fmla="*/ 96 h 138"/>
                  <a:gd name="T20" fmla="*/ 48 w 174"/>
                  <a:gd name="T21" fmla="*/ 96 h 138"/>
                  <a:gd name="T22" fmla="*/ 36 w 174"/>
                  <a:gd name="T23" fmla="*/ 96 h 138"/>
                  <a:gd name="T24" fmla="*/ 30 w 174"/>
                  <a:gd name="T25" fmla="*/ 102 h 138"/>
                  <a:gd name="T26" fmla="*/ 18 w 174"/>
                  <a:gd name="T27" fmla="*/ 102 h 138"/>
                  <a:gd name="T28" fmla="*/ 18 w 174"/>
                  <a:gd name="T29" fmla="*/ 114 h 138"/>
                  <a:gd name="T30" fmla="*/ 36 w 174"/>
                  <a:gd name="T31" fmla="*/ 120 h 138"/>
                  <a:gd name="T32" fmla="*/ 48 w 174"/>
                  <a:gd name="T33" fmla="*/ 132 h 138"/>
                  <a:gd name="T34" fmla="*/ 48 w 174"/>
                  <a:gd name="T35" fmla="*/ 138 h 138"/>
                  <a:gd name="T36" fmla="*/ 90 w 174"/>
                  <a:gd name="T37" fmla="*/ 132 h 138"/>
                  <a:gd name="T38" fmla="*/ 114 w 174"/>
                  <a:gd name="T39" fmla="*/ 120 h 138"/>
                  <a:gd name="T40" fmla="*/ 126 w 174"/>
                  <a:gd name="T41" fmla="*/ 126 h 138"/>
                  <a:gd name="T42" fmla="*/ 138 w 174"/>
                  <a:gd name="T43" fmla="*/ 126 h 138"/>
                  <a:gd name="T44" fmla="*/ 150 w 174"/>
                  <a:gd name="T45" fmla="*/ 126 h 138"/>
                  <a:gd name="T46" fmla="*/ 156 w 174"/>
                  <a:gd name="T47" fmla="*/ 120 h 138"/>
                  <a:gd name="T48" fmla="*/ 144 w 174"/>
                  <a:gd name="T49" fmla="*/ 114 h 138"/>
                  <a:gd name="T50" fmla="*/ 144 w 174"/>
                  <a:gd name="T51" fmla="*/ 108 h 138"/>
                  <a:gd name="T52" fmla="*/ 156 w 174"/>
                  <a:gd name="T53" fmla="*/ 108 h 138"/>
                  <a:gd name="T54" fmla="*/ 168 w 174"/>
                  <a:gd name="T55" fmla="*/ 108 h 138"/>
                  <a:gd name="T56" fmla="*/ 174 w 174"/>
                  <a:gd name="T57" fmla="*/ 102 h 138"/>
                  <a:gd name="T58" fmla="*/ 174 w 174"/>
                  <a:gd name="T59" fmla="*/ 96 h 138"/>
                  <a:gd name="T60" fmla="*/ 162 w 174"/>
                  <a:gd name="T61" fmla="*/ 96 h 138"/>
                  <a:gd name="T62" fmla="*/ 150 w 174"/>
                  <a:gd name="T63" fmla="*/ 90 h 138"/>
                  <a:gd name="T64" fmla="*/ 132 w 174"/>
                  <a:gd name="T65" fmla="*/ 72 h 138"/>
                  <a:gd name="T66" fmla="*/ 126 w 174"/>
                  <a:gd name="T67" fmla="*/ 42 h 138"/>
                  <a:gd name="T68" fmla="*/ 126 w 174"/>
                  <a:gd name="T69" fmla="*/ 24 h 138"/>
                  <a:gd name="T70" fmla="*/ 114 w 174"/>
                  <a:gd name="T71" fmla="*/ 12 h 138"/>
                  <a:gd name="T72" fmla="*/ 108 w 174"/>
                  <a:gd name="T73" fmla="*/ 18 h 138"/>
                  <a:gd name="T74" fmla="*/ 102 w 174"/>
                  <a:gd name="T75" fmla="*/ 30 h 138"/>
                  <a:gd name="T76" fmla="*/ 90 w 174"/>
                  <a:gd name="T77" fmla="*/ 12 h 138"/>
                  <a:gd name="T78" fmla="*/ 84 w 174"/>
                  <a:gd name="T79" fmla="*/ 18 h 138"/>
                  <a:gd name="T80" fmla="*/ 72 w 174"/>
                  <a:gd name="T81" fmla="*/ 24 h 138"/>
                  <a:gd name="T82" fmla="*/ 66 w 174"/>
                  <a:gd name="T83" fmla="*/ 12 h 138"/>
                  <a:gd name="T84" fmla="*/ 60 w 174"/>
                  <a:gd name="T85" fmla="*/ 6 h 138"/>
                  <a:gd name="T86" fmla="*/ 60 w 174"/>
                  <a:gd name="T87" fmla="*/ 24 h 138"/>
                  <a:gd name="T88" fmla="*/ 48 w 174"/>
                  <a:gd name="T89" fmla="*/ 24 h 138"/>
                  <a:gd name="T90" fmla="*/ 48 w 174"/>
                  <a:gd name="T91" fmla="*/ 12 h 138"/>
                  <a:gd name="T92" fmla="*/ 42 w 174"/>
                  <a:gd name="T93" fmla="*/ 0 h 138"/>
                  <a:gd name="T94" fmla="*/ 36 w 174"/>
                  <a:gd name="T95" fmla="*/ 0 h 138"/>
                  <a:gd name="T96" fmla="*/ 6 w 174"/>
                  <a:gd name="T97" fmla="*/ 18 h 138"/>
                  <a:gd name="T98" fmla="*/ 6 w 174"/>
                  <a:gd name="T99" fmla="*/ 36 h 138"/>
                  <a:gd name="T100" fmla="*/ 0 w 174"/>
                  <a:gd name="T101" fmla="*/ 42 h 138"/>
                  <a:gd name="T102" fmla="*/ 0 w 174"/>
                  <a:gd name="T103" fmla="*/ 48 h 138"/>
                  <a:gd name="T104" fmla="*/ 18 w 174"/>
                  <a:gd name="T105" fmla="*/ 60 h 13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74" h="138">
                    <a:moveTo>
                      <a:pt x="18" y="60"/>
                    </a:moveTo>
                    <a:lnTo>
                      <a:pt x="24" y="60"/>
                    </a:lnTo>
                    <a:lnTo>
                      <a:pt x="30" y="60"/>
                    </a:lnTo>
                    <a:lnTo>
                      <a:pt x="30" y="54"/>
                    </a:lnTo>
                    <a:lnTo>
                      <a:pt x="30" y="60"/>
                    </a:lnTo>
                    <a:lnTo>
                      <a:pt x="36" y="60"/>
                    </a:lnTo>
                    <a:lnTo>
                      <a:pt x="30" y="66"/>
                    </a:lnTo>
                    <a:lnTo>
                      <a:pt x="18" y="66"/>
                    </a:lnTo>
                    <a:lnTo>
                      <a:pt x="12" y="66"/>
                    </a:lnTo>
                    <a:lnTo>
                      <a:pt x="6" y="66"/>
                    </a:lnTo>
                    <a:lnTo>
                      <a:pt x="6" y="72"/>
                    </a:lnTo>
                    <a:lnTo>
                      <a:pt x="6" y="78"/>
                    </a:lnTo>
                    <a:lnTo>
                      <a:pt x="24" y="78"/>
                    </a:lnTo>
                    <a:lnTo>
                      <a:pt x="42" y="78"/>
                    </a:lnTo>
                    <a:lnTo>
                      <a:pt x="54" y="78"/>
                    </a:lnTo>
                    <a:lnTo>
                      <a:pt x="60" y="84"/>
                    </a:lnTo>
                    <a:lnTo>
                      <a:pt x="60" y="96"/>
                    </a:lnTo>
                    <a:lnTo>
                      <a:pt x="60" y="102"/>
                    </a:lnTo>
                    <a:lnTo>
                      <a:pt x="48" y="96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24" y="96"/>
                    </a:lnTo>
                    <a:lnTo>
                      <a:pt x="18" y="102"/>
                    </a:lnTo>
                    <a:lnTo>
                      <a:pt x="12" y="108"/>
                    </a:lnTo>
                    <a:lnTo>
                      <a:pt x="18" y="114"/>
                    </a:lnTo>
                    <a:lnTo>
                      <a:pt x="24" y="120"/>
                    </a:lnTo>
                    <a:lnTo>
                      <a:pt x="36" y="120"/>
                    </a:lnTo>
                    <a:lnTo>
                      <a:pt x="42" y="126"/>
                    </a:lnTo>
                    <a:lnTo>
                      <a:pt x="48" y="132"/>
                    </a:lnTo>
                    <a:lnTo>
                      <a:pt x="48" y="138"/>
                    </a:lnTo>
                    <a:lnTo>
                      <a:pt x="72" y="138"/>
                    </a:lnTo>
                    <a:lnTo>
                      <a:pt x="90" y="132"/>
                    </a:lnTo>
                    <a:lnTo>
                      <a:pt x="108" y="120"/>
                    </a:lnTo>
                    <a:lnTo>
                      <a:pt x="114" y="120"/>
                    </a:lnTo>
                    <a:lnTo>
                      <a:pt x="126" y="126"/>
                    </a:lnTo>
                    <a:lnTo>
                      <a:pt x="132" y="132"/>
                    </a:lnTo>
                    <a:lnTo>
                      <a:pt x="138" y="126"/>
                    </a:lnTo>
                    <a:lnTo>
                      <a:pt x="144" y="132"/>
                    </a:lnTo>
                    <a:lnTo>
                      <a:pt x="150" y="126"/>
                    </a:lnTo>
                    <a:lnTo>
                      <a:pt x="156" y="126"/>
                    </a:lnTo>
                    <a:lnTo>
                      <a:pt x="156" y="120"/>
                    </a:lnTo>
                    <a:lnTo>
                      <a:pt x="156" y="114"/>
                    </a:lnTo>
                    <a:lnTo>
                      <a:pt x="144" y="114"/>
                    </a:lnTo>
                    <a:lnTo>
                      <a:pt x="144" y="108"/>
                    </a:lnTo>
                    <a:lnTo>
                      <a:pt x="150" y="108"/>
                    </a:lnTo>
                    <a:lnTo>
                      <a:pt x="156" y="108"/>
                    </a:lnTo>
                    <a:lnTo>
                      <a:pt x="162" y="108"/>
                    </a:lnTo>
                    <a:lnTo>
                      <a:pt x="168" y="108"/>
                    </a:lnTo>
                    <a:lnTo>
                      <a:pt x="174" y="102"/>
                    </a:lnTo>
                    <a:lnTo>
                      <a:pt x="174" y="96"/>
                    </a:lnTo>
                    <a:lnTo>
                      <a:pt x="168" y="96"/>
                    </a:lnTo>
                    <a:lnTo>
                      <a:pt x="162" y="96"/>
                    </a:lnTo>
                    <a:lnTo>
                      <a:pt x="156" y="90"/>
                    </a:lnTo>
                    <a:lnTo>
                      <a:pt x="150" y="90"/>
                    </a:lnTo>
                    <a:lnTo>
                      <a:pt x="138" y="84"/>
                    </a:lnTo>
                    <a:lnTo>
                      <a:pt x="132" y="72"/>
                    </a:lnTo>
                    <a:lnTo>
                      <a:pt x="126" y="60"/>
                    </a:lnTo>
                    <a:lnTo>
                      <a:pt x="126" y="42"/>
                    </a:lnTo>
                    <a:lnTo>
                      <a:pt x="126" y="36"/>
                    </a:lnTo>
                    <a:lnTo>
                      <a:pt x="126" y="24"/>
                    </a:lnTo>
                    <a:lnTo>
                      <a:pt x="120" y="18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08" y="18"/>
                    </a:lnTo>
                    <a:lnTo>
                      <a:pt x="102" y="24"/>
                    </a:lnTo>
                    <a:lnTo>
                      <a:pt x="102" y="30"/>
                    </a:lnTo>
                    <a:lnTo>
                      <a:pt x="96" y="18"/>
                    </a:lnTo>
                    <a:lnTo>
                      <a:pt x="90" y="12"/>
                    </a:lnTo>
                    <a:lnTo>
                      <a:pt x="84" y="12"/>
                    </a:lnTo>
                    <a:lnTo>
                      <a:pt x="84" y="18"/>
                    </a:lnTo>
                    <a:lnTo>
                      <a:pt x="78" y="24"/>
                    </a:lnTo>
                    <a:lnTo>
                      <a:pt x="72" y="24"/>
                    </a:lnTo>
                    <a:lnTo>
                      <a:pt x="72" y="18"/>
                    </a:lnTo>
                    <a:lnTo>
                      <a:pt x="66" y="12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60" y="12"/>
                    </a:lnTo>
                    <a:lnTo>
                      <a:pt x="60" y="24"/>
                    </a:lnTo>
                    <a:lnTo>
                      <a:pt x="54" y="24"/>
                    </a:lnTo>
                    <a:lnTo>
                      <a:pt x="48" y="24"/>
                    </a:lnTo>
                    <a:lnTo>
                      <a:pt x="48" y="12"/>
                    </a:lnTo>
                    <a:lnTo>
                      <a:pt x="48" y="6"/>
                    </a:lnTo>
                    <a:lnTo>
                      <a:pt x="42" y="0"/>
                    </a:lnTo>
                    <a:lnTo>
                      <a:pt x="36" y="0"/>
                    </a:lnTo>
                    <a:lnTo>
                      <a:pt x="18" y="12"/>
                    </a:lnTo>
                    <a:lnTo>
                      <a:pt x="6" y="18"/>
                    </a:lnTo>
                    <a:lnTo>
                      <a:pt x="6" y="30"/>
                    </a:lnTo>
                    <a:lnTo>
                      <a:pt x="6" y="36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18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22" name="Freeform 748"/>
              <p:cNvSpPr>
                <a:spLocks/>
              </p:cNvSpPr>
              <p:nvPr/>
            </p:nvSpPr>
            <p:spPr bwMode="auto">
              <a:xfrm>
                <a:off x="3601" y="396"/>
                <a:ext cx="174" cy="138"/>
              </a:xfrm>
              <a:custGeom>
                <a:avLst/>
                <a:gdLst>
                  <a:gd name="T0" fmla="*/ 24 w 174"/>
                  <a:gd name="T1" fmla="*/ 60 h 138"/>
                  <a:gd name="T2" fmla="*/ 30 w 174"/>
                  <a:gd name="T3" fmla="*/ 54 h 138"/>
                  <a:gd name="T4" fmla="*/ 36 w 174"/>
                  <a:gd name="T5" fmla="*/ 60 h 138"/>
                  <a:gd name="T6" fmla="*/ 18 w 174"/>
                  <a:gd name="T7" fmla="*/ 66 h 138"/>
                  <a:gd name="T8" fmla="*/ 6 w 174"/>
                  <a:gd name="T9" fmla="*/ 66 h 138"/>
                  <a:gd name="T10" fmla="*/ 6 w 174"/>
                  <a:gd name="T11" fmla="*/ 78 h 138"/>
                  <a:gd name="T12" fmla="*/ 42 w 174"/>
                  <a:gd name="T13" fmla="*/ 78 h 138"/>
                  <a:gd name="T14" fmla="*/ 60 w 174"/>
                  <a:gd name="T15" fmla="*/ 84 h 138"/>
                  <a:gd name="T16" fmla="*/ 60 w 174"/>
                  <a:gd name="T17" fmla="*/ 102 h 138"/>
                  <a:gd name="T18" fmla="*/ 36 w 174"/>
                  <a:gd name="T19" fmla="*/ 96 h 138"/>
                  <a:gd name="T20" fmla="*/ 24 w 174"/>
                  <a:gd name="T21" fmla="*/ 96 h 138"/>
                  <a:gd name="T22" fmla="*/ 12 w 174"/>
                  <a:gd name="T23" fmla="*/ 108 h 138"/>
                  <a:gd name="T24" fmla="*/ 24 w 174"/>
                  <a:gd name="T25" fmla="*/ 120 h 138"/>
                  <a:gd name="T26" fmla="*/ 42 w 174"/>
                  <a:gd name="T27" fmla="*/ 126 h 138"/>
                  <a:gd name="T28" fmla="*/ 48 w 174"/>
                  <a:gd name="T29" fmla="*/ 138 h 138"/>
                  <a:gd name="T30" fmla="*/ 90 w 174"/>
                  <a:gd name="T31" fmla="*/ 132 h 138"/>
                  <a:gd name="T32" fmla="*/ 114 w 174"/>
                  <a:gd name="T33" fmla="*/ 120 h 138"/>
                  <a:gd name="T34" fmla="*/ 132 w 174"/>
                  <a:gd name="T35" fmla="*/ 132 h 138"/>
                  <a:gd name="T36" fmla="*/ 144 w 174"/>
                  <a:gd name="T37" fmla="*/ 132 h 138"/>
                  <a:gd name="T38" fmla="*/ 156 w 174"/>
                  <a:gd name="T39" fmla="*/ 126 h 138"/>
                  <a:gd name="T40" fmla="*/ 156 w 174"/>
                  <a:gd name="T41" fmla="*/ 114 h 138"/>
                  <a:gd name="T42" fmla="*/ 144 w 174"/>
                  <a:gd name="T43" fmla="*/ 108 h 138"/>
                  <a:gd name="T44" fmla="*/ 156 w 174"/>
                  <a:gd name="T45" fmla="*/ 108 h 138"/>
                  <a:gd name="T46" fmla="*/ 168 w 174"/>
                  <a:gd name="T47" fmla="*/ 108 h 138"/>
                  <a:gd name="T48" fmla="*/ 174 w 174"/>
                  <a:gd name="T49" fmla="*/ 96 h 138"/>
                  <a:gd name="T50" fmla="*/ 162 w 174"/>
                  <a:gd name="T51" fmla="*/ 96 h 138"/>
                  <a:gd name="T52" fmla="*/ 150 w 174"/>
                  <a:gd name="T53" fmla="*/ 90 h 138"/>
                  <a:gd name="T54" fmla="*/ 132 w 174"/>
                  <a:gd name="T55" fmla="*/ 72 h 138"/>
                  <a:gd name="T56" fmla="*/ 126 w 174"/>
                  <a:gd name="T57" fmla="*/ 42 h 138"/>
                  <a:gd name="T58" fmla="*/ 126 w 174"/>
                  <a:gd name="T59" fmla="*/ 24 h 138"/>
                  <a:gd name="T60" fmla="*/ 114 w 174"/>
                  <a:gd name="T61" fmla="*/ 12 h 138"/>
                  <a:gd name="T62" fmla="*/ 108 w 174"/>
                  <a:gd name="T63" fmla="*/ 18 h 138"/>
                  <a:gd name="T64" fmla="*/ 102 w 174"/>
                  <a:gd name="T65" fmla="*/ 30 h 138"/>
                  <a:gd name="T66" fmla="*/ 90 w 174"/>
                  <a:gd name="T67" fmla="*/ 12 h 138"/>
                  <a:gd name="T68" fmla="*/ 84 w 174"/>
                  <a:gd name="T69" fmla="*/ 18 h 138"/>
                  <a:gd name="T70" fmla="*/ 72 w 174"/>
                  <a:gd name="T71" fmla="*/ 24 h 138"/>
                  <a:gd name="T72" fmla="*/ 66 w 174"/>
                  <a:gd name="T73" fmla="*/ 12 h 138"/>
                  <a:gd name="T74" fmla="*/ 60 w 174"/>
                  <a:gd name="T75" fmla="*/ 6 h 138"/>
                  <a:gd name="T76" fmla="*/ 60 w 174"/>
                  <a:gd name="T77" fmla="*/ 24 h 138"/>
                  <a:gd name="T78" fmla="*/ 48 w 174"/>
                  <a:gd name="T79" fmla="*/ 24 h 138"/>
                  <a:gd name="T80" fmla="*/ 48 w 174"/>
                  <a:gd name="T81" fmla="*/ 6 h 138"/>
                  <a:gd name="T82" fmla="*/ 36 w 174"/>
                  <a:gd name="T83" fmla="*/ 0 h 138"/>
                  <a:gd name="T84" fmla="*/ 6 w 174"/>
                  <a:gd name="T85" fmla="*/ 18 h 138"/>
                  <a:gd name="T86" fmla="*/ 6 w 174"/>
                  <a:gd name="T87" fmla="*/ 36 h 138"/>
                  <a:gd name="T88" fmla="*/ 0 w 174"/>
                  <a:gd name="T89" fmla="*/ 42 h 138"/>
                  <a:gd name="T90" fmla="*/ 0 w 174"/>
                  <a:gd name="T91" fmla="*/ 54 h 13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74" h="138">
                    <a:moveTo>
                      <a:pt x="18" y="60"/>
                    </a:moveTo>
                    <a:lnTo>
                      <a:pt x="24" y="60"/>
                    </a:lnTo>
                    <a:lnTo>
                      <a:pt x="30" y="60"/>
                    </a:lnTo>
                    <a:lnTo>
                      <a:pt x="30" y="54"/>
                    </a:lnTo>
                    <a:lnTo>
                      <a:pt x="30" y="60"/>
                    </a:lnTo>
                    <a:lnTo>
                      <a:pt x="36" y="60"/>
                    </a:lnTo>
                    <a:lnTo>
                      <a:pt x="30" y="66"/>
                    </a:lnTo>
                    <a:lnTo>
                      <a:pt x="18" y="66"/>
                    </a:lnTo>
                    <a:lnTo>
                      <a:pt x="12" y="66"/>
                    </a:lnTo>
                    <a:lnTo>
                      <a:pt x="6" y="66"/>
                    </a:lnTo>
                    <a:lnTo>
                      <a:pt x="6" y="72"/>
                    </a:lnTo>
                    <a:lnTo>
                      <a:pt x="6" y="78"/>
                    </a:lnTo>
                    <a:lnTo>
                      <a:pt x="24" y="78"/>
                    </a:lnTo>
                    <a:lnTo>
                      <a:pt x="42" y="78"/>
                    </a:lnTo>
                    <a:lnTo>
                      <a:pt x="54" y="78"/>
                    </a:lnTo>
                    <a:lnTo>
                      <a:pt x="60" y="84"/>
                    </a:lnTo>
                    <a:lnTo>
                      <a:pt x="60" y="96"/>
                    </a:lnTo>
                    <a:lnTo>
                      <a:pt x="60" y="102"/>
                    </a:lnTo>
                    <a:lnTo>
                      <a:pt x="48" y="96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24" y="96"/>
                    </a:lnTo>
                    <a:lnTo>
                      <a:pt x="18" y="102"/>
                    </a:lnTo>
                    <a:lnTo>
                      <a:pt x="12" y="108"/>
                    </a:lnTo>
                    <a:lnTo>
                      <a:pt x="18" y="114"/>
                    </a:lnTo>
                    <a:lnTo>
                      <a:pt x="24" y="120"/>
                    </a:lnTo>
                    <a:lnTo>
                      <a:pt x="36" y="120"/>
                    </a:lnTo>
                    <a:lnTo>
                      <a:pt x="42" y="126"/>
                    </a:lnTo>
                    <a:lnTo>
                      <a:pt x="48" y="132"/>
                    </a:lnTo>
                    <a:lnTo>
                      <a:pt x="48" y="138"/>
                    </a:lnTo>
                    <a:lnTo>
                      <a:pt x="72" y="138"/>
                    </a:lnTo>
                    <a:lnTo>
                      <a:pt x="90" y="132"/>
                    </a:lnTo>
                    <a:lnTo>
                      <a:pt x="108" y="120"/>
                    </a:lnTo>
                    <a:lnTo>
                      <a:pt x="114" y="120"/>
                    </a:lnTo>
                    <a:lnTo>
                      <a:pt x="126" y="126"/>
                    </a:lnTo>
                    <a:lnTo>
                      <a:pt x="132" y="132"/>
                    </a:lnTo>
                    <a:lnTo>
                      <a:pt x="138" y="126"/>
                    </a:lnTo>
                    <a:lnTo>
                      <a:pt x="144" y="132"/>
                    </a:lnTo>
                    <a:lnTo>
                      <a:pt x="150" y="126"/>
                    </a:lnTo>
                    <a:lnTo>
                      <a:pt x="156" y="126"/>
                    </a:lnTo>
                    <a:lnTo>
                      <a:pt x="156" y="120"/>
                    </a:lnTo>
                    <a:lnTo>
                      <a:pt x="156" y="114"/>
                    </a:lnTo>
                    <a:lnTo>
                      <a:pt x="144" y="114"/>
                    </a:lnTo>
                    <a:lnTo>
                      <a:pt x="144" y="108"/>
                    </a:lnTo>
                    <a:lnTo>
                      <a:pt x="150" y="108"/>
                    </a:lnTo>
                    <a:lnTo>
                      <a:pt x="156" y="108"/>
                    </a:lnTo>
                    <a:lnTo>
                      <a:pt x="162" y="108"/>
                    </a:lnTo>
                    <a:lnTo>
                      <a:pt x="168" y="108"/>
                    </a:lnTo>
                    <a:lnTo>
                      <a:pt x="174" y="102"/>
                    </a:lnTo>
                    <a:lnTo>
                      <a:pt x="174" y="96"/>
                    </a:lnTo>
                    <a:lnTo>
                      <a:pt x="168" y="96"/>
                    </a:lnTo>
                    <a:lnTo>
                      <a:pt x="162" y="96"/>
                    </a:lnTo>
                    <a:lnTo>
                      <a:pt x="156" y="90"/>
                    </a:lnTo>
                    <a:lnTo>
                      <a:pt x="150" y="90"/>
                    </a:lnTo>
                    <a:lnTo>
                      <a:pt x="138" y="84"/>
                    </a:lnTo>
                    <a:lnTo>
                      <a:pt x="132" y="72"/>
                    </a:lnTo>
                    <a:lnTo>
                      <a:pt x="126" y="60"/>
                    </a:lnTo>
                    <a:lnTo>
                      <a:pt x="126" y="42"/>
                    </a:lnTo>
                    <a:lnTo>
                      <a:pt x="126" y="36"/>
                    </a:lnTo>
                    <a:lnTo>
                      <a:pt x="126" y="24"/>
                    </a:lnTo>
                    <a:lnTo>
                      <a:pt x="120" y="18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08" y="18"/>
                    </a:lnTo>
                    <a:lnTo>
                      <a:pt x="102" y="24"/>
                    </a:lnTo>
                    <a:lnTo>
                      <a:pt x="102" y="30"/>
                    </a:lnTo>
                    <a:lnTo>
                      <a:pt x="96" y="18"/>
                    </a:lnTo>
                    <a:lnTo>
                      <a:pt x="90" y="12"/>
                    </a:lnTo>
                    <a:lnTo>
                      <a:pt x="84" y="12"/>
                    </a:lnTo>
                    <a:lnTo>
                      <a:pt x="84" y="18"/>
                    </a:lnTo>
                    <a:lnTo>
                      <a:pt x="78" y="24"/>
                    </a:lnTo>
                    <a:lnTo>
                      <a:pt x="72" y="24"/>
                    </a:lnTo>
                    <a:lnTo>
                      <a:pt x="72" y="18"/>
                    </a:lnTo>
                    <a:lnTo>
                      <a:pt x="66" y="12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60" y="12"/>
                    </a:lnTo>
                    <a:lnTo>
                      <a:pt x="60" y="24"/>
                    </a:lnTo>
                    <a:lnTo>
                      <a:pt x="54" y="24"/>
                    </a:lnTo>
                    <a:lnTo>
                      <a:pt x="48" y="24"/>
                    </a:lnTo>
                    <a:lnTo>
                      <a:pt x="48" y="12"/>
                    </a:lnTo>
                    <a:lnTo>
                      <a:pt x="48" y="6"/>
                    </a:lnTo>
                    <a:lnTo>
                      <a:pt x="42" y="0"/>
                    </a:lnTo>
                    <a:lnTo>
                      <a:pt x="36" y="0"/>
                    </a:lnTo>
                    <a:lnTo>
                      <a:pt x="18" y="12"/>
                    </a:lnTo>
                    <a:lnTo>
                      <a:pt x="6" y="18"/>
                    </a:lnTo>
                    <a:lnTo>
                      <a:pt x="6" y="30"/>
                    </a:lnTo>
                    <a:lnTo>
                      <a:pt x="6" y="36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18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46" name="Group 749"/>
            <p:cNvGrpSpPr>
              <a:grpSpLocks/>
            </p:cNvGrpSpPr>
            <p:nvPr/>
          </p:nvGrpSpPr>
          <p:grpSpPr bwMode="auto">
            <a:xfrm>
              <a:off x="5574672" y="1175953"/>
              <a:ext cx="171057" cy="123391"/>
              <a:chOff x="3607" y="234"/>
              <a:chExt cx="84" cy="72"/>
            </a:xfrm>
            <a:solidFill>
              <a:srgbClr val="0070C0">
                <a:alpha val="27059"/>
              </a:srgbClr>
            </a:solidFill>
          </p:grpSpPr>
          <p:sp>
            <p:nvSpPr>
              <p:cNvPr id="919" name="Freeform 750"/>
              <p:cNvSpPr>
                <a:spLocks/>
              </p:cNvSpPr>
              <p:nvPr/>
            </p:nvSpPr>
            <p:spPr bwMode="auto">
              <a:xfrm>
                <a:off x="3607" y="234"/>
                <a:ext cx="84" cy="72"/>
              </a:xfrm>
              <a:custGeom>
                <a:avLst/>
                <a:gdLst>
                  <a:gd name="T0" fmla="*/ 42 w 84"/>
                  <a:gd name="T1" fmla="*/ 18 h 72"/>
                  <a:gd name="T2" fmla="*/ 30 w 84"/>
                  <a:gd name="T3" fmla="*/ 30 h 72"/>
                  <a:gd name="T4" fmla="*/ 24 w 84"/>
                  <a:gd name="T5" fmla="*/ 42 h 72"/>
                  <a:gd name="T6" fmla="*/ 12 w 84"/>
                  <a:gd name="T7" fmla="*/ 54 h 72"/>
                  <a:gd name="T8" fmla="*/ 0 w 84"/>
                  <a:gd name="T9" fmla="*/ 54 h 72"/>
                  <a:gd name="T10" fmla="*/ 0 w 84"/>
                  <a:gd name="T11" fmla="*/ 54 h 72"/>
                  <a:gd name="T12" fmla="*/ 0 w 84"/>
                  <a:gd name="T13" fmla="*/ 66 h 72"/>
                  <a:gd name="T14" fmla="*/ 12 w 84"/>
                  <a:gd name="T15" fmla="*/ 66 h 72"/>
                  <a:gd name="T16" fmla="*/ 18 w 84"/>
                  <a:gd name="T17" fmla="*/ 72 h 72"/>
                  <a:gd name="T18" fmla="*/ 30 w 84"/>
                  <a:gd name="T19" fmla="*/ 66 h 72"/>
                  <a:gd name="T20" fmla="*/ 30 w 84"/>
                  <a:gd name="T21" fmla="*/ 66 h 72"/>
                  <a:gd name="T22" fmla="*/ 36 w 84"/>
                  <a:gd name="T23" fmla="*/ 72 h 72"/>
                  <a:gd name="T24" fmla="*/ 42 w 84"/>
                  <a:gd name="T25" fmla="*/ 66 h 72"/>
                  <a:gd name="T26" fmla="*/ 48 w 84"/>
                  <a:gd name="T27" fmla="*/ 60 h 72"/>
                  <a:gd name="T28" fmla="*/ 54 w 84"/>
                  <a:gd name="T29" fmla="*/ 54 h 72"/>
                  <a:gd name="T30" fmla="*/ 54 w 84"/>
                  <a:gd name="T31" fmla="*/ 48 h 72"/>
                  <a:gd name="T32" fmla="*/ 60 w 84"/>
                  <a:gd name="T33" fmla="*/ 48 h 72"/>
                  <a:gd name="T34" fmla="*/ 66 w 84"/>
                  <a:gd name="T35" fmla="*/ 48 h 72"/>
                  <a:gd name="T36" fmla="*/ 78 w 84"/>
                  <a:gd name="T37" fmla="*/ 42 h 72"/>
                  <a:gd name="T38" fmla="*/ 78 w 84"/>
                  <a:gd name="T39" fmla="*/ 42 h 72"/>
                  <a:gd name="T40" fmla="*/ 78 w 84"/>
                  <a:gd name="T41" fmla="*/ 36 h 72"/>
                  <a:gd name="T42" fmla="*/ 78 w 84"/>
                  <a:gd name="T43" fmla="*/ 36 h 72"/>
                  <a:gd name="T44" fmla="*/ 78 w 84"/>
                  <a:gd name="T45" fmla="*/ 30 h 72"/>
                  <a:gd name="T46" fmla="*/ 78 w 84"/>
                  <a:gd name="T47" fmla="*/ 24 h 72"/>
                  <a:gd name="T48" fmla="*/ 78 w 84"/>
                  <a:gd name="T49" fmla="*/ 24 h 72"/>
                  <a:gd name="T50" fmla="*/ 78 w 84"/>
                  <a:gd name="T51" fmla="*/ 24 h 72"/>
                  <a:gd name="T52" fmla="*/ 84 w 84"/>
                  <a:gd name="T53" fmla="*/ 18 h 72"/>
                  <a:gd name="T54" fmla="*/ 84 w 84"/>
                  <a:gd name="T55" fmla="*/ 12 h 72"/>
                  <a:gd name="T56" fmla="*/ 84 w 84"/>
                  <a:gd name="T57" fmla="*/ 12 h 72"/>
                  <a:gd name="T58" fmla="*/ 84 w 84"/>
                  <a:gd name="T59" fmla="*/ 6 h 72"/>
                  <a:gd name="T60" fmla="*/ 72 w 84"/>
                  <a:gd name="T61" fmla="*/ 0 h 72"/>
                  <a:gd name="T62" fmla="*/ 66 w 84"/>
                  <a:gd name="T63" fmla="*/ 12 h 72"/>
                  <a:gd name="T64" fmla="*/ 54 w 84"/>
                  <a:gd name="T65" fmla="*/ 12 h 72"/>
                  <a:gd name="T66" fmla="*/ 48 w 84"/>
                  <a:gd name="T67" fmla="*/ 12 h 72"/>
                  <a:gd name="T68" fmla="*/ 42 w 84"/>
                  <a:gd name="T69" fmla="*/ 18 h 7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84" h="72">
                    <a:moveTo>
                      <a:pt x="42" y="18"/>
                    </a:moveTo>
                    <a:lnTo>
                      <a:pt x="30" y="30"/>
                    </a:lnTo>
                    <a:lnTo>
                      <a:pt x="24" y="42"/>
                    </a:lnTo>
                    <a:lnTo>
                      <a:pt x="12" y="5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12" y="66"/>
                    </a:lnTo>
                    <a:lnTo>
                      <a:pt x="18" y="72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42" y="66"/>
                    </a:lnTo>
                    <a:lnTo>
                      <a:pt x="48" y="60"/>
                    </a:lnTo>
                    <a:lnTo>
                      <a:pt x="54" y="54"/>
                    </a:lnTo>
                    <a:lnTo>
                      <a:pt x="54" y="48"/>
                    </a:lnTo>
                    <a:lnTo>
                      <a:pt x="60" y="48"/>
                    </a:lnTo>
                    <a:lnTo>
                      <a:pt x="66" y="48"/>
                    </a:lnTo>
                    <a:lnTo>
                      <a:pt x="78" y="42"/>
                    </a:lnTo>
                    <a:lnTo>
                      <a:pt x="78" y="36"/>
                    </a:lnTo>
                    <a:lnTo>
                      <a:pt x="78" y="30"/>
                    </a:lnTo>
                    <a:lnTo>
                      <a:pt x="78" y="24"/>
                    </a:lnTo>
                    <a:lnTo>
                      <a:pt x="84" y="18"/>
                    </a:lnTo>
                    <a:lnTo>
                      <a:pt x="84" y="12"/>
                    </a:lnTo>
                    <a:lnTo>
                      <a:pt x="84" y="6"/>
                    </a:lnTo>
                    <a:lnTo>
                      <a:pt x="72" y="0"/>
                    </a:lnTo>
                    <a:lnTo>
                      <a:pt x="66" y="12"/>
                    </a:lnTo>
                    <a:lnTo>
                      <a:pt x="54" y="12"/>
                    </a:lnTo>
                    <a:lnTo>
                      <a:pt x="48" y="12"/>
                    </a:lnTo>
                    <a:lnTo>
                      <a:pt x="42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20" name="Freeform 751"/>
              <p:cNvSpPr>
                <a:spLocks/>
              </p:cNvSpPr>
              <p:nvPr/>
            </p:nvSpPr>
            <p:spPr bwMode="auto">
              <a:xfrm>
                <a:off x="3607" y="234"/>
                <a:ext cx="84" cy="72"/>
              </a:xfrm>
              <a:custGeom>
                <a:avLst/>
                <a:gdLst>
                  <a:gd name="T0" fmla="*/ 42 w 84"/>
                  <a:gd name="T1" fmla="*/ 18 h 72"/>
                  <a:gd name="T2" fmla="*/ 30 w 84"/>
                  <a:gd name="T3" fmla="*/ 30 h 72"/>
                  <a:gd name="T4" fmla="*/ 24 w 84"/>
                  <a:gd name="T5" fmla="*/ 42 h 72"/>
                  <a:gd name="T6" fmla="*/ 12 w 84"/>
                  <a:gd name="T7" fmla="*/ 54 h 72"/>
                  <a:gd name="T8" fmla="*/ 0 w 84"/>
                  <a:gd name="T9" fmla="*/ 54 h 72"/>
                  <a:gd name="T10" fmla="*/ 0 w 84"/>
                  <a:gd name="T11" fmla="*/ 66 h 72"/>
                  <a:gd name="T12" fmla="*/ 12 w 84"/>
                  <a:gd name="T13" fmla="*/ 66 h 72"/>
                  <a:gd name="T14" fmla="*/ 18 w 84"/>
                  <a:gd name="T15" fmla="*/ 72 h 72"/>
                  <a:gd name="T16" fmla="*/ 30 w 84"/>
                  <a:gd name="T17" fmla="*/ 66 h 72"/>
                  <a:gd name="T18" fmla="*/ 36 w 84"/>
                  <a:gd name="T19" fmla="*/ 72 h 72"/>
                  <a:gd name="T20" fmla="*/ 42 w 84"/>
                  <a:gd name="T21" fmla="*/ 66 h 72"/>
                  <a:gd name="T22" fmla="*/ 48 w 84"/>
                  <a:gd name="T23" fmla="*/ 60 h 72"/>
                  <a:gd name="T24" fmla="*/ 54 w 84"/>
                  <a:gd name="T25" fmla="*/ 54 h 72"/>
                  <a:gd name="T26" fmla="*/ 54 w 84"/>
                  <a:gd name="T27" fmla="*/ 48 h 72"/>
                  <a:gd name="T28" fmla="*/ 60 w 84"/>
                  <a:gd name="T29" fmla="*/ 48 h 72"/>
                  <a:gd name="T30" fmla="*/ 66 w 84"/>
                  <a:gd name="T31" fmla="*/ 48 h 72"/>
                  <a:gd name="T32" fmla="*/ 78 w 84"/>
                  <a:gd name="T33" fmla="*/ 42 h 72"/>
                  <a:gd name="T34" fmla="*/ 78 w 84"/>
                  <a:gd name="T35" fmla="*/ 36 h 72"/>
                  <a:gd name="T36" fmla="*/ 78 w 84"/>
                  <a:gd name="T37" fmla="*/ 30 h 72"/>
                  <a:gd name="T38" fmla="*/ 78 w 84"/>
                  <a:gd name="T39" fmla="*/ 24 h 72"/>
                  <a:gd name="T40" fmla="*/ 84 w 84"/>
                  <a:gd name="T41" fmla="*/ 18 h 72"/>
                  <a:gd name="T42" fmla="*/ 84 w 84"/>
                  <a:gd name="T43" fmla="*/ 12 h 72"/>
                  <a:gd name="T44" fmla="*/ 84 w 84"/>
                  <a:gd name="T45" fmla="*/ 6 h 72"/>
                  <a:gd name="T46" fmla="*/ 72 w 84"/>
                  <a:gd name="T47" fmla="*/ 0 h 72"/>
                  <a:gd name="T48" fmla="*/ 66 w 84"/>
                  <a:gd name="T49" fmla="*/ 12 h 72"/>
                  <a:gd name="T50" fmla="*/ 54 w 84"/>
                  <a:gd name="T51" fmla="*/ 12 h 72"/>
                  <a:gd name="T52" fmla="*/ 48 w 84"/>
                  <a:gd name="T53" fmla="*/ 12 h 72"/>
                  <a:gd name="T54" fmla="*/ 42 w 84"/>
                  <a:gd name="T55" fmla="*/ 18 h 7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4" h="72">
                    <a:moveTo>
                      <a:pt x="42" y="18"/>
                    </a:moveTo>
                    <a:lnTo>
                      <a:pt x="30" y="30"/>
                    </a:lnTo>
                    <a:lnTo>
                      <a:pt x="24" y="42"/>
                    </a:lnTo>
                    <a:lnTo>
                      <a:pt x="12" y="5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12" y="66"/>
                    </a:lnTo>
                    <a:lnTo>
                      <a:pt x="18" y="72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42" y="66"/>
                    </a:lnTo>
                    <a:lnTo>
                      <a:pt x="48" y="60"/>
                    </a:lnTo>
                    <a:lnTo>
                      <a:pt x="54" y="54"/>
                    </a:lnTo>
                    <a:lnTo>
                      <a:pt x="54" y="48"/>
                    </a:lnTo>
                    <a:lnTo>
                      <a:pt x="60" y="48"/>
                    </a:lnTo>
                    <a:lnTo>
                      <a:pt x="66" y="48"/>
                    </a:lnTo>
                    <a:lnTo>
                      <a:pt x="78" y="42"/>
                    </a:lnTo>
                    <a:lnTo>
                      <a:pt x="78" y="36"/>
                    </a:lnTo>
                    <a:lnTo>
                      <a:pt x="78" y="30"/>
                    </a:lnTo>
                    <a:lnTo>
                      <a:pt x="78" y="24"/>
                    </a:lnTo>
                    <a:lnTo>
                      <a:pt x="84" y="18"/>
                    </a:lnTo>
                    <a:lnTo>
                      <a:pt x="84" y="12"/>
                    </a:lnTo>
                    <a:lnTo>
                      <a:pt x="84" y="6"/>
                    </a:lnTo>
                    <a:lnTo>
                      <a:pt x="72" y="0"/>
                    </a:lnTo>
                    <a:lnTo>
                      <a:pt x="66" y="12"/>
                    </a:lnTo>
                    <a:lnTo>
                      <a:pt x="54" y="12"/>
                    </a:lnTo>
                    <a:lnTo>
                      <a:pt x="48" y="12"/>
                    </a:lnTo>
                    <a:lnTo>
                      <a:pt x="42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47" name="Group 752"/>
            <p:cNvGrpSpPr>
              <a:grpSpLocks/>
            </p:cNvGrpSpPr>
            <p:nvPr/>
          </p:nvGrpSpPr>
          <p:grpSpPr bwMode="auto">
            <a:xfrm>
              <a:off x="5745729" y="1125382"/>
              <a:ext cx="36518" cy="40456"/>
              <a:chOff x="3691" y="204"/>
              <a:chExt cx="18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917" name="Freeform 753"/>
              <p:cNvSpPr>
                <a:spLocks/>
              </p:cNvSpPr>
              <p:nvPr/>
            </p:nvSpPr>
            <p:spPr bwMode="auto">
              <a:xfrm>
                <a:off x="3691" y="204"/>
                <a:ext cx="18" cy="24"/>
              </a:xfrm>
              <a:custGeom>
                <a:avLst/>
                <a:gdLst>
                  <a:gd name="T0" fmla="*/ 12 w 18"/>
                  <a:gd name="T1" fmla="*/ 6 h 24"/>
                  <a:gd name="T2" fmla="*/ 6 w 18"/>
                  <a:gd name="T3" fmla="*/ 6 h 24"/>
                  <a:gd name="T4" fmla="*/ 6 w 18"/>
                  <a:gd name="T5" fmla="*/ 0 h 24"/>
                  <a:gd name="T6" fmla="*/ 0 w 18"/>
                  <a:gd name="T7" fmla="*/ 6 h 24"/>
                  <a:gd name="T8" fmla="*/ 0 w 18"/>
                  <a:gd name="T9" fmla="*/ 18 h 24"/>
                  <a:gd name="T10" fmla="*/ 6 w 18"/>
                  <a:gd name="T11" fmla="*/ 24 h 24"/>
                  <a:gd name="T12" fmla="*/ 12 w 18"/>
                  <a:gd name="T13" fmla="*/ 24 h 24"/>
                  <a:gd name="T14" fmla="*/ 12 w 18"/>
                  <a:gd name="T15" fmla="*/ 18 h 24"/>
                  <a:gd name="T16" fmla="*/ 18 w 18"/>
                  <a:gd name="T17" fmla="*/ 18 h 24"/>
                  <a:gd name="T18" fmla="*/ 12 w 18"/>
                  <a:gd name="T19" fmla="*/ 12 h 24"/>
                  <a:gd name="T20" fmla="*/ 12 w 18"/>
                  <a:gd name="T21" fmla="*/ 6 h 24"/>
                  <a:gd name="T22" fmla="*/ 12 w 18"/>
                  <a:gd name="T23" fmla="*/ 6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8" h="24">
                    <a:moveTo>
                      <a:pt x="12" y="6"/>
                    </a:moveTo>
                    <a:lnTo>
                      <a:pt x="6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12" y="12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18" name="Freeform 754"/>
              <p:cNvSpPr>
                <a:spLocks/>
              </p:cNvSpPr>
              <p:nvPr/>
            </p:nvSpPr>
            <p:spPr bwMode="auto">
              <a:xfrm>
                <a:off x="3691" y="204"/>
                <a:ext cx="18" cy="24"/>
              </a:xfrm>
              <a:custGeom>
                <a:avLst/>
                <a:gdLst>
                  <a:gd name="T0" fmla="*/ 12 w 18"/>
                  <a:gd name="T1" fmla="*/ 6 h 24"/>
                  <a:gd name="T2" fmla="*/ 6 w 18"/>
                  <a:gd name="T3" fmla="*/ 6 h 24"/>
                  <a:gd name="T4" fmla="*/ 6 w 18"/>
                  <a:gd name="T5" fmla="*/ 0 h 24"/>
                  <a:gd name="T6" fmla="*/ 0 w 18"/>
                  <a:gd name="T7" fmla="*/ 6 h 24"/>
                  <a:gd name="T8" fmla="*/ 0 w 18"/>
                  <a:gd name="T9" fmla="*/ 18 h 24"/>
                  <a:gd name="T10" fmla="*/ 6 w 18"/>
                  <a:gd name="T11" fmla="*/ 24 h 24"/>
                  <a:gd name="T12" fmla="*/ 12 w 18"/>
                  <a:gd name="T13" fmla="*/ 24 h 24"/>
                  <a:gd name="T14" fmla="*/ 12 w 18"/>
                  <a:gd name="T15" fmla="*/ 18 h 24"/>
                  <a:gd name="T16" fmla="*/ 18 w 18"/>
                  <a:gd name="T17" fmla="*/ 18 h 24"/>
                  <a:gd name="T18" fmla="*/ 12 w 18"/>
                  <a:gd name="T19" fmla="*/ 12 h 24"/>
                  <a:gd name="T20" fmla="*/ 12 w 18"/>
                  <a:gd name="T21" fmla="*/ 6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8" h="24">
                    <a:moveTo>
                      <a:pt x="12" y="6"/>
                    </a:moveTo>
                    <a:lnTo>
                      <a:pt x="6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12" y="12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48" name="Group 755"/>
            <p:cNvGrpSpPr>
              <a:grpSpLocks/>
            </p:cNvGrpSpPr>
            <p:nvPr/>
          </p:nvGrpSpPr>
          <p:grpSpPr bwMode="auto">
            <a:xfrm>
              <a:off x="5782247" y="1082903"/>
              <a:ext cx="98021" cy="52593"/>
              <a:chOff x="3709" y="180"/>
              <a:chExt cx="48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915" name="Freeform 756"/>
              <p:cNvSpPr>
                <a:spLocks/>
              </p:cNvSpPr>
              <p:nvPr/>
            </p:nvSpPr>
            <p:spPr bwMode="auto">
              <a:xfrm>
                <a:off x="3709" y="180"/>
                <a:ext cx="48" cy="30"/>
              </a:xfrm>
              <a:custGeom>
                <a:avLst/>
                <a:gdLst>
                  <a:gd name="T0" fmla="*/ 6 w 48"/>
                  <a:gd name="T1" fmla="*/ 6 h 30"/>
                  <a:gd name="T2" fmla="*/ 0 w 48"/>
                  <a:gd name="T3" fmla="*/ 12 h 30"/>
                  <a:gd name="T4" fmla="*/ 0 w 48"/>
                  <a:gd name="T5" fmla="*/ 18 h 30"/>
                  <a:gd name="T6" fmla="*/ 6 w 48"/>
                  <a:gd name="T7" fmla="*/ 24 h 30"/>
                  <a:gd name="T8" fmla="*/ 12 w 48"/>
                  <a:gd name="T9" fmla="*/ 18 h 30"/>
                  <a:gd name="T10" fmla="*/ 18 w 48"/>
                  <a:gd name="T11" fmla="*/ 18 h 30"/>
                  <a:gd name="T12" fmla="*/ 18 w 48"/>
                  <a:gd name="T13" fmla="*/ 18 h 30"/>
                  <a:gd name="T14" fmla="*/ 24 w 48"/>
                  <a:gd name="T15" fmla="*/ 24 h 30"/>
                  <a:gd name="T16" fmla="*/ 30 w 48"/>
                  <a:gd name="T17" fmla="*/ 30 h 30"/>
                  <a:gd name="T18" fmla="*/ 36 w 48"/>
                  <a:gd name="T19" fmla="*/ 30 h 30"/>
                  <a:gd name="T20" fmla="*/ 48 w 48"/>
                  <a:gd name="T21" fmla="*/ 24 h 30"/>
                  <a:gd name="T22" fmla="*/ 48 w 48"/>
                  <a:gd name="T23" fmla="*/ 18 h 30"/>
                  <a:gd name="T24" fmla="*/ 48 w 48"/>
                  <a:gd name="T25" fmla="*/ 12 h 30"/>
                  <a:gd name="T26" fmla="*/ 48 w 48"/>
                  <a:gd name="T27" fmla="*/ 12 h 30"/>
                  <a:gd name="T28" fmla="*/ 42 w 48"/>
                  <a:gd name="T29" fmla="*/ 6 h 30"/>
                  <a:gd name="T30" fmla="*/ 30 w 48"/>
                  <a:gd name="T31" fmla="*/ 0 h 30"/>
                  <a:gd name="T32" fmla="*/ 30 w 48"/>
                  <a:gd name="T33" fmla="*/ 0 h 30"/>
                  <a:gd name="T34" fmla="*/ 24 w 48"/>
                  <a:gd name="T35" fmla="*/ 0 h 30"/>
                  <a:gd name="T36" fmla="*/ 18 w 48"/>
                  <a:gd name="T37" fmla="*/ 0 h 30"/>
                  <a:gd name="T38" fmla="*/ 6 w 48"/>
                  <a:gd name="T39" fmla="*/ 6 h 3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8" h="30">
                    <a:moveTo>
                      <a:pt x="6" y="6"/>
                    </a:moveTo>
                    <a:lnTo>
                      <a:pt x="0" y="12"/>
                    </a:lnTo>
                    <a:lnTo>
                      <a:pt x="0" y="18"/>
                    </a:lnTo>
                    <a:lnTo>
                      <a:pt x="6" y="24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24" y="24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8" y="24"/>
                    </a:lnTo>
                    <a:lnTo>
                      <a:pt x="48" y="18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16" name="Freeform 757"/>
              <p:cNvSpPr>
                <a:spLocks/>
              </p:cNvSpPr>
              <p:nvPr/>
            </p:nvSpPr>
            <p:spPr bwMode="auto">
              <a:xfrm>
                <a:off x="3709" y="180"/>
                <a:ext cx="48" cy="30"/>
              </a:xfrm>
              <a:custGeom>
                <a:avLst/>
                <a:gdLst>
                  <a:gd name="T0" fmla="*/ 6 w 48"/>
                  <a:gd name="T1" fmla="*/ 6 h 30"/>
                  <a:gd name="T2" fmla="*/ 0 w 48"/>
                  <a:gd name="T3" fmla="*/ 12 h 30"/>
                  <a:gd name="T4" fmla="*/ 0 w 48"/>
                  <a:gd name="T5" fmla="*/ 18 h 30"/>
                  <a:gd name="T6" fmla="*/ 6 w 48"/>
                  <a:gd name="T7" fmla="*/ 24 h 30"/>
                  <a:gd name="T8" fmla="*/ 12 w 48"/>
                  <a:gd name="T9" fmla="*/ 18 h 30"/>
                  <a:gd name="T10" fmla="*/ 18 w 48"/>
                  <a:gd name="T11" fmla="*/ 18 h 30"/>
                  <a:gd name="T12" fmla="*/ 24 w 48"/>
                  <a:gd name="T13" fmla="*/ 24 h 30"/>
                  <a:gd name="T14" fmla="*/ 30 w 48"/>
                  <a:gd name="T15" fmla="*/ 30 h 30"/>
                  <a:gd name="T16" fmla="*/ 36 w 48"/>
                  <a:gd name="T17" fmla="*/ 30 h 30"/>
                  <a:gd name="T18" fmla="*/ 48 w 48"/>
                  <a:gd name="T19" fmla="*/ 24 h 30"/>
                  <a:gd name="T20" fmla="*/ 48 w 48"/>
                  <a:gd name="T21" fmla="*/ 18 h 30"/>
                  <a:gd name="T22" fmla="*/ 48 w 48"/>
                  <a:gd name="T23" fmla="*/ 12 h 30"/>
                  <a:gd name="T24" fmla="*/ 42 w 48"/>
                  <a:gd name="T25" fmla="*/ 6 h 30"/>
                  <a:gd name="T26" fmla="*/ 30 w 48"/>
                  <a:gd name="T27" fmla="*/ 0 h 30"/>
                  <a:gd name="T28" fmla="*/ 24 w 48"/>
                  <a:gd name="T29" fmla="*/ 0 h 30"/>
                  <a:gd name="T30" fmla="*/ 18 w 48"/>
                  <a:gd name="T31" fmla="*/ 0 h 30"/>
                  <a:gd name="T32" fmla="*/ 6 w 48"/>
                  <a:gd name="T33" fmla="*/ 6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8" h="30">
                    <a:moveTo>
                      <a:pt x="6" y="6"/>
                    </a:moveTo>
                    <a:lnTo>
                      <a:pt x="0" y="12"/>
                    </a:lnTo>
                    <a:lnTo>
                      <a:pt x="0" y="18"/>
                    </a:lnTo>
                    <a:lnTo>
                      <a:pt x="6" y="24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24" y="24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8" y="24"/>
                    </a:lnTo>
                    <a:lnTo>
                      <a:pt x="48" y="18"/>
                    </a:lnTo>
                    <a:lnTo>
                      <a:pt x="48" y="12"/>
                    </a:lnTo>
                    <a:lnTo>
                      <a:pt x="42" y="6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49" name="Group 758"/>
            <p:cNvGrpSpPr>
              <a:grpSpLocks/>
            </p:cNvGrpSpPr>
            <p:nvPr/>
          </p:nvGrpSpPr>
          <p:grpSpPr bwMode="auto">
            <a:xfrm>
              <a:off x="5782247" y="1145610"/>
              <a:ext cx="86489" cy="52593"/>
              <a:chOff x="3709" y="216"/>
              <a:chExt cx="42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913" name="Freeform 759"/>
              <p:cNvSpPr>
                <a:spLocks/>
              </p:cNvSpPr>
              <p:nvPr/>
            </p:nvSpPr>
            <p:spPr bwMode="auto">
              <a:xfrm>
                <a:off x="3709" y="216"/>
                <a:ext cx="42" cy="30"/>
              </a:xfrm>
              <a:custGeom>
                <a:avLst/>
                <a:gdLst>
                  <a:gd name="T0" fmla="*/ 6 w 42"/>
                  <a:gd name="T1" fmla="*/ 0 h 30"/>
                  <a:gd name="T2" fmla="*/ 0 w 42"/>
                  <a:gd name="T3" fmla="*/ 12 h 30"/>
                  <a:gd name="T4" fmla="*/ 0 w 42"/>
                  <a:gd name="T5" fmla="*/ 18 h 30"/>
                  <a:gd name="T6" fmla="*/ 6 w 42"/>
                  <a:gd name="T7" fmla="*/ 30 h 30"/>
                  <a:gd name="T8" fmla="*/ 12 w 42"/>
                  <a:gd name="T9" fmla="*/ 30 h 30"/>
                  <a:gd name="T10" fmla="*/ 24 w 42"/>
                  <a:gd name="T11" fmla="*/ 24 h 30"/>
                  <a:gd name="T12" fmla="*/ 30 w 42"/>
                  <a:gd name="T13" fmla="*/ 18 h 30"/>
                  <a:gd name="T14" fmla="*/ 36 w 42"/>
                  <a:gd name="T15" fmla="*/ 18 h 30"/>
                  <a:gd name="T16" fmla="*/ 36 w 42"/>
                  <a:gd name="T17" fmla="*/ 18 h 30"/>
                  <a:gd name="T18" fmla="*/ 42 w 42"/>
                  <a:gd name="T19" fmla="*/ 18 h 30"/>
                  <a:gd name="T20" fmla="*/ 42 w 42"/>
                  <a:gd name="T21" fmla="*/ 12 h 30"/>
                  <a:gd name="T22" fmla="*/ 42 w 42"/>
                  <a:gd name="T23" fmla="*/ 6 h 30"/>
                  <a:gd name="T24" fmla="*/ 36 w 42"/>
                  <a:gd name="T25" fmla="*/ 6 h 30"/>
                  <a:gd name="T26" fmla="*/ 18 w 42"/>
                  <a:gd name="T27" fmla="*/ 6 h 30"/>
                  <a:gd name="T28" fmla="*/ 6 w 42"/>
                  <a:gd name="T29" fmla="*/ 0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2" h="30">
                    <a:moveTo>
                      <a:pt x="6" y="0"/>
                    </a:moveTo>
                    <a:lnTo>
                      <a:pt x="0" y="12"/>
                    </a:lnTo>
                    <a:lnTo>
                      <a:pt x="0" y="18"/>
                    </a:lnTo>
                    <a:lnTo>
                      <a:pt x="6" y="30"/>
                    </a:lnTo>
                    <a:lnTo>
                      <a:pt x="12" y="30"/>
                    </a:lnTo>
                    <a:lnTo>
                      <a:pt x="24" y="24"/>
                    </a:lnTo>
                    <a:lnTo>
                      <a:pt x="30" y="18"/>
                    </a:lnTo>
                    <a:lnTo>
                      <a:pt x="36" y="18"/>
                    </a:lnTo>
                    <a:lnTo>
                      <a:pt x="42" y="18"/>
                    </a:lnTo>
                    <a:lnTo>
                      <a:pt x="42" y="12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18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14" name="Freeform 760"/>
              <p:cNvSpPr>
                <a:spLocks/>
              </p:cNvSpPr>
              <p:nvPr/>
            </p:nvSpPr>
            <p:spPr bwMode="auto">
              <a:xfrm>
                <a:off x="3709" y="216"/>
                <a:ext cx="42" cy="30"/>
              </a:xfrm>
              <a:custGeom>
                <a:avLst/>
                <a:gdLst>
                  <a:gd name="T0" fmla="*/ 6 w 42"/>
                  <a:gd name="T1" fmla="*/ 0 h 30"/>
                  <a:gd name="T2" fmla="*/ 0 w 42"/>
                  <a:gd name="T3" fmla="*/ 12 h 30"/>
                  <a:gd name="T4" fmla="*/ 0 w 42"/>
                  <a:gd name="T5" fmla="*/ 18 h 30"/>
                  <a:gd name="T6" fmla="*/ 6 w 42"/>
                  <a:gd name="T7" fmla="*/ 30 h 30"/>
                  <a:gd name="T8" fmla="*/ 12 w 42"/>
                  <a:gd name="T9" fmla="*/ 30 h 30"/>
                  <a:gd name="T10" fmla="*/ 24 w 42"/>
                  <a:gd name="T11" fmla="*/ 24 h 30"/>
                  <a:gd name="T12" fmla="*/ 30 w 42"/>
                  <a:gd name="T13" fmla="*/ 18 h 30"/>
                  <a:gd name="T14" fmla="*/ 36 w 42"/>
                  <a:gd name="T15" fmla="*/ 18 h 30"/>
                  <a:gd name="T16" fmla="*/ 42 w 42"/>
                  <a:gd name="T17" fmla="*/ 18 h 30"/>
                  <a:gd name="T18" fmla="*/ 42 w 42"/>
                  <a:gd name="T19" fmla="*/ 12 h 30"/>
                  <a:gd name="T20" fmla="*/ 42 w 42"/>
                  <a:gd name="T21" fmla="*/ 6 h 30"/>
                  <a:gd name="T22" fmla="*/ 36 w 42"/>
                  <a:gd name="T23" fmla="*/ 6 h 30"/>
                  <a:gd name="T24" fmla="*/ 18 w 42"/>
                  <a:gd name="T25" fmla="*/ 6 h 30"/>
                  <a:gd name="T26" fmla="*/ 6 w 42"/>
                  <a:gd name="T27" fmla="*/ 0 h 3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2" h="30">
                    <a:moveTo>
                      <a:pt x="6" y="0"/>
                    </a:moveTo>
                    <a:lnTo>
                      <a:pt x="0" y="12"/>
                    </a:lnTo>
                    <a:lnTo>
                      <a:pt x="0" y="18"/>
                    </a:lnTo>
                    <a:lnTo>
                      <a:pt x="6" y="30"/>
                    </a:lnTo>
                    <a:lnTo>
                      <a:pt x="12" y="30"/>
                    </a:lnTo>
                    <a:lnTo>
                      <a:pt x="24" y="24"/>
                    </a:lnTo>
                    <a:lnTo>
                      <a:pt x="30" y="18"/>
                    </a:lnTo>
                    <a:lnTo>
                      <a:pt x="36" y="18"/>
                    </a:lnTo>
                    <a:lnTo>
                      <a:pt x="42" y="18"/>
                    </a:lnTo>
                    <a:lnTo>
                      <a:pt x="42" y="12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18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50" name="Group 761"/>
            <p:cNvGrpSpPr>
              <a:grpSpLocks/>
            </p:cNvGrpSpPr>
            <p:nvPr/>
          </p:nvGrpSpPr>
          <p:grpSpPr bwMode="auto">
            <a:xfrm>
              <a:off x="5672694" y="1291253"/>
              <a:ext cx="24986" cy="30342"/>
              <a:chOff x="3655" y="300"/>
              <a:chExt cx="12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911" name="Freeform 762"/>
              <p:cNvSpPr>
                <a:spLocks/>
              </p:cNvSpPr>
              <p:nvPr/>
            </p:nvSpPr>
            <p:spPr bwMode="auto">
              <a:xfrm>
                <a:off x="3655" y="300"/>
                <a:ext cx="12" cy="18"/>
              </a:xfrm>
              <a:custGeom>
                <a:avLst/>
                <a:gdLst>
                  <a:gd name="T0" fmla="*/ 12 w 12"/>
                  <a:gd name="T1" fmla="*/ 0 h 18"/>
                  <a:gd name="T2" fmla="*/ 0 w 12"/>
                  <a:gd name="T3" fmla="*/ 6 h 18"/>
                  <a:gd name="T4" fmla="*/ 0 w 12"/>
                  <a:gd name="T5" fmla="*/ 12 h 18"/>
                  <a:gd name="T6" fmla="*/ 0 w 12"/>
                  <a:gd name="T7" fmla="*/ 18 h 18"/>
                  <a:gd name="T8" fmla="*/ 6 w 12"/>
                  <a:gd name="T9" fmla="*/ 18 h 18"/>
                  <a:gd name="T10" fmla="*/ 12 w 12"/>
                  <a:gd name="T11" fmla="*/ 18 h 18"/>
                  <a:gd name="T12" fmla="*/ 12 w 12"/>
                  <a:gd name="T13" fmla="*/ 12 h 18"/>
                  <a:gd name="T14" fmla="*/ 12 w 12"/>
                  <a:gd name="T15" fmla="*/ 6 h 18"/>
                  <a:gd name="T16" fmla="*/ 12 w 12"/>
                  <a:gd name="T17" fmla="*/ 0 h 18"/>
                  <a:gd name="T18" fmla="*/ 12 w 12"/>
                  <a:gd name="T19" fmla="*/ 0 h 1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2" h="18">
                    <a:moveTo>
                      <a:pt x="12" y="0"/>
                    </a:move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12" name="Freeform 763"/>
              <p:cNvSpPr>
                <a:spLocks/>
              </p:cNvSpPr>
              <p:nvPr/>
            </p:nvSpPr>
            <p:spPr bwMode="auto">
              <a:xfrm>
                <a:off x="3655" y="300"/>
                <a:ext cx="12" cy="18"/>
              </a:xfrm>
              <a:custGeom>
                <a:avLst/>
                <a:gdLst>
                  <a:gd name="T0" fmla="*/ 12 w 12"/>
                  <a:gd name="T1" fmla="*/ 0 h 18"/>
                  <a:gd name="T2" fmla="*/ 0 w 12"/>
                  <a:gd name="T3" fmla="*/ 6 h 18"/>
                  <a:gd name="T4" fmla="*/ 0 w 12"/>
                  <a:gd name="T5" fmla="*/ 12 h 18"/>
                  <a:gd name="T6" fmla="*/ 0 w 12"/>
                  <a:gd name="T7" fmla="*/ 18 h 18"/>
                  <a:gd name="T8" fmla="*/ 6 w 12"/>
                  <a:gd name="T9" fmla="*/ 18 h 18"/>
                  <a:gd name="T10" fmla="*/ 12 w 12"/>
                  <a:gd name="T11" fmla="*/ 18 h 18"/>
                  <a:gd name="T12" fmla="*/ 12 w 12"/>
                  <a:gd name="T13" fmla="*/ 12 h 18"/>
                  <a:gd name="T14" fmla="*/ 12 w 12"/>
                  <a:gd name="T15" fmla="*/ 6 h 18"/>
                  <a:gd name="T16" fmla="*/ 12 w 12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8">
                    <a:moveTo>
                      <a:pt x="12" y="0"/>
                    </a:move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51" name="Group 764"/>
            <p:cNvGrpSpPr>
              <a:grpSpLocks/>
            </p:cNvGrpSpPr>
            <p:nvPr/>
          </p:nvGrpSpPr>
          <p:grpSpPr bwMode="auto">
            <a:xfrm>
              <a:off x="5672694" y="1311481"/>
              <a:ext cx="171057" cy="113277"/>
              <a:chOff x="3655" y="312"/>
              <a:chExt cx="84" cy="66"/>
            </a:xfrm>
            <a:solidFill>
              <a:srgbClr val="0070C0">
                <a:alpha val="27059"/>
              </a:srgbClr>
            </a:solidFill>
          </p:grpSpPr>
          <p:sp>
            <p:nvSpPr>
              <p:cNvPr id="909" name="Freeform 765"/>
              <p:cNvSpPr>
                <a:spLocks/>
              </p:cNvSpPr>
              <p:nvPr/>
            </p:nvSpPr>
            <p:spPr bwMode="auto">
              <a:xfrm>
                <a:off x="3655" y="312"/>
                <a:ext cx="84" cy="66"/>
              </a:xfrm>
              <a:custGeom>
                <a:avLst/>
                <a:gdLst>
                  <a:gd name="T0" fmla="*/ 18 w 84"/>
                  <a:gd name="T1" fmla="*/ 18 h 66"/>
                  <a:gd name="T2" fmla="*/ 18 w 84"/>
                  <a:gd name="T3" fmla="*/ 18 h 66"/>
                  <a:gd name="T4" fmla="*/ 12 w 84"/>
                  <a:gd name="T5" fmla="*/ 12 h 66"/>
                  <a:gd name="T6" fmla="*/ 6 w 84"/>
                  <a:gd name="T7" fmla="*/ 12 h 66"/>
                  <a:gd name="T8" fmla="*/ 6 w 84"/>
                  <a:gd name="T9" fmla="*/ 18 h 66"/>
                  <a:gd name="T10" fmla="*/ 6 w 84"/>
                  <a:gd name="T11" fmla="*/ 24 h 66"/>
                  <a:gd name="T12" fmla="*/ 6 w 84"/>
                  <a:gd name="T13" fmla="*/ 24 h 66"/>
                  <a:gd name="T14" fmla="*/ 0 w 84"/>
                  <a:gd name="T15" fmla="*/ 36 h 66"/>
                  <a:gd name="T16" fmla="*/ 0 w 84"/>
                  <a:gd name="T17" fmla="*/ 42 h 66"/>
                  <a:gd name="T18" fmla="*/ 0 w 84"/>
                  <a:gd name="T19" fmla="*/ 42 h 66"/>
                  <a:gd name="T20" fmla="*/ 0 w 84"/>
                  <a:gd name="T21" fmla="*/ 48 h 66"/>
                  <a:gd name="T22" fmla="*/ 6 w 84"/>
                  <a:gd name="T23" fmla="*/ 54 h 66"/>
                  <a:gd name="T24" fmla="*/ 12 w 84"/>
                  <a:gd name="T25" fmla="*/ 54 h 66"/>
                  <a:gd name="T26" fmla="*/ 18 w 84"/>
                  <a:gd name="T27" fmla="*/ 54 h 66"/>
                  <a:gd name="T28" fmla="*/ 18 w 84"/>
                  <a:gd name="T29" fmla="*/ 48 h 66"/>
                  <a:gd name="T30" fmla="*/ 18 w 84"/>
                  <a:gd name="T31" fmla="*/ 48 h 66"/>
                  <a:gd name="T32" fmla="*/ 18 w 84"/>
                  <a:gd name="T33" fmla="*/ 48 h 66"/>
                  <a:gd name="T34" fmla="*/ 24 w 84"/>
                  <a:gd name="T35" fmla="*/ 54 h 66"/>
                  <a:gd name="T36" fmla="*/ 30 w 84"/>
                  <a:gd name="T37" fmla="*/ 54 h 66"/>
                  <a:gd name="T38" fmla="*/ 36 w 84"/>
                  <a:gd name="T39" fmla="*/ 48 h 66"/>
                  <a:gd name="T40" fmla="*/ 42 w 84"/>
                  <a:gd name="T41" fmla="*/ 48 h 66"/>
                  <a:gd name="T42" fmla="*/ 42 w 84"/>
                  <a:gd name="T43" fmla="*/ 54 h 66"/>
                  <a:gd name="T44" fmla="*/ 36 w 84"/>
                  <a:gd name="T45" fmla="*/ 54 h 66"/>
                  <a:gd name="T46" fmla="*/ 36 w 84"/>
                  <a:gd name="T47" fmla="*/ 54 h 66"/>
                  <a:gd name="T48" fmla="*/ 24 w 84"/>
                  <a:gd name="T49" fmla="*/ 60 h 66"/>
                  <a:gd name="T50" fmla="*/ 18 w 84"/>
                  <a:gd name="T51" fmla="*/ 66 h 66"/>
                  <a:gd name="T52" fmla="*/ 24 w 84"/>
                  <a:gd name="T53" fmla="*/ 66 h 66"/>
                  <a:gd name="T54" fmla="*/ 36 w 84"/>
                  <a:gd name="T55" fmla="*/ 66 h 66"/>
                  <a:gd name="T56" fmla="*/ 42 w 84"/>
                  <a:gd name="T57" fmla="*/ 66 h 66"/>
                  <a:gd name="T58" fmla="*/ 48 w 84"/>
                  <a:gd name="T59" fmla="*/ 60 h 66"/>
                  <a:gd name="T60" fmla="*/ 54 w 84"/>
                  <a:gd name="T61" fmla="*/ 60 h 66"/>
                  <a:gd name="T62" fmla="*/ 54 w 84"/>
                  <a:gd name="T63" fmla="*/ 54 h 66"/>
                  <a:gd name="T64" fmla="*/ 54 w 84"/>
                  <a:gd name="T65" fmla="*/ 54 h 66"/>
                  <a:gd name="T66" fmla="*/ 60 w 84"/>
                  <a:gd name="T67" fmla="*/ 54 h 66"/>
                  <a:gd name="T68" fmla="*/ 60 w 84"/>
                  <a:gd name="T69" fmla="*/ 54 h 66"/>
                  <a:gd name="T70" fmla="*/ 66 w 84"/>
                  <a:gd name="T71" fmla="*/ 54 h 66"/>
                  <a:gd name="T72" fmla="*/ 72 w 84"/>
                  <a:gd name="T73" fmla="*/ 54 h 66"/>
                  <a:gd name="T74" fmla="*/ 72 w 84"/>
                  <a:gd name="T75" fmla="*/ 54 h 66"/>
                  <a:gd name="T76" fmla="*/ 78 w 84"/>
                  <a:gd name="T77" fmla="*/ 54 h 66"/>
                  <a:gd name="T78" fmla="*/ 84 w 84"/>
                  <a:gd name="T79" fmla="*/ 42 h 66"/>
                  <a:gd name="T80" fmla="*/ 84 w 84"/>
                  <a:gd name="T81" fmla="*/ 30 h 66"/>
                  <a:gd name="T82" fmla="*/ 84 w 84"/>
                  <a:gd name="T83" fmla="*/ 30 h 66"/>
                  <a:gd name="T84" fmla="*/ 78 w 84"/>
                  <a:gd name="T85" fmla="*/ 24 h 66"/>
                  <a:gd name="T86" fmla="*/ 72 w 84"/>
                  <a:gd name="T87" fmla="*/ 30 h 66"/>
                  <a:gd name="T88" fmla="*/ 66 w 84"/>
                  <a:gd name="T89" fmla="*/ 30 h 66"/>
                  <a:gd name="T90" fmla="*/ 66 w 84"/>
                  <a:gd name="T91" fmla="*/ 24 h 66"/>
                  <a:gd name="T92" fmla="*/ 60 w 84"/>
                  <a:gd name="T93" fmla="*/ 12 h 66"/>
                  <a:gd name="T94" fmla="*/ 60 w 84"/>
                  <a:gd name="T95" fmla="*/ 0 h 66"/>
                  <a:gd name="T96" fmla="*/ 48 w 84"/>
                  <a:gd name="T97" fmla="*/ 6 h 66"/>
                  <a:gd name="T98" fmla="*/ 48 w 84"/>
                  <a:gd name="T99" fmla="*/ 6 h 66"/>
                  <a:gd name="T100" fmla="*/ 48 w 84"/>
                  <a:gd name="T101" fmla="*/ 18 h 66"/>
                  <a:gd name="T102" fmla="*/ 48 w 84"/>
                  <a:gd name="T103" fmla="*/ 18 h 66"/>
                  <a:gd name="T104" fmla="*/ 48 w 84"/>
                  <a:gd name="T105" fmla="*/ 24 h 66"/>
                  <a:gd name="T106" fmla="*/ 42 w 84"/>
                  <a:gd name="T107" fmla="*/ 30 h 66"/>
                  <a:gd name="T108" fmla="*/ 42 w 84"/>
                  <a:gd name="T109" fmla="*/ 36 h 66"/>
                  <a:gd name="T110" fmla="*/ 36 w 84"/>
                  <a:gd name="T111" fmla="*/ 36 h 66"/>
                  <a:gd name="T112" fmla="*/ 36 w 84"/>
                  <a:gd name="T113" fmla="*/ 24 h 66"/>
                  <a:gd name="T114" fmla="*/ 36 w 84"/>
                  <a:gd name="T115" fmla="*/ 24 h 66"/>
                  <a:gd name="T116" fmla="*/ 30 w 84"/>
                  <a:gd name="T117" fmla="*/ 18 h 66"/>
                  <a:gd name="T118" fmla="*/ 30 w 84"/>
                  <a:gd name="T119" fmla="*/ 18 h 66"/>
                  <a:gd name="T120" fmla="*/ 24 w 84"/>
                  <a:gd name="T121" fmla="*/ 24 h 66"/>
                  <a:gd name="T122" fmla="*/ 24 w 84"/>
                  <a:gd name="T123" fmla="*/ 24 h 66"/>
                  <a:gd name="T124" fmla="*/ 18 w 84"/>
                  <a:gd name="T125" fmla="*/ 18 h 6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84" h="66">
                    <a:moveTo>
                      <a:pt x="18" y="18"/>
                    </a:moveTo>
                    <a:lnTo>
                      <a:pt x="18" y="18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18" y="54"/>
                    </a:lnTo>
                    <a:lnTo>
                      <a:pt x="18" y="48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6" y="48"/>
                    </a:lnTo>
                    <a:lnTo>
                      <a:pt x="42" y="48"/>
                    </a:lnTo>
                    <a:lnTo>
                      <a:pt x="42" y="54"/>
                    </a:lnTo>
                    <a:lnTo>
                      <a:pt x="36" y="54"/>
                    </a:lnTo>
                    <a:lnTo>
                      <a:pt x="24" y="60"/>
                    </a:lnTo>
                    <a:lnTo>
                      <a:pt x="18" y="66"/>
                    </a:lnTo>
                    <a:lnTo>
                      <a:pt x="24" y="66"/>
                    </a:lnTo>
                    <a:lnTo>
                      <a:pt x="36" y="66"/>
                    </a:lnTo>
                    <a:lnTo>
                      <a:pt x="42" y="66"/>
                    </a:lnTo>
                    <a:lnTo>
                      <a:pt x="48" y="60"/>
                    </a:lnTo>
                    <a:lnTo>
                      <a:pt x="54" y="60"/>
                    </a:lnTo>
                    <a:lnTo>
                      <a:pt x="54" y="54"/>
                    </a:lnTo>
                    <a:lnTo>
                      <a:pt x="60" y="54"/>
                    </a:lnTo>
                    <a:lnTo>
                      <a:pt x="66" y="54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42"/>
                    </a:lnTo>
                    <a:lnTo>
                      <a:pt x="84" y="30"/>
                    </a:lnTo>
                    <a:lnTo>
                      <a:pt x="78" y="24"/>
                    </a:lnTo>
                    <a:lnTo>
                      <a:pt x="72" y="30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0" y="12"/>
                    </a:lnTo>
                    <a:lnTo>
                      <a:pt x="60" y="0"/>
                    </a:lnTo>
                    <a:lnTo>
                      <a:pt x="48" y="6"/>
                    </a:lnTo>
                    <a:lnTo>
                      <a:pt x="48" y="18"/>
                    </a:lnTo>
                    <a:lnTo>
                      <a:pt x="48" y="24"/>
                    </a:lnTo>
                    <a:lnTo>
                      <a:pt x="42" y="30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6" y="24"/>
                    </a:lnTo>
                    <a:lnTo>
                      <a:pt x="30" y="18"/>
                    </a:lnTo>
                    <a:lnTo>
                      <a:pt x="24" y="24"/>
                    </a:lnTo>
                    <a:lnTo>
                      <a:pt x="18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10" name="Freeform 766"/>
              <p:cNvSpPr>
                <a:spLocks/>
              </p:cNvSpPr>
              <p:nvPr/>
            </p:nvSpPr>
            <p:spPr bwMode="auto">
              <a:xfrm>
                <a:off x="3655" y="312"/>
                <a:ext cx="84" cy="66"/>
              </a:xfrm>
              <a:custGeom>
                <a:avLst/>
                <a:gdLst>
                  <a:gd name="T0" fmla="*/ 18 w 84"/>
                  <a:gd name="T1" fmla="*/ 18 h 66"/>
                  <a:gd name="T2" fmla="*/ 12 w 84"/>
                  <a:gd name="T3" fmla="*/ 12 h 66"/>
                  <a:gd name="T4" fmla="*/ 6 w 84"/>
                  <a:gd name="T5" fmla="*/ 12 h 66"/>
                  <a:gd name="T6" fmla="*/ 6 w 84"/>
                  <a:gd name="T7" fmla="*/ 18 h 66"/>
                  <a:gd name="T8" fmla="*/ 6 w 84"/>
                  <a:gd name="T9" fmla="*/ 24 h 66"/>
                  <a:gd name="T10" fmla="*/ 0 w 84"/>
                  <a:gd name="T11" fmla="*/ 36 h 66"/>
                  <a:gd name="T12" fmla="*/ 0 w 84"/>
                  <a:gd name="T13" fmla="*/ 42 h 66"/>
                  <a:gd name="T14" fmla="*/ 0 w 84"/>
                  <a:gd name="T15" fmla="*/ 48 h 66"/>
                  <a:gd name="T16" fmla="*/ 6 w 84"/>
                  <a:gd name="T17" fmla="*/ 54 h 66"/>
                  <a:gd name="T18" fmla="*/ 12 w 84"/>
                  <a:gd name="T19" fmla="*/ 54 h 66"/>
                  <a:gd name="T20" fmla="*/ 18 w 84"/>
                  <a:gd name="T21" fmla="*/ 54 h 66"/>
                  <a:gd name="T22" fmla="*/ 18 w 84"/>
                  <a:gd name="T23" fmla="*/ 48 h 66"/>
                  <a:gd name="T24" fmla="*/ 24 w 84"/>
                  <a:gd name="T25" fmla="*/ 54 h 66"/>
                  <a:gd name="T26" fmla="*/ 30 w 84"/>
                  <a:gd name="T27" fmla="*/ 54 h 66"/>
                  <a:gd name="T28" fmla="*/ 36 w 84"/>
                  <a:gd name="T29" fmla="*/ 48 h 66"/>
                  <a:gd name="T30" fmla="*/ 42 w 84"/>
                  <a:gd name="T31" fmla="*/ 48 h 66"/>
                  <a:gd name="T32" fmla="*/ 42 w 84"/>
                  <a:gd name="T33" fmla="*/ 54 h 66"/>
                  <a:gd name="T34" fmla="*/ 36 w 84"/>
                  <a:gd name="T35" fmla="*/ 54 h 66"/>
                  <a:gd name="T36" fmla="*/ 24 w 84"/>
                  <a:gd name="T37" fmla="*/ 60 h 66"/>
                  <a:gd name="T38" fmla="*/ 18 w 84"/>
                  <a:gd name="T39" fmla="*/ 66 h 66"/>
                  <a:gd name="T40" fmla="*/ 24 w 84"/>
                  <a:gd name="T41" fmla="*/ 66 h 66"/>
                  <a:gd name="T42" fmla="*/ 36 w 84"/>
                  <a:gd name="T43" fmla="*/ 66 h 66"/>
                  <a:gd name="T44" fmla="*/ 42 w 84"/>
                  <a:gd name="T45" fmla="*/ 66 h 66"/>
                  <a:gd name="T46" fmla="*/ 48 w 84"/>
                  <a:gd name="T47" fmla="*/ 60 h 66"/>
                  <a:gd name="T48" fmla="*/ 54 w 84"/>
                  <a:gd name="T49" fmla="*/ 60 h 66"/>
                  <a:gd name="T50" fmla="*/ 54 w 84"/>
                  <a:gd name="T51" fmla="*/ 54 h 66"/>
                  <a:gd name="T52" fmla="*/ 60 w 84"/>
                  <a:gd name="T53" fmla="*/ 54 h 66"/>
                  <a:gd name="T54" fmla="*/ 66 w 84"/>
                  <a:gd name="T55" fmla="*/ 54 h 66"/>
                  <a:gd name="T56" fmla="*/ 72 w 84"/>
                  <a:gd name="T57" fmla="*/ 54 h 66"/>
                  <a:gd name="T58" fmla="*/ 78 w 84"/>
                  <a:gd name="T59" fmla="*/ 54 h 66"/>
                  <a:gd name="T60" fmla="*/ 84 w 84"/>
                  <a:gd name="T61" fmla="*/ 42 h 66"/>
                  <a:gd name="T62" fmla="*/ 84 w 84"/>
                  <a:gd name="T63" fmla="*/ 30 h 66"/>
                  <a:gd name="T64" fmla="*/ 78 w 84"/>
                  <a:gd name="T65" fmla="*/ 24 h 66"/>
                  <a:gd name="T66" fmla="*/ 72 w 84"/>
                  <a:gd name="T67" fmla="*/ 30 h 66"/>
                  <a:gd name="T68" fmla="*/ 66 w 84"/>
                  <a:gd name="T69" fmla="*/ 30 h 66"/>
                  <a:gd name="T70" fmla="*/ 66 w 84"/>
                  <a:gd name="T71" fmla="*/ 24 h 66"/>
                  <a:gd name="T72" fmla="*/ 60 w 84"/>
                  <a:gd name="T73" fmla="*/ 12 h 66"/>
                  <a:gd name="T74" fmla="*/ 60 w 84"/>
                  <a:gd name="T75" fmla="*/ 0 h 66"/>
                  <a:gd name="T76" fmla="*/ 48 w 84"/>
                  <a:gd name="T77" fmla="*/ 6 h 66"/>
                  <a:gd name="T78" fmla="*/ 48 w 84"/>
                  <a:gd name="T79" fmla="*/ 18 h 66"/>
                  <a:gd name="T80" fmla="*/ 48 w 84"/>
                  <a:gd name="T81" fmla="*/ 24 h 66"/>
                  <a:gd name="T82" fmla="*/ 42 w 84"/>
                  <a:gd name="T83" fmla="*/ 30 h 66"/>
                  <a:gd name="T84" fmla="*/ 42 w 84"/>
                  <a:gd name="T85" fmla="*/ 36 h 66"/>
                  <a:gd name="T86" fmla="*/ 36 w 84"/>
                  <a:gd name="T87" fmla="*/ 36 h 66"/>
                  <a:gd name="T88" fmla="*/ 36 w 84"/>
                  <a:gd name="T89" fmla="*/ 24 h 66"/>
                  <a:gd name="T90" fmla="*/ 30 w 84"/>
                  <a:gd name="T91" fmla="*/ 18 h 66"/>
                  <a:gd name="T92" fmla="*/ 24 w 84"/>
                  <a:gd name="T93" fmla="*/ 24 h 66"/>
                  <a:gd name="T94" fmla="*/ 18 w 84"/>
                  <a:gd name="T95" fmla="*/ 18 h 6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84" h="66">
                    <a:moveTo>
                      <a:pt x="18" y="18"/>
                    </a:moveTo>
                    <a:lnTo>
                      <a:pt x="12" y="12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0" y="3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18" y="54"/>
                    </a:lnTo>
                    <a:lnTo>
                      <a:pt x="18" y="48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6" y="48"/>
                    </a:lnTo>
                    <a:lnTo>
                      <a:pt x="42" y="48"/>
                    </a:lnTo>
                    <a:lnTo>
                      <a:pt x="42" y="54"/>
                    </a:lnTo>
                    <a:lnTo>
                      <a:pt x="36" y="54"/>
                    </a:lnTo>
                    <a:lnTo>
                      <a:pt x="24" y="60"/>
                    </a:lnTo>
                    <a:lnTo>
                      <a:pt x="18" y="66"/>
                    </a:lnTo>
                    <a:lnTo>
                      <a:pt x="24" y="66"/>
                    </a:lnTo>
                    <a:lnTo>
                      <a:pt x="36" y="66"/>
                    </a:lnTo>
                    <a:lnTo>
                      <a:pt x="42" y="66"/>
                    </a:lnTo>
                    <a:lnTo>
                      <a:pt x="48" y="60"/>
                    </a:lnTo>
                    <a:lnTo>
                      <a:pt x="54" y="60"/>
                    </a:lnTo>
                    <a:lnTo>
                      <a:pt x="54" y="54"/>
                    </a:lnTo>
                    <a:lnTo>
                      <a:pt x="60" y="54"/>
                    </a:lnTo>
                    <a:lnTo>
                      <a:pt x="66" y="54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42"/>
                    </a:lnTo>
                    <a:lnTo>
                      <a:pt x="84" y="30"/>
                    </a:lnTo>
                    <a:lnTo>
                      <a:pt x="78" y="24"/>
                    </a:lnTo>
                    <a:lnTo>
                      <a:pt x="72" y="30"/>
                    </a:lnTo>
                    <a:lnTo>
                      <a:pt x="66" y="30"/>
                    </a:lnTo>
                    <a:lnTo>
                      <a:pt x="66" y="24"/>
                    </a:lnTo>
                    <a:lnTo>
                      <a:pt x="60" y="12"/>
                    </a:lnTo>
                    <a:lnTo>
                      <a:pt x="60" y="0"/>
                    </a:lnTo>
                    <a:lnTo>
                      <a:pt x="48" y="6"/>
                    </a:lnTo>
                    <a:lnTo>
                      <a:pt x="48" y="18"/>
                    </a:lnTo>
                    <a:lnTo>
                      <a:pt x="48" y="24"/>
                    </a:lnTo>
                    <a:lnTo>
                      <a:pt x="42" y="30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6" y="24"/>
                    </a:lnTo>
                    <a:lnTo>
                      <a:pt x="30" y="18"/>
                    </a:lnTo>
                    <a:lnTo>
                      <a:pt x="24" y="24"/>
                    </a:lnTo>
                    <a:lnTo>
                      <a:pt x="18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52" name="Group 767"/>
            <p:cNvGrpSpPr>
              <a:grpSpLocks/>
            </p:cNvGrpSpPr>
            <p:nvPr/>
          </p:nvGrpSpPr>
          <p:grpSpPr bwMode="auto">
            <a:xfrm>
              <a:off x="5941772" y="1145610"/>
              <a:ext cx="36518" cy="62707"/>
              <a:chOff x="3787" y="216"/>
              <a:chExt cx="18" cy="36"/>
            </a:xfrm>
            <a:solidFill>
              <a:srgbClr val="0070C0">
                <a:alpha val="27059"/>
              </a:srgbClr>
            </a:solidFill>
          </p:grpSpPr>
          <p:sp>
            <p:nvSpPr>
              <p:cNvPr id="907" name="Freeform 768"/>
              <p:cNvSpPr>
                <a:spLocks/>
              </p:cNvSpPr>
              <p:nvPr/>
            </p:nvSpPr>
            <p:spPr bwMode="auto">
              <a:xfrm>
                <a:off x="3787" y="216"/>
                <a:ext cx="18" cy="36"/>
              </a:xfrm>
              <a:custGeom>
                <a:avLst/>
                <a:gdLst>
                  <a:gd name="T0" fmla="*/ 6 w 18"/>
                  <a:gd name="T1" fmla="*/ 6 h 36"/>
                  <a:gd name="T2" fmla="*/ 6 w 18"/>
                  <a:gd name="T3" fmla="*/ 0 h 36"/>
                  <a:gd name="T4" fmla="*/ 0 w 18"/>
                  <a:gd name="T5" fmla="*/ 0 h 36"/>
                  <a:gd name="T6" fmla="*/ 0 w 18"/>
                  <a:gd name="T7" fmla="*/ 0 h 36"/>
                  <a:gd name="T8" fmla="*/ 0 w 18"/>
                  <a:gd name="T9" fmla="*/ 18 h 36"/>
                  <a:gd name="T10" fmla="*/ 0 w 18"/>
                  <a:gd name="T11" fmla="*/ 24 h 36"/>
                  <a:gd name="T12" fmla="*/ 6 w 18"/>
                  <a:gd name="T13" fmla="*/ 30 h 36"/>
                  <a:gd name="T14" fmla="*/ 12 w 18"/>
                  <a:gd name="T15" fmla="*/ 36 h 36"/>
                  <a:gd name="T16" fmla="*/ 18 w 18"/>
                  <a:gd name="T17" fmla="*/ 36 h 36"/>
                  <a:gd name="T18" fmla="*/ 18 w 18"/>
                  <a:gd name="T19" fmla="*/ 30 h 36"/>
                  <a:gd name="T20" fmla="*/ 12 w 18"/>
                  <a:gd name="T21" fmla="*/ 24 h 36"/>
                  <a:gd name="T22" fmla="*/ 6 w 18"/>
                  <a:gd name="T23" fmla="*/ 6 h 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8" h="36">
                    <a:moveTo>
                      <a:pt x="6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2" y="24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08" name="Freeform 769"/>
              <p:cNvSpPr>
                <a:spLocks/>
              </p:cNvSpPr>
              <p:nvPr/>
            </p:nvSpPr>
            <p:spPr bwMode="auto">
              <a:xfrm>
                <a:off x="3787" y="216"/>
                <a:ext cx="18" cy="36"/>
              </a:xfrm>
              <a:custGeom>
                <a:avLst/>
                <a:gdLst>
                  <a:gd name="T0" fmla="*/ 6 w 18"/>
                  <a:gd name="T1" fmla="*/ 6 h 36"/>
                  <a:gd name="T2" fmla="*/ 6 w 18"/>
                  <a:gd name="T3" fmla="*/ 0 h 36"/>
                  <a:gd name="T4" fmla="*/ 0 w 18"/>
                  <a:gd name="T5" fmla="*/ 0 h 36"/>
                  <a:gd name="T6" fmla="*/ 0 w 18"/>
                  <a:gd name="T7" fmla="*/ 18 h 36"/>
                  <a:gd name="T8" fmla="*/ 0 w 18"/>
                  <a:gd name="T9" fmla="*/ 24 h 36"/>
                  <a:gd name="T10" fmla="*/ 6 w 18"/>
                  <a:gd name="T11" fmla="*/ 30 h 36"/>
                  <a:gd name="T12" fmla="*/ 12 w 18"/>
                  <a:gd name="T13" fmla="*/ 36 h 36"/>
                  <a:gd name="T14" fmla="*/ 18 w 18"/>
                  <a:gd name="T15" fmla="*/ 36 h 36"/>
                  <a:gd name="T16" fmla="*/ 18 w 18"/>
                  <a:gd name="T17" fmla="*/ 30 h 36"/>
                  <a:gd name="T18" fmla="*/ 12 w 18"/>
                  <a:gd name="T19" fmla="*/ 24 h 36"/>
                  <a:gd name="T20" fmla="*/ 6 w 18"/>
                  <a:gd name="T21" fmla="*/ 6 h 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8" h="36">
                    <a:moveTo>
                      <a:pt x="6" y="6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2" y="24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53" name="Group 770"/>
            <p:cNvGrpSpPr>
              <a:grpSpLocks/>
            </p:cNvGrpSpPr>
            <p:nvPr/>
          </p:nvGrpSpPr>
          <p:grpSpPr bwMode="auto">
            <a:xfrm>
              <a:off x="5868736" y="1228546"/>
              <a:ext cx="109553" cy="123391"/>
              <a:chOff x="3751" y="264"/>
              <a:chExt cx="54" cy="72"/>
            </a:xfrm>
            <a:solidFill>
              <a:srgbClr val="0070C0">
                <a:alpha val="27059"/>
              </a:srgbClr>
            </a:solidFill>
          </p:grpSpPr>
          <p:sp>
            <p:nvSpPr>
              <p:cNvPr id="905" name="Freeform 771"/>
              <p:cNvSpPr>
                <a:spLocks/>
              </p:cNvSpPr>
              <p:nvPr/>
            </p:nvSpPr>
            <p:spPr bwMode="auto">
              <a:xfrm>
                <a:off x="3751" y="264"/>
                <a:ext cx="54" cy="72"/>
              </a:xfrm>
              <a:custGeom>
                <a:avLst/>
                <a:gdLst>
                  <a:gd name="T0" fmla="*/ 12 w 54"/>
                  <a:gd name="T1" fmla="*/ 12 h 72"/>
                  <a:gd name="T2" fmla="*/ 6 w 54"/>
                  <a:gd name="T3" fmla="*/ 6 h 72"/>
                  <a:gd name="T4" fmla="*/ 0 w 54"/>
                  <a:gd name="T5" fmla="*/ 6 h 72"/>
                  <a:gd name="T6" fmla="*/ 0 w 54"/>
                  <a:gd name="T7" fmla="*/ 6 h 72"/>
                  <a:gd name="T8" fmla="*/ 0 w 54"/>
                  <a:gd name="T9" fmla="*/ 6 h 72"/>
                  <a:gd name="T10" fmla="*/ 0 w 54"/>
                  <a:gd name="T11" fmla="*/ 18 h 72"/>
                  <a:gd name="T12" fmla="*/ 6 w 54"/>
                  <a:gd name="T13" fmla="*/ 24 h 72"/>
                  <a:gd name="T14" fmla="*/ 12 w 54"/>
                  <a:gd name="T15" fmla="*/ 42 h 72"/>
                  <a:gd name="T16" fmla="*/ 18 w 54"/>
                  <a:gd name="T17" fmla="*/ 42 h 72"/>
                  <a:gd name="T18" fmla="*/ 24 w 54"/>
                  <a:gd name="T19" fmla="*/ 42 h 72"/>
                  <a:gd name="T20" fmla="*/ 24 w 54"/>
                  <a:gd name="T21" fmla="*/ 48 h 72"/>
                  <a:gd name="T22" fmla="*/ 24 w 54"/>
                  <a:gd name="T23" fmla="*/ 48 h 72"/>
                  <a:gd name="T24" fmla="*/ 30 w 54"/>
                  <a:gd name="T25" fmla="*/ 60 h 72"/>
                  <a:gd name="T26" fmla="*/ 36 w 54"/>
                  <a:gd name="T27" fmla="*/ 66 h 72"/>
                  <a:gd name="T28" fmla="*/ 42 w 54"/>
                  <a:gd name="T29" fmla="*/ 72 h 72"/>
                  <a:gd name="T30" fmla="*/ 48 w 54"/>
                  <a:gd name="T31" fmla="*/ 66 h 72"/>
                  <a:gd name="T32" fmla="*/ 54 w 54"/>
                  <a:gd name="T33" fmla="*/ 66 h 72"/>
                  <a:gd name="T34" fmla="*/ 54 w 54"/>
                  <a:gd name="T35" fmla="*/ 66 h 72"/>
                  <a:gd name="T36" fmla="*/ 48 w 54"/>
                  <a:gd name="T37" fmla="*/ 66 h 72"/>
                  <a:gd name="T38" fmla="*/ 48 w 54"/>
                  <a:gd name="T39" fmla="*/ 54 h 72"/>
                  <a:gd name="T40" fmla="*/ 42 w 54"/>
                  <a:gd name="T41" fmla="*/ 48 h 72"/>
                  <a:gd name="T42" fmla="*/ 42 w 54"/>
                  <a:gd name="T43" fmla="*/ 36 h 72"/>
                  <a:gd name="T44" fmla="*/ 48 w 54"/>
                  <a:gd name="T45" fmla="*/ 24 h 72"/>
                  <a:gd name="T46" fmla="*/ 48 w 54"/>
                  <a:gd name="T47" fmla="*/ 12 h 72"/>
                  <a:gd name="T48" fmla="*/ 48 w 54"/>
                  <a:gd name="T49" fmla="*/ 6 h 72"/>
                  <a:gd name="T50" fmla="*/ 42 w 54"/>
                  <a:gd name="T51" fmla="*/ 6 h 72"/>
                  <a:gd name="T52" fmla="*/ 36 w 54"/>
                  <a:gd name="T53" fmla="*/ 0 h 72"/>
                  <a:gd name="T54" fmla="*/ 30 w 54"/>
                  <a:gd name="T55" fmla="*/ 0 h 72"/>
                  <a:gd name="T56" fmla="*/ 24 w 54"/>
                  <a:gd name="T57" fmla="*/ 6 h 72"/>
                  <a:gd name="T58" fmla="*/ 30 w 54"/>
                  <a:gd name="T59" fmla="*/ 24 h 72"/>
                  <a:gd name="T60" fmla="*/ 30 w 54"/>
                  <a:gd name="T61" fmla="*/ 30 h 72"/>
                  <a:gd name="T62" fmla="*/ 30 w 54"/>
                  <a:gd name="T63" fmla="*/ 30 h 72"/>
                  <a:gd name="T64" fmla="*/ 30 w 54"/>
                  <a:gd name="T65" fmla="*/ 30 h 72"/>
                  <a:gd name="T66" fmla="*/ 18 w 54"/>
                  <a:gd name="T67" fmla="*/ 24 h 72"/>
                  <a:gd name="T68" fmla="*/ 12 w 54"/>
                  <a:gd name="T69" fmla="*/ 18 h 72"/>
                  <a:gd name="T70" fmla="*/ 12 w 54"/>
                  <a:gd name="T71" fmla="*/ 12 h 7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4" h="72">
                    <a:moveTo>
                      <a:pt x="12" y="12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6" y="24"/>
                    </a:lnTo>
                    <a:lnTo>
                      <a:pt x="12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8"/>
                    </a:lnTo>
                    <a:lnTo>
                      <a:pt x="30" y="60"/>
                    </a:lnTo>
                    <a:lnTo>
                      <a:pt x="36" y="66"/>
                    </a:lnTo>
                    <a:lnTo>
                      <a:pt x="42" y="72"/>
                    </a:lnTo>
                    <a:lnTo>
                      <a:pt x="48" y="66"/>
                    </a:lnTo>
                    <a:lnTo>
                      <a:pt x="54" y="66"/>
                    </a:lnTo>
                    <a:lnTo>
                      <a:pt x="48" y="66"/>
                    </a:lnTo>
                    <a:lnTo>
                      <a:pt x="48" y="54"/>
                    </a:lnTo>
                    <a:lnTo>
                      <a:pt x="42" y="48"/>
                    </a:lnTo>
                    <a:lnTo>
                      <a:pt x="42" y="36"/>
                    </a:lnTo>
                    <a:lnTo>
                      <a:pt x="48" y="24"/>
                    </a:lnTo>
                    <a:lnTo>
                      <a:pt x="48" y="12"/>
                    </a:lnTo>
                    <a:lnTo>
                      <a:pt x="48" y="6"/>
                    </a:lnTo>
                    <a:lnTo>
                      <a:pt x="42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30" y="24"/>
                    </a:lnTo>
                    <a:lnTo>
                      <a:pt x="30" y="30"/>
                    </a:lnTo>
                    <a:lnTo>
                      <a:pt x="18" y="24"/>
                    </a:lnTo>
                    <a:lnTo>
                      <a:pt x="12" y="18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06" name="Freeform 772"/>
              <p:cNvSpPr>
                <a:spLocks/>
              </p:cNvSpPr>
              <p:nvPr/>
            </p:nvSpPr>
            <p:spPr bwMode="auto">
              <a:xfrm>
                <a:off x="3751" y="264"/>
                <a:ext cx="54" cy="72"/>
              </a:xfrm>
              <a:custGeom>
                <a:avLst/>
                <a:gdLst>
                  <a:gd name="T0" fmla="*/ 12 w 54"/>
                  <a:gd name="T1" fmla="*/ 12 h 72"/>
                  <a:gd name="T2" fmla="*/ 6 w 54"/>
                  <a:gd name="T3" fmla="*/ 6 h 72"/>
                  <a:gd name="T4" fmla="*/ 0 w 54"/>
                  <a:gd name="T5" fmla="*/ 6 h 72"/>
                  <a:gd name="T6" fmla="*/ 0 w 54"/>
                  <a:gd name="T7" fmla="*/ 18 h 72"/>
                  <a:gd name="T8" fmla="*/ 6 w 54"/>
                  <a:gd name="T9" fmla="*/ 24 h 72"/>
                  <a:gd name="T10" fmla="*/ 12 w 54"/>
                  <a:gd name="T11" fmla="*/ 42 h 72"/>
                  <a:gd name="T12" fmla="*/ 18 w 54"/>
                  <a:gd name="T13" fmla="*/ 42 h 72"/>
                  <a:gd name="T14" fmla="*/ 24 w 54"/>
                  <a:gd name="T15" fmla="*/ 42 h 72"/>
                  <a:gd name="T16" fmla="*/ 24 w 54"/>
                  <a:gd name="T17" fmla="*/ 48 h 72"/>
                  <a:gd name="T18" fmla="*/ 30 w 54"/>
                  <a:gd name="T19" fmla="*/ 60 h 72"/>
                  <a:gd name="T20" fmla="*/ 36 w 54"/>
                  <a:gd name="T21" fmla="*/ 66 h 72"/>
                  <a:gd name="T22" fmla="*/ 42 w 54"/>
                  <a:gd name="T23" fmla="*/ 72 h 72"/>
                  <a:gd name="T24" fmla="*/ 48 w 54"/>
                  <a:gd name="T25" fmla="*/ 66 h 72"/>
                  <a:gd name="T26" fmla="*/ 54 w 54"/>
                  <a:gd name="T27" fmla="*/ 66 h 72"/>
                  <a:gd name="T28" fmla="*/ 48 w 54"/>
                  <a:gd name="T29" fmla="*/ 66 h 72"/>
                  <a:gd name="T30" fmla="*/ 48 w 54"/>
                  <a:gd name="T31" fmla="*/ 54 h 72"/>
                  <a:gd name="T32" fmla="*/ 42 w 54"/>
                  <a:gd name="T33" fmla="*/ 48 h 72"/>
                  <a:gd name="T34" fmla="*/ 42 w 54"/>
                  <a:gd name="T35" fmla="*/ 36 h 72"/>
                  <a:gd name="T36" fmla="*/ 48 w 54"/>
                  <a:gd name="T37" fmla="*/ 24 h 72"/>
                  <a:gd name="T38" fmla="*/ 48 w 54"/>
                  <a:gd name="T39" fmla="*/ 12 h 72"/>
                  <a:gd name="T40" fmla="*/ 48 w 54"/>
                  <a:gd name="T41" fmla="*/ 6 h 72"/>
                  <a:gd name="T42" fmla="*/ 42 w 54"/>
                  <a:gd name="T43" fmla="*/ 6 h 72"/>
                  <a:gd name="T44" fmla="*/ 36 w 54"/>
                  <a:gd name="T45" fmla="*/ 0 h 72"/>
                  <a:gd name="T46" fmla="*/ 30 w 54"/>
                  <a:gd name="T47" fmla="*/ 0 h 72"/>
                  <a:gd name="T48" fmla="*/ 24 w 54"/>
                  <a:gd name="T49" fmla="*/ 6 h 72"/>
                  <a:gd name="T50" fmla="*/ 30 w 54"/>
                  <a:gd name="T51" fmla="*/ 24 h 72"/>
                  <a:gd name="T52" fmla="*/ 30 w 54"/>
                  <a:gd name="T53" fmla="*/ 30 h 72"/>
                  <a:gd name="T54" fmla="*/ 18 w 54"/>
                  <a:gd name="T55" fmla="*/ 24 h 72"/>
                  <a:gd name="T56" fmla="*/ 12 w 54"/>
                  <a:gd name="T57" fmla="*/ 18 h 72"/>
                  <a:gd name="T58" fmla="*/ 12 w 54"/>
                  <a:gd name="T59" fmla="*/ 12 h 7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54" h="72">
                    <a:moveTo>
                      <a:pt x="12" y="12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6" y="24"/>
                    </a:lnTo>
                    <a:lnTo>
                      <a:pt x="12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8"/>
                    </a:lnTo>
                    <a:lnTo>
                      <a:pt x="30" y="60"/>
                    </a:lnTo>
                    <a:lnTo>
                      <a:pt x="36" y="66"/>
                    </a:lnTo>
                    <a:lnTo>
                      <a:pt x="42" y="72"/>
                    </a:lnTo>
                    <a:lnTo>
                      <a:pt x="48" y="66"/>
                    </a:lnTo>
                    <a:lnTo>
                      <a:pt x="54" y="66"/>
                    </a:lnTo>
                    <a:lnTo>
                      <a:pt x="48" y="66"/>
                    </a:lnTo>
                    <a:lnTo>
                      <a:pt x="48" y="54"/>
                    </a:lnTo>
                    <a:lnTo>
                      <a:pt x="42" y="48"/>
                    </a:lnTo>
                    <a:lnTo>
                      <a:pt x="42" y="36"/>
                    </a:lnTo>
                    <a:lnTo>
                      <a:pt x="48" y="24"/>
                    </a:lnTo>
                    <a:lnTo>
                      <a:pt x="48" y="12"/>
                    </a:lnTo>
                    <a:lnTo>
                      <a:pt x="48" y="6"/>
                    </a:lnTo>
                    <a:lnTo>
                      <a:pt x="42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30" y="24"/>
                    </a:lnTo>
                    <a:lnTo>
                      <a:pt x="30" y="30"/>
                    </a:lnTo>
                    <a:lnTo>
                      <a:pt x="18" y="24"/>
                    </a:lnTo>
                    <a:lnTo>
                      <a:pt x="12" y="18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54" name="Group 773"/>
            <p:cNvGrpSpPr>
              <a:grpSpLocks/>
            </p:cNvGrpSpPr>
            <p:nvPr/>
          </p:nvGrpSpPr>
          <p:grpSpPr bwMode="auto">
            <a:xfrm>
              <a:off x="5978290" y="1311481"/>
              <a:ext cx="73036" cy="50570"/>
              <a:chOff x="3805" y="312"/>
              <a:chExt cx="36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903" name="Freeform 774"/>
              <p:cNvSpPr>
                <a:spLocks/>
              </p:cNvSpPr>
              <p:nvPr/>
            </p:nvSpPr>
            <p:spPr bwMode="auto">
              <a:xfrm>
                <a:off x="3805" y="312"/>
                <a:ext cx="36" cy="30"/>
              </a:xfrm>
              <a:custGeom>
                <a:avLst/>
                <a:gdLst>
                  <a:gd name="T0" fmla="*/ 12 w 36"/>
                  <a:gd name="T1" fmla="*/ 0 h 30"/>
                  <a:gd name="T2" fmla="*/ 6 w 36"/>
                  <a:gd name="T3" fmla="*/ 0 h 30"/>
                  <a:gd name="T4" fmla="*/ 6 w 36"/>
                  <a:gd name="T5" fmla="*/ 0 h 30"/>
                  <a:gd name="T6" fmla="*/ 6 w 36"/>
                  <a:gd name="T7" fmla="*/ 6 h 30"/>
                  <a:gd name="T8" fmla="*/ 0 w 36"/>
                  <a:gd name="T9" fmla="*/ 24 h 30"/>
                  <a:gd name="T10" fmla="*/ 12 w 36"/>
                  <a:gd name="T11" fmla="*/ 24 h 30"/>
                  <a:gd name="T12" fmla="*/ 18 w 36"/>
                  <a:gd name="T13" fmla="*/ 30 h 30"/>
                  <a:gd name="T14" fmla="*/ 24 w 36"/>
                  <a:gd name="T15" fmla="*/ 30 h 30"/>
                  <a:gd name="T16" fmla="*/ 30 w 36"/>
                  <a:gd name="T17" fmla="*/ 24 h 30"/>
                  <a:gd name="T18" fmla="*/ 36 w 36"/>
                  <a:gd name="T19" fmla="*/ 18 h 30"/>
                  <a:gd name="T20" fmla="*/ 36 w 36"/>
                  <a:gd name="T21" fmla="*/ 12 h 30"/>
                  <a:gd name="T22" fmla="*/ 30 w 36"/>
                  <a:gd name="T23" fmla="*/ 6 h 30"/>
                  <a:gd name="T24" fmla="*/ 24 w 36"/>
                  <a:gd name="T25" fmla="*/ 0 h 30"/>
                  <a:gd name="T26" fmla="*/ 18 w 36"/>
                  <a:gd name="T27" fmla="*/ 0 h 30"/>
                  <a:gd name="T28" fmla="*/ 12 w 36"/>
                  <a:gd name="T29" fmla="*/ 0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6" h="30">
                    <a:moveTo>
                      <a:pt x="12" y="0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0" y="24"/>
                    </a:lnTo>
                    <a:lnTo>
                      <a:pt x="12" y="24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30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04" name="Freeform 775"/>
              <p:cNvSpPr>
                <a:spLocks/>
              </p:cNvSpPr>
              <p:nvPr/>
            </p:nvSpPr>
            <p:spPr bwMode="auto">
              <a:xfrm>
                <a:off x="3805" y="312"/>
                <a:ext cx="36" cy="30"/>
              </a:xfrm>
              <a:custGeom>
                <a:avLst/>
                <a:gdLst>
                  <a:gd name="T0" fmla="*/ 12 w 36"/>
                  <a:gd name="T1" fmla="*/ 0 h 30"/>
                  <a:gd name="T2" fmla="*/ 6 w 36"/>
                  <a:gd name="T3" fmla="*/ 0 h 30"/>
                  <a:gd name="T4" fmla="*/ 6 w 36"/>
                  <a:gd name="T5" fmla="*/ 6 h 30"/>
                  <a:gd name="T6" fmla="*/ 0 w 36"/>
                  <a:gd name="T7" fmla="*/ 24 h 30"/>
                  <a:gd name="T8" fmla="*/ 12 w 36"/>
                  <a:gd name="T9" fmla="*/ 24 h 30"/>
                  <a:gd name="T10" fmla="*/ 18 w 36"/>
                  <a:gd name="T11" fmla="*/ 30 h 30"/>
                  <a:gd name="T12" fmla="*/ 24 w 36"/>
                  <a:gd name="T13" fmla="*/ 30 h 30"/>
                  <a:gd name="T14" fmla="*/ 30 w 36"/>
                  <a:gd name="T15" fmla="*/ 24 h 30"/>
                  <a:gd name="T16" fmla="*/ 36 w 36"/>
                  <a:gd name="T17" fmla="*/ 18 h 30"/>
                  <a:gd name="T18" fmla="*/ 36 w 36"/>
                  <a:gd name="T19" fmla="*/ 12 h 30"/>
                  <a:gd name="T20" fmla="*/ 30 w 36"/>
                  <a:gd name="T21" fmla="*/ 6 h 30"/>
                  <a:gd name="T22" fmla="*/ 24 w 36"/>
                  <a:gd name="T23" fmla="*/ 0 h 30"/>
                  <a:gd name="T24" fmla="*/ 18 w 36"/>
                  <a:gd name="T25" fmla="*/ 0 h 30"/>
                  <a:gd name="T26" fmla="*/ 12 w 36"/>
                  <a:gd name="T27" fmla="*/ 0 h 3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6" h="30">
                    <a:moveTo>
                      <a:pt x="12" y="0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0" y="24"/>
                    </a:lnTo>
                    <a:lnTo>
                      <a:pt x="12" y="24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30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55" name="Group 776"/>
            <p:cNvGrpSpPr>
              <a:grpSpLocks/>
            </p:cNvGrpSpPr>
            <p:nvPr/>
          </p:nvGrpSpPr>
          <p:grpSpPr bwMode="auto">
            <a:xfrm>
              <a:off x="6064779" y="1279116"/>
              <a:ext cx="242170" cy="135528"/>
              <a:chOff x="3847" y="294"/>
              <a:chExt cx="120" cy="78"/>
            </a:xfrm>
            <a:solidFill>
              <a:srgbClr val="0070C0">
                <a:alpha val="27059"/>
              </a:srgbClr>
            </a:solidFill>
          </p:grpSpPr>
          <p:sp>
            <p:nvSpPr>
              <p:cNvPr id="901" name="Freeform 777"/>
              <p:cNvSpPr>
                <a:spLocks/>
              </p:cNvSpPr>
              <p:nvPr/>
            </p:nvSpPr>
            <p:spPr bwMode="auto">
              <a:xfrm>
                <a:off x="3847" y="294"/>
                <a:ext cx="120" cy="78"/>
              </a:xfrm>
              <a:custGeom>
                <a:avLst/>
                <a:gdLst>
                  <a:gd name="T0" fmla="*/ 6 w 120"/>
                  <a:gd name="T1" fmla="*/ 6 h 78"/>
                  <a:gd name="T2" fmla="*/ 6 w 120"/>
                  <a:gd name="T3" fmla="*/ 6 h 78"/>
                  <a:gd name="T4" fmla="*/ 0 w 120"/>
                  <a:gd name="T5" fmla="*/ 0 h 78"/>
                  <a:gd name="T6" fmla="*/ 0 w 120"/>
                  <a:gd name="T7" fmla="*/ 6 h 78"/>
                  <a:gd name="T8" fmla="*/ 0 w 120"/>
                  <a:gd name="T9" fmla="*/ 18 h 78"/>
                  <a:gd name="T10" fmla="*/ 0 w 120"/>
                  <a:gd name="T11" fmla="*/ 24 h 78"/>
                  <a:gd name="T12" fmla="*/ 6 w 120"/>
                  <a:gd name="T13" fmla="*/ 24 h 78"/>
                  <a:gd name="T14" fmla="*/ 18 w 120"/>
                  <a:gd name="T15" fmla="*/ 24 h 78"/>
                  <a:gd name="T16" fmla="*/ 18 w 120"/>
                  <a:gd name="T17" fmla="*/ 18 h 78"/>
                  <a:gd name="T18" fmla="*/ 18 w 120"/>
                  <a:gd name="T19" fmla="*/ 18 h 78"/>
                  <a:gd name="T20" fmla="*/ 24 w 120"/>
                  <a:gd name="T21" fmla="*/ 24 h 78"/>
                  <a:gd name="T22" fmla="*/ 24 w 120"/>
                  <a:gd name="T23" fmla="*/ 42 h 78"/>
                  <a:gd name="T24" fmla="*/ 30 w 120"/>
                  <a:gd name="T25" fmla="*/ 54 h 78"/>
                  <a:gd name="T26" fmla="*/ 24 w 120"/>
                  <a:gd name="T27" fmla="*/ 54 h 78"/>
                  <a:gd name="T28" fmla="*/ 24 w 120"/>
                  <a:gd name="T29" fmla="*/ 60 h 78"/>
                  <a:gd name="T30" fmla="*/ 24 w 120"/>
                  <a:gd name="T31" fmla="*/ 66 h 78"/>
                  <a:gd name="T32" fmla="*/ 30 w 120"/>
                  <a:gd name="T33" fmla="*/ 66 h 78"/>
                  <a:gd name="T34" fmla="*/ 36 w 120"/>
                  <a:gd name="T35" fmla="*/ 66 h 78"/>
                  <a:gd name="T36" fmla="*/ 42 w 120"/>
                  <a:gd name="T37" fmla="*/ 66 h 78"/>
                  <a:gd name="T38" fmla="*/ 42 w 120"/>
                  <a:gd name="T39" fmla="*/ 66 h 78"/>
                  <a:gd name="T40" fmla="*/ 48 w 120"/>
                  <a:gd name="T41" fmla="*/ 66 h 78"/>
                  <a:gd name="T42" fmla="*/ 48 w 120"/>
                  <a:gd name="T43" fmla="*/ 72 h 78"/>
                  <a:gd name="T44" fmla="*/ 60 w 120"/>
                  <a:gd name="T45" fmla="*/ 72 h 78"/>
                  <a:gd name="T46" fmla="*/ 66 w 120"/>
                  <a:gd name="T47" fmla="*/ 78 h 78"/>
                  <a:gd name="T48" fmla="*/ 78 w 120"/>
                  <a:gd name="T49" fmla="*/ 72 h 78"/>
                  <a:gd name="T50" fmla="*/ 84 w 120"/>
                  <a:gd name="T51" fmla="*/ 72 h 78"/>
                  <a:gd name="T52" fmla="*/ 84 w 120"/>
                  <a:gd name="T53" fmla="*/ 66 h 78"/>
                  <a:gd name="T54" fmla="*/ 90 w 120"/>
                  <a:gd name="T55" fmla="*/ 66 h 78"/>
                  <a:gd name="T56" fmla="*/ 102 w 120"/>
                  <a:gd name="T57" fmla="*/ 72 h 78"/>
                  <a:gd name="T58" fmla="*/ 108 w 120"/>
                  <a:gd name="T59" fmla="*/ 72 h 78"/>
                  <a:gd name="T60" fmla="*/ 114 w 120"/>
                  <a:gd name="T61" fmla="*/ 66 h 78"/>
                  <a:gd name="T62" fmla="*/ 114 w 120"/>
                  <a:gd name="T63" fmla="*/ 66 h 78"/>
                  <a:gd name="T64" fmla="*/ 114 w 120"/>
                  <a:gd name="T65" fmla="*/ 60 h 78"/>
                  <a:gd name="T66" fmla="*/ 114 w 120"/>
                  <a:gd name="T67" fmla="*/ 60 h 78"/>
                  <a:gd name="T68" fmla="*/ 120 w 120"/>
                  <a:gd name="T69" fmla="*/ 54 h 78"/>
                  <a:gd name="T70" fmla="*/ 120 w 120"/>
                  <a:gd name="T71" fmla="*/ 54 h 78"/>
                  <a:gd name="T72" fmla="*/ 120 w 120"/>
                  <a:gd name="T73" fmla="*/ 48 h 78"/>
                  <a:gd name="T74" fmla="*/ 120 w 120"/>
                  <a:gd name="T75" fmla="*/ 48 h 78"/>
                  <a:gd name="T76" fmla="*/ 120 w 120"/>
                  <a:gd name="T77" fmla="*/ 42 h 78"/>
                  <a:gd name="T78" fmla="*/ 114 w 120"/>
                  <a:gd name="T79" fmla="*/ 42 h 78"/>
                  <a:gd name="T80" fmla="*/ 102 w 120"/>
                  <a:gd name="T81" fmla="*/ 42 h 78"/>
                  <a:gd name="T82" fmla="*/ 96 w 120"/>
                  <a:gd name="T83" fmla="*/ 36 h 78"/>
                  <a:gd name="T84" fmla="*/ 90 w 120"/>
                  <a:gd name="T85" fmla="*/ 36 h 78"/>
                  <a:gd name="T86" fmla="*/ 78 w 120"/>
                  <a:gd name="T87" fmla="*/ 36 h 78"/>
                  <a:gd name="T88" fmla="*/ 72 w 120"/>
                  <a:gd name="T89" fmla="*/ 42 h 78"/>
                  <a:gd name="T90" fmla="*/ 66 w 120"/>
                  <a:gd name="T91" fmla="*/ 42 h 78"/>
                  <a:gd name="T92" fmla="*/ 60 w 120"/>
                  <a:gd name="T93" fmla="*/ 36 h 78"/>
                  <a:gd name="T94" fmla="*/ 42 w 120"/>
                  <a:gd name="T95" fmla="*/ 24 h 78"/>
                  <a:gd name="T96" fmla="*/ 42 w 120"/>
                  <a:gd name="T97" fmla="*/ 24 h 78"/>
                  <a:gd name="T98" fmla="*/ 42 w 120"/>
                  <a:gd name="T99" fmla="*/ 18 h 78"/>
                  <a:gd name="T100" fmla="*/ 36 w 120"/>
                  <a:gd name="T101" fmla="*/ 18 h 78"/>
                  <a:gd name="T102" fmla="*/ 36 w 120"/>
                  <a:gd name="T103" fmla="*/ 18 h 78"/>
                  <a:gd name="T104" fmla="*/ 36 w 120"/>
                  <a:gd name="T105" fmla="*/ 18 h 78"/>
                  <a:gd name="T106" fmla="*/ 36 w 120"/>
                  <a:gd name="T107" fmla="*/ 12 h 78"/>
                  <a:gd name="T108" fmla="*/ 30 w 120"/>
                  <a:gd name="T109" fmla="*/ 6 h 78"/>
                  <a:gd name="T110" fmla="*/ 30 w 120"/>
                  <a:gd name="T111" fmla="*/ 12 h 78"/>
                  <a:gd name="T112" fmla="*/ 24 w 120"/>
                  <a:gd name="T113" fmla="*/ 12 h 78"/>
                  <a:gd name="T114" fmla="*/ 18 w 120"/>
                  <a:gd name="T115" fmla="*/ 12 h 78"/>
                  <a:gd name="T116" fmla="*/ 18 w 120"/>
                  <a:gd name="T117" fmla="*/ 6 h 78"/>
                  <a:gd name="T118" fmla="*/ 12 w 120"/>
                  <a:gd name="T119" fmla="*/ 6 h 78"/>
                  <a:gd name="T120" fmla="*/ 12 w 120"/>
                  <a:gd name="T121" fmla="*/ 6 h 78"/>
                  <a:gd name="T122" fmla="*/ 6 w 120"/>
                  <a:gd name="T123" fmla="*/ 6 h 7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20" h="78">
                    <a:moveTo>
                      <a:pt x="6" y="6"/>
                    </a:moveTo>
                    <a:lnTo>
                      <a:pt x="6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6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24" y="24"/>
                    </a:lnTo>
                    <a:lnTo>
                      <a:pt x="24" y="42"/>
                    </a:lnTo>
                    <a:lnTo>
                      <a:pt x="30" y="54"/>
                    </a:lnTo>
                    <a:lnTo>
                      <a:pt x="24" y="54"/>
                    </a:lnTo>
                    <a:lnTo>
                      <a:pt x="24" y="60"/>
                    </a:lnTo>
                    <a:lnTo>
                      <a:pt x="24" y="66"/>
                    </a:lnTo>
                    <a:lnTo>
                      <a:pt x="30" y="66"/>
                    </a:lnTo>
                    <a:lnTo>
                      <a:pt x="36" y="66"/>
                    </a:lnTo>
                    <a:lnTo>
                      <a:pt x="42" y="66"/>
                    </a:lnTo>
                    <a:lnTo>
                      <a:pt x="48" y="66"/>
                    </a:lnTo>
                    <a:lnTo>
                      <a:pt x="48" y="72"/>
                    </a:lnTo>
                    <a:lnTo>
                      <a:pt x="60" y="72"/>
                    </a:lnTo>
                    <a:lnTo>
                      <a:pt x="66" y="78"/>
                    </a:lnTo>
                    <a:lnTo>
                      <a:pt x="78" y="72"/>
                    </a:lnTo>
                    <a:lnTo>
                      <a:pt x="84" y="72"/>
                    </a:lnTo>
                    <a:lnTo>
                      <a:pt x="84" y="66"/>
                    </a:lnTo>
                    <a:lnTo>
                      <a:pt x="90" y="66"/>
                    </a:lnTo>
                    <a:lnTo>
                      <a:pt x="102" y="72"/>
                    </a:lnTo>
                    <a:lnTo>
                      <a:pt x="108" y="72"/>
                    </a:lnTo>
                    <a:lnTo>
                      <a:pt x="114" y="66"/>
                    </a:lnTo>
                    <a:lnTo>
                      <a:pt x="114" y="60"/>
                    </a:lnTo>
                    <a:lnTo>
                      <a:pt x="120" y="54"/>
                    </a:lnTo>
                    <a:lnTo>
                      <a:pt x="120" y="48"/>
                    </a:lnTo>
                    <a:lnTo>
                      <a:pt x="120" y="42"/>
                    </a:lnTo>
                    <a:lnTo>
                      <a:pt x="114" y="42"/>
                    </a:lnTo>
                    <a:lnTo>
                      <a:pt x="102" y="42"/>
                    </a:lnTo>
                    <a:lnTo>
                      <a:pt x="96" y="36"/>
                    </a:lnTo>
                    <a:lnTo>
                      <a:pt x="90" y="36"/>
                    </a:lnTo>
                    <a:lnTo>
                      <a:pt x="78" y="36"/>
                    </a:lnTo>
                    <a:lnTo>
                      <a:pt x="72" y="42"/>
                    </a:lnTo>
                    <a:lnTo>
                      <a:pt x="66" y="42"/>
                    </a:lnTo>
                    <a:lnTo>
                      <a:pt x="60" y="36"/>
                    </a:lnTo>
                    <a:lnTo>
                      <a:pt x="42" y="24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30" y="6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02" name="Freeform 778"/>
              <p:cNvSpPr>
                <a:spLocks/>
              </p:cNvSpPr>
              <p:nvPr/>
            </p:nvSpPr>
            <p:spPr bwMode="auto">
              <a:xfrm>
                <a:off x="3847" y="294"/>
                <a:ext cx="120" cy="78"/>
              </a:xfrm>
              <a:custGeom>
                <a:avLst/>
                <a:gdLst>
                  <a:gd name="T0" fmla="*/ 6 w 120"/>
                  <a:gd name="T1" fmla="*/ 6 h 78"/>
                  <a:gd name="T2" fmla="*/ 0 w 120"/>
                  <a:gd name="T3" fmla="*/ 0 h 78"/>
                  <a:gd name="T4" fmla="*/ 0 w 120"/>
                  <a:gd name="T5" fmla="*/ 6 h 78"/>
                  <a:gd name="T6" fmla="*/ 0 w 120"/>
                  <a:gd name="T7" fmla="*/ 18 h 78"/>
                  <a:gd name="T8" fmla="*/ 0 w 120"/>
                  <a:gd name="T9" fmla="*/ 24 h 78"/>
                  <a:gd name="T10" fmla="*/ 6 w 120"/>
                  <a:gd name="T11" fmla="*/ 24 h 78"/>
                  <a:gd name="T12" fmla="*/ 18 w 120"/>
                  <a:gd name="T13" fmla="*/ 24 h 78"/>
                  <a:gd name="T14" fmla="*/ 18 w 120"/>
                  <a:gd name="T15" fmla="*/ 18 h 78"/>
                  <a:gd name="T16" fmla="*/ 24 w 120"/>
                  <a:gd name="T17" fmla="*/ 24 h 78"/>
                  <a:gd name="T18" fmla="*/ 24 w 120"/>
                  <a:gd name="T19" fmla="*/ 42 h 78"/>
                  <a:gd name="T20" fmla="*/ 30 w 120"/>
                  <a:gd name="T21" fmla="*/ 54 h 78"/>
                  <a:gd name="T22" fmla="*/ 24 w 120"/>
                  <a:gd name="T23" fmla="*/ 54 h 78"/>
                  <a:gd name="T24" fmla="*/ 24 w 120"/>
                  <a:gd name="T25" fmla="*/ 60 h 78"/>
                  <a:gd name="T26" fmla="*/ 24 w 120"/>
                  <a:gd name="T27" fmla="*/ 66 h 78"/>
                  <a:gd name="T28" fmla="*/ 30 w 120"/>
                  <a:gd name="T29" fmla="*/ 66 h 78"/>
                  <a:gd name="T30" fmla="*/ 36 w 120"/>
                  <a:gd name="T31" fmla="*/ 66 h 78"/>
                  <a:gd name="T32" fmla="*/ 42 w 120"/>
                  <a:gd name="T33" fmla="*/ 66 h 78"/>
                  <a:gd name="T34" fmla="*/ 48 w 120"/>
                  <a:gd name="T35" fmla="*/ 66 h 78"/>
                  <a:gd name="T36" fmla="*/ 48 w 120"/>
                  <a:gd name="T37" fmla="*/ 72 h 78"/>
                  <a:gd name="T38" fmla="*/ 60 w 120"/>
                  <a:gd name="T39" fmla="*/ 72 h 78"/>
                  <a:gd name="T40" fmla="*/ 66 w 120"/>
                  <a:gd name="T41" fmla="*/ 78 h 78"/>
                  <a:gd name="T42" fmla="*/ 78 w 120"/>
                  <a:gd name="T43" fmla="*/ 72 h 78"/>
                  <a:gd name="T44" fmla="*/ 84 w 120"/>
                  <a:gd name="T45" fmla="*/ 72 h 78"/>
                  <a:gd name="T46" fmla="*/ 84 w 120"/>
                  <a:gd name="T47" fmla="*/ 66 h 78"/>
                  <a:gd name="T48" fmla="*/ 90 w 120"/>
                  <a:gd name="T49" fmla="*/ 66 h 78"/>
                  <a:gd name="T50" fmla="*/ 102 w 120"/>
                  <a:gd name="T51" fmla="*/ 72 h 78"/>
                  <a:gd name="T52" fmla="*/ 108 w 120"/>
                  <a:gd name="T53" fmla="*/ 72 h 78"/>
                  <a:gd name="T54" fmla="*/ 114 w 120"/>
                  <a:gd name="T55" fmla="*/ 66 h 78"/>
                  <a:gd name="T56" fmla="*/ 114 w 120"/>
                  <a:gd name="T57" fmla="*/ 60 h 78"/>
                  <a:gd name="T58" fmla="*/ 120 w 120"/>
                  <a:gd name="T59" fmla="*/ 54 h 78"/>
                  <a:gd name="T60" fmla="*/ 120 w 120"/>
                  <a:gd name="T61" fmla="*/ 48 h 78"/>
                  <a:gd name="T62" fmla="*/ 120 w 120"/>
                  <a:gd name="T63" fmla="*/ 42 h 78"/>
                  <a:gd name="T64" fmla="*/ 114 w 120"/>
                  <a:gd name="T65" fmla="*/ 42 h 78"/>
                  <a:gd name="T66" fmla="*/ 102 w 120"/>
                  <a:gd name="T67" fmla="*/ 42 h 78"/>
                  <a:gd name="T68" fmla="*/ 96 w 120"/>
                  <a:gd name="T69" fmla="*/ 36 h 78"/>
                  <a:gd name="T70" fmla="*/ 90 w 120"/>
                  <a:gd name="T71" fmla="*/ 36 h 78"/>
                  <a:gd name="T72" fmla="*/ 78 w 120"/>
                  <a:gd name="T73" fmla="*/ 36 h 78"/>
                  <a:gd name="T74" fmla="*/ 72 w 120"/>
                  <a:gd name="T75" fmla="*/ 42 h 78"/>
                  <a:gd name="T76" fmla="*/ 66 w 120"/>
                  <a:gd name="T77" fmla="*/ 42 h 78"/>
                  <a:gd name="T78" fmla="*/ 60 w 120"/>
                  <a:gd name="T79" fmla="*/ 36 h 78"/>
                  <a:gd name="T80" fmla="*/ 42 w 120"/>
                  <a:gd name="T81" fmla="*/ 24 h 78"/>
                  <a:gd name="T82" fmla="*/ 42 w 120"/>
                  <a:gd name="T83" fmla="*/ 18 h 78"/>
                  <a:gd name="T84" fmla="*/ 36 w 120"/>
                  <a:gd name="T85" fmla="*/ 18 h 78"/>
                  <a:gd name="T86" fmla="*/ 36 w 120"/>
                  <a:gd name="T87" fmla="*/ 12 h 78"/>
                  <a:gd name="T88" fmla="*/ 30 w 120"/>
                  <a:gd name="T89" fmla="*/ 6 h 78"/>
                  <a:gd name="T90" fmla="*/ 30 w 120"/>
                  <a:gd name="T91" fmla="*/ 12 h 78"/>
                  <a:gd name="T92" fmla="*/ 24 w 120"/>
                  <a:gd name="T93" fmla="*/ 12 h 78"/>
                  <a:gd name="T94" fmla="*/ 18 w 120"/>
                  <a:gd name="T95" fmla="*/ 12 h 78"/>
                  <a:gd name="T96" fmla="*/ 18 w 120"/>
                  <a:gd name="T97" fmla="*/ 6 h 78"/>
                  <a:gd name="T98" fmla="*/ 12 w 120"/>
                  <a:gd name="T99" fmla="*/ 6 h 78"/>
                  <a:gd name="T100" fmla="*/ 6 w 120"/>
                  <a:gd name="T101" fmla="*/ 6 h 7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20" h="78">
                    <a:moveTo>
                      <a:pt x="6" y="6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6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24" y="24"/>
                    </a:lnTo>
                    <a:lnTo>
                      <a:pt x="24" y="42"/>
                    </a:lnTo>
                    <a:lnTo>
                      <a:pt x="30" y="54"/>
                    </a:lnTo>
                    <a:lnTo>
                      <a:pt x="24" y="54"/>
                    </a:lnTo>
                    <a:lnTo>
                      <a:pt x="24" y="60"/>
                    </a:lnTo>
                    <a:lnTo>
                      <a:pt x="24" y="66"/>
                    </a:lnTo>
                    <a:lnTo>
                      <a:pt x="30" y="66"/>
                    </a:lnTo>
                    <a:lnTo>
                      <a:pt x="36" y="66"/>
                    </a:lnTo>
                    <a:lnTo>
                      <a:pt x="42" y="66"/>
                    </a:lnTo>
                    <a:lnTo>
                      <a:pt x="48" y="66"/>
                    </a:lnTo>
                    <a:lnTo>
                      <a:pt x="48" y="72"/>
                    </a:lnTo>
                    <a:lnTo>
                      <a:pt x="60" y="72"/>
                    </a:lnTo>
                    <a:lnTo>
                      <a:pt x="66" y="78"/>
                    </a:lnTo>
                    <a:lnTo>
                      <a:pt x="78" y="72"/>
                    </a:lnTo>
                    <a:lnTo>
                      <a:pt x="84" y="72"/>
                    </a:lnTo>
                    <a:lnTo>
                      <a:pt x="84" y="66"/>
                    </a:lnTo>
                    <a:lnTo>
                      <a:pt x="90" y="66"/>
                    </a:lnTo>
                    <a:lnTo>
                      <a:pt x="102" y="72"/>
                    </a:lnTo>
                    <a:lnTo>
                      <a:pt x="108" y="72"/>
                    </a:lnTo>
                    <a:lnTo>
                      <a:pt x="114" y="66"/>
                    </a:lnTo>
                    <a:lnTo>
                      <a:pt x="114" y="60"/>
                    </a:lnTo>
                    <a:lnTo>
                      <a:pt x="120" y="54"/>
                    </a:lnTo>
                    <a:lnTo>
                      <a:pt x="120" y="48"/>
                    </a:lnTo>
                    <a:lnTo>
                      <a:pt x="120" y="42"/>
                    </a:lnTo>
                    <a:lnTo>
                      <a:pt x="114" y="42"/>
                    </a:lnTo>
                    <a:lnTo>
                      <a:pt x="102" y="42"/>
                    </a:lnTo>
                    <a:lnTo>
                      <a:pt x="96" y="36"/>
                    </a:lnTo>
                    <a:lnTo>
                      <a:pt x="90" y="36"/>
                    </a:lnTo>
                    <a:lnTo>
                      <a:pt x="78" y="36"/>
                    </a:lnTo>
                    <a:lnTo>
                      <a:pt x="72" y="42"/>
                    </a:lnTo>
                    <a:lnTo>
                      <a:pt x="66" y="42"/>
                    </a:lnTo>
                    <a:lnTo>
                      <a:pt x="60" y="36"/>
                    </a:lnTo>
                    <a:lnTo>
                      <a:pt x="42" y="24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30" y="6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56" name="Group 779"/>
            <p:cNvGrpSpPr>
              <a:grpSpLocks/>
            </p:cNvGrpSpPr>
            <p:nvPr/>
          </p:nvGrpSpPr>
          <p:grpSpPr bwMode="auto">
            <a:xfrm>
              <a:off x="5916786" y="1022219"/>
              <a:ext cx="134539" cy="133505"/>
              <a:chOff x="3775" y="144"/>
              <a:chExt cx="66" cy="78"/>
            </a:xfrm>
            <a:solidFill>
              <a:srgbClr val="0070C0">
                <a:alpha val="27059"/>
              </a:srgbClr>
            </a:solidFill>
          </p:grpSpPr>
          <p:sp>
            <p:nvSpPr>
              <p:cNvPr id="899" name="Freeform 780"/>
              <p:cNvSpPr>
                <a:spLocks/>
              </p:cNvSpPr>
              <p:nvPr/>
            </p:nvSpPr>
            <p:spPr bwMode="auto">
              <a:xfrm>
                <a:off x="3775" y="144"/>
                <a:ext cx="66" cy="78"/>
              </a:xfrm>
              <a:custGeom>
                <a:avLst/>
                <a:gdLst>
                  <a:gd name="T0" fmla="*/ 24 w 66"/>
                  <a:gd name="T1" fmla="*/ 36 h 78"/>
                  <a:gd name="T2" fmla="*/ 24 w 66"/>
                  <a:gd name="T3" fmla="*/ 30 h 78"/>
                  <a:gd name="T4" fmla="*/ 18 w 66"/>
                  <a:gd name="T5" fmla="*/ 24 h 78"/>
                  <a:gd name="T6" fmla="*/ 12 w 66"/>
                  <a:gd name="T7" fmla="*/ 24 h 78"/>
                  <a:gd name="T8" fmla="*/ 6 w 66"/>
                  <a:gd name="T9" fmla="*/ 12 h 78"/>
                  <a:gd name="T10" fmla="*/ 0 w 66"/>
                  <a:gd name="T11" fmla="*/ 6 h 78"/>
                  <a:gd name="T12" fmla="*/ 6 w 66"/>
                  <a:gd name="T13" fmla="*/ 0 h 78"/>
                  <a:gd name="T14" fmla="*/ 6 w 66"/>
                  <a:gd name="T15" fmla="*/ 0 h 78"/>
                  <a:gd name="T16" fmla="*/ 18 w 66"/>
                  <a:gd name="T17" fmla="*/ 0 h 78"/>
                  <a:gd name="T18" fmla="*/ 24 w 66"/>
                  <a:gd name="T19" fmla="*/ 6 h 78"/>
                  <a:gd name="T20" fmla="*/ 24 w 66"/>
                  <a:gd name="T21" fmla="*/ 6 h 78"/>
                  <a:gd name="T22" fmla="*/ 24 w 66"/>
                  <a:gd name="T23" fmla="*/ 12 h 78"/>
                  <a:gd name="T24" fmla="*/ 24 w 66"/>
                  <a:gd name="T25" fmla="*/ 18 h 78"/>
                  <a:gd name="T26" fmla="*/ 30 w 66"/>
                  <a:gd name="T27" fmla="*/ 18 h 78"/>
                  <a:gd name="T28" fmla="*/ 36 w 66"/>
                  <a:gd name="T29" fmla="*/ 18 h 78"/>
                  <a:gd name="T30" fmla="*/ 36 w 66"/>
                  <a:gd name="T31" fmla="*/ 12 h 78"/>
                  <a:gd name="T32" fmla="*/ 36 w 66"/>
                  <a:gd name="T33" fmla="*/ 6 h 78"/>
                  <a:gd name="T34" fmla="*/ 42 w 66"/>
                  <a:gd name="T35" fmla="*/ 6 h 78"/>
                  <a:gd name="T36" fmla="*/ 48 w 66"/>
                  <a:gd name="T37" fmla="*/ 12 h 78"/>
                  <a:gd name="T38" fmla="*/ 42 w 66"/>
                  <a:gd name="T39" fmla="*/ 18 h 78"/>
                  <a:gd name="T40" fmla="*/ 48 w 66"/>
                  <a:gd name="T41" fmla="*/ 30 h 78"/>
                  <a:gd name="T42" fmla="*/ 54 w 66"/>
                  <a:gd name="T43" fmla="*/ 36 h 78"/>
                  <a:gd name="T44" fmla="*/ 60 w 66"/>
                  <a:gd name="T45" fmla="*/ 24 h 78"/>
                  <a:gd name="T46" fmla="*/ 60 w 66"/>
                  <a:gd name="T47" fmla="*/ 18 h 78"/>
                  <a:gd name="T48" fmla="*/ 66 w 66"/>
                  <a:gd name="T49" fmla="*/ 18 h 78"/>
                  <a:gd name="T50" fmla="*/ 66 w 66"/>
                  <a:gd name="T51" fmla="*/ 24 h 78"/>
                  <a:gd name="T52" fmla="*/ 66 w 66"/>
                  <a:gd name="T53" fmla="*/ 36 h 78"/>
                  <a:gd name="T54" fmla="*/ 66 w 66"/>
                  <a:gd name="T55" fmla="*/ 48 h 78"/>
                  <a:gd name="T56" fmla="*/ 66 w 66"/>
                  <a:gd name="T57" fmla="*/ 60 h 78"/>
                  <a:gd name="T58" fmla="*/ 66 w 66"/>
                  <a:gd name="T59" fmla="*/ 66 h 78"/>
                  <a:gd name="T60" fmla="*/ 66 w 66"/>
                  <a:gd name="T61" fmla="*/ 72 h 78"/>
                  <a:gd name="T62" fmla="*/ 60 w 66"/>
                  <a:gd name="T63" fmla="*/ 78 h 78"/>
                  <a:gd name="T64" fmla="*/ 60 w 66"/>
                  <a:gd name="T65" fmla="*/ 72 h 78"/>
                  <a:gd name="T66" fmla="*/ 60 w 66"/>
                  <a:gd name="T67" fmla="*/ 60 h 78"/>
                  <a:gd name="T68" fmla="*/ 54 w 66"/>
                  <a:gd name="T69" fmla="*/ 54 h 78"/>
                  <a:gd name="T70" fmla="*/ 54 w 66"/>
                  <a:gd name="T71" fmla="*/ 54 h 78"/>
                  <a:gd name="T72" fmla="*/ 48 w 66"/>
                  <a:gd name="T73" fmla="*/ 60 h 78"/>
                  <a:gd name="T74" fmla="*/ 42 w 66"/>
                  <a:gd name="T75" fmla="*/ 54 h 78"/>
                  <a:gd name="T76" fmla="*/ 36 w 66"/>
                  <a:gd name="T77" fmla="*/ 48 h 78"/>
                  <a:gd name="T78" fmla="*/ 24 w 66"/>
                  <a:gd name="T79" fmla="*/ 36 h 7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66" h="78">
                    <a:moveTo>
                      <a:pt x="24" y="36"/>
                    </a:moveTo>
                    <a:lnTo>
                      <a:pt x="24" y="30"/>
                    </a:lnTo>
                    <a:lnTo>
                      <a:pt x="18" y="24"/>
                    </a:lnTo>
                    <a:lnTo>
                      <a:pt x="12" y="24"/>
                    </a:lnTo>
                    <a:lnTo>
                      <a:pt x="6" y="12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8" y="0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24" y="18"/>
                    </a:lnTo>
                    <a:lnTo>
                      <a:pt x="30" y="18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48" y="12"/>
                    </a:lnTo>
                    <a:lnTo>
                      <a:pt x="42" y="18"/>
                    </a:lnTo>
                    <a:lnTo>
                      <a:pt x="48" y="30"/>
                    </a:lnTo>
                    <a:lnTo>
                      <a:pt x="54" y="36"/>
                    </a:lnTo>
                    <a:lnTo>
                      <a:pt x="60" y="24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6" y="24"/>
                    </a:lnTo>
                    <a:lnTo>
                      <a:pt x="66" y="36"/>
                    </a:lnTo>
                    <a:lnTo>
                      <a:pt x="66" y="48"/>
                    </a:lnTo>
                    <a:lnTo>
                      <a:pt x="66" y="60"/>
                    </a:lnTo>
                    <a:lnTo>
                      <a:pt x="66" y="66"/>
                    </a:lnTo>
                    <a:lnTo>
                      <a:pt x="66" y="72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60" y="60"/>
                    </a:lnTo>
                    <a:lnTo>
                      <a:pt x="54" y="54"/>
                    </a:lnTo>
                    <a:lnTo>
                      <a:pt x="48" y="60"/>
                    </a:lnTo>
                    <a:lnTo>
                      <a:pt x="42" y="54"/>
                    </a:lnTo>
                    <a:lnTo>
                      <a:pt x="36" y="48"/>
                    </a:lnTo>
                    <a:lnTo>
                      <a:pt x="24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900" name="Freeform 781"/>
              <p:cNvSpPr>
                <a:spLocks/>
              </p:cNvSpPr>
              <p:nvPr/>
            </p:nvSpPr>
            <p:spPr bwMode="auto">
              <a:xfrm>
                <a:off x="3775" y="144"/>
                <a:ext cx="66" cy="78"/>
              </a:xfrm>
              <a:custGeom>
                <a:avLst/>
                <a:gdLst>
                  <a:gd name="T0" fmla="*/ 24 w 66"/>
                  <a:gd name="T1" fmla="*/ 36 h 78"/>
                  <a:gd name="T2" fmla="*/ 24 w 66"/>
                  <a:gd name="T3" fmla="*/ 30 h 78"/>
                  <a:gd name="T4" fmla="*/ 18 w 66"/>
                  <a:gd name="T5" fmla="*/ 24 h 78"/>
                  <a:gd name="T6" fmla="*/ 12 w 66"/>
                  <a:gd name="T7" fmla="*/ 24 h 78"/>
                  <a:gd name="T8" fmla="*/ 6 w 66"/>
                  <a:gd name="T9" fmla="*/ 12 h 78"/>
                  <a:gd name="T10" fmla="*/ 0 w 66"/>
                  <a:gd name="T11" fmla="*/ 6 h 78"/>
                  <a:gd name="T12" fmla="*/ 6 w 66"/>
                  <a:gd name="T13" fmla="*/ 0 h 78"/>
                  <a:gd name="T14" fmla="*/ 18 w 66"/>
                  <a:gd name="T15" fmla="*/ 0 h 78"/>
                  <a:gd name="T16" fmla="*/ 24 w 66"/>
                  <a:gd name="T17" fmla="*/ 6 h 78"/>
                  <a:gd name="T18" fmla="*/ 24 w 66"/>
                  <a:gd name="T19" fmla="*/ 12 h 78"/>
                  <a:gd name="T20" fmla="*/ 24 w 66"/>
                  <a:gd name="T21" fmla="*/ 18 h 78"/>
                  <a:gd name="T22" fmla="*/ 30 w 66"/>
                  <a:gd name="T23" fmla="*/ 18 h 78"/>
                  <a:gd name="T24" fmla="*/ 36 w 66"/>
                  <a:gd name="T25" fmla="*/ 18 h 78"/>
                  <a:gd name="T26" fmla="*/ 36 w 66"/>
                  <a:gd name="T27" fmla="*/ 12 h 78"/>
                  <a:gd name="T28" fmla="*/ 36 w 66"/>
                  <a:gd name="T29" fmla="*/ 6 h 78"/>
                  <a:gd name="T30" fmla="*/ 42 w 66"/>
                  <a:gd name="T31" fmla="*/ 6 h 78"/>
                  <a:gd name="T32" fmla="*/ 48 w 66"/>
                  <a:gd name="T33" fmla="*/ 12 h 78"/>
                  <a:gd name="T34" fmla="*/ 42 w 66"/>
                  <a:gd name="T35" fmla="*/ 18 h 78"/>
                  <a:gd name="T36" fmla="*/ 48 w 66"/>
                  <a:gd name="T37" fmla="*/ 30 h 78"/>
                  <a:gd name="T38" fmla="*/ 54 w 66"/>
                  <a:gd name="T39" fmla="*/ 36 h 78"/>
                  <a:gd name="T40" fmla="*/ 60 w 66"/>
                  <a:gd name="T41" fmla="*/ 24 h 78"/>
                  <a:gd name="T42" fmla="*/ 60 w 66"/>
                  <a:gd name="T43" fmla="*/ 18 h 78"/>
                  <a:gd name="T44" fmla="*/ 66 w 66"/>
                  <a:gd name="T45" fmla="*/ 18 h 78"/>
                  <a:gd name="T46" fmla="*/ 66 w 66"/>
                  <a:gd name="T47" fmla="*/ 24 h 78"/>
                  <a:gd name="T48" fmla="*/ 66 w 66"/>
                  <a:gd name="T49" fmla="*/ 36 h 78"/>
                  <a:gd name="T50" fmla="*/ 66 w 66"/>
                  <a:gd name="T51" fmla="*/ 48 h 78"/>
                  <a:gd name="T52" fmla="*/ 66 w 66"/>
                  <a:gd name="T53" fmla="*/ 60 h 78"/>
                  <a:gd name="T54" fmla="*/ 66 w 66"/>
                  <a:gd name="T55" fmla="*/ 66 h 78"/>
                  <a:gd name="T56" fmla="*/ 66 w 66"/>
                  <a:gd name="T57" fmla="*/ 72 h 78"/>
                  <a:gd name="T58" fmla="*/ 60 w 66"/>
                  <a:gd name="T59" fmla="*/ 78 h 78"/>
                  <a:gd name="T60" fmla="*/ 60 w 66"/>
                  <a:gd name="T61" fmla="*/ 72 h 78"/>
                  <a:gd name="T62" fmla="*/ 60 w 66"/>
                  <a:gd name="T63" fmla="*/ 60 h 78"/>
                  <a:gd name="T64" fmla="*/ 54 w 66"/>
                  <a:gd name="T65" fmla="*/ 54 h 78"/>
                  <a:gd name="T66" fmla="*/ 48 w 66"/>
                  <a:gd name="T67" fmla="*/ 60 h 78"/>
                  <a:gd name="T68" fmla="*/ 42 w 66"/>
                  <a:gd name="T69" fmla="*/ 54 h 78"/>
                  <a:gd name="T70" fmla="*/ 36 w 66"/>
                  <a:gd name="T71" fmla="*/ 48 h 78"/>
                  <a:gd name="T72" fmla="*/ 24 w 66"/>
                  <a:gd name="T73" fmla="*/ 36 h 7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6" h="78">
                    <a:moveTo>
                      <a:pt x="24" y="36"/>
                    </a:moveTo>
                    <a:lnTo>
                      <a:pt x="24" y="30"/>
                    </a:lnTo>
                    <a:lnTo>
                      <a:pt x="18" y="24"/>
                    </a:lnTo>
                    <a:lnTo>
                      <a:pt x="12" y="24"/>
                    </a:lnTo>
                    <a:lnTo>
                      <a:pt x="6" y="12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8" y="0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24" y="18"/>
                    </a:lnTo>
                    <a:lnTo>
                      <a:pt x="30" y="18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36" y="6"/>
                    </a:lnTo>
                    <a:lnTo>
                      <a:pt x="42" y="6"/>
                    </a:lnTo>
                    <a:lnTo>
                      <a:pt x="48" y="12"/>
                    </a:lnTo>
                    <a:lnTo>
                      <a:pt x="42" y="18"/>
                    </a:lnTo>
                    <a:lnTo>
                      <a:pt x="48" y="30"/>
                    </a:lnTo>
                    <a:lnTo>
                      <a:pt x="54" y="36"/>
                    </a:lnTo>
                    <a:lnTo>
                      <a:pt x="60" y="24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6" y="24"/>
                    </a:lnTo>
                    <a:lnTo>
                      <a:pt x="66" y="36"/>
                    </a:lnTo>
                    <a:lnTo>
                      <a:pt x="66" y="48"/>
                    </a:lnTo>
                    <a:lnTo>
                      <a:pt x="66" y="60"/>
                    </a:lnTo>
                    <a:lnTo>
                      <a:pt x="66" y="66"/>
                    </a:lnTo>
                    <a:lnTo>
                      <a:pt x="66" y="72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60" y="60"/>
                    </a:lnTo>
                    <a:lnTo>
                      <a:pt x="54" y="54"/>
                    </a:lnTo>
                    <a:lnTo>
                      <a:pt x="48" y="60"/>
                    </a:lnTo>
                    <a:lnTo>
                      <a:pt x="42" y="54"/>
                    </a:lnTo>
                    <a:lnTo>
                      <a:pt x="36" y="48"/>
                    </a:lnTo>
                    <a:lnTo>
                      <a:pt x="24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57" name="Group 782"/>
            <p:cNvGrpSpPr>
              <a:grpSpLocks/>
            </p:cNvGrpSpPr>
            <p:nvPr/>
          </p:nvGrpSpPr>
          <p:grpSpPr bwMode="auto">
            <a:xfrm>
              <a:off x="6076311" y="1074812"/>
              <a:ext cx="61504" cy="70798"/>
              <a:chOff x="3853" y="174"/>
              <a:chExt cx="30" cy="42"/>
            </a:xfrm>
            <a:solidFill>
              <a:srgbClr val="0070C0">
                <a:alpha val="27059"/>
              </a:srgbClr>
            </a:solidFill>
          </p:grpSpPr>
          <p:sp>
            <p:nvSpPr>
              <p:cNvPr id="897" name="Freeform 783"/>
              <p:cNvSpPr>
                <a:spLocks/>
              </p:cNvSpPr>
              <p:nvPr/>
            </p:nvSpPr>
            <p:spPr bwMode="auto">
              <a:xfrm>
                <a:off x="3853" y="174"/>
                <a:ext cx="30" cy="42"/>
              </a:xfrm>
              <a:custGeom>
                <a:avLst/>
                <a:gdLst>
                  <a:gd name="T0" fmla="*/ 12 w 30"/>
                  <a:gd name="T1" fmla="*/ 0 h 42"/>
                  <a:gd name="T2" fmla="*/ 12 w 30"/>
                  <a:gd name="T3" fmla="*/ 6 h 42"/>
                  <a:gd name="T4" fmla="*/ 6 w 30"/>
                  <a:gd name="T5" fmla="*/ 12 h 42"/>
                  <a:gd name="T6" fmla="*/ 6 w 30"/>
                  <a:gd name="T7" fmla="*/ 18 h 42"/>
                  <a:gd name="T8" fmla="*/ 0 w 30"/>
                  <a:gd name="T9" fmla="*/ 36 h 42"/>
                  <a:gd name="T10" fmla="*/ 18 w 30"/>
                  <a:gd name="T11" fmla="*/ 42 h 42"/>
                  <a:gd name="T12" fmla="*/ 24 w 30"/>
                  <a:gd name="T13" fmla="*/ 42 h 42"/>
                  <a:gd name="T14" fmla="*/ 30 w 30"/>
                  <a:gd name="T15" fmla="*/ 36 h 42"/>
                  <a:gd name="T16" fmla="*/ 30 w 30"/>
                  <a:gd name="T17" fmla="*/ 30 h 42"/>
                  <a:gd name="T18" fmla="*/ 12 w 30"/>
                  <a:gd name="T19" fmla="*/ 0 h 4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0" h="42">
                    <a:moveTo>
                      <a:pt x="12" y="0"/>
                    </a:moveTo>
                    <a:lnTo>
                      <a:pt x="12" y="6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0" y="36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30" y="36"/>
                    </a:lnTo>
                    <a:lnTo>
                      <a:pt x="30" y="3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98" name="Freeform 784"/>
              <p:cNvSpPr>
                <a:spLocks/>
              </p:cNvSpPr>
              <p:nvPr/>
            </p:nvSpPr>
            <p:spPr bwMode="auto">
              <a:xfrm>
                <a:off x="3853" y="174"/>
                <a:ext cx="30" cy="42"/>
              </a:xfrm>
              <a:custGeom>
                <a:avLst/>
                <a:gdLst>
                  <a:gd name="T0" fmla="*/ 12 w 30"/>
                  <a:gd name="T1" fmla="*/ 0 h 42"/>
                  <a:gd name="T2" fmla="*/ 12 w 30"/>
                  <a:gd name="T3" fmla="*/ 6 h 42"/>
                  <a:gd name="T4" fmla="*/ 6 w 30"/>
                  <a:gd name="T5" fmla="*/ 12 h 42"/>
                  <a:gd name="T6" fmla="*/ 6 w 30"/>
                  <a:gd name="T7" fmla="*/ 18 h 42"/>
                  <a:gd name="T8" fmla="*/ 0 w 30"/>
                  <a:gd name="T9" fmla="*/ 36 h 42"/>
                  <a:gd name="T10" fmla="*/ 18 w 30"/>
                  <a:gd name="T11" fmla="*/ 42 h 42"/>
                  <a:gd name="T12" fmla="*/ 24 w 30"/>
                  <a:gd name="T13" fmla="*/ 42 h 42"/>
                  <a:gd name="T14" fmla="*/ 30 w 30"/>
                  <a:gd name="T15" fmla="*/ 36 h 42"/>
                  <a:gd name="T16" fmla="*/ 30 w 30"/>
                  <a:gd name="T17" fmla="*/ 30 h 42"/>
                  <a:gd name="T18" fmla="*/ 12 w 30"/>
                  <a:gd name="T19" fmla="*/ 0 h 4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0" h="42">
                    <a:moveTo>
                      <a:pt x="12" y="0"/>
                    </a:moveTo>
                    <a:lnTo>
                      <a:pt x="12" y="6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0" y="36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30" y="36"/>
                    </a:lnTo>
                    <a:lnTo>
                      <a:pt x="30" y="3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58" name="Group 785"/>
            <p:cNvGrpSpPr>
              <a:grpSpLocks/>
            </p:cNvGrpSpPr>
            <p:nvPr/>
          </p:nvGrpSpPr>
          <p:grpSpPr bwMode="auto">
            <a:xfrm>
              <a:off x="6270432" y="1095040"/>
              <a:ext cx="109553" cy="184076"/>
              <a:chOff x="3949" y="186"/>
              <a:chExt cx="54" cy="108"/>
            </a:xfrm>
            <a:solidFill>
              <a:srgbClr val="0070C0">
                <a:alpha val="27059"/>
              </a:srgbClr>
            </a:solidFill>
          </p:grpSpPr>
          <p:sp>
            <p:nvSpPr>
              <p:cNvPr id="895" name="Freeform 786"/>
              <p:cNvSpPr>
                <a:spLocks/>
              </p:cNvSpPr>
              <p:nvPr/>
            </p:nvSpPr>
            <p:spPr bwMode="auto">
              <a:xfrm>
                <a:off x="3949" y="186"/>
                <a:ext cx="54" cy="108"/>
              </a:xfrm>
              <a:custGeom>
                <a:avLst/>
                <a:gdLst>
                  <a:gd name="T0" fmla="*/ 18 w 54"/>
                  <a:gd name="T1" fmla="*/ 0 h 108"/>
                  <a:gd name="T2" fmla="*/ 12 w 54"/>
                  <a:gd name="T3" fmla="*/ 0 h 108"/>
                  <a:gd name="T4" fmla="*/ 12 w 54"/>
                  <a:gd name="T5" fmla="*/ 0 h 108"/>
                  <a:gd name="T6" fmla="*/ 6 w 54"/>
                  <a:gd name="T7" fmla="*/ 6 h 108"/>
                  <a:gd name="T8" fmla="*/ 12 w 54"/>
                  <a:gd name="T9" fmla="*/ 6 h 108"/>
                  <a:gd name="T10" fmla="*/ 12 w 54"/>
                  <a:gd name="T11" fmla="*/ 6 h 108"/>
                  <a:gd name="T12" fmla="*/ 12 w 54"/>
                  <a:gd name="T13" fmla="*/ 12 h 108"/>
                  <a:gd name="T14" fmla="*/ 6 w 54"/>
                  <a:gd name="T15" fmla="*/ 18 h 108"/>
                  <a:gd name="T16" fmla="*/ 6 w 54"/>
                  <a:gd name="T17" fmla="*/ 18 h 108"/>
                  <a:gd name="T18" fmla="*/ 6 w 54"/>
                  <a:gd name="T19" fmla="*/ 30 h 108"/>
                  <a:gd name="T20" fmla="*/ 0 w 54"/>
                  <a:gd name="T21" fmla="*/ 42 h 108"/>
                  <a:gd name="T22" fmla="*/ 0 w 54"/>
                  <a:gd name="T23" fmla="*/ 42 h 108"/>
                  <a:gd name="T24" fmla="*/ 0 w 54"/>
                  <a:gd name="T25" fmla="*/ 48 h 108"/>
                  <a:gd name="T26" fmla="*/ 6 w 54"/>
                  <a:gd name="T27" fmla="*/ 54 h 108"/>
                  <a:gd name="T28" fmla="*/ 6 w 54"/>
                  <a:gd name="T29" fmla="*/ 60 h 108"/>
                  <a:gd name="T30" fmla="*/ 6 w 54"/>
                  <a:gd name="T31" fmla="*/ 60 h 108"/>
                  <a:gd name="T32" fmla="*/ 12 w 54"/>
                  <a:gd name="T33" fmla="*/ 66 h 108"/>
                  <a:gd name="T34" fmla="*/ 12 w 54"/>
                  <a:gd name="T35" fmla="*/ 72 h 108"/>
                  <a:gd name="T36" fmla="*/ 12 w 54"/>
                  <a:gd name="T37" fmla="*/ 78 h 108"/>
                  <a:gd name="T38" fmla="*/ 12 w 54"/>
                  <a:gd name="T39" fmla="*/ 78 h 108"/>
                  <a:gd name="T40" fmla="*/ 12 w 54"/>
                  <a:gd name="T41" fmla="*/ 78 h 108"/>
                  <a:gd name="T42" fmla="*/ 12 w 54"/>
                  <a:gd name="T43" fmla="*/ 84 h 108"/>
                  <a:gd name="T44" fmla="*/ 12 w 54"/>
                  <a:gd name="T45" fmla="*/ 96 h 108"/>
                  <a:gd name="T46" fmla="*/ 12 w 54"/>
                  <a:gd name="T47" fmla="*/ 96 h 108"/>
                  <a:gd name="T48" fmla="*/ 12 w 54"/>
                  <a:gd name="T49" fmla="*/ 102 h 108"/>
                  <a:gd name="T50" fmla="*/ 18 w 54"/>
                  <a:gd name="T51" fmla="*/ 108 h 108"/>
                  <a:gd name="T52" fmla="*/ 30 w 54"/>
                  <a:gd name="T53" fmla="*/ 108 h 108"/>
                  <a:gd name="T54" fmla="*/ 30 w 54"/>
                  <a:gd name="T55" fmla="*/ 108 h 108"/>
                  <a:gd name="T56" fmla="*/ 36 w 54"/>
                  <a:gd name="T57" fmla="*/ 102 h 108"/>
                  <a:gd name="T58" fmla="*/ 36 w 54"/>
                  <a:gd name="T59" fmla="*/ 96 h 108"/>
                  <a:gd name="T60" fmla="*/ 42 w 54"/>
                  <a:gd name="T61" fmla="*/ 90 h 108"/>
                  <a:gd name="T62" fmla="*/ 48 w 54"/>
                  <a:gd name="T63" fmla="*/ 84 h 108"/>
                  <a:gd name="T64" fmla="*/ 54 w 54"/>
                  <a:gd name="T65" fmla="*/ 78 h 108"/>
                  <a:gd name="T66" fmla="*/ 54 w 54"/>
                  <a:gd name="T67" fmla="*/ 72 h 108"/>
                  <a:gd name="T68" fmla="*/ 54 w 54"/>
                  <a:gd name="T69" fmla="*/ 60 h 108"/>
                  <a:gd name="T70" fmla="*/ 48 w 54"/>
                  <a:gd name="T71" fmla="*/ 60 h 108"/>
                  <a:gd name="T72" fmla="*/ 48 w 54"/>
                  <a:gd name="T73" fmla="*/ 54 h 108"/>
                  <a:gd name="T74" fmla="*/ 42 w 54"/>
                  <a:gd name="T75" fmla="*/ 60 h 108"/>
                  <a:gd name="T76" fmla="*/ 42 w 54"/>
                  <a:gd name="T77" fmla="*/ 60 h 108"/>
                  <a:gd name="T78" fmla="*/ 42 w 54"/>
                  <a:gd name="T79" fmla="*/ 60 h 108"/>
                  <a:gd name="T80" fmla="*/ 42 w 54"/>
                  <a:gd name="T81" fmla="*/ 54 h 108"/>
                  <a:gd name="T82" fmla="*/ 42 w 54"/>
                  <a:gd name="T83" fmla="*/ 54 h 108"/>
                  <a:gd name="T84" fmla="*/ 42 w 54"/>
                  <a:gd name="T85" fmla="*/ 48 h 108"/>
                  <a:gd name="T86" fmla="*/ 42 w 54"/>
                  <a:gd name="T87" fmla="*/ 42 h 108"/>
                  <a:gd name="T88" fmla="*/ 42 w 54"/>
                  <a:gd name="T89" fmla="*/ 36 h 108"/>
                  <a:gd name="T90" fmla="*/ 36 w 54"/>
                  <a:gd name="T91" fmla="*/ 24 h 108"/>
                  <a:gd name="T92" fmla="*/ 36 w 54"/>
                  <a:gd name="T93" fmla="*/ 18 h 108"/>
                  <a:gd name="T94" fmla="*/ 30 w 54"/>
                  <a:gd name="T95" fmla="*/ 12 h 108"/>
                  <a:gd name="T96" fmla="*/ 24 w 54"/>
                  <a:gd name="T97" fmla="*/ 6 h 108"/>
                  <a:gd name="T98" fmla="*/ 24 w 54"/>
                  <a:gd name="T99" fmla="*/ 6 h 108"/>
                  <a:gd name="T100" fmla="*/ 18 w 54"/>
                  <a:gd name="T101" fmla="*/ 6 h 108"/>
                  <a:gd name="T102" fmla="*/ 18 w 54"/>
                  <a:gd name="T103" fmla="*/ 0 h 108"/>
                  <a:gd name="T104" fmla="*/ 18 w 54"/>
                  <a:gd name="T105" fmla="*/ 0 h 10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4" h="108">
                    <a:moveTo>
                      <a:pt x="18" y="0"/>
                    </a:moveTo>
                    <a:lnTo>
                      <a:pt x="12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6" y="30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2" y="72"/>
                    </a:lnTo>
                    <a:lnTo>
                      <a:pt x="12" y="78"/>
                    </a:lnTo>
                    <a:lnTo>
                      <a:pt x="12" y="84"/>
                    </a:lnTo>
                    <a:lnTo>
                      <a:pt x="12" y="96"/>
                    </a:lnTo>
                    <a:lnTo>
                      <a:pt x="12" y="102"/>
                    </a:lnTo>
                    <a:lnTo>
                      <a:pt x="18" y="108"/>
                    </a:lnTo>
                    <a:lnTo>
                      <a:pt x="30" y="108"/>
                    </a:lnTo>
                    <a:lnTo>
                      <a:pt x="36" y="102"/>
                    </a:lnTo>
                    <a:lnTo>
                      <a:pt x="36" y="96"/>
                    </a:lnTo>
                    <a:lnTo>
                      <a:pt x="42" y="90"/>
                    </a:lnTo>
                    <a:lnTo>
                      <a:pt x="48" y="84"/>
                    </a:lnTo>
                    <a:lnTo>
                      <a:pt x="54" y="78"/>
                    </a:lnTo>
                    <a:lnTo>
                      <a:pt x="54" y="72"/>
                    </a:lnTo>
                    <a:lnTo>
                      <a:pt x="54" y="60"/>
                    </a:lnTo>
                    <a:lnTo>
                      <a:pt x="48" y="60"/>
                    </a:lnTo>
                    <a:lnTo>
                      <a:pt x="48" y="54"/>
                    </a:lnTo>
                    <a:lnTo>
                      <a:pt x="42" y="60"/>
                    </a:lnTo>
                    <a:lnTo>
                      <a:pt x="42" y="54"/>
                    </a:lnTo>
                    <a:lnTo>
                      <a:pt x="42" y="48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0" y="12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96" name="Freeform 787"/>
              <p:cNvSpPr>
                <a:spLocks/>
              </p:cNvSpPr>
              <p:nvPr/>
            </p:nvSpPr>
            <p:spPr bwMode="auto">
              <a:xfrm>
                <a:off x="3949" y="186"/>
                <a:ext cx="54" cy="108"/>
              </a:xfrm>
              <a:custGeom>
                <a:avLst/>
                <a:gdLst>
                  <a:gd name="T0" fmla="*/ 18 w 54"/>
                  <a:gd name="T1" fmla="*/ 0 h 108"/>
                  <a:gd name="T2" fmla="*/ 12 w 54"/>
                  <a:gd name="T3" fmla="*/ 0 h 108"/>
                  <a:gd name="T4" fmla="*/ 6 w 54"/>
                  <a:gd name="T5" fmla="*/ 6 h 108"/>
                  <a:gd name="T6" fmla="*/ 12 w 54"/>
                  <a:gd name="T7" fmla="*/ 6 h 108"/>
                  <a:gd name="T8" fmla="*/ 12 w 54"/>
                  <a:gd name="T9" fmla="*/ 12 h 108"/>
                  <a:gd name="T10" fmla="*/ 6 w 54"/>
                  <a:gd name="T11" fmla="*/ 18 h 108"/>
                  <a:gd name="T12" fmla="*/ 6 w 54"/>
                  <a:gd name="T13" fmla="*/ 30 h 108"/>
                  <a:gd name="T14" fmla="*/ 0 w 54"/>
                  <a:gd name="T15" fmla="*/ 42 h 108"/>
                  <a:gd name="T16" fmla="*/ 0 w 54"/>
                  <a:gd name="T17" fmla="*/ 48 h 108"/>
                  <a:gd name="T18" fmla="*/ 6 w 54"/>
                  <a:gd name="T19" fmla="*/ 54 h 108"/>
                  <a:gd name="T20" fmla="*/ 6 w 54"/>
                  <a:gd name="T21" fmla="*/ 60 h 108"/>
                  <a:gd name="T22" fmla="*/ 12 w 54"/>
                  <a:gd name="T23" fmla="*/ 66 h 108"/>
                  <a:gd name="T24" fmla="*/ 12 w 54"/>
                  <a:gd name="T25" fmla="*/ 72 h 108"/>
                  <a:gd name="T26" fmla="*/ 12 w 54"/>
                  <a:gd name="T27" fmla="*/ 78 h 108"/>
                  <a:gd name="T28" fmla="*/ 12 w 54"/>
                  <a:gd name="T29" fmla="*/ 84 h 108"/>
                  <a:gd name="T30" fmla="*/ 12 w 54"/>
                  <a:gd name="T31" fmla="*/ 96 h 108"/>
                  <a:gd name="T32" fmla="*/ 12 w 54"/>
                  <a:gd name="T33" fmla="*/ 102 h 108"/>
                  <a:gd name="T34" fmla="*/ 18 w 54"/>
                  <a:gd name="T35" fmla="*/ 108 h 108"/>
                  <a:gd name="T36" fmla="*/ 30 w 54"/>
                  <a:gd name="T37" fmla="*/ 108 h 108"/>
                  <a:gd name="T38" fmla="*/ 36 w 54"/>
                  <a:gd name="T39" fmla="*/ 102 h 108"/>
                  <a:gd name="T40" fmla="*/ 36 w 54"/>
                  <a:gd name="T41" fmla="*/ 96 h 108"/>
                  <a:gd name="T42" fmla="*/ 42 w 54"/>
                  <a:gd name="T43" fmla="*/ 90 h 108"/>
                  <a:gd name="T44" fmla="*/ 48 w 54"/>
                  <a:gd name="T45" fmla="*/ 84 h 108"/>
                  <a:gd name="T46" fmla="*/ 54 w 54"/>
                  <a:gd name="T47" fmla="*/ 78 h 108"/>
                  <a:gd name="T48" fmla="*/ 54 w 54"/>
                  <a:gd name="T49" fmla="*/ 72 h 108"/>
                  <a:gd name="T50" fmla="*/ 54 w 54"/>
                  <a:gd name="T51" fmla="*/ 60 h 108"/>
                  <a:gd name="T52" fmla="*/ 48 w 54"/>
                  <a:gd name="T53" fmla="*/ 60 h 108"/>
                  <a:gd name="T54" fmla="*/ 48 w 54"/>
                  <a:gd name="T55" fmla="*/ 54 h 108"/>
                  <a:gd name="T56" fmla="*/ 42 w 54"/>
                  <a:gd name="T57" fmla="*/ 60 h 108"/>
                  <a:gd name="T58" fmla="*/ 42 w 54"/>
                  <a:gd name="T59" fmla="*/ 54 h 108"/>
                  <a:gd name="T60" fmla="*/ 42 w 54"/>
                  <a:gd name="T61" fmla="*/ 48 h 108"/>
                  <a:gd name="T62" fmla="*/ 42 w 54"/>
                  <a:gd name="T63" fmla="*/ 42 h 108"/>
                  <a:gd name="T64" fmla="*/ 42 w 54"/>
                  <a:gd name="T65" fmla="*/ 36 h 108"/>
                  <a:gd name="T66" fmla="*/ 36 w 54"/>
                  <a:gd name="T67" fmla="*/ 24 h 108"/>
                  <a:gd name="T68" fmla="*/ 36 w 54"/>
                  <a:gd name="T69" fmla="*/ 18 h 108"/>
                  <a:gd name="T70" fmla="*/ 30 w 54"/>
                  <a:gd name="T71" fmla="*/ 12 h 108"/>
                  <a:gd name="T72" fmla="*/ 24 w 54"/>
                  <a:gd name="T73" fmla="*/ 6 h 108"/>
                  <a:gd name="T74" fmla="*/ 18 w 54"/>
                  <a:gd name="T75" fmla="*/ 6 h 108"/>
                  <a:gd name="T76" fmla="*/ 18 w 54"/>
                  <a:gd name="T77" fmla="*/ 0 h 108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54" h="108">
                    <a:moveTo>
                      <a:pt x="18" y="0"/>
                    </a:moveTo>
                    <a:lnTo>
                      <a:pt x="12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6" y="30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2" y="72"/>
                    </a:lnTo>
                    <a:lnTo>
                      <a:pt x="12" y="78"/>
                    </a:lnTo>
                    <a:lnTo>
                      <a:pt x="12" y="84"/>
                    </a:lnTo>
                    <a:lnTo>
                      <a:pt x="12" y="96"/>
                    </a:lnTo>
                    <a:lnTo>
                      <a:pt x="12" y="102"/>
                    </a:lnTo>
                    <a:lnTo>
                      <a:pt x="18" y="108"/>
                    </a:lnTo>
                    <a:lnTo>
                      <a:pt x="30" y="108"/>
                    </a:lnTo>
                    <a:lnTo>
                      <a:pt x="36" y="102"/>
                    </a:lnTo>
                    <a:lnTo>
                      <a:pt x="36" y="96"/>
                    </a:lnTo>
                    <a:lnTo>
                      <a:pt x="42" y="90"/>
                    </a:lnTo>
                    <a:lnTo>
                      <a:pt x="48" y="84"/>
                    </a:lnTo>
                    <a:lnTo>
                      <a:pt x="54" y="78"/>
                    </a:lnTo>
                    <a:lnTo>
                      <a:pt x="54" y="72"/>
                    </a:lnTo>
                    <a:lnTo>
                      <a:pt x="54" y="60"/>
                    </a:lnTo>
                    <a:lnTo>
                      <a:pt x="48" y="60"/>
                    </a:lnTo>
                    <a:lnTo>
                      <a:pt x="48" y="54"/>
                    </a:lnTo>
                    <a:lnTo>
                      <a:pt x="42" y="60"/>
                    </a:lnTo>
                    <a:lnTo>
                      <a:pt x="42" y="54"/>
                    </a:lnTo>
                    <a:lnTo>
                      <a:pt x="42" y="48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0" y="12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59" name="Group 788"/>
            <p:cNvGrpSpPr>
              <a:grpSpLocks/>
            </p:cNvGrpSpPr>
            <p:nvPr/>
          </p:nvGrpSpPr>
          <p:grpSpPr bwMode="auto">
            <a:xfrm>
              <a:off x="5905254" y="1631085"/>
              <a:ext cx="84567" cy="50570"/>
              <a:chOff x="3769" y="498"/>
              <a:chExt cx="42" cy="30"/>
            </a:xfrm>
            <a:solidFill>
              <a:srgbClr val="0070C0">
                <a:alpha val="27059"/>
              </a:srgbClr>
            </a:solidFill>
          </p:grpSpPr>
          <p:sp>
            <p:nvSpPr>
              <p:cNvPr id="893" name="Freeform 789"/>
              <p:cNvSpPr>
                <a:spLocks/>
              </p:cNvSpPr>
              <p:nvPr/>
            </p:nvSpPr>
            <p:spPr bwMode="auto">
              <a:xfrm>
                <a:off x="3769" y="498"/>
                <a:ext cx="42" cy="30"/>
              </a:xfrm>
              <a:custGeom>
                <a:avLst/>
                <a:gdLst>
                  <a:gd name="T0" fmla="*/ 24 w 42"/>
                  <a:gd name="T1" fmla="*/ 12 h 30"/>
                  <a:gd name="T2" fmla="*/ 18 w 42"/>
                  <a:gd name="T3" fmla="*/ 12 h 30"/>
                  <a:gd name="T4" fmla="*/ 12 w 42"/>
                  <a:gd name="T5" fmla="*/ 12 h 30"/>
                  <a:gd name="T6" fmla="*/ 12 w 42"/>
                  <a:gd name="T7" fmla="*/ 18 h 30"/>
                  <a:gd name="T8" fmla="*/ 6 w 42"/>
                  <a:gd name="T9" fmla="*/ 18 h 30"/>
                  <a:gd name="T10" fmla="*/ 6 w 42"/>
                  <a:gd name="T11" fmla="*/ 18 h 30"/>
                  <a:gd name="T12" fmla="*/ 0 w 42"/>
                  <a:gd name="T13" fmla="*/ 24 h 30"/>
                  <a:gd name="T14" fmla="*/ 6 w 42"/>
                  <a:gd name="T15" fmla="*/ 30 h 30"/>
                  <a:gd name="T16" fmla="*/ 24 w 42"/>
                  <a:gd name="T17" fmla="*/ 30 h 30"/>
                  <a:gd name="T18" fmla="*/ 30 w 42"/>
                  <a:gd name="T19" fmla="*/ 30 h 30"/>
                  <a:gd name="T20" fmla="*/ 36 w 42"/>
                  <a:gd name="T21" fmla="*/ 30 h 30"/>
                  <a:gd name="T22" fmla="*/ 36 w 42"/>
                  <a:gd name="T23" fmla="*/ 30 h 30"/>
                  <a:gd name="T24" fmla="*/ 42 w 42"/>
                  <a:gd name="T25" fmla="*/ 30 h 30"/>
                  <a:gd name="T26" fmla="*/ 36 w 42"/>
                  <a:gd name="T27" fmla="*/ 24 h 30"/>
                  <a:gd name="T28" fmla="*/ 36 w 42"/>
                  <a:gd name="T29" fmla="*/ 18 h 30"/>
                  <a:gd name="T30" fmla="*/ 36 w 42"/>
                  <a:gd name="T31" fmla="*/ 12 h 30"/>
                  <a:gd name="T32" fmla="*/ 30 w 42"/>
                  <a:gd name="T33" fmla="*/ 6 h 30"/>
                  <a:gd name="T34" fmla="*/ 30 w 42"/>
                  <a:gd name="T35" fmla="*/ 0 h 30"/>
                  <a:gd name="T36" fmla="*/ 24 w 42"/>
                  <a:gd name="T37" fmla="*/ 0 h 30"/>
                  <a:gd name="T38" fmla="*/ 24 w 42"/>
                  <a:gd name="T39" fmla="*/ 0 h 30"/>
                  <a:gd name="T40" fmla="*/ 24 w 42"/>
                  <a:gd name="T41" fmla="*/ 12 h 3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2" h="30">
                    <a:moveTo>
                      <a:pt x="24" y="12"/>
                    </a:moveTo>
                    <a:lnTo>
                      <a:pt x="18" y="12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24" y="30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30" y="6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24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94" name="Freeform 790"/>
              <p:cNvSpPr>
                <a:spLocks/>
              </p:cNvSpPr>
              <p:nvPr/>
            </p:nvSpPr>
            <p:spPr bwMode="auto">
              <a:xfrm>
                <a:off x="3769" y="498"/>
                <a:ext cx="42" cy="30"/>
              </a:xfrm>
              <a:custGeom>
                <a:avLst/>
                <a:gdLst>
                  <a:gd name="T0" fmla="*/ 24 w 42"/>
                  <a:gd name="T1" fmla="*/ 12 h 30"/>
                  <a:gd name="T2" fmla="*/ 18 w 42"/>
                  <a:gd name="T3" fmla="*/ 12 h 30"/>
                  <a:gd name="T4" fmla="*/ 12 w 42"/>
                  <a:gd name="T5" fmla="*/ 12 h 30"/>
                  <a:gd name="T6" fmla="*/ 12 w 42"/>
                  <a:gd name="T7" fmla="*/ 18 h 30"/>
                  <a:gd name="T8" fmla="*/ 6 w 42"/>
                  <a:gd name="T9" fmla="*/ 18 h 30"/>
                  <a:gd name="T10" fmla="*/ 0 w 42"/>
                  <a:gd name="T11" fmla="*/ 24 h 30"/>
                  <a:gd name="T12" fmla="*/ 6 w 42"/>
                  <a:gd name="T13" fmla="*/ 30 h 30"/>
                  <a:gd name="T14" fmla="*/ 24 w 42"/>
                  <a:gd name="T15" fmla="*/ 30 h 30"/>
                  <a:gd name="T16" fmla="*/ 30 w 42"/>
                  <a:gd name="T17" fmla="*/ 30 h 30"/>
                  <a:gd name="T18" fmla="*/ 36 w 42"/>
                  <a:gd name="T19" fmla="*/ 30 h 30"/>
                  <a:gd name="T20" fmla="*/ 42 w 42"/>
                  <a:gd name="T21" fmla="*/ 30 h 30"/>
                  <a:gd name="T22" fmla="*/ 36 w 42"/>
                  <a:gd name="T23" fmla="*/ 24 h 30"/>
                  <a:gd name="T24" fmla="*/ 36 w 42"/>
                  <a:gd name="T25" fmla="*/ 18 h 30"/>
                  <a:gd name="T26" fmla="*/ 36 w 42"/>
                  <a:gd name="T27" fmla="*/ 12 h 30"/>
                  <a:gd name="T28" fmla="*/ 30 w 42"/>
                  <a:gd name="T29" fmla="*/ 6 h 30"/>
                  <a:gd name="T30" fmla="*/ 30 w 42"/>
                  <a:gd name="T31" fmla="*/ 0 h 30"/>
                  <a:gd name="T32" fmla="*/ 24 w 42"/>
                  <a:gd name="T33" fmla="*/ 0 h 30"/>
                  <a:gd name="T34" fmla="*/ 24 w 42"/>
                  <a:gd name="T35" fmla="*/ 12 h 3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2" h="30">
                    <a:moveTo>
                      <a:pt x="24" y="12"/>
                    </a:moveTo>
                    <a:lnTo>
                      <a:pt x="18" y="12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24" y="30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2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30" y="6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24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60" name="Group 791"/>
            <p:cNvGrpSpPr>
              <a:grpSpLocks/>
            </p:cNvGrpSpPr>
            <p:nvPr/>
          </p:nvGrpSpPr>
          <p:grpSpPr bwMode="auto">
            <a:xfrm>
              <a:off x="5953304" y="1115268"/>
              <a:ext cx="49972" cy="20228"/>
              <a:chOff x="3793" y="198"/>
              <a:chExt cx="24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891" name="Freeform 792"/>
              <p:cNvSpPr>
                <a:spLocks/>
              </p:cNvSpPr>
              <p:nvPr/>
            </p:nvSpPr>
            <p:spPr bwMode="auto">
              <a:xfrm>
                <a:off x="3793" y="198"/>
                <a:ext cx="24" cy="12"/>
              </a:xfrm>
              <a:custGeom>
                <a:avLst/>
                <a:gdLst>
                  <a:gd name="T0" fmla="*/ 12 w 24"/>
                  <a:gd name="T1" fmla="*/ 0 h 12"/>
                  <a:gd name="T2" fmla="*/ 6 w 24"/>
                  <a:gd name="T3" fmla="*/ 0 h 12"/>
                  <a:gd name="T4" fmla="*/ 6 w 24"/>
                  <a:gd name="T5" fmla="*/ 0 h 12"/>
                  <a:gd name="T6" fmla="*/ 0 w 24"/>
                  <a:gd name="T7" fmla="*/ 0 h 12"/>
                  <a:gd name="T8" fmla="*/ 0 w 24"/>
                  <a:gd name="T9" fmla="*/ 6 h 12"/>
                  <a:gd name="T10" fmla="*/ 6 w 24"/>
                  <a:gd name="T11" fmla="*/ 6 h 12"/>
                  <a:gd name="T12" fmla="*/ 12 w 24"/>
                  <a:gd name="T13" fmla="*/ 12 h 12"/>
                  <a:gd name="T14" fmla="*/ 18 w 24"/>
                  <a:gd name="T15" fmla="*/ 12 h 12"/>
                  <a:gd name="T16" fmla="*/ 24 w 24"/>
                  <a:gd name="T17" fmla="*/ 12 h 12"/>
                  <a:gd name="T18" fmla="*/ 24 w 24"/>
                  <a:gd name="T19" fmla="*/ 12 h 12"/>
                  <a:gd name="T20" fmla="*/ 24 w 24"/>
                  <a:gd name="T21" fmla="*/ 6 h 12"/>
                  <a:gd name="T22" fmla="*/ 18 w 24"/>
                  <a:gd name="T23" fmla="*/ 0 h 12"/>
                  <a:gd name="T24" fmla="*/ 12 w 24"/>
                  <a:gd name="T25" fmla="*/ 0 h 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4" h="12">
                    <a:moveTo>
                      <a:pt x="12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24" y="6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92" name="Freeform 793"/>
              <p:cNvSpPr>
                <a:spLocks/>
              </p:cNvSpPr>
              <p:nvPr/>
            </p:nvSpPr>
            <p:spPr bwMode="auto">
              <a:xfrm>
                <a:off x="3793" y="198"/>
                <a:ext cx="24" cy="12"/>
              </a:xfrm>
              <a:custGeom>
                <a:avLst/>
                <a:gdLst>
                  <a:gd name="T0" fmla="*/ 12 w 24"/>
                  <a:gd name="T1" fmla="*/ 0 h 12"/>
                  <a:gd name="T2" fmla="*/ 6 w 24"/>
                  <a:gd name="T3" fmla="*/ 0 h 12"/>
                  <a:gd name="T4" fmla="*/ 0 w 24"/>
                  <a:gd name="T5" fmla="*/ 0 h 12"/>
                  <a:gd name="T6" fmla="*/ 0 w 24"/>
                  <a:gd name="T7" fmla="*/ 6 h 12"/>
                  <a:gd name="T8" fmla="*/ 6 w 24"/>
                  <a:gd name="T9" fmla="*/ 6 h 12"/>
                  <a:gd name="T10" fmla="*/ 12 w 24"/>
                  <a:gd name="T11" fmla="*/ 12 h 12"/>
                  <a:gd name="T12" fmla="*/ 18 w 24"/>
                  <a:gd name="T13" fmla="*/ 12 h 12"/>
                  <a:gd name="T14" fmla="*/ 24 w 24"/>
                  <a:gd name="T15" fmla="*/ 12 h 12"/>
                  <a:gd name="T16" fmla="*/ 24 w 24"/>
                  <a:gd name="T17" fmla="*/ 6 h 12"/>
                  <a:gd name="T18" fmla="*/ 18 w 24"/>
                  <a:gd name="T19" fmla="*/ 0 h 12"/>
                  <a:gd name="T20" fmla="*/ 12 w 24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4" h="12">
                    <a:moveTo>
                      <a:pt x="12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24" y="6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61" name="Group 794"/>
            <p:cNvGrpSpPr>
              <a:grpSpLocks/>
            </p:cNvGrpSpPr>
            <p:nvPr/>
          </p:nvGrpSpPr>
          <p:grpSpPr bwMode="auto">
            <a:xfrm>
              <a:off x="5891800" y="1198203"/>
              <a:ext cx="38440" cy="30342"/>
              <a:chOff x="3763" y="246"/>
              <a:chExt cx="18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889" name="Freeform 795"/>
              <p:cNvSpPr>
                <a:spLocks/>
              </p:cNvSpPr>
              <p:nvPr/>
            </p:nvSpPr>
            <p:spPr bwMode="auto">
              <a:xfrm>
                <a:off x="3763" y="246"/>
                <a:ext cx="18" cy="18"/>
              </a:xfrm>
              <a:custGeom>
                <a:avLst/>
                <a:gdLst>
                  <a:gd name="T0" fmla="*/ 6 w 18"/>
                  <a:gd name="T1" fmla="*/ 18 h 18"/>
                  <a:gd name="T2" fmla="*/ 12 w 18"/>
                  <a:gd name="T3" fmla="*/ 12 h 18"/>
                  <a:gd name="T4" fmla="*/ 18 w 18"/>
                  <a:gd name="T5" fmla="*/ 6 h 18"/>
                  <a:gd name="T6" fmla="*/ 12 w 18"/>
                  <a:gd name="T7" fmla="*/ 6 h 18"/>
                  <a:gd name="T8" fmla="*/ 6 w 18"/>
                  <a:gd name="T9" fmla="*/ 0 h 18"/>
                  <a:gd name="T10" fmla="*/ 6 w 18"/>
                  <a:gd name="T11" fmla="*/ 6 h 18"/>
                  <a:gd name="T12" fmla="*/ 0 w 18"/>
                  <a:gd name="T13" fmla="*/ 6 h 18"/>
                  <a:gd name="T14" fmla="*/ 6 w 18"/>
                  <a:gd name="T15" fmla="*/ 12 h 18"/>
                  <a:gd name="T16" fmla="*/ 6 w 18"/>
                  <a:gd name="T17" fmla="*/ 18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8">
                    <a:moveTo>
                      <a:pt x="6" y="18"/>
                    </a:moveTo>
                    <a:lnTo>
                      <a:pt x="12" y="12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90" name="Freeform 796"/>
              <p:cNvSpPr>
                <a:spLocks/>
              </p:cNvSpPr>
              <p:nvPr/>
            </p:nvSpPr>
            <p:spPr bwMode="auto">
              <a:xfrm>
                <a:off x="3763" y="246"/>
                <a:ext cx="18" cy="18"/>
              </a:xfrm>
              <a:custGeom>
                <a:avLst/>
                <a:gdLst>
                  <a:gd name="T0" fmla="*/ 6 w 18"/>
                  <a:gd name="T1" fmla="*/ 18 h 18"/>
                  <a:gd name="T2" fmla="*/ 12 w 18"/>
                  <a:gd name="T3" fmla="*/ 12 h 18"/>
                  <a:gd name="T4" fmla="*/ 18 w 18"/>
                  <a:gd name="T5" fmla="*/ 6 h 18"/>
                  <a:gd name="T6" fmla="*/ 12 w 18"/>
                  <a:gd name="T7" fmla="*/ 6 h 18"/>
                  <a:gd name="T8" fmla="*/ 6 w 18"/>
                  <a:gd name="T9" fmla="*/ 0 h 18"/>
                  <a:gd name="T10" fmla="*/ 6 w 18"/>
                  <a:gd name="T11" fmla="*/ 6 h 18"/>
                  <a:gd name="T12" fmla="*/ 0 w 18"/>
                  <a:gd name="T13" fmla="*/ 6 h 18"/>
                  <a:gd name="T14" fmla="*/ 6 w 18"/>
                  <a:gd name="T15" fmla="*/ 12 h 18"/>
                  <a:gd name="T16" fmla="*/ 6 w 18"/>
                  <a:gd name="T17" fmla="*/ 18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" h="18">
                    <a:moveTo>
                      <a:pt x="6" y="18"/>
                    </a:moveTo>
                    <a:lnTo>
                      <a:pt x="12" y="12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62" name="Group 797"/>
            <p:cNvGrpSpPr>
              <a:grpSpLocks/>
            </p:cNvGrpSpPr>
            <p:nvPr/>
          </p:nvGrpSpPr>
          <p:grpSpPr bwMode="auto">
            <a:xfrm>
              <a:off x="5941772" y="1218432"/>
              <a:ext cx="23064" cy="10114"/>
              <a:chOff x="3787" y="258"/>
              <a:chExt cx="12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887" name="Freeform 798"/>
              <p:cNvSpPr>
                <a:spLocks/>
              </p:cNvSpPr>
              <p:nvPr/>
            </p:nvSpPr>
            <p:spPr bwMode="auto">
              <a:xfrm>
                <a:off x="3787" y="258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6 h 6"/>
                  <a:gd name="T4" fmla="*/ 12 w 12"/>
                  <a:gd name="T5" fmla="*/ 0 h 6"/>
                  <a:gd name="T6" fmla="*/ 12 w 12"/>
                  <a:gd name="T7" fmla="*/ 0 h 6"/>
                  <a:gd name="T8" fmla="*/ 6 w 12"/>
                  <a:gd name="T9" fmla="*/ 0 h 6"/>
                  <a:gd name="T10" fmla="*/ 6 w 12"/>
                  <a:gd name="T11" fmla="*/ 0 h 6"/>
                  <a:gd name="T12" fmla="*/ 0 w 12"/>
                  <a:gd name="T13" fmla="*/ 0 h 6"/>
                  <a:gd name="T14" fmla="*/ 0 w 12"/>
                  <a:gd name="T15" fmla="*/ 0 h 6"/>
                  <a:gd name="T16" fmla="*/ 0 w 12"/>
                  <a:gd name="T17" fmla="*/ 6 h 6"/>
                  <a:gd name="T18" fmla="*/ 6 w 12"/>
                  <a:gd name="T19" fmla="*/ 6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88" name="Freeform 799"/>
              <p:cNvSpPr>
                <a:spLocks/>
              </p:cNvSpPr>
              <p:nvPr/>
            </p:nvSpPr>
            <p:spPr bwMode="auto">
              <a:xfrm>
                <a:off x="3787" y="258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6 h 6"/>
                  <a:gd name="T4" fmla="*/ 12 w 12"/>
                  <a:gd name="T5" fmla="*/ 0 h 6"/>
                  <a:gd name="T6" fmla="*/ 6 w 12"/>
                  <a:gd name="T7" fmla="*/ 0 h 6"/>
                  <a:gd name="T8" fmla="*/ 0 w 12"/>
                  <a:gd name="T9" fmla="*/ 0 h 6"/>
                  <a:gd name="T10" fmla="*/ 0 w 12"/>
                  <a:gd name="T11" fmla="*/ 6 h 6"/>
                  <a:gd name="T12" fmla="*/ 6 w 12"/>
                  <a:gd name="T13" fmla="*/ 6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63" name="Group 800"/>
            <p:cNvGrpSpPr>
              <a:grpSpLocks/>
            </p:cNvGrpSpPr>
            <p:nvPr/>
          </p:nvGrpSpPr>
          <p:grpSpPr bwMode="auto">
            <a:xfrm>
              <a:off x="5978290" y="1145610"/>
              <a:ext cx="24986" cy="10114"/>
              <a:chOff x="3805" y="216"/>
              <a:chExt cx="12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885" name="Freeform 801"/>
              <p:cNvSpPr>
                <a:spLocks/>
              </p:cNvSpPr>
              <p:nvPr/>
            </p:nvSpPr>
            <p:spPr bwMode="auto">
              <a:xfrm>
                <a:off x="3805" y="216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6 h 6"/>
                  <a:gd name="T4" fmla="*/ 6 w 12"/>
                  <a:gd name="T5" fmla="*/ 0 h 6"/>
                  <a:gd name="T6" fmla="*/ 6 w 12"/>
                  <a:gd name="T7" fmla="*/ 0 h 6"/>
                  <a:gd name="T8" fmla="*/ 0 w 12"/>
                  <a:gd name="T9" fmla="*/ 0 h 6"/>
                  <a:gd name="T10" fmla="*/ 0 w 12"/>
                  <a:gd name="T11" fmla="*/ 6 h 6"/>
                  <a:gd name="T12" fmla="*/ 0 w 12"/>
                  <a:gd name="T13" fmla="*/ 6 h 6"/>
                  <a:gd name="T14" fmla="*/ 6 w 12"/>
                  <a:gd name="T15" fmla="*/ 6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6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86" name="Freeform 802"/>
              <p:cNvSpPr>
                <a:spLocks/>
              </p:cNvSpPr>
              <p:nvPr/>
            </p:nvSpPr>
            <p:spPr bwMode="auto">
              <a:xfrm>
                <a:off x="3805" y="216"/>
                <a:ext cx="12" cy="6"/>
              </a:xfrm>
              <a:custGeom>
                <a:avLst/>
                <a:gdLst>
                  <a:gd name="T0" fmla="*/ 6 w 12"/>
                  <a:gd name="T1" fmla="*/ 6 h 6"/>
                  <a:gd name="T2" fmla="*/ 12 w 12"/>
                  <a:gd name="T3" fmla="*/ 6 h 6"/>
                  <a:gd name="T4" fmla="*/ 6 w 12"/>
                  <a:gd name="T5" fmla="*/ 0 h 6"/>
                  <a:gd name="T6" fmla="*/ 0 w 12"/>
                  <a:gd name="T7" fmla="*/ 0 h 6"/>
                  <a:gd name="T8" fmla="*/ 0 w 12"/>
                  <a:gd name="T9" fmla="*/ 6 h 6"/>
                  <a:gd name="T10" fmla="*/ 6 w 12"/>
                  <a:gd name="T11" fmla="*/ 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" h="6">
                    <a:moveTo>
                      <a:pt x="6" y="6"/>
                    </a:moveTo>
                    <a:lnTo>
                      <a:pt x="12" y="6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64" name="Group 803"/>
            <p:cNvGrpSpPr>
              <a:grpSpLocks/>
            </p:cNvGrpSpPr>
            <p:nvPr/>
          </p:nvGrpSpPr>
          <p:grpSpPr bwMode="auto">
            <a:xfrm>
              <a:off x="5757261" y="1238660"/>
              <a:ext cx="24986" cy="10114"/>
              <a:chOff x="3697" y="270"/>
              <a:chExt cx="12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883" name="Freeform 804"/>
              <p:cNvSpPr>
                <a:spLocks/>
              </p:cNvSpPr>
              <p:nvPr/>
            </p:nvSpPr>
            <p:spPr bwMode="auto">
              <a:xfrm>
                <a:off x="3697" y="270"/>
                <a:ext cx="12" cy="6"/>
              </a:xfrm>
              <a:custGeom>
                <a:avLst/>
                <a:gdLst>
                  <a:gd name="T0" fmla="*/ 6 w 12"/>
                  <a:gd name="T1" fmla="*/ 0 h 6"/>
                  <a:gd name="T2" fmla="*/ 12 w 12"/>
                  <a:gd name="T3" fmla="*/ 0 h 6"/>
                  <a:gd name="T4" fmla="*/ 12 w 12"/>
                  <a:gd name="T5" fmla="*/ 0 h 6"/>
                  <a:gd name="T6" fmla="*/ 12 w 12"/>
                  <a:gd name="T7" fmla="*/ 6 h 6"/>
                  <a:gd name="T8" fmla="*/ 6 w 12"/>
                  <a:gd name="T9" fmla="*/ 6 h 6"/>
                  <a:gd name="T10" fmla="*/ 0 w 12"/>
                  <a:gd name="T11" fmla="*/ 6 h 6"/>
                  <a:gd name="T12" fmla="*/ 0 w 12"/>
                  <a:gd name="T13" fmla="*/ 0 h 6"/>
                  <a:gd name="T14" fmla="*/ 0 w 12"/>
                  <a:gd name="T15" fmla="*/ 0 h 6"/>
                  <a:gd name="T16" fmla="*/ 6 w 12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6">
                    <a:moveTo>
                      <a:pt x="6" y="0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84" name="Freeform 805"/>
              <p:cNvSpPr>
                <a:spLocks/>
              </p:cNvSpPr>
              <p:nvPr/>
            </p:nvSpPr>
            <p:spPr bwMode="auto">
              <a:xfrm>
                <a:off x="3697" y="270"/>
                <a:ext cx="12" cy="6"/>
              </a:xfrm>
              <a:custGeom>
                <a:avLst/>
                <a:gdLst>
                  <a:gd name="T0" fmla="*/ 6 w 12"/>
                  <a:gd name="T1" fmla="*/ 0 h 6"/>
                  <a:gd name="T2" fmla="*/ 12 w 12"/>
                  <a:gd name="T3" fmla="*/ 0 h 6"/>
                  <a:gd name="T4" fmla="*/ 12 w 12"/>
                  <a:gd name="T5" fmla="*/ 6 h 6"/>
                  <a:gd name="T6" fmla="*/ 6 w 12"/>
                  <a:gd name="T7" fmla="*/ 6 h 6"/>
                  <a:gd name="T8" fmla="*/ 0 w 12"/>
                  <a:gd name="T9" fmla="*/ 6 h 6"/>
                  <a:gd name="T10" fmla="*/ 0 w 12"/>
                  <a:gd name="T11" fmla="*/ 0 h 6"/>
                  <a:gd name="T12" fmla="*/ 6 w 12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6">
                    <a:moveTo>
                      <a:pt x="6" y="0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65" name="Group 806"/>
            <p:cNvGrpSpPr>
              <a:grpSpLocks/>
            </p:cNvGrpSpPr>
            <p:nvPr/>
          </p:nvGrpSpPr>
          <p:grpSpPr bwMode="auto">
            <a:xfrm>
              <a:off x="6295417" y="1414644"/>
              <a:ext cx="84567" cy="60684"/>
              <a:chOff x="3961" y="372"/>
              <a:chExt cx="42" cy="36"/>
            </a:xfrm>
            <a:solidFill>
              <a:srgbClr val="0070C0">
                <a:alpha val="27059"/>
              </a:srgbClr>
            </a:solidFill>
          </p:grpSpPr>
          <p:sp>
            <p:nvSpPr>
              <p:cNvPr id="881" name="Freeform 807"/>
              <p:cNvSpPr>
                <a:spLocks/>
              </p:cNvSpPr>
              <p:nvPr/>
            </p:nvSpPr>
            <p:spPr bwMode="auto">
              <a:xfrm>
                <a:off x="3961" y="372"/>
                <a:ext cx="42" cy="36"/>
              </a:xfrm>
              <a:custGeom>
                <a:avLst/>
                <a:gdLst>
                  <a:gd name="T0" fmla="*/ 12 w 42"/>
                  <a:gd name="T1" fmla="*/ 0 h 36"/>
                  <a:gd name="T2" fmla="*/ 6 w 42"/>
                  <a:gd name="T3" fmla="*/ 0 h 36"/>
                  <a:gd name="T4" fmla="*/ 0 w 42"/>
                  <a:gd name="T5" fmla="*/ 6 h 36"/>
                  <a:gd name="T6" fmla="*/ 0 w 42"/>
                  <a:gd name="T7" fmla="*/ 12 h 36"/>
                  <a:gd name="T8" fmla="*/ 0 w 42"/>
                  <a:gd name="T9" fmla="*/ 18 h 36"/>
                  <a:gd name="T10" fmla="*/ 0 w 42"/>
                  <a:gd name="T11" fmla="*/ 30 h 36"/>
                  <a:gd name="T12" fmla="*/ 6 w 42"/>
                  <a:gd name="T13" fmla="*/ 30 h 36"/>
                  <a:gd name="T14" fmla="*/ 12 w 42"/>
                  <a:gd name="T15" fmla="*/ 36 h 36"/>
                  <a:gd name="T16" fmla="*/ 12 w 42"/>
                  <a:gd name="T17" fmla="*/ 36 h 36"/>
                  <a:gd name="T18" fmla="*/ 18 w 42"/>
                  <a:gd name="T19" fmla="*/ 36 h 36"/>
                  <a:gd name="T20" fmla="*/ 42 w 42"/>
                  <a:gd name="T21" fmla="*/ 30 h 36"/>
                  <a:gd name="T22" fmla="*/ 42 w 42"/>
                  <a:gd name="T23" fmla="*/ 30 h 36"/>
                  <a:gd name="T24" fmla="*/ 42 w 42"/>
                  <a:gd name="T25" fmla="*/ 6 h 36"/>
                  <a:gd name="T26" fmla="*/ 42 w 42"/>
                  <a:gd name="T27" fmla="*/ 6 h 36"/>
                  <a:gd name="T28" fmla="*/ 36 w 42"/>
                  <a:gd name="T29" fmla="*/ 0 h 36"/>
                  <a:gd name="T30" fmla="*/ 30 w 42"/>
                  <a:gd name="T31" fmla="*/ 0 h 36"/>
                  <a:gd name="T32" fmla="*/ 24 w 42"/>
                  <a:gd name="T33" fmla="*/ 0 h 36"/>
                  <a:gd name="T34" fmla="*/ 12 w 42"/>
                  <a:gd name="T35" fmla="*/ 0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2" h="36">
                    <a:moveTo>
                      <a:pt x="12" y="0"/>
                    </a:move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42" y="30"/>
                    </a:lnTo>
                    <a:lnTo>
                      <a:pt x="42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82" name="Freeform 808"/>
              <p:cNvSpPr>
                <a:spLocks/>
              </p:cNvSpPr>
              <p:nvPr/>
            </p:nvSpPr>
            <p:spPr bwMode="auto">
              <a:xfrm>
                <a:off x="3961" y="372"/>
                <a:ext cx="42" cy="36"/>
              </a:xfrm>
              <a:custGeom>
                <a:avLst/>
                <a:gdLst>
                  <a:gd name="T0" fmla="*/ 12 w 42"/>
                  <a:gd name="T1" fmla="*/ 0 h 36"/>
                  <a:gd name="T2" fmla="*/ 6 w 42"/>
                  <a:gd name="T3" fmla="*/ 0 h 36"/>
                  <a:gd name="T4" fmla="*/ 0 w 42"/>
                  <a:gd name="T5" fmla="*/ 6 h 36"/>
                  <a:gd name="T6" fmla="*/ 0 w 42"/>
                  <a:gd name="T7" fmla="*/ 12 h 36"/>
                  <a:gd name="T8" fmla="*/ 0 w 42"/>
                  <a:gd name="T9" fmla="*/ 18 h 36"/>
                  <a:gd name="T10" fmla="*/ 0 w 42"/>
                  <a:gd name="T11" fmla="*/ 30 h 36"/>
                  <a:gd name="T12" fmla="*/ 6 w 42"/>
                  <a:gd name="T13" fmla="*/ 30 h 36"/>
                  <a:gd name="T14" fmla="*/ 12 w 42"/>
                  <a:gd name="T15" fmla="*/ 36 h 36"/>
                  <a:gd name="T16" fmla="*/ 18 w 42"/>
                  <a:gd name="T17" fmla="*/ 36 h 36"/>
                  <a:gd name="T18" fmla="*/ 42 w 42"/>
                  <a:gd name="T19" fmla="*/ 30 h 36"/>
                  <a:gd name="T20" fmla="*/ 42 w 42"/>
                  <a:gd name="T21" fmla="*/ 6 h 36"/>
                  <a:gd name="T22" fmla="*/ 36 w 42"/>
                  <a:gd name="T23" fmla="*/ 0 h 36"/>
                  <a:gd name="T24" fmla="*/ 30 w 42"/>
                  <a:gd name="T25" fmla="*/ 0 h 36"/>
                  <a:gd name="T26" fmla="*/ 24 w 42"/>
                  <a:gd name="T27" fmla="*/ 0 h 36"/>
                  <a:gd name="T28" fmla="*/ 12 w 42"/>
                  <a:gd name="T29" fmla="*/ 0 h 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2" h="36">
                    <a:moveTo>
                      <a:pt x="12" y="0"/>
                    </a:move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12" y="36"/>
                    </a:lnTo>
                    <a:lnTo>
                      <a:pt x="18" y="36"/>
                    </a:lnTo>
                    <a:lnTo>
                      <a:pt x="42" y="30"/>
                    </a:lnTo>
                    <a:lnTo>
                      <a:pt x="42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66" name="Group 809"/>
            <p:cNvGrpSpPr>
              <a:grpSpLocks/>
            </p:cNvGrpSpPr>
            <p:nvPr/>
          </p:nvGrpSpPr>
          <p:grpSpPr bwMode="auto">
            <a:xfrm>
              <a:off x="6354999" y="1681655"/>
              <a:ext cx="38440" cy="42479"/>
              <a:chOff x="3991" y="528"/>
              <a:chExt cx="18" cy="24"/>
            </a:xfrm>
            <a:solidFill>
              <a:srgbClr val="0070C0">
                <a:alpha val="27059"/>
              </a:srgbClr>
            </a:solidFill>
          </p:grpSpPr>
          <p:sp>
            <p:nvSpPr>
              <p:cNvPr id="879" name="Freeform 810"/>
              <p:cNvSpPr>
                <a:spLocks/>
              </p:cNvSpPr>
              <p:nvPr/>
            </p:nvSpPr>
            <p:spPr bwMode="auto">
              <a:xfrm>
                <a:off x="3991" y="528"/>
                <a:ext cx="18" cy="24"/>
              </a:xfrm>
              <a:custGeom>
                <a:avLst/>
                <a:gdLst>
                  <a:gd name="T0" fmla="*/ 12 w 18"/>
                  <a:gd name="T1" fmla="*/ 0 h 24"/>
                  <a:gd name="T2" fmla="*/ 6 w 18"/>
                  <a:gd name="T3" fmla="*/ 0 h 24"/>
                  <a:gd name="T4" fmla="*/ 0 w 18"/>
                  <a:gd name="T5" fmla="*/ 6 h 24"/>
                  <a:gd name="T6" fmla="*/ 0 w 18"/>
                  <a:gd name="T7" fmla="*/ 12 h 24"/>
                  <a:gd name="T8" fmla="*/ 0 w 18"/>
                  <a:gd name="T9" fmla="*/ 18 h 24"/>
                  <a:gd name="T10" fmla="*/ 0 w 18"/>
                  <a:gd name="T11" fmla="*/ 18 h 24"/>
                  <a:gd name="T12" fmla="*/ 6 w 18"/>
                  <a:gd name="T13" fmla="*/ 24 h 24"/>
                  <a:gd name="T14" fmla="*/ 12 w 18"/>
                  <a:gd name="T15" fmla="*/ 24 h 24"/>
                  <a:gd name="T16" fmla="*/ 18 w 18"/>
                  <a:gd name="T17" fmla="*/ 24 h 24"/>
                  <a:gd name="T18" fmla="*/ 18 w 18"/>
                  <a:gd name="T19" fmla="*/ 18 h 24"/>
                  <a:gd name="T20" fmla="*/ 18 w 18"/>
                  <a:gd name="T21" fmla="*/ 6 h 24"/>
                  <a:gd name="T22" fmla="*/ 18 w 18"/>
                  <a:gd name="T23" fmla="*/ 0 h 24"/>
                  <a:gd name="T24" fmla="*/ 12 w 18"/>
                  <a:gd name="T25" fmla="*/ 0 h 24"/>
                  <a:gd name="T26" fmla="*/ 12 w 18"/>
                  <a:gd name="T27" fmla="*/ 0 h 2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8" h="24">
                    <a:moveTo>
                      <a:pt x="12" y="0"/>
                    </a:move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80" name="Freeform 811"/>
              <p:cNvSpPr>
                <a:spLocks/>
              </p:cNvSpPr>
              <p:nvPr/>
            </p:nvSpPr>
            <p:spPr bwMode="auto">
              <a:xfrm>
                <a:off x="3991" y="528"/>
                <a:ext cx="18" cy="24"/>
              </a:xfrm>
              <a:custGeom>
                <a:avLst/>
                <a:gdLst>
                  <a:gd name="T0" fmla="*/ 12 w 18"/>
                  <a:gd name="T1" fmla="*/ 0 h 24"/>
                  <a:gd name="T2" fmla="*/ 6 w 18"/>
                  <a:gd name="T3" fmla="*/ 0 h 24"/>
                  <a:gd name="T4" fmla="*/ 0 w 18"/>
                  <a:gd name="T5" fmla="*/ 6 h 24"/>
                  <a:gd name="T6" fmla="*/ 0 w 18"/>
                  <a:gd name="T7" fmla="*/ 12 h 24"/>
                  <a:gd name="T8" fmla="*/ 0 w 18"/>
                  <a:gd name="T9" fmla="*/ 18 h 24"/>
                  <a:gd name="T10" fmla="*/ 6 w 18"/>
                  <a:gd name="T11" fmla="*/ 24 h 24"/>
                  <a:gd name="T12" fmla="*/ 12 w 18"/>
                  <a:gd name="T13" fmla="*/ 24 h 24"/>
                  <a:gd name="T14" fmla="*/ 18 w 18"/>
                  <a:gd name="T15" fmla="*/ 24 h 24"/>
                  <a:gd name="T16" fmla="*/ 18 w 18"/>
                  <a:gd name="T17" fmla="*/ 18 h 24"/>
                  <a:gd name="T18" fmla="*/ 18 w 18"/>
                  <a:gd name="T19" fmla="*/ 6 h 24"/>
                  <a:gd name="T20" fmla="*/ 18 w 18"/>
                  <a:gd name="T21" fmla="*/ 0 h 24"/>
                  <a:gd name="T22" fmla="*/ 12 w 18"/>
                  <a:gd name="T23" fmla="*/ 0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8" h="24">
                    <a:moveTo>
                      <a:pt x="12" y="0"/>
                    </a:moveTo>
                    <a:lnTo>
                      <a:pt x="6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67" name="Group 812"/>
            <p:cNvGrpSpPr>
              <a:grpSpLocks/>
            </p:cNvGrpSpPr>
            <p:nvPr/>
          </p:nvGrpSpPr>
          <p:grpSpPr bwMode="auto">
            <a:xfrm>
              <a:off x="6233914" y="1910232"/>
              <a:ext cx="48050" cy="8091"/>
              <a:chOff x="3931" y="660"/>
              <a:chExt cx="24" cy="6"/>
            </a:xfrm>
            <a:solidFill>
              <a:srgbClr val="0070C0">
                <a:alpha val="27059"/>
              </a:srgbClr>
            </a:solidFill>
          </p:grpSpPr>
          <p:sp>
            <p:nvSpPr>
              <p:cNvPr id="877" name="Freeform 813"/>
              <p:cNvSpPr>
                <a:spLocks/>
              </p:cNvSpPr>
              <p:nvPr/>
            </p:nvSpPr>
            <p:spPr bwMode="auto">
              <a:xfrm>
                <a:off x="3931" y="660"/>
                <a:ext cx="24" cy="6"/>
              </a:xfrm>
              <a:custGeom>
                <a:avLst/>
                <a:gdLst>
                  <a:gd name="T0" fmla="*/ 12 w 24"/>
                  <a:gd name="T1" fmla="*/ 6 h 6"/>
                  <a:gd name="T2" fmla="*/ 18 w 24"/>
                  <a:gd name="T3" fmla="*/ 6 h 6"/>
                  <a:gd name="T4" fmla="*/ 24 w 24"/>
                  <a:gd name="T5" fmla="*/ 6 h 6"/>
                  <a:gd name="T6" fmla="*/ 18 w 24"/>
                  <a:gd name="T7" fmla="*/ 0 h 6"/>
                  <a:gd name="T8" fmla="*/ 12 w 24"/>
                  <a:gd name="T9" fmla="*/ 0 h 6"/>
                  <a:gd name="T10" fmla="*/ 6 w 24"/>
                  <a:gd name="T11" fmla="*/ 0 h 6"/>
                  <a:gd name="T12" fmla="*/ 0 w 24"/>
                  <a:gd name="T13" fmla="*/ 6 h 6"/>
                  <a:gd name="T14" fmla="*/ 12 w 24"/>
                  <a:gd name="T15" fmla="*/ 6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6">
                    <a:moveTo>
                      <a:pt x="12" y="6"/>
                    </a:moveTo>
                    <a:lnTo>
                      <a:pt x="18" y="6"/>
                    </a:lnTo>
                    <a:lnTo>
                      <a:pt x="24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78" name="Freeform 814"/>
              <p:cNvSpPr>
                <a:spLocks/>
              </p:cNvSpPr>
              <p:nvPr/>
            </p:nvSpPr>
            <p:spPr bwMode="auto">
              <a:xfrm>
                <a:off x="3931" y="660"/>
                <a:ext cx="24" cy="6"/>
              </a:xfrm>
              <a:custGeom>
                <a:avLst/>
                <a:gdLst>
                  <a:gd name="T0" fmla="*/ 12 w 24"/>
                  <a:gd name="T1" fmla="*/ 6 h 6"/>
                  <a:gd name="T2" fmla="*/ 18 w 24"/>
                  <a:gd name="T3" fmla="*/ 6 h 6"/>
                  <a:gd name="T4" fmla="*/ 24 w 24"/>
                  <a:gd name="T5" fmla="*/ 6 h 6"/>
                  <a:gd name="T6" fmla="*/ 18 w 24"/>
                  <a:gd name="T7" fmla="*/ 0 h 6"/>
                  <a:gd name="T8" fmla="*/ 12 w 24"/>
                  <a:gd name="T9" fmla="*/ 0 h 6"/>
                  <a:gd name="T10" fmla="*/ 6 w 24"/>
                  <a:gd name="T11" fmla="*/ 0 h 6"/>
                  <a:gd name="T12" fmla="*/ 0 w 24"/>
                  <a:gd name="T13" fmla="*/ 6 h 6"/>
                  <a:gd name="T14" fmla="*/ 12 w 24"/>
                  <a:gd name="T15" fmla="*/ 6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4" h="6">
                    <a:moveTo>
                      <a:pt x="12" y="6"/>
                    </a:moveTo>
                    <a:lnTo>
                      <a:pt x="18" y="6"/>
                    </a:lnTo>
                    <a:lnTo>
                      <a:pt x="24" y="6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68" name="Group 815"/>
            <p:cNvGrpSpPr>
              <a:grpSpLocks/>
            </p:cNvGrpSpPr>
            <p:nvPr/>
          </p:nvGrpSpPr>
          <p:grpSpPr bwMode="auto">
            <a:xfrm>
              <a:off x="6295417" y="1940575"/>
              <a:ext cx="24986" cy="30342"/>
              <a:chOff x="3961" y="678"/>
              <a:chExt cx="12" cy="18"/>
            </a:xfrm>
            <a:solidFill>
              <a:srgbClr val="0070C0">
                <a:alpha val="27059"/>
              </a:srgbClr>
            </a:solidFill>
          </p:grpSpPr>
          <p:sp>
            <p:nvSpPr>
              <p:cNvPr id="875" name="Freeform 816"/>
              <p:cNvSpPr>
                <a:spLocks/>
              </p:cNvSpPr>
              <p:nvPr/>
            </p:nvSpPr>
            <p:spPr bwMode="auto">
              <a:xfrm>
                <a:off x="3961" y="678"/>
                <a:ext cx="12" cy="18"/>
              </a:xfrm>
              <a:custGeom>
                <a:avLst/>
                <a:gdLst>
                  <a:gd name="T0" fmla="*/ 6 w 12"/>
                  <a:gd name="T1" fmla="*/ 18 h 18"/>
                  <a:gd name="T2" fmla="*/ 6 w 12"/>
                  <a:gd name="T3" fmla="*/ 18 h 18"/>
                  <a:gd name="T4" fmla="*/ 12 w 12"/>
                  <a:gd name="T5" fmla="*/ 6 h 18"/>
                  <a:gd name="T6" fmla="*/ 6 w 12"/>
                  <a:gd name="T7" fmla="*/ 0 h 18"/>
                  <a:gd name="T8" fmla="*/ 6 w 12"/>
                  <a:gd name="T9" fmla="*/ 0 h 18"/>
                  <a:gd name="T10" fmla="*/ 6 w 12"/>
                  <a:gd name="T11" fmla="*/ 0 h 18"/>
                  <a:gd name="T12" fmla="*/ 0 w 12"/>
                  <a:gd name="T13" fmla="*/ 6 h 18"/>
                  <a:gd name="T14" fmla="*/ 6 w 12"/>
                  <a:gd name="T15" fmla="*/ 18 h 18"/>
                  <a:gd name="T16" fmla="*/ 6 w 12"/>
                  <a:gd name="T17" fmla="*/ 18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8">
                    <a:moveTo>
                      <a:pt x="6" y="18"/>
                    </a:moveTo>
                    <a:lnTo>
                      <a:pt x="6" y="18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76" name="Freeform 817"/>
              <p:cNvSpPr>
                <a:spLocks/>
              </p:cNvSpPr>
              <p:nvPr/>
            </p:nvSpPr>
            <p:spPr bwMode="auto">
              <a:xfrm>
                <a:off x="3961" y="678"/>
                <a:ext cx="12" cy="18"/>
              </a:xfrm>
              <a:custGeom>
                <a:avLst/>
                <a:gdLst>
                  <a:gd name="T0" fmla="*/ 6 w 12"/>
                  <a:gd name="T1" fmla="*/ 18 h 18"/>
                  <a:gd name="T2" fmla="*/ 12 w 12"/>
                  <a:gd name="T3" fmla="*/ 6 h 18"/>
                  <a:gd name="T4" fmla="*/ 6 w 12"/>
                  <a:gd name="T5" fmla="*/ 0 h 18"/>
                  <a:gd name="T6" fmla="*/ 0 w 12"/>
                  <a:gd name="T7" fmla="*/ 6 h 18"/>
                  <a:gd name="T8" fmla="*/ 6 w 12"/>
                  <a:gd name="T9" fmla="*/ 18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2" h="18">
                    <a:moveTo>
                      <a:pt x="6" y="18"/>
                    </a:moveTo>
                    <a:lnTo>
                      <a:pt x="12" y="6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69" name="Group 818"/>
            <p:cNvGrpSpPr>
              <a:grpSpLocks/>
            </p:cNvGrpSpPr>
            <p:nvPr/>
          </p:nvGrpSpPr>
          <p:grpSpPr bwMode="auto">
            <a:xfrm>
              <a:off x="6354999" y="1887981"/>
              <a:ext cx="24986" cy="22251"/>
              <a:chOff x="3991" y="648"/>
              <a:chExt cx="12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873" name="Freeform 819"/>
              <p:cNvSpPr>
                <a:spLocks/>
              </p:cNvSpPr>
              <p:nvPr/>
            </p:nvSpPr>
            <p:spPr bwMode="auto">
              <a:xfrm>
                <a:off x="3991" y="648"/>
                <a:ext cx="12" cy="12"/>
              </a:xfrm>
              <a:custGeom>
                <a:avLst/>
                <a:gdLst>
                  <a:gd name="T0" fmla="*/ 6 w 12"/>
                  <a:gd name="T1" fmla="*/ 12 h 12"/>
                  <a:gd name="T2" fmla="*/ 12 w 12"/>
                  <a:gd name="T3" fmla="*/ 12 h 12"/>
                  <a:gd name="T4" fmla="*/ 12 w 12"/>
                  <a:gd name="T5" fmla="*/ 6 h 12"/>
                  <a:gd name="T6" fmla="*/ 12 w 12"/>
                  <a:gd name="T7" fmla="*/ 0 h 12"/>
                  <a:gd name="T8" fmla="*/ 6 w 12"/>
                  <a:gd name="T9" fmla="*/ 0 h 12"/>
                  <a:gd name="T10" fmla="*/ 0 w 12"/>
                  <a:gd name="T11" fmla="*/ 0 h 12"/>
                  <a:gd name="T12" fmla="*/ 0 w 12"/>
                  <a:gd name="T13" fmla="*/ 6 h 12"/>
                  <a:gd name="T14" fmla="*/ 0 w 12"/>
                  <a:gd name="T15" fmla="*/ 12 h 12"/>
                  <a:gd name="T16" fmla="*/ 6 w 12"/>
                  <a:gd name="T17" fmla="*/ 12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2">
                    <a:moveTo>
                      <a:pt x="6" y="12"/>
                    </a:moveTo>
                    <a:lnTo>
                      <a:pt x="12" y="12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74" name="Freeform 820"/>
              <p:cNvSpPr>
                <a:spLocks/>
              </p:cNvSpPr>
              <p:nvPr/>
            </p:nvSpPr>
            <p:spPr bwMode="auto">
              <a:xfrm>
                <a:off x="3991" y="648"/>
                <a:ext cx="12" cy="12"/>
              </a:xfrm>
              <a:custGeom>
                <a:avLst/>
                <a:gdLst>
                  <a:gd name="T0" fmla="*/ 6 w 12"/>
                  <a:gd name="T1" fmla="*/ 12 h 12"/>
                  <a:gd name="T2" fmla="*/ 12 w 12"/>
                  <a:gd name="T3" fmla="*/ 12 h 12"/>
                  <a:gd name="T4" fmla="*/ 12 w 12"/>
                  <a:gd name="T5" fmla="*/ 6 h 12"/>
                  <a:gd name="T6" fmla="*/ 12 w 12"/>
                  <a:gd name="T7" fmla="*/ 0 h 12"/>
                  <a:gd name="T8" fmla="*/ 6 w 12"/>
                  <a:gd name="T9" fmla="*/ 0 h 12"/>
                  <a:gd name="T10" fmla="*/ 0 w 12"/>
                  <a:gd name="T11" fmla="*/ 0 h 12"/>
                  <a:gd name="T12" fmla="*/ 0 w 12"/>
                  <a:gd name="T13" fmla="*/ 6 h 12"/>
                  <a:gd name="T14" fmla="*/ 0 w 12"/>
                  <a:gd name="T15" fmla="*/ 12 h 12"/>
                  <a:gd name="T16" fmla="*/ 6 w 12"/>
                  <a:gd name="T17" fmla="*/ 12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2">
                    <a:moveTo>
                      <a:pt x="6" y="12"/>
                    </a:moveTo>
                    <a:lnTo>
                      <a:pt x="12" y="12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70" name="Group 821"/>
            <p:cNvGrpSpPr>
              <a:grpSpLocks/>
            </p:cNvGrpSpPr>
            <p:nvPr/>
          </p:nvGrpSpPr>
          <p:grpSpPr bwMode="auto">
            <a:xfrm>
              <a:off x="6343467" y="1062675"/>
              <a:ext cx="353646" cy="341855"/>
              <a:chOff x="3985" y="168"/>
              <a:chExt cx="174" cy="198"/>
            </a:xfrm>
            <a:solidFill>
              <a:srgbClr val="0070C0">
                <a:alpha val="27059"/>
              </a:srgbClr>
            </a:solidFill>
          </p:grpSpPr>
          <p:sp>
            <p:nvSpPr>
              <p:cNvPr id="871" name="Freeform 822"/>
              <p:cNvSpPr>
                <a:spLocks/>
              </p:cNvSpPr>
              <p:nvPr/>
            </p:nvSpPr>
            <p:spPr bwMode="auto">
              <a:xfrm>
                <a:off x="3985" y="168"/>
                <a:ext cx="174" cy="198"/>
              </a:xfrm>
              <a:custGeom>
                <a:avLst/>
                <a:gdLst>
                  <a:gd name="T0" fmla="*/ 162 w 174"/>
                  <a:gd name="T1" fmla="*/ 60 h 198"/>
                  <a:gd name="T2" fmla="*/ 150 w 174"/>
                  <a:gd name="T3" fmla="*/ 66 h 198"/>
                  <a:gd name="T4" fmla="*/ 144 w 174"/>
                  <a:gd name="T5" fmla="*/ 66 h 198"/>
                  <a:gd name="T6" fmla="*/ 156 w 174"/>
                  <a:gd name="T7" fmla="*/ 72 h 198"/>
                  <a:gd name="T8" fmla="*/ 150 w 174"/>
                  <a:gd name="T9" fmla="*/ 78 h 198"/>
                  <a:gd name="T10" fmla="*/ 156 w 174"/>
                  <a:gd name="T11" fmla="*/ 84 h 198"/>
                  <a:gd name="T12" fmla="*/ 132 w 174"/>
                  <a:gd name="T13" fmla="*/ 96 h 198"/>
                  <a:gd name="T14" fmla="*/ 120 w 174"/>
                  <a:gd name="T15" fmla="*/ 108 h 198"/>
                  <a:gd name="T16" fmla="*/ 114 w 174"/>
                  <a:gd name="T17" fmla="*/ 120 h 198"/>
                  <a:gd name="T18" fmla="*/ 96 w 174"/>
                  <a:gd name="T19" fmla="*/ 120 h 198"/>
                  <a:gd name="T20" fmla="*/ 90 w 174"/>
                  <a:gd name="T21" fmla="*/ 132 h 198"/>
                  <a:gd name="T22" fmla="*/ 78 w 174"/>
                  <a:gd name="T23" fmla="*/ 138 h 198"/>
                  <a:gd name="T24" fmla="*/ 90 w 174"/>
                  <a:gd name="T25" fmla="*/ 138 h 198"/>
                  <a:gd name="T26" fmla="*/ 78 w 174"/>
                  <a:gd name="T27" fmla="*/ 150 h 198"/>
                  <a:gd name="T28" fmla="*/ 66 w 174"/>
                  <a:gd name="T29" fmla="*/ 168 h 198"/>
                  <a:gd name="T30" fmla="*/ 54 w 174"/>
                  <a:gd name="T31" fmla="*/ 174 h 198"/>
                  <a:gd name="T32" fmla="*/ 60 w 174"/>
                  <a:gd name="T33" fmla="*/ 192 h 198"/>
                  <a:gd name="T34" fmla="*/ 36 w 174"/>
                  <a:gd name="T35" fmla="*/ 198 h 198"/>
                  <a:gd name="T36" fmla="*/ 24 w 174"/>
                  <a:gd name="T37" fmla="*/ 186 h 198"/>
                  <a:gd name="T38" fmla="*/ 0 w 174"/>
                  <a:gd name="T39" fmla="*/ 180 h 198"/>
                  <a:gd name="T40" fmla="*/ 12 w 174"/>
                  <a:gd name="T41" fmla="*/ 162 h 198"/>
                  <a:gd name="T42" fmla="*/ 12 w 174"/>
                  <a:gd name="T43" fmla="*/ 156 h 198"/>
                  <a:gd name="T44" fmla="*/ 30 w 174"/>
                  <a:gd name="T45" fmla="*/ 162 h 198"/>
                  <a:gd name="T46" fmla="*/ 24 w 174"/>
                  <a:gd name="T47" fmla="*/ 150 h 198"/>
                  <a:gd name="T48" fmla="*/ 24 w 174"/>
                  <a:gd name="T49" fmla="*/ 144 h 198"/>
                  <a:gd name="T50" fmla="*/ 24 w 174"/>
                  <a:gd name="T51" fmla="*/ 132 h 198"/>
                  <a:gd name="T52" fmla="*/ 36 w 174"/>
                  <a:gd name="T53" fmla="*/ 132 h 198"/>
                  <a:gd name="T54" fmla="*/ 48 w 174"/>
                  <a:gd name="T55" fmla="*/ 120 h 198"/>
                  <a:gd name="T56" fmla="*/ 36 w 174"/>
                  <a:gd name="T57" fmla="*/ 120 h 198"/>
                  <a:gd name="T58" fmla="*/ 42 w 174"/>
                  <a:gd name="T59" fmla="*/ 96 h 198"/>
                  <a:gd name="T60" fmla="*/ 42 w 174"/>
                  <a:gd name="T61" fmla="*/ 78 h 198"/>
                  <a:gd name="T62" fmla="*/ 54 w 174"/>
                  <a:gd name="T63" fmla="*/ 90 h 198"/>
                  <a:gd name="T64" fmla="*/ 60 w 174"/>
                  <a:gd name="T65" fmla="*/ 96 h 198"/>
                  <a:gd name="T66" fmla="*/ 66 w 174"/>
                  <a:gd name="T67" fmla="*/ 72 h 198"/>
                  <a:gd name="T68" fmla="*/ 96 w 174"/>
                  <a:gd name="T69" fmla="*/ 66 h 198"/>
                  <a:gd name="T70" fmla="*/ 102 w 174"/>
                  <a:gd name="T71" fmla="*/ 60 h 198"/>
                  <a:gd name="T72" fmla="*/ 66 w 174"/>
                  <a:gd name="T73" fmla="*/ 54 h 198"/>
                  <a:gd name="T74" fmla="*/ 48 w 174"/>
                  <a:gd name="T75" fmla="*/ 48 h 198"/>
                  <a:gd name="T76" fmla="*/ 42 w 174"/>
                  <a:gd name="T77" fmla="*/ 54 h 198"/>
                  <a:gd name="T78" fmla="*/ 36 w 174"/>
                  <a:gd name="T79" fmla="*/ 36 h 198"/>
                  <a:gd name="T80" fmla="*/ 36 w 174"/>
                  <a:gd name="T81" fmla="*/ 24 h 198"/>
                  <a:gd name="T82" fmla="*/ 54 w 174"/>
                  <a:gd name="T83" fmla="*/ 24 h 198"/>
                  <a:gd name="T84" fmla="*/ 72 w 174"/>
                  <a:gd name="T85" fmla="*/ 12 h 198"/>
                  <a:gd name="T86" fmla="*/ 84 w 174"/>
                  <a:gd name="T87" fmla="*/ 6 h 198"/>
                  <a:gd name="T88" fmla="*/ 96 w 174"/>
                  <a:gd name="T89" fmla="*/ 0 h 198"/>
                  <a:gd name="T90" fmla="*/ 132 w 174"/>
                  <a:gd name="T91" fmla="*/ 6 h 198"/>
                  <a:gd name="T92" fmla="*/ 156 w 174"/>
                  <a:gd name="T93" fmla="*/ 18 h 198"/>
                  <a:gd name="T94" fmla="*/ 162 w 174"/>
                  <a:gd name="T95" fmla="*/ 24 h 198"/>
                  <a:gd name="T96" fmla="*/ 162 w 174"/>
                  <a:gd name="T97" fmla="*/ 42 h 19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74" h="198">
                    <a:moveTo>
                      <a:pt x="168" y="48"/>
                    </a:moveTo>
                    <a:lnTo>
                      <a:pt x="174" y="60"/>
                    </a:lnTo>
                    <a:lnTo>
                      <a:pt x="162" y="60"/>
                    </a:lnTo>
                    <a:lnTo>
                      <a:pt x="156" y="60"/>
                    </a:lnTo>
                    <a:lnTo>
                      <a:pt x="150" y="60"/>
                    </a:lnTo>
                    <a:lnTo>
                      <a:pt x="144" y="60"/>
                    </a:lnTo>
                    <a:lnTo>
                      <a:pt x="150" y="66"/>
                    </a:lnTo>
                    <a:lnTo>
                      <a:pt x="144" y="66"/>
                    </a:lnTo>
                    <a:lnTo>
                      <a:pt x="144" y="72"/>
                    </a:lnTo>
                    <a:lnTo>
                      <a:pt x="156" y="72"/>
                    </a:lnTo>
                    <a:lnTo>
                      <a:pt x="150" y="72"/>
                    </a:lnTo>
                    <a:lnTo>
                      <a:pt x="150" y="78"/>
                    </a:lnTo>
                    <a:lnTo>
                      <a:pt x="162" y="78"/>
                    </a:lnTo>
                    <a:lnTo>
                      <a:pt x="162" y="84"/>
                    </a:lnTo>
                    <a:lnTo>
                      <a:pt x="156" y="84"/>
                    </a:lnTo>
                    <a:lnTo>
                      <a:pt x="150" y="84"/>
                    </a:lnTo>
                    <a:lnTo>
                      <a:pt x="144" y="90"/>
                    </a:lnTo>
                    <a:lnTo>
                      <a:pt x="138" y="96"/>
                    </a:lnTo>
                    <a:lnTo>
                      <a:pt x="132" y="96"/>
                    </a:lnTo>
                    <a:lnTo>
                      <a:pt x="126" y="102"/>
                    </a:lnTo>
                    <a:lnTo>
                      <a:pt x="120" y="102"/>
                    </a:lnTo>
                    <a:lnTo>
                      <a:pt x="126" y="102"/>
                    </a:lnTo>
                    <a:lnTo>
                      <a:pt x="120" y="108"/>
                    </a:lnTo>
                    <a:lnTo>
                      <a:pt x="114" y="114"/>
                    </a:lnTo>
                    <a:lnTo>
                      <a:pt x="114" y="120"/>
                    </a:lnTo>
                    <a:lnTo>
                      <a:pt x="108" y="120"/>
                    </a:lnTo>
                    <a:lnTo>
                      <a:pt x="102" y="120"/>
                    </a:lnTo>
                    <a:lnTo>
                      <a:pt x="96" y="120"/>
                    </a:lnTo>
                    <a:lnTo>
                      <a:pt x="96" y="126"/>
                    </a:lnTo>
                    <a:lnTo>
                      <a:pt x="90" y="126"/>
                    </a:lnTo>
                    <a:lnTo>
                      <a:pt x="90" y="132"/>
                    </a:lnTo>
                    <a:lnTo>
                      <a:pt x="84" y="132"/>
                    </a:lnTo>
                    <a:lnTo>
                      <a:pt x="78" y="132"/>
                    </a:lnTo>
                    <a:lnTo>
                      <a:pt x="78" y="138"/>
                    </a:lnTo>
                    <a:lnTo>
                      <a:pt x="84" y="138"/>
                    </a:lnTo>
                    <a:lnTo>
                      <a:pt x="90" y="138"/>
                    </a:lnTo>
                    <a:lnTo>
                      <a:pt x="90" y="144"/>
                    </a:lnTo>
                    <a:lnTo>
                      <a:pt x="84" y="150"/>
                    </a:lnTo>
                    <a:lnTo>
                      <a:pt x="78" y="150"/>
                    </a:lnTo>
                    <a:lnTo>
                      <a:pt x="78" y="156"/>
                    </a:lnTo>
                    <a:lnTo>
                      <a:pt x="72" y="162"/>
                    </a:lnTo>
                    <a:lnTo>
                      <a:pt x="66" y="168"/>
                    </a:lnTo>
                    <a:lnTo>
                      <a:pt x="60" y="168"/>
                    </a:lnTo>
                    <a:lnTo>
                      <a:pt x="54" y="174"/>
                    </a:lnTo>
                    <a:lnTo>
                      <a:pt x="60" y="180"/>
                    </a:lnTo>
                    <a:lnTo>
                      <a:pt x="60" y="186"/>
                    </a:lnTo>
                    <a:lnTo>
                      <a:pt x="60" y="192"/>
                    </a:lnTo>
                    <a:lnTo>
                      <a:pt x="54" y="192"/>
                    </a:lnTo>
                    <a:lnTo>
                      <a:pt x="48" y="192"/>
                    </a:lnTo>
                    <a:lnTo>
                      <a:pt x="42" y="198"/>
                    </a:lnTo>
                    <a:lnTo>
                      <a:pt x="36" y="198"/>
                    </a:lnTo>
                    <a:lnTo>
                      <a:pt x="36" y="192"/>
                    </a:lnTo>
                    <a:lnTo>
                      <a:pt x="30" y="192"/>
                    </a:lnTo>
                    <a:lnTo>
                      <a:pt x="30" y="186"/>
                    </a:lnTo>
                    <a:lnTo>
                      <a:pt x="24" y="186"/>
                    </a:lnTo>
                    <a:lnTo>
                      <a:pt x="18" y="192"/>
                    </a:lnTo>
                    <a:lnTo>
                      <a:pt x="18" y="186"/>
                    </a:lnTo>
                    <a:lnTo>
                      <a:pt x="12" y="186"/>
                    </a:lnTo>
                    <a:lnTo>
                      <a:pt x="0" y="180"/>
                    </a:lnTo>
                    <a:lnTo>
                      <a:pt x="0" y="174"/>
                    </a:lnTo>
                    <a:lnTo>
                      <a:pt x="6" y="168"/>
                    </a:lnTo>
                    <a:lnTo>
                      <a:pt x="12" y="162"/>
                    </a:lnTo>
                    <a:lnTo>
                      <a:pt x="18" y="162"/>
                    </a:lnTo>
                    <a:lnTo>
                      <a:pt x="12" y="156"/>
                    </a:lnTo>
                    <a:lnTo>
                      <a:pt x="18" y="150"/>
                    </a:lnTo>
                    <a:lnTo>
                      <a:pt x="18" y="156"/>
                    </a:lnTo>
                    <a:lnTo>
                      <a:pt x="30" y="162"/>
                    </a:lnTo>
                    <a:lnTo>
                      <a:pt x="30" y="156"/>
                    </a:lnTo>
                    <a:lnTo>
                      <a:pt x="30" y="150"/>
                    </a:lnTo>
                    <a:lnTo>
                      <a:pt x="24" y="150"/>
                    </a:lnTo>
                    <a:lnTo>
                      <a:pt x="30" y="144"/>
                    </a:lnTo>
                    <a:lnTo>
                      <a:pt x="24" y="144"/>
                    </a:lnTo>
                    <a:lnTo>
                      <a:pt x="18" y="144"/>
                    </a:lnTo>
                    <a:lnTo>
                      <a:pt x="24" y="138"/>
                    </a:lnTo>
                    <a:lnTo>
                      <a:pt x="24" y="132"/>
                    </a:lnTo>
                    <a:lnTo>
                      <a:pt x="30" y="126"/>
                    </a:lnTo>
                    <a:lnTo>
                      <a:pt x="30" y="132"/>
                    </a:lnTo>
                    <a:lnTo>
                      <a:pt x="36" y="132"/>
                    </a:lnTo>
                    <a:lnTo>
                      <a:pt x="42" y="126"/>
                    </a:lnTo>
                    <a:lnTo>
                      <a:pt x="48" y="126"/>
                    </a:lnTo>
                    <a:lnTo>
                      <a:pt x="54" y="120"/>
                    </a:lnTo>
                    <a:lnTo>
                      <a:pt x="48" y="120"/>
                    </a:lnTo>
                    <a:lnTo>
                      <a:pt x="42" y="120"/>
                    </a:lnTo>
                    <a:lnTo>
                      <a:pt x="36" y="120"/>
                    </a:lnTo>
                    <a:lnTo>
                      <a:pt x="42" y="108"/>
                    </a:lnTo>
                    <a:lnTo>
                      <a:pt x="42" y="102"/>
                    </a:lnTo>
                    <a:lnTo>
                      <a:pt x="42" y="96"/>
                    </a:lnTo>
                    <a:lnTo>
                      <a:pt x="42" y="90"/>
                    </a:lnTo>
                    <a:lnTo>
                      <a:pt x="36" y="84"/>
                    </a:lnTo>
                    <a:lnTo>
                      <a:pt x="42" y="84"/>
                    </a:lnTo>
                    <a:lnTo>
                      <a:pt x="42" y="78"/>
                    </a:lnTo>
                    <a:lnTo>
                      <a:pt x="48" y="78"/>
                    </a:lnTo>
                    <a:lnTo>
                      <a:pt x="54" y="84"/>
                    </a:lnTo>
                    <a:lnTo>
                      <a:pt x="54" y="90"/>
                    </a:lnTo>
                    <a:lnTo>
                      <a:pt x="54" y="102"/>
                    </a:lnTo>
                    <a:lnTo>
                      <a:pt x="54" y="108"/>
                    </a:lnTo>
                    <a:lnTo>
                      <a:pt x="60" y="102"/>
                    </a:lnTo>
                    <a:lnTo>
                      <a:pt x="60" y="96"/>
                    </a:lnTo>
                    <a:lnTo>
                      <a:pt x="60" y="84"/>
                    </a:lnTo>
                    <a:lnTo>
                      <a:pt x="60" y="78"/>
                    </a:lnTo>
                    <a:lnTo>
                      <a:pt x="66" y="78"/>
                    </a:lnTo>
                    <a:lnTo>
                      <a:pt x="66" y="72"/>
                    </a:lnTo>
                    <a:lnTo>
                      <a:pt x="78" y="72"/>
                    </a:lnTo>
                    <a:lnTo>
                      <a:pt x="84" y="72"/>
                    </a:lnTo>
                    <a:lnTo>
                      <a:pt x="90" y="66"/>
                    </a:lnTo>
                    <a:lnTo>
                      <a:pt x="96" y="66"/>
                    </a:lnTo>
                    <a:lnTo>
                      <a:pt x="96" y="60"/>
                    </a:lnTo>
                    <a:lnTo>
                      <a:pt x="102" y="60"/>
                    </a:lnTo>
                    <a:lnTo>
                      <a:pt x="96" y="5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66" y="54"/>
                    </a:lnTo>
                    <a:lnTo>
                      <a:pt x="60" y="54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8" y="54"/>
                    </a:lnTo>
                    <a:lnTo>
                      <a:pt x="42" y="54"/>
                    </a:lnTo>
                    <a:lnTo>
                      <a:pt x="36" y="48"/>
                    </a:lnTo>
                    <a:lnTo>
                      <a:pt x="30" y="42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36" y="24"/>
                    </a:lnTo>
                    <a:lnTo>
                      <a:pt x="42" y="24"/>
                    </a:lnTo>
                    <a:lnTo>
                      <a:pt x="48" y="30"/>
                    </a:lnTo>
                    <a:lnTo>
                      <a:pt x="54" y="24"/>
                    </a:lnTo>
                    <a:lnTo>
                      <a:pt x="54" y="18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72" y="12"/>
                    </a:lnTo>
                    <a:lnTo>
                      <a:pt x="72" y="18"/>
                    </a:lnTo>
                    <a:lnTo>
                      <a:pt x="72" y="12"/>
                    </a:lnTo>
                    <a:lnTo>
                      <a:pt x="78" y="6"/>
                    </a:lnTo>
                    <a:lnTo>
                      <a:pt x="84" y="6"/>
                    </a:lnTo>
                    <a:lnTo>
                      <a:pt x="90" y="0"/>
                    </a:lnTo>
                    <a:lnTo>
                      <a:pt x="90" y="12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32" y="0"/>
                    </a:lnTo>
                    <a:lnTo>
                      <a:pt x="132" y="6"/>
                    </a:lnTo>
                    <a:lnTo>
                      <a:pt x="138" y="6"/>
                    </a:lnTo>
                    <a:lnTo>
                      <a:pt x="144" y="6"/>
                    </a:lnTo>
                    <a:lnTo>
                      <a:pt x="150" y="6"/>
                    </a:lnTo>
                    <a:lnTo>
                      <a:pt x="156" y="18"/>
                    </a:lnTo>
                    <a:lnTo>
                      <a:pt x="156" y="24"/>
                    </a:lnTo>
                    <a:lnTo>
                      <a:pt x="156" y="18"/>
                    </a:lnTo>
                    <a:lnTo>
                      <a:pt x="162" y="18"/>
                    </a:lnTo>
                    <a:lnTo>
                      <a:pt x="162" y="24"/>
                    </a:lnTo>
                    <a:lnTo>
                      <a:pt x="168" y="30"/>
                    </a:lnTo>
                    <a:lnTo>
                      <a:pt x="162" y="36"/>
                    </a:lnTo>
                    <a:lnTo>
                      <a:pt x="162" y="42"/>
                    </a:lnTo>
                    <a:lnTo>
                      <a:pt x="162" y="48"/>
                    </a:lnTo>
                    <a:lnTo>
                      <a:pt x="16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72" name="Freeform 823"/>
              <p:cNvSpPr>
                <a:spLocks/>
              </p:cNvSpPr>
              <p:nvPr/>
            </p:nvSpPr>
            <p:spPr bwMode="auto">
              <a:xfrm>
                <a:off x="3985" y="168"/>
                <a:ext cx="174" cy="198"/>
              </a:xfrm>
              <a:custGeom>
                <a:avLst/>
                <a:gdLst>
                  <a:gd name="T0" fmla="*/ 162 w 174"/>
                  <a:gd name="T1" fmla="*/ 60 h 198"/>
                  <a:gd name="T2" fmla="*/ 144 w 174"/>
                  <a:gd name="T3" fmla="*/ 60 h 198"/>
                  <a:gd name="T4" fmla="*/ 144 w 174"/>
                  <a:gd name="T5" fmla="*/ 72 h 198"/>
                  <a:gd name="T6" fmla="*/ 150 w 174"/>
                  <a:gd name="T7" fmla="*/ 78 h 198"/>
                  <a:gd name="T8" fmla="*/ 156 w 174"/>
                  <a:gd name="T9" fmla="*/ 84 h 198"/>
                  <a:gd name="T10" fmla="*/ 138 w 174"/>
                  <a:gd name="T11" fmla="*/ 96 h 198"/>
                  <a:gd name="T12" fmla="*/ 120 w 174"/>
                  <a:gd name="T13" fmla="*/ 102 h 198"/>
                  <a:gd name="T14" fmla="*/ 114 w 174"/>
                  <a:gd name="T15" fmla="*/ 114 h 198"/>
                  <a:gd name="T16" fmla="*/ 102 w 174"/>
                  <a:gd name="T17" fmla="*/ 120 h 198"/>
                  <a:gd name="T18" fmla="*/ 90 w 174"/>
                  <a:gd name="T19" fmla="*/ 126 h 198"/>
                  <a:gd name="T20" fmla="*/ 78 w 174"/>
                  <a:gd name="T21" fmla="*/ 132 h 198"/>
                  <a:gd name="T22" fmla="*/ 90 w 174"/>
                  <a:gd name="T23" fmla="*/ 138 h 198"/>
                  <a:gd name="T24" fmla="*/ 78 w 174"/>
                  <a:gd name="T25" fmla="*/ 150 h 198"/>
                  <a:gd name="T26" fmla="*/ 66 w 174"/>
                  <a:gd name="T27" fmla="*/ 168 h 198"/>
                  <a:gd name="T28" fmla="*/ 60 w 174"/>
                  <a:gd name="T29" fmla="*/ 180 h 198"/>
                  <a:gd name="T30" fmla="*/ 54 w 174"/>
                  <a:gd name="T31" fmla="*/ 192 h 198"/>
                  <a:gd name="T32" fmla="*/ 36 w 174"/>
                  <a:gd name="T33" fmla="*/ 198 h 198"/>
                  <a:gd name="T34" fmla="*/ 30 w 174"/>
                  <a:gd name="T35" fmla="*/ 186 h 198"/>
                  <a:gd name="T36" fmla="*/ 18 w 174"/>
                  <a:gd name="T37" fmla="*/ 186 h 198"/>
                  <a:gd name="T38" fmla="*/ 0 w 174"/>
                  <a:gd name="T39" fmla="*/ 174 h 198"/>
                  <a:gd name="T40" fmla="*/ 18 w 174"/>
                  <a:gd name="T41" fmla="*/ 162 h 198"/>
                  <a:gd name="T42" fmla="*/ 18 w 174"/>
                  <a:gd name="T43" fmla="*/ 156 h 198"/>
                  <a:gd name="T44" fmla="*/ 30 w 174"/>
                  <a:gd name="T45" fmla="*/ 150 h 198"/>
                  <a:gd name="T46" fmla="*/ 24 w 174"/>
                  <a:gd name="T47" fmla="*/ 144 h 198"/>
                  <a:gd name="T48" fmla="*/ 24 w 174"/>
                  <a:gd name="T49" fmla="*/ 132 h 198"/>
                  <a:gd name="T50" fmla="*/ 36 w 174"/>
                  <a:gd name="T51" fmla="*/ 132 h 198"/>
                  <a:gd name="T52" fmla="*/ 54 w 174"/>
                  <a:gd name="T53" fmla="*/ 120 h 198"/>
                  <a:gd name="T54" fmla="*/ 36 w 174"/>
                  <a:gd name="T55" fmla="*/ 120 h 198"/>
                  <a:gd name="T56" fmla="*/ 42 w 174"/>
                  <a:gd name="T57" fmla="*/ 96 h 198"/>
                  <a:gd name="T58" fmla="*/ 42 w 174"/>
                  <a:gd name="T59" fmla="*/ 84 h 198"/>
                  <a:gd name="T60" fmla="*/ 54 w 174"/>
                  <a:gd name="T61" fmla="*/ 84 h 198"/>
                  <a:gd name="T62" fmla="*/ 54 w 174"/>
                  <a:gd name="T63" fmla="*/ 108 h 198"/>
                  <a:gd name="T64" fmla="*/ 60 w 174"/>
                  <a:gd name="T65" fmla="*/ 84 h 198"/>
                  <a:gd name="T66" fmla="*/ 66 w 174"/>
                  <a:gd name="T67" fmla="*/ 72 h 198"/>
                  <a:gd name="T68" fmla="*/ 90 w 174"/>
                  <a:gd name="T69" fmla="*/ 66 h 198"/>
                  <a:gd name="T70" fmla="*/ 102 w 174"/>
                  <a:gd name="T71" fmla="*/ 60 h 198"/>
                  <a:gd name="T72" fmla="*/ 72 w 174"/>
                  <a:gd name="T73" fmla="*/ 54 h 198"/>
                  <a:gd name="T74" fmla="*/ 54 w 174"/>
                  <a:gd name="T75" fmla="*/ 54 h 198"/>
                  <a:gd name="T76" fmla="*/ 48 w 174"/>
                  <a:gd name="T77" fmla="*/ 54 h 198"/>
                  <a:gd name="T78" fmla="*/ 30 w 174"/>
                  <a:gd name="T79" fmla="*/ 42 h 198"/>
                  <a:gd name="T80" fmla="*/ 30 w 174"/>
                  <a:gd name="T81" fmla="*/ 30 h 198"/>
                  <a:gd name="T82" fmla="*/ 48 w 174"/>
                  <a:gd name="T83" fmla="*/ 30 h 198"/>
                  <a:gd name="T84" fmla="*/ 60 w 174"/>
                  <a:gd name="T85" fmla="*/ 18 h 198"/>
                  <a:gd name="T86" fmla="*/ 72 w 174"/>
                  <a:gd name="T87" fmla="*/ 18 h 198"/>
                  <a:gd name="T88" fmla="*/ 84 w 174"/>
                  <a:gd name="T89" fmla="*/ 6 h 198"/>
                  <a:gd name="T90" fmla="*/ 90 w 174"/>
                  <a:gd name="T91" fmla="*/ 0 h 198"/>
                  <a:gd name="T92" fmla="*/ 132 w 174"/>
                  <a:gd name="T93" fmla="*/ 0 h 198"/>
                  <a:gd name="T94" fmla="*/ 144 w 174"/>
                  <a:gd name="T95" fmla="*/ 6 h 198"/>
                  <a:gd name="T96" fmla="*/ 156 w 174"/>
                  <a:gd name="T97" fmla="*/ 24 h 198"/>
                  <a:gd name="T98" fmla="*/ 162 w 174"/>
                  <a:gd name="T99" fmla="*/ 24 h 198"/>
                  <a:gd name="T100" fmla="*/ 162 w 174"/>
                  <a:gd name="T101" fmla="*/ 42 h 19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74" h="198">
                    <a:moveTo>
                      <a:pt x="168" y="48"/>
                    </a:moveTo>
                    <a:lnTo>
                      <a:pt x="174" y="60"/>
                    </a:lnTo>
                    <a:lnTo>
                      <a:pt x="162" y="60"/>
                    </a:lnTo>
                    <a:lnTo>
                      <a:pt x="156" y="60"/>
                    </a:lnTo>
                    <a:lnTo>
                      <a:pt x="150" y="60"/>
                    </a:lnTo>
                    <a:lnTo>
                      <a:pt x="144" y="60"/>
                    </a:lnTo>
                    <a:lnTo>
                      <a:pt x="150" y="66"/>
                    </a:lnTo>
                    <a:lnTo>
                      <a:pt x="144" y="66"/>
                    </a:lnTo>
                    <a:lnTo>
                      <a:pt x="144" y="72"/>
                    </a:lnTo>
                    <a:lnTo>
                      <a:pt x="156" y="72"/>
                    </a:lnTo>
                    <a:lnTo>
                      <a:pt x="150" y="72"/>
                    </a:lnTo>
                    <a:lnTo>
                      <a:pt x="150" y="78"/>
                    </a:lnTo>
                    <a:lnTo>
                      <a:pt x="162" y="78"/>
                    </a:lnTo>
                    <a:lnTo>
                      <a:pt x="162" y="84"/>
                    </a:lnTo>
                    <a:lnTo>
                      <a:pt x="156" y="84"/>
                    </a:lnTo>
                    <a:lnTo>
                      <a:pt x="150" y="84"/>
                    </a:lnTo>
                    <a:lnTo>
                      <a:pt x="144" y="90"/>
                    </a:lnTo>
                    <a:lnTo>
                      <a:pt x="138" y="96"/>
                    </a:lnTo>
                    <a:lnTo>
                      <a:pt x="132" y="96"/>
                    </a:lnTo>
                    <a:lnTo>
                      <a:pt x="126" y="102"/>
                    </a:lnTo>
                    <a:lnTo>
                      <a:pt x="120" y="102"/>
                    </a:lnTo>
                    <a:lnTo>
                      <a:pt x="126" y="102"/>
                    </a:lnTo>
                    <a:lnTo>
                      <a:pt x="120" y="108"/>
                    </a:lnTo>
                    <a:lnTo>
                      <a:pt x="114" y="114"/>
                    </a:lnTo>
                    <a:lnTo>
                      <a:pt x="114" y="120"/>
                    </a:lnTo>
                    <a:lnTo>
                      <a:pt x="108" y="120"/>
                    </a:lnTo>
                    <a:lnTo>
                      <a:pt x="102" y="120"/>
                    </a:lnTo>
                    <a:lnTo>
                      <a:pt x="96" y="120"/>
                    </a:lnTo>
                    <a:lnTo>
                      <a:pt x="96" y="126"/>
                    </a:lnTo>
                    <a:lnTo>
                      <a:pt x="90" y="126"/>
                    </a:lnTo>
                    <a:lnTo>
                      <a:pt x="90" y="132"/>
                    </a:lnTo>
                    <a:lnTo>
                      <a:pt x="84" y="132"/>
                    </a:lnTo>
                    <a:lnTo>
                      <a:pt x="78" y="132"/>
                    </a:lnTo>
                    <a:lnTo>
                      <a:pt x="78" y="138"/>
                    </a:lnTo>
                    <a:lnTo>
                      <a:pt x="84" y="138"/>
                    </a:lnTo>
                    <a:lnTo>
                      <a:pt x="90" y="138"/>
                    </a:lnTo>
                    <a:lnTo>
                      <a:pt x="90" y="144"/>
                    </a:lnTo>
                    <a:lnTo>
                      <a:pt x="84" y="150"/>
                    </a:lnTo>
                    <a:lnTo>
                      <a:pt x="78" y="150"/>
                    </a:lnTo>
                    <a:lnTo>
                      <a:pt x="78" y="156"/>
                    </a:lnTo>
                    <a:lnTo>
                      <a:pt x="72" y="162"/>
                    </a:lnTo>
                    <a:lnTo>
                      <a:pt x="66" y="168"/>
                    </a:lnTo>
                    <a:lnTo>
                      <a:pt x="60" y="168"/>
                    </a:lnTo>
                    <a:lnTo>
                      <a:pt x="54" y="174"/>
                    </a:lnTo>
                    <a:lnTo>
                      <a:pt x="60" y="180"/>
                    </a:lnTo>
                    <a:lnTo>
                      <a:pt x="60" y="186"/>
                    </a:lnTo>
                    <a:lnTo>
                      <a:pt x="60" y="192"/>
                    </a:lnTo>
                    <a:lnTo>
                      <a:pt x="54" y="192"/>
                    </a:lnTo>
                    <a:lnTo>
                      <a:pt x="48" y="192"/>
                    </a:lnTo>
                    <a:lnTo>
                      <a:pt x="42" y="198"/>
                    </a:lnTo>
                    <a:lnTo>
                      <a:pt x="36" y="198"/>
                    </a:lnTo>
                    <a:lnTo>
                      <a:pt x="36" y="192"/>
                    </a:lnTo>
                    <a:lnTo>
                      <a:pt x="30" y="192"/>
                    </a:lnTo>
                    <a:lnTo>
                      <a:pt x="30" y="186"/>
                    </a:lnTo>
                    <a:lnTo>
                      <a:pt x="24" y="186"/>
                    </a:lnTo>
                    <a:lnTo>
                      <a:pt x="18" y="192"/>
                    </a:lnTo>
                    <a:lnTo>
                      <a:pt x="18" y="186"/>
                    </a:lnTo>
                    <a:lnTo>
                      <a:pt x="12" y="186"/>
                    </a:lnTo>
                    <a:lnTo>
                      <a:pt x="0" y="180"/>
                    </a:lnTo>
                    <a:lnTo>
                      <a:pt x="0" y="174"/>
                    </a:lnTo>
                    <a:lnTo>
                      <a:pt x="6" y="168"/>
                    </a:lnTo>
                    <a:lnTo>
                      <a:pt x="12" y="162"/>
                    </a:lnTo>
                    <a:lnTo>
                      <a:pt x="18" y="162"/>
                    </a:lnTo>
                    <a:lnTo>
                      <a:pt x="12" y="156"/>
                    </a:lnTo>
                    <a:lnTo>
                      <a:pt x="18" y="150"/>
                    </a:lnTo>
                    <a:lnTo>
                      <a:pt x="18" y="156"/>
                    </a:lnTo>
                    <a:lnTo>
                      <a:pt x="30" y="162"/>
                    </a:lnTo>
                    <a:lnTo>
                      <a:pt x="30" y="156"/>
                    </a:lnTo>
                    <a:lnTo>
                      <a:pt x="30" y="150"/>
                    </a:lnTo>
                    <a:lnTo>
                      <a:pt x="24" y="150"/>
                    </a:lnTo>
                    <a:lnTo>
                      <a:pt x="30" y="144"/>
                    </a:lnTo>
                    <a:lnTo>
                      <a:pt x="24" y="144"/>
                    </a:lnTo>
                    <a:lnTo>
                      <a:pt x="18" y="144"/>
                    </a:lnTo>
                    <a:lnTo>
                      <a:pt x="24" y="138"/>
                    </a:lnTo>
                    <a:lnTo>
                      <a:pt x="24" y="132"/>
                    </a:lnTo>
                    <a:lnTo>
                      <a:pt x="30" y="126"/>
                    </a:lnTo>
                    <a:lnTo>
                      <a:pt x="30" y="132"/>
                    </a:lnTo>
                    <a:lnTo>
                      <a:pt x="36" y="132"/>
                    </a:lnTo>
                    <a:lnTo>
                      <a:pt x="42" y="126"/>
                    </a:lnTo>
                    <a:lnTo>
                      <a:pt x="48" y="126"/>
                    </a:lnTo>
                    <a:lnTo>
                      <a:pt x="54" y="120"/>
                    </a:lnTo>
                    <a:lnTo>
                      <a:pt x="48" y="120"/>
                    </a:lnTo>
                    <a:lnTo>
                      <a:pt x="42" y="120"/>
                    </a:lnTo>
                    <a:lnTo>
                      <a:pt x="36" y="120"/>
                    </a:lnTo>
                    <a:lnTo>
                      <a:pt x="42" y="108"/>
                    </a:lnTo>
                    <a:lnTo>
                      <a:pt x="42" y="102"/>
                    </a:lnTo>
                    <a:lnTo>
                      <a:pt x="42" y="96"/>
                    </a:lnTo>
                    <a:lnTo>
                      <a:pt x="42" y="90"/>
                    </a:lnTo>
                    <a:lnTo>
                      <a:pt x="36" y="84"/>
                    </a:lnTo>
                    <a:lnTo>
                      <a:pt x="42" y="84"/>
                    </a:lnTo>
                    <a:lnTo>
                      <a:pt x="42" y="78"/>
                    </a:lnTo>
                    <a:lnTo>
                      <a:pt x="48" y="78"/>
                    </a:lnTo>
                    <a:lnTo>
                      <a:pt x="54" y="84"/>
                    </a:lnTo>
                    <a:lnTo>
                      <a:pt x="54" y="90"/>
                    </a:lnTo>
                    <a:lnTo>
                      <a:pt x="54" y="102"/>
                    </a:lnTo>
                    <a:lnTo>
                      <a:pt x="54" y="108"/>
                    </a:lnTo>
                    <a:lnTo>
                      <a:pt x="60" y="102"/>
                    </a:lnTo>
                    <a:lnTo>
                      <a:pt x="60" y="96"/>
                    </a:lnTo>
                    <a:lnTo>
                      <a:pt x="60" y="84"/>
                    </a:lnTo>
                    <a:lnTo>
                      <a:pt x="60" y="78"/>
                    </a:lnTo>
                    <a:lnTo>
                      <a:pt x="66" y="78"/>
                    </a:lnTo>
                    <a:lnTo>
                      <a:pt x="66" y="72"/>
                    </a:lnTo>
                    <a:lnTo>
                      <a:pt x="78" y="72"/>
                    </a:lnTo>
                    <a:lnTo>
                      <a:pt x="84" y="72"/>
                    </a:lnTo>
                    <a:lnTo>
                      <a:pt x="90" y="66"/>
                    </a:lnTo>
                    <a:lnTo>
                      <a:pt x="96" y="66"/>
                    </a:lnTo>
                    <a:lnTo>
                      <a:pt x="96" y="60"/>
                    </a:lnTo>
                    <a:lnTo>
                      <a:pt x="102" y="60"/>
                    </a:lnTo>
                    <a:lnTo>
                      <a:pt x="96" y="5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66" y="54"/>
                    </a:lnTo>
                    <a:lnTo>
                      <a:pt x="60" y="54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8" y="54"/>
                    </a:lnTo>
                    <a:lnTo>
                      <a:pt x="42" y="54"/>
                    </a:lnTo>
                    <a:lnTo>
                      <a:pt x="36" y="48"/>
                    </a:lnTo>
                    <a:lnTo>
                      <a:pt x="30" y="42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36" y="24"/>
                    </a:lnTo>
                    <a:lnTo>
                      <a:pt x="42" y="24"/>
                    </a:lnTo>
                    <a:lnTo>
                      <a:pt x="48" y="30"/>
                    </a:lnTo>
                    <a:lnTo>
                      <a:pt x="54" y="24"/>
                    </a:lnTo>
                    <a:lnTo>
                      <a:pt x="54" y="18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72" y="12"/>
                    </a:lnTo>
                    <a:lnTo>
                      <a:pt x="72" y="18"/>
                    </a:lnTo>
                    <a:lnTo>
                      <a:pt x="72" y="12"/>
                    </a:lnTo>
                    <a:lnTo>
                      <a:pt x="78" y="6"/>
                    </a:lnTo>
                    <a:lnTo>
                      <a:pt x="84" y="6"/>
                    </a:lnTo>
                    <a:lnTo>
                      <a:pt x="90" y="0"/>
                    </a:lnTo>
                    <a:lnTo>
                      <a:pt x="90" y="12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32" y="0"/>
                    </a:lnTo>
                    <a:lnTo>
                      <a:pt x="132" y="6"/>
                    </a:lnTo>
                    <a:lnTo>
                      <a:pt x="138" y="6"/>
                    </a:lnTo>
                    <a:lnTo>
                      <a:pt x="144" y="6"/>
                    </a:lnTo>
                    <a:lnTo>
                      <a:pt x="150" y="6"/>
                    </a:lnTo>
                    <a:lnTo>
                      <a:pt x="156" y="18"/>
                    </a:lnTo>
                    <a:lnTo>
                      <a:pt x="156" y="24"/>
                    </a:lnTo>
                    <a:lnTo>
                      <a:pt x="156" y="18"/>
                    </a:lnTo>
                    <a:lnTo>
                      <a:pt x="162" y="18"/>
                    </a:lnTo>
                    <a:lnTo>
                      <a:pt x="162" y="24"/>
                    </a:lnTo>
                    <a:lnTo>
                      <a:pt x="168" y="30"/>
                    </a:lnTo>
                    <a:lnTo>
                      <a:pt x="162" y="36"/>
                    </a:lnTo>
                    <a:lnTo>
                      <a:pt x="162" y="42"/>
                    </a:lnTo>
                    <a:lnTo>
                      <a:pt x="162" y="48"/>
                    </a:lnTo>
                    <a:lnTo>
                      <a:pt x="16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71" name="Group 824"/>
            <p:cNvGrpSpPr>
              <a:grpSpLocks/>
            </p:cNvGrpSpPr>
            <p:nvPr/>
          </p:nvGrpSpPr>
          <p:grpSpPr bwMode="auto">
            <a:xfrm>
              <a:off x="5221027" y="2104422"/>
              <a:ext cx="13454" cy="22251"/>
              <a:chOff x="3433" y="774"/>
              <a:chExt cx="6" cy="12"/>
            </a:xfrm>
            <a:solidFill>
              <a:srgbClr val="0070C0">
                <a:alpha val="27059"/>
              </a:srgbClr>
            </a:solidFill>
          </p:grpSpPr>
          <p:sp>
            <p:nvSpPr>
              <p:cNvPr id="869" name="Freeform 825"/>
              <p:cNvSpPr>
                <a:spLocks/>
              </p:cNvSpPr>
              <p:nvPr/>
            </p:nvSpPr>
            <p:spPr bwMode="auto">
              <a:xfrm>
                <a:off x="3433" y="774"/>
                <a:ext cx="6" cy="12"/>
              </a:xfrm>
              <a:custGeom>
                <a:avLst/>
                <a:gdLst>
                  <a:gd name="T0" fmla="*/ 6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6 h 12"/>
                  <a:gd name="T8" fmla="*/ 6 w 6"/>
                  <a:gd name="T9" fmla="*/ 12 h 12"/>
                  <a:gd name="T10" fmla="*/ 6 w 6"/>
                  <a:gd name="T11" fmla="*/ 6 h 12"/>
                  <a:gd name="T12" fmla="*/ 6 w 6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12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70" name="Freeform 826"/>
              <p:cNvSpPr>
                <a:spLocks/>
              </p:cNvSpPr>
              <p:nvPr/>
            </p:nvSpPr>
            <p:spPr bwMode="auto">
              <a:xfrm>
                <a:off x="3433" y="774"/>
                <a:ext cx="6" cy="12"/>
              </a:xfrm>
              <a:custGeom>
                <a:avLst/>
                <a:gdLst>
                  <a:gd name="T0" fmla="*/ 6 w 6"/>
                  <a:gd name="T1" fmla="*/ 0 h 12"/>
                  <a:gd name="T2" fmla="*/ 0 w 6"/>
                  <a:gd name="T3" fmla="*/ 0 h 12"/>
                  <a:gd name="T4" fmla="*/ 0 w 6"/>
                  <a:gd name="T5" fmla="*/ 6 h 12"/>
                  <a:gd name="T6" fmla="*/ 6 w 6"/>
                  <a:gd name="T7" fmla="*/ 12 h 12"/>
                  <a:gd name="T8" fmla="*/ 6 w 6"/>
                  <a:gd name="T9" fmla="*/ 6 h 12"/>
                  <a:gd name="T10" fmla="*/ 6 w 6"/>
                  <a:gd name="T11" fmla="*/ 0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" h="12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72" name="Group 827"/>
            <p:cNvGrpSpPr>
              <a:grpSpLocks/>
            </p:cNvGrpSpPr>
            <p:nvPr/>
          </p:nvGrpSpPr>
          <p:grpSpPr bwMode="auto">
            <a:xfrm>
              <a:off x="6722098" y="3858198"/>
              <a:ext cx="121085" cy="123391"/>
              <a:chOff x="4171" y="1794"/>
              <a:chExt cx="60" cy="72"/>
            </a:xfrm>
            <a:solidFill>
              <a:srgbClr val="0070C0">
                <a:alpha val="27059"/>
              </a:srgbClr>
            </a:solidFill>
          </p:grpSpPr>
          <p:sp>
            <p:nvSpPr>
              <p:cNvPr id="867" name="Freeform 828"/>
              <p:cNvSpPr>
                <a:spLocks/>
              </p:cNvSpPr>
              <p:nvPr/>
            </p:nvSpPr>
            <p:spPr bwMode="auto">
              <a:xfrm>
                <a:off x="4171" y="1794"/>
                <a:ext cx="60" cy="72"/>
              </a:xfrm>
              <a:custGeom>
                <a:avLst/>
                <a:gdLst>
                  <a:gd name="T0" fmla="*/ 60 w 60"/>
                  <a:gd name="T1" fmla="*/ 42 h 72"/>
                  <a:gd name="T2" fmla="*/ 48 w 60"/>
                  <a:gd name="T3" fmla="*/ 24 h 72"/>
                  <a:gd name="T4" fmla="*/ 48 w 60"/>
                  <a:gd name="T5" fmla="*/ 24 h 72"/>
                  <a:gd name="T6" fmla="*/ 36 w 60"/>
                  <a:gd name="T7" fmla="*/ 18 h 72"/>
                  <a:gd name="T8" fmla="*/ 24 w 60"/>
                  <a:gd name="T9" fmla="*/ 12 h 72"/>
                  <a:gd name="T10" fmla="*/ 24 w 60"/>
                  <a:gd name="T11" fmla="*/ 12 h 72"/>
                  <a:gd name="T12" fmla="*/ 18 w 60"/>
                  <a:gd name="T13" fmla="*/ 6 h 72"/>
                  <a:gd name="T14" fmla="*/ 18 w 60"/>
                  <a:gd name="T15" fmla="*/ 0 h 72"/>
                  <a:gd name="T16" fmla="*/ 12 w 60"/>
                  <a:gd name="T17" fmla="*/ 6 h 72"/>
                  <a:gd name="T18" fmla="*/ 6 w 60"/>
                  <a:gd name="T19" fmla="*/ 18 h 72"/>
                  <a:gd name="T20" fmla="*/ 0 w 60"/>
                  <a:gd name="T21" fmla="*/ 30 h 72"/>
                  <a:gd name="T22" fmla="*/ 6 w 60"/>
                  <a:gd name="T23" fmla="*/ 42 h 72"/>
                  <a:gd name="T24" fmla="*/ 6 w 60"/>
                  <a:gd name="T25" fmla="*/ 54 h 72"/>
                  <a:gd name="T26" fmla="*/ 6 w 60"/>
                  <a:gd name="T27" fmla="*/ 60 h 72"/>
                  <a:gd name="T28" fmla="*/ 12 w 60"/>
                  <a:gd name="T29" fmla="*/ 66 h 72"/>
                  <a:gd name="T30" fmla="*/ 12 w 60"/>
                  <a:gd name="T31" fmla="*/ 72 h 72"/>
                  <a:gd name="T32" fmla="*/ 24 w 60"/>
                  <a:gd name="T33" fmla="*/ 72 h 72"/>
                  <a:gd name="T34" fmla="*/ 42 w 60"/>
                  <a:gd name="T35" fmla="*/ 66 h 72"/>
                  <a:gd name="T36" fmla="*/ 48 w 60"/>
                  <a:gd name="T37" fmla="*/ 66 h 72"/>
                  <a:gd name="T38" fmla="*/ 54 w 60"/>
                  <a:gd name="T39" fmla="*/ 60 h 72"/>
                  <a:gd name="T40" fmla="*/ 60 w 60"/>
                  <a:gd name="T41" fmla="*/ 42 h 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60" h="72">
                    <a:moveTo>
                      <a:pt x="60" y="42"/>
                    </a:moveTo>
                    <a:lnTo>
                      <a:pt x="48" y="24"/>
                    </a:lnTo>
                    <a:lnTo>
                      <a:pt x="36" y="18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6"/>
                    </a:lnTo>
                    <a:lnTo>
                      <a:pt x="6" y="18"/>
                    </a:lnTo>
                    <a:lnTo>
                      <a:pt x="0" y="30"/>
                    </a:lnTo>
                    <a:lnTo>
                      <a:pt x="6" y="42"/>
                    </a:lnTo>
                    <a:lnTo>
                      <a:pt x="6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2" y="72"/>
                    </a:lnTo>
                    <a:lnTo>
                      <a:pt x="24" y="72"/>
                    </a:lnTo>
                    <a:lnTo>
                      <a:pt x="42" y="66"/>
                    </a:lnTo>
                    <a:lnTo>
                      <a:pt x="48" y="66"/>
                    </a:lnTo>
                    <a:lnTo>
                      <a:pt x="54" y="60"/>
                    </a:lnTo>
                    <a:lnTo>
                      <a:pt x="60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68" name="Freeform 829"/>
              <p:cNvSpPr>
                <a:spLocks/>
              </p:cNvSpPr>
              <p:nvPr/>
            </p:nvSpPr>
            <p:spPr bwMode="auto">
              <a:xfrm>
                <a:off x="4171" y="1794"/>
                <a:ext cx="60" cy="72"/>
              </a:xfrm>
              <a:custGeom>
                <a:avLst/>
                <a:gdLst>
                  <a:gd name="T0" fmla="*/ 60 w 60"/>
                  <a:gd name="T1" fmla="*/ 42 h 72"/>
                  <a:gd name="T2" fmla="*/ 48 w 60"/>
                  <a:gd name="T3" fmla="*/ 24 h 72"/>
                  <a:gd name="T4" fmla="*/ 36 w 60"/>
                  <a:gd name="T5" fmla="*/ 18 h 72"/>
                  <a:gd name="T6" fmla="*/ 24 w 60"/>
                  <a:gd name="T7" fmla="*/ 12 h 72"/>
                  <a:gd name="T8" fmla="*/ 18 w 60"/>
                  <a:gd name="T9" fmla="*/ 6 h 72"/>
                  <a:gd name="T10" fmla="*/ 18 w 60"/>
                  <a:gd name="T11" fmla="*/ 0 h 72"/>
                  <a:gd name="T12" fmla="*/ 12 w 60"/>
                  <a:gd name="T13" fmla="*/ 6 h 72"/>
                  <a:gd name="T14" fmla="*/ 6 w 60"/>
                  <a:gd name="T15" fmla="*/ 18 h 72"/>
                  <a:gd name="T16" fmla="*/ 0 w 60"/>
                  <a:gd name="T17" fmla="*/ 30 h 72"/>
                  <a:gd name="T18" fmla="*/ 6 w 60"/>
                  <a:gd name="T19" fmla="*/ 42 h 72"/>
                  <a:gd name="T20" fmla="*/ 6 w 60"/>
                  <a:gd name="T21" fmla="*/ 54 h 72"/>
                  <a:gd name="T22" fmla="*/ 6 w 60"/>
                  <a:gd name="T23" fmla="*/ 60 h 72"/>
                  <a:gd name="T24" fmla="*/ 12 w 60"/>
                  <a:gd name="T25" fmla="*/ 66 h 72"/>
                  <a:gd name="T26" fmla="*/ 12 w 60"/>
                  <a:gd name="T27" fmla="*/ 72 h 72"/>
                  <a:gd name="T28" fmla="*/ 24 w 60"/>
                  <a:gd name="T29" fmla="*/ 72 h 72"/>
                  <a:gd name="T30" fmla="*/ 42 w 60"/>
                  <a:gd name="T31" fmla="*/ 66 h 72"/>
                  <a:gd name="T32" fmla="*/ 48 w 60"/>
                  <a:gd name="T33" fmla="*/ 66 h 72"/>
                  <a:gd name="T34" fmla="*/ 54 w 60"/>
                  <a:gd name="T35" fmla="*/ 60 h 72"/>
                  <a:gd name="T36" fmla="*/ 60 w 60"/>
                  <a:gd name="T37" fmla="*/ 42 h 7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0" h="72">
                    <a:moveTo>
                      <a:pt x="60" y="42"/>
                    </a:moveTo>
                    <a:lnTo>
                      <a:pt x="48" y="24"/>
                    </a:lnTo>
                    <a:lnTo>
                      <a:pt x="36" y="18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2" y="6"/>
                    </a:lnTo>
                    <a:lnTo>
                      <a:pt x="6" y="18"/>
                    </a:lnTo>
                    <a:lnTo>
                      <a:pt x="0" y="30"/>
                    </a:lnTo>
                    <a:lnTo>
                      <a:pt x="6" y="42"/>
                    </a:lnTo>
                    <a:lnTo>
                      <a:pt x="6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2" y="72"/>
                    </a:lnTo>
                    <a:lnTo>
                      <a:pt x="24" y="72"/>
                    </a:lnTo>
                    <a:lnTo>
                      <a:pt x="42" y="66"/>
                    </a:lnTo>
                    <a:lnTo>
                      <a:pt x="48" y="66"/>
                    </a:lnTo>
                    <a:lnTo>
                      <a:pt x="54" y="60"/>
                    </a:lnTo>
                    <a:lnTo>
                      <a:pt x="60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73" name="Group 830"/>
            <p:cNvGrpSpPr>
              <a:grpSpLocks/>
            </p:cNvGrpSpPr>
            <p:nvPr/>
          </p:nvGrpSpPr>
          <p:grpSpPr bwMode="auto">
            <a:xfrm>
              <a:off x="5099942" y="1538035"/>
              <a:ext cx="1672129" cy="968926"/>
              <a:chOff x="3373" y="444"/>
              <a:chExt cx="823" cy="564"/>
            </a:xfrm>
            <a:solidFill>
              <a:srgbClr val="0070C0">
                <a:alpha val="27059"/>
              </a:srgbClr>
            </a:solidFill>
          </p:grpSpPr>
          <p:sp>
            <p:nvSpPr>
              <p:cNvPr id="865" name="Freeform 831"/>
              <p:cNvSpPr>
                <a:spLocks/>
              </p:cNvSpPr>
              <p:nvPr/>
            </p:nvSpPr>
            <p:spPr bwMode="auto">
              <a:xfrm>
                <a:off x="3373" y="444"/>
                <a:ext cx="822" cy="564"/>
              </a:xfrm>
              <a:custGeom>
                <a:avLst/>
                <a:gdLst>
                  <a:gd name="T0" fmla="*/ 702 w 822"/>
                  <a:gd name="T1" fmla="*/ 492 h 564"/>
                  <a:gd name="T2" fmla="*/ 732 w 822"/>
                  <a:gd name="T3" fmla="*/ 522 h 564"/>
                  <a:gd name="T4" fmla="*/ 732 w 822"/>
                  <a:gd name="T5" fmla="*/ 546 h 564"/>
                  <a:gd name="T6" fmla="*/ 738 w 822"/>
                  <a:gd name="T7" fmla="*/ 504 h 564"/>
                  <a:gd name="T8" fmla="*/ 732 w 822"/>
                  <a:gd name="T9" fmla="*/ 480 h 564"/>
                  <a:gd name="T10" fmla="*/ 708 w 822"/>
                  <a:gd name="T11" fmla="*/ 480 h 564"/>
                  <a:gd name="T12" fmla="*/ 732 w 822"/>
                  <a:gd name="T13" fmla="*/ 450 h 564"/>
                  <a:gd name="T14" fmla="*/ 816 w 822"/>
                  <a:gd name="T15" fmla="*/ 426 h 564"/>
                  <a:gd name="T16" fmla="*/ 810 w 822"/>
                  <a:gd name="T17" fmla="*/ 378 h 564"/>
                  <a:gd name="T18" fmla="*/ 768 w 822"/>
                  <a:gd name="T19" fmla="*/ 348 h 564"/>
                  <a:gd name="T20" fmla="*/ 732 w 822"/>
                  <a:gd name="T21" fmla="*/ 282 h 564"/>
                  <a:gd name="T22" fmla="*/ 696 w 822"/>
                  <a:gd name="T23" fmla="*/ 300 h 564"/>
                  <a:gd name="T24" fmla="*/ 678 w 822"/>
                  <a:gd name="T25" fmla="*/ 252 h 564"/>
                  <a:gd name="T26" fmla="*/ 612 w 822"/>
                  <a:gd name="T27" fmla="*/ 240 h 564"/>
                  <a:gd name="T28" fmla="*/ 606 w 822"/>
                  <a:gd name="T29" fmla="*/ 306 h 564"/>
                  <a:gd name="T30" fmla="*/ 606 w 822"/>
                  <a:gd name="T31" fmla="*/ 372 h 564"/>
                  <a:gd name="T32" fmla="*/ 600 w 822"/>
                  <a:gd name="T33" fmla="*/ 414 h 564"/>
                  <a:gd name="T34" fmla="*/ 582 w 822"/>
                  <a:gd name="T35" fmla="*/ 426 h 564"/>
                  <a:gd name="T36" fmla="*/ 558 w 822"/>
                  <a:gd name="T37" fmla="*/ 384 h 564"/>
                  <a:gd name="T38" fmla="*/ 504 w 822"/>
                  <a:gd name="T39" fmla="*/ 366 h 564"/>
                  <a:gd name="T40" fmla="*/ 468 w 822"/>
                  <a:gd name="T41" fmla="*/ 312 h 564"/>
                  <a:gd name="T42" fmla="*/ 456 w 822"/>
                  <a:gd name="T43" fmla="*/ 258 h 564"/>
                  <a:gd name="T44" fmla="*/ 492 w 822"/>
                  <a:gd name="T45" fmla="*/ 222 h 564"/>
                  <a:gd name="T46" fmla="*/ 528 w 822"/>
                  <a:gd name="T47" fmla="*/ 174 h 564"/>
                  <a:gd name="T48" fmla="*/ 528 w 822"/>
                  <a:gd name="T49" fmla="*/ 150 h 564"/>
                  <a:gd name="T50" fmla="*/ 576 w 822"/>
                  <a:gd name="T51" fmla="*/ 132 h 564"/>
                  <a:gd name="T52" fmla="*/ 576 w 822"/>
                  <a:gd name="T53" fmla="*/ 90 h 564"/>
                  <a:gd name="T54" fmla="*/ 570 w 822"/>
                  <a:gd name="T55" fmla="*/ 60 h 564"/>
                  <a:gd name="T56" fmla="*/ 528 w 822"/>
                  <a:gd name="T57" fmla="*/ 102 h 564"/>
                  <a:gd name="T58" fmla="*/ 504 w 822"/>
                  <a:gd name="T59" fmla="*/ 78 h 564"/>
                  <a:gd name="T60" fmla="*/ 486 w 822"/>
                  <a:gd name="T61" fmla="*/ 42 h 564"/>
                  <a:gd name="T62" fmla="*/ 468 w 822"/>
                  <a:gd name="T63" fmla="*/ 0 h 564"/>
                  <a:gd name="T64" fmla="*/ 444 w 822"/>
                  <a:gd name="T65" fmla="*/ 42 h 564"/>
                  <a:gd name="T66" fmla="*/ 474 w 822"/>
                  <a:gd name="T67" fmla="*/ 90 h 564"/>
                  <a:gd name="T68" fmla="*/ 444 w 822"/>
                  <a:gd name="T69" fmla="*/ 96 h 564"/>
                  <a:gd name="T70" fmla="*/ 408 w 822"/>
                  <a:gd name="T71" fmla="*/ 114 h 564"/>
                  <a:gd name="T72" fmla="*/ 372 w 822"/>
                  <a:gd name="T73" fmla="*/ 102 h 564"/>
                  <a:gd name="T74" fmla="*/ 336 w 822"/>
                  <a:gd name="T75" fmla="*/ 84 h 564"/>
                  <a:gd name="T76" fmla="*/ 324 w 822"/>
                  <a:gd name="T77" fmla="*/ 138 h 564"/>
                  <a:gd name="T78" fmla="*/ 294 w 822"/>
                  <a:gd name="T79" fmla="*/ 108 h 564"/>
                  <a:gd name="T80" fmla="*/ 264 w 822"/>
                  <a:gd name="T81" fmla="*/ 102 h 564"/>
                  <a:gd name="T82" fmla="*/ 246 w 822"/>
                  <a:gd name="T83" fmla="*/ 84 h 564"/>
                  <a:gd name="T84" fmla="*/ 180 w 822"/>
                  <a:gd name="T85" fmla="*/ 54 h 564"/>
                  <a:gd name="T86" fmla="*/ 156 w 822"/>
                  <a:gd name="T87" fmla="*/ 54 h 564"/>
                  <a:gd name="T88" fmla="*/ 126 w 822"/>
                  <a:gd name="T89" fmla="*/ 48 h 564"/>
                  <a:gd name="T90" fmla="*/ 60 w 822"/>
                  <a:gd name="T91" fmla="*/ 84 h 564"/>
                  <a:gd name="T92" fmla="*/ 48 w 822"/>
                  <a:gd name="T93" fmla="*/ 300 h 564"/>
                  <a:gd name="T94" fmla="*/ 120 w 822"/>
                  <a:gd name="T95" fmla="*/ 366 h 564"/>
                  <a:gd name="T96" fmla="*/ 156 w 822"/>
                  <a:gd name="T97" fmla="*/ 450 h 564"/>
                  <a:gd name="T98" fmla="*/ 474 w 822"/>
                  <a:gd name="T99" fmla="*/ 486 h 564"/>
                  <a:gd name="T100" fmla="*/ 528 w 822"/>
                  <a:gd name="T101" fmla="*/ 480 h 564"/>
                  <a:gd name="T102" fmla="*/ 564 w 822"/>
                  <a:gd name="T103" fmla="*/ 510 h 564"/>
                  <a:gd name="T104" fmla="*/ 588 w 822"/>
                  <a:gd name="T105" fmla="*/ 528 h 564"/>
                  <a:gd name="T106" fmla="*/ 570 w 822"/>
                  <a:gd name="T107" fmla="*/ 540 h 564"/>
                  <a:gd name="T108" fmla="*/ 570 w 822"/>
                  <a:gd name="T109" fmla="*/ 558 h 564"/>
                  <a:gd name="T110" fmla="*/ 588 w 822"/>
                  <a:gd name="T111" fmla="*/ 546 h 564"/>
                  <a:gd name="T112" fmla="*/ 642 w 822"/>
                  <a:gd name="T113" fmla="*/ 528 h 56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822" h="564">
                    <a:moveTo>
                      <a:pt x="642" y="528"/>
                    </a:moveTo>
                    <a:lnTo>
                      <a:pt x="648" y="522"/>
                    </a:lnTo>
                    <a:lnTo>
                      <a:pt x="654" y="516"/>
                    </a:lnTo>
                    <a:lnTo>
                      <a:pt x="666" y="510"/>
                    </a:lnTo>
                    <a:lnTo>
                      <a:pt x="684" y="510"/>
                    </a:lnTo>
                    <a:lnTo>
                      <a:pt x="696" y="498"/>
                    </a:lnTo>
                    <a:lnTo>
                      <a:pt x="702" y="492"/>
                    </a:lnTo>
                    <a:lnTo>
                      <a:pt x="708" y="492"/>
                    </a:lnTo>
                    <a:lnTo>
                      <a:pt x="708" y="498"/>
                    </a:lnTo>
                    <a:lnTo>
                      <a:pt x="714" y="498"/>
                    </a:lnTo>
                    <a:lnTo>
                      <a:pt x="708" y="510"/>
                    </a:lnTo>
                    <a:lnTo>
                      <a:pt x="702" y="522"/>
                    </a:lnTo>
                    <a:lnTo>
                      <a:pt x="714" y="528"/>
                    </a:lnTo>
                    <a:lnTo>
                      <a:pt x="726" y="528"/>
                    </a:lnTo>
                    <a:lnTo>
                      <a:pt x="732" y="522"/>
                    </a:lnTo>
                    <a:lnTo>
                      <a:pt x="738" y="522"/>
                    </a:lnTo>
                    <a:lnTo>
                      <a:pt x="732" y="528"/>
                    </a:lnTo>
                    <a:lnTo>
                      <a:pt x="726" y="534"/>
                    </a:lnTo>
                    <a:lnTo>
                      <a:pt x="720" y="540"/>
                    </a:lnTo>
                    <a:lnTo>
                      <a:pt x="726" y="546"/>
                    </a:lnTo>
                    <a:lnTo>
                      <a:pt x="732" y="546"/>
                    </a:lnTo>
                    <a:lnTo>
                      <a:pt x="744" y="540"/>
                    </a:lnTo>
                    <a:lnTo>
                      <a:pt x="756" y="534"/>
                    </a:lnTo>
                    <a:lnTo>
                      <a:pt x="762" y="528"/>
                    </a:lnTo>
                    <a:lnTo>
                      <a:pt x="756" y="522"/>
                    </a:lnTo>
                    <a:lnTo>
                      <a:pt x="750" y="522"/>
                    </a:lnTo>
                    <a:lnTo>
                      <a:pt x="744" y="516"/>
                    </a:lnTo>
                    <a:lnTo>
                      <a:pt x="738" y="504"/>
                    </a:lnTo>
                    <a:lnTo>
                      <a:pt x="732" y="498"/>
                    </a:lnTo>
                    <a:lnTo>
                      <a:pt x="732" y="492"/>
                    </a:lnTo>
                    <a:lnTo>
                      <a:pt x="732" y="486"/>
                    </a:lnTo>
                    <a:lnTo>
                      <a:pt x="726" y="486"/>
                    </a:lnTo>
                    <a:lnTo>
                      <a:pt x="732" y="480"/>
                    </a:lnTo>
                    <a:lnTo>
                      <a:pt x="738" y="480"/>
                    </a:lnTo>
                    <a:lnTo>
                      <a:pt x="738" y="474"/>
                    </a:lnTo>
                    <a:lnTo>
                      <a:pt x="738" y="468"/>
                    </a:lnTo>
                    <a:lnTo>
                      <a:pt x="732" y="468"/>
                    </a:lnTo>
                    <a:lnTo>
                      <a:pt x="726" y="468"/>
                    </a:lnTo>
                    <a:lnTo>
                      <a:pt x="714" y="474"/>
                    </a:lnTo>
                    <a:lnTo>
                      <a:pt x="708" y="480"/>
                    </a:lnTo>
                    <a:lnTo>
                      <a:pt x="696" y="486"/>
                    </a:lnTo>
                    <a:lnTo>
                      <a:pt x="690" y="492"/>
                    </a:lnTo>
                    <a:lnTo>
                      <a:pt x="684" y="498"/>
                    </a:lnTo>
                    <a:lnTo>
                      <a:pt x="672" y="504"/>
                    </a:lnTo>
                    <a:lnTo>
                      <a:pt x="702" y="468"/>
                    </a:lnTo>
                    <a:lnTo>
                      <a:pt x="714" y="456"/>
                    </a:lnTo>
                    <a:lnTo>
                      <a:pt x="726" y="456"/>
                    </a:lnTo>
                    <a:lnTo>
                      <a:pt x="732" y="450"/>
                    </a:lnTo>
                    <a:lnTo>
                      <a:pt x="762" y="450"/>
                    </a:lnTo>
                    <a:lnTo>
                      <a:pt x="780" y="450"/>
                    </a:lnTo>
                    <a:lnTo>
                      <a:pt x="792" y="450"/>
                    </a:lnTo>
                    <a:lnTo>
                      <a:pt x="798" y="444"/>
                    </a:lnTo>
                    <a:lnTo>
                      <a:pt x="798" y="438"/>
                    </a:lnTo>
                    <a:lnTo>
                      <a:pt x="804" y="432"/>
                    </a:lnTo>
                    <a:lnTo>
                      <a:pt x="810" y="426"/>
                    </a:lnTo>
                    <a:lnTo>
                      <a:pt x="816" y="426"/>
                    </a:lnTo>
                    <a:lnTo>
                      <a:pt x="822" y="426"/>
                    </a:lnTo>
                    <a:lnTo>
                      <a:pt x="822" y="414"/>
                    </a:lnTo>
                    <a:lnTo>
                      <a:pt x="822" y="408"/>
                    </a:lnTo>
                    <a:lnTo>
                      <a:pt x="822" y="402"/>
                    </a:lnTo>
                    <a:lnTo>
                      <a:pt x="816" y="396"/>
                    </a:lnTo>
                    <a:lnTo>
                      <a:pt x="816" y="390"/>
                    </a:lnTo>
                    <a:lnTo>
                      <a:pt x="810" y="390"/>
                    </a:lnTo>
                    <a:lnTo>
                      <a:pt x="810" y="378"/>
                    </a:lnTo>
                    <a:lnTo>
                      <a:pt x="804" y="378"/>
                    </a:lnTo>
                    <a:lnTo>
                      <a:pt x="792" y="378"/>
                    </a:lnTo>
                    <a:lnTo>
                      <a:pt x="786" y="378"/>
                    </a:lnTo>
                    <a:lnTo>
                      <a:pt x="768" y="342"/>
                    </a:lnTo>
                    <a:lnTo>
                      <a:pt x="768" y="348"/>
                    </a:lnTo>
                    <a:lnTo>
                      <a:pt x="768" y="336"/>
                    </a:lnTo>
                    <a:lnTo>
                      <a:pt x="762" y="318"/>
                    </a:lnTo>
                    <a:lnTo>
                      <a:pt x="750" y="300"/>
                    </a:lnTo>
                    <a:lnTo>
                      <a:pt x="744" y="288"/>
                    </a:lnTo>
                    <a:lnTo>
                      <a:pt x="744" y="282"/>
                    </a:lnTo>
                    <a:lnTo>
                      <a:pt x="738" y="282"/>
                    </a:lnTo>
                    <a:lnTo>
                      <a:pt x="732" y="282"/>
                    </a:lnTo>
                    <a:lnTo>
                      <a:pt x="732" y="294"/>
                    </a:lnTo>
                    <a:lnTo>
                      <a:pt x="732" y="300"/>
                    </a:lnTo>
                    <a:lnTo>
                      <a:pt x="726" y="300"/>
                    </a:lnTo>
                    <a:lnTo>
                      <a:pt x="720" y="306"/>
                    </a:lnTo>
                    <a:lnTo>
                      <a:pt x="708" y="312"/>
                    </a:lnTo>
                    <a:lnTo>
                      <a:pt x="702" y="306"/>
                    </a:lnTo>
                    <a:lnTo>
                      <a:pt x="696" y="300"/>
                    </a:lnTo>
                    <a:lnTo>
                      <a:pt x="690" y="294"/>
                    </a:lnTo>
                    <a:lnTo>
                      <a:pt x="690" y="288"/>
                    </a:lnTo>
                    <a:lnTo>
                      <a:pt x="696" y="276"/>
                    </a:lnTo>
                    <a:lnTo>
                      <a:pt x="690" y="270"/>
                    </a:lnTo>
                    <a:lnTo>
                      <a:pt x="690" y="264"/>
                    </a:lnTo>
                    <a:lnTo>
                      <a:pt x="690" y="258"/>
                    </a:lnTo>
                    <a:lnTo>
                      <a:pt x="678" y="252"/>
                    </a:lnTo>
                    <a:lnTo>
                      <a:pt x="672" y="246"/>
                    </a:lnTo>
                    <a:lnTo>
                      <a:pt x="666" y="240"/>
                    </a:lnTo>
                    <a:lnTo>
                      <a:pt x="660" y="234"/>
                    </a:lnTo>
                    <a:lnTo>
                      <a:pt x="654" y="234"/>
                    </a:lnTo>
                    <a:lnTo>
                      <a:pt x="624" y="234"/>
                    </a:lnTo>
                    <a:lnTo>
                      <a:pt x="618" y="234"/>
                    </a:lnTo>
                    <a:lnTo>
                      <a:pt x="612" y="240"/>
                    </a:lnTo>
                    <a:lnTo>
                      <a:pt x="612" y="246"/>
                    </a:lnTo>
                    <a:lnTo>
                      <a:pt x="606" y="246"/>
                    </a:lnTo>
                    <a:lnTo>
                      <a:pt x="606" y="252"/>
                    </a:lnTo>
                    <a:lnTo>
                      <a:pt x="606" y="258"/>
                    </a:lnTo>
                    <a:lnTo>
                      <a:pt x="612" y="270"/>
                    </a:lnTo>
                    <a:lnTo>
                      <a:pt x="612" y="276"/>
                    </a:lnTo>
                    <a:lnTo>
                      <a:pt x="606" y="306"/>
                    </a:lnTo>
                    <a:lnTo>
                      <a:pt x="606" y="312"/>
                    </a:lnTo>
                    <a:lnTo>
                      <a:pt x="606" y="318"/>
                    </a:lnTo>
                    <a:lnTo>
                      <a:pt x="612" y="330"/>
                    </a:lnTo>
                    <a:lnTo>
                      <a:pt x="618" y="348"/>
                    </a:lnTo>
                    <a:lnTo>
                      <a:pt x="612" y="360"/>
                    </a:lnTo>
                    <a:lnTo>
                      <a:pt x="606" y="366"/>
                    </a:lnTo>
                    <a:lnTo>
                      <a:pt x="606" y="372"/>
                    </a:lnTo>
                    <a:lnTo>
                      <a:pt x="600" y="378"/>
                    </a:lnTo>
                    <a:lnTo>
                      <a:pt x="594" y="378"/>
                    </a:lnTo>
                    <a:lnTo>
                      <a:pt x="594" y="384"/>
                    </a:lnTo>
                    <a:lnTo>
                      <a:pt x="594" y="390"/>
                    </a:lnTo>
                    <a:lnTo>
                      <a:pt x="594" y="402"/>
                    </a:lnTo>
                    <a:lnTo>
                      <a:pt x="594" y="408"/>
                    </a:lnTo>
                    <a:lnTo>
                      <a:pt x="600" y="414"/>
                    </a:lnTo>
                    <a:lnTo>
                      <a:pt x="600" y="420"/>
                    </a:lnTo>
                    <a:lnTo>
                      <a:pt x="600" y="426"/>
                    </a:lnTo>
                    <a:lnTo>
                      <a:pt x="600" y="432"/>
                    </a:lnTo>
                    <a:lnTo>
                      <a:pt x="594" y="438"/>
                    </a:lnTo>
                    <a:lnTo>
                      <a:pt x="588" y="444"/>
                    </a:lnTo>
                    <a:lnTo>
                      <a:pt x="582" y="438"/>
                    </a:lnTo>
                    <a:lnTo>
                      <a:pt x="582" y="432"/>
                    </a:lnTo>
                    <a:lnTo>
                      <a:pt x="582" y="426"/>
                    </a:lnTo>
                    <a:lnTo>
                      <a:pt x="576" y="426"/>
                    </a:lnTo>
                    <a:lnTo>
                      <a:pt x="576" y="420"/>
                    </a:lnTo>
                    <a:lnTo>
                      <a:pt x="570" y="420"/>
                    </a:lnTo>
                    <a:lnTo>
                      <a:pt x="570" y="414"/>
                    </a:lnTo>
                    <a:lnTo>
                      <a:pt x="570" y="408"/>
                    </a:lnTo>
                    <a:lnTo>
                      <a:pt x="564" y="402"/>
                    </a:lnTo>
                    <a:lnTo>
                      <a:pt x="564" y="390"/>
                    </a:lnTo>
                    <a:lnTo>
                      <a:pt x="558" y="384"/>
                    </a:lnTo>
                    <a:lnTo>
                      <a:pt x="558" y="378"/>
                    </a:lnTo>
                    <a:lnTo>
                      <a:pt x="552" y="372"/>
                    </a:lnTo>
                    <a:lnTo>
                      <a:pt x="546" y="372"/>
                    </a:lnTo>
                    <a:lnTo>
                      <a:pt x="540" y="372"/>
                    </a:lnTo>
                    <a:lnTo>
                      <a:pt x="528" y="372"/>
                    </a:lnTo>
                    <a:lnTo>
                      <a:pt x="516" y="372"/>
                    </a:lnTo>
                    <a:lnTo>
                      <a:pt x="504" y="366"/>
                    </a:lnTo>
                    <a:lnTo>
                      <a:pt x="492" y="354"/>
                    </a:lnTo>
                    <a:lnTo>
                      <a:pt x="492" y="348"/>
                    </a:lnTo>
                    <a:lnTo>
                      <a:pt x="492" y="342"/>
                    </a:lnTo>
                    <a:lnTo>
                      <a:pt x="486" y="336"/>
                    </a:lnTo>
                    <a:lnTo>
                      <a:pt x="480" y="324"/>
                    </a:lnTo>
                    <a:lnTo>
                      <a:pt x="468" y="324"/>
                    </a:lnTo>
                    <a:lnTo>
                      <a:pt x="468" y="318"/>
                    </a:lnTo>
                    <a:lnTo>
                      <a:pt x="468" y="312"/>
                    </a:lnTo>
                    <a:lnTo>
                      <a:pt x="462" y="312"/>
                    </a:lnTo>
                    <a:lnTo>
                      <a:pt x="450" y="306"/>
                    </a:lnTo>
                    <a:lnTo>
                      <a:pt x="450" y="300"/>
                    </a:lnTo>
                    <a:lnTo>
                      <a:pt x="444" y="288"/>
                    </a:lnTo>
                    <a:lnTo>
                      <a:pt x="444" y="282"/>
                    </a:lnTo>
                    <a:lnTo>
                      <a:pt x="450" y="276"/>
                    </a:lnTo>
                    <a:lnTo>
                      <a:pt x="456" y="258"/>
                    </a:lnTo>
                    <a:lnTo>
                      <a:pt x="474" y="240"/>
                    </a:lnTo>
                    <a:lnTo>
                      <a:pt x="480" y="240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6" y="222"/>
                    </a:lnTo>
                    <a:lnTo>
                      <a:pt x="492" y="222"/>
                    </a:lnTo>
                    <a:lnTo>
                      <a:pt x="498" y="222"/>
                    </a:lnTo>
                    <a:lnTo>
                      <a:pt x="510" y="228"/>
                    </a:lnTo>
                    <a:lnTo>
                      <a:pt x="510" y="222"/>
                    </a:lnTo>
                    <a:lnTo>
                      <a:pt x="516" y="216"/>
                    </a:lnTo>
                    <a:lnTo>
                      <a:pt x="516" y="204"/>
                    </a:lnTo>
                    <a:lnTo>
                      <a:pt x="516" y="192"/>
                    </a:lnTo>
                    <a:lnTo>
                      <a:pt x="522" y="180"/>
                    </a:lnTo>
                    <a:lnTo>
                      <a:pt x="528" y="174"/>
                    </a:lnTo>
                    <a:lnTo>
                      <a:pt x="528" y="168"/>
                    </a:lnTo>
                    <a:lnTo>
                      <a:pt x="528" y="162"/>
                    </a:lnTo>
                    <a:lnTo>
                      <a:pt x="504" y="150"/>
                    </a:lnTo>
                    <a:lnTo>
                      <a:pt x="516" y="150"/>
                    </a:lnTo>
                    <a:lnTo>
                      <a:pt x="522" y="150"/>
                    </a:lnTo>
                    <a:lnTo>
                      <a:pt x="528" y="150"/>
                    </a:lnTo>
                    <a:lnTo>
                      <a:pt x="540" y="150"/>
                    </a:lnTo>
                    <a:lnTo>
                      <a:pt x="546" y="156"/>
                    </a:lnTo>
                    <a:lnTo>
                      <a:pt x="552" y="144"/>
                    </a:lnTo>
                    <a:lnTo>
                      <a:pt x="558" y="150"/>
                    </a:lnTo>
                    <a:lnTo>
                      <a:pt x="564" y="150"/>
                    </a:lnTo>
                    <a:lnTo>
                      <a:pt x="570" y="144"/>
                    </a:lnTo>
                    <a:lnTo>
                      <a:pt x="576" y="138"/>
                    </a:lnTo>
                    <a:lnTo>
                      <a:pt x="576" y="132"/>
                    </a:lnTo>
                    <a:lnTo>
                      <a:pt x="582" y="132"/>
                    </a:lnTo>
                    <a:lnTo>
                      <a:pt x="582" y="120"/>
                    </a:lnTo>
                    <a:lnTo>
                      <a:pt x="582" y="114"/>
                    </a:lnTo>
                    <a:lnTo>
                      <a:pt x="582" y="108"/>
                    </a:lnTo>
                    <a:lnTo>
                      <a:pt x="570" y="102"/>
                    </a:lnTo>
                    <a:lnTo>
                      <a:pt x="570" y="96"/>
                    </a:lnTo>
                    <a:lnTo>
                      <a:pt x="570" y="90"/>
                    </a:lnTo>
                    <a:lnTo>
                      <a:pt x="576" y="90"/>
                    </a:lnTo>
                    <a:lnTo>
                      <a:pt x="582" y="90"/>
                    </a:lnTo>
                    <a:lnTo>
                      <a:pt x="582" y="84"/>
                    </a:lnTo>
                    <a:lnTo>
                      <a:pt x="582" y="78"/>
                    </a:lnTo>
                    <a:lnTo>
                      <a:pt x="576" y="78"/>
                    </a:lnTo>
                    <a:lnTo>
                      <a:pt x="576" y="72"/>
                    </a:lnTo>
                    <a:lnTo>
                      <a:pt x="570" y="60"/>
                    </a:lnTo>
                    <a:lnTo>
                      <a:pt x="558" y="60"/>
                    </a:lnTo>
                    <a:lnTo>
                      <a:pt x="552" y="54"/>
                    </a:lnTo>
                    <a:lnTo>
                      <a:pt x="552" y="78"/>
                    </a:lnTo>
                    <a:lnTo>
                      <a:pt x="552" y="84"/>
                    </a:lnTo>
                    <a:lnTo>
                      <a:pt x="540" y="102"/>
                    </a:lnTo>
                    <a:lnTo>
                      <a:pt x="540" y="108"/>
                    </a:lnTo>
                    <a:lnTo>
                      <a:pt x="534" y="108"/>
                    </a:lnTo>
                    <a:lnTo>
                      <a:pt x="528" y="102"/>
                    </a:lnTo>
                    <a:lnTo>
                      <a:pt x="522" y="78"/>
                    </a:lnTo>
                    <a:lnTo>
                      <a:pt x="522" y="72"/>
                    </a:lnTo>
                    <a:lnTo>
                      <a:pt x="522" y="78"/>
                    </a:lnTo>
                    <a:lnTo>
                      <a:pt x="510" y="90"/>
                    </a:lnTo>
                    <a:lnTo>
                      <a:pt x="504" y="84"/>
                    </a:lnTo>
                    <a:lnTo>
                      <a:pt x="504" y="78"/>
                    </a:lnTo>
                    <a:lnTo>
                      <a:pt x="504" y="72"/>
                    </a:lnTo>
                    <a:lnTo>
                      <a:pt x="498" y="78"/>
                    </a:lnTo>
                    <a:lnTo>
                      <a:pt x="492" y="72"/>
                    </a:lnTo>
                    <a:lnTo>
                      <a:pt x="486" y="72"/>
                    </a:lnTo>
                    <a:lnTo>
                      <a:pt x="486" y="66"/>
                    </a:lnTo>
                    <a:lnTo>
                      <a:pt x="492" y="60"/>
                    </a:lnTo>
                    <a:lnTo>
                      <a:pt x="492" y="48"/>
                    </a:lnTo>
                    <a:lnTo>
                      <a:pt x="486" y="42"/>
                    </a:lnTo>
                    <a:lnTo>
                      <a:pt x="486" y="36"/>
                    </a:lnTo>
                    <a:lnTo>
                      <a:pt x="486" y="30"/>
                    </a:lnTo>
                    <a:lnTo>
                      <a:pt x="486" y="24"/>
                    </a:lnTo>
                    <a:lnTo>
                      <a:pt x="480" y="18"/>
                    </a:lnTo>
                    <a:lnTo>
                      <a:pt x="468" y="6"/>
                    </a:lnTo>
                    <a:lnTo>
                      <a:pt x="468" y="0"/>
                    </a:lnTo>
                    <a:lnTo>
                      <a:pt x="462" y="6"/>
                    </a:lnTo>
                    <a:lnTo>
                      <a:pt x="456" y="6"/>
                    </a:lnTo>
                    <a:lnTo>
                      <a:pt x="456" y="12"/>
                    </a:lnTo>
                    <a:lnTo>
                      <a:pt x="456" y="18"/>
                    </a:lnTo>
                    <a:lnTo>
                      <a:pt x="444" y="30"/>
                    </a:lnTo>
                    <a:lnTo>
                      <a:pt x="444" y="36"/>
                    </a:lnTo>
                    <a:lnTo>
                      <a:pt x="444" y="42"/>
                    </a:lnTo>
                    <a:lnTo>
                      <a:pt x="444" y="54"/>
                    </a:lnTo>
                    <a:lnTo>
                      <a:pt x="456" y="66"/>
                    </a:lnTo>
                    <a:lnTo>
                      <a:pt x="462" y="66"/>
                    </a:lnTo>
                    <a:lnTo>
                      <a:pt x="462" y="78"/>
                    </a:lnTo>
                    <a:lnTo>
                      <a:pt x="462" y="84"/>
                    </a:lnTo>
                    <a:lnTo>
                      <a:pt x="468" y="90"/>
                    </a:lnTo>
                    <a:lnTo>
                      <a:pt x="474" y="90"/>
                    </a:lnTo>
                    <a:lnTo>
                      <a:pt x="474" y="96"/>
                    </a:lnTo>
                    <a:lnTo>
                      <a:pt x="474" y="102"/>
                    </a:lnTo>
                    <a:lnTo>
                      <a:pt x="462" y="108"/>
                    </a:lnTo>
                    <a:lnTo>
                      <a:pt x="450" y="114"/>
                    </a:lnTo>
                    <a:lnTo>
                      <a:pt x="438" y="114"/>
                    </a:lnTo>
                    <a:lnTo>
                      <a:pt x="444" y="96"/>
                    </a:lnTo>
                    <a:lnTo>
                      <a:pt x="426" y="96"/>
                    </a:lnTo>
                    <a:lnTo>
                      <a:pt x="420" y="96"/>
                    </a:lnTo>
                    <a:lnTo>
                      <a:pt x="420" y="114"/>
                    </a:lnTo>
                    <a:lnTo>
                      <a:pt x="414" y="120"/>
                    </a:lnTo>
                    <a:lnTo>
                      <a:pt x="414" y="114"/>
                    </a:lnTo>
                    <a:lnTo>
                      <a:pt x="408" y="114"/>
                    </a:lnTo>
                    <a:lnTo>
                      <a:pt x="402" y="108"/>
                    </a:lnTo>
                    <a:lnTo>
                      <a:pt x="396" y="108"/>
                    </a:lnTo>
                    <a:lnTo>
                      <a:pt x="396" y="114"/>
                    </a:lnTo>
                    <a:lnTo>
                      <a:pt x="384" y="120"/>
                    </a:lnTo>
                    <a:lnTo>
                      <a:pt x="378" y="120"/>
                    </a:lnTo>
                    <a:lnTo>
                      <a:pt x="378" y="114"/>
                    </a:lnTo>
                    <a:lnTo>
                      <a:pt x="372" y="102"/>
                    </a:lnTo>
                    <a:lnTo>
                      <a:pt x="366" y="102"/>
                    </a:lnTo>
                    <a:lnTo>
                      <a:pt x="354" y="102"/>
                    </a:lnTo>
                    <a:lnTo>
                      <a:pt x="354" y="96"/>
                    </a:lnTo>
                    <a:lnTo>
                      <a:pt x="348" y="90"/>
                    </a:lnTo>
                    <a:lnTo>
                      <a:pt x="348" y="84"/>
                    </a:lnTo>
                    <a:lnTo>
                      <a:pt x="342" y="84"/>
                    </a:lnTo>
                    <a:lnTo>
                      <a:pt x="336" y="84"/>
                    </a:lnTo>
                    <a:lnTo>
                      <a:pt x="330" y="84"/>
                    </a:lnTo>
                    <a:lnTo>
                      <a:pt x="324" y="84"/>
                    </a:lnTo>
                    <a:lnTo>
                      <a:pt x="318" y="96"/>
                    </a:lnTo>
                    <a:lnTo>
                      <a:pt x="324" y="102"/>
                    </a:lnTo>
                    <a:lnTo>
                      <a:pt x="324" y="108"/>
                    </a:lnTo>
                    <a:lnTo>
                      <a:pt x="324" y="114"/>
                    </a:lnTo>
                    <a:lnTo>
                      <a:pt x="324" y="120"/>
                    </a:lnTo>
                    <a:lnTo>
                      <a:pt x="324" y="138"/>
                    </a:lnTo>
                    <a:lnTo>
                      <a:pt x="318" y="144"/>
                    </a:lnTo>
                    <a:lnTo>
                      <a:pt x="312" y="132"/>
                    </a:lnTo>
                    <a:lnTo>
                      <a:pt x="306" y="120"/>
                    </a:lnTo>
                    <a:lnTo>
                      <a:pt x="300" y="108"/>
                    </a:lnTo>
                    <a:lnTo>
                      <a:pt x="300" y="102"/>
                    </a:lnTo>
                    <a:lnTo>
                      <a:pt x="294" y="108"/>
                    </a:lnTo>
                    <a:lnTo>
                      <a:pt x="288" y="114"/>
                    </a:lnTo>
                    <a:lnTo>
                      <a:pt x="276" y="114"/>
                    </a:lnTo>
                    <a:lnTo>
                      <a:pt x="270" y="114"/>
                    </a:lnTo>
                    <a:lnTo>
                      <a:pt x="258" y="114"/>
                    </a:lnTo>
                    <a:lnTo>
                      <a:pt x="258" y="108"/>
                    </a:lnTo>
                    <a:lnTo>
                      <a:pt x="264" y="102"/>
                    </a:lnTo>
                    <a:lnTo>
                      <a:pt x="264" y="96"/>
                    </a:lnTo>
                    <a:lnTo>
                      <a:pt x="264" y="90"/>
                    </a:lnTo>
                    <a:lnTo>
                      <a:pt x="264" y="84"/>
                    </a:lnTo>
                    <a:lnTo>
                      <a:pt x="258" y="84"/>
                    </a:lnTo>
                    <a:lnTo>
                      <a:pt x="252" y="78"/>
                    </a:lnTo>
                    <a:lnTo>
                      <a:pt x="246" y="78"/>
                    </a:lnTo>
                    <a:lnTo>
                      <a:pt x="246" y="84"/>
                    </a:lnTo>
                    <a:lnTo>
                      <a:pt x="240" y="84"/>
                    </a:lnTo>
                    <a:lnTo>
                      <a:pt x="228" y="72"/>
                    </a:lnTo>
                    <a:lnTo>
                      <a:pt x="216" y="66"/>
                    </a:lnTo>
                    <a:lnTo>
                      <a:pt x="198" y="60"/>
                    </a:lnTo>
                    <a:lnTo>
                      <a:pt x="180" y="54"/>
                    </a:lnTo>
                    <a:lnTo>
                      <a:pt x="174" y="48"/>
                    </a:lnTo>
                    <a:lnTo>
                      <a:pt x="168" y="48"/>
                    </a:lnTo>
                    <a:lnTo>
                      <a:pt x="168" y="54"/>
                    </a:lnTo>
                    <a:lnTo>
                      <a:pt x="168" y="60"/>
                    </a:lnTo>
                    <a:lnTo>
                      <a:pt x="168" y="66"/>
                    </a:lnTo>
                    <a:lnTo>
                      <a:pt x="162" y="66"/>
                    </a:lnTo>
                    <a:lnTo>
                      <a:pt x="162" y="60"/>
                    </a:lnTo>
                    <a:lnTo>
                      <a:pt x="156" y="54"/>
                    </a:lnTo>
                    <a:lnTo>
                      <a:pt x="150" y="48"/>
                    </a:lnTo>
                    <a:lnTo>
                      <a:pt x="144" y="36"/>
                    </a:lnTo>
                    <a:lnTo>
                      <a:pt x="138" y="36"/>
                    </a:lnTo>
                    <a:lnTo>
                      <a:pt x="138" y="42"/>
                    </a:lnTo>
                    <a:lnTo>
                      <a:pt x="138" y="54"/>
                    </a:lnTo>
                    <a:lnTo>
                      <a:pt x="132" y="54"/>
                    </a:lnTo>
                    <a:lnTo>
                      <a:pt x="126" y="48"/>
                    </a:lnTo>
                    <a:lnTo>
                      <a:pt x="120" y="48"/>
                    </a:lnTo>
                    <a:lnTo>
                      <a:pt x="114" y="48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84" y="66"/>
                    </a:lnTo>
                    <a:lnTo>
                      <a:pt x="72" y="78"/>
                    </a:lnTo>
                    <a:lnTo>
                      <a:pt x="60" y="84"/>
                    </a:lnTo>
                    <a:lnTo>
                      <a:pt x="54" y="84"/>
                    </a:lnTo>
                    <a:lnTo>
                      <a:pt x="24" y="66"/>
                    </a:lnTo>
                    <a:lnTo>
                      <a:pt x="12" y="60"/>
                    </a:lnTo>
                    <a:lnTo>
                      <a:pt x="0" y="54"/>
                    </a:lnTo>
                    <a:lnTo>
                      <a:pt x="0" y="276"/>
                    </a:lnTo>
                    <a:lnTo>
                      <a:pt x="12" y="276"/>
                    </a:lnTo>
                    <a:lnTo>
                      <a:pt x="36" y="288"/>
                    </a:lnTo>
                    <a:lnTo>
                      <a:pt x="48" y="300"/>
                    </a:lnTo>
                    <a:lnTo>
                      <a:pt x="60" y="300"/>
                    </a:lnTo>
                    <a:lnTo>
                      <a:pt x="66" y="294"/>
                    </a:lnTo>
                    <a:lnTo>
                      <a:pt x="72" y="300"/>
                    </a:lnTo>
                    <a:lnTo>
                      <a:pt x="84" y="318"/>
                    </a:lnTo>
                    <a:lnTo>
                      <a:pt x="102" y="342"/>
                    </a:lnTo>
                    <a:lnTo>
                      <a:pt x="114" y="354"/>
                    </a:lnTo>
                    <a:lnTo>
                      <a:pt x="120" y="360"/>
                    </a:lnTo>
                    <a:lnTo>
                      <a:pt x="120" y="366"/>
                    </a:lnTo>
                    <a:lnTo>
                      <a:pt x="114" y="378"/>
                    </a:lnTo>
                    <a:lnTo>
                      <a:pt x="114" y="390"/>
                    </a:lnTo>
                    <a:lnTo>
                      <a:pt x="114" y="402"/>
                    </a:lnTo>
                    <a:lnTo>
                      <a:pt x="114" y="408"/>
                    </a:lnTo>
                    <a:lnTo>
                      <a:pt x="120" y="414"/>
                    </a:lnTo>
                    <a:lnTo>
                      <a:pt x="126" y="420"/>
                    </a:lnTo>
                    <a:lnTo>
                      <a:pt x="132" y="432"/>
                    </a:lnTo>
                    <a:lnTo>
                      <a:pt x="156" y="450"/>
                    </a:lnTo>
                    <a:lnTo>
                      <a:pt x="162" y="450"/>
                    </a:lnTo>
                    <a:lnTo>
                      <a:pt x="168" y="462"/>
                    </a:lnTo>
                    <a:lnTo>
                      <a:pt x="174" y="468"/>
                    </a:lnTo>
                    <a:lnTo>
                      <a:pt x="174" y="474"/>
                    </a:lnTo>
                    <a:lnTo>
                      <a:pt x="444" y="474"/>
                    </a:lnTo>
                    <a:lnTo>
                      <a:pt x="456" y="480"/>
                    </a:lnTo>
                    <a:lnTo>
                      <a:pt x="474" y="480"/>
                    </a:lnTo>
                    <a:lnTo>
                      <a:pt x="474" y="486"/>
                    </a:lnTo>
                    <a:lnTo>
                      <a:pt x="480" y="486"/>
                    </a:lnTo>
                    <a:lnTo>
                      <a:pt x="486" y="486"/>
                    </a:lnTo>
                    <a:lnTo>
                      <a:pt x="498" y="480"/>
                    </a:lnTo>
                    <a:lnTo>
                      <a:pt x="504" y="480"/>
                    </a:lnTo>
                    <a:lnTo>
                      <a:pt x="510" y="474"/>
                    </a:lnTo>
                    <a:lnTo>
                      <a:pt x="516" y="474"/>
                    </a:lnTo>
                    <a:lnTo>
                      <a:pt x="522" y="480"/>
                    </a:lnTo>
                    <a:lnTo>
                      <a:pt x="528" y="480"/>
                    </a:lnTo>
                    <a:lnTo>
                      <a:pt x="534" y="486"/>
                    </a:lnTo>
                    <a:lnTo>
                      <a:pt x="540" y="486"/>
                    </a:lnTo>
                    <a:lnTo>
                      <a:pt x="546" y="486"/>
                    </a:lnTo>
                    <a:lnTo>
                      <a:pt x="546" y="492"/>
                    </a:lnTo>
                    <a:lnTo>
                      <a:pt x="546" y="498"/>
                    </a:lnTo>
                    <a:lnTo>
                      <a:pt x="552" y="510"/>
                    </a:lnTo>
                    <a:lnTo>
                      <a:pt x="564" y="510"/>
                    </a:lnTo>
                    <a:lnTo>
                      <a:pt x="570" y="504"/>
                    </a:lnTo>
                    <a:lnTo>
                      <a:pt x="576" y="510"/>
                    </a:lnTo>
                    <a:lnTo>
                      <a:pt x="588" y="516"/>
                    </a:lnTo>
                    <a:lnTo>
                      <a:pt x="594" y="522"/>
                    </a:lnTo>
                    <a:lnTo>
                      <a:pt x="594" y="528"/>
                    </a:lnTo>
                    <a:lnTo>
                      <a:pt x="588" y="528"/>
                    </a:lnTo>
                    <a:lnTo>
                      <a:pt x="582" y="528"/>
                    </a:lnTo>
                    <a:lnTo>
                      <a:pt x="576" y="522"/>
                    </a:lnTo>
                    <a:lnTo>
                      <a:pt x="576" y="528"/>
                    </a:lnTo>
                    <a:lnTo>
                      <a:pt x="576" y="534"/>
                    </a:lnTo>
                    <a:lnTo>
                      <a:pt x="576" y="540"/>
                    </a:lnTo>
                    <a:lnTo>
                      <a:pt x="570" y="540"/>
                    </a:lnTo>
                    <a:lnTo>
                      <a:pt x="564" y="546"/>
                    </a:lnTo>
                    <a:lnTo>
                      <a:pt x="570" y="552"/>
                    </a:lnTo>
                    <a:lnTo>
                      <a:pt x="570" y="558"/>
                    </a:lnTo>
                    <a:lnTo>
                      <a:pt x="564" y="558"/>
                    </a:lnTo>
                    <a:lnTo>
                      <a:pt x="564" y="564"/>
                    </a:lnTo>
                    <a:lnTo>
                      <a:pt x="576" y="558"/>
                    </a:lnTo>
                    <a:lnTo>
                      <a:pt x="582" y="552"/>
                    </a:lnTo>
                    <a:lnTo>
                      <a:pt x="582" y="546"/>
                    </a:lnTo>
                    <a:lnTo>
                      <a:pt x="588" y="546"/>
                    </a:lnTo>
                    <a:lnTo>
                      <a:pt x="606" y="546"/>
                    </a:lnTo>
                    <a:lnTo>
                      <a:pt x="600" y="540"/>
                    </a:lnTo>
                    <a:lnTo>
                      <a:pt x="606" y="528"/>
                    </a:lnTo>
                    <a:lnTo>
                      <a:pt x="612" y="528"/>
                    </a:lnTo>
                    <a:lnTo>
                      <a:pt x="618" y="522"/>
                    </a:lnTo>
                    <a:lnTo>
                      <a:pt x="630" y="528"/>
                    </a:lnTo>
                    <a:lnTo>
                      <a:pt x="642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66" name="Freeform 832"/>
              <p:cNvSpPr>
                <a:spLocks/>
              </p:cNvSpPr>
              <p:nvPr/>
            </p:nvSpPr>
            <p:spPr bwMode="auto">
              <a:xfrm>
                <a:off x="3374" y="444"/>
                <a:ext cx="822" cy="564"/>
              </a:xfrm>
              <a:custGeom>
                <a:avLst/>
                <a:gdLst>
                  <a:gd name="T0" fmla="*/ 702 w 822"/>
                  <a:gd name="T1" fmla="*/ 492 h 564"/>
                  <a:gd name="T2" fmla="*/ 726 w 822"/>
                  <a:gd name="T3" fmla="*/ 528 h 564"/>
                  <a:gd name="T4" fmla="*/ 732 w 822"/>
                  <a:gd name="T5" fmla="*/ 546 h 564"/>
                  <a:gd name="T6" fmla="*/ 738 w 822"/>
                  <a:gd name="T7" fmla="*/ 504 h 564"/>
                  <a:gd name="T8" fmla="*/ 738 w 822"/>
                  <a:gd name="T9" fmla="*/ 474 h 564"/>
                  <a:gd name="T10" fmla="*/ 690 w 822"/>
                  <a:gd name="T11" fmla="*/ 492 h 564"/>
                  <a:gd name="T12" fmla="*/ 762 w 822"/>
                  <a:gd name="T13" fmla="*/ 450 h 564"/>
                  <a:gd name="T14" fmla="*/ 816 w 822"/>
                  <a:gd name="T15" fmla="*/ 426 h 564"/>
                  <a:gd name="T16" fmla="*/ 810 w 822"/>
                  <a:gd name="T17" fmla="*/ 390 h 564"/>
                  <a:gd name="T18" fmla="*/ 768 w 822"/>
                  <a:gd name="T19" fmla="*/ 336 h 564"/>
                  <a:gd name="T20" fmla="*/ 732 w 822"/>
                  <a:gd name="T21" fmla="*/ 294 h 564"/>
                  <a:gd name="T22" fmla="*/ 690 w 822"/>
                  <a:gd name="T23" fmla="*/ 294 h 564"/>
                  <a:gd name="T24" fmla="*/ 672 w 822"/>
                  <a:gd name="T25" fmla="*/ 246 h 564"/>
                  <a:gd name="T26" fmla="*/ 612 w 822"/>
                  <a:gd name="T27" fmla="*/ 246 h 564"/>
                  <a:gd name="T28" fmla="*/ 606 w 822"/>
                  <a:gd name="T29" fmla="*/ 312 h 564"/>
                  <a:gd name="T30" fmla="*/ 600 w 822"/>
                  <a:gd name="T31" fmla="*/ 378 h 564"/>
                  <a:gd name="T32" fmla="*/ 600 w 822"/>
                  <a:gd name="T33" fmla="*/ 420 h 564"/>
                  <a:gd name="T34" fmla="*/ 582 w 822"/>
                  <a:gd name="T35" fmla="*/ 426 h 564"/>
                  <a:gd name="T36" fmla="*/ 564 w 822"/>
                  <a:gd name="T37" fmla="*/ 390 h 564"/>
                  <a:gd name="T38" fmla="*/ 516 w 822"/>
                  <a:gd name="T39" fmla="*/ 372 h 564"/>
                  <a:gd name="T40" fmla="*/ 468 w 822"/>
                  <a:gd name="T41" fmla="*/ 324 h 564"/>
                  <a:gd name="T42" fmla="*/ 444 w 822"/>
                  <a:gd name="T43" fmla="*/ 282 h 564"/>
                  <a:gd name="T44" fmla="*/ 486 w 822"/>
                  <a:gd name="T45" fmla="*/ 222 h 564"/>
                  <a:gd name="T46" fmla="*/ 516 w 822"/>
                  <a:gd name="T47" fmla="*/ 192 h 564"/>
                  <a:gd name="T48" fmla="*/ 522 w 822"/>
                  <a:gd name="T49" fmla="*/ 150 h 564"/>
                  <a:gd name="T50" fmla="*/ 570 w 822"/>
                  <a:gd name="T51" fmla="*/ 144 h 564"/>
                  <a:gd name="T52" fmla="*/ 570 w 822"/>
                  <a:gd name="T53" fmla="*/ 102 h 564"/>
                  <a:gd name="T54" fmla="*/ 576 w 822"/>
                  <a:gd name="T55" fmla="*/ 78 h 564"/>
                  <a:gd name="T56" fmla="*/ 540 w 822"/>
                  <a:gd name="T57" fmla="*/ 102 h 564"/>
                  <a:gd name="T58" fmla="*/ 510 w 822"/>
                  <a:gd name="T59" fmla="*/ 90 h 564"/>
                  <a:gd name="T60" fmla="*/ 486 w 822"/>
                  <a:gd name="T61" fmla="*/ 66 h 564"/>
                  <a:gd name="T62" fmla="*/ 480 w 822"/>
                  <a:gd name="T63" fmla="*/ 18 h 564"/>
                  <a:gd name="T64" fmla="*/ 444 w 822"/>
                  <a:gd name="T65" fmla="*/ 30 h 564"/>
                  <a:gd name="T66" fmla="*/ 462 w 822"/>
                  <a:gd name="T67" fmla="*/ 84 h 564"/>
                  <a:gd name="T68" fmla="*/ 438 w 822"/>
                  <a:gd name="T69" fmla="*/ 114 h 564"/>
                  <a:gd name="T70" fmla="*/ 408 w 822"/>
                  <a:gd name="T71" fmla="*/ 114 h 564"/>
                  <a:gd name="T72" fmla="*/ 372 w 822"/>
                  <a:gd name="T73" fmla="*/ 102 h 564"/>
                  <a:gd name="T74" fmla="*/ 336 w 822"/>
                  <a:gd name="T75" fmla="*/ 84 h 564"/>
                  <a:gd name="T76" fmla="*/ 324 w 822"/>
                  <a:gd name="T77" fmla="*/ 120 h 564"/>
                  <a:gd name="T78" fmla="*/ 294 w 822"/>
                  <a:gd name="T79" fmla="*/ 108 h 564"/>
                  <a:gd name="T80" fmla="*/ 264 w 822"/>
                  <a:gd name="T81" fmla="*/ 96 h 564"/>
                  <a:gd name="T82" fmla="*/ 240 w 822"/>
                  <a:gd name="T83" fmla="*/ 84 h 564"/>
                  <a:gd name="T84" fmla="*/ 168 w 822"/>
                  <a:gd name="T85" fmla="*/ 54 h 564"/>
                  <a:gd name="T86" fmla="*/ 144 w 822"/>
                  <a:gd name="T87" fmla="*/ 36 h 564"/>
                  <a:gd name="T88" fmla="*/ 114 w 822"/>
                  <a:gd name="T89" fmla="*/ 48 h 564"/>
                  <a:gd name="T90" fmla="*/ 24 w 822"/>
                  <a:gd name="T91" fmla="*/ 66 h 564"/>
                  <a:gd name="T92" fmla="*/ 60 w 822"/>
                  <a:gd name="T93" fmla="*/ 300 h 564"/>
                  <a:gd name="T94" fmla="*/ 120 w 822"/>
                  <a:gd name="T95" fmla="*/ 366 h 564"/>
                  <a:gd name="T96" fmla="*/ 132 w 822"/>
                  <a:gd name="T97" fmla="*/ 432 h 564"/>
                  <a:gd name="T98" fmla="*/ 456 w 822"/>
                  <a:gd name="T99" fmla="*/ 480 h 564"/>
                  <a:gd name="T100" fmla="*/ 510 w 822"/>
                  <a:gd name="T101" fmla="*/ 474 h 564"/>
                  <a:gd name="T102" fmla="*/ 546 w 822"/>
                  <a:gd name="T103" fmla="*/ 492 h 564"/>
                  <a:gd name="T104" fmla="*/ 594 w 822"/>
                  <a:gd name="T105" fmla="*/ 522 h 564"/>
                  <a:gd name="T106" fmla="*/ 576 w 822"/>
                  <a:gd name="T107" fmla="*/ 540 h 564"/>
                  <a:gd name="T108" fmla="*/ 576 w 822"/>
                  <a:gd name="T109" fmla="*/ 558 h 564"/>
                  <a:gd name="T110" fmla="*/ 612 w 822"/>
                  <a:gd name="T111" fmla="*/ 528 h 56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822" h="564">
                    <a:moveTo>
                      <a:pt x="642" y="528"/>
                    </a:moveTo>
                    <a:lnTo>
                      <a:pt x="648" y="522"/>
                    </a:lnTo>
                    <a:lnTo>
                      <a:pt x="654" y="516"/>
                    </a:lnTo>
                    <a:lnTo>
                      <a:pt x="666" y="510"/>
                    </a:lnTo>
                    <a:lnTo>
                      <a:pt x="684" y="510"/>
                    </a:lnTo>
                    <a:lnTo>
                      <a:pt x="696" y="498"/>
                    </a:lnTo>
                    <a:lnTo>
                      <a:pt x="702" y="492"/>
                    </a:lnTo>
                    <a:lnTo>
                      <a:pt x="708" y="492"/>
                    </a:lnTo>
                    <a:lnTo>
                      <a:pt x="708" y="498"/>
                    </a:lnTo>
                    <a:lnTo>
                      <a:pt x="714" y="498"/>
                    </a:lnTo>
                    <a:lnTo>
                      <a:pt x="708" y="510"/>
                    </a:lnTo>
                    <a:lnTo>
                      <a:pt x="702" y="522"/>
                    </a:lnTo>
                    <a:lnTo>
                      <a:pt x="714" y="528"/>
                    </a:lnTo>
                    <a:lnTo>
                      <a:pt x="726" y="528"/>
                    </a:lnTo>
                    <a:lnTo>
                      <a:pt x="732" y="522"/>
                    </a:lnTo>
                    <a:lnTo>
                      <a:pt x="738" y="522"/>
                    </a:lnTo>
                    <a:lnTo>
                      <a:pt x="732" y="528"/>
                    </a:lnTo>
                    <a:lnTo>
                      <a:pt x="726" y="534"/>
                    </a:lnTo>
                    <a:lnTo>
                      <a:pt x="720" y="540"/>
                    </a:lnTo>
                    <a:lnTo>
                      <a:pt x="726" y="546"/>
                    </a:lnTo>
                    <a:lnTo>
                      <a:pt x="732" y="546"/>
                    </a:lnTo>
                    <a:lnTo>
                      <a:pt x="744" y="540"/>
                    </a:lnTo>
                    <a:lnTo>
                      <a:pt x="756" y="534"/>
                    </a:lnTo>
                    <a:lnTo>
                      <a:pt x="762" y="528"/>
                    </a:lnTo>
                    <a:lnTo>
                      <a:pt x="756" y="522"/>
                    </a:lnTo>
                    <a:lnTo>
                      <a:pt x="750" y="522"/>
                    </a:lnTo>
                    <a:lnTo>
                      <a:pt x="744" y="516"/>
                    </a:lnTo>
                    <a:lnTo>
                      <a:pt x="738" y="504"/>
                    </a:lnTo>
                    <a:lnTo>
                      <a:pt x="732" y="498"/>
                    </a:lnTo>
                    <a:lnTo>
                      <a:pt x="732" y="492"/>
                    </a:lnTo>
                    <a:lnTo>
                      <a:pt x="732" y="486"/>
                    </a:lnTo>
                    <a:lnTo>
                      <a:pt x="726" y="486"/>
                    </a:lnTo>
                    <a:lnTo>
                      <a:pt x="732" y="480"/>
                    </a:lnTo>
                    <a:lnTo>
                      <a:pt x="738" y="480"/>
                    </a:lnTo>
                    <a:lnTo>
                      <a:pt x="738" y="474"/>
                    </a:lnTo>
                    <a:lnTo>
                      <a:pt x="738" y="468"/>
                    </a:lnTo>
                    <a:lnTo>
                      <a:pt x="732" y="468"/>
                    </a:lnTo>
                    <a:lnTo>
                      <a:pt x="726" y="468"/>
                    </a:lnTo>
                    <a:lnTo>
                      <a:pt x="714" y="474"/>
                    </a:lnTo>
                    <a:lnTo>
                      <a:pt x="708" y="480"/>
                    </a:lnTo>
                    <a:lnTo>
                      <a:pt x="696" y="486"/>
                    </a:lnTo>
                    <a:lnTo>
                      <a:pt x="690" y="492"/>
                    </a:lnTo>
                    <a:lnTo>
                      <a:pt x="684" y="498"/>
                    </a:lnTo>
                    <a:lnTo>
                      <a:pt x="672" y="504"/>
                    </a:lnTo>
                    <a:lnTo>
                      <a:pt x="702" y="468"/>
                    </a:lnTo>
                    <a:lnTo>
                      <a:pt x="714" y="456"/>
                    </a:lnTo>
                    <a:lnTo>
                      <a:pt x="726" y="456"/>
                    </a:lnTo>
                    <a:lnTo>
                      <a:pt x="732" y="450"/>
                    </a:lnTo>
                    <a:lnTo>
                      <a:pt x="762" y="450"/>
                    </a:lnTo>
                    <a:lnTo>
                      <a:pt x="780" y="450"/>
                    </a:lnTo>
                    <a:lnTo>
                      <a:pt x="792" y="450"/>
                    </a:lnTo>
                    <a:lnTo>
                      <a:pt x="798" y="444"/>
                    </a:lnTo>
                    <a:lnTo>
                      <a:pt x="798" y="438"/>
                    </a:lnTo>
                    <a:lnTo>
                      <a:pt x="804" y="432"/>
                    </a:lnTo>
                    <a:lnTo>
                      <a:pt x="810" y="426"/>
                    </a:lnTo>
                    <a:lnTo>
                      <a:pt x="816" y="426"/>
                    </a:lnTo>
                    <a:lnTo>
                      <a:pt x="822" y="426"/>
                    </a:lnTo>
                    <a:lnTo>
                      <a:pt x="822" y="414"/>
                    </a:lnTo>
                    <a:lnTo>
                      <a:pt x="822" y="408"/>
                    </a:lnTo>
                    <a:lnTo>
                      <a:pt x="822" y="402"/>
                    </a:lnTo>
                    <a:lnTo>
                      <a:pt x="816" y="396"/>
                    </a:lnTo>
                    <a:lnTo>
                      <a:pt x="816" y="390"/>
                    </a:lnTo>
                    <a:lnTo>
                      <a:pt x="810" y="390"/>
                    </a:lnTo>
                    <a:lnTo>
                      <a:pt x="810" y="378"/>
                    </a:lnTo>
                    <a:lnTo>
                      <a:pt x="804" y="378"/>
                    </a:lnTo>
                    <a:lnTo>
                      <a:pt x="792" y="378"/>
                    </a:lnTo>
                    <a:lnTo>
                      <a:pt x="786" y="378"/>
                    </a:lnTo>
                    <a:lnTo>
                      <a:pt x="768" y="342"/>
                    </a:lnTo>
                    <a:lnTo>
                      <a:pt x="768" y="348"/>
                    </a:lnTo>
                    <a:lnTo>
                      <a:pt x="768" y="336"/>
                    </a:lnTo>
                    <a:lnTo>
                      <a:pt x="762" y="318"/>
                    </a:lnTo>
                    <a:lnTo>
                      <a:pt x="750" y="300"/>
                    </a:lnTo>
                    <a:lnTo>
                      <a:pt x="744" y="288"/>
                    </a:lnTo>
                    <a:lnTo>
                      <a:pt x="744" y="282"/>
                    </a:lnTo>
                    <a:lnTo>
                      <a:pt x="738" y="282"/>
                    </a:lnTo>
                    <a:lnTo>
                      <a:pt x="732" y="282"/>
                    </a:lnTo>
                    <a:lnTo>
                      <a:pt x="732" y="294"/>
                    </a:lnTo>
                    <a:lnTo>
                      <a:pt x="732" y="300"/>
                    </a:lnTo>
                    <a:lnTo>
                      <a:pt x="726" y="300"/>
                    </a:lnTo>
                    <a:lnTo>
                      <a:pt x="720" y="306"/>
                    </a:lnTo>
                    <a:lnTo>
                      <a:pt x="708" y="312"/>
                    </a:lnTo>
                    <a:lnTo>
                      <a:pt x="702" y="306"/>
                    </a:lnTo>
                    <a:lnTo>
                      <a:pt x="696" y="300"/>
                    </a:lnTo>
                    <a:lnTo>
                      <a:pt x="690" y="294"/>
                    </a:lnTo>
                    <a:lnTo>
                      <a:pt x="690" y="288"/>
                    </a:lnTo>
                    <a:lnTo>
                      <a:pt x="696" y="276"/>
                    </a:lnTo>
                    <a:lnTo>
                      <a:pt x="690" y="270"/>
                    </a:lnTo>
                    <a:lnTo>
                      <a:pt x="690" y="264"/>
                    </a:lnTo>
                    <a:lnTo>
                      <a:pt x="690" y="258"/>
                    </a:lnTo>
                    <a:lnTo>
                      <a:pt x="678" y="252"/>
                    </a:lnTo>
                    <a:lnTo>
                      <a:pt x="672" y="246"/>
                    </a:lnTo>
                    <a:lnTo>
                      <a:pt x="666" y="240"/>
                    </a:lnTo>
                    <a:lnTo>
                      <a:pt x="660" y="234"/>
                    </a:lnTo>
                    <a:lnTo>
                      <a:pt x="654" y="234"/>
                    </a:lnTo>
                    <a:lnTo>
                      <a:pt x="624" y="234"/>
                    </a:lnTo>
                    <a:lnTo>
                      <a:pt x="618" y="234"/>
                    </a:lnTo>
                    <a:lnTo>
                      <a:pt x="612" y="240"/>
                    </a:lnTo>
                    <a:lnTo>
                      <a:pt x="612" y="246"/>
                    </a:lnTo>
                    <a:lnTo>
                      <a:pt x="606" y="246"/>
                    </a:lnTo>
                    <a:lnTo>
                      <a:pt x="606" y="252"/>
                    </a:lnTo>
                    <a:lnTo>
                      <a:pt x="606" y="258"/>
                    </a:lnTo>
                    <a:lnTo>
                      <a:pt x="612" y="270"/>
                    </a:lnTo>
                    <a:lnTo>
                      <a:pt x="612" y="276"/>
                    </a:lnTo>
                    <a:lnTo>
                      <a:pt x="606" y="306"/>
                    </a:lnTo>
                    <a:lnTo>
                      <a:pt x="606" y="312"/>
                    </a:lnTo>
                    <a:lnTo>
                      <a:pt x="606" y="318"/>
                    </a:lnTo>
                    <a:lnTo>
                      <a:pt x="612" y="330"/>
                    </a:lnTo>
                    <a:lnTo>
                      <a:pt x="618" y="348"/>
                    </a:lnTo>
                    <a:lnTo>
                      <a:pt x="612" y="360"/>
                    </a:lnTo>
                    <a:lnTo>
                      <a:pt x="606" y="366"/>
                    </a:lnTo>
                    <a:lnTo>
                      <a:pt x="606" y="372"/>
                    </a:lnTo>
                    <a:lnTo>
                      <a:pt x="600" y="378"/>
                    </a:lnTo>
                    <a:lnTo>
                      <a:pt x="594" y="378"/>
                    </a:lnTo>
                    <a:lnTo>
                      <a:pt x="594" y="384"/>
                    </a:lnTo>
                    <a:lnTo>
                      <a:pt x="594" y="390"/>
                    </a:lnTo>
                    <a:lnTo>
                      <a:pt x="594" y="402"/>
                    </a:lnTo>
                    <a:lnTo>
                      <a:pt x="594" y="408"/>
                    </a:lnTo>
                    <a:lnTo>
                      <a:pt x="600" y="414"/>
                    </a:lnTo>
                    <a:lnTo>
                      <a:pt x="600" y="420"/>
                    </a:lnTo>
                    <a:lnTo>
                      <a:pt x="600" y="426"/>
                    </a:lnTo>
                    <a:lnTo>
                      <a:pt x="600" y="432"/>
                    </a:lnTo>
                    <a:lnTo>
                      <a:pt x="594" y="438"/>
                    </a:lnTo>
                    <a:lnTo>
                      <a:pt x="588" y="444"/>
                    </a:lnTo>
                    <a:lnTo>
                      <a:pt x="582" y="438"/>
                    </a:lnTo>
                    <a:lnTo>
                      <a:pt x="582" y="432"/>
                    </a:lnTo>
                    <a:lnTo>
                      <a:pt x="582" y="426"/>
                    </a:lnTo>
                    <a:lnTo>
                      <a:pt x="576" y="426"/>
                    </a:lnTo>
                    <a:lnTo>
                      <a:pt x="576" y="420"/>
                    </a:lnTo>
                    <a:lnTo>
                      <a:pt x="570" y="420"/>
                    </a:lnTo>
                    <a:lnTo>
                      <a:pt x="570" y="414"/>
                    </a:lnTo>
                    <a:lnTo>
                      <a:pt x="570" y="408"/>
                    </a:lnTo>
                    <a:lnTo>
                      <a:pt x="564" y="402"/>
                    </a:lnTo>
                    <a:lnTo>
                      <a:pt x="564" y="390"/>
                    </a:lnTo>
                    <a:lnTo>
                      <a:pt x="558" y="384"/>
                    </a:lnTo>
                    <a:lnTo>
                      <a:pt x="558" y="378"/>
                    </a:lnTo>
                    <a:lnTo>
                      <a:pt x="552" y="372"/>
                    </a:lnTo>
                    <a:lnTo>
                      <a:pt x="546" y="372"/>
                    </a:lnTo>
                    <a:lnTo>
                      <a:pt x="540" y="372"/>
                    </a:lnTo>
                    <a:lnTo>
                      <a:pt x="528" y="372"/>
                    </a:lnTo>
                    <a:lnTo>
                      <a:pt x="516" y="372"/>
                    </a:lnTo>
                    <a:lnTo>
                      <a:pt x="504" y="366"/>
                    </a:lnTo>
                    <a:lnTo>
                      <a:pt x="492" y="354"/>
                    </a:lnTo>
                    <a:lnTo>
                      <a:pt x="492" y="348"/>
                    </a:lnTo>
                    <a:lnTo>
                      <a:pt x="492" y="342"/>
                    </a:lnTo>
                    <a:lnTo>
                      <a:pt x="486" y="336"/>
                    </a:lnTo>
                    <a:lnTo>
                      <a:pt x="480" y="324"/>
                    </a:lnTo>
                    <a:lnTo>
                      <a:pt x="468" y="324"/>
                    </a:lnTo>
                    <a:lnTo>
                      <a:pt x="468" y="318"/>
                    </a:lnTo>
                    <a:lnTo>
                      <a:pt x="468" y="312"/>
                    </a:lnTo>
                    <a:lnTo>
                      <a:pt x="462" y="312"/>
                    </a:lnTo>
                    <a:lnTo>
                      <a:pt x="450" y="306"/>
                    </a:lnTo>
                    <a:lnTo>
                      <a:pt x="450" y="300"/>
                    </a:lnTo>
                    <a:lnTo>
                      <a:pt x="444" y="288"/>
                    </a:lnTo>
                    <a:lnTo>
                      <a:pt x="444" y="282"/>
                    </a:lnTo>
                    <a:lnTo>
                      <a:pt x="450" y="276"/>
                    </a:lnTo>
                    <a:lnTo>
                      <a:pt x="456" y="258"/>
                    </a:lnTo>
                    <a:lnTo>
                      <a:pt x="474" y="240"/>
                    </a:lnTo>
                    <a:lnTo>
                      <a:pt x="480" y="240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6" y="222"/>
                    </a:lnTo>
                    <a:lnTo>
                      <a:pt x="492" y="222"/>
                    </a:lnTo>
                    <a:lnTo>
                      <a:pt x="498" y="222"/>
                    </a:lnTo>
                    <a:lnTo>
                      <a:pt x="510" y="228"/>
                    </a:lnTo>
                    <a:lnTo>
                      <a:pt x="510" y="222"/>
                    </a:lnTo>
                    <a:lnTo>
                      <a:pt x="516" y="216"/>
                    </a:lnTo>
                    <a:lnTo>
                      <a:pt x="516" y="204"/>
                    </a:lnTo>
                    <a:lnTo>
                      <a:pt x="516" y="192"/>
                    </a:lnTo>
                    <a:lnTo>
                      <a:pt x="522" y="180"/>
                    </a:lnTo>
                    <a:lnTo>
                      <a:pt x="528" y="174"/>
                    </a:lnTo>
                    <a:lnTo>
                      <a:pt x="528" y="168"/>
                    </a:lnTo>
                    <a:lnTo>
                      <a:pt x="528" y="162"/>
                    </a:lnTo>
                    <a:lnTo>
                      <a:pt x="504" y="150"/>
                    </a:lnTo>
                    <a:lnTo>
                      <a:pt x="516" y="150"/>
                    </a:lnTo>
                    <a:lnTo>
                      <a:pt x="522" y="150"/>
                    </a:lnTo>
                    <a:lnTo>
                      <a:pt x="528" y="150"/>
                    </a:lnTo>
                    <a:lnTo>
                      <a:pt x="540" y="150"/>
                    </a:lnTo>
                    <a:lnTo>
                      <a:pt x="546" y="156"/>
                    </a:lnTo>
                    <a:lnTo>
                      <a:pt x="552" y="144"/>
                    </a:lnTo>
                    <a:lnTo>
                      <a:pt x="558" y="150"/>
                    </a:lnTo>
                    <a:lnTo>
                      <a:pt x="564" y="150"/>
                    </a:lnTo>
                    <a:lnTo>
                      <a:pt x="570" y="144"/>
                    </a:lnTo>
                    <a:lnTo>
                      <a:pt x="576" y="138"/>
                    </a:lnTo>
                    <a:lnTo>
                      <a:pt x="576" y="132"/>
                    </a:lnTo>
                    <a:lnTo>
                      <a:pt x="582" y="132"/>
                    </a:lnTo>
                    <a:lnTo>
                      <a:pt x="582" y="120"/>
                    </a:lnTo>
                    <a:lnTo>
                      <a:pt x="582" y="114"/>
                    </a:lnTo>
                    <a:lnTo>
                      <a:pt x="582" y="108"/>
                    </a:lnTo>
                    <a:lnTo>
                      <a:pt x="570" y="102"/>
                    </a:lnTo>
                    <a:lnTo>
                      <a:pt x="570" y="96"/>
                    </a:lnTo>
                    <a:lnTo>
                      <a:pt x="570" y="90"/>
                    </a:lnTo>
                    <a:lnTo>
                      <a:pt x="576" y="90"/>
                    </a:lnTo>
                    <a:lnTo>
                      <a:pt x="582" y="90"/>
                    </a:lnTo>
                    <a:lnTo>
                      <a:pt x="582" y="84"/>
                    </a:lnTo>
                    <a:lnTo>
                      <a:pt x="582" y="78"/>
                    </a:lnTo>
                    <a:lnTo>
                      <a:pt x="576" y="78"/>
                    </a:lnTo>
                    <a:lnTo>
                      <a:pt x="576" y="72"/>
                    </a:lnTo>
                    <a:lnTo>
                      <a:pt x="570" y="60"/>
                    </a:lnTo>
                    <a:lnTo>
                      <a:pt x="558" y="60"/>
                    </a:lnTo>
                    <a:lnTo>
                      <a:pt x="552" y="54"/>
                    </a:lnTo>
                    <a:lnTo>
                      <a:pt x="552" y="78"/>
                    </a:lnTo>
                    <a:lnTo>
                      <a:pt x="552" y="84"/>
                    </a:lnTo>
                    <a:lnTo>
                      <a:pt x="540" y="102"/>
                    </a:lnTo>
                    <a:lnTo>
                      <a:pt x="540" y="108"/>
                    </a:lnTo>
                    <a:lnTo>
                      <a:pt x="534" y="108"/>
                    </a:lnTo>
                    <a:lnTo>
                      <a:pt x="528" y="102"/>
                    </a:lnTo>
                    <a:lnTo>
                      <a:pt x="522" y="78"/>
                    </a:lnTo>
                    <a:lnTo>
                      <a:pt x="522" y="72"/>
                    </a:lnTo>
                    <a:lnTo>
                      <a:pt x="522" y="78"/>
                    </a:lnTo>
                    <a:lnTo>
                      <a:pt x="510" y="90"/>
                    </a:lnTo>
                    <a:lnTo>
                      <a:pt x="504" y="84"/>
                    </a:lnTo>
                    <a:lnTo>
                      <a:pt x="504" y="78"/>
                    </a:lnTo>
                    <a:lnTo>
                      <a:pt x="504" y="72"/>
                    </a:lnTo>
                    <a:lnTo>
                      <a:pt x="498" y="78"/>
                    </a:lnTo>
                    <a:lnTo>
                      <a:pt x="492" y="72"/>
                    </a:lnTo>
                    <a:lnTo>
                      <a:pt x="486" y="72"/>
                    </a:lnTo>
                    <a:lnTo>
                      <a:pt x="486" y="66"/>
                    </a:lnTo>
                    <a:lnTo>
                      <a:pt x="492" y="60"/>
                    </a:lnTo>
                    <a:lnTo>
                      <a:pt x="492" y="48"/>
                    </a:lnTo>
                    <a:lnTo>
                      <a:pt x="486" y="42"/>
                    </a:lnTo>
                    <a:lnTo>
                      <a:pt x="486" y="36"/>
                    </a:lnTo>
                    <a:lnTo>
                      <a:pt x="486" y="30"/>
                    </a:lnTo>
                    <a:lnTo>
                      <a:pt x="486" y="24"/>
                    </a:lnTo>
                    <a:lnTo>
                      <a:pt x="480" y="18"/>
                    </a:lnTo>
                    <a:lnTo>
                      <a:pt x="468" y="6"/>
                    </a:lnTo>
                    <a:lnTo>
                      <a:pt x="468" y="0"/>
                    </a:lnTo>
                    <a:lnTo>
                      <a:pt x="462" y="6"/>
                    </a:lnTo>
                    <a:lnTo>
                      <a:pt x="456" y="6"/>
                    </a:lnTo>
                    <a:lnTo>
                      <a:pt x="456" y="12"/>
                    </a:lnTo>
                    <a:lnTo>
                      <a:pt x="456" y="18"/>
                    </a:lnTo>
                    <a:lnTo>
                      <a:pt x="444" y="30"/>
                    </a:lnTo>
                    <a:lnTo>
                      <a:pt x="444" y="36"/>
                    </a:lnTo>
                    <a:lnTo>
                      <a:pt x="444" y="42"/>
                    </a:lnTo>
                    <a:lnTo>
                      <a:pt x="444" y="54"/>
                    </a:lnTo>
                    <a:lnTo>
                      <a:pt x="456" y="66"/>
                    </a:lnTo>
                    <a:lnTo>
                      <a:pt x="462" y="66"/>
                    </a:lnTo>
                    <a:lnTo>
                      <a:pt x="462" y="78"/>
                    </a:lnTo>
                    <a:lnTo>
                      <a:pt x="462" y="84"/>
                    </a:lnTo>
                    <a:lnTo>
                      <a:pt x="468" y="90"/>
                    </a:lnTo>
                    <a:lnTo>
                      <a:pt x="474" y="90"/>
                    </a:lnTo>
                    <a:lnTo>
                      <a:pt x="474" y="96"/>
                    </a:lnTo>
                    <a:lnTo>
                      <a:pt x="474" y="102"/>
                    </a:lnTo>
                    <a:lnTo>
                      <a:pt x="462" y="108"/>
                    </a:lnTo>
                    <a:lnTo>
                      <a:pt x="450" y="114"/>
                    </a:lnTo>
                    <a:lnTo>
                      <a:pt x="438" y="114"/>
                    </a:lnTo>
                    <a:lnTo>
                      <a:pt x="444" y="96"/>
                    </a:lnTo>
                    <a:lnTo>
                      <a:pt x="426" y="96"/>
                    </a:lnTo>
                    <a:lnTo>
                      <a:pt x="420" y="96"/>
                    </a:lnTo>
                    <a:lnTo>
                      <a:pt x="420" y="114"/>
                    </a:lnTo>
                    <a:lnTo>
                      <a:pt x="414" y="120"/>
                    </a:lnTo>
                    <a:lnTo>
                      <a:pt x="414" y="114"/>
                    </a:lnTo>
                    <a:lnTo>
                      <a:pt x="408" y="114"/>
                    </a:lnTo>
                    <a:lnTo>
                      <a:pt x="402" y="108"/>
                    </a:lnTo>
                    <a:lnTo>
                      <a:pt x="396" y="108"/>
                    </a:lnTo>
                    <a:lnTo>
                      <a:pt x="396" y="114"/>
                    </a:lnTo>
                    <a:lnTo>
                      <a:pt x="384" y="120"/>
                    </a:lnTo>
                    <a:lnTo>
                      <a:pt x="378" y="120"/>
                    </a:lnTo>
                    <a:lnTo>
                      <a:pt x="378" y="114"/>
                    </a:lnTo>
                    <a:lnTo>
                      <a:pt x="372" y="102"/>
                    </a:lnTo>
                    <a:lnTo>
                      <a:pt x="366" y="102"/>
                    </a:lnTo>
                    <a:lnTo>
                      <a:pt x="354" y="102"/>
                    </a:lnTo>
                    <a:lnTo>
                      <a:pt x="354" y="96"/>
                    </a:lnTo>
                    <a:lnTo>
                      <a:pt x="348" y="90"/>
                    </a:lnTo>
                    <a:lnTo>
                      <a:pt x="348" y="84"/>
                    </a:lnTo>
                    <a:lnTo>
                      <a:pt x="342" y="84"/>
                    </a:lnTo>
                    <a:lnTo>
                      <a:pt x="336" y="84"/>
                    </a:lnTo>
                    <a:lnTo>
                      <a:pt x="330" y="84"/>
                    </a:lnTo>
                    <a:lnTo>
                      <a:pt x="324" y="84"/>
                    </a:lnTo>
                    <a:lnTo>
                      <a:pt x="318" y="96"/>
                    </a:lnTo>
                    <a:lnTo>
                      <a:pt x="324" y="102"/>
                    </a:lnTo>
                    <a:lnTo>
                      <a:pt x="324" y="108"/>
                    </a:lnTo>
                    <a:lnTo>
                      <a:pt x="324" y="114"/>
                    </a:lnTo>
                    <a:lnTo>
                      <a:pt x="324" y="120"/>
                    </a:lnTo>
                    <a:lnTo>
                      <a:pt x="324" y="138"/>
                    </a:lnTo>
                    <a:lnTo>
                      <a:pt x="318" y="144"/>
                    </a:lnTo>
                    <a:lnTo>
                      <a:pt x="312" y="132"/>
                    </a:lnTo>
                    <a:lnTo>
                      <a:pt x="306" y="120"/>
                    </a:lnTo>
                    <a:lnTo>
                      <a:pt x="300" y="108"/>
                    </a:lnTo>
                    <a:lnTo>
                      <a:pt x="300" y="102"/>
                    </a:lnTo>
                    <a:lnTo>
                      <a:pt x="294" y="108"/>
                    </a:lnTo>
                    <a:lnTo>
                      <a:pt x="288" y="114"/>
                    </a:lnTo>
                    <a:lnTo>
                      <a:pt x="276" y="114"/>
                    </a:lnTo>
                    <a:lnTo>
                      <a:pt x="270" y="114"/>
                    </a:lnTo>
                    <a:lnTo>
                      <a:pt x="258" y="114"/>
                    </a:lnTo>
                    <a:lnTo>
                      <a:pt x="258" y="108"/>
                    </a:lnTo>
                    <a:lnTo>
                      <a:pt x="264" y="102"/>
                    </a:lnTo>
                    <a:lnTo>
                      <a:pt x="264" y="96"/>
                    </a:lnTo>
                    <a:lnTo>
                      <a:pt x="264" y="90"/>
                    </a:lnTo>
                    <a:lnTo>
                      <a:pt x="264" y="84"/>
                    </a:lnTo>
                    <a:lnTo>
                      <a:pt x="258" y="84"/>
                    </a:lnTo>
                    <a:lnTo>
                      <a:pt x="252" y="78"/>
                    </a:lnTo>
                    <a:lnTo>
                      <a:pt x="246" y="78"/>
                    </a:lnTo>
                    <a:lnTo>
                      <a:pt x="246" y="84"/>
                    </a:lnTo>
                    <a:lnTo>
                      <a:pt x="240" y="84"/>
                    </a:lnTo>
                    <a:lnTo>
                      <a:pt x="228" y="72"/>
                    </a:lnTo>
                    <a:lnTo>
                      <a:pt x="216" y="66"/>
                    </a:lnTo>
                    <a:lnTo>
                      <a:pt x="198" y="60"/>
                    </a:lnTo>
                    <a:lnTo>
                      <a:pt x="180" y="54"/>
                    </a:lnTo>
                    <a:lnTo>
                      <a:pt x="174" y="48"/>
                    </a:lnTo>
                    <a:lnTo>
                      <a:pt x="168" y="48"/>
                    </a:lnTo>
                    <a:lnTo>
                      <a:pt x="168" y="54"/>
                    </a:lnTo>
                    <a:lnTo>
                      <a:pt x="168" y="60"/>
                    </a:lnTo>
                    <a:lnTo>
                      <a:pt x="168" y="66"/>
                    </a:lnTo>
                    <a:lnTo>
                      <a:pt x="162" y="66"/>
                    </a:lnTo>
                    <a:lnTo>
                      <a:pt x="162" y="60"/>
                    </a:lnTo>
                    <a:lnTo>
                      <a:pt x="156" y="54"/>
                    </a:lnTo>
                    <a:lnTo>
                      <a:pt x="150" y="48"/>
                    </a:lnTo>
                    <a:lnTo>
                      <a:pt x="144" y="36"/>
                    </a:lnTo>
                    <a:lnTo>
                      <a:pt x="138" y="36"/>
                    </a:lnTo>
                    <a:lnTo>
                      <a:pt x="138" y="42"/>
                    </a:lnTo>
                    <a:lnTo>
                      <a:pt x="138" y="54"/>
                    </a:lnTo>
                    <a:lnTo>
                      <a:pt x="132" y="54"/>
                    </a:lnTo>
                    <a:lnTo>
                      <a:pt x="126" y="48"/>
                    </a:lnTo>
                    <a:lnTo>
                      <a:pt x="120" y="48"/>
                    </a:lnTo>
                    <a:lnTo>
                      <a:pt x="114" y="48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84" y="66"/>
                    </a:lnTo>
                    <a:lnTo>
                      <a:pt x="72" y="78"/>
                    </a:lnTo>
                    <a:lnTo>
                      <a:pt x="60" y="84"/>
                    </a:lnTo>
                    <a:lnTo>
                      <a:pt x="54" y="84"/>
                    </a:lnTo>
                    <a:lnTo>
                      <a:pt x="24" y="66"/>
                    </a:lnTo>
                    <a:lnTo>
                      <a:pt x="12" y="60"/>
                    </a:lnTo>
                    <a:lnTo>
                      <a:pt x="0" y="54"/>
                    </a:lnTo>
                    <a:lnTo>
                      <a:pt x="0" y="276"/>
                    </a:lnTo>
                    <a:lnTo>
                      <a:pt x="12" y="276"/>
                    </a:lnTo>
                    <a:lnTo>
                      <a:pt x="36" y="288"/>
                    </a:lnTo>
                    <a:lnTo>
                      <a:pt x="48" y="300"/>
                    </a:lnTo>
                    <a:lnTo>
                      <a:pt x="60" y="300"/>
                    </a:lnTo>
                    <a:lnTo>
                      <a:pt x="66" y="294"/>
                    </a:lnTo>
                    <a:lnTo>
                      <a:pt x="72" y="300"/>
                    </a:lnTo>
                    <a:lnTo>
                      <a:pt x="84" y="318"/>
                    </a:lnTo>
                    <a:lnTo>
                      <a:pt x="102" y="342"/>
                    </a:lnTo>
                    <a:lnTo>
                      <a:pt x="114" y="354"/>
                    </a:lnTo>
                    <a:lnTo>
                      <a:pt x="120" y="360"/>
                    </a:lnTo>
                    <a:lnTo>
                      <a:pt x="120" y="366"/>
                    </a:lnTo>
                    <a:lnTo>
                      <a:pt x="114" y="378"/>
                    </a:lnTo>
                    <a:lnTo>
                      <a:pt x="114" y="390"/>
                    </a:lnTo>
                    <a:lnTo>
                      <a:pt x="114" y="402"/>
                    </a:lnTo>
                    <a:lnTo>
                      <a:pt x="114" y="408"/>
                    </a:lnTo>
                    <a:lnTo>
                      <a:pt x="120" y="414"/>
                    </a:lnTo>
                    <a:lnTo>
                      <a:pt x="126" y="420"/>
                    </a:lnTo>
                    <a:lnTo>
                      <a:pt x="132" y="432"/>
                    </a:lnTo>
                    <a:lnTo>
                      <a:pt x="156" y="450"/>
                    </a:lnTo>
                    <a:lnTo>
                      <a:pt x="162" y="450"/>
                    </a:lnTo>
                    <a:lnTo>
                      <a:pt x="168" y="462"/>
                    </a:lnTo>
                    <a:lnTo>
                      <a:pt x="174" y="468"/>
                    </a:lnTo>
                    <a:lnTo>
                      <a:pt x="174" y="474"/>
                    </a:lnTo>
                    <a:lnTo>
                      <a:pt x="444" y="474"/>
                    </a:lnTo>
                    <a:lnTo>
                      <a:pt x="456" y="480"/>
                    </a:lnTo>
                    <a:lnTo>
                      <a:pt x="474" y="480"/>
                    </a:lnTo>
                    <a:lnTo>
                      <a:pt x="474" y="486"/>
                    </a:lnTo>
                    <a:lnTo>
                      <a:pt x="480" y="486"/>
                    </a:lnTo>
                    <a:lnTo>
                      <a:pt x="486" y="486"/>
                    </a:lnTo>
                    <a:lnTo>
                      <a:pt x="498" y="480"/>
                    </a:lnTo>
                    <a:lnTo>
                      <a:pt x="504" y="480"/>
                    </a:lnTo>
                    <a:lnTo>
                      <a:pt x="510" y="474"/>
                    </a:lnTo>
                    <a:lnTo>
                      <a:pt x="516" y="474"/>
                    </a:lnTo>
                    <a:lnTo>
                      <a:pt x="522" y="480"/>
                    </a:lnTo>
                    <a:lnTo>
                      <a:pt x="528" y="480"/>
                    </a:lnTo>
                    <a:lnTo>
                      <a:pt x="534" y="486"/>
                    </a:lnTo>
                    <a:lnTo>
                      <a:pt x="540" y="486"/>
                    </a:lnTo>
                    <a:lnTo>
                      <a:pt x="546" y="486"/>
                    </a:lnTo>
                    <a:lnTo>
                      <a:pt x="546" y="492"/>
                    </a:lnTo>
                    <a:lnTo>
                      <a:pt x="546" y="498"/>
                    </a:lnTo>
                    <a:lnTo>
                      <a:pt x="552" y="510"/>
                    </a:lnTo>
                    <a:lnTo>
                      <a:pt x="564" y="510"/>
                    </a:lnTo>
                    <a:lnTo>
                      <a:pt x="570" y="504"/>
                    </a:lnTo>
                    <a:lnTo>
                      <a:pt x="576" y="510"/>
                    </a:lnTo>
                    <a:lnTo>
                      <a:pt x="588" y="516"/>
                    </a:lnTo>
                    <a:lnTo>
                      <a:pt x="594" y="522"/>
                    </a:lnTo>
                    <a:lnTo>
                      <a:pt x="594" y="528"/>
                    </a:lnTo>
                    <a:lnTo>
                      <a:pt x="588" y="528"/>
                    </a:lnTo>
                    <a:lnTo>
                      <a:pt x="582" y="528"/>
                    </a:lnTo>
                    <a:lnTo>
                      <a:pt x="576" y="522"/>
                    </a:lnTo>
                    <a:lnTo>
                      <a:pt x="576" y="528"/>
                    </a:lnTo>
                    <a:lnTo>
                      <a:pt x="576" y="534"/>
                    </a:lnTo>
                    <a:lnTo>
                      <a:pt x="576" y="540"/>
                    </a:lnTo>
                    <a:lnTo>
                      <a:pt x="570" y="540"/>
                    </a:lnTo>
                    <a:lnTo>
                      <a:pt x="564" y="546"/>
                    </a:lnTo>
                    <a:lnTo>
                      <a:pt x="570" y="552"/>
                    </a:lnTo>
                    <a:lnTo>
                      <a:pt x="570" y="558"/>
                    </a:lnTo>
                    <a:lnTo>
                      <a:pt x="564" y="558"/>
                    </a:lnTo>
                    <a:lnTo>
                      <a:pt x="564" y="564"/>
                    </a:lnTo>
                    <a:lnTo>
                      <a:pt x="576" y="558"/>
                    </a:lnTo>
                    <a:lnTo>
                      <a:pt x="582" y="552"/>
                    </a:lnTo>
                    <a:lnTo>
                      <a:pt x="582" y="546"/>
                    </a:lnTo>
                    <a:lnTo>
                      <a:pt x="588" y="546"/>
                    </a:lnTo>
                    <a:lnTo>
                      <a:pt x="606" y="546"/>
                    </a:lnTo>
                    <a:lnTo>
                      <a:pt x="600" y="540"/>
                    </a:lnTo>
                    <a:lnTo>
                      <a:pt x="606" y="528"/>
                    </a:lnTo>
                    <a:lnTo>
                      <a:pt x="612" y="528"/>
                    </a:lnTo>
                    <a:lnTo>
                      <a:pt x="618" y="522"/>
                    </a:lnTo>
                    <a:lnTo>
                      <a:pt x="630" y="528"/>
                    </a:lnTo>
                    <a:lnTo>
                      <a:pt x="642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grpSp>
          <p:nvGrpSpPr>
            <p:cNvPr id="774" name="Group 833"/>
            <p:cNvGrpSpPr>
              <a:grpSpLocks/>
            </p:cNvGrpSpPr>
            <p:nvPr/>
          </p:nvGrpSpPr>
          <p:grpSpPr bwMode="auto">
            <a:xfrm>
              <a:off x="4525267" y="1568378"/>
              <a:ext cx="816844" cy="639208"/>
              <a:chOff x="3091" y="462"/>
              <a:chExt cx="402" cy="372"/>
            </a:xfrm>
            <a:solidFill>
              <a:srgbClr val="0070C0">
                <a:alpha val="27059"/>
              </a:srgbClr>
            </a:solidFill>
          </p:grpSpPr>
          <p:grpSp>
            <p:nvGrpSpPr>
              <p:cNvPr id="856" name="Group 834"/>
              <p:cNvGrpSpPr>
                <a:grpSpLocks/>
              </p:cNvGrpSpPr>
              <p:nvPr/>
            </p:nvGrpSpPr>
            <p:grpSpPr bwMode="auto">
              <a:xfrm>
                <a:off x="3121" y="462"/>
                <a:ext cx="372" cy="372"/>
                <a:chOff x="3121" y="462"/>
                <a:chExt cx="372" cy="372"/>
              </a:xfrm>
              <a:grpFill/>
            </p:grpSpPr>
            <p:sp>
              <p:nvSpPr>
                <p:cNvPr id="863" name="Freeform 835"/>
                <p:cNvSpPr>
                  <a:spLocks/>
                </p:cNvSpPr>
                <p:nvPr/>
              </p:nvSpPr>
              <p:spPr bwMode="auto">
                <a:xfrm>
                  <a:off x="3121" y="462"/>
                  <a:ext cx="372" cy="372"/>
                </a:xfrm>
                <a:custGeom>
                  <a:avLst/>
                  <a:gdLst>
                    <a:gd name="T0" fmla="*/ 240 w 372"/>
                    <a:gd name="T1" fmla="*/ 36 h 372"/>
                    <a:gd name="T2" fmla="*/ 222 w 372"/>
                    <a:gd name="T3" fmla="*/ 36 h 372"/>
                    <a:gd name="T4" fmla="*/ 198 w 372"/>
                    <a:gd name="T5" fmla="*/ 30 h 372"/>
                    <a:gd name="T6" fmla="*/ 186 w 372"/>
                    <a:gd name="T7" fmla="*/ 18 h 372"/>
                    <a:gd name="T8" fmla="*/ 174 w 372"/>
                    <a:gd name="T9" fmla="*/ 18 h 372"/>
                    <a:gd name="T10" fmla="*/ 174 w 372"/>
                    <a:gd name="T11" fmla="*/ 30 h 372"/>
                    <a:gd name="T12" fmla="*/ 132 w 372"/>
                    <a:gd name="T13" fmla="*/ 6 h 372"/>
                    <a:gd name="T14" fmla="*/ 102 w 372"/>
                    <a:gd name="T15" fmla="*/ 6 h 372"/>
                    <a:gd name="T16" fmla="*/ 78 w 372"/>
                    <a:gd name="T17" fmla="*/ 12 h 372"/>
                    <a:gd name="T18" fmla="*/ 66 w 372"/>
                    <a:gd name="T19" fmla="*/ 24 h 372"/>
                    <a:gd name="T20" fmla="*/ 48 w 372"/>
                    <a:gd name="T21" fmla="*/ 54 h 372"/>
                    <a:gd name="T22" fmla="*/ 18 w 372"/>
                    <a:gd name="T23" fmla="*/ 66 h 372"/>
                    <a:gd name="T24" fmla="*/ 18 w 372"/>
                    <a:gd name="T25" fmla="*/ 78 h 372"/>
                    <a:gd name="T26" fmla="*/ 48 w 372"/>
                    <a:gd name="T27" fmla="*/ 114 h 372"/>
                    <a:gd name="T28" fmla="*/ 54 w 372"/>
                    <a:gd name="T29" fmla="*/ 132 h 372"/>
                    <a:gd name="T30" fmla="*/ 42 w 372"/>
                    <a:gd name="T31" fmla="*/ 132 h 372"/>
                    <a:gd name="T32" fmla="*/ 24 w 372"/>
                    <a:gd name="T33" fmla="*/ 126 h 372"/>
                    <a:gd name="T34" fmla="*/ 0 w 372"/>
                    <a:gd name="T35" fmla="*/ 150 h 372"/>
                    <a:gd name="T36" fmla="*/ 30 w 372"/>
                    <a:gd name="T37" fmla="*/ 174 h 372"/>
                    <a:gd name="T38" fmla="*/ 54 w 372"/>
                    <a:gd name="T39" fmla="*/ 168 h 372"/>
                    <a:gd name="T40" fmla="*/ 66 w 372"/>
                    <a:gd name="T41" fmla="*/ 168 h 372"/>
                    <a:gd name="T42" fmla="*/ 66 w 372"/>
                    <a:gd name="T43" fmla="*/ 174 h 372"/>
                    <a:gd name="T44" fmla="*/ 72 w 372"/>
                    <a:gd name="T45" fmla="*/ 192 h 372"/>
                    <a:gd name="T46" fmla="*/ 42 w 372"/>
                    <a:gd name="T47" fmla="*/ 204 h 372"/>
                    <a:gd name="T48" fmla="*/ 30 w 372"/>
                    <a:gd name="T49" fmla="*/ 222 h 372"/>
                    <a:gd name="T50" fmla="*/ 12 w 372"/>
                    <a:gd name="T51" fmla="*/ 240 h 372"/>
                    <a:gd name="T52" fmla="*/ 30 w 372"/>
                    <a:gd name="T53" fmla="*/ 258 h 372"/>
                    <a:gd name="T54" fmla="*/ 54 w 372"/>
                    <a:gd name="T55" fmla="*/ 270 h 372"/>
                    <a:gd name="T56" fmla="*/ 54 w 372"/>
                    <a:gd name="T57" fmla="*/ 288 h 372"/>
                    <a:gd name="T58" fmla="*/ 72 w 372"/>
                    <a:gd name="T59" fmla="*/ 288 h 372"/>
                    <a:gd name="T60" fmla="*/ 78 w 372"/>
                    <a:gd name="T61" fmla="*/ 294 h 372"/>
                    <a:gd name="T62" fmla="*/ 90 w 372"/>
                    <a:gd name="T63" fmla="*/ 294 h 372"/>
                    <a:gd name="T64" fmla="*/ 102 w 372"/>
                    <a:gd name="T65" fmla="*/ 288 h 372"/>
                    <a:gd name="T66" fmla="*/ 102 w 372"/>
                    <a:gd name="T67" fmla="*/ 306 h 372"/>
                    <a:gd name="T68" fmla="*/ 72 w 372"/>
                    <a:gd name="T69" fmla="*/ 330 h 372"/>
                    <a:gd name="T70" fmla="*/ 54 w 372"/>
                    <a:gd name="T71" fmla="*/ 348 h 372"/>
                    <a:gd name="T72" fmla="*/ 84 w 372"/>
                    <a:gd name="T73" fmla="*/ 342 h 372"/>
                    <a:gd name="T74" fmla="*/ 132 w 372"/>
                    <a:gd name="T75" fmla="*/ 300 h 372"/>
                    <a:gd name="T76" fmla="*/ 138 w 372"/>
                    <a:gd name="T77" fmla="*/ 288 h 372"/>
                    <a:gd name="T78" fmla="*/ 138 w 372"/>
                    <a:gd name="T79" fmla="*/ 282 h 372"/>
                    <a:gd name="T80" fmla="*/ 156 w 372"/>
                    <a:gd name="T81" fmla="*/ 246 h 372"/>
                    <a:gd name="T82" fmla="*/ 186 w 372"/>
                    <a:gd name="T83" fmla="*/ 240 h 372"/>
                    <a:gd name="T84" fmla="*/ 186 w 372"/>
                    <a:gd name="T85" fmla="*/ 246 h 372"/>
                    <a:gd name="T86" fmla="*/ 162 w 372"/>
                    <a:gd name="T87" fmla="*/ 258 h 372"/>
                    <a:gd name="T88" fmla="*/ 156 w 372"/>
                    <a:gd name="T89" fmla="*/ 270 h 372"/>
                    <a:gd name="T90" fmla="*/ 168 w 372"/>
                    <a:gd name="T91" fmla="*/ 282 h 372"/>
                    <a:gd name="T92" fmla="*/ 192 w 372"/>
                    <a:gd name="T93" fmla="*/ 264 h 372"/>
                    <a:gd name="T94" fmla="*/ 198 w 372"/>
                    <a:gd name="T95" fmla="*/ 252 h 372"/>
                    <a:gd name="T96" fmla="*/ 222 w 372"/>
                    <a:gd name="T97" fmla="*/ 258 h 372"/>
                    <a:gd name="T98" fmla="*/ 228 w 372"/>
                    <a:gd name="T99" fmla="*/ 264 h 372"/>
                    <a:gd name="T100" fmla="*/ 258 w 372"/>
                    <a:gd name="T101" fmla="*/ 276 h 372"/>
                    <a:gd name="T102" fmla="*/ 270 w 372"/>
                    <a:gd name="T103" fmla="*/ 270 h 372"/>
                    <a:gd name="T104" fmla="*/ 294 w 372"/>
                    <a:gd name="T105" fmla="*/ 294 h 372"/>
                    <a:gd name="T106" fmla="*/ 324 w 372"/>
                    <a:gd name="T107" fmla="*/ 300 h 372"/>
                    <a:gd name="T108" fmla="*/ 348 w 372"/>
                    <a:gd name="T109" fmla="*/ 330 h 372"/>
                    <a:gd name="T110" fmla="*/ 348 w 372"/>
                    <a:gd name="T111" fmla="*/ 342 h 372"/>
                    <a:gd name="T112" fmla="*/ 360 w 372"/>
                    <a:gd name="T113" fmla="*/ 342 h 372"/>
                    <a:gd name="T114" fmla="*/ 360 w 372"/>
                    <a:gd name="T115" fmla="*/ 366 h 372"/>
                    <a:gd name="T116" fmla="*/ 366 w 372"/>
                    <a:gd name="T117" fmla="*/ 360 h 372"/>
                    <a:gd name="T118" fmla="*/ 366 w 372"/>
                    <a:gd name="T119" fmla="*/ 336 h 372"/>
                    <a:gd name="T120" fmla="*/ 324 w 372"/>
                    <a:gd name="T121" fmla="*/ 282 h 372"/>
                    <a:gd name="T122" fmla="*/ 300 w 372"/>
                    <a:gd name="T123" fmla="*/ 282 h 372"/>
                    <a:gd name="T124" fmla="*/ 252 w 372"/>
                    <a:gd name="T125" fmla="*/ 258 h 37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0" t="0" r="r" b="b"/>
                  <a:pathLst>
                    <a:path w="372" h="372">
                      <a:moveTo>
                        <a:pt x="252" y="36"/>
                      </a:moveTo>
                      <a:lnTo>
                        <a:pt x="252" y="36"/>
                      </a:lnTo>
                      <a:lnTo>
                        <a:pt x="240" y="36"/>
                      </a:lnTo>
                      <a:lnTo>
                        <a:pt x="234" y="36"/>
                      </a:lnTo>
                      <a:lnTo>
                        <a:pt x="228" y="36"/>
                      </a:lnTo>
                      <a:lnTo>
                        <a:pt x="222" y="36"/>
                      </a:lnTo>
                      <a:lnTo>
                        <a:pt x="216" y="30"/>
                      </a:lnTo>
                      <a:lnTo>
                        <a:pt x="204" y="30"/>
                      </a:lnTo>
                      <a:lnTo>
                        <a:pt x="198" y="30"/>
                      </a:lnTo>
                      <a:lnTo>
                        <a:pt x="198" y="24"/>
                      </a:lnTo>
                      <a:lnTo>
                        <a:pt x="192" y="24"/>
                      </a:lnTo>
                      <a:lnTo>
                        <a:pt x="186" y="18"/>
                      </a:lnTo>
                      <a:lnTo>
                        <a:pt x="180" y="18"/>
                      </a:lnTo>
                      <a:lnTo>
                        <a:pt x="174" y="18"/>
                      </a:lnTo>
                      <a:lnTo>
                        <a:pt x="174" y="24"/>
                      </a:lnTo>
                      <a:lnTo>
                        <a:pt x="174" y="30"/>
                      </a:lnTo>
                      <a:lnTo>
                        <a:pt x="162" y="24"/>
                      </a:lnTo>
                      <a:lnTo>
                        <a:pt x="156" y="18"/>
                      </a:lnTo>
                      <a:lnTo>
                        <a:pt x="132" y="6"/>
                      </a:lnTo>
                      <a:lnTo>
                        <a:pt x="126" y="0"/>
                      </a:lnTo>
                      <a:lnTo>
                        <a:pt x="114" y="0"/>
                      </a:lnTo>
                      <a:lnTo>
                        <a:pt x="102" y="6"/>
                      </a:lnTo>
                      <a:lnTo>
                        <a:pt x="90" y="12"/>
                      </a:lnTo>
                      <a:lnTo>
                        <a:pt x="78" y="12"/>
                      </a:lnTo>
                      <a:lnTo>
                        <a:pt x="72" y="12"/>
                      </a:lnTo>
                      <a:lnTo>
                        <a:pt x="66" y="18"/>
                      </a:lnTo>
                      <a:lnTo>
                        <a:pt x="66" y="24"/>
                      </a:lnTo>
                      <a:lnTo>
                        <a:pt x="60" y="30"/>
                      </a:lnTo>
                      <a:lnTo>
                        <a:pt x="54" y="42"/>
                      </a:lnTo>
                      <a:lnTo>
                        <a:pt x="48" y="54"/>
                      </a:lnTo>
                      <a:lnTo>
                        <a:pt x="36" y="54"/>
                      </a:lnTo>
                      <a:lnTo>
                        <a:pt x="24" y="60"/>
                      </a:lnTo>
                      <a:lnTo>
                        <a:pt x="18" y="66"/>
                      </a:lnTo>
                      <a:lnTo>
                        <a:pt x="12" y="72"/>
                      </a:lnTo>
                      <a:lnTo>
                        <a:pt x="18" y="78"/>
                      </a:lnTo>
                      <a:lnTo>
                        <a:pt x="30" y="90"/>
                      </a:lnTo>
                      <a:lnTo>
                        <a:pt x="42" y="102"/>
                      </a:lnTo>
                      <a:lnTo>
                        <a:pt x="48" y="114"/>
                      </a:lnTo>
                      <a:lnTo>
                        <a:pt x="60" y="126"/>
                      </a:lnTo>
                      <a:lnTo>
                        <a:pt x="60" y="132"/>
                      </a:lnTo>
                      <a:lnTo>
                        <a:pt x="54" y="132"/>
                      </a:lnTo>
                      <a:lnTo>
                        <a:pt x="48" y="138"/>
                      </a:lnTo>
                      <a:lnTo>
                        <a:pt x="42" y="132"/>
                      </a:lnTo>
                      <a:lnTo>
                        <a:pt x="36" y="126"/>
                      </a:lnTo>
                      <a:lnTo>
                        <a:pt x="30" y="126"/>
                      </a:lnTo>
                      <a:lnTo>
                        <a:pt x="24" y="126"/>
                      </a:lnTo>
                      <a:lnTo>
                        <a:pt x="12" y="132"/>
                      </a:lnTo>
                      <a:lnTo>
                        <a:pt x="6" y="138"/>
                      </a:lnTo>
                      <a:lnTo>
                        <a:pt x="0" y="150"/>
                      </a:lnTo>
                      <a:lnTo>
                        <a:pt x="0" y="156"/>
                      </a:lnTo>
                      <a:lnTo>
                        <a:pt x="6" y="162"/>
                      </a:lnTo>
                      <a:lnTo>
                        <a:pt x="30" y="174"/>
                      </a:lnTo>
                      <a:lnTo>
                        <a:pt x="36" y="174"/>
                      </a:lnTo>
                      <a:lnTo>
                        <a:pt x="48" y="174"/>
                      </a:lnTo>
                      <a:lnTo>
                        <a:pt x="54" y="168"/>
                      </a:lnTo>
                      <a:lnTo>
                        <a:pt x="66" y="168"/>
                      </a:lnTo>
                      <a:lnTo>
                        <a:pt x="66" y="174"/>
                      </a:lnTo>
                      <a:lnTo>
                        <a:pt x="66" y="180"/>
                      </a:lnTo>
                      <a:lnTo>
                        <a:pt x="72" y="186"/>
                      </a:lnTo>
                      <a:lnTo>
                        <a:pt x="72" y="192"/>
                      </a:lnTo>
                      <a:lnTo>
                        <a:pt x="66" y="192"/>
                      </a:lnTo>
                      <a:lnTo>
                        <a:pt x="48" y="198"/>
                      </a:lnTo>
                      <a:lnTo>
                        <a:pt x="42" y="204"/>
                      </a:lnTo>
                      <a:lnTo>
                        <a:pt x="42" y="216"/>
                      </a:lnTo>
                      <a:lnTo>
                        <a:pt x="30" y="222"/>
                      </a:lnTo>
                      <a:lnTo>
                        <a:pt x="18" y="228"/>
                      </a:lnTo>
                      <a:lnTo>
                        <a:pt x="12" y="234"/>
                      </a:lnTo>
                      <a:lnTo>
                        <a:pt x="12" y="240"/>
                      </a:lnTo>
                      <a:lnTo>
                        <a:pt x="18" y="246"/>
                      </a:lnTo>
                      <a:lnTo>
                        <a:pt x="30" y="252"/>
                      </a:lnTo>
                      <a:lnTo>
                        <a:pt x="30" y="258"/>
                      </a:lnTo>
                      <a:lnTo>
                        <a:pt x="30" y="264"/>
                      </a:lnTo>
                      <a:lnTo>
                        <a:pt x="36" y="270"/>
                      </a:lnTo>
                      <a:lnTo>
                        <a:pt x="54" y="270"/>
                      </a:lnTo>
                      <a:lnTo>
                        <a:pt x="54" y="276"/>
                      </a:lnTo>
                      <a:lnTo>
                        <a:pt x="54" y="282"/>
                      </a:lnTo>
                      <a:lnTo>
                        <a:pt x="54" y="288"/>
                      </a:lnTo>
                      <a:lnTo>
                        <a:pt x="60" y="294"/>
                      </a:lnTo>
                      <a:lnTo>
                        <a:pt x="66" y="294"/>
                      </a:lnTo>
                      <a:lnTo>
                        <a:pt x="72" y="288"/>
                      </a:lnTo>
                      <a:lnTo>
                        <a:pt x="78" y="294"/>
                      </a:lnTo>
                      <a:lnTo>
                        <a:pt x="78" y="300"/>
                      </a:lnTo>
                      <a:lnTo>
                        <a:pt x="84" y="300"/>
                      </a:lnTo>
                      <a:lnTo>
                        <a:pt x="90" y="294"/>
                      </a:lnTo>
                      <a:lnTo>
                        <a:pt x="96" y="288"/>
                      </a:lnTo>
                      <a:lnTo>
                        <a:pt x="102" y="288"/>
                      </a:lnTo>
                      <a:lnTo>
                        <a:pt x="102" y="300"/>
                      </a:lnTo>
                      <a:lnTo>
                        <a:pt x="102" y="306"/>
                      </a:lnTo>
                      <a:lnTo>
                        <a:pt x="96" y="312"/>
                      </a:lnTo>
                      <a:lnTo>
                        <a:pt x="84" y="324"/>
                      </a:lnTo>
                      <a:lnTo>
                        <a:pt x="72" y="330"/>
                      </a:lnTo>
                      <a:lnTo>
                        <a:pt x="66" y="342"/>
                      </a:lnTo>
                      <a:lnTo>
                        <a:pt x="60" y="348"/>
                      </a:lnTo>
                      <a:lnTo>
                        <a:pt x="54" y="348"/>
                      </a:lnTo>
                      <a:lnTo>
                        <a:pt x="48" y="354"/>
                      </a:lnTo>
                      <a:lnTo>
                        <a:pt x="72" y="348"/>
                      </a:lnTo>
                      <a:lnTo>
                        <a:pt x="84" y="342"/>
                      </a:lnTo>
                      <a:lnTo>
                        <a:pt x="96" y="336"/>
                      </a:lnTo>
                      <a:lnTo>
                        <a:pt x="120" y="312"/>
                      </a:lnTo>
                      <a:lnTo>
                        <a:pt x="132" y="300"/>
                      </a:lnTo>
                      <a:lnTo>
                        <a:pt x="138" y="294"/>
                      </a:lnTo>
                      <a:lnTo>
                        <a:pt x="138" y="288"/>
                      </a:lnTo>
                      <a:lnTo>
                        <a:pt x="132" y="282"/>
                      </a:lnTo>
                      <a:lnTo>
                        <a:pt x="138" y="282"/>
                      </a:lnTo>
                      <a:lnTo>
                        <a:pt x="144" y="270"/>
                      </a:lnTo>
                      <a:lnTo>
                        <a:pt x="150" y="258"/>
                      </a:lnTo>
                      <a:lnTo>
                        <a:pt x="156" y="246"/>
                      </a:lnTo>
                      <a:lnTo>
                        <a:pt x="162" y="246"/>
                      </a:lnTo>
                      <a:lnTo>
                        <a:pt x="174" y="240"/>
                      </a:lnTo>
                      <a:lnTo>
                        <a:pt x="186" y="240"/>
                      </a:lnTo>
                      <a:lnTo>
                        <a:pt x="192" y="246"/>
                      </a:lnTo>
                      <a:lnTo>
                        <a:pt x="186" y="246"/>
                      </a:lnTo>
                      <a:lnTo>
                        <a:pt x="174" y="252"/>
                      </a:lnTo>
                      <a:lnTo>
                        <a:pt x="168" y="252"/>
                      </a:lnTo>
                      <a:lnTo>
                        <a:pt x="162" y="258"/>
                      </a:lnTo>
                      <a:lnTo>
                        <a:pt x="162" y="264"/>
                      </a:lnTo>
                      <a:lnTo>
                        <a:pt x="156" y="270"/>
                      </a:lnTo>
                      <a:lnTo>
                        <a:pt x="156" y="282"/>
                      </a:lnTo>
                      <a:lnTo>
                        <a:pt x="162" y="282"/>
                      </a:lnTo>
                      <a:lnTo>
                        <a:pt x="168" y="282"/>
                      </a:lnTo>
                      <a:lnTo>
                        <a:pt x="180" y="276"/>
                      </a:lnTo>
                      <a:lnTo>
                        <a:pt x="186" y="270"/>
                      </a:lnTo>
                      <a:lnTo>
                        <a:pt x="192" y="264"/>
                      </a:lnTo>
                      <a:lnTo>
                        <a:pt x="192" y="252"/>
                      </a:lnTo>
                      <a:lnTo>
                        <a:pt x="198" y="252"/>
                      </a:lnTo>
                      <a:lnTo>
                        <a:pt x="204" y="252"/>
                      </a:lnTo>
                      <a:lnTo>
                        <a:pt x="210" y="258"/>
                      </a:lnTo>
                      <a:lnTo>
                        <a:pt x="222" y="258"/>
                      </a:lnTo>
                      <a:lnTo>
                        <a:pt x="222" y="264"/>
                      </a:lnTo>
                      <a:lnTo>
                        <a:pt x="228" y="264"/>
                      </a:lnTo>
                      <a:lnTo>
                        <a:pt x="252" y="270"/>
                      </a:lnTo>
                      <a:lnTo>
                        <a:pt x="258" y="276"/>
                      </a:lnTo>
                      <a:lnTo>
                        <a:pt x="264" y="276"/>
                      </a:lnTo>
                      <a:lnTo>
                        <a:pt x="270" y="276"/>
                      </a:lnTo>
                      <a:lnTo>
                        <a:pt x="270" y="270"/>
                      </a:lnTo>
                      <a:lnTo>
                        <a:pt x="276" y="276"/>
                      </a:lnTo>
                      <a:lnTo>
                        <a:pt x="294" y="294"/>
                      </a:lnTo>
                      <a:lnTo>
                        <a:pt x="306" y="306"/>
                      </a:lnTo>
                      <a:lnTo>
                        <a:pt x="318" y="288"/>
                      </a:lnTo>
                      <a:lnTo>
                        <a:pt x="324" y="300"/>
                      </a:lnTo>
                      <a:lnTo>
                        <a:pt x="330" y="306"/>
                      </a:lnTo>
                      <a:lnTo>
                        <a:pt x="336" y="312"/>
                      </a:lnTo>
                      <a:lnTo>
                        <a:pt x="348" y="330"/>
                      </a:lnTo>
                      <a:lnTo>
                        <a:pt x="348" y="336"/>
                      </a:lnTo>
                      <a:lnTo>
                        <a:pt x="348" y="342"/>
                      </a:lnTo>
                      <a:lnTo>
                        <a:pt x="354" y="348"/>
                      </a:lnTo>
                      <a:lnTo>
                        <a:pt x="360" y="342"/>
                      </a:lnTo>
                      <a:lnTo>
                        <a:pt x="360" y="348"/>
                      </a:lnTo>
                      <a:lnTo>
                        <a:pt x="360" y="354"/>
                      </a:lnTo>
                      <a:lnTo>
                        <a:pt x="360" y="366"/>
                      </a:lnTo>
                      <a:lnTo>
                        <a:pt x="360" y="372"/>
                      </a:lnTo>
                      <a:lnTo>
                        <a:pt x="366" y="372"/>
                      </a:lnTo>
                      <a:lnTo>
                        <a:pt x="366" y="360"/>
                      </a:lnTo>
                      <a:lnTo>
                        <a:pt x="372" y="348"/>
                      </a:lnTo>
                      <a:lnTo>
                        <a:pt x="372" y="342"/>
                      </a:lnTo>
                      <a:lnTo>
                        <a:pt x="366" y="336"/>
                      </a:lnTo>
                      <a:lnTo>
                        <a:pt x="354" y="324"/>
                      </a:lnTo>
                      <a:lnTo>
                        <a:pt x="336" y="300"/>
                      </a:lnTo>
                      <a:lnTo>
                        <a:pt x="324" y="282"/>
                      </a:lnTo>
                      <a:lnTo>
                        <a:pt x="318" y="276"/>
                      </a:lnTo>
                      <a:lnTo>
                        <a:pt x="312" y="282"/>
                      </a:lnTo>
                      <a:lnTo>
                        <a:pt x="300" y="282"/>
                      </a:lnTo>
                      <a:lnTo>
                        <a:pt x="288" y="270"/>
                      </a:lnTo>
                      <a:lnTo>
                        <a:pt x="264" y="258"/>
                      </a:lnTo>
                      <a:lnTo>
                        <a:pt x="252" y="258"/>
                      </a:lnTo>
                      <a:lnTo>
                        <a:pt x="252" y="3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864" name="Freeform 836"/>
                <p:cNvSpPr>
                  <a:spLocks/>
                </p:cNvSpPr>
                <p:nvPr/>
              </p:nvSpPr>
              <p:spPr bwMode="auto">
                <a:xfrm>
                  <a:off x="3121" y="462"/>
                  <a:ext cx="372" cy="372"/>
                </a:xfrm>
                <a:custGeom>
                  <a:avLst/>
                  <a:gdLst>
                    <a:gd name="T0" fmla="*/ 234 w 372"/>
                    <a:gd name="T1" fmla="*/ 36 h 372"/>
                    <a:gd name="T2" fmla="*/ 216 w 372"/>
                    <a:gd name="T3" fmla="*/ 30 h 372"/>
                    <a:gd name="T4" fmla="*/ 198 w 372"/>
                    <a:gd name="T5" fmla="*/ 24 h 372"/>
                    <a:gd name="T6" fmla="*/ 180 w 372"/>
                    <a:gd name="T7" fmla="*/ 18 h 372"/>
                    <a:gd name="T8" fmla="*/ 174 w 372"/>
                    <a:gd name="T9" fmla="*/ 30 h 372"/>
                    <a:gd name="T10" fmla="*/ 132 w 372"/>
                    <a:gd name="T11" fmla="*/ 6 h 372"/>
                    <a:gd name="T12" fmla="*/ 102 w 372"/>
                    <a:gd name="T13" fmla="*/ 6 h 372"/>
                    <a:gd name="T14" fmla="*/ 72 w 372"/>
                    <a:gd name="T15" fmla="*/ 12 h 372"/>
                    <a:gd name="T16" fmla="*/ 60 w 372"/>
                    <a:gd name="T17" fmla="*/ 30 h 372"/>
                    <a:gd name="T18" fmla="*/ 36 w 372"/>
                    <a:gd name="T19" fmla="*/ 54 h 372"/>
                    <a:gd name="T20" fmla="*/ 12 w 372"/>
                    <a:gd name="T21" fmla="*/ 72 h 372"/>
                    <a:gd name="T22" fmla="*/ 42 w 372"/>
                    <a:gd name="T23" fmla="*/ 102 h 372"/>
                    <a:gd name="T24" fmla="*/ 60 w 372"/>
                    <a:gd name="T25" fmla="*/ 132 h 372"/>
                    <a:gd name="T26" fmla="*/ 42 w 372"/>
                    <a:gd name="T27" fmla="*/ 132 h 372"/>
                    <a:gd name="T28" fmla="*/ 24 w 372"/>
                    <a:gd name="T29" fmla="*/ 126 h 372"/>
                    <a:gd name="T30" fmla="*/ 0 w 372"/>
                    <a:gd name="T31" fmla="*/ 150 h 372"/>
                    <a:gd name="T32" fmla="*/ 30 w 372"/>
                    <a:gd name="T33" fmla="*/ 174 h 372"/>
                    <a:gd name="T34" fmla="*/ 54 w 372"/>
                    <a:gd name="T35" fmla="*/ 168 h 372"/>
                    <a:gd name="T36" fmla="*/ 66 w 372"/>
                    <a:gd name="T37" fmla="*/ 180 h 372"/>
                    <a:gd name="T38" fmla="*/ 66 w 372"/>
                    <a:gd name="T39" fmla="*/ 192 h 372"/>
                    <a:gd name="T40" fmla="*/ 42 w 372"/>
                    <a:gd name="T41" fmla="*/ 216 h 372"/>
                    <a:gd name="T42" fmla="*/ 12 w 372"/>
                    <a:gd name="T43" fmla="*/ 234 h 372"/>
                    <a:gd name="T44" fmla="*/ 30 w 372"/>
                    <a:gd name="T45" fmla="*/ 252 h 372"/>
                    <a:gd name="T46" fmla="*/ 36 w 372"/>
                    <a:gd name="T47" fmla="*/ 270 h 372"/>
                    <a:gd name="T48" fmla="*/ 54 w 372"/>
                    <a:gd name="T49" fmla="*/ 282 h 372"/>
                    <a:gd name="T50" fmla="*/ 66 w 372"/>
                    <a:gd name="T51" fmla="*/ 294 h 372"/>
                    <a:gd name="T52" fmla="*/ 78 w 372"/>
                    <a:gd name="T53" fmla="*/ 300 h 372"/>
                    <a:gd name="T54" fmla="*/ 96 w 372"/>
                    <a:gd name="T55" fmla="*/ 288 h 372"/>
                    <a:gd name="T56" fmla="*/ 102 w 372"/>
                    <a:gd name="T57" fmla="*/ 306 h 372"/>
                    <a:gd name="T58" fmla="*/ 72 w 372"/>
                    <a:gd name="T59" fmla="*/ 330 h 372"/>
                    <a:gd name="T60" fmla="*/ 54 w 372"/>
                    <a:gd name="T61" fmla="*/ 348 h 372"/>
                    <a:gd name="T62" fmla="*/ 84 w 372"/>
                    <a:gd name="T63" fmla="*/ 342 h 372"/>
                    <a:gd name="T64" fmla="*/ 132 w 372"/>
                    <a:gd name="T65" fmla="*/ 300 h 372"/>
                    <a:gd name="T66" fmla="*/ 132 w 372"/>
                    <a:gd name="T67" fmla="*/ 282 h 372"/>
                    <a:gd name="T68" fmla="*/ 150 w 372"/>
                    <a:gd name="T69" fmla="*/ 258 h 372"/>
                    <a:gd name="T70" fmla="*/ 174 w 372"/>
                    <a:gd name="T71" fmla="*/ 240 h 372"/>
                    <a:gd name="T72" fmla="*/ 186 w 372"/>
                    <a:gd name="T73" fmla="*/ 246 h 372"/>
                    <a:gd name="T74" fmla="*/ 162 w 372"/>
                    <a:gd name="T75" fmla="*/ 258 h 372"/>
                    <a:gd name="T76" fmla="*/ 156 w 372"/>
                    <a:gd name="T77" fmla="*/ 282 h 372"/>
                    <a:gd name="T78" fmla="*/ 180 w 372"/>
                    <a:gd name="T79" fmla="*/ 276 h 372"/>
                    <a:gd name="T80" fmla="*/ 192 w 372"/>
                    <a:gd name="T81" fmla="*/ 252 h 372"/>
                    <a:gd name="T82" fmla="*/ 210 w 372"/>
                    <a:gd name="T83" fmla="*/ 258 h 372"/>
                    <a:gd name="T84" fmla="*/ 228 w 372"/>
                    <a:gd name="T85" fmla="*/ 264 h 372"/>
                    <a:gd name="T86" fmla="*/ 264 w 372"/>
                    <a:gd name="T87" fmla="*/ 276 h 372"/>
                    <a:gd name="T88" fmla="*/ 276 w 372"/>
                    <a:gd name="T89" fmla="*/ 276 h 372"/>
                    <a:gd name="T90" fmla="*/ 318 w 372"/>
                    <a:gd name="T91" fmla="*/ 288 h 372"/>
                    <a:gd name="T92" fmla="*/ 336 w 372"/>
                    <a:gd name="T93" fmla="*/ 312 h 372"/>
                    <a:gd name="T94" fmla="*/ 348 w 372"/>
                    <a:gd name="T95" fmla="*/ 342 h 372"/>
                    <a:gd name="T96" fmla="*/ 360 w 372"/>
                    <a:gd name="T97" fmla="*/ 348 h 372"/>
                    <a:gd name="T98" fmla="*/ 360 w 372"/>
                    <a:gd name="T99" fmla="*/ 372 h 372"/>
                    <a:gd name="T100" fmla="*/ 372 w 372"/>
                    <a:gd name="T101" fmla="*/ 348 h 372"/>
                    <a:gd name="T102" fmla="*/ 354 w 372"/>
                    <a:gd name="T103" fmla="*/ 324 h 372"/>
                    <a:gd name="T104" fmla="*/ 318 w 372"/>
                    <a:gd name="T105" fmla="*/ 276 h 372"/>
                    <a:gd name="T106" fmla="*/ 288 w 372"/>
                    <a:gd name="T107" fmla="*/ 270 h 372"/>
                    <a:gd name="T108" fmla="*/ 252 w 372"/>
                    <a:gd name="T109" fmla="*/ 36 h 37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0" t="0" r="r" b="b"/>
                  <a:pathLst>
                    <a:path w="372" h="372">
                      <a:moveTo>
                        <a:pt x="252" y="36"/>
                      </a:moveTo>
                      <a:lnTo>
                        <a:pt x="240" y="36"/>
                      </a:lnTo>
                      <a:lnTo>
                        <a:pt x="234" y="36"/>
                      </a:lnTo>
                      <a:lnTo>
                        <a:pt x="228" y="36"/>
                      </a:lnTo>
                      <a:lnTo>
                        <a:pt x="222" y="36"/>
                      </a:lnTo>
                      <a:lnTo>
                        <a:pt x="216" y="30"/>
                      </a:lnTo>
                      <a:lnTo>
                        <a:pt x="204" y="30"/>
                      </a:lnTo>
                      <a:lnTo>
                        <a:pt x="198" y="30"/>
                      </a:lnTo>
                      <a:lnTo>
                        <a:pt x="198" y="24"/>
                      </a:lnTo>
                      <a:lnTo>
                        <a:pt x="192" y="24"/>
                      </a:lnTo>
                      <a:lnTo>
                        <a:pt x="186" y="18"/>
                      </a:lnTo>
                      <a:lnTo>
                        <a:pt x="180" y="18"/>
                      </a:lnTo>
                      <a:lnTo>
                        <a:pt x="174" y="18"/>
                      </a:lnTo>
                      <a:lnTo>
                        <a:pt x="174" y="24"/>
                      </a:lnTo>
                      <a:lnTo>
                        <a:pt x="174" y="30"/>
                      </a:lnTo>
                      <a:lnTo>
                        <a:pt x="162" y="24"/>
                      </a:lnTo>
                      <a:lnTo>
                        <a:pt x="156" y="18"/>
                      </a:lnTo>
                      <a:lnTo>
                        <a:pt x="132" y="6"/>
                      </a:lnTo>
                      <a:lnTo>
                        <a:pt x="126" y="0"/>
                      </a:lnTo>
                      <a:lnTo>
                        <a:pt x="114" y="0"/>
                      </a:lnTo>
                      <a:lnTo>
                        <a:pt x="102" y="6"/>
                      </a:lnTo>
                      <a:lnTo>
                        <a:pt x="90" y="12"/>
                      </a:lnTo>
                      <a:lnTo>
                        <a:pt x="78" y="12"/>
                      </a:lnTo>
                      <a:lnTo>
                        <a:pt x="72" y="12"/>
                      </a:lnTo>
                      <a:lnTo>
                        <a:pt x="66" y="18"/>
                      </a:lnTo>
                      <a:lnTo>
                        <a:pt x="66" y="24"/>
                      </a:lnTo>
                      <a:lnTo>
                        <a:pt x="60" y="30"/>
                      </a:lnTo>
                      <a:lnTo>
                        <a:pt x="54" y="42"/>
                      </a:lnTo>
                      <a:lnTo>
                        <a:pt x="48" y="54"/>
                      </a:lnTo>
                      <a:lnTo>
                        <a:pt x="36" y="54"/>
                      </a:lnTo>
                      <a:lnTo>
                        <a:pt x="24" y="60"/>
                      </a:lnTo>
                      <a:lnTo>
                        <a:pt x="18" y="66"/>
                      </a:lnTo>
                      <a:lnTo>
                        <a:pt x="12" y="72"/>
                      </a:lnTo>
                      <a:lnTo>
                        <a:pt x="18" y="78"/>
                      </a:lnTo>
                      <a:lnTo>
                        <a:pt x="30" y="90"/>
                      </a:lnTo>
                      <a:lnTo>
                        <a:pt x="42" y="102"/>
                      </a:lnTo>
                      <a:lnTo>
                        <a:pt x="48" y="114"/>
                      </a:lnTo>
                      <a:lnTo>
                        <a:pt x="60" y="126"/>
                      </a:lnTo>
                      <a:lnTo>
                        <a:pt x="60" y="132"/>
                      </a:lnTo>
                      <a:lnTo>
                        <a:pt x="54" y="132"/>
                      </a:lnTo>
                      <a:lnTo>
                        <a:pt x="48" y="138"/>
                      </a:lnTo>
                      <a:lnTo>
                        <a:pt x="42" y="132"/>
                      </a:lnTo>
                      <a:lnTo>
                        <a:pt x="36" y="126"/>
                      </a:lnTo>
                      <a:lnTo>
                        <a:pt x="30" y="126"/>
                      </a:lnTo>
                      <a:lnTo>
                        <a:pt x="24" y="126"/>
                      </a:lnTo>
                      <a:lnTo>
                        <a:pt x="12" y="132"/>
                      </a:lnTo>
                      <a:lnTo>
                        <a:pt x="6" y="138"/>
                      </a:lnTo>
                      <a:lnTo>
                        <a:pt x="0" y="150"/>
                      </a:lnTo>
                      <a:lnTo>
                        <a:pt x="0" y="156"/>
                      </a:lnTo>
                      <a:lnTo>
                        <a:pt x="6" y="162"/>
                      </a:lnTo>
                      <a:lnTo>
                        <a:pt x="30" y="174"/>
                      </a:lnTo>
                      <a:lnTo>
                        <a:pt x="36" y="174"/>
                      </a:lnTo>
                      <a:lnTo>
                        <a:pt x="48" y="174"/>
                      </a:lnTo>
                      <a:lnTo>
                        <a:pt x="54" y="168"/>
                      </a:lnTo>
                      <a:lnTo>
                        <a:pt x="66" y="168"/>
                      </a:lnTo>
                      <a:lnTo>
                        <a:pt x="66" y="174"/>
                      </a:lnTo>
                      <a:lnTo>
                        <a:pt x="66" y="180"/>
                      </a:lnTo>
                      <a:lnTo>
                        <a:pt x="72" y="186"/>
                      </a:lnTo>
                      <a:lnTo>
                        <a:pt x="72" y="192"/>
                      </a:lnTo>
                      <a:lnTo>
                        <a:pt x="66" y="192"/>
                      </a:lnTo>
                      <a:lnTo>
                        <a:pt x="48" y="198"/>
                      </a:lnTo>
                      <a:lnTo>
                        <a:pt x="42" y="204"/>
                      </a:lnTo>
                      <a:lnTo>
                        <a:pt x="42" y="216"/>
                      </a:lnTo>
                      <a:lnTo>
                        <a:pt x="30" y="222"/>
                      </a:lnTo>
                      <a:lnTo>
                        <a:pt x="18" y="228"/>
                      </a:lnTo>
                      <a:lnTo>
                        <a:pt x="12" y="234"/>
                      </a:lnTo>
                      <a:lnTo>
                        <a:pt x="12" y="240"/>
                      </a:lnTo>
                      <a:lnTo>
                        <a:pt x="18" y="246"/>
                      </a:lnTo>
                      <a:lnTo>
                        <a:pt x="30" y="252"/>
                      </a:lnTo>
                      <a:lnTo>
                        <a:pt x="30" y="258"/>
                      </a:lnTo>
                      <a:lnTo>
                        <a:pt x="30" y="264"/>
                      </a:lnTo>
                      <a:lnTo>
                        <a:pt x="36" y="270"/>
                      </a:lnTo>
                      <a:lnTo>
                        <a:pt x="54" y="270"/>
                      </a:lnTo>
                      <a:lnTo>
                        <a:pt x="54" y="276"/>
                      </a:lnTo>
                      <a:lnTo>
                        <a:pt x="54" y="282"/>
                      </a:lnTo>
                      <a:lnTo>
                        <a:pt x="54" y="288"/>
                      </a:lnTo>
                      <a:lnTo>
                        <a:pt x="60" y="294"/>
                      </a:lnTo>
                      <a:lnTo>
                        <a:pt x="66" y="294"/>
                      </a:lnTo>
                      <a:lnTo>
                        <a:pt x="72" y="288"/>
                      </a:lnTo>
                      <a:lnTo>
                        <a:pt x="78" y="294"/>
                      </a:lnTo>
                      <a:lnTo>
                        <a:pt x="78" y="300"/>
                      </a:lnTo>
                      <a:lnTo>
                        <a:pt x="84" y="300"/>
                      </a:lnTo>
                      <a:lnTo>
                        <a:pt x="90" y="294"/>
                      </a:lnTo>
                      <a:lnTo>
                        <a:pt x="96" y="288"/>
                      </a:lnTo>
                      <a:lnTo>
                        <a:pt x="102" y="288"/>
                      </a:lnTo>
                      <a:lnTo>
                        <a:pt x="102" y="300"/>
                      </a:lnTo>
                      <a:lnTo>
                        <a:pt x="102" y="306"/>
                      </a:lnTo>
                      <a:lnTo>
                        <a:pt x="96" y="312"/>
                      </a:lnTo>
                      <a:lnTo>
                        <a:pt x="84" y="324"/>
                      </a:lnTo>
                      <a:lnTo>
                        <a:pt x="72" y="330"/>
                      </a:lnTo>
                      <a:lnTo>
                        <a:pt x="66" y="342"/>
                      </a:lnTo>
                      <a:lnTo>
                        <a:pt x="60" y="348"/>
                      </a:lnTo>
                      <a:lnTo>
                        <a:pt x="54" y="348"/>
                      </a:lnTo>
                      <a:lnTo>
                        <a:pt x="48" y="354"/>
                      </a:lnTo>
                      <a:lnTo>
                        <a:pt x="72" y="348"/>
                      </a:lnTo>
                      <a:lnTo>
                        <a:pt x="84" y="342"/>
                      </a:lnTo>
                      <a:lnTo>
                        <a:pt x="96" y="336"/>
                      </a:lnTo>
                      <a:lnTo>
                        <a:pt x="120" y="312"/>
                      </a:lnTo>
                      <a:lnTo>
                        <a:pt x="132" y="300"/>
                      </a:lnTo>
                      <a:lnTo>
                        <a:pt x="138" y="294"/>
                      </a:lnTo>
                      <a:lnTo>
                        <a:pt x="138" y="288"/>
                      </a:lnTo>
                      <a:lnTo>
                        <a:pt x="132" y="282"/>
                      </a:lnTo>
                      <a:lnTo>
                        <a:pt x="138" y="282"/>
                      </a:lnTo>
                      <a:lnTo>
                        <a:pt x="144" y="270"/>
                      </a:lnTo>
                      <a:lnTo>
                        <a:pt x="150" y="258"/>
                      </a:lnTo>
                      <a:lnTo>
                        <a:pt x="156" y="246"/>
                      </a:lnTo>
                      <a:lnTo>
                        <a:pt x="162" y="246"/>
                      </a:lnTo>
                      <a:lnTo>
                        <a:pt x="174" y="240"/>
                      </a:lnTo>
                      <a:lnTo>
                        <a:pt x="186" y="240"/>
                      </a:lnTo>
                      <a:lnTo>
                        <a:pt x="192" y="246"/>
                      </a:lnTo>
                      <a:lnTo>
                        <a:pt x="186" y="246"/>
                      </a:lnTo>
                      <a:lnTo>
                        <a:pt x="174" y="252"/>
                      </a:lnTo>
                      <a:lnTo>
                        <a:pt x="168" y="252"/>
                      </a:lnTo>
                      <a:lnTo>
                        <a:pt x="162" y="258"/>
                      </a:lnTo>
                      <a:lnTo>
                        <a:pt x="162" y="264"/>
                      </a:lnTo>
                      <a:lnTo>
                        <a:pt x="156" y="270"/>
                      </a:lnTo>
                      <a:lnTo>
                        <a:pt x="156" y="282"/>
                      </a:lnTo>
                      <a:lnTo>
                        <a:pt x="162" y="282"/>
                      </a:lnTo>
                      <a:lnTo>
                        <a:pt x="168" y="282"/>
                      </a:lnTo>
                      <a:lnTo>
                        <a:pt x="180" y="276"/>
                      </a:lnTo>
                      <a:lnTo>
                        <a:pt x="186" y="270"/>
                      </a:lnTo>
                      <a:lnTo>
                        <a:pt x="192" y="264"/>
                      </a:lnTo>
                      <a:lnTo>
                        <a:pt x="192" y="252"/>
                      </a:lnTo>
                      <a:lnTo>
                        <a:pt x="198" y="252"/>
                      </a:lnTo>
                      <a:lnTo>
                        <a:pt x="204" y="252"/>
                      </a:lnTo>
                      <a:lnTo>
                        <a:pt x="210" y="258"/>
                      </a:lnTo>
                      <a:lnTo>
                        <a:pt x="222" y="258"/>
                      </a:lnTo>
                      <a:lnTo>
                        <a:pt x="222" y="264"/>
                      </a:lnTo>
                      <a:lnTo>
                        <a:pt x="228" y="264"/>
                      </a:lnTo>
                      <a:lnTo>
                        <a:pt x="252" y="270"/>
                      </a:lnTo>
                      <a:lnTo>
                        <a:pt x="258" y="276"/>
                      </a:lnTo>
                      <a:lnTo>
                        <a:pt x="264" y="276"/>
                      </a:lnTo>
                      <a:lnTo>
                        <a:pt x="270" y="276"/>
                      </a:lnTo>
                      <a:lnTo>
                        <a:pt x="270" y="270"/>
                      </a:lnTo>
                      <a:lnTo>
                        <a:pt x="276" y="276"/>
                      </a:lnTo>
                      <a:lnTo>
                        <a:pt x="294" y="294"/>
                      </a:lnTo>
                      <a:lnTo>
                        <a:pt x="306" y="306"/>
                      </a:lnTo>
                      <a:lnTo>
                        <a:pt x="318" y="288"/>
                      </a:lnTo>
                      <a:lnTo>
                        <a:pt x="324" y="300"/>
                      </a:lnTo>
                      <a:lnTo>
                        <a:pt x="330" y="306"/>
                      </a:lnTo>
                      <a:lnTo>
                        <a:pt x="336" y="312"/>
                      </a:lnTo>
                      <a:lnTo>
                        <a:pt x="348" y="330"/>
                      </a:lnTo>
                      <a:lnTo>
                        <a:pt x="348" y="336"/>
                      </a:lnTo>
                      <a:lnTo>
                        <a:pt x="348" y="342"/>
                      </a:lnTo>
                      <a:lnTo>
                        <a:pt x="354" y="348"/>
                      </a:lnTo>
                      <a:lnTo>
                        <a:pt x="360" y="342"/>
                      </a:lnTo>
                      <a:lnTo>
                        <a:pt x="360" y="348"/>
                      </a:lnTo>
                      <a:lnTo>
                        <a:pt x="360" y="354"/>
                      </a:lnTo>
                      <a:lnTo>
                        <a:pt x="360" y="366"/>
                      </a:lnTo>
                      <a:lnTo>
                        <a:pt x="360" y="372"/>
                      </a:lnTo>
                      <a:lnTo>
                        <a:pt x="366" y="372"/>
                      </a:lnTo>
                      <a:lnTo>
                        <a:pt x="366" y="360"/>
                      </a:lnTo>
                      <a:lnTo>
                        <a:pt x="372" y="348"/>
                      </a:lnTo>
                      <a:lnTo>
                        <a:pt x="372" y="342"/>
                      </a:lnTo>
                      <a:lnTo>
                        <a:pt x="366" y="336"/>
                      </a:lnTo>
                      <a:lnTo>
                        <a:pt x="354" y="324"/>
                      </a:lnTo>
                      <a:lnTo>
                        <a:pt x="336" y="300"/>
                      </a:lnTo>
                      <a:lnTo>
                        <a:pt x="324" y="282"/>
                      </a:lnTo>
                      <a:lnTo>
                        <a:pt x="318" y="276"/>
                      </a:lnTo>
                      <a:lnTo>
                        <a:pt x="312" y="282"/>
                      </a:lnTo>
                      <a:lnTo>
                        <a:pt x="300" y="282"/>
                      </a:lnTo>
                      <a:lnTo>
                        <a:pt x="288" y="270"/>
                      </a:lnTo>
                      <a:lnTo>
                        <a:pt x="264" y="258"/>
                      </a:lnTo>
                      <a:lnTo>
                        <a:pt x="252" y="258"/>
                      </a:lnTo>
                      <a:lnTo>
                        <a:pt x="252" y="3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857" name="Group 837"/>
              <p:cNvGrpSpPr>
                <a:grpSpLocks/>
              </p:cNvGrpSpPr>
              <p:nvPr/>
            </p:nvGrpSpPr>
            <p:grpSpPr bwMode="auto">
              <a:xfrm>
                <a:off x="3091" y="654"/>
                <a:ext cx="18" cy="18"/>
                <a:chOff x="3091" y="654"/>
                <a:chExt cx="18" cy="18"/>
              </a:xfrm>
              <a:grpFill/>
            </p:grpSpPr>
            <p:sp>
              <p:nvSpPr>
                <p:cNvPr id="861" name="Freeform 838"/>
                <p:cNvSpPr>
                  <a:spLocks/>
                </p:cNvSpPr>
                <p:nvPr/>
              </p:nvSpPr>
              <p:spPr bwMode="auto">
                <a:xfrm>
                  <a:off x="3091" y="654"/>
                  <a:ext cx="18" cy="18"/>
                </a:xfrm>
                <a:custGeom>
                  <a:avLst/>
                  <a:gdLst>
                    <a:gd name="T0" fmla="*/ 12 w 18"/>
                    <a:gd name="T1" fmla="*/ 0 h 18"/>
                    <a:gd name="T2" fmla="*/ 0 w 18"/>
                    <a:gd name="T3" fmla="*/ 0 h 18"/>
                    <a:gd name="T4" fmla="*/ 0 w 18"/>
                    <a:gd name="T5" fmla="*/ 0 h 18"/>
                    <a:gd name="T6" fmla="*/ 0 w 18"/>
                    <a:gd name="T7" fmla="*/ 6 h 18"/>
                    <a:gd name="T8" fmla="*/ 6 w 18"/>
                    <a:gd name="T9" fmla="*/ 12 h 18"/>
                    <a:gd name="T10" fmla="*/ 12 w 18"/>
                    <a:gd name="T11" fmla="*/ 18 h 18"/>
                    <a:gd name="T12" fmla="*/ 18 w 18"/>
                    <a:gd name="T13" fmla="*/ 18 h 18"/>
                    <a:gd name="T14" fmla="*/ 18 w 18"/>
                    <a:gd name="T15" fmla="*/ 12 h 18"/>
                    <a:gd name="T16" fmla="*/ 18 w 18"/>
                    <a:gd name="T17" fmla="*/ 6 h 18"/>
                    <a:gd name="T18" fmla="*/ 18 w 18"/>
                    <a:gd name="T19" fmla="*/ 6 h 18"/>
                    <a:gd name="T20" fmla="*/ 12 w 18"/>
                    <a:gd name="T21" fmla="*/ 0 h 1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8" h="18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6" y="12"/>
                      </a:lnTo>
                      <a:lnTo>
                        <a:pt x="12" y="18"/>
                      </a:lnTo>
                      <a:lnTo>
                        <a:pt x="18" y="18"/>
                      </a:lnTo>
                      <a:lnTo>
                        <a:pt x="18" y="12"/>
                      </a:lnTo>
                      <a:lnTo>
                        <a:pt x="18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862" name="Freeform 839"/>
                <p:cNvSpPr>
                  <a:spLocks/>
                </p:cNvSpPr>
                <p:nvPr/>
              </p:nvSpPr>
              <p:spPr bwMode="auto">
                <a:xfrm>
                  <a:off x="3091" y="654"/>
                  <a:ext cx="18" cy="18"/>
                </a:xfrm>
                <a:custGeom>
                  <a:avLst/>
                  <a:gdLst>
                    <a:gd name="T0" fmla="*/ 12 w 18"/>
                    <a:gd name="T1" fmla="*/ 0 h 18"/>
                    <a:gd name="T2" fmla="*/ 0 w 18"/>
                    <a:gd name="T3" fmla="*/ 0 h 18"/>
                    <a:gd name="T4" fmla="*/ 0 w 18"/>
                    <a:gd name="T5" fmla="*/ 6 h 18"/>
                    <a:gd name="T6" fmla="*/ 6 w 18"/>
                    <a:gd name="T7" fmla="*/ 12 h 18"/>
                    <a:gd name="T8" fmla="*/ 12 w 18"/>
                    <a:gd name="T9" fmla="*/ 18 h 18"/>
                    <a:gd name="T10" fmla="*/ 18 w 18"/>
                    <a:gd name="T11" fmla="*/ 18 h 18"/>
                    <a:gd name="T12" fmla="*/ 18 w 18"/>
                    <a:gd name="T13" fmla="*/ 12 h 18"/>
                    <a:gd name="T14" fmla="*/ 18 w 18"/>
                    <a:gd name="T15" fmla="*/ 6 h 18"/>
                    <a:gd name="T16" fmla="*/ 12 w 18"/>
                    <a:gd name="T17" fmla="*/ 0 h 1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8" h="18">
                      <a:moveTo>
                        <a:pt x="12" y="0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6" y="12"/>
                      </a:lnTo>
                      <a:lnTo>
                        <a:pt x="12" y="18"/>
                      </a:lnTo>
                      <a:lnTo>
                        <a:pt x="18" y="18"/>
                      </a:lnTo>
                      <a:lnTo>
                        <a:pt x="18" y="12"/>
                      </a:lnTo>
                      <a:lnTo>
                        <a:pt x="18" y="6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858" name="Group 840"/>
              <p:cNvGrpSpPr>
                <a:grpSpLocks/>
              </p:cNvGrpSpPr>
              <p:nvPr/>
            </p:nvGrpSpPr>
            <p:grpSpPr bwMode="auto">
              <a:xfrm>
                <a:off x="3253" y="774"/>
                <a:ext cx="6" cy="18"/>
                <a:chOff x="3253" y="774"/>
                <a:chExt cx="6" cy="18"/>
              </a:xfrm>
              <a:grpFill/>
            </p:grpSpPr>
            <p:sp>
              <p:nvSpPr>
                <p:cNvPr id="859" name="Freeform 841"/>
                <p:cNvSpPr>
                  <a:spLocks/>
                </p:cNvSpPr>
                <p:nvPr/>
              </p:nvSpPr>
              <p:spPr bwMode="auto">
                <a:xfrm>
                  <a:off x="3253" y="774"/>
                  <a:ext cx="6" cy="18"/>
                </a:xfrm>
                <a:custGeom>
                  <a:avLst/>
                  <a:gdLst>
                    <a:gd name="T0" fmla="*/ 6 w 6"/>
                    <a:gd name="T1" fmla="*/ 0 h 18"/>
                    <a:gd name="T2" fmla="*/ 0 w 6"/>
                    <a:gd name="T3" fmla="*/ 0 h 18"/>
                    <a:gd name="T4" fmla="*/ 0 w 6"/>
                    <a:gd name="T5" fmla="*/ 0 h 18"/>
                    <a:gd name="T6" fmla="*/ 0 w 6"/>
                    <a:gd name="T7" fmla="*/ 12 h 18"/>
                    <a:gd name="T8" fmla="*/ 0 w 6"/>
                    <a:gd name="T9" fmla="*/ 12 h 18"/>
                    <a:gd name="T10" fmla="*/ 0 w 6"/>
                    <a:gd name="T11" fmla="*/ 18 h 18"/>
                    <a:gd name="T12" fmla="*/ 6 w 6"/>
                    <a:gd name="T13" fmla="*/ 12 h 18"/>
                    <a:gd name="T14" fmla="*/ 6 w 6"/>
                    <a:gd name="T15" fmla="*/ 6 h 18"/>
                    <a:gd name="T16" fmla="*/ 6 w 6"/>
                    <a:gd name="T17" fmla="*/ 0 h 18"/>
                    <a:gd name="T18" fmla="*/ 6 w 6"/>
                    <a:gd name="T19" fmla="*/ 0 h 1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6" h="18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0" y="18"/>
                      </a:lnTo>
                      <a:lnTo>
                        <a:pt x="6" y="12"/>
                      </a:lnTo>
                      <a:lnTo>
                        <a:pt x="6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  <p:sp>
              <p:nvSpPr>
                <p:cNvPr id="860" name="Freeform 842"/>
                <p:cNvSpPr>
                  <a:spLocks/>
                </p:cNvSpPr>
                <p:nvPr/>
              </p:nvSpPr>
              <p:spPr bwMode="auto">
                <a:xfrm>
                  <a:off x="3253" y="774"/>
                  <a:ext cx="6" cy="18"/>
                </a:xfrm>
                <a:custGeom>
                  <a:avLst/>
                  <a:gdLst>
                    <a:gd name="T0" fmla="*/ 6 w 6"/>
                    <a:gd name="T1" fmla="*/ 0 h 18"/>
                    <a:gd name="T2" fmla="*/ 0 w 6"/>
                    <a:gd name="T3" fmla="*/ 0 h 18"/>
                    <a:gd name="T4" fmla="*/ 0 w 6"/>
                    <a:gd name="T5" fmla="*/ 12 h 18"/>
                    <a:gd name="T6" fmla="*/ 0 w 6"/>
                    <a:gd name="T7" fmla="*/ 18 h 18"/>
                    <a:gd name="T8" fmla="*/ 6 w 6"/>
                    <a:gd name="T9" fmla="*/ 12 h 18"/>
                    <a:gd name="T10" fmla="*/ 6 w 6"/>
                    <a:gd name="T11" fmla="*/ 6 h 18"/>
                    <a:gd name="T12" fmla="*/ 6 w 6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18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0" y="18"/>
                      </a:lnTo>
                      <a:lnTo>
                        <a:pt x="6" y="12"/>
                      </a:lnTo>
                      <a:lnTo>
                        <a:pt x="6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defTabSz="914354"/>
                  <a:endParaRPr lang="zh-CN" altLang="en-US" sz="300">
                    <a:solidFill>
                      <a:srgbClr val="0D5661"/>
                    </a:solidFill>
                    <a:latin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775" name="Group 843"/>
            <p:cNvGrpSpPr>
              <a:grpSpLocks/>
            </p:cNvGrpSpPr>
            <p:nvPr/>
          </p:nvGrpSpPr>
          <p:grpSpPr bwMode="auto">
            <a:xfrm>
              <a:off x="5428601" y="2351205"/>
              <a:ext cx="1122440" cy="515816"/>
              <a:chOff x="3535" y="918"/>
              <a:chExt cx="552" cy="300"/>
            </a:xfrm>
            <a:solidFill>
              <a:srgbClr val="0070C0">
                <a:alpha val="27059"/>
              </a:srgbClr>
            </a:solidFill>
          </p:grpSpPr>
          <p:sp>
            <p:nvSpPr>
              <p:cNvPr id="854" name="Freeform 844"/>
              <p:cNvSpPr>
                <a:spLocks/>
              </p:cNvSpPr>
              <p:nvPr/>
            </p:nvSpPr>
            <p:spPr bwMode="auto">
              <a:xfrm>
                <a:off x="3535" y="918"/>
                <a:ext cx="552" cy="300"/>
              </a:xfrm>
              <a:custGeom>
                <a:avLst/>
                <a:gdLst>
                  <a:gd name="T0" fmla="*/ 504 w 552"/>
                  <a:gd name="T1" fmla="*/ 42 h 300"/>
                  <a:gd name="T2" fmla="*/ 540 w 552"/>
                  <a:gd name="T3" fmla="*/ 18 h 300"/>
                  <a:gd name="T4" fmla="*/ 546 w 552"/>
                  <a:gd name="T5" fmla="*/ 36 h 300"/>
                  <a:gd name="T6" fmla="*/ 546 w 552"/>
                  <a:gd name="T7" fmla="*/ 60 h 300"/>
                  <a:gd name="T8" fmla="*/ 510 w 552"/>
                  <a:gd name="T9" fmla="*/ 90 h 300"/>
                  <a:gd name="T10" fmla="*/ 528 w 552"/>
                  <a:gd name="T11" fmla="*/ 96 h 300"/>
                  <a:gd name="T12" fmla="*/ 498 w 552"/>
                  <a:gd name="T13" fmla="*/ 102 h 300"/>
                  <a:gd name="T14" fmla="*/ 480 w 552"/>
                  <a:gd name="T15" fmla="*/ 108 h 300"/>
                  <a:gd name="T16" fmla="*/ 480 w 552"/>
                  <a:gd name="T17" fmla="*/ 138 h 300"/>
                  <a:gd name="T18" fmla="*/ 480 w 552"/>
                  <a:gd name="T19" fmla="*/ 138 h 300"/>
                  <a:gd name="T20" fmla="*/ 462 w 552"/>
                  <a:gd name="T21" fmla="*/ 132 h 300"/>
                  <a:gd name="T22" fmla="*/ 468 w 552"/>
                  <a:gd name="T23" fmla="*/ 150 h 300"/>
                  <a:gd name="T24" fmla="*/ 462 w 552"/>
                  <a:gd name="T25" fmla="*/ 168 h 300"/>
                  <a:gd name="T26" fmla="*/ 462 w 552"/>
                  <a:gd name="T27" fmla="*/ 174 h 300"/>
                  <a:gd name="T28" fmla="*/ 456 w 552"/>
                  <a:gd name="T29" fmla="*/ 186 h 300"/>
                  <a:gd name="T30" fmla="*/ 414 w 552"/>
                  <a:gd name="T31" fmla="*/ 240 h 300"/>
                  <a:gd name="T32" fmla="*/ 426 w 552"/>
                  <a:gd name="T33" fmla="*/ 270 h 300"/>
                  <a:gd name="T34" fmla="*/ 426 w 552"/>
                  <a:gd name="T35" fmla="*/ 300 h 300"/>
                  <a:gd name="T36" fmla="*/ 402 w 552"/>
                  <a:gd name="T37" fmla="*/ 276 h 300"/>
                  <a:gd name="T38" fmla="*/ 390 w 552"/>
                  <a:gd name="T39" fmla="*/ 246 h 300"/>
                  <a:gd name="T40" fmla="*/ 342 w 552"/>
                  <a:gd name="T41" fmla="*/ 240 h 300"/>
                  <a:gd name="T42" fmla="*/ 324 w 552"/>
                  <a:gd name="T43" fmla="*/ 246 h 300"/>
                  <a:gd name="T44" fmla="*/ 282 w 552"/>
                  <a:gd name="T45" fmla="*/ 252 h 300"/>
                  <a:gd name="T46" fmla="*/ 258 w 552"/>
                  <a:gd name="T47" fmla="*/ 276 h 300"/>
                  <a:gd name="T48" fmla="*/ 240 w 552"/>
                  <a:gd name="T49" fmla="*/ 270 h 300"/>
                  <a:gd name="T50" fmla="*/ 216 w 552"/>
                  <a:gd name="T51" fmla="*/ 252 h 300"/>
                  <a:gd name="T52" fmla="*/ 192 w 552"/>
                  <a:gd name="T53" fmla="*/ 246 h 300"/>
                  <a:gd name="T54" fmla="*/ 168 w 552"/>
                  <a:gd name="T55" fmla="*/ 222 h 300"/>
                  <a:gd name="T56" fmla="*/ 138 w 552"/>
                  <a:gd name="T57" fmla="*/ 228 h 300"/>
                  <a:gd name="T58" fmla="*/ 96 w 552"/>
                  <a:gd name="T59" fmla="*/ 216 h 300"/>
                  <a:gd name="T60" fmla="*/ 66 w 552"/>
                  <a:gd name="T61" fmla="*/ 210 h 300"/>
                  <a:gd name="T62" fmla="*/ 48 w 552"/>
                  <a:gd name="T63" fmla="*/ 192 h 300"/>
                  <a:gd name="T64" fmla="*/ 6 w 552"/>
                  <a:gd name="T65" fmla="*/ 138 h 300"/>
                  <a:gd name="T66" fmla="*/ 6 w 552"/>
                  <a:gd name="T67" fmla="*/ 78 h 300"/>
                  <a:gd name="T68" fmla="*/ 6 w 552"/>
                  <a:gd name="T69" fmla="*/ 12 h 300"/>
                  <a:gd name="T70" fmla="*/ 12 w 552"/>
                  <a:gd name="T71" fmla="*/ 0 h 300"/>
                  <a:gd name="T72" fmla="*/ 312 w 552"/>
                  <a:gd name="T73" fmla="*/ 12 h 300"/>
                  <a:gd name="T74" fmla="*/ 318 w 552"/>
                  <a:gd name="T75" fmla="*/ 24 h 300"/>
                  <a:gd name="T76" fmla="*/ 330 w 552"/>
                  <a:gd name="T77" fmla="*/ 30 h 300"/>
                  <a:gd name="T78" fmla="*/ 360 w 552"/>
                  <a:gd name="T79" fmla="*/ 30 h 300"/>
                  <a:gd name="T80" fmla="*/ 378 w 552"/>
                  <a:gd name="T81" fmla="*/ 36 h 300"/>
                  <a:gd name="T82" fmla="*/ 360 w 552"/>
                  <a:gd name="T83" fmla="*/ 42 h 300"/>
                  <a:gd name="T84" fmla="*/ 360 w 552"/>
                  <a:gd name="T85" fmla="*/ 60 h 300"/>
                  <a:gd name="T86" fmla="*/ 354 w 552"/>
                  <a:gd name="T87" fmla="*/ 96 h 300"/>
                  <a:gd name="T88" fmla="*/ 372 w 552"/>
                  <a:gd name="T89" fmla="*/ 60 h 300"/>
                  <a:gd name="T90" fmla="*/ 378 w 552"/>
                  <a:gd name="T91" fmla="*/ 42 h 300"/>
                  <a:gd name="T92" fmla="*/ 390 w 552"/>
                  <a:gd name="T93" fmla="*/ 54 h 300"/>
                  <a:gd name="T94" fmla="*/ 390 w 552"/>
                  <a:gd name="T95" fmla="*/ 66 h 300"/>
                  <a:gd name="T96" fmla="*/ 402 w 552"/>
                  <a:gd name="T97" fmla="*/ 72 h 300"/>
                  <a:gd name="T98" fmla="*/ 402 w 552"/>
                  <a:gd name="T99" fmla="*/ 96 h 300"/>
                  <a:gd name="T100" fmla="*/ 438 w 552"/>
                  <a:gd name="T101" fmla="*/ 84 h 300"/>
                  <a:gd name="T102" fmla="*/ 444 w 552"/>
                  <a:gd name="T103" fmla="*/ 72 h 300"/>
                  <a:gd name="T104" fmla="*/ 474 w 552"/>
                  <a:gd name="T105" fmla="*/ 60 h 30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52" h="300">
                    <a:moveTo>
                      <a:pt x="480" y="54"/>
                    </a:moveTo>
                    <a:lnTo>
                      <a:pt x="486" y="48"/>
                    </a:lnTo>
                    <a:lnTo>
                      <a:pt x="492" y="42"/>
                    </a:lnTo>
                    <a:lnTo>
                      <a:pt x="504" y="42"/>
                    </a:lnTo>
                    <a:lnTo>
                      <a:pt x="522" y="36"/>
                    </a:lnTo>
                    <a:lnTo>
                      <a:pt x="534" y="24"/>
                    </a:lnTo>
                    <a:lnTo>
                      <a:pt x="540" y="18"/>
                    </a:lnTo>
                    <a:lnTo>
                      <a:pt x="546" y="18"/>
                    </a:lnTo>
                    <a:lnTo>
                      <a:pt x="546" y="24"/>
                    </a:lnTo>
                    <a:lnTo>
                      <a:pt x="552" y="24"/>
                    </a:lnTo>
                    <a:lnTo>
                      <a:pt x="546" y="36"/>
                    </a:lnTo>
                    <a:lnTo>
                      <a:pt x="540" y="48"/>
                    </a:lnTo>
                    <a:lnTo>
                      <a:pt x="552" y="54"/>
                    </a:lnTo>
                    <a:lnTo>
                      <a:pt x="546" y="60"/>
                    </a:lnTo>
                    <a:lnTo>
                      <a:pt x="528" y="66"/>
                    </a:lnTo>
                    <a:lnTo>
                      <a:pt x="522" y="78"/>
                    </a:lnTo>
                    <a:lnTo>
                      <a:pt x="510" y="84"/>
                    </a:lnTo>
                    <a:lnTo>
                      <a:pt x="510" y="90"/>
                    </a:lnTo>
                    <a:lnTo>
                      <a:pt x="516" y="90"/>
                    </a:lnTo>
                    <a:lnTo>
                      <a:pt x="522" y="90"/>
                    </a:lnTo>
                    <a:lnTo>
                      <a:pt x="528" y="96"/>
                    </a:lnTo>
                    <a:lnTo>
                      <a:pt x="522" y="102"/>
                    </a:lnTo>
                    <a:lnTo>
                      <a:pt x="516" y="102"/>
                    </a:lnTo>
                    <a:lnTo>
                      <a:pt x="510" y="102"/>
                    </a:lnTo>
                    <a:lnTo>
                      <a:pt x="498" y="102"/>
                    </a:lnTo>
                    <a:lnTo>
                      <a:pt x="492" y="102"/>
                    </a:lnTo>
                    <a:lnTo>
                      <a:pt x="486" y="102"/>
                    </a:lnTo>
                    <a:lnTo>
                      <a:pt x="480" y="108"/>
                    </a:lnTo>
                    <a:lnTo>
                      <a:pt x="486" y="114"/>
                    </a:lnTo>
                    <a:lnTo>
                      <a:pt x="486" y="120"/>
                    </a:lnTo>
                    <a:lnTo>
                      <a:pt x="486" y="132"/>
                    </a:lnTo>
                    <a:lnTo>
                      <a:pt x="480" y="138"/>
                    </a:lnTo>
                    <a:lnTo>
                      <a:pt x="480" y="144"/>
                    </a:lnTo>
                    <a:lnTo>
                      <a:pt x="480" y="138"/>
                    </a:lnTo>
                    <a:lnTo>
                      <a:pt x="474" y="132"/>
                    </a:lnTo>
                    <a:lnTo>
                      <a:pt x="474" y="138"/>
                    </a:lnTo>
                    <a:lnTo>
                      <a:pt x="468" y="132"/>
                    </a:lnTo>
                    <a:lnTo>
                      <a:pt x="462" y="132"/>
                    </a:lnTo>
                    <a:lnTo>
                      <a:pt x="468" y="138"/>
                    </a:lnTo>
                    <a:lnTo>
                      <a:pt x="468" y="144"/>
                    </a:lnTo>
                    <a:lnTo>
                      <a:pt x="468" y="150"/>
                    </a:lnTo>
                    <a:lnTo>
                      <a:pt x="462" y="150"/>
                    </a:lnTo>
                    <a:lnTo>
                      <a:pt x="462" y="162"/>
                    </a:lnTo>
                    <a:lnTo>
                      <a:pt x="462" y="168"/>
                    </a:lnTo>
                    <a:lnTo>
                      <a:pt x="468" y="168"/>
                    </a:lnTo>
                    <a:lnTo>
                      <a:pt x="468" y="174"/>
                    </a:lnTo>
                    <a:lnTo>
                      <a:pt x="462" y="174"/>
                    </a:lnTo>
                    <a:lnTo>
                      <a:pt x="456" y="180"/>
                    </a:lnTo>
                    <a:lnTo>
                      <a:pt x="456" y="186"/>
                    </a:lnTo>
                    <a:lnTo>
                      <a:pt x="420" y="222"/>
                    </a:lnTo>
                    <a:lnTo>
                      <a:pt x="414" y="222"/>
                    </a:lnTo>
                    <a:lnTo>
                      <a:pt x="414" y="234"/>
                    </a:lnTo>
                    <a:lnTo>
                      <a:pt x="414" y="240"/>
                    </a:lnTo>
                    <a:lnTo>
                      <a:pt x="414" y="246"/>
                    </a:lnTo>
                    <a:lnTo>
                      <a:pt x="420" y="258"/>
                    </a:lnTo>
                    <a:lnTo>
                      <a:pt x="426" y="270"/>
                    </a:lnTo>
                    <a:lnTo>
                      <a:pt x="426" y="276"/>
                    </a:lnTo>
                    <a:lnTo>
                      <a:pt x="432" y="282"/>
                    </a:lnTo>
                    <a:lnTo>
                      <a:pt x="426" y="300"/>
                    </a:lnTo>
                    <a:lnTo>
                      <a:pt x="420" y="300"/>
                    </a:lnTo>
                    <a:lnTo>
                      <a:pt x="414" y="294"/>
                    </a:lnTo>
                    <a:lnTo>
                      <a:pt x="408" y="288"/>
                    </a:lnTo>
                    <a:lnTo>
                      <a:pt x="402" y="276"/>
                    </a:lnTo>
                    <a:lnTo>
                      <a:pt x="396" y="258"/>
                    </a:lnTo>
                    <a:lnTo>
                      <a:pt x="396" y="252"/>
                    </a:lnTo>
                    <a:lnTo>
                      <a:pt x="390" y="246"/>
                    </a:lnTo>
                    <a:lnTo>
                      <a:pt x="384" y="240"/>
                    </a:lnTo>
                    <a:lnTo>
                      <a:pt x="360" y="240"/>
                    </a:lnTo>
                    <a:lnTo>
                      <a:pt x="342" y="240"/>
                    </a:lnTo>
                    <a:lnTo>
                      <a:pt x="336" y="240"/>
                    </a:lnTo>
                    <a:lnTo>
                      <a:pt x="330" y="246"/>
                    </a:lnTo>
                    <a:lnTo>
                      <a:pt x="324" y="246"/>
                    </a:lnTo>
                    <a:lnTo>
                      <a:pt x="306" y="246"/>
                    </a:lnTo>
                    <a:lnTo>
                      <a:pt x="294" y="246"/>
                    </a:lnTo>
                    <a:lnTo>
                      <a:pt x="288" y="246"/>
                    </a:lnTo>
                    <a:lnTo>
                      <a:pt x="282" y="252"/>
                    </a:lnTo>
                    <a:lnTo>
                      <a:pt x="264" y="258"/>
                    </a:lnTo>
                    <a:lnTo>
                      <a:pt x="258" y="276"/>
                    </a:lnTo>
                    <a:lnTo>
                      <a:pt x="258" y="282"/>
                    </a:lnTo>
                    <a:lnTo>
                      <a:pt x="258" y="288"/>
                    </a:lnTo>
                    <a:lnTo>
                      <a:pt x="246" y="282"/>
                    </a:lnTo>
                    <a:lnTo>
                      <a:pt x="240" y="270"/>
                    </a:lnTo>
                    <a:lnTo>
                      <a:pt x="234" y="258"/>
                    </a:lnTo>
                    <a:lnTo>
                      <a:pt x="228" y="252"/>
                    </a:lnTo>
                    <a:lnTo>
                      <a:pt x="222" y="252"/>
                    </a:lnTo>
                    <a:lnTo>
                      <a:pt x="216" y="252"/>
                    </a:lnTo>
                    <a:lnTo>
                      <a:pt x="210" y="252"/>
                    </a:lnTo>
                    <a:lnTo>
                      <a:pt x="204" y="252"/>
                    </a:lnTo>
                    <a:lnTo>
                      <a:pt x="198" y="252"/>
                    </a:lnTo>
                    <a:lnTo>
                      <a:pt x="192" y="246"/>
                    </a:lnTo>
                    <a:lnTo>
                      <a:pt x="186" y="234"/>
                    </a:lnTo>
                    <a:lnTo>
                      <a:pt x="180" y="222"/>
                    </a:lnTo>
                    <a:lnTo>
                      <a:pt x="174" y="222"/>
                    </a:lnTo>
                    <a:lnTo>
                      <a:pt x="168" y="222"/>
                    </a:lnTo>
                    <a:lnTo>
                      <a:pt x="162" y="222"/>
                    </a:lnTo>
                    <a:lnTo>
                      <a:pt x="156" y="228"/>
                    </a:lnTo>
                    <a:lnTo>
                      <a:pt x="144" y="228"/>
                    </a:lnTo>
                    <a:lnTo>
                      <a:pt x="138" y="228"/>
                    </a:lnTo>
                    <a:lnTo>
                      <a:pt x="120" y="222"/>
                    </a:lnTo>
                    <a:lnTo>
                      <a:pt x="108" y="222"/>
                    </a:lnTo>
                    <a:lnTo>
                      <a:pt x="96" y="216"/>
                    </a:lnTo>
                    <a:lnTo>
                      <a:pt x="90" y="210"/>
                    </a:lnTo>
                    <a:lnTo>
                      <a:pt x="84" y="216"/>
                    </a:lnTo>
                    <a:lnTo>
                      <a:pt x="72" y="222"/>
                    </a:lnTo>
                    <a:lnTo>
                      <a:pt x="66" y="210"/>
                    </a:lnTo>
                    <a:lnTo>
                      <a:pt x="60" y="204"/>
                    </a:lnTo>
                    <a:lnTo>
                      <a:pt x="60" y="198"/>
                    </a:lnTo>
                    <a:lnTo>
                      <a:pt x="54" y="198"/>
                    </a:lnTo>
                    <a:lnTo>
                      <a:pt x="48" y="192"/>
                    </a:lnTo>
                    <a:lnTo>
                      <a:pt x="42" y="192"/>
                    </a:lnTo>
                    <a:lnTo>
                      <a:pt x="36" y="180"/>
                    </a:lnTo>
                    <a:lnTo>
                      <a:pt x="18" y="162"/>
                    </a:lnTo>
                    <a:lnTo>
                      <a:pt x="6" y="138"/>
                    </a:lnTo>
                    <a:lnTo>
                      <a:pt x="0" y="114"/>
                    </a:lnTo>
                    <a:lnTo>
                      <a:pt x="0" y="96"/>
                    </a:lnTo>
                    <a:lnTo>
                      <a:pt x="0" y="84"/>
                    </a:lnTo>
                    <a:lnTo>
                      <a:pt x="6" y="78"/>
                    </a:lnTo>
                    <a:lnTo>
                      <a:pt x="6" y="72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2" y="0"/>
                    </a:lnTo>
                    <a:lnTo>
                      <a:pt x="282" y="0"/>
                    </a:lnTo>
                    <a:lnTo>
                      <a:pt x="294" y="6"/>
                    </a:lnTo>
                    <a:lnTo>
                      <a:pt x="312" y="6"/>
                    </a:lnTo>
                    <a:lnTo>
                      <a:pt x="312" y="12"/>
                    </a:lnTo>
                    <a:lnTo>
                      <a:pt x="318" y="12"/>
                    </a:lnTo>
                    <a:lnTo>
                      <a:pt x="324" y="12"/>
                    </a:lnTo>
                    <a:lnTo>
                      <a:pt x="324" y="18"/>
                    </a:lnTo>
                    <a:lnTo>
                      <a:pt x="318" y="24"/>
                    </a:lnTo>
                    <a:lnTo>
                      <a:pt x="312" y="30"/>
                    </a:lnTo>
                    <a:lnTo>
                      <a:pt x="318" y="30"/>
                    </a:lnTo>
                    <a:lnTo>
                      <a:pt x="330" y="30"/>
                    </a:lnTo>
                    <a:lnTo>
                      <a:pt x="342" y="30"/>
                    </a:lnTo>
                    <a:lnTo>
                      <a:pt x="348" y="24"/>
                    </a:lnTo>
                    <a:lnTo>
                      <a:pt x="348" y="30"/>
                    </a:lnTo>
                    <a:lnTo>
                      <a:pt x="360" y="30"/>
                    </a:lnTo>
                    <a:lnTo>
                      <a:pt x="366" y="30"/>
                    </a:lnTo>
                    <a:lnTo>
                      <a:pt x="372" y="30"/>
                    </a:lnTo>
                    <a:lnTo>
                      <a:pt x="378" y="30"/>
                    </a:lnTo>
                    <a:lnTo>
                      <a:pt x="378" y="36"/>
                    </a:lnTo>
                    <a:lnTo>
                      <a:pt x="372" y="42"/>
                    </a:lnTo>
                    <a:lnTo>
                      <a:pt x="366" y="42"/>
                    </a:lnTo>
                    <a:lnTo>
                      <a:pt x="360" y="42"/>
                    </a:lnTo>
                    <a:lnTo>
                      <a:pt x="354" y="42"/>
                    </a:lnTo>
                    <a:lnTo>
                      <a:pt x="354" y="54"/>
                    </a:lnTo>
                    <a:lnTo>
                      <a:pt x="360" y="60"/>
                    </a:lnTo>
                    <a:lnTo>
                      <a:pt x="354" y="66"/>
                    </a:lnTo>
                    <a:lnTo>
                      <a:pt x="354" y="78"/>
                    </a:lnTo>
                    <a:lnTo>
                      <a:pt x="348" y="90"/>
                    </a:lnTo>
                    <a:lnTo>
                      <a:pt x="354" y="96"/>
                    </a:lnTo>
                    <a:lnTo>
                      <a:pt x="360" y="96"/>
                    </a:lnTo>
                    <a:lnTo>
                      <a:pt x="366" y="90"/>
                    </a:lnTo>
                    <a:lnTo>
                      <a:pt x="366" y="78"/>
                    </a:lnTo>
                    <a:lnTo>
                      <a:pt x="372" y="60"/>
                    </a:lnTo>
                    <a:lnTo>
                      <a:pt x="378" y="48"/>
                    </a:lnTo>
                    <a:lnTo>
                      <a:pt x="378" y="42"/>
                    </a:lnTo>
                    <a:lnTo>
                      <a:pt x="384" y="42"/>
                    </a:lnTo>
                    <a:lnTo>
                      <a:pt x="390" y="48"/>
                    </a:lnTo>
                    <a:lnTo>
                      <a:pt x="390" y="54"/>
                    </a:lnTo>
                    <a:lnTo>
                      <a:pt x="390" y="66"/>
                    </a:lnTo>
                    <a:lnTo>
                      <a:pt x="396" y="66"/>
                    </a:lnTo>
                    <a:lnTo>
                      <a:pt x="402" y="72"/>
                    </a:lnTo>
                    <a:lnTo>
                      <a:pt x="402" y="78"/>
                    </a:lnTo>
                    <a:lnTo>
                      <a:pt x="402" y="90"/>
                    </a:lnTo>
                    <a:lnTo>
                      <a:pt x="402" y="96"/>
                    </a:lnTo>
                    <a:lnTo>
                      <a:pt x="414" y="96"/>
                    </a:lnTo>
                    <a:lnTo>
                      <a:pt x="426" y="90"/>
                    </a:lnTo>
                    <a:lnTo>
                      <a:pt x="438" y="84"/>
                    </a:lnTo>
                    <a:lnTo>
                      <a:pt x="444" y="78"/>
                    </a:lnTo>
                    <a:lnTo>
                      <a:pt x="444" y="72"/>
                    </a:lnTo>
                    <a:lnTo>
                      <a:pt x="450" y="66"/>
                    </a:lnTo>
                    <a:lnTo>
                      <a:pt x="462" y="66"/>
                    </a:lnTo>
                    <a:lnTo>
                      <a:pt x="468" y="66"/>
                    </a:lnTo>
                    <a:lnTo>
                      <a:pt x="474" y="60"/>
                    </a:lnTo>
                    <a:lnTo>
                      <a:pt x="480" y="5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855" name="Freeform 845"/>
              <p:cNvSpPr>
                <a:spLocks/>
              </p:cNvSpPr>
              <p:nvPr/>
            </p:nvSpPr>
            <p:spPr bwMode="auto">
              <a:xfrm>
                <a:off x="3535" y="918"/>
                <a:ext cx="552" cy="300"/>
              </a:xfrm>
              <a:custGeom>
                <a:avLst/>
                <a:gdLst>
                  <a:gd name="T0" fmla="*/ 492 w 552"/>
                  <a:gd name="T1" fmla="*/ 42 h 300"/>
                  <a:gd name="T2" fmla="*/ 534 w 552"/>
                  <a:gd name="T3" fmla="*/ 24 h 300"/>
                  <a:gd name="T4" fmla="*/ 546 w 552"/>
                  <a:gd name="T5" fmla="*/ 24 h 300"/>
                  <a:gd name="T6" fmla="*/ 540 w 552"/>
                  <a:gd name="T7" fmla="*/ 48 h 300"/>
                  <a:gd name="T8" fmla="*/ 528 w 552"/>
                  <a:gd name="T9" fmla="*/ 66 h 300"/>
                  <a:gd name="T10" fmla="*/ 510 w 552"/>
                  <a:gd name="T11" fmla="*/ 90 h 300"/>
                  <a:gd name="T12" fmla="*/ 528 w 552"/>
                  <a:gd name="T13" fmla="*/ 96 h 300"/>
                  <a:gd name="T14" fmla="*/ 510 w 552"/>
                  <a:gd name="T15" fmla="*/ 102 h 300"/>
                  <a:gd name="T16" fmla="*/ 486 w 552"/>
                  <a:gd name="T17" fmla="*/ 102 h 300"/>
                  <a:gd name="T18" fmla="*/ 486 w 552"/>
                  <a:gd name="T19" fmla="*/ 120 h 300"/>
                  <a:gd name="T20" fmla="*/ 480 w 552"/>
                  <a:gd name="T21" fmla="*/ 144 h 300"/>
                  <a:gd name="T22" fmla="*/ 474 w 552"/>
                  <a:gd name="T23" fmla="*/ 138 h 300"/>
                  <a:gd name="T24" fmla="*/ 468 w 552"/>
                  <a:gd name="T25" fmla="*/ 138 h 300"/>
                  <a:gd name="T26" fmla="*/ 462 w 552"/>
                  <a:gd name="T27" fmla="*/ 150 h 300"/>
                  <a:gd name="T28" fmla="*/ 468 w 552"/>
                  <a:gd name="T29" fmla="*/ 168 h 300"/>
                  <a:gd name="T30" fmla="*/ 456 w 552"/>
                  <a:gd name="T31" fmla="*/ 180 h 300"/>
                  <a:gd name="T32" fmla="*/ 414 w 552"/>
                  <a:gd name="T33" fmla="*/ 222 h 300"/>
                  <a:gd name="T34" fmla="*/ 414 w 552"/>
                  <a:gd name="T35" fmla="*/ 246 h 300"/>
                  <a:gd name="T36" fmla="*/ 426 w 552"/>
                  <a:gd name="T37" fmla="*/ 276 h 300"/>
                  <a:gd name="T38" fmla="*/ 420 w 552"/>
                  <a:gd name="T39" fmla="*/ 300 h 300"/>
                  <a:gd name="T40" fmla="*/ 402 w 552"/>
                  <a:gd name="T41" fmla="*/ 276 h 300"/>
                  <a:gd name="T42" fmla="*/ 390 w 552"/>
                  <a:gd name="T43" fmla="*/ 246 h 300"/>
                  <a:gd name="T44" fmla="*/ 342 w 552"/>
                  <a:gd name="T45" fmla="*/ 240 h 300"/>
                  <a:gd name="T46" fmla="*/ 324 w 552"/>
                  <a:gd name="T47" fmla="*/ 246 h 300"/>
                  <a:gd name="T48" fmla="*/ 288 w 552"/>
                  <a:gd name="T49" fmla="*/ 246 h 300"/>
                  <a:gd name="T50" fmla="*/ 258 w 552"/>
                  <a:gd name="T51" fmla="*/ 276 h 300"/>
                  <a:gd name="T52" fmla="*/ 246 w 552"/>
                  <a:gd name="T53" fmla="*/ 282 h 300"/>
                  <a:gd name="T54" fmla="*/ 228 w 552"/>
                  <a:gd name="T55" fmla="*/ 252 h 300"/>
                  <a:gd name="T56" fmla="*/ 210 w 552"/>
                  <a:gd name="T57" fmla="*/ 252 h 300"/>
                  <a:gd name="T58" fmla="*/ 192 w 552"/>
                  <a:gd name="T59" fmla="*/ 246 h 300"/>
                  <a:gd name="T60" fmla="*/ 174 w 552"/>
                  <a:gd name="T61" fmla="*/ 222 h 300"/>
                  <a:gd name="T62" fmla="*/ 156 w 552"/>
                  <a:gd name="T63" fmla="*/ 228 h 300"/>
                  <a:gd name="T64" fmla="*/ 120 w 552"/>
                  <a:gd name="T65" fmla="*/ 222 h 300"/>
                  <a:gd name="T66" fmla="*/ 90 w 552"/>
                  <a:gd name="T67" fmla="*/ 210 h 300"/>
                  <a:gd name="T68" fmla="*/ 66 w 552"/>
                  <a:gd name="T69" fmla="*/ 210 h 300"/>
                  <a:gd name="T70" fmla="*/ 54 w 552"/>
                  <a:gd name="T71" fmla="*/ 198 h 300"/>
                  <a:gd name="T72" fmla="*/ 36 w 552"/>
                  <a:gd name="T73" fmla="*/ 180 h 300"/>
                  <a:gd name="T74" fmla="*/ 0 w 552"/>
                  <a:gd name="T75" fmla="*/ 114 h 300"/>
                  <a:gd name="T76" fmla="*/ 6 w 552"/>
                  <a:gd name="T77" fmla="*/ 78 h 300"/>
                  <a:gd name="T78" fmla="*/ 6 w 552"/>
                  <a:gd name="T79" fmla="*/ 60 h 300"/>
                  <a:gd name="T80" fmla="*/ 12 w 552"/>
                  <a:gd name="T81" fmla="*/ 0 h 300"/>
                  <a:gd name="T82" fmla="*/ 312 w 552"/>
                  <a:gd name="T83" fmla="*/ 6 h 300"/>
                  <a:gd name="T84" fmla="*/ 324 w 552"/>
                  <a:gd name="T85" fmla="*/ 12 h 300"/>
                  <a:gd name="T86" fmla="*/ 312 w 552"/>
                  <a:gd name="T87" fmla="*/ 30 h 300"/>
                  <a:gd name="T88" fmla="*/ 342 w 552"/>
                  <a:gd name="T89" fmla="*/ 30 h 300"/>
                  <a:gd name="T90" fmla="*/ 360 w 552"/>
                  <a:gd name="T91" fmla="*/ 30 h 300"/>
                  <a:gd name="T92" fmla="*/ 378 w 552"/>
                  <a:gd name="T93" fmla="*/ 30 h 300"/>
                  <a:gd name="T94" fmla="*/ 366 w 552"/>
                  <a:gd name="T95" fmla="*/ 42 h 300"/>
                  <a:gd name="T96" fmla="*/ 354 w 552"/>
                  <a:gd name="T97" fmla="*/ 54 h 300"/>
                  <a:gd name="T98" fmla="*/ 354 w 552"/>
                  <a:gd name="T99" fmla="*/ 78 h 300"/>
                  <a:gd name="T100" fmla="*/ 360 w 552"/>
                  <a:gd name="T101" fmla="*/ 96 h 300"/>
                  <a:gd name="T102" fmla="*/ 372 w 552"/>
                  <a:gd name="T103" fmla="*/ 60 h 300"/>
                  <a:gd name="T104" fmla="*/ 384 w 552"/>
                  <a:gd name="T105" fmla="*/ 42 h 300"/>
                  <a:gd name="T106" fmla="*/ 390 w 552"/>
                  <a:gd name="T107" fmla="*/ 66 h 300"/>
                  <a:gd name="T108" fmla="*/ 402 w 552"/>
                  <a:gd name="T109" fmla="*/ 78 h 300"/>
                  <a:gd name="T110" fmla="*/ 414 w 552"/>
                  <a:gd name="T111" fmla="*/ 96 h 300"/>
                  <a:gd name="T112" fmla="*/ 444 w 552"/>
                  <a:gd name="T113" fmla="*/ 78 h 300"/>
                  <a:gd name="T114" fmla="*/ 462 w 552"/>
                  <a:gd name="T115" fmla="*/ 66 h 300"/>
                  <a:gd name="T116" fmla="*/ 480 w 552"/>
                  <a:gd name="T117" fmla="*/ 54 h 30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552" h="300">
                    <a:moveTo>
                      <a:pt x="480" y="54"/>
                    </a:moveTo>
                    <a:lnTo>
                      <a:pt x="486" y="48"/>
                    </a:lnTo>
                    <a:lnTo>
                      <a:pt x="492" y="42"/>
                    </a:lnTo>
                    <a:lnTo>
                      <a:pt x="504" y="42"/>
                    </a:lnTo>
                    <a:lnTo>
                      <a:pt x="522" y="36"/>
                    </a:lnTo>
                    <a:lnTo>
                      <a:pt x="534" y="24"/>
                    </a:lnTo>
                    <a:lnTo>
                      <a:pt x="540" y="18"/>
                    </a:lnTo>
                    <a:lnTo>
                      <a:pt x="546" y="18"/>
                    </a:lnTo>
                    <a:lnTo>
                      <a:pt x="546" y="24"/>
                    </a:lnTo>
                    <a:lnTo>
                      <a:pt x="552" y="24"/>
                    </a:lnTo>
                    <a:lnTo>
                      <a:pt x="546" y="36"/>
                    </a:lnTo>
                    <a:lnTo>
                      <a:pt x="540" y="48"/>
                    </a:lnTo>
                    <a:lnTo>
                      <a:pt x="552" y="54"/>
                    </a:lnTo>
                    <a:lnTo>
                      <a:pt x="546" y="60"/>
                    </a:lnTo>
                    <a:lnTo>
                      <a:pt x="528" y="66"/>
                    </a:lnTo>
                    <a:lnTo>
                      <a:pt x="522" y="78"/>
                    </a:lnTo>
                    <a:lnTo>
                      <a:pt x="510" y="84"/>
                    </a:lnTo>
                    <a:lnTo>
                      <a:pt x="510" y="90"/>
                    </a:lnTo>
                    <a:lnTo>
                      <a:pt x="516" y="90"/>
                    </a:lnTo>
                    <a:lnTo>
                      <a:pt x="522" y="90"/>
                    </a:lnTo>
                    <a:lnTo>
                      <a:pt x="528" y="96"/>
                    </a:lnTo>
                    <a:lnTo>
                      <a:pt x="522" y="102"/>
                    </a:lnTo>
                    <a:lnTo>
                      <a:pt x="516" y="102"/>
                    </a:lnTo>
                    <a:lnTo>
                      <a:pt x="510" y="102"/>
                    </a:lnTo>
                    <a:lnTo>
                      <a:pt x="498" y="102"/>
                    </a:lnTo>
                    <a:lnTo>
                      <a:pt x="492" y="102"/>
                    </a:lnTo>
                    <a:lnTo>
                      <a:pt x="486" y="102"/>
                    </a:lnTo>
                    <a:lnTo>
                      <a:pt x="480" y="108"/>
                    </a:lnTo>
                    <a:lnTo>
                      <a:pt x="486" y="114"/>
                    </a:lnTo>
                    <a:lnTo>
                      <a:pt x="486" y="120"/>
                    </a:lnTo>
                    <a:lnTo>
                      <a:pt x="486" y="132"/>
                    </a:lnTo>
                    <a:lnTo>
                      <a:pt x="480" y="138"/>
                    </a:lnTo>
                    <a:lnTo>
                      <a:pt x="480" y="144"/>
                    </a:lnTo>
                    <a:lnTo>
                      <a:pt x="480" y="138"/>
                    </a:lnTo>
                    <a:lnTo>
                      <a:pt x="474" y="132"/>
                    </a:lnTo>
                    <a:lnTo>
                      <a:pt x="474" y="138"/>
                    </a:lnTo>
                    <a:lnTo>
                      <a:pt x="468" y="132"/>
                    </a:lnTo>
                    <a:lnTo>
                      <a:pt x="462" y="132"/>
                    </a:lnTo>
                    <a:lnTo>
                      <a:pt x="468" y="138"/>
                    </a:lnTo>
                    <a:lnTo>
                      <a:pt x="468" y="144"/>
                    </a:lnTo>
                    <a:lnTo>
                      <a:pt x="468" y="150"/>
                    </a:lnTo>
                    <a:lnTo>
                      <a:pt x="462" y="150"/>
                    </a:lnTo>
                    <a:lnTo>
                      <a:pt x="462" y="162"/>
                    </a:lnTo>
                    <a:lnTo>
                      <a:pt x="462" y="168"/>
                    </a:lnTo>
                    <a:lnTo>
                      <a:pt x="468" y="168"/>
                    </a:lnTo>
                    <a:lnTo>
                      <a:pt x="468" y="174"/>
                    </a:lnTo>
                    <a:lnTo>
                      <a:pt x="462" y="174"/>
                    </a:lnTo>
                    <a:lnTo>
                      <a:pt x="456" y="180"/>
                    </a:lnTo>
                    <a:lnTo>
                      <a:pt x="456" y="186"/>
                    </a:lnTo>
                    <a:lnTo>
                      <a:pt x="420" y="222"/>
                    </a:lnTo>
                    <a:lnTo>
                      <a:pt x="414" y="222"/>
                    </a:lnTo>
                    <a:lnTo>
                      <a:pt x="414" y="234"/>
                    </a:lnTo>
                    <a:lnTo>
                      <a:pt x="414" y="240"/>
                    </a:lnTo>
                    <a:lnTo>
                      <a:pt x="414" y="246"/>
                    </a:lnTo>
                    <a:lnTo>
                      <a:pt x="420" y="258"/>
                    </a:lnTo>
                    <a:lnTo>
                      <a:pt x="426" y="270"/>
                    </a:lnTo>
                    <a:lnTo>
                      <a:pt x="426" y="276"/>
                    </a:lnTo>
                    <a:lnTo>
                      <a:pt x="432" y="282"/>
                    </a:lnTo>
                    <a:lnTo>
                      <a:pt x="426" y="300"/>
                    </a:lnTo>
                    <a:lnTo>
                      <a:pt x="420" y="300"/>
                    </a:lnTo>
                    <a:lnTo>
                      <a:pt x="414" y="294"/>
                    </a:lnTo>
                    <a:lnTo>
                      <a:pt x="408" y="288"/>
                    </a:lnTo>
                    <a:lnTo>
                      <a:pt x="402" y="276"/>
                    </a:lnTo>
                    <a:lnTo>
                      <a:pt x="396" y="258"/>
                    </a:lnTo>
                    <a:lnTo>
                      <a:pt x="396" y="252"/>
                    </a:lnTo>
                    <a:lnTo>
                      <a:pt x="390" y="246"/>
                    </a:lnTo>
                    <a:lnTo>
                      <a:pt x="384" y="240"/>
                    </a:lnTo>
                    <a:lnTo>
                      <a:pt x="360" y="240"/>
                    </a:lnTo>
                    <a:lnTo>
                      <a:pt x="342" y="240"/>
                    </a:lnTo>
                    <a:lnTo>
                      <a:pt x="336" y="240"/>
                    </a:lnTo>
                    <a:lnTo>
                      <a:pt x="330" y="246"/>
                    </a:lnTo>
                    <a:lnTo>
                      <a:pt x="324" y="246"/>
                    </a:lnTo>
                    <a:lnTo>
                      <a:pt x="306" y="246"/>
                    </a:lnTo>
                    <a:lnTo>
                      <a:pt x="294" y="246"/>
                    </a:lnTo>
                    <a:lnTo>
                      <a:pt x="288" y="246"/>
                    </a:lnTo>
                    <a:lnTo>
                      <a:pt x="282" y="252"/>
                    </a:lnTo>
                    <a:lnTo>
                      <a:pt x="264" y="258"/>
                    </a:lnTo>
                    <a:lnTo>
                      <a:pt x="258" y="276"/>
                    </a:lnTo>
                    <a:lnTo>
                      <a:pt x="258" y="282"/>
                    </a:lnTo>
                    <a:lnTo>
                      <a:pt x="258" y="288"/>
                    </a:lnTo>
                    <a:lnTo>
                      <a:pt x="246" y="282"/>
                    </a:lnTo>
                    <a:lnTo>
                      <a:pt x="240" y="270"/>
                    </a:lnTo>
                    <a:lnTo>
                      <a:pt x="234" y="258"/>
                    </a:lnTo>
                    <a:lnTo>
                      <a:pt x="228" y="252"/>
                    </a:lnTo>
                    <a:lnTo>
                      <a:pt x="222" y="252"/>
                    </a:lnTo>
                    <a:lnTo>
                      <a:pt x="216" y="252"/>
                    </a:lnTo>
                    <a:lnTo>
                      <a:pt x="210" y="252"/>
                    </a:lnTo>
                    <a:lnTo>
                      <a:pt x="204" y="252"/>
                    </a:lnTo>
                    <a:lnTo>
                      <a:pt x="198" y="252"/>
                    </a:lnTo>
                    <a:lnTo>
                      <a:pt x="192" y="246"/>
                    </a:lnTo>
                    <a:lnTo>
                      <a:pt x="186" y="234"/>
                    </a:lnTo>
                    <a:lnTo>
                      <a:pt x="180" y="222"/>
                    </a:lnTo>
                    <a:lnTo>
                      <a:pt x="174" y="222"/>
                    </a:lnTo>
                    <a:lnTo>
                      <a:pt x="168" y="222"/>
                    </a:lnTo>
                    <a:lnTo>
                      <a:pt x="162" y="222"/>
                    </a:lnTo>
                    <a:lnTo>
                      <a:pt x="156" y="228"/>
                    </a:lnTo>
                    <a:lnTo>
                      <a:pt x="144" y="228"/>
                    </a:lnTo>
                    <a:lnTo>
                      <a:pt x="138" y="228"/>
                    </a:lnTo>
                    <a:lnTo>
                      <a:pt x="120" y="222"/>
                    </a:lnTo>
                    <a:lnTo>
                      <a:pt x="108" y="222"/>
                    </a:lnTo>
                    <a:lnTo>
                      <a:pt x="96" y="216"/>
                    </a:lnTo>
                    <a:lnTo>
                      <a:pt x="90" y="210"/>
                    </a:lnTo>
                    <a:lnTo>
                      <a:pt x="84" y="216"/>
                    </a:lnTo>
                    <a:lnTo>
                      <a:pt x="72" y="222"/>
                    </a:lnTo>
                    <a:lnTo>
                      <a:pt x="66" y="210"/>
                    </a:lnTo>
                    <a:lnTo>
                      <a:pt x="60" y="204"/>
                    </a:lnTo>
                    <a:lnTo>
                      <a:pt x="60" y="198"/>
                    </a:lnTo>
                    <a:lnTo>
                      <a:pt x="54" y="198"/>
                    </a:lnTo>
                    <a:lnTo>
                      <a:pt x="48" y="192"/>
                    </a:lnTo>
                    <a:lnTo>
                      <a:pt x="42" y="192"/>
                    </a:lnTo>
                    <a:lnTo>
                      <a:pt x="36" y="180"/>
                    </a:lnTo>
                    <a:lnTo>
                      <a:pt x="18" y="162"/>
                    </a:lnTo>
                    <a:lnTo>
                      <a:pt x="6" y="138"/>
                    </a:lnTo>
                    <a:lnTo>
                      <a:pt x="0" y="114"/>
                    </a:lnTo>
                    <a:lnTo>
                      <a:pt x="0" y="96"/>
                    </a:lnTo>
                    <a:lnTo>
                      <a:pt x="0" y="84"/>
                    </a:lnTo>
                    <a:lnTo>
                      <a:pt x="6" y="78"/>
                    </a:lnTo>
                    <a:lnTo>
                      <a:pt x="6" y="72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2" y="0"/>
                    </a:lnTo>
                    <a:lnTo>
                      <a:pt x="282" y="0"/>
                    </a:lnTo>
                    <a:lnTo>
                      <a:pt x="294" y="6"/>
                    </a:lnTo>
                    <a:lnTo>
                      <a:pt x="312" y="6"/>
                    </a:lnTo>
                    <a:lnTo>
                      <a:pt x="312" y="12"/>
                    </a:lnTo>
                    <a:lnTo>
                      <a:pt x="318" y="12"/>
                    </a:lnTo>
                    <a:lnTo>
                      <a:pt x="324" y="12"/>
                    </a:lnTo>
                    <a:lnTo>
                      <a:pt x="324" y="18"/>
                    </a:lnTo>
                    <a:lnTo>
                      <a:pt x="318" y="24"/>
                    </a:lnTo>
                    <a:lnTo>
                      <a:pt x="312" y="30"/>
                    </a:lnTo>
                    <a:lnTo>
                      <a:pt x="318" y="30"/>
                    </a:lnTo>
                    <a:lnTo>
                      <a:pt x="330" y="30"/>
                    </a:lnTo>
                    <a:lnTo>
                      <a:pt x="342" y="30"/>
                    </a:lnTo>
                    <a:lnTo>
                      <a:pt x="348" y="24"/>
                    </a:lnTo>
                    <a:lnTo>
                      <a:pt x="348" y="30"/>
                    </a:lnTo>
                    <a:lnTo>
                      <a:pt x="360" y="30"/>
                    </a:lnTo>
                    <a:lnTo>
                      <a:pt x="366" y="30"/>
                    </a:lnTo>
                    <a:lnTo>
                      <a:pt x="372" y="30"/>
                    </a:lnTo>
                    <a:lnTo>
                      <a:pt x="378" y="30"/>
                    </a:lnTo>
                    <a:lnTo>
                      <a:pt x="378" y="36"/>
                    </a:lnTo>
                    <a:lnTo>
                      <a:pt x="372" y="42"/>
                    </a:lnTo>
                    <a:lnTo>
                      <a:pt x="366" y="42"/>
                    </a:lnTo>
                    <a:lnTo>
                      <a:pt x="360" y="42"/>
                    </a:lnTo>
                    <a:lnTo>
                      <a:pt x="354" y="42"/>
                    </a:lnTo>
                    <a:lnTo>
                      <a:pt x="354" y="54"/>
                    </a:lnTo>
                    <a:lnTo>
                      <a:pt x="360" y="60"/>
                    </a:lnTo>
                    <a:lnTo>
                      <a:pt x="354" y="66"/>
                    </a:lnTo>
                    <a:lnTo>
                      <a:pt x="354" y="78"/>
                    </a:lnTo>
                    <a:lnTo>
                      <a:pt x="348" y="90"/>
                    </a:lnTo>
                    <a:lnTo>
                      <a:pt x="354" y="96"/>
                    </a:lnTo>
                    <a:lnTo>
                      <a:pt x="360" y="96"/>
                    </a:lnTo>
                    <a:lnTo>
                      <a:pt x="366" y="90"/>
                    </a:lnTo>
                    <a:lnTo>
                      <a:pt x="366" y="78"/>
                    </a:lnTo>
                    <a:lnTo>
                      <a:pt x="372" y="60"/>
                    </a:lnTo>
                    <a:lnTo>
                      <a:pt x="378" y="48"/>
                    </a:lnTo>
                    <a:lnTo>
                      <a:pt x="378" y="42"/>
                    </a:lnTo>
                    <a:lnTo>
                      <a:pt x="384" y="42"/>
                    </a:lnTo>
                    <a:lnTo>
                      <a:pt x="390" y="48"/>
                    </a:lnTo>
                    <a:lnTo>
                      <a:pt x="390" y="54"/>
                    </a:lnTo>
                    <a:lnTo>
                      <a:pt x="390" y="66"/>
                    </a:lnTo>
                    <a:lnTo>
                      <a:pt x="396" y="66"/>
                    </a:lnTo>
                    <a:lnTo>
                      <a:pt x="402" y="72"/>
                    </a:lnTo>
                    <a:lnTo>
                      <a:pt x="402" y="78"/>
                    </a:lnTo>
                    <a:lnTo>
                      <a:pt x="402" y="90"/>
                    </a:lnTo>
                    <a:lnTo>
                      <a:pt x="402" y="96"/>
                    </a:lnTo>
                    <a:lnTo>
                      <a:pt x="414" y="96"/>
                    </a:lnTo>
                    <a:lnTo>
                      <a:pt x="426" y="90"/>
                    </a:lnTo>
                    <a:lnTo>
                      <a:pt x="438" y="84"/>
                    </a:lnTo>
                    <a:lnTo>
                      <a:pt x="444" y="78"/>
                    </a:lnTo>
                    <a:lnTo>
                      <a:pt x="444" y="72"/>
                    </a:lnTo>
                    <a:lnTo>
                      <a:pt x="450" y="66"/>
                    </a:lnTo>
                    <a:lnTo>
                      <a:pt x="462" y="66"/>
                    </a:lnTo>
                    <a:lnTo>
                      <a:pt x="468" y="66"/>
                    </a:lnTo>
                    <a:lnTo>
                      <a:pt x="474" y="60"/>
                    </a:lnTo>
                    <a:lnTo>
                      <a:pt x="480" y="5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tlCol="0" anchor="ctr"/>
              <a:lstStyle/>
              <a:p>
                <a:pPr defTabSz="914354"/>
                <a:endParaRPr lang="zh-CN" altLang="en-US" sz="300">
                  <a:solidFill>
                    <a:srgbClr val="0D5661"/>
                  </a:solidFill>
                  <a:latin typeface="微软雅黑" panose="020B0503020204020204" pitchFamily="34" charset="-122"/>
                </a:endParaRPr>
              </a:p>
            </p:txBody>
          </p:sp>
        </p:grpSp>
        <p:sp>
          <p:nvSpPr>
            <p:cNvPr id="776" name="矩形 775"/>
            <p:cNvSpPr/>
            <p:nvPr/>
          </p:nvSpPr>
          <p:spPr>
            <a:xfrm>
              <a:off x="3495570" y="2520638"/>
              <a:ext cx="117300" cy="195430"/>
            </a:xfrm>
            <a:prstGeom prst="rect">
              <a:avLst/>
            </a:prstGeom>
            <a:noFill/>
          </p:spPr>
          <p:txBody>
            <a:bodyPr rtlCol="0" anchor="ctr"/>
            <a:lstStyle/>
            <a:p>
              <a:pPr defTabSz="914354"/>
              <a:endParaRPr lang="zh-CN" altLang="en-US" sz="300" b="1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77" name="矩形 776"/>
            <p:cNvSpPr/>
            <p:nvPr/>
          </p:nvSpPr>
          <p:spPr>
            <a:xfrm>
              <a:off x="1011555" y="1915386"/>
              <a:ext cx="595218" cy="202346"/>
            </a:xfrm>
            <a:prstGeom prst="rect">
              <a:avLst/>
            </a:prstGeom>
            <a:noFill/>
          </p:spPr>
          <p:txBody>
            <a:bodyPr rtlCol="0" anchor="ctr"/>
            <a:lstStyle/>
            <a:p>
              <a:pPr defTabSz="914354"/>
              <a:r>
                <a:rPr lang="zh-CN" altLang="en-US" sz="300" b="1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汉堡</a:t>
              </a:r>
            </a:p>
          </p:txBody>
        </p:sp>
        <p:sp>
          <p:nvSpPr>
            <p:cNvPr id="778" name="矩形 777"/>
            <p:cNvSpPr/>
            <p:nvPr/>
          </p:nvSpPr>
          <p:spPr>
            <a:xfrm>
              <a:off x="998518" y="2240733"/>
              <a:ext cx="657472" cy="195430"/>
            </a:xfrm>
            <a:prstGeom prst="rect">
              <a:avLst/>
            </a:prstGeom>
            <a:noFill/>
          </p:spPr>
          <p:txBody>
            <a:bodyPr rtlCol="0" anchor="ctr"/>
            <a:lstStyle/>
            <a:p>
              <a:pPr defTabSz="914354"/>
              <a:r>
                <a:rPr lang="en-US" altLang="zh-CN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 </a:t>
              </a:r>
              <a:endParaRPr lang="zh-CN" altLang="en-US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79" name="矩形 778"/>
            <p:cNvSpPr/>
            <p:nvPr/>
          </p:nvSpPr>
          <p:spPr>
            <a:xfrm>
              <a:off x="193199" y="2037291"/>
              <a:ext cx="1049315" cy="195430"/>
            </a:xfrm>
            <a:prstGeom prst="rect">
              <a:avLst/>
            </a:prstGeom>
            <a:noFill/>
          </p:spPr>
          <p:txBody>
            <a:bodyPr rtlCol="0" anchor="ctr"/>
            <a:lstStyle/>
            <a:p>
              <a:pPr defTabSz="914354"/>
              <a:r>
                <a:rPr lang="zh-CN" altLang="en-US" sz="300" b="1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阿姆斯特丹</a:t>
              </a:r>
            </a:p>
          </p:txBody>
        </p:sp>
        <p:sp>
          <p:nvSpPr>
            <p:cNvPr id="780" name="椭圆 49"/>
            <p:cNvSpPr/>
            <p:nvPr/>
          </p:nvSpPr>
          <p:spPr>
            <a:xfrm>
              <a:off x="3615255" y="3947692"/>
              <a:ext cx="89853" cy="67793"/>
            </a:xfrm>
            <a:prstGeom prst="ellipse">
              <a:avLst/>
            </a:prstGeom>
            <a:gradFill>
              <a:gsLst>
                <a:gs pos="0">
                  <a:srgbClr val="C00000"/>
                </a:gs>
                <a:gs pos="80000">
                  <a:srgbClr val="C91523"/>
                </a:gs>
                <a:gs pos="100000">
                  <a:srgbClr val="C91523"/>
                </a:gs>
              </a:gsLst>
            </a:gra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81" name="矩形 780"/>
            <p:cNvSpPr/>
            <p:nvPr/>
          </p:nvSpPr>
          <p:spPr>
            <a:xfrm>
              <a:off x="3519508" y="4005236"/>
              <a:ext cx="889369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b="1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墨尔本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82" name="椭圆 49"/>
            <p:cNvSpPr/>
            <p:nvPr/>
          </p:nvSpPr>
          <p:spPr>
            <a:xfrm>
              <a:off x="5484982" y="2610125"/>
              <a:ext cx="89853" cy="67793"/>
            </a:xfrm>
            <a:prstGeom prst="ellipse">
              <a:avLst/>
            </a:prstGeom>
            <a:gradFill>
              <a:gsLst>
                <a:gs pos="0">
                  <a:srgbClr val="C00000"/>
                </a:gs>
                <a:gs pos="80000">
                  <a:srgbClr val="C91523"/>
                </a:gs>
                <a:gs pos="100000">
                  <a:srgbClr val="C91523"/>
                </a:gs>
              </a:gsLst>
            </a:gra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83" name="矩形 782"/>
            <p:cNvSpPr/>
            <p:nvPr/>
          </p:nvSpPr>
          <p:spPr>
            <a:xfrm>
              <a:off x="5083303" y="2698242"/>
              <a:ext cx="889369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b="1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洛杉矶</a:t>
              </a:r>
            </a:p>
          </p:txBody>
        </p:sp>
        <p:sp>
          <p:nvSpPr>
            <p:cNvPr id="784" name="十字星 783"/>
            <p:cNvSpPr/>
            <p:nvPr/>
          </p:nvSpPr>
          <p:spPr bwMode="auto">
            <a:xfrm>
              <a:off x="6237276" y="2781493"/>
              <a:ext cx="94659" cy="90144"/>
            </a:xfrm>
            <a:prstGeom prst="star4">
              <a:avLst/>
            </a:prstGeom>
            <a:solidFill>
              <a:srgbClr val="D01624"/>
            </a:solidFill>
            <a:ln w="9525" cap="flat" cmpd="sng" algn="ctr">
              <a:solidFill>
                <a:srgbClr val="D0162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400">
                <a:solidFill>
                  <a:srgbClr val="777777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85" name="十字星 784"/>
            <p:cNvSpPr/>
            <p:nvPr/>
          </p:nvSpPr>
          <p:spPr bwMode="auto">
            <a:xfrm>
              <a:off x="3217611" y="2575601"/>
              <a:ext cx="74404" cy="77879"/>
            </a:xfrm>
            <a:prstGeom prst="star4">
              <a:avLst/>
            </a:prstGeom>
            <a:solidFill>
              <a:srgbClr val="D01624"/>
            </a:solidFill>
            <a:ln w="9525" cap="flat" cmpd="sng" algn="ctr">
              <a:solidFill>
                <a:srgbClr val="D0162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86" name="十字星 785"/>
            <p:cNvSpPr/>
            <p:nvPr/>
          </p:nvSpPr>
          <p:spPr bwMode="auto">
            <a:xfrm>
              <a:off x="3734850" y="3722670"/>
              <a:ext cx="94658" cy="85968"/>
            </a:xfrm>
            <a:prstGeom prst="star4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87" name="椭圆 49"/>
            <p:cNvSpPr/>
            <p:nvPr/>
          </p:nvSpPr>
          <p:spPr>
            <a:xfrm>
              <a:off x="931152" y="2233434"/>
              <a:ext cx="72810" cy="67793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88" name="椭圆 49"/>
            <p:cNvSpPr/>
            <p:nvPr/>
          </p:nvSpPr>
          <p:spPr>
            <a:xfrm>
              <a:off x="3510570" y="2571245"/>
              <a:ext cx="72810" cy="67793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89" name="十字星 788"/>
            <p:cNvSpPr/>
            <p:nvPr/>
          </p:nvSpPr>
          <p:spPr bwMode="auto">
            <a:xfrm>
              <a:off x="4067354" y="4046825"/>
              <a:ext cx="94658" cy="85968"/>
            </a:xfrm>
            <a:prstGeom prst="star4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0" name="十字星 789"/>
            <p:cNvSpPr/>
            <p:nvPr/>
          </p:nvSpPr>
          <p:spPr bwMode="auto">
            <a:xfrm>
              <a:off x="3019396" y="3843028"/>
              <a:ext cx="94658" cy="85968"/>
            </a:xfrm>
            <a:prstGeom prst="star4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1" name="十字星 790"/>
            <p:cNvSpPr/>
            <p:nvPr/>
          </p:nvSpPr>
          <p:spPr bwMode="auto">
            <a:xfrm>
              <a:off x="2786816" y="3181972"/>
              <a:ext cx="94658" cy="85968"/>
            </a:xfrm>
            <a:prstGeom prst="star4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2" name="十字星 791"/>
            <p:cNvSpPr/>
            <p:nvPr/>
          </p:nvSpPr>
          <p:spPr bwMode="auto">
            <a:xfrm>
              <a:off x="2841607" y="3321416"/>
              <a:ext cx="94658" cy="85968"/>
            </a:xfrm>
            <a:prstGeom prst="star4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3" name="十字星 792"/>
            <p:cNvSpPr/>
            <p:nvPr/>
          </p:nvSpPr>
          <p:spPr bwMode="auto">
            <a:xfrm>
              <a:off x="1089716" y="2320863"/>
              <a:ext cx="94658" cy="85968"/>
            </a:xfrm>
            <a:prstGeom prst="star4">
              <a:avLst/>
            </a:prstGeom>
            <a:solidFill>
              <a:srgbClr val="D01624"/>
            </a:solidFill>
            <a:ln w="9525" cap="flat" cmpd="sng" algn="ctr">
              <a:solidFill>
                <a:srgbClr val="D0162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4" name="十字星 793"/>
            <p:cNvSpPr/>
            <p:nvPr/>
          </p:nvSpPr>
          <p:spPr bwMode="auto">
            <a:xfrm>
              <a:off x="2151015" y="2894206"/>
              <a:ext cx="94658" cy="85968"/>
            </a:xfrm>
            <a:prstGeom prst="star4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5" name="十字星 794"/>
            <p:cNvSpPr/>
            <p:nvPr/>
          </p:nvSpPr>
          <p:spPr bwMode="auto">
            <a:xfrm>
              <a:off x="3171915" y="2803809"/>
              <a:ext cx="94658" cy="85968"/>
            </a:xfrm>
            <a:prstGeom prst="star4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6" name="矩形 795"/>
            <p:cNvSpPr/>
            <p:nvPr/>
          </p:nvSpPr>
          <p:spPr>
            <a:xfrm>
              <a:off x="1016823" y="2389019"/>
              <a:ext cx="1003391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法兰克福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7" name="矩形 796"/>
            <p:cNvSpPr/>
            <p:nvPr/>
          </p:nvSpPr>
          <p:spPr>
            <a:xfrm>
              <a:off x="3144371" y="2631139"/>
              <a:ext cx="775348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釜山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8" name="矩形 797"/>
            <p:cNvSpPr/>
            <p:nvPr/>
          </p:nvSpPr>
          <p:spPr>
            <a:xfrm>
              <a:off x="6278161" y="2773971"/>
              <a:ext cx="889369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迈阿密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9" name="矩形 798"/>
            <p:cNvSpPr/>
            <p:nvPr/>
          </p:nvSpPr>
          <p:spPr>
            <a:xfrm>
              <a:off x="6403472" y="2512411"/>
              <a:ext cx="775348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纽约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00" name="十字星 799"/>
            <p:cNvSpPr/>
            <p:nvPr/>
          </p:nvSpPr>
          <p:spPr bwMode="auto">
            <a:xfrm>
              <a:off x="797293" y="2188948"/>
              <a:ext cx="94659" cy="90144"/>
            </a:xfrm>
            <a:prstGeom prst="star4">
              <a:avLst/>
            </a:prstGeom>
            <a:solidFill>
              <a:srgbClr val="D01624"/>
            </a:solidFill>
            <a:ln w="9525" cap="flat" cmpd="sng" algn="ctr">
              <a:solidFill>
                <a:srgbClr val="D0162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400">
                <a:solidFill>
                  <a:srgbClr val="777777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01" name="十字星 800"/>
            <p:cNvSpPr/>
            <p:nvPr/>
          </p:nvSpPr>
          <p:spPr bwMode="auto">
            <a:xfrm>
              <a:off x="872899" y="2386525"/>
              <a:ext cx="94658" cy="85968"/>
            </a:xfrm>
            <a:prstGeom prst="star4">
              <a:avLst/>
            </a:prstGeom>
            <a:solidFill>
              <a:srgbClr val="002060"/>
            </a:solidFill>
            <a:ln w="952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02" name="矩形 801"/>
            <p:cNvSpPr/>
            <p:nvPr/>
          </p:nvSpPr>
          <p:spPr>
            <a:xfrm>
              <a:off x="453172" y="2203539"/>
              <a:ext cx="520264" cy="195430"/>
            </a:xfrm>
            <a:prstGeom prst="rect">
              <a:avLst/>
            </a:prstGeom>
          </p:spPr>
          <p:txBody>
            <a:bodyPr rtlCol="0" anchor="ctr"/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伦敦</a:t>
              </a:r>
            </a:p>
          </p:txBody>
        </p:sp>
        <p:sp>
          <p:nvSpPr>
            <p:cNvPr id="803" name="矩形 802"/>
            <p:cNvSpPr/>
            <p:nvPr/>
          </p:nvSpPr>
          <p:spPr>
            <a:xfrm>
              <a:off x="1559643" y="1985847"/>
              <a:ext cx="889369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莫斯科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04" name="矩形 803"/>
            <p:cNvSpPr/>
            <p:nvPr/>
          </p:nvSpPr>
          <p:spPr>
            <a:xfrm>
              <a:off x="2197840" y="2091233"/>
              <a:ext cx="1003391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阿拉木图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05" name="椭圆 49"/>
            <p:cNvSpPr/>
            <p:nvPr/>
          </p:nvSpPr>
          <p:spPr>
            <a:xfrm>
              <a:off x="3437535" y="2645347"/>
              <a:ext cx="72810" cy="67793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06" name="矩形 805"/>
            <p:cNvSpPr/>
            <p:nvPr/>
          </p:nvSpPr>
          <p:spPr>
            <a:xfrm>
              <a:off x="4140871" y="4067949"/>
              <a:ext cx="889369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奥克兰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07" name="矩形 806"/>
            <p:cNvSpPr/>
            <p:nvPr/>
          </p:nvSpPr>
          <p:spPr>
            <a:xfrm>
              <a:off x="1865239" y="2734109"/>
              <a:ext cx="775348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孟买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08" name="矩形 807"/>
            <p:cNvSpPr/>
            <p:nvPr/>
          </p:nvSpPr>
          <p:spPr>
            <a:xfrm>
              <a:off x="2857012" y="3114865"/>
              <a:ext cx="889369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新加坡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09" name="矩形 808"/>
            <p:cNvSpPr/>
            <p:nvPr/>
          </p:nvSpPr>
          <p:spPr>
            <a:xfrm>
              <a:off x="2971066" y="3290355"/>
              <a:ext cx="889369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雅加达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10" name="Freeform 244"/>
            <p:cNvSpPr/>
            <p:nvPr/>
          </p:nvSpPr>
          <p:spPr bwMode="auto">
            <a:xfrm>
              <a:off x="1279032" y="1994887"/>
              <a:ext cx="294064" cy="416944"/>
            </a:xfrm>
            <a:custGeom>
              <a:avLst/>
              <a:gdLst>
                <a:gd name="connsiteX0" fmla="*/ 308759 w 308759"/>
                <a:gd name="connsiteY0" fmla="*/ 381 h 356641"/>
                <a:gd name="connsiteX1" fmla="*/ 142504 w 308759"/>
                <a:gd name="connsiteY1" fmla="*/ 24132 h 356641"/>
                <a:gd name="connsiteX2" fmla="*/ 23751 w 308759"/>
                <a:gd name="connsiteY2" fmla="*/ 154761 h 356641"/>
                <a:gd name="connsiteX3" fmla="*/ 0 w 308759"/>
                <a:gd name="connsiteY3" fmla="*/ 356641 h 356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8759" h="356641">
                  <a:moveTo>
                    <a:pt x="308759" y="381"/>
                  </a:moveTo>
                  <a:cubicBezTo>
                    <a:pt x="249382" y="-609"/>
                    <a:pt x="190005" y="-1598"/>
                    <a:pt x="142504" y="24132"/>
                  </a:cubicBezTo>
                  <a:cubicBezTo>
                    <a:pt x="95003" y="49862"/>
                    <a:pt x="47502" y="99343"/>
                    <a:pt x="23751" y="154761"/>
                  </a:cubicBezTo>
                  <a:cubicBezTo>
                    <a:pt x="0" y="210179"/>
                    <a:pt x="0" y="283410"/>
                    <a:pt x="0" y="356641"/>
                  </a:cubicBezTo>
                </a:path>
              </a:pathLst>
            </a:custGeom>
            <a:noFill/>
            <a:ln w="12700" cap="flat" cmpd="sng" algn="ctr">
              <a:solidFill>
                <a:srgbClr val="7F7F7F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354" eaLnBrk="0" hangingPunct="0"/>
              <a:endParaRPr lang="zh-CN" altLang="en-US" sz="300">
                <a:solidFill>
                  <a:srgbClr val="777777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11" name="Freeform 243"/>
            <p:cNvSpPr/>
            <p:nvPr/>
          </p:nvSpPr>
          <p:spPr bwMode="auto">
            <a:xfrm>
              <a:off x="1573096" y="2000921"/>
              <a:ext cx="485140" cy="416944"/>
            </a:xfrm>
            <a:custGeom>
              <a:avLst/>
              <a:gdLst>
                <a:gd name="connsiteX0" fmla="*/ 1520042 w 1556820"/>
                <a:gd name="connsiteY0" fmla="*/ 199147 h 199147"/>
                <a:gd name="connsiteX1" fmla="*/ 1543792 w 1556820"/>
                <a:gd name="connsiteY1" fmla="*/ 104144 h 199147"/>
                <a:gd name="connsiteX2" fmla="*/ 1341912 w 1556820"/>
                <a:gd name="connsiteY2" fmla="*/ 9141 h 199147"/>
                <a:gd name="connsiteX3" fmla="*/ 985652 w 1556820"/>
                <a:gd name="connsiteY3" fmla="*/ 9141 h 199147"/>
                <a:gd name="connsiteX4" fmla="*/ 427512 w 1556820"/>
                <a:gd name="connsiteY4" fmla="*/ 56643 h 199147"/>
                <a:gd name="connsiteX5" fmla="*/ 0 w 1556820"/>
                <a:gd name="connsiteY5" fmla="*/ 32892 h 199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6820" h="199147">
                  <a:moveTo>
                    <a:pt x="1520042" y="199147"/>
                  </a:moveTo>
                  <a:cubicBezTo>
                    <a:pt x="1546761" y="167479"/>
                    <a:pt x="1573480" y="135812"/>
                    <a:pt x="1543792" y="104144"/>
                  </a:cubicBezTo>
                  <a:cubicBezTo>
                    <a:pt x="1514104" y="72476"/>
                    <a:pt x="1434935" y="24975"/>
                    <a:pt x="1341912" y="9141"/>
                  </a:cubicBezTo>
                  <a:cubicBezTo>
                    <a:pt x="1248889" y="-6693"/>
                    <a:pt x="1138052" y="1224"/>
                    <a:pt x="985652" y="9141"/>
                  </a:cubicBezTo>
                  <a:cubicBezTo>
                    <a:pt x="833252" y="17058"/>
                    <a:pt x="591787" y="52684"/>
                    <a:pt x="427512" y="56643"/>
                  </a:cubicBezTo>
                  <a:cubicBezTo>
                    <a:pt x="263237" y="60601"/>
                    <a:pt x="131618" y="46746"/>
                    <a:pt x="0" y="32892"/>
                  </a:cubicBezTo>
                </a:path>
              </a:pathLst>
            </a:custGeom>
            <a:noFill/>
            <a:ln w="12700" cap="flat" cmpd="sng" algn="ctr">
              <a:solidFill>
                <a:srgbClr val="7F7F7F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354" eaLnBrk="0" hangingPunct="0"/>
              <a:endParaRPr lang="zh-CN" altLang="en-US" sz="300">
                <a:solidFill>
                  <a:srgbClr val="777777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12" name="Freeform 242"/>
            <p:cNvSpPr/>
            <p:nvPr/>
          </p:nvSpPr>
          <p:spPr bwMode="auto">
            <a:xfrm>
              <a:off x="2047824" y="2091819"/>
              <a:ext cx="268946" cy="416944"/>
            </a:xfrm>
            <a:custGeom>
              <a:avLst/>
              <a:gdLst>
                <a:gd name="connsiteX0" fmla="*/ 380011 w 380011"/>
                <a:gd name="connsiteY0" fmla="*/ 154379 h 156664"/>
                <a:gd name="connsiteX1" fmla="*/ 296883 w 380011"/>
                <a:gd name="connsiteY1" fmla="*/ 154379 h 156664"/>
                <a:gd name="connsiteX2" fmla="*/ 154380 w 380011"/>
                <a:gd name="connsiteY2" fmla="*/ 130629 h 156664"/>
                <a:gd name="connsiteX3" fmla="*/ 83128 w 380011"/>
                <a:gd name="connsiteY3" fmla="*/ 59377 h 156664"/>
                <a:gd name="connsiteX4" fmla="*/ 0 w 380011"/>
                <a:gd name="connsiteY4" fmla="*/ 0 h 156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011" h="156664">
                  <a:moveTo>
                    <a:pt x="380011" y="154379"/>
                  </a:moveTo>
                  <a:cubicBezTo>
                    <a:pt x="357249" y="156358"/>
                    <a:pt x="334488" y="158337"/>
                    <a:pt x="296883" y="154379"/>
                  </a:cubicBezTo>
                  <a:cubicBezTo>
                    <a:pt x="259278" y="150421"/>
                    <a:pt x="190006" y="146463"/>
                    <a:pt x="154380" y="130629"/>
                  </a:cubicBezTo>
                  <a:cubicBezTo>
                    <a:pt x="118754" y="114795"/>
                    <a:pt x="108858" y="81148"/>
                    <a:pt x="83128" y="59377"/>
                  </a:cubicBezTo>
                  <a:cubicBezTo>
                    <a:pt x="57398" y="37606"/>
                    <a:pt x="28699" y="18803"/>
                    <a:pt x="0" y="0"/>
                  </a:cubicBezTo>
                </a:path>
              </a:pathLst>
            </a:custGeom>
            <a:noFill/>
            <a:ln w="12700" cap="flat" cmpd="sng" algn="ctr">
              <a:solidFill>
                <a:srgbClr val="7F7F7F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354" eaLnBrk="0" hangingPunct="0"/>
              <a:endParaRPr lang="zh-CN" altLang="en-US" sz="300">
                <a:solidFill>
                  <a:srgbClr val="777777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13" name="Freeform 241"/>
            <p:cNvSpPr/>
            <p:nvPr/>
          </p:nvSpPr>
          <p:spPr bwMode="auto">
            <a:xfrm>
              <a:off x="2316773" y="2172564"/>
              <a:ext cx="122175" cy="416944"/>
            </a:xfrm>
            <a:custGeom>
              <a:avLst/>
              <a:gdLst>
                <a:gd name="connsiteX0" fmla="*/ 380010 w 380010"/>
                <a:gd name="connsiteY0" fmla="*/ 296883 h 296883"/>
                <a:gd name="connsiteX1" fmla="*/ 106878 w 380010"/>
                <a:gd name="connsiteY1" fmla="*/ 154380 h 296883"/>
                <a:gd name="connsiteX2" fmla="*/ 0 w 380010"/>
                <a:gd name="connsiteY2" fmla="*/ 0 h 296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0010" h="296883">
                  <a:moveTo>
                    <a:pt x="380010" y="296883"/>
                  </a:moveTo>
                  <a:cubicBezTo>
                    <a:pt x="275111" y="250371"/>
                    <a:pt x="170213" y="203860"/>
                    <a:pt x="106878" y="154380"/>
                  </a:cubicBezTo>
                  <a:cubicBezTo>
                    <a:pt x="43543" y="104899"/>
                    <a:pt x="21771" y="52449"/>
                    <a:pt x="0" y="0"/>
                  </a:cubicBezTo>
                </a:path>
              </a:pathLst>
            </a:custGeom>
            <a:noFill/>
            <a:ln w="12700" cap="flat" cmpd="sng" algn="ctr">
              <a:solidFill>
                <a:srgbClr val="7F7F7F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354" eaLnBrk="0" hangingPunct="0"/>
              <a:endParaRPr lang="zh-CN" altLang="en-US" sz="300">
                <a:solidFill>
                  <a:srgbClr val="777777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14" name="十字星 813"/>
            <p:cNvSpPr/>
            <p:nvPr/>
          </p:nvSpPr>
          <p:spPr bwMode="auto">
            <a:xfrm>
              <a:off x="1513994" y="2102274"/>
              <a:ext cx="94658" cy="85968"/>
            </a:xfrm>
            <a:prstGeom prst="star4">
              <a:avLst/>
            </a:prstGeom>
            <a:solidFill>
              <a:srgbClr val="D01624"/>
            </a:solidFill>
            <a:ln w="9525" cap="flat" cmpd="sng" algn="ctr">
              <a:solidFill>
                <a:srgbClr val="D0162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15" name="矩形 814"/>
            <p:cNvSpPr/>
            <p:nvPr/>
          </p:nvSpPr>
          <p:spPr>
            <a:xfrm>
              <a:off x="1228850" y="2162727"/>
              <a:ext cx="775348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b="1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华沙</a:t>
              </a:r>
              <a:endParaRPr lang="en-US" altLang="zh-CN" sz="300" b="1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16" name="十字星 815"/>
            <p:cNvSpPr/>
            <p:nvPr/>
          </p:nvSpPr>
          <p:spPr bwMode="auto">
            <a:xfrm>
              <a:off x="2269444" y="2287992"/>
              <a:ext cx="94658" cy="85968"/>
            </a:xfrm>
            <a:prstGeom prst="star4">
              <a:avLst/>
            </a:prstGeom>
            <a:solidFill>
              <a:srgbClr val="D01624"/>
            </a:solidFill>
            <a:ln w="9525" cap="flat" cmpd="sng" algn="ctr">
              <a:solidFill>
                <a:srgbClr val="D0162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3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17" name="矩形 816"/>
            <p:cNvSpPr/>
            <p:nvPr/>
          </p:nvSpPr>
          <p:spPr>
            <a:xfrm>
              <a:off x="563458" y="2359464"/>
              <a:ext cx="775348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巴黎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18" name="椭圆 49"/>
            <p:cNvSpPr/>
            <p:nvPr/>
          </p:nvSpPr>
          <p:spPr>
            <a:xfrm>
              <a:off x="1216095" y="2189217"/>
              <a:ext cx="91348" cy="70961"/>
            </a:xfrm>
            <a:prstGeom prst="ellipse">
              <a:avLst/>
            </a:prstGeom>
            <a:solidFill>
              <a:srgbClr val="D01624"/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19" name="矩形 818"/>
            <p:cNvSpPr/>
            <p:nvPr/>
          </p:nvSpPr>
          <p:spPr>
            <a:xfrm>
              <a:off x="3138885" y="2831815"/>
              <a:ext cx="775348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高雄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20" name="矩形 819"/>
            <p:cNvSpPr/>
            <p:nvPr/>
          </p:nvSpPr>
          <p:spPr>
            <a:xfrm>
              <a:off x="3700920" y="3540919"/>
              <a:ext cx="775348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悉尼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21" name="矩形 820"/>
            <p:cNvSpPr/>
            <p:nvPr/>
          </p:nvSpPr>
          <p:spPr>
            <a:xfrm>
              <a:off x="2865340" y="3970231"/>
              <a:ext cx="775348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珀斯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22" name="十字星 821"/>
            <p:cNvSpPr/>
            <p:nvPr/>
          </p:nvSpPr>
          <p:spPr bwMode="auto">
            <a:xfrm>
              <a:off x="7010227" y="3664788"/>
              <a:ext cx="94659" cy="90144"/>
            </a:xfrm>
            <a:prstGeom prst="star4">
              <a:avLst/>
            </a:prstGeom>
            <a:solidFill>
              <a:srgbClr val="D01624"/>
            </a:solidFill>
            <a:ln w="9525" cap="flat" cmpd="sng" algn="ctr">
              <a:solidFill>
                <a:srgbClr val="D0162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54" eaLnBrk="0" hangingPunct="0"/>
              <a:endParaRPr lang="zh-CN" altLang="en-US" sz="400">
                <a:solidFill>
                  <a:srgbClr val="777777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23" name="矩形 822"/>
            <p:cNvSpPr/>
            <p:nvPr/>
          </p:nvSpPr>
          <p:spPr>
            <a:xfrm>
              <a:off x="6324236" y="3594445"/>
              <a:ext cx="1178148" cy="4104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354"/>
              <a:r>
                <a:rPr lang="zh-CN" altLang="en-US" sz="300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里约热内卢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24" name="椭圆 49"/>
            <p:cNvSpPr/>
            <p:nvPr/>
          </p:nvSpPr>
          <p:spPr>
            <a:xfrm>
              <a:off x="3054554" y="2855375"/>
              <a:ext cx="72810" cy="67793"/>
            </a:xfrm>
            <a:prstGeom prst="ellips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25" name="椭圆 49"/>
            <p:cNvSpPr/>
            <p:nvPr/>
          </p:nvSpPr>
          <p:spPr>
            <a:xfrm>
              <a:off x="986889" y="2132578"/>
              <a:ext cx="91348" cy="70961"/>
            </a:xfrm>
            <a:prstGeom prst="ellipse">
              <a:avLst/>
            </a:prstGeom>
            <a:solidFill>
              <a:srgbClr val="D01624"/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26" name="矩形 825"/>
            <p:cNvSpPr/>
            <p:nvPr/>
          </p:nvSpPr>
          <p:spPr>
            <a:xfrm>
              <a:off x="3505730" y="2406828"/>
              <a:ext cx="775348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b="1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东京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27" name="矩形 826"/>
            <p:cNvSpPr/>
            <p:nvPr/>
          </p:nvSpPr>
          <p:spPr>
            <a:xfrm>
              <a:off x="3370852" y="2672955"/>
              <a:ext cx="775348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b="1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大阪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28" name="矩形 827"/>
            <p:cNvSpPr/>
            <p:nvPr/>
          </p:nvSpPr>
          <p:spPr>
            <a:xfrm>
              <a:off x="2751289" y="2898372"/>
              <a:ext cx="775348" cy="410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300" b="1" dirty="0">
                  <a:solidFill>
                    <a:srgbClr val="777777">
                      <a:lumMod val="75000"/>
                      <a:lumOff val="25000"/>
                    </a:srgbClr>
                  </a:solidFill>
                  <a:latin typeface="微软雅黑" panose="020B0503020204020204" pitchFamily="34" charset="-122"/>
                </a:rPr>
                <a:t>香港</a:t>
              </a:r>
              <a:endParaRPr lang="en-US" altLang="zh-CN" sz="300" dirty="0">
                <a:solidFill>
                  <a:srgbClr val="777777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29" name="椭圆 49"/>
            <p:cNvSpPr/>
            <p:nvPr/>
          </p:nvSpPr>
          <p:spPr>
            <a:xfrm>
              <a:off x="6338902" y="2571904"/>
              <a:ext cx="89853" cy="67793"/>
            </a:xfrm>
            <a:prstGeom prst="ellipse">
              <a:avLst/>
            </a:prstGeom>
            <a:gradFill>
              <a:gsLst>
                <a:gs pos="0">
                  <a:srgbClr val="C00000"/>
                </a:gs>
                <a:gs pos="80000">
                  <a:srgbClr val="C91523"/>
                </a:gs>
                <a:gs pos="100000">
                  <a:srgbClr val="C91523"/>
                </a:gs>
              </a:gsLst>
            </a:gra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zh-CN" altLang="en-US" sz="300">
                <a:solidFill>
                  <a:srgbClr val="0D5661"/>
                </a:solidFill>
                <a:latin typeface="微软雅黑" panose="020B0503020204020204" pitchFamily="34" charset="-122"/>
              </a:endParaRPr>
            </a:p>
          </p:txBody>
        </p:sp>
        <p:cxnSp>
          <p:nvCxnSpPr>
            <p:cNvPr id="830" name="直接连接符 829"/>
            <p:cNvCxnSpPr>
              <a:stCxn id="780" idx="0"/>
              <a:endCxn id="834" idx="3"/>
            </p:cNvCxnSpPr>
            <p:nvPr/>
          </p:nvCxnSpPr>
          <p:spPr bwMode="auto">
            <a:xfrm flipH="1" flipV="1">
              <a:off x="3121026" y="2828970"/>
              <a:ext cx="539156" cy="1118722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31" name="直接连接符 830"/>
            <p:cNvCxnSpPr>
              <a:stCxn id="782" idx="2"/>
              <a:endCxn id="833" idx="3"/>
            </p:cNvCxnSpPr>
            <p:nvPr/>
          </p:nvCxnSpPr>
          <p:spPr bwMode="auto">
            <a:xfrm flipH="1">
              <a:off x="3172776" y="2644022"/>
              <a:ext cx="2312206" cy="26184"/>
            </a:xfrm>
            <a:prstGeom prst="line">
              <a:avLst/>
            </a:prstGeom>
            <a:ln w="12700">
              <a:solidFill>
                <a:srgbClr val="7F7F7F"/>
              </a:solidFill>
              <a:prstDash val="dash"/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pic>
          <p:nvPicPr>
            <p:cNvPr id="832" name="Picture 3" descr="D:\方案设计\线路图\仓库 (3).png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3691" y="2519004"/>
              <a:ext cx="62428" cy="52241"/>
            </a:xfrm>
            <a:prstGeom prst="rect">
              <a:avLst/>
            </a:prstGeom>
            <a:solidFill>
              <a:srgbClr val="7B9949"/>
            </a:solidFill>
            <a:ln>
              <a:noFill/>
            </a:ln>
            <a:extLst/>
          </p:spPr>
        </p:pic>
        <p:pic>
          <p:nvPicPr>
            <p:cNvPr id="833" name="Picture 3" descr="D:\方案设计\线路图\仓库 (3).png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7277" y="2642800"/>
              <a:ext cx="65499" cy="54811"/>
            </a:xfrm>
            <a:prstGeom prst="rect">
              <a:avLst/>
            </a:prstGeom>
            <a:solidFill>
              <a:srgbClr val="7B9949"/>
            </a:solidFill>
            <a:ln>
              <a:noFill/>
            </a:ln>
            <a:extLst/>
          </p:spPr>
        </p:pic>
        <p:pic>
          <p:nvPicPr>
            <p:cNvPr id="834" name="Picture 3" descr="D:\方案设计\线路图\仓库 (3).png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0891" y="2803809"/>
              <a:ext cx="60135" cy="50322"/>
            </a:xfrm>
            <a:prstGeom prst="rect">
              <a:avLst/>
            </a:prstGeom>
            <a:solidFill>
              <a:srgbClr val="7B9949"/>
            </a:solidFill>
            <a:ln>
              <a:noFill/>
            </a:ln>
            <a:extLst/>
          </p:spPr>
        </p:pic>
        <p:cxnSp>
          <p:nvCxnSpPr>
            <p:cNvPr id="835" name="直接连接符 834"/>
            <p:cNvCxnSpPr>
              <a:stCxn id="834" idx="1"/>
              <a:endCxn id="787" idx="4"/>
            </p:cNvCxnSpPr>
            <p:nvPr/>
          </p:nvCxnSpPr>
          <p:spPr bwMode="auto">
            <a:xfrm flipH="1" flipV="1">
              <a:off x="967557" y="2301227"/>
              <a:ext cx="2093334" cy="527743"/>
            </a:xfrm>
            <a:prstGeom prst="line">
              <a:avLst/>
            </a:prstGeom>
            <a:ln w="12700">
              <a:solidFill>
                <a:srgbClr val="7F7F7F"/>
              </a:solidFill>
              <a:prstDash val="dash"/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36" name="直接连接符 835"/>
            <p:cNvCxnSpPr>
              <a:stCxn id="788" idx="7"/>
              <a:endCxn id="832" idx="3"/>
            </p:cNvCxnSpPr>
            <p:nvPr/>
          </p:nvCxnSpPr>
          <p:spPr bwMode="auto">
            <a:xfrm flipH="1" flipV="1">
              <a:off x="3116119" y="2545125"/>
              <a:ext cx="456598" cy="36048"/>
            </a:xfrm>
            <a:prstGeom prst="line">
              <a:avLst/>
            </a:prstGeom>
            <a:ln w="12700">
              <a:solidFill>
                <a:srgbClr val="7F7F7F"/>
              </a:solidFill>
              <a:prstDash val="dash"/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37" name="直接连接符 836"/>
            <p:cNvCxnSpPr>
              <a:stCxn id="805" idx="4"/>
              <a:endCxn id="834" idx="3"/>
            </p:cNvCxnSpPr>
            <p:nvPr/>
          </p:nvCxnSpPr>
          <p:spPr bwMode="auto">
            <a:xfrm flipH="1">
              <a:off x="3121026" y="2713140"/>
              <a:ext cx="352914" cy="115830"/>
            </a:xfrm>
            <a:prstGeom prst="line">
              <a:avLst/>
            </a:prstGeom>
            <a:ln w="12700">
              <a:solidFill>
                <a:srgbClr val="7F7F7F"/>
              </a:solidFill>
              <a:prstDash val="dash"/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38" name="直接连接符 837"/>
            <p:cNvCxnSpPr>
              <a:stCxn id="833" idx="1"/>
              <a:endCxn id="1798" idx="16"/>
            </p:cNvCxnSpPr>
            <p:nvPr/>
          </p:nvCxnSpPr>
          <p:spPr bwMode="auto">
            <a:xfrm flipH="1" flipV="1">
              <a:off x="1047078" y="2199958"/>
              <a:ext cx="2060199" cy="470248"/>
            </a:xfrm>
            <a:prstGeom prst="line">
              <a:avLst/>
            </a:prstGeom>
            <a:ln w="12700">
              <a:solidFill>
                <a:srgbClr val="7F7F7F"/>
              </a:solidFill>
              <a:prstDash val="dash"/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839" name="椭圆 838"/>
            <p:cNvSpPr/>
            <p:nvPr/>
          </p:nvSpPr>
          <p:spPr>
            <a:xfrm>
              <a:off x="3013038" y="3336313"/>
              <a:ext cx="1245073" cy="1245073"/>
            </a:xfrm>
            <a:prstGeom prst="ellipse">
              <a:avLst/>
            </a:prstGeom>
            <a:solidFill>
              <a:srgbClr val="C81623">
                <a:alpha val="14902"/>
              </a:srgbClr>
            </a:solidFill>
            <a:ln w="6350">
              <a:solidFill>
                <a:srgbClr val="BFBFBF"/>
              </a:solidFill>
              <a:prstDash val="sys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300" b="1" dirty="0">
                <a:solidFill>
                  <a:srgbClr val="777777">
                    <a:lumMod val="95000"/>
                    <a:lumOff val="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40" name="椭圆 839"/>
            <p:cNvSpPr/>
            <p:nvPr/>
          </p:nvSpPr>
          <p:spPr>
            <a:xfrm>
              <a:off x="4510363" y="1567861"/>
              <a:ext cx="2053172" cy="2053172"/>
            </a:xfrm>
            <a:prstGeom prst="ellipse">
              <a:avLst/>
            </a:prstGeom>
            <a:solidFill>
              <a:srgbClr val="C81623">
                <a:alpha val="14902"/>
              </a:srgbClr>
            </a:solidFill>
            <a:ln w="6350">
              <a:solidFill>
                <a:srgbClr val="BFBFBF"/>
              </a:solidFill>
              <a:prstDash val="sys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300" b="1" dirty="0">
                <a:solidFill>
                  <a:srgbClr val="777777">
                    <a:lumMod val="95000"/>
                    <a:lumOff val="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41" name="椭圆 840"/>
            <p:cNvSpPr/>
            <p:nvPr/>
          </p:nvSpPr>
          <p:spPr>
            <a:xfrm>
              <a:off x="423829" y="1702894"/>
              <a:ext cx="1031633" cy="1031633"/>
            </a:xfrm>
            <a:prstGeom prst="ellipse">
              <a:avLst/>
            </a:prstGeom>
            <a:solidFill>
              <a:srgbClr val="C81423">
                <a:alpha val="14902"/>
              </a:srgbClr>
            </a:solidFill>
            <a:ln w="6350">
              <a:solidFill>
                <a:srgbClr val="BFBFBF"/>
              </a:solidFill>
              <a:prstDash val="sys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300" b="1" dirty="0">
                <a:solidFill>
                  <a:srgbClr val="777777">
                    <a:lumMod val="95000"/>
                    <a:lumOff val="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42" name="椭圆 841"/>
            <p:cNvSpPr/>
            <p:nvPr/>
          </p:nvSpPr>
          <p:spPr>
            <a:xfrm>
              <a:off x="265037" y="1035413"/>
              <a:ext cx="2156233" cy="2156233"/>
            </a:xfrm>
            <a:prstGeom prst="ellipse">
              <a:avLst/>
            </a:prstGeom>
            <a:solidFill>
              <a:srgbClr val="C81623">
                <a:alpha val="14902"/>
              </a:srgbClr>
            </a:solidFill>
            <a:ln w="6350">
              <a:solidFill>
                <a:srgbClr val="BFBFBF"/>
              </a:solidFill>
              <a:prstDash val="sys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300" b="1" dirty="0">
                <a:solidFill>
                  <a:srgbClr val="777777">
                    <a:lumMod val="95000"/>
                    <a:lumOff val="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43" name="椭圆 842"/>
            <p:cNvSpPr/>
            <p:nvPr/>
          </p:nvSpPr>
          <p:spPr>
            <a:xfrm>
              <a:off x="3073089" y="2117732"/>
              <a:ext cx="953835" cy="953835"/>
            </a:xfrm>
            <a:prstGeom prst="ellipse">
              <a:avLst/>
            </a:prstGeom>
            <a:solidFill>
              <a:srgbClr val="C81623">
                <a:alpha val="14902"/>
              </a:srgbClr>
            </a:solidFill>
            <a:ln w="6350">
              <a:solidFill>
                <a:srgbClr val="BFBFBF"/>
              </a:solidFill>
              <a:prstDash val="sys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300" b="1" dirty="0">
                <a:solidFill>
                  <a:srgbClr val="777777">
                    <a:lumMod val="95000"/>
                    <a:lumOff val="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844" name="椭圆 843"/>
            <p:cNvSpPr/>
            <p:nvPr/>
          </p:nvSpPr>
          <p:spPr>
            <a:xfrm>
              <a:off x="2596171" y="2483348"/>
              <a:ext cx="953835" cy="953835"/>
            </a:xfrm>
            <a:prstGeom prst="ellipse">
              <a:avLst/>
            </a:prstGeom>
            <a:solidFill>
              <a:srgbClr val="C81623">
                <a:alpha val="14902"/>
              </a:srgbClr>
            </a:solidFill>
            <a:ln w="6350">
              <a:solidFill>
                <a:srgbClr val="BFBFBF"/>
              </a:solidFill>
              <a:prstDash val="sys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300" b="1" dirty="0">
                <a:solidFill>
                  <a:srgbClr val="777777">
                    <a:lumMod val="95000"/>
                    <a:lumOff val="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pic>
          <p:nvPicPr>
            <p:cNvPr id="845" name="Picture 3" descr="D:\方案设计\线路图\仓库 (3).pn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6171" y="2585710"/>
              <a:ext cx="36000" cy="36000"/>
            </a:xfrm>
            <a:prstGeom prst="rect">
              <a:avLst/>
            </a:prstGeom>
            <a:solidFill>
              <a:srgbClr val="7B9949"/>
            </a:solidFill>
            <a:ln>
              <a:noFill/>
            </a:ln>
            <a:extLst/>
          </p:spPr>
        </p:pic>
        <p:pic>
          <p:nvPicPr>
            <p:cNvPr id="846" name="Picture 3" descr="D:\方案设计\线路图\仓库 (3).pn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4842" y="2676025"/>
              <a:ext cx="36000" cy="36000"/>
            </a:xfrm>
            <a:prstGeom prst="rect">
              <a:avLst/>
            </a:prstGeom>
            <a:solidFill>
              <a:srgbClr val="7B9949"/>
            </a:solidFill>
            <a:ln>
              <a:noFill/>
            </a:ln>
            <a:extLst/>
          </p:spPr>
        </p:pic>
        <p:pic>
          <p:nvPicPr>
            <p:cNvPr id="847" name="Picture 3" descr="D:\方案设计\线路图\仓库 (3).pn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6054" y="2680923"/>
              <a:ext cx="36000" cy="36000"/>
            </a:xfrm>
            <a:prstGeom prst="rect">
              <a:avLst/>
            </a:prstGeom>
            <a:solidFill>
              <a:srgbClr val="7B9949"/>
            </a:solidFill>
            <a:ln>
              <a:noFill/>
            </a:ln>
            <a:extLst/>
          </p:spPr>
        </p:pic>
        <p:pic>
          <p:nvPicPr>
            <p:cNvPr id="848" name="Picture 3" descr="D:\方案设计\线路图\仓库 (3).pn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0470" y="2667174"/>
              <a:ext cx="36000" cy="36000"/>
            </a:xfrm>
            <a:prstGeom prst="rect">
              <a:avLst/>
            </a:prstGeom>
            <a:solidFill>
              <a:srgbClr val="7B9949"/>
            </a:solidFill>
            <a:ln>
              <a:noFill/>
            </a:ln>
            <a:extLst/>
          </p:spPr>
        </p:pic>
        <p:pic>
          <p:nvPicPr>
            <p:cNvPr id="849" name="Picture 3" descr="D:\方案设计\线路图\仓库 (3).pn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1474" y="2743241"/>
              <a:ext cx="36000" cy="36000"/>
            </a:xfrm>
            <a:prstGeom prst="rect">
              <a:avLst/>
            </a:prstGeom>
            <a:solidFill>
              <a:srgbClr val="7B9949"/>
            </a:solidFill>
            <a:ln>
              <a:noFill/>
            </a:ln>
            <a:extLst/>
          </p:spPr>
        </p:pic>
        <p:pic>
          <p:nvPicPr>
            <p:cNvPr id="850" name="Picture 3" descr="D:\方案设计\线路图\仓库 (3).pn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9706" y="2763858"/>
              <a:ext cx="36000" cy="36000"/>
            </a:xfrm>
            <a:prstGeom prst="rect">
              <a:avLst/>
            </a:prstGeom>
            <a:solidFill>
              <a:srgbClr val="7B9949"/>
            </a:solidFill>
            <a:ln>
              <a:noFill/>
            </a:ln>
            <a:extLst/>
          </p:spPr>
        </p:pic>
        <p:pic>
          <p:nvPicPr>
            <p:cNvPr id="851" name="Picture 3" descr="D:\方案设计\线路图\仓库 (3).png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34266" y="2754383"/>
              <a:ext cx="36000" cy="36000"/>
            </a:xfrm>
            <a:prstGeom prst="rect">
              <a:avLst/>
            </a:prstGeom>
            <a:solidFill>
              <a:srgbClr val="7B9949"/>
            </a:solidFill>
            <a:ln>
              <a:noFill/>
            </a:ln>
            <a:extLst/>
          </p:spPr>
        </p:pic>
        <p:sp>
          <p:nvSpPr>
            <p:cNvPr id="852" name="椭圆 851"/>
            <p:cNvSpPr/>
            <p:nvPr/>
          </p:nvSpPr>
          <p:spPr>
            <a:xfrm>
              <a:off x="5266389" y="1446929"/>
              <a:ext cx="2434765" cy="2434765"/>
            </a:xfrm>
            <a:prstGeom prst="ellipse">
              <a:avLst/>
            </a:prstGeom>
            <a:solidFill>
              <a:srgbClr val="C81623">
                <a:alpha val="14902"/>
              </a:srgbClr>
            </a:solidFill>
            <a:ln w="6350">
              <a:solidFill>
                <a:srgbClr val="BFBFBF"/>
              </a:solidFill>
              <a:prstDash val="sys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300" b="1" dirty="0">
                <a:solidFill>
                  <a:srgbClr val="777777">
                    <a:lumMod val="95000"/>
                    <a:lumOff val="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cxnSp>
          <p:nvCxnSpPr>
            <p:cNvPr id="853" name="直接连接符 852"/>
            <p:cNvCxnSpPr>
              <a:stCxn id="829" idx="3"/>
            </p:cNvCxnSpPr>
            <p:nvPr/>
          </p:nvCxnSpPr>
          <p:spPr bwMode="auto">
            <a:xfrm flipH="1">
              <a:off x="3107277" y="2629769"/>
              <a:ext cx="3244784" cy="206973"/>
            </a:xfrm>
            <a:prstGeom prst="line">
              <a:avLst/>
            </a:prstGeom>
            <a:ln w="12700">
              <a:solidFill>
                <a:srgbClr val="7F7F7F"/>
              </a:solidFill>
              <a:prstDash val="dash"/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947" name="组合 1946"/>
          <p:cNvGrpSpPr>
            <a:grpSpLocks noChangeAspect="1"/>
          </p:cNvGrpSpPr>
          <p:nvPr/>
        </p:nvGrpSpPr>
        <p:grpSpPr>
          <a:xfrm>
            <a:off x="886723" y="5276302"/>
            <a:ext cx="1435749" cy="699772"/>
            <a:chOff x="479207" y="3934312"/>
            <a:chExt cx="936486" cy="456436"/>
          </a:xfrm>
        </p:grpSpPr>
        <p:sp>
          <p:nvSpPr>
            <p:cNvPr id="1948" name="文本框 4145"/>
            <p:cNvSpPr txBox="1"/>
            <p:nvPr/>
          </p:nvSpPr>
          <p:spPr>
            <a:xfrm>
              <a:off x="479207" y="3934312"/>
              <a:ext cx="452187" cy="144000"/>
            </a:xfrm>
            <a:prstGeom prst="rect">
              <a:avLst/>
            </a:prstGeom>
            <a:noFill/>
          </p:spPr>
          <p:txBody>
            <a:bodyPr wrap="square" lIns="36000" tIns="0" rIns="0" bIns="0" rtlCol="0" anchor="ctr">
              <a:noAutofit/>
            </a:bodyPr>
            <a:lstStyle/>
            <a:p>
              <a:pPr defTabSz="914354"/>
              <a:r>
                <a:rPr lang="zh-CN" altLang="en-US" sz="700" u="sng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跨境网</a:t>
              </a:r>
            </a:p>
          </p:txBody>
        </p:sp>
        <p:cxnSp>
          <p:nvCxnSpPr>
            <p:cNvPr id="1949" name="直接连接符 1948"/>
            <p:cNvCxnSpPr/>
            <p:nvPr/>
          </p:nvCxnSpPr>
          <p:spPr bwMode="auto">
            <a:xfrm flipH="1">
              <a:off x="551685" y="4142926"/>
              <a:ext cx="108000" cy="0"/>
            </a:xfrm>
            <a:prstGeom prst="line">
              <a:avLst/>
            </a:prstGeom>
            <a:ln w="12700">
              <a:solidFill>
                <a:srgbClr val="7F7F7F"/>
              </a:solidFill>
              <a:prstDash val="dash"/>
              <a:headEnd type="none" w="med" len="med"/>
              <a:tailEnd type="none" w="med" len="med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1950" name="文本框 4147"/>
            <p:cNvSpPr txBox="1"/>
            <p:nvPr/>
          </p:nvSpPr>
          <p:spPr>
            <a:xfrm>
              <a:off x="731693" y="4078328"/>
              <a:ext cx="452187" cy="12919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zh-CN" altLang="en-US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跨境干线</a:t>
              </a:r>
            </a:p>
          </p:txBody>
        </p:sp>
        <p:sp>
          <p:nvSpPr>
            <p:cNvPr id="1951" name="椭圆 1950"/>
            <p:cNvSpPr/>
            <p:nvPr/>
          </p:nvSpPr>
          <p:spPr>
            <a:xfrm>
              <a:off x="555797" y="4276262"/>
              <a:ext cx="99776" cy="99776"/>
            </a:xfrm>
            <a:prstGeom prst="ellipse">
              <a:avLst/>
            </a:prstGeom>
            <a:solidFill>
              <a:srgbClr val="C81623">
                <a:alpha val="14902"/>
              </a:srgbClr>
            </a:solidFill>
            <a:ln w="6350">
              <a:solidFill>
                <a:srgbClr val="BFBFBF"/>
              </a:solidFill>
              <a:prstDash val="sys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700" b="1" dirty="0">
                <a:solidFill>
                  <a:srgbClr val="777777">
                    <a:lumMod val="95000"/>
                    <a:lumOff val="5000"/>
                  </a:srgbClr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952" name="文本框 4149"/>
            <p:cNvSpPr txBox="1"/>
            <p:nvPr/>
          </p:nvSpPr>
          <p:spPr>
            <a:xfrm>
              <a:off x="731693" y="4261552"/>
              <a:ext cx="684000" cy="12919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zh-CN" altLang="en-US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辐射国家</a:t>
              </a:r>
              <a:r>
                <a:rPr lang="en-US" altLang="zh-CN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/</a:t>
              </a:r>
              <a:r>
                <a:rPr lang="zh-CN" altLang="en-US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地区</a:t>
              </a:r>
            </a:p>
          </p:txBody>
        </p:sp>
      </p:grpSp>
      <p:grpSp>
        <p:nvGrpSpPr>
          <p:cNvPr id="1953" name="组合 1952"/>
          <p:cNvGrpSpPr>
            <a:grpSpLocks noChangeAspect="1"/>
          </p:cNvGrpSpPr>
          <p:nvPr/>
        </p:nvGrpSpPr>
        <p:grpSpPr>
          <a:xfrm>
            <a:off x="1191928" y="1552039"/>
            <a:ext cx="4293543" cy="3311700"/>
            <a:chOff x="573460" y="646584"/>
            <a:chExt cx="3693974" cy="2849239"/>
          </a:xfrm>
        </p:grpSpPr>
        <p:sp>
          <p:nvSpPr>
            <p:cNvPr id="1954" name="未知"/>
            <p:cNvSpPr>
              <a:spLocks/>
            </p:cNvSpPr>
            <p:nvPr/>
          </p:nvSpPr>
          <p:spPr bwMode="auto">
            <a:xfrm>
              <a:off x="2948041" y="2911950"/>
              <a:ext cx="579126" cy="414656"/>
            </a:xfrm>
            <a:custGeom>
              <a:avLst/>
              <a:gdLst>
                <a:gd name="T0" fmla="*/ 40 w 784"/>
                <a:gd name="T1" fmla="*/ 590 h 602"/>
                <a:gd name="T2" fmla="*/ 0 w 784"/>
                <a:gd name="T3" fmla="*/ 520 h 602"/>
                <a:gd name="T4" fmla="*/ 8 w 784"/>
                <a:gd name="T5" fmla="*/ 486 h 602"/>
                <a:gd name="T6" fmla="*/ 26 w 784"/>
                <a:gd name="T7" fmla="*/ 440 h 602"/>
                <a:gd name="T8" fmla="*/ 66 w 784"/>
                <a:gd name="T9" fmla="*/ 396 h 602"/>
                <a:gd name="T10" fmla="*/ 124 w 784"/>
                <a:gd name="T11" fmla="*/ 342 h 602"/>
                <a:gd name="T12" fmla="*/ 184 w 784"/>
                <a:gd name="T13" fmla="*/ 276 h 602"/>
                <a:gd name="T14" fmla="*/ 214 w 784"/>
                <a:gd name="T15" fmla="*/ 230 h 602"/>
                <a:gd name="T16" fmla="*/ 218 w 784"/>
                <a:gd name="T17" fmla="*/ 196 h 602"/>
                <a:gd name="T18" fmla="*/ 248 w 784"/>
                <a:gd name="T19" fmla="*/ 164 h 602"/>
                <a:gd name="T20" fmla="*/ 254 w 784"/>
                <a:gd name="T21" fmla="*/ 96 h 602"/>
                <a:gd name="T22" fmla="*/ 264 w 784"/>
                <a:gd name="T23" fmla="*/ 60 h 602"/>
                <a:gd name="T24" fmla="*/ 298 w 784"/>
                <a:gd name="T25" fmla="*/ 36 h 602"/>
                <a:gd name="T26" fmla="*/ 352 w 784"/>
                <a:gd name="T27" fmla="*/ 68 h 602"/>
                <a:gd name="T28" fmla="*/ 360 w 784"/>
                <a:gd name="T29" fmla="*/ 32 h 602"/>
                <a:gd name="T30" fmla="*/ 346 w 784"/>
                <a:gd name="T31" fmla="*/ 8 h 602"/>
                <a:gd name="T32" fmla="*/ 454 w 784"/>
                <a:gd name="T33" fmla="*/ 10 h 602"/>
                <a:gd name="T34" fmla="*/ 506 w 784"/>
                <a:gd name="T35" fmla="*/ 0 h 602"/>
                <a:gd name="T36" fmla="*/ 518 w 784"/>
                <a:gd name="T37" fmla="*/ 20 h 602"/>
                <a:gd name="T38" fmla="*/ 478 w 784"/>
                <a:gd name="T39" fmla="*/ 82 h 602"/>
                <a:gd name="T40" fmla="*/ 500 w 784"/>
                <a:gd name="T41" fmla="*/ 96 h 602"/>
                <a:gd name="T42" fmla="*/ 580 w 784"/>
                <a:gd name="T43" fmla="*/ 72 h 602"/>
                <a:gd name="T44" fmla="*/ 612 w 784"/>
                <a:gd name="T45" fmla="*/ 84 h 602"/>
                <a:gd name="T46" fmla="*/ 668 w 784"/>
                <a:gd name="T47" fmla="*/ 58 h 602"/>
                <a:gd name="T48" fmla="*/ 710 w 784"/>
                <a:gd name="T49" fmla="*/ 56 h 602"/>
                <a:gd name="T50" fmla="*/ 784 w 784"/>
                <a:gd name="T51" fmla="*/ 152 h 602"/>
                <a:gd name="T52" fmla="*/ 752 w 784"/>
                <a:gd name="T53" fmla="*/ 174 h 602"/>
                <a:gd name="T54" fmla="*/ 728 w 784"/>
                <a:gd name="T55" fmla="*/ 196 h 602"/>
                <a:gd name="T56" fmla="*/ 728 w 784"/>
                <a:gd name="T57" fmla="*/ 224 h 602"/>
                <a:gd name="T58" fmla="*/ 704 w 784"/>
                <a:gd name="T59" fmla="*/ 242 h 602"/>
                <a:gd name="T60" fmla="*/ 634 w 784"/>
                <a:gd name="T61" fmla="*/ 282 h 602"/>
                <a:gd name="T62" fmla="*/ 606 w 784"/>
                <a:gd name="T63" fmla="*/ 296 h 602"/>
                <a:gd name="T64" fmla="*/ 582 w 784"/>
                <a:gd name="T65" fmla="*/ 288 h 602"/>
                <a:gd name="T66" fmla="*/ 556 w 784"/>
                <a:gd name="T67" fmla="*/ 304 h 602"/>
                <a:gd name="T68" fmla="*/ 544 w 784"/>
                <a:gd name="T69" fmla="*/ 292 h 602"/>
                <a:gd name="T70" fmla="*/ 526 w 784"/>
                <a:gd name="T71" fmla="*/ 294 h 602"/>
                <a:gd name="T72" fmla="*/ 516 w 784"/>
                <a:gd name="T73" fmla="*/ 326 h 602"/>
                <a:gd name="T74" fmla="*/ 498 w 784"/>
                <a:gd name="T75" fmla="*/ 338 h 602"/>
                <a:gd name="T76" fmla="*/ 478 w 784"/>
                <a:gd name="T77" fmla="*/ 342 h 602"/>
                <a:gd name="T78" fmla="*/ 468 w 784"/>
                <a:gd name="T79" fmla="*/ 326 h 602"/>
                <a:gd name="T80" fmla="*/ 436 w 784"/>
                <a:gd name="T81" fmla="*/ 302 h 602"/>
                <a:gd name="T82" fmla="*/ 408 w 784"/>
                <a:gd name="T83" fmla="*/ 330 h 602"/>
                <a:gd name="T84" fmla="*/ 374 w 784"/>
                <a:gd name="T85" fmla="*/ 368 h 602"/>
                <a:gd name="T86" fmla="*/ 350 w 784"/>
                <a:gd name="T87" fmla="*/ 394 h 602"/>
                <a:gd name="T88" fmla="*/ 306 w 784"/>
                <a:gd name="T89" fmla="*/ 418 h 602"/>
                <a:gd name="T90" fmla="*/ 270 w 784"/>
                <a:gd name="T91" fmla="*/ 422 h 602"/>
                <a:gd name="T92" fmla="*/ 256 w 784"/>
                <a:gd name="T93" fmla="*/ 438 h 602"/>
                <a:gd name="T94" fmla="*/ 218 w 784"/>
                <a:gd name="T95" fmla="*/ 432 h 602"/>
                <a:gd name="T96" fmla="*/ 140 w 784"/>
                <a:gd name="T97" fmla="*/ 462 h 602"/>
                <a:gd name="T98" fmla="*/ 92 w 784"/>
                <a:gd name="T99" fmla="*/ 474 h 602"/>
                <a:gd name="T100" fmla="*/ 76 w 784"/>
                <a:gd name="T101" fmla="*/ 510 h 602"/>
                <a:gd name="T102" fmla="*/ 52 w 784"/>
                <a:gd name="T103" fmla="*/ 542 h 602"/>
                <a:gd name="T104" fmla="*/ 78 w 784"/>
                <a:gd name="T105" fmla="*/ 566 h 602"/>
                <a:gd name="T106" fmla="*/ 86 w 784"/>
                <a:gd name="T107" fmla="*/ 590 h 602"/>
                <a:gd name="T108" fmla="*/ 54 w 784"/>
                <a:gd name="T109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602">
                  <a:moveTo>
                    <a:pt x="54" y="602"/>
                  </a:moveTo>
                  <a:lnTo>
                    <a:pt x="54" y="602"/>
                  </a:lnTo>
                  <a:lnTo>
                    <a:pt x="46" y="596"/>
                  </a:lnTo>
                  <a:lnTo>
                    <a:pt x="40" y="590"/>
                  </a:lnTo>
                  <a:lnTo>
                    <a:pt x="34" y="580"/>
                  </a:lnTo>
                  <a:lnTo>
                    <a:pt x="28" y="558"/>
                  </a:lnTo>
                  <a:lnTo>
                    <a:pt x="28" y="558"/>
                  </a:lnTo>
                  <a:lnTo>
                    <a:pt x="0" y="520"/>
                  </a:lnTo>
                  <a:lnTo>
                    <a:pt x="0" y="520"/>
                  </a:lnTo>
                  <a:lnTo>
                    <a:pt x="0" y="502"/>
                  </a:lnTo>
                  <a:lnTo>
                    <a:pt x="2" y="492"/>
                  </a:lnTo>
                  <a:lnTo>
                    <a:pt x="8" y="486"/>
                  </a:lnTo>
                  <a:lnTo>
                    <a:pt x="18" y="478"/>
                  </a:lnTo>
                  <a:lnTo>
                    <a:pt x="18" y="478"/>
                  </a:lnTo>
                  <a:lnTo>
                    <a:pt x="22" y="450"/>
                  </a:lnTo>
                  <a:lnTo>
                    <a:pt x="26" y="440"/>
                  </a:lnTo>
                  <a:lnTo>
                    <a:pt x="30" y="430"/>
                  </a:lnTo>
                  <a:lnTo>
                    <a:pt x="36" y="422"/>
                  </a:lnTo>
                  <a:lnTo>
                    <a:pt x="44" y="414"/>
                  </a:lnTo>
                  <a:lnTo>
                    <a:pt x="66" y="396"/>
                  </a:lnTo>
                  <a:lnTo>
                    <a:pt x="66" y="396"/>
                  </a:lnTo>
                  <a:lnTo>
                    <a:pt x="94" y="366"/>
                  </a:lnTo>
                  <a:lnTo>
                    <a:pt x="108" y="354"/>
                  </a:lnTo>
                  <a:lnTo>
                    <a:pt x="124" y="342"/>
                  </a:lnTo>
                  <a:lnTo>
                    <a:pt x="124" y="342"/>
                  </a:lnTo>
                  <a:lnTo>
                    <a:pt x="154" y="306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96" y="266"/>
                  </a:lnTo>
                  <a:lnTo>
                    <a:pt x="204" y="256"/>
                  </a:lnTo>
                  <a:lnTo>
                    <a:pt x="210" y="244"/>
                  </a:lnTo>
                  <a:lnTo>
                    <a:pt x="214" y="230"/>
                  </a:lnTo>
                  <a:lnTo>
                    <a:pt x="214" y="230"/>
                  </a:lnTo>
                  <a:lnTo>
                    <a:pt x="214" y="214"/>
                  </a:lnTo>
                  <a:lnTo>
                    <a:pt x="216" y="204"/>
                  </a:lnTo>
                  <a:lnTo>
                    <a:pt x="218" y="196"/>
                  </a:lnTo>
                  <a:lnTo>
                    <a:pt x="222" y="190"/>
                  </a:lnTo>
                  <a:lnTo>
                    <a:pt x="232" y="180"/>
                  </a:lnTo>
                  <a:lnTo>
                    <a:pt x="240" y="174"/>
                  </a:lnTo>
                  <a:lnTo>
                    <a:pt x="248" y="164"/>
                  </a:lnTo>
                  <a:lnTo>
                    <a:pt x="248" y="164"/>
                  </a:lnTo>
                  <a:lnTo>
                    <a:pt x="244" y="106"/>
                  </a:lnTo>
                  <a:lnTo>
                    <a:pt x="244" y="106"/>
                  </a:lnTo>
                  <a:lnTo>
                    <a:pt x="254" y="96"/>
                  </a:lnTo>
                  <a:lnTo>
                    <a:pt x="260" y="84"/>
                  </a:lnTo>
                  <a:lnTo>
                    <a:pt x="262" y="72"/>
                  </a:lnTo>
                  <a:lnTo>
                    <a:pt x="264" y="60"/>
                  </a:lnTo>
                  <a:lnTo>
                    <a:pt x="264" y="60"/>
                  </a:lnTo>
                  <a:lnTo>
                    <a:pt x="278" y="36"/>
                  </a:lnTo>
                  <a:lnTo>
                    <a:pt x="278" y="36"/>
                  </a:lnTo>
                  <a:lnTo>
                    <a:pt x="298" y="36"/>
                  </a:lnTo>
                  <a:lnTo>
                    <a:pt x="298" y="36"/>
                  </a:lnTo>
                  <a:lnTo>
                    <a:pt x="332" y="68"/>
                  </a:lnTo>
                  <a:lnTo>
                    <a:pt x="332" y="68"/>
                  </a:lnTo>
                  <a:lnTo>
                    <a:pt x="352" y="68"/>
                  </a:lnTo>
                  <a:lnTo>
                    <a:pt x="352" y="68"/>
                  </a:lnTo>
                  <a:lnTo>
                    <a:pt x="354" y="64"/>
                  </a:lnTo>
                  <a:lnTo>
                    <a:pt x="356" y="60"/>
                  </a:lnTo>
                  <a:lnTo>
                    <a:pt x="358" y="48"/>
                  </a:lnTo>
                  <a:lnTo>
                    <a:pt x="360" y="32"/>
                  </a:lnTo>
                  <a:lnTo>
                    <a:pt x="360" y="32"/>
                  </a:lnTo>
                  <a:lnTo>
                    <a:pt x="340" y="10"/>
                  </a:lnTo>
                  <a:lnTo>
                    <a:pt x="340" y="10"/>
                  </a:lnTo>
                  <a:lnTo>
                    <a:pt x="346" y="8"/>
                  </a:lnTo>
                  <a:lnTo>
                    <a:pt x="346" y="8"/>
                  </a:lnTo>
                  <a:lnTo>
                    <a:pt x="442" y="8"/>
                  </a:lnTo>
                  <a:lnTo>
                    <a:pt x="442" y="8"/>
                  </a:lnTo>
                  <a:lnTo>
                    <a:pt x="454" y="10"/>
                  </a:lnTo>
                  <a:lnTo>
                    <a:pt x="472" y="10"/>
                  </a:lnTo>
                  <a:lnTo>
                    <a:pt x="490" y="8"/>
                  </a:lnTo>
                  <a:lnTo>
                    <a:pt x="500" y="4"/>
                  </a:lnTo>
                  <a:lnTo>
                    <a:pt x="506" y="0"/>
                  </a:lnTo>
                  <a:lnTo>
                    <a:pt x="506" y="0"/>
                  </a:lnTo>
                  <a:lnTo>
                    <a:pt x="518" y="0"/>
                  </a:lnTo>
                  <a:lnTo>
                    <a:pt x="518" y="0"/>
                  </a:lnTo>
                  <a:lnTo>
                    <a:pt x="518" y="20"/>
                  </a:lnTo>
                  <a:lnTo>
                    <a:pt x="518" y="20"/>
                  </a:lnTo>
                  <a:lnTo>
                    <a:pt x="476" y="68"/>
                  </a:lnTo>
                  <a:lnTo>
                    <a:pt x="476" y="68"/>
                  </a:lnTo>
                  <a:lnTo>
                    <a:pt x="478" y="82"/>
                  </a:lnTo>
                  <a:lnTo>
                    <a:pt x="482" y="88"/>
                  </a:lnTo>
                  <a:lnTo>
                    <a:pt x="486" y="92"/>
                  </a:lnTo>
                  <a:lnTo>
                    <a:pt x="492" y="94"/>
                  </a:lnTo>
                  <a:lnTo>
                    <a:pt x="500" y="96"/>
                  </a:lnTo>
                  <a:lnTo>
                    <a:pt x="524" y="98"/>
                  </a:lnTo>
                  <a:lnTo>
                    <a:pt x="524" y="98"/>
                  </a:lnTo>
                  <a:lnTo>
                    <a:pt x="580" y="72"/>
                  </a:lnTo>
                  <a:lnTo>
                    <a:pt x="580" y="72"/>
                  </a:lnTo>
                  <a:lnTo>
                    <a:pt x="600" y="72"/>
                  </a:lnTo>
                  <a:lnTo>
                    <a:pt x="600" y="72"/>
                  </a:lnTo>
                  <a:lnTo>
                    <a:pt x="612" y="84"/>
                  </a:lnTo>
                  <a:lnTo>
                    <a:pt x="612" y="84"/>
                  </a:lnTo>
                  <a:lnTo>
                    <a:pt x="624" y="82"/>
                  </a:lnTo>
                  <a:lnTo>
                    <a:pt x="634" y="78"/>
                  </a:lnTo>
                  <a:lnTo>
                    <a:pt x="656" y="64"/>
                  </a:lnTo>
                  <a:lnTo>
                    <a:pt x="668" y="58"/>
                  </a:lnTo>
                  <a:lnTo>
                    <a:pt x="680" y="54"/>
                  </a:lnTo>
                  <a:lnTo>
                    <a:pt x="694" y="52"/>
                  </a:lnTo>
                  <a:lnTo>
                    <a:pt x="710" y="56"/>
                  </a:lnTo>
                  <a:lnTo>
                    <a:pt x="710" y="56"/>
                  </a:lnTo>
                  <a:lnTo>
                    <a:pt x="740" y="92"/>
                  </a:lnTo>
                  <a:lnTo>
                    <a:pt x="740" y="92"/>
                  </a:lnTo>
                  <a:lnTo>
                    <a:pt x="784" y="152"/>
                  </a:lnTo>
                  <a:lnTo>
                    <a:pt x="784" y="152"/>
                  </a:lnTo>
                  <a:lnTo>
                    <a:pt x="784" y="168"/>
                  </a:lnTo>
                  <a:lnTo>
                    <a:pt x="784" y="168"/>
                  </a:lnTo>
                  <a:lnTo>
                    <a:pt x="764" y="170"/>
                  </a:lnTo>
                  <a:lnTo>
                    <a:pt x="752" y="174"/>
                  </a:lnTo>
                  <a:lnTo>
                    <a:pt x="752" y="174"/>
                  </a:lnTo>
                  <a:lnTo>
                    <a:pt x="746" y="180"/>
                  </a:lnTo>
                  <a:lnTo>
                    <a:pt x="740" y="186"/>
                  </a:lnTo>
                  <a:lnTo>
                    <a:pt x="728" y="196"/>
                  </a:lnTo>
                  <a:lnTo>
                    <a:pt x="724" y="200"/>
                  </a:lnTo>
                  <a:lnTo>
                    <a:pt x="722" y="208"/>
                  </a:lnTo>
                  <a:lnTo>
                    <a:pt x="722" y="214"/>
                  </a:lnTo>
                  <a:lnTo>
                    <a:pt x="728" y="224"/>
                  </a:lnTo>
                  <a:lnTo>
                    <a:pt x="728" y="224"/>
                  </a:lnTo>
                  <a:lnTo>
                    <a:pt x="728" y="230"/>
                  </a:lnTo>
                  <a:lnTo>
                    <a:pt x="728" y="230"/>
                  </a:lnTo>
                  <a:lnTo>
                    <a:pt x="704" y="242"/>
                  </a:lnTo>
                  <a:lnTo>
                    <a:pt x="680" y="256"/>
                  </a:lnTo>
                  <a:lnTo>
                    <a:pt x="656" y="270"/>
                  </a:lnTo>
                  <a:lnTo>
                    <a:pt x="634" y="282"/>
                  </a:lnTo>
                  <a:lnTo>
                    <a:pt x="634" y="282"/>
                  </a:lnTo>
                  <a:lnTo>
                    <a:pt x="618" y="298"/>
                  </a:lnTo>
                  <a:lnTo>
                    <a:pt x="618" y="298"/>
                  </a:lnTo>
                  <a:lnTo>
                    <a:pt x="612" y="298"/>
                  </a:lnTo>
                  <a:lnTo>
                    <a:pt x="606" y="296"/>
                  </a:lnTo>
                  <a:lnTo>
                    <a:pt x="602" y="292"/>
                  </a:lnTo>
                  <a:lnTo>
                    <a:pt x="600" y="288"/>
                  </a:lnTo>
                  <a:lnTo>
                    <a:pt x="600" y="288"/>
                  </a:lnTo>
                  <a:lnTo>
                    <a:pt x="582" y="288"/>
                  </a:lnTo>
                  <a:lnTo>
                    <a:pt x="582" y="288"/>
                  </a:lnTo>
                  <a:lnTo>
                    <a:pt x="570" y="304"/>
                  </a:lnTo>
                  <a:lnTo>
                    <a:pt x="570" y="304"/>
                  </a:lnTo>
                  <a:lnTo>
                    <a:pt x="556" y="304"/>
                  </a:lnTo>
                  <a:lnTo>
                    <a:pt x="556" y="304"/>
                  </a:lnTo>
                  <a:lnTo>
                    <a:pt x="552" y="298"/>
                  </a:lnTo>
                  <a:lnTo>
                    <a:pt x="548" y="294"/>
                  </a:lnTo>
                  <a:lnTo>
                    <a:pt x="544" y="292"/>
                  </a:lnTo>
                  <a:lnTo>
                    <a:pt x="540" y="292"/>
                  </a:lnTo>
                  <a:lnTo>
                    <a:pt x="534" y="292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6" y="318"/>
                  </a:lnTo>
                  <a:lnTo>
                    <a:pt x="526" y="318"/>
                  </a:lnTo>
                  <a:lnTo>
                    <a:pt x="520" y="322"/>
                  </a:lnTo>
                  <a:lnTo>
                    <a:pt x="516" y="326"/>
                  </a:lnTo>
                  <a:lnTo>
                    <a:pt x="508" y="328"/>
                  </a:lnTo>
                  <a:lnTo>
                    <a:pt x="504" y="328"/>
                  </a:lnTo>
                  <a:lnTo>
                    <a:pt x="500" y="332"/>
                  </a:lnTo>
                  <a:lnTo>
                    <a:pt x="498" y="338"/>
                  </a:lnTo>
                  <a:lnTo>
                    <a:pt x="494" y="346"/>
                  </a:lnTo>
                  <a:lnTo>
                    <a:pt x="494" y="346"/>
                  </a:lnTo>
                  <a:lnTo>
                    <a:pt x="482" y="344"/>
                  </a:lnTo>
                  <a:lnTo>
                    <a:pt x="478" y="342"/>
                  </a:lnTo>
                  <a:lnTo>
                    <a:pt x="476" y="340"/>
                  </a:lnTo>
                  <a:lnTo>
                    <a:pt x="472" y="334"/>
                  </a:lnTo>
                  <a:lnTo>
                    <a:pt x="468" y="326"/>
                  </a:lnTo>
                  <a:lnTo>
                    <a:pt x="468" y="326"/>
                  </a:lnTo>
                  <a:lnTo>
                    <a:pt x="462" y="326"/>
                  </a:lnTo>
                  <a:lnTo>
                    <a:pt x="462" y="326"/>
                  </a:lnTo>
                  <a:lnTo>
                    <a:pt x="436" y="302"/>
                  </a:lnTo>
                  <a:lnTo>
                    <a:pt x="436" y="302"/>
                  </a:lnTo>
                  <a:lnTo>
                    <a:pt x="420" y="302"/>
                  </a:lnTo>
                  <a:lnTo>
                    <a:pt x="420" y="302"/>
                  </a:lnTo>
                  <a:lnTo>
                    <a:pt x="414" y="314"/>
                  </a:lnTo>
                  <a:lnTo>
                    <a:pt x="408" y="330"/>
                  </a:lnTo>
                  <a:lnTo>
                    <a:pt x="408" y="330"/>
                  </a:lnTo>
                  <a:lnTo>
                    <a:pt x="388" y="362"/>
                  </a:lnTo>
                  <a:lnTo>
                    <a:pt x="388" y="362"/>
                  </a:lnTo>
                  <a:lnTo>
                    <a:pt x="374" y="368"/>
                  </a:lnTo>
                  <a:lnTo>
                    <a:pt x="366" y="374"/>
                  </a:lnTo>
                  <a:lnTo>
                    <a:pt x="358" y="382"/>
                  </a:lnTo>
                  <a:lnTo>
                    <a:pt x="350" y="394"/>
                  </a:lnTo>
                  <a:lnTo>
                    <a:pt x="350" y="394"/>
                  </a:lnTo>
                  <a:lnTo>
                    <a:pt x="338" y="396"/>
                  </a:lnTo>
                  <a:lnTo>
                    <a:pt x="328" y="398"/>
                  </a:lnTo>
                  <a:lnTo>
                    <a:pt x="328" y="398"/>
                  </a:lnTo>
                  <a:lnTo>
                    <a:pt x="306" y="418"/>
                  </a:lnTo>
                  <a:lnTo>
                    <a:pt x="306" y="418"/>
                  </a:lnTo>
                  <a:lnTo>
                    <a:pt x="290" y="418"/>
                  </a:lnTo>
                  <a:lnTo>
                    <a:pt x="278" y="420"/>
                  </a:lnTo>
                  <a:lnTo>
                    <a:pt x="270" y="422"/>
                  </a:lnTo>
                  <a:lnTo>
                    <a:pt x="262" y="426"/>
                  </a:lnTo>
                  <a:lnTo>
                    <a:pt x="262" y="426"/>
                  </a:lnTo>
                  <a:lnTo>
                    <a:pt x="256" y="438"/>
                  </a:lnTo>
                  <a:lnTo>
                    <a:pt x="256" y="438"/>
                  </a:lnTo>
                  <a:lnTo>
                    <a:pt x="244" y="438"/>
                  </a:lnTo>
                  <a:lnTo>
                    <a:pt x="244" y="438"/>
                  </a:lnTo>
                  <a:lnTo>
                    <a:pt x="228" y="432"/>
                  </a:lnTo>
                  <a:lnTo>
                    <a:pt x="218" y="432"/>
                  </a:lnTo>
                  <a:lnTo>
                    <a:pt x="210" y="436"/>
                  </a:lnTo>
                  <a:lnTo>
                    <a:pt x="198" y="440"/>
                  </a:lnTo>
                  <a:lnTo>
                    <a:pt x="198" y="440"/>
                  </a:lnTo>
                  <a:lnTo>
                    <a:pt x="140" y="462"/>
                  </a:lnTo>
                  <a:lnTo>
                    <a:pt x="140" y="462"/>
                  </a:lnTo>
                  <a:lnTo>
                    <a:pt x="120" y="464"/>
                  </a:lnTo>
                  <a:lnTo>
                    <a:pt x="104" y="466"/>
                  </a:lnTo>
                  <a:lnTo>
                    <a:pt x="92" y="474"/>
                  </a:lnTo>
                  <a:lnTo>
                    <a:pt x="78" y="486"/>
                  </a:lnTo>
                  <a:lnTo>
                    <a:pt x="78" y="486"/>
                  </a:lnTo>
                  <a:lnTo>
                    <a:pt x="76" y="510"/>
                  </a:lnTo>
                  <a:lnTo>
                    <a:pt x="76" y="510"/>
                  </a:lnTo>
                  <a:lnTo>
                    <a:pt x="64" y="514"/>
                  </a:lnTo>
                  <a:lnTo>
                    <a:pt x="56" y="520"/>
                  </a:lnTo>
                  <a:lnTo>
                    <a:pt x="52" y="528"/>
                  </a:lnTo>
                  <a:lnTo>
                    <a:pt x="52" y="542"/>
                  </a:lnTo>
                  <a:lnTo>
                    <a:pt x="52" y="542"/>
                  </a:lnTo>
                  <a:lnTo>
                    <a:pt x="60" y="548"/>
                  </a:lnTo>
                  <a:lnTo>
                    <a:pt x="72" y="558"/>
                  </a:lnTo>
                  <a:lnTo>
                    <a:pt x="78" y="566"/>
                  </a:lnTo>
                  <a:lnTo>
                    <a:pt x="82" y="572"/>
                  </a:lnTo>
                  <a:lnTo>
                    <a:pt x="86" y="580"/>
                  </a:lnTo>
                  <a:lnTo>
                    <a:pt x="86" y="590"/>
                  </a:lnTo>
                  <a:lnTo>
                    <a:pt x="86" y="590"/>
                  </a:lnTo>
                  <a:lnTo>
                    <a:pt x="78" y="594"/>
                  </a:lnTo>
                  <a:lnTo>
                    <a:pt x="68" y="598"/>
                  </a:lnTo>
                  <a:lnTo>
                    <a:pt x="54" y="602"/>
                  </a:lnTo>
                  <a:lnTo>
                    <a:pt x="54" y="602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55" name="未知"/>
            <p:cNvSpPr>
              <a:spLocks/>
            </p:cNvSpPr>
            <p:nvPr/>
          </p:nvSpPr>
          <p:spPr bwMode="auto">
            <a:xfrm>
              <a:off x="2023729" y="2627636"/>
              <a:ext cx="651108" cy="641041"/>
            </a:xfrm>
            <a:custGeom>
              <a:avLst/>
              <a:gdLst>
                <a:gd name="T0" fmla="*/ 356 w 882"/>
                <a:gd name="T1" fmla="*/ 898 h 932"/>
                <a:gd name="T2" fmla="*/ 352 w 882"/>
                <a:gd name="T3" fmla="*/ 844 h 932"/>
                <a:gd name="T4" fmla="*/ 310 w 882"/>
                <a:gd name="T5" fmla="*/ 844 h 932"/>
                <a:gd name="T6" fmla="*/ 246 w 882"/>
                <a:gd name="T7" fmla="*/ 840 h 932"/>
                <a:gd name="T8" fmla="*/ 208 w 882"/>
                <a:gd name="T9" fmla="*/ 800 h 932"/>
                <a:gd name="T10" fmla="*/ 164 w 882"/>
                <a:gd name="T11" fmla="*/ 782 h 932"/>
                <a:gd name="T12" fmla="*/ 166 w 882"/>
                <a:gd name="T13" fmla="*/ 724 h 932"/>
                <a:gd name="T14" fmla="*/ 138 w 882"/>
                <a:gd name="T15" fmla="*/ 676 h 932"/>
                <a:gd name="T16" fmla="*/ 114 w 882"/>
                <a:gd name="T17" fmla="*/ 616 h 932"/>
                <a:gd name="T18" fmla="*/ 88 w 882"/>
                <a:gd name="T19" fmla="*/ 564 h 932"/>
                <a:gd name="T20" fmla="*/ 16 w 882"/>
                <a:gd name="T21" fmla="*/ 578 h 932"/>
                <a:gd name="T22" fmla="*/ 0 w 882"/>
                <a:gd name="T23" fmla="*/ 490 h 932"/>
                <a:gd name="T24" fmla="*/ 84 w 882"/>
                <a:gd name="T25" fmla="*/ 392 h 932"/>
                <a:gd name="T26" fmla="*/ 120 w 882"/>
                <a:gd name="T27" fmla="*/ 310 h 932"/>
                <a:gd name="T28" fmla="*/ 130 w 882"/>
                <a:gd name="T29" fmla="*/ 236 h 932"/>
                <a:gd name="T30" fmla="*/ 126 w 882"/>
                <a:gd name="T31" fmla="*/ 178 h 932"/>
                <a:gd name="T32" fmla="*/ 104 w 882"/>
                <a:gd name="T33" fmla="*/ 108 h 932"/>
                <a:gd name="T34" fmla="*/ 126 w 882"/>
                <a:gd name="T35" fmla="*/ 52 h 932"/>
                <a:gd name="T36" fmla="*/ 134 w 882"/>
                <a:gd name="T37" fmla="*/ 0 h 932"/>
                <a:gd name="T38" fmla="*/ 170 w 882"/>
                <a:gd name="T39" fmla="*/ 44 h 932"/>
                <a:gd name="T40" fmla="*/ 208 w 882"/>
                <a:gd name="T41" fmla="*/ 100 h 932"/>
                <a:gd name="T42" fmla="*/ 218 w 882"/>
                <a:gd name="T43" fmla="*/ 44 h 932"/>
                <a:gd name="T44" fmla="*/ 252 w 882"/>
                <a:gd name="T45" fmla="*/ 88 h 932"/>
                <a:gd name="T46" fmla="*/ 332 w 882"/>
                <a:gd name="T47" fmla="*/ 148 h 932"/>
                <a:gd name="T48" fmla="*/ 406 w 882"/>
                <a:gd name="T49" fmla="*/ 280 h 932"/>
                <a:gd name="T50" fmla="*/ 400 w 882"/>
                <a:gd name="T51" fmla="*/ 336 h 932"/>
                <a:gd name="T52" fmla="*/ 452 w 882"/>
                <a:gd name="T53" fmla="*/ 370 h 932"/>
                <a:gd name="T54" fmla="*/ 574 w 882"/>
                <a:gd name="T55" fmla="*/ 346 h 932"/>
                <a:gd name="T56" fmla="*/ 586 w 882"/>
                <a:gd name="T57" fmla="*/ 290 h 932"/>
                <a:gd name="T58" fmla="*/ 558 w 882"/>
                <a:gd name="T59" fmla="*/ 230 h 932"/>
                <a:gd name="T60" fmla="*/ 620 w 882"/>
                <a:gd name="T61" fmla="*/ 178 h 932"/>
                <a:gd name="T62" fmla="*/ 606 w 882"/>
                <a:gd name="T63" fmla="*/ 122 h 932"/>
                <a:gd name="T64" fmla="*/ 614 w 882"/>
                <a:gd name="T65" fmla="*/ 104 h 932"/>
                <a:gd name="T66" fmla="*/ 654 w 882"/>
                <a:gd name="T67" fmla="*/ 64 h 932"/>
                <a:gd name="T68" fmla="*/ 712 w 882"/>
                <a:gd name="T69" fmla="*/ 144 h 932"/>
                <a:gd name="T70" fmla="*/ 790 w 882"/>
                <a:gd name="T71" fmla="*/ 128 h 932"/>
                <a:gd name="T72" fmla="*/ 790 w 882"/>
                <a:gd name="T73" fmla="*/ 188 h 932"/>
                <a:gd name="T74" fmla="*/ 752 w 882"/>
                <a:gd name="T75" fmla="*/ 208 h 932"/>
                <a:gd name="T76" fmla="*/ 660 w 882"/>
                <a:gd name="T77" fmla="*/ 204 h 932"/>
                <a:gd name="T78" fmla="*/ 630 w 882"/>
                <a:gd name="T79" fmla="*/ 266 h 932"/>
                <a:gd name="T80" fmla="*/ 652 w 882"/>
                <a:gd name="T81" fmla="*/ 308 h 932"/>
                <a:gd name="T82" fmla="*/ 698 w 882"/>
                <a:gd name="T83" fmla="*/ 300 h 932"/>
                <a:gd name="T84" fmla="*/ 718 w 882"/>
                <a:gd name="T85" fmla="*/ 330 h 932"/>
                <a:gd name="T86" fmla="*/ 692 w 882"/>
                <a:gd name="T87" fmla="*/ 418 h 932"/>
                <a:gd name="T88" fmla="*/ 732 w 882"/>
                <a:gd name="T89" fmla="*/ 472 h 932"/>
                <a:gd name="T90" fmla="*/ 726 w 882"/>
                <a:gd name="T91" fmla="*/ 528 h 932"/>
                <a:gd name="T92" fmla="*/ 828 w 882"/>
                <a:gd name="T93" fmla="*/ 590 h 932"/>
                <a:gd name="T94" fmla="*/ 876 w 882"/>
                <a:gd name="T95" fmla="*/ 606 h 932"/>
                <a:gd name="T96" fmla="*/ 850 w 882"/>
                <a:gd name="T97" fmla="*/ 658 h 932"/>
                <a:gd name="T98" fmla="*/ 784 w 882"/>
                <a:gd name="T99" fmla="*/ 676 h 932"/>
                <a:gd name="T100" fmla="*/ 720 w 882"/>
                <a:gd name="T101" fmla="*/ 734 h 932"/>
                <a:gd name="T102" fmla="*/ 650 w 882"/>
                <a:gd name="T103" fmla="*/ 764 h 932"/>
                <a:gd name="T104" fmla="*/ 612 w 882"/>
                <a:gd name="T105" fmla="*/ 742 h 932"/>
                <a:gd name="T106" fmla="*/ 564 w 882"/>
                <a:gd name="T107" fmla="*/ 760 h 932"/>
                <a:gd name="T108" fmla="*/ 526 w 882"/>
                <a:gd name="T109" fmla="*/ 740 h 932"/>
                <a:gd name="T110" fmla="*/ 482 w 882"/>
                <a:gd name="T111" fmla="*/ 750 h 932"/>
                <a:gd name="T112" fmla="*/ 448 w 882"/>
                <a:gd name="T113" fmla="*/ 768 h 932"/>
                <a:gd name="T114" fmla="*/ 404 w 882"/>
                <a:gd name="T115" fmla="*/ 766 h 932"/>
                <a:gd name="T116" fmla="*/ 410 w 882"/>
                <a:gd name="T117" fmla="*/ 826 h 932"/>
                <a:gd name="T118" fmla="*/ 410 w 882"/>
                <a:gd name="T119" fmla="*/ 872 h 932"/>
                <a:gd name="T120" fmla="*/ 406 w 882"/>
                <a:gd name="T121" fmla="*/ 932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82" h="932">
                  <a:moveTo>
                    <a:pt x="406" y="932"/>
                  </a:moveTo>
                  <a:lnTo>
                    <a:pt x="406" y="932"/>
                  </a:lnTo>
                  <a:lnTo>
                    <a:pt x="392" y="920"/>
                  </a:lnTo>
                  <a:lnTo>
                    <a:pt x="380" y="910"/>
                  </a:lnTo>
                  <a:lnTo>
                    <a:pt x="368" y="904"/>
                  </a:lnTo>
                  <a:lnTo>
                    <a:pt x="356" y="898"/>
                  </a:lnTo>
                  <a:lnTo>
                    <a:pt x="356" y="898"/>
                  </a:lnTo>
                  <a:lnTo>
                    <a:pt x="358" y="880"/>
                  </a:lnTo>
                  <a:lnTo>
                    <a:pt x="358" y="866"/>
                  </a:lnTo>
                  <a:lnTo>
                    <a:pt x="356" y="854"/>
                  </a:lnTo>
                  <a:lnTo>
                    <a:pt x="352" y="844"/>
                  </a:lnTo>
                  <a:lnTo>
                    <a:pt x="352" y="844"/>
                  </a:lnTo>
                  <a:lnTo>
                    <a:pt x="342" y="836"/>
                  </a:lnTo>
                  <a:lnTo>
                    <a:pt x="342" y="836"/>
                  </a:lnTo>
                  <a:lnTo>
                    <a:pt x="332" y="836"/>
                  </a:lnTo>
                  <a:lnTo>
                    <a:pt x="324" y="838"/>
                  </a:lnTo>
                  <a:lnTo>
                    <a:pt x="316" y="840"/>
                  </a:lnTo>
                  <a:lnTo>
                    <a:pt x="310" y="844"/>
                  </a:lnTo>
                  <a:lnTo>
                    <a:pt x="298" y="854"/>
                  </a:lnTo>
                  <a:lnTo>
                    <a:pt x="288" y="866"/>
                  </a:lnTo>
                  <a:lnTo>
                    <a:pt x="288" y="866"/>
                  </a:lnTo>
                  <a:lnTo>
                    <a:pt x="260" y="860"/>
                  </a:lnTo>
                  <a:lnTo>
                    <a:pt x="260" y="860"/>
                  </a:lnTo>
                  <a:lnTo>
                    <a:pt x="246" y="840"/>
                  </a:lnTo>
                  <a:lnTo>
                    <a:pt x="240" y="832"/>
                  </a:lnTo>
                  <a:lnTo>
                    <a:pt x="234" y="828"/>
                  </a:lnTo>
                  <a:lnTo>
                    <a:pt x="234" y="828"/>
                  </a:lnTo>
                  <a:lnTo>
                    <a:pt x="218" y="808"/>
                  </a:lnTo>
                  <a:lnTo>
                    <a:pt x="212" y="802"/>
                  </a:lnTo>
                  <a:lnTo>
                    <a:pt x="208" y="800"/>
                  </a:lnTo>
                  <a:lnTo>
                    <a:pt x="202" y="798"/>
                  </a:lnTo>
                  <a:lnTo>
                    <a:pt x="194" y="798"/>
                  </a:lnTo>
                  <a:lnTo>
                    <a:pt x="172" y="798"/>
                  </a:lnTo>
                  <a:lnTo>
                    <a:pt x="172" y="798"/>
                  </a:lnTo>
                  <a:lnTo>
                    <a:pt x="168" y="790"/>
                  </a:lnTo>
                  <a:lnTo>
                    <a:pt x="164" y="782"/>
                  </a:lnTo>
                  <a:lnTo>
                    <a:pt x="162" y="774"/>
                  </a:lnTo>
                  <a:lnTo>
                    <a:pt x="160" y="766"/>
                  </a:lnTo>
                  <a:lnTo>
                    <a:pt x="160" y="752"/>
                  </a:lnTo>
                  <a:lnTo>
                    <a:pt x="160" y="740"/>
                  </a:lnTo>
                  <a:lnTo>
                    <a:pt x="160" y="740"/>
                  </a:lnTo>
                  <a:lnTo>
                    <a:pt x="166" y="724"/>
                  </a:lnTo>
                  <a:lnTo>
                    <a:pt x="168" y="708"/>
                  </a:lnTo>
                  <a:lnTo>
                    <a:pt x="166" y="694"/>
                  </a:lnTo>
                  <a:lnTo>
                    <a:pt x="164" y="688"/>
                  </a:lnTo>
                  <a:lnTo>
                    <a:pt x="162" y="682"/>
                  </a:lnTo>
                  <a:lnTo>
                    <a:pt x="162" y="682"/>
                  </a:lnTo>
                  <a:lnTo>
                    <a:pt x="138" y="676"/>
                  </a:lnTo>
                  <a:lnTo>
                    <a:pt x="126" y="670"/>
                  </a:lnTo>
                  <a:lnTo>
                    <a:pt x="124" y="668"/>
                  </a:lnTo>
                  <a:lnTo>
                    <a:pt x="124" y="664"/>
                  </a:lnTo>
                  <a:lnTo>
                    <a:pt x="124" y="650"/>
                  </a:lnTo>
                  <a:lnTo>
                    <a:pt x="124" y="650"/>
                  </a:lnTo>
                  <a:lnTo>
                    <a:pt x="114" y="616"/>
                  </a:lnTo>
                  <a:lnTo>
                    <a:pt x="114" y="616"/>
                  </a:lnTo>
                  <a:lnTo>
                    <a:pt x="102" y="598"/>
                  </a:lnTo>
                  <a:lnTo>
                    <a:pt x="102" y="598"/>
                  </a:lnTo>
                  <a:lnTo>
                    <a:pt x="96" y="576"/>
                  </a:lnTo>
                  <a:lnTo>
                    <a:pt x="92" y="568"/>
                  </a:lnTo>
                  <a:lnTo>
                    <a:pt x="88" y="564"/>
                  </a:lnTo>
                  <a:lnTo>
                    <a:pt x="82" y="560"/>
                  </a:lnTo>
                  <a:lnTo>
                    <a:pt x="76" y="558"/>
                  </a:lnTo>
                  <a:lnTo>
                    <a:pt x="58" y="556"/>
                  </a:lnTo>
                  <a:lnTo>
                    <a:pt x="58" y="556"/>
                  </a:lnTo>
                  <a:lnTo>
                    <a:pt x="30" y="572"/>
                  </a:lnTo>
                  <a:lnTo>
                    <a:pt x="16" y="578"/>
                  </a:lnTo>
                  <a:lnTo>
                    <a:pt x="4" y="580"/>
                  </a:lnTo>
                  <a:lnTo>
                    <a:pt x="4" y="580"/>
                  </a:lnTo>
                  <a:lnTo>
                    <a:pt x="2" y="576"/>
                  </a:lnTo>
                  <a:lnTo>
                    <a:pt x="2" y="576"/>
                  </a:lnTo>
                  <a:lnTo>
                    <a:pt x="0" y="490"/>
                  </a:lnTo>
                  <a:lnTo>
                    <a:pt x="0" y="490"/>
                  </a:lnTo>
                  <a:lnTo>
                    <a:pt x="16" y="454"/>
                  </a:lnTo>
                  <a:lnTo>
                    <a:pt x="16" y="454"/>
                  </a:lnTo>
                  <a:lnTo>
                    <a:pt x="32" y="436"/>
                  </a:lnTo>
                  <a:lnTo>
                    <a:pt x="46" y="422"/>
                  </a:lnTo>
                  <a:lnTo>
                    <a:pt x="62" y="408"/>
                  </a:lnTo>
                  <a:lnTo>
                    <a:pt x="84" y="392"/>
                  </a:lnTo>
                  <a:lnTo>
                    <a:pt x="84" y="392"/>
                  </a:lnTo>
                  <a:lnTo>
                    <a:pt x="108" y="370"/>
                  </a:lnTo>
                  <a:lnTo>
                    <a:pt x="108" y="370"/>
                  </a:lnTo>
                  <a:lnTo>
                    <a:pt x="110" y="328"/>
                  </a:lnTo>
                  <a:lnTo>
                    <a:pt x="110" y="328"/>
                  </a:lnTo>
                  <a:lnTo>
                    <a:pt x="120" y="310"/>
                  </a:lnTo>
                  <a:lnTo>
                    <a:pt x="120" y="310"/>
                  </a:lnTo>
                  <a:lnTo>
                    <a:pt x="120" y="288"/>
                  </a:lnTo>
                  <a:lnTo>
                    <a:pt x="120" y="266"/>
                  </a:lnTo>
                  <a:lnTo>
                    <a:pt x="124" y="248"/>
                  </a:lnTo>
                  <a:lnTo>
                    <a:pt x="126" y="240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2" y="218"/>
                  </a:lnTo>
                  <a:lnTo>
                    <a:pt x="134" y="204"/>
                  </a:lnTo>
                  <a:lnTo>
                    <a:pt x="132" y="190"/>
                  </a:lnTo>
                  <a:lnTo>
                    <a:pt x="126" y="178"/>
                  </a:lnTo>
                  <a:lnTo>
                    <a:pt x="126" y="178"/>
                  </a:lnTo>
                  <a:lnTo>
                    <a:pt x="84" y="142"/>
                  </a:lnTo>
                  <a:lnTo>
                    <a:pt x="84" y="142"/>
                  </a:lnTo>
                  <a:lnTo>
                    <a:pt x="84" y="110"/>
                  </a:lnTo>
                  <a:lnTo>
                    <a:pt x="84" y="110"/>
                  </a:lnTo>
                  <a:lnTo>
                    <a:pt x="94" y="110"/>
                  </a:lnTo>
                  <a:lnTo>
                    <a:pt x="104" y="108"/>
                  </a:lnTo>
                  <a:lnTo>
                    <a:pt x="126" y="100"/>
                  </a:lnTo>
                  <a:lnTo>
                    <a:pt x="126" y="100"/>
                  </a:lnTo>
                  <a:lnTo>
                    <a:pt x="128" y="88"/>
                  </a:lnTo>
                  <a:lnTo>
                    <a:pt x="128" y="76"/>
                  </a:lnTo>
                  <a:lnTo>
                    <a:pt x="128" y="64"/>
                  </a:lnTo>
                  <a:lnTo>
                    <a:pt x="126" y="52"/>
                  </a:lnTo>
                  <a:lnTo>
                    <a:pt x="120" y="32"/>
                  </a:lnTo>
                  <a:lnTo>
                    <a:pt x="120" y="22"/>
                  </a:lnTo>
                  <a:lnTo>
                    <a:pt x="118" y="12"/>
                  </a:lnTo>
                  <a:lnTo>
                    <a:pt x="118" y="12"/>
                  </a:lnTo>
                  <a:lnTo>
                    <a:pt x="126" y="6"/>
                  </a:lnTo>
                  <a:lnTo>
                    <a:pt x="134" y="0"/>
                  </a:lnTo>
                  <a:lnTo>
                    <a:pt x="138" y="0"/>
                  </a:lnTo>
                  <a:lnTo>
                    <a:pt x="142" y="0"/>
                  </a:lnTo>
                  <a:lnTo>
                    <a:pt x="148" y="4"/>
                  </a:lnTo>
                  <a:lnTo>
                    <a:pt x="154" y="8"/>
                  </a:lnTo>
                  <a:lnTo>
                    <a:pt x="154" y="8"/>
                  </a:lnTo>
                  <a:lnTo>
                    <a:pt x="170" y="44"/>
                  </a:lnTo>
                  <a:lnTo>
                    <a:pt x="178" y="66"/>
                  </a:lnTo>
                  <a:lnTo>
                    <a:pt x="184" y="90"/>
                  </a:lnTo>
                  <a:lnTo>
                    <a:pt x="184" y="90"/>
                  </a:lnTo>
                  <a:lnTo>
                    <a:pt x="188" y="96"/>
                  </a:lnTo>
                  <a:lnTo>
                    <a:pt x="192" y="98"/>
                  </a:lnTo>
                  <a:lnTo>
                    <a:pt x="208" y="100"/>
                  </a:lnTo>
                  <a:lnTo>
                    <a:pt x="208" y="100"/>
                  </a:lnTo>
                  <a:lnTo>
                    <a:pt x="212" y="92"/>
                  </a:lnTo>
                  <a:lnTo>
                    <a:pt x="216" y="86"/>
                  </a:lnTo>
                  <a:lnTo>
                    <a:pt x="218" y="70"/>
                  </a:lnTo>
                  <a:lnTo>
                    <a:pt x="218" y="44"/>
                  </a:lnTo>
                  <a:lnTo>
                    <a:pt x="218" y="4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6" y="44"/>
                  </a:lnTo>
                  <a:lnTo>
                    <a:pt x="242" y="56"/>
                  </a:lnTo>
                  <a:lnTo>
                    <a:pt x="252" y="88"/>
                  </a:lnTo>
                  <a:lnTo>
                    <a:pt x="252" y="88"/>
                  </a:lnTo>
                  <a:lnTo>
                    <a:pt x="268" y="112"/>
                  </a:lnTo>
                  <a:lnTo>
                    <a:pt x="278" y="126"/>
                  </a:lnTo>
                  <a:lnTo>
                    <a:pt x="292" y="142"/>
                  </a:lnTo>
                  <a:lnTo>
                    <a:pt x="292" y="142"/>
                  </a:lnTo>
                  <a:lnTo>
                    <a:pt x="332" y="148"/>
                  </a:lnTo>
                  <a:lnTo>
                    <a:pt x="332" y="148"/>
                  </a:lnTo>
                  <a:lnTo>
                    <a:pt x="368" y="216"/>
                  </a:lnTo>
                  <a:lnTo>
                    <a:pt x="368" y="216"/>
                  </a:lnTo>
                  <a:lnTo>
                    <a:pt x="404" y="264"/>
                  </a:lnTo>
                  <a:lnTo>
                    <a:pt x="404" y="264"/>
                  </a:lnTo>
                  <a:lnTo>
                    <a:pt x="406" y="280"/>
                  </a:lnTo>
                  <a:lnTo>
                    <a:pt x="406" y="280"/>
                  </a:lnTo>
                  <a:lnTo>
                    <a:pt x="398" y="290"/>
                  </a:lnTo>
                  <a:lnTo>
                    <a:pt x="392" y="298"/>
                  </a:lnTo>
                  <a:lnTo>
                    <a:pt x="390" y="306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400" y="336"/>
                  </a:lnTo>
                  <a:lnTo>
                    <a:pt x="408" y="346"/>
                  </a:lnTo>
                  <a:lnTo>
                    <a:pt x="422" y="356"/>
                  </a:lnTo>
                  <a:lnTo>
                    <a:pt x="430" y="358"/>
                  </a:lnTo>
                  <a:lnTo>
                    <a:pt x="440" y="362"/>
                  </a:lnTo>
                  <a:lnTo>
                    <a:pt x="440" y="362"/>
                  </a:lnTo>
                  <a:lnTo>
                    <a:pt x="452" y="370"/>
                  </a:lnTo>
                  <a:lnTo>
                    <a:pt x="460" y="376"/>
                  </a:lnTo>
                  <a:lnTo>
                    <a:pt x="472" y="380"/>
                  </a:lnTo>
                  <a:lnTo>
                    <a:pt x="472" y="380"/>
                  </a:lnTo>
                  <a:lnTo>
                    <a:pt x="500" y="378"/>
                  </a:lnTo>
                  <a:lnTo>
                    <a:pt x="500" y="378"/>
                  </a:lnTo>
                  <a:lnTo>
                    <a:pt x="574" y="346"/>
                  </a:lnTo>
                  <a:lnTo>
                    <a:pt x="574" y="346"/>
                  </a:lnTo>
                  <a:lnTo>
                    <a:pt x="580" y="330"/>
                  </a:lnTo>
                  <a:lnTo>
                    <a:pt x="584" y="318"/>
                  </a:lnTo>
                  <a:lnTo>
                    <a:pt x="586" y="304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78" y="278"/>
                  </a:lnTo>
                  <a:lnTo>
                    <a:pt x="572" y="272"/>
                  </a:lnTo>
                  <a:lnTo>
                    <a:pt x="558" y="262"/>
                  </a:lnTo>
                  <a:lnTo>
                    <a:pt x="558" y="262"/>
                  </a:lnTo>
                  <a:lnTo>
                    <a:pt x="558" y="238"/>
                  </a:lnTo>
                  <a:lnTo>
                    <a:pt x="558" y="230"/>
                  </a:lnTo>
                  <a:lnTo>
                    <a:pt x="564" y="222"/>
                  </a:lnTo>
                  <a:lnTo>
                    <a:pt x="564" y="222"/>
                  </a:lnTo>
                  <a:lnTo>
                    <a:pt x="578" y="214"/>
                  </a:lnTo>
                  <a:lnTo>
                    <a:pt x="594" y="204"/>
                  </a:lnTo>
                  <a:lnTo>
                    <a:pt x="608" y="192"/>
                  </a:lnTo>
                  <a:lnTo>
                    <a:pt x="620" y="178"/>
                  </a:lnTo>
                  <a:lnTo>
                    <a:pt x="620" y="178"/>
                  </a:lnTo>
                  <a:lnTo>
                    <a:pt x="620" y="152"/>
                  </a:lnTo>
                  <a:lnTo>
                    <a:pt x="620" y="152"/>
                  </a:lnTo>
                  <a:lnTo>
                    <a:pt x="616" y="138"/>
                  </a:lnTo>
                  <a:lnTo>
                    <a:pt x="610" y="128"/>
                  </a:lnTo>
                  <a:lnTo>
                    <a:pt x="606" y="122"/>
                  </a:lnTo>
                  <a:lnTo>
                    <a:pt x="600" y="116"/>
                  </a:lnTo>
                  <a:lnTo>
                    <a:pt x="600" y="116"/>
                  </a:lnTo>
                  <a:lnTo>
                    <a:pt x="598" y="108"/>
                  </a:lnTo>
                  <a:lnTo>
                    <a:pt x="598" y="108"/>
                  </a:lnTo>
                  <a:lnTo>
                    <a:pt x="614" y="104"/>
                  </a:lnTo>
                  <a:lnTo>
                    <a:pt x="614" y="104"/>
                  </a:lnTo>
                  <a:lnTo>
                    <a:pt x="622" y="94"/>
                  </a:lnTo>
                  <a:lnTo>
                    <a:pt x="628" y="84"/>
                  </a:lnTo>
                  <a:lnTo>
                    <a:pt x="632" y="72"/>
                  </a:lnTo>
                  <a:lnTo>
                    <a:pt x="636" y="66"/>
                  </a:lnTo>
                  <a:lnTo>
                    <a:pt x="642" y="64"/>
                  </a:lnTo>
                  <a:lnTo>
                    <a:pt x="654" y="64"/>
                  </a:lnTo>
                  <a:lnTo>
                    <a:pt x="672" y="66"/>
                  </a:lnTo>
                  <a:lnTo>
                    <a:pt x="672" y="66"/>
                  </a:lnTo>
                  <a:lnTo>
                    <a:pt x="694" y="124"/>
                  </a:lnTo>
                  <a:lnTo>
                    <a:pt x="694" y="124"/>
                  </a:lnTo>
                  <a:lnTo>
                    <a:pt x="704" y="136"/>
                  </a:lnTo>
                  <a:lnTo>
                    <a:pt x="712" y="144"/>
                  </a:lnTo>
                  <a:lnTo>
                    <a:pt x="722" y="152"/>
                  </a:lnTo>
                  <a:lnTo>
                    <a:pt x="722" y="152"/>
                  </a:lnTo>
                  <a:lnTo>
                    <a:pt x="758" y="152"/>
                  </a:lnTo>
                  <a:lnTo>
                    <a:pt x="758" y="152"/>
                  </a:lnTo>
                  <a:lnTo>
                    <a:pt x="774" y="140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6" y="138"/>
                  </a:lnTo>
                  <a:lnTo>
                    <a:pt x="796" y="138"/>
                  </a:lnTo>
                  <a:lnTo>
                    <a:pt x="796" y="152"/>
                  </a:lnTo>
                  <a:lnTo>
                    <a:pt x="794" y="170"/>
                  </a:lnTo>
                  <a:lnTo>
                    <a:pt x="790" y="188"/>
                  </a:lnTo>
                  <a:lnTo>
                    <a:pt x="786" y="196"/>
                  </a:lnTo>
                  <a:lnTo>
                    <a:pt x="780" y="204"/>
                  </a:lnTo>
                  <a:lnTo>
                    <a:pt x="780" y="204"/>
                  </a:lnTo>
                  <a:lnTo>
                    <a:pt x="766" y="208"/>
                  </a:lnTo>
                  <a:lnTo>
                    <a:pt x="752" y="208"/>
                  </a:lnTo>
                  <a:lnTo>
                    <a:pt x="752" y="208"/>
                  </a:lnTo>
                  <a:lnTo>
                    <a:pt x="720" y="192"/>
                  </a:lnTo>
                  <a:lnTo>
                    <a:pt x="720" y="192"/>
                  </a:lnTo>
                  <a:lnTo>
                    <a:pt x="694" y="192"/>
                  </a:lnTo>
                  <a:lnTo>
                    <a:pt x="676" y="196"/>
                  </a:lnTo>
                  <a:lnTo>
                    <a:pt x="668" y="198"/>
                  </a:lnTo>
                  <a:lnTo>
                    <a:pt x="660" y="204"/>
                  </a:lnTo>
                  <a:lnTo>
                    <a:pt x="642" y="218"/>
                  </a:lnTo>
                  <a:lnTo>
                    <a:pt x="642" y="218"/>
                  </a:lnTo>
                  <a:lnTo>
                    <a:pt x="630" y="236"/>
                  </a:lnTo>
                  <a:lnTo>
                    <a:pt x="630" y="236"/>
                  </a:lnTo>
                  <a:lnTo>
                    <a:pt x="630" y="256"/>
                  </a:lnTo>
                  <a:lnTo>
                    <a:pt x="630" y="266"/>
                  </a:lnTo>
                  <a:lnTo>
                    <a:pt x="636" y="280"/>
                  </a:lnTo>
                  <a:lnTo>
                    <a:pt x="636" y="280"/>
                  </a:lnTo>
                  <a:lnTo>
                    <a:pt x="638" y="290"/>
                  </a:lnTo>
                  <a:lnTo>
                    <a:pt x="642" y="296"/>
                  </a:lnTo>
                  <a:lnTo>
                    <a:pt x="646" y="302"/>
                  </a:lnTo>
                  <a:lnTo>
                    <a:pt x="652" y="308"/>
                  </a:lnTo>
                  <a:lnTo>
                    <a:pt x="658" y="310"/>
                  </a:lnTo>
                  <a:lnTo>
                    <a:pt x="666" y="308"/>
                  </a:lnTo>
                  <a:lnTo>
                    <a:pt x="676" y="304"/>
                  </a:lnTo>
                  <a:lnTo>
                    <a:pt x="676" y="304"/>
                  </a:lnTo>
                  <a:lnTo>
                    <a:pt x="692" y="302"/>
                  </a:lnTo>
                  <a:lnTo>
                    <a:pt x="698" y="300"/>
                  </a:lnTo>
                  <a:lnTo>
                    <a:pt x="706" y="300"/>
                  </a:lnTo>
                  <a:lnTo>
                    <a:pt x="710" y="304"/>
                  </a:lnTo>
                  <a:lnTo>
                    <a:pt x="714" y="308"/>
                  </a:lnTo>
                  <a:lnTo>
                    <a:pt x="716" y="318"/>
                  </a:lnTo>
                  <a:lnTo>
                    <a:pt x="718" y="330"/>
                  </a:lnTo>
                  <a:lnTo>
                    <a:pt x="718" y="330"/>
                  </a:lnTo>
                  <a:lnTo>
                    <a:pt x="704" y="378"/>
                  </a:lnTo>
                  <a:lnTo>
                    <a:pt x="704" y="378"/>
                  </a:lnTo>
                  <a:lnTo>
                    <a:pt x="696" y="390"/>
                  </a:lnTo>
                  <a:lnTo>
                    <a:pt x="690" y="400"/>
                  </a:lnTo>
                  <a:lnTo>
                    <a:pt x="690" y="410"/>
                  </a:lnTo>
                  <a:lnTo>
                    <a:pt x="692" y="418"/>
                  </a:lnTo>
                  <a:lnTo>
                    <a:pt x="698" y="426"/>
                  </a:lnTo>
                  <a:lnTo>
                    <a:pt x="706" y="432"/>
                  </a:lnTo>
                  <a:lnTo>
                    <a:pt x="718" y="438"/>
                  </a:lnTo>
                  <a:lnTo>
                    <a:pt x="734" y="444"/>
                  </a:lnTo>
                  <a:lnTo>
                    <a:pt x="734" y="444"/>
                  </a:lnTo>
                  <a:lnTo>
                    <a:pt x="732" y="472"/>
                  </a:lnTo>
                  <a:lnTo>
                    <a:pt x="732" y="472"/>
                  </a:lnTo>
                  <a:lnTo>
                    <a:pt x="730" y="486"/>
                  </a:lnTo>
                  <a:lnTo>
                    <a:pt x="724" y="502"/>
                  </a:lnTo>
                  <a:lnTo>
                    <a:pt x="724" y="510"/>
                  </a:lnTo>
                  <a:lnTo>
                    <a:pt x="724" y="520"/>
                  </a:lnTo>
                  <a:lnTo>
                    <a:pt x="726" y="528"/>
                  </a:lnTo>
                  <a:lnTo>
                    <a:pt x="730" y="536"/>
                  </a:lnTo>
                  <a:lnTo>
                    <a:pt x="730" y="536"/>
                  </a:lnTo>
                  <a:lnTo>
                    <a:pt x="760" y="572"/>
                  </a:lnTo>
                  <a:lnTo>
                    <a:pt x="760" y="572"/>
                  </a:lnTo>
                  <a:lnTo>
                    <a:pt x="828" y="590"/>
                  </a:lnTo>
                  <a:lnTo>
                    <a:pt x="828" y="590"/>
                  </a:lnTo>
                  <a:lnTo>
                    <a:pt x="836" y="596"/>
                  </a:lnTo>
                  <a:lnTo>
                    <a:pt x="842" y="600"/>
                  </a:lnTo>
                  <a:lnTo>
                    <a:pt x="850" y="604"/>
                  </a:lnTo>
                  <a:lnTo>
                    <a:pt x="850" y="604"/>
                  </a:lnTo>
                  <a:lnTo>
                    <a:pt x="876" y="606"/>
                  </a:lnTo>
                  <a:lnTo>
                    <a:pt x="876" y="606"/>
                  </a:lnTo>
                  <a:lnTo>
                    <a:pt x="882" y="628"/>
                  </a:lnTo>
                  <a:lnTo>
                    <a:pt x="882" y="628"/>
                  </a:lnTo>
                  <a:lnTo>
                    <a:pt x="876" y="636"/>
                  </a:lnTo>
                  <a:lnTo>
                    <a:pt x="872" y="644"/>
                  </a:lnTo>
                  <a:lnTo>
                    <a:pt x="872" y="644"/>
                  </a:lnTo>
                  <a:lnTo>
                    <a:pt x="850" y="658"/>
                  </a:lnTo>
                  <a:lnTo>
                    <a:pt x="832" y="666"/>
                  </a:lnTo>
                  <a:lnTo>
                    <a:pt x="832" y="666"/>
                  </a:lnTo>
                  <a:lnTo>
                    <a:pt x="818" y="666"/>
                  </a:lnTo>
                  <a:lnTo>
                    <a:pt x="806" y="668"/>
                  </a:lnTo>
                  <a:lnTo>
                    <a:pt x="794" y="672"/>
                  </a:lnTo>
                  <a:lnTo>
                    <a:pt x="784" y="676"/>
                  </a:lnTo>
                  <a:lnTo>
                    <a:pt x="764" y="686"/>
                  </a:lnTo>
                  <a:lnTo>
                    <a:pt x="744" y="700"/>
                  </a:lnTo>
                  <a:lnTo>
                    <a:pt x="744" y="700"/>
                  </a:lnTo>
                  <a:lnTo>
                    <a:pt x="736" y="716"/>
                  </a:lnTo>
                  <a:lnTo>
                    <a:pt x="728" y="726"/>
                  </a:lnTo>
                  <a:lnTo>
                    <a:pt x="720" y="734"/>
                  </a:lnTo>
                  <a:lnTo>
                    <a:pt x="720" y="734"/>
                  </a:lnTo>
                  <a:lnTo>
                    <a:pt x="682" y="734"/>
                  </a:lnTo>
                  <a:lnTo>
                    <a:pt x="682" y="734"/>
                  </a:lnTo>
                  <a:lnTo>
                    <a:pt x="662" y="756"/>
                  </a:lnTo>
                  <a:lnTo>
                    <a:pt x="656" y="760"/>
                  </a:lnTo>
                  <a:lnTo>
                    <a:pt x="650" y="764"/>
                  </a:lnTo>
                  <a:lnTo>
                    <a:pt x="642" y="766"/>
                  </a:lnTo>
                  <a:lnTo>
                    <a:pt x="636" y="766"/>
                  </a:lnTo>
                  <a:lnTo>
                    <a:pt x="636" y="766"/>
                  </a:lnTo>
                  <a:lnTo>
                    <a:pt x="628" y="754"/>
                  </a:lnTo>
                  <a:lnTo>
                    <a:pt x="620" y="746"/>
                  </a:lnTo>
                  <a:lnTo>
                    <a:pt x="612" y="742"/>
                  </a:lnTo>
                  <a:lnTo>
                    <a:pt x="604" y="742"/>
                  </a:lnTo>
                  <a:lnTo>
                    <a:pt x="596" y="744"/>
                  </a:lnTo>
                  <a:lnTo>
                    <a:pt x="588" y="748"/>
                  </a:lnTo>
                  <a:lnTo>
                    <a:pt x="574" y="758"/>
                  </a:lnTo>
                  <a:lnTo>
                    <a:pt x="574" y="758"/>
                  </a:lnTo>
                  <a:lnTo>
                    <a:pt x="564" y="760"/>
                  </a:lnTo>
                  <a:lnTo>
                    <a:pt x="556" y="760"/>
                  </a:lnTo>
                  <a:lnTo>
                    <a:pt x="548" y="758"/>
                  </a:lnTo>
                  <a:lnTo>
                    <a:pt x="544" y="756"/>
                  </a:lnTo>
                  <a:lnTo>
                    <a:pt x="534" y="748"/>
                  </a:lnTo>
                  <a:lnTo>
                    <a:pt x="526" y="740"/>
                  </a:lnTo>
                  <a:lnTo>
                    <a:pt x="526" y="740"/>
                  </a:lnTo>
                  <a:lnTo>
                    <a:pt x="514" y="738"/>
                  </a:lnTo>
                  <a:lnTo>
                    <a:pt x="506" y="738"/>
                  </a:lnTo>
                  <a:lnTo>
                    <a:pt x="498" y="738"/>
                  </a:lnTo>
                  <a:lnTo>
                    <a:pt x="492" y="742"/>
                  </a:lnTo>
                  <a:lnTo>
                    <a:pt x="486" y="746"/>
                  </a:lnTo>
                  <a:lnTo>
                    <a:pt x="482" y="750"/>
                  </a:lnTo>
                  <a:lnTo>
                    <a:pt x="474" y="764"/>
                  </a:lnTo>
                  <a:lnTo>
                    <a:pt x="474" y="764"/>
                  </a:lnTo>
                  <a:lnTo>
                    <a:pt x="468" y="768"/>
                  </a:lnTo>
                  <a:lnTo>
                    <a:pt x="462" y="770"/>
                  </a:lnTo>
                  <a:lnTo>
                    <a:pt x="454" y="770"/>
                  </a:lnTo>
                  <a:lnTo>
                    <a:pt x="448" y="768"/>
                  </a:lnTo>
                  <a:lnTo>
                    <a:pt x="436" y="762"/>
                  </a:lnTo>
                  <a:lnTo>
                    <a:pt x="430" y="756"/>
                  </a:lnTo>
                  <a:lnTo>
                    <a:pt x="430" y="756"/>
                  </a:lnTo>
                  <a:lnTo>
                    <a:pt x="414" y="756"/>
                  </a:lnTo>
                  <a:lnTo>
                    <a:pt x="414" y="756"/>
                  </a:lnTo>
                  <a:lnTo>
                    <a:pt x="404" y="766"/>
                  </a:lnTo>
                  <a:lnTo>
                    <a:pt x="398" y="774"/>
                  </a:lnTo>
                  <a:lnTo>
                    <a:pt x="396" y="784"/>
                  </a:lnTo>
                  <a:lnTo>
                    <a:pt x="394" y="802"/>
                  </a:lnTo>
                  <a:lnTo>
                    <a:pt x="394" y="802"/>
                  </a:lnTo>
                  <a:lnTo>
                    <a:pt x="402" y="814"/>
                  </a:lnTo>
                  <a:lnTo>
                    <a:pt x="410" y="826"/>
                  </a:lnTo>
                  <a:lnTo>
                    <a:pt x="412" y="832"/>
                  </a:lnTo>
                  <a:lnTo>
                    <a:pt x="412" y="840"/>
                  </a:lnTo>
                  <a:lnTo>
                    <a:pt x="412" y="850"/>
                  </a:lnTo>
                  <a:lnTo>
                    <a:pt x="410" y="860"/>
                  </a:lnTo>
                  <a:lnTo>
                    <a:pt x="410" y="860"/>
                  </a:lnTo>
                  <a:lnTo>
                    <a:pt x="410" y="872"/>
                  </a:lnTo>
                  <a:lnTo>
                    <a:pt x="414" y="886"/>
                  </a:lnTo>
                  <a:lnTo>
                    <a:pt x="416" y="902"/>
                  </a:lnTo>
                  <a:lnTo>
                    <a:pt x="420" y="922"/>
                  </a:lnTo>
                  <a:lnTo>
                    <a:pt x="420" y="922"/>
                  </a:lnTo>
                  <a:lnTo>
                    <a:pt x="412" y="928"/>
                  </a:lnTo>
                  <a:lnTo>
                    <a:pt x="406" y="932"/>
                  </a:lnTo>
                  <a:lnTo>
                    <a:pt x="406" y="932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56" name="未知"/>
            <p:cNvSpPr>
              <a:spLocks/>
            </p:cNvSpPr>
            <p:nvPr/>
          </p:nvSpPr>
          <p:spPr bwMode="auto">
            <a:xfrm>
              <a:off x="2571772" y="2857069"/>
              <a:ext cx="552133" cy="384167"/>
            </a:xfrm>
            <a:custGeom>
              <a:avLst/>
              <a:gdLst>
                <a:gd name="T0" fmla="*/ 450 w 748"/>
                <a:gd name="T1" fmla="*/ 540 h 558"/>
                <a:gd name="T2" fmla="*/ 440 w 748"/>
                <a:gd name="T3" fmla="*/ 532 h 558"/>
                <a:gd name="T4" fmla="*/ 422 w 748"/>
                <a:gd name="T5" fmla="*/ 516 h 558"/>
                <a:gd name="T6" fmla="*/ 406 w 748"/>
                <a:gd name="T7" fmla="*/ 508 h 558"/>
                <a:gd name="T8" fmla="*/ 390 w 748"/>
                <a:gd name="T9" fmla="*/ 536 h 558"/>
                <a:gd name="T10" fmla="*/ 280 w 748"/>
                <a:gd name="T11" fmla="*/ 532 h 558"/>
                <a:gd name="T12" fmla="*/ 218 w 748"/>
                <a:gd name="T13" fmla="*/ 498 h 558"/>
                <a:gd name="T14" fmla="*/ 204 w 748"/>
                <a:gd name="T15" fmla="*/ 478 h 558"/>
                <a:gd name="T16" fmla="*/ 212 w 748"/>
                <a:gd name="T17" fmla="*/ 432 h 558"/>
                <a:gd name="T18" fmla="*/ 188 w 748"/>
                <a:gd name="T19" fmla="*/ 390 h 558"/>
                <a:gd name="T20" fmla="*/ 142 w 748"/>
                <a:gd name="T21" fmla="*/ 382 h 558"/>
                <a:gd name="T22" fmla="*/ 82 w 748"/>
                <a:gd name="T23" fmla="*/ 368 h 558"/>
                <a:gd name="T24" fmla="*/ 104 w 748"/>
                <a:gd name="T25" fmla="*/ 342 h 558"/>
                <a:gd name="T26" fmla="*/ 140 w 748"/>
                <a:gd name="T27" fmla="*/ 316 h 558"/>
                <a:gd name="T28" fmla="*/ 142 w 748"/>
                <a:gd name="T29" fmla="*/ 262 h 558"/>
                <a:gd name="T30" fmla="*/ 102 w 748"/>
                <a:gd name="T31" fmla="*/ 252 h 558"/>
                <a:gd name="T32" fmla="*/ 20 w 748"/>
                <a:gd name="T33" fmla="*/ 222 h 558"/>
                <a:gd name="T34" fmla="*/ 0 w 748"/>
                <a:gd name="T35" fmla="*/ 192 h 558"/>
                <a:gd name="T36" fmla="*/ 22 w 748"/>
                <a:gd name="T37" fmla="*/ 162 h 558"/>
                <a:gd name="T38" fmla="*/ 62 w 748"/>
                <a:gd name="T39" fmla="*/ 154 h 558"/>
                <a:gd name="T40" fmla="*/ 120 w 748"/>
                <a:gd name="T41" fmla="*/ 190 h 558"/>
                <a:gd name="T42" fmla="*/ 156 w 748"/>
                <a:gd name="T43" fmla="*/ 192 h 558"/>
                <a:gd name="T44" fmla="*/ 206 w 748"/>
                <a:gd name="T45" fmla="*/ 156 h 558"/>
                <a:gd name="T46" fmla="*/ 240 w 748"/>
                <a:gd name="T47" fmla="*/ 98 h 558"/>
                <a:gd name="T48" fmla="*/ 274 w 748"/>
                <a:gd name="T49" fmla="*/ 110 h 558"/>
                <a:gd name="T50" fmla="*/ 308 w 748"/>
                <a:gd name="T51" fmla="*/ 128 h 558"/>
                <a:gd name="T52" fmla="*/ 342 w 748"/>
                <a:gd name="T53" fmla="*/ 134 h 558"/>
                <a:gd name="T54" fmla="*/ 410 w 748"/>
                <a:gd name="T55" fmla="*/ 100 h 558"/>
                <a:gd name="T56" fmla="*/ 442 w 748"/>
                <a:gd name="T57" fmla="*/ 78 h 558"/>
                <a:gd name="T58" fmla="*/ 470 w 748"/>
                <a:gd name="T59" fmla="*/ 52 h 558"/>
                <a:gd name="T60" fmla="*/ 514 w 748"/>
                <a:gd name="T61" fmla="*/ 38 h 558"/>
                <a:gd name="T62" fmla="*/ 588 w 748"/>
                <a:gd name="T63" fmla="*/ 10 h 558"/>
                <a:gd name="T64" fmla="*/ 632 w 748"/>
                <a:gd name="T65" fmla="*/ 0 h 558"/>
                <a:gd name="T66" fmla="*/ 672 w 748"/>
                <a:gd name="T67" fmla="*/ 54 h 558"/>
                <a:gd name="T68" fmla="*/ 640 w 748"/>
                <a:gd name="T69" fmla="*/ 112 h 558"/>
                <a:gd name="T70" fmla="*/ 642 w 748"/>
                <a:gd name="T71" fmla="*/ 142 h 558"/>
                <a:gd name="T72" fmla="*/ 682 w 748"/>
                <a:gd name="T73" fmla="*/ 172 h 558"/>
                <a:gd name="T74" fmla="*/ 734 w 748"/>
                <a:gd name="T75" fmla="*/ 180 h 558"/>
                <a:gd name="T76" fmla="*/ 748 w 748"/>
                <a:gd name="T77" fmla="*/ 220 h 558"/>
                <a:gd name="T78" fmla="*/ 734 w 748"/>
                <a:gd name="T79" fmla="*/ 254 h 558"/>
                <a:gd name="T80" fmla="*/ 722 w 748"/>
                <a:gd name="T81" fmla="*/ 264 h 558"/>
                <a:gd name="T82" fmla="*/ 712 w 748"/>
                <a:gd name="T83" fmla="*/ 312 h 558"/>
                <a:gd name="T84" fmla="*/ 688 w 748"/>
                <a:gd name="T85" fmla="*/ 346 h 558"/>
                <a:gd name="T86" fmla="*/ 672 w 748"/>
                <a:gd name="T87" fmla="*/ 360 h 558"/>
                <a:gd name="T88" fmla="*/ 634 w 748"/>
                <a:gd name="T89" fmla="*/ 406 h 558"/>
                <a:gd name="T90" fmla="*/ 614 w 748"/>
                <a:gd name="T91" fmla="*/ 424 h 558"/>
                <a:gd name="T92" fmla="*/ 586 w 748"/>
                <a:gd name="T93" fmla="*/ 448 h 558"/>
                <a:gd name="T94" fmla="*/ 570 w 748"/>
                <a:gd name="T95" fmla="*/ 468 h 558"/>
                <a:gd name="T96" fmla="*/ 566 w 748"/>
                <a:gd name="T97" fmla="*/ 474 h 558"/>
                <a:gd name="T98" fmla="*/ 546 w 748"/>
                <a:gd name="T99" fmla="*/ 484 h 558"/>
                <a:gd name="T100" fmla="*/ 518 w 748"/>
                <a:gd name="T101" fmla="*/ 534 h 558"/>
                <a:gd name="T102" fmla="*/ 466 w 748"/>
                <a:gd name="T103" fmla="*/ 55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48" h="558">
                  <a:moveTo>
                    <a:pt x="450" y="558"/>
                  </a:moveTo>
                  <a:lnTo>
                    <a:pt x="450" y="558"/>
                  </a:lnTo>
                  <a:lnTo>
                    <a:pt x="450" y="540"/>
                  </a:lnTo>
                  <a:lnTo>
                    <a:pt x="450" y="540"/>
                  </a:lnTo>
                  <a:lnTo>
                    <a:pt x="446" y="540"/>
                  </a:lnTo>
                  <a:lnTo>
                    <a:pt x="444" y="538"/>
                  </a:lnTo>
                  <a:lnTo>
                    <a:pt x="440" y="532"/>
                  </a:lnTo>
                  <a:lnTo>
                    <a:pt x="440" y="532"/>
                  </a:lnTo>
                  <a:lnTo>
                    <a:pt x="428" y="530"/>
                  </a:lnTo>
                  <a:lnTo>
                    <a:pt x="428" y="530"/>
                  </a:lnTo>
                  <a:lnTo>
                    <a:pt x="426" y="522"/>
                  </a:lnTo>
                  <a:lnTo>
                    <a:pt x="422" y="516"/>
                  </a:lnTo>
                  <a:lnTo>
                    <a:pt x="418" y="510"/>
                  </a:lnTo>
                  <a:lnTo>
                    <a:pt x="414" y="508"/>
                  </a:lnTo>
                  <a:lnTo>
                    <a:pt x="410" y="508"/>
                  </a:lnTo>
                  <a:lnTo>
                    <a:pt x="406" y="508"/>
                  </a:lnTo>
                  <a:lnTo>
                    <a:pt x="396" y="510"/>
                  </a:lnTo>
                  <a:lnTo>
                    <a:pt x="396" y="510"/>
                  </a:lnTo>
                  <a:lnTo>
                    <a:pt x="390" y="536"/>
                  </a:lnTo>
                  <a:lnTo>
                    <a:pt x="390" y="536"/>
                  </a:lnTo>
                  <a:lnTo>
                    <a:pt x="322" y="540"/>
                  </a:lnTo>
                  <a:lnTo>
                    <a:pt x="322" y="540"/>
                  </a:lnTo>
                  <a:lnTo>
                    <a:pt x="280" y="532"/>
                  </a:lnTo>
                  <a:lnTo>
                    <a:pt x="280" y="532"/>
                  </a:lnTo>
                  <a:lnTo>
                    <a:pt x="246" y="528"/>
                  </a:lnTo>
                  <a:lnTo>
                    <a:pt x="246" y="528"/>
                  </a:lnTo>
                  <a:lnTo>
                    <a:pt x="218" y="498"/>
                  </a:lnTo>
                  <a:lnTo>
                    <a:pt x="218" y="498"/>
                  </a:lnTo>
                  <a:lnTo>
                    <a:pt x="208" y="478"/>
                  </a:lnTo>
                  <a:lnTo>
                    <a:pt x="208" y="478"/>
                  </a:lnTo>
                  <a:lnTo>
                    <a:pt x="204" y="478"/>
                  </a:lnTo>
                  <a:lnTo>
                    <a:pt x="204" y="478"/>
                  </a:lnTo>
                  <a:lnTo>
                    <a:pt x="200" y="464"/>
                  </a:lnTo>
                  <a:lnTo>
                    <a:pt x="202" y="452"/>
                  </a:lnTo>
                  <a:lnTo>
                    <a:pt x="206" y="442"/>
                  </a:lnTo>
                  <a:lnTo>
                    <a:pt x="212" y="432"/>
                  </a:lnTo>
                  <a:lnTo>
                    <a:pt x="212" y="432"/>
                  </a:lnTo>
                  <a:lnTo>
                    <a:pt x="212" y="406"/>
                  </a:lnTo>
                  <a:lnTo>
                    <a:pt x="212" y="406"/>
                  </a:lnTo>
                  <a:lnTo>
                    <a:pt x="188" y="390"/>
                  </a:lnTo>
                  <a:lnTo>
                    <a:pt x="188" y="390"/>
                  </a:lnTo>
                  <a:lnTo>
                    <a:pt x="188" y="384"/>
                  </a:lnTo>
                  <a:lnTo>
                    <a:pt x="188" y="384"/>
                  </a:lnTo>
                  <a:lnTo>
                    <a:pt x="142" y="382"/>
                  </a:lnTo>
                  <a:lnTo>
                    <a:pt x="104" y="378"/>
                  </a:lnTo>
                  <a:lnTo>
                    <a:pt x="104" y="378"/>
                  </a:lnTo>
                  <a:lnTo>
                    <a:pt x="82" y="368"/>
                  </a:lnTo>
                  <a:lnTo>
                    <a:pt x="82" y="368"/>
                  </a:lnTo>
                  <a:lnTo>
                    <a:pt x="72" y="344"/>
                  </a:lnTo>
                  <a:lnTo>
                    <a:pt x="72" y="344"/>
                  </a:lnTo>
                  <a:lnTo>
                    <a:pt x="104" y="342"/>
                  </a:lnTo>
                  <a:lnTo>
                    <a:pt x="104" y="342"/>
                  </a:lnTo>
                  <a:lnTo>
                    <a:pt x="112" y="338"/>
                  </a:lnTo>
                  <a:lnTo>
                    <a:pt x="122" y="332"/>
                  </a:lnTo>
                  <a:lnTo>
                    <a:pt x="140" y="316"/>
                  </a:lnTo>
                  <a:lnTo>
                    <a:pt x="140" y="316"/>
                  </a:lnTo>
                  <a:lnTo>
                    <a:pt x="148" y="300"/>
                  </a:lnTo>
                  <a:lnTo>
                    <a:pt x="150" y="286"/>
                  </a:lnTo>
                  <a:lnTo>
                    <a:pt x="148" y="274"/>
                  </a:lnTo>
                  <a:lnTo>
                    <a:pt x="142" y="262"/>
                  </a:lnTo>
                  <a:lnTo>
                    <a:pt x="142" y="262"/>
                  </a:lnTo>
                  <a:lnTo>
                    <a:pt x="114" y="260"/>
                  </a:lnTo>
                  <a:lnTo>
                    <a:pt x="114" y="260"/>
                  </a:lnTo>
                  <a:lnTo>
                    <a:pt x="102" y="252"/>
                  </a:lnTo>
                  <a:lnTo>
                    <a:pt x="88" y="246"/>
                  </a:lnTo>
                  <a:lnTo>
                    <a:pt x="64" y="238"/>
                  </a:lnTo>
                  <a:lnTo>
                    <a:pt x="40" y="230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6" y="204"/>
                  </a:lnTo>
                  <a:lnTo>
                    <a:pt x="2" y="196"/>
                  </a:lnTo>
                  <a:lnTo>
                    <a:pt x="0" y="192"/>
                  </a:lnTo>
                  <a:lnTo>
                    <a:pt x="0" y="192"/>
                  </a:lnTo>
                  <a:lnTo>
                    <a:pt x="12" y="174"/>
                  </a:lnTo>
                  <a:lnTo>
                    <a:pt x="18" y="166"/>
                  </a:lnTo>
                  <a:lnTo>
                    <a:pt x="22" y="162"/>
                  </a:lnTo>
                  <a:lnTo>
                    <a:pt x="30" y="158"/>
                  </a:lnTo>
                  <a:lnTo>
                    <a:pt x="36" y="156"/>
                  </a:lnTo>
                  <a:lnTo>
                    <a:pt x="48" y="154"/>
                  </a:lnTo>
                  <a:lnTo>
                    <a:pt x="62" y="154"/>
                  </a:lnTo>
                  <a:lnTo>
                    <a:pt x="62" y="15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120" y="190"/>
                  </a:lnTo>
                  <a:lnTo>
                    <a:pt x="120" y="190"/>
                  </a:lnTo>
                  <a:lnTo>
                    <a:pt x="130" y="192"/>
                  </a:lnTo>
                  <a:lnTo>
                    <a:pt x="142" y="192"/>
                  </a:lnTo>
                  <a:lnTo>
                    <a:pt x="156" y="192"/>
                  </a:lnTo>
                  <a:lnTo>
                    <a:pt x="172" y="190"/>
                  </a:lnTo>
                  <a:lnTo>
                    <a:pt x="172" y="190"/>
                  </a:lnTo>
                  <a:lnTo>
                    <a:pt x="188" y="174"/>
                  </a:lnTo>
                  <a:lnTo>
                    <a:pt x="206" y="156"/>
                  </a:lnTo>
                  <a:lnTo>
                    <a:pt x="222" y="136"/>
                  </a:lnTo>
                  <a:lnTo>
                    <a:pt x="238" y="120"/>
                  </a:lnTo>
                  <a:lnTo>
                    <a:pt x="238" y="120"/>
                  </a:lnTo>
                  <a:lnTo>
                    <a:pt x="240" y="98"/>
                  </a:lnTo>
                  <a:lnTo>
                    <a:pt x="240" y="98"/>
                  </a:lnTo>
                  <a:lnTo>
                    <a:pt x="264" y="96"/>
                  </a:lnTo>
                  <a:lnTo>
                    <a:pt x="264" y="96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84" y="114"/>
                  </a:lnTo>
                  <a:lnTo>
                    <a:pt x="294" y="120"/>
                  </a:lnTo>
                  <a:lnTo>
                    <a:pt x="308" y="128"/>
                  </a:lnTo>
                  <a:lnTo>
                    <a:pt x="324" y="134"/>
                  </a:lnTo>
                  <a:lnTo>
                    <a:pt x="324" y="134"/>
                  </a:lnTo>
                  <a:lnTo>
                    <a:pt x="342" y="134"/>
                  </a:lnTo>
                  <a:lnTo>
                    <a:pt x="342" y="134"/>
                  </a:lnTo>
                  <a:lnTo>
                    <a:pt x="384" y="120"/>
                  </a:lnTo>
                  <a:lnTo>
                    <a:pt x="384" y="120"/>
                  </a:lnTo>
                  <a:lnTo>
                    <a:pt x="398" y="108"/>
                  </a:lnTo>
                  <a:lnTo>
                    <a:pt x="410" y="100"/>
                  </a:lnTo>
                  <a:lnTo>
                    <a:pt x="422" y="92"/>
                  </a:lnTo>
                  <a:lnTo>
                    <a:pt x="438" y="84"/>
                  </a:lnTo>
                  <a:lnTo>
                    <a:pt x="438" y="84"/>
                  </a:lnTo>
                  <a:lnTo>
                    <a:pt x="442" y="78"/>
                  </a:lnTo>
                  <a:lnTo>
                    <a:pt x="450" y="72"/>
                  </a:lnTo>
                  <a:lnTo>
                    <a:pt x="450" y="72"/>
                  </a:lnTo>
                  <a:lnTo>
                    <a:pt x="462" y="56"/>
                  </a:lnTo>
                  <a:lnTo>
                    <a:pt x="470" y="52"/>
                  </a:lnTo>
                  <a:lnTo>
                    <a:pt x="476" y="46"/>
                  </a:lnTo>
                  <a:lnTo>
                    <a:pt x="494" y="40"/>
                  </a:lnTo>
                  <a:lnTo>
                    <a:pt x="514" y="38"/>
                  </a:lnTo>
                  <a:lnTo>
                    <a:pt x="514" y="38"/>
                  </a:lnTo>
                  <a:lnTo>
                    <a:pt x="550" y="36"/>
                  </a:lnTo>
                  <a:lnTo>
                    <a:pt x="550" y="36"/>
                  </a:lnTo>
                  <a:lnTo>
                    <a:pt x="570" y="22"/>
                  </a:lnTo>
                  <a:lnTo>
                    <a:pt x="588" y="10"/>
                  </a:lnTo>
                  <a:lnTo>
                    <a:pt x="596" y="6"/>
                  </a:lnTo>
                  <a:lnTo>
                    <a:pt x="606" y="2"/>
                  </a:lnTo>
                  <a:lnTo>
                    <a:pt x="618" y="0"/>
                  </a:lnTo>
                  <a:lnTo>
                    <a:pt x="632" y="0"/>
                  </a:lnTo>
                  <a:lnTo>
                    <a:pt x="632" y="0"/>
                  </a:lnTo>
                  <a:lnTo>
                    <a:pt x="654" y="36"/>
                  </a:lnTo>
                  <a:lnTo>
                    <a:pt x="654" y="36"/>
                  </a:lnTo>
                  <a:lnTo>
                    <a:pt x="672" y="54"/>
                  </a:lnTo>
                  <a:lnTo>
                    <a:pt x="672" y="54"/>
                  </a:lnTo>
                  <a:lnTo>
                    <a:pt x="656" y="82"/>
                  </a:lnTo>
                  <a:lnTo>
                    <a:pt x="646" y="96"/>
                  </a:lnTo>
                  <a:lnTo>
                    <a:pt x="640" y="112"/>
                  </a:lnTo>
                  <a:lnTo>
                    <a:pt x="640" y="112"/>
                  </a:lnTo>
                  <a:lnTo>
                    <a:pt x="638" y="140"/>
                  </a:lnTo>
                  <a:lnTo>
                    <a:pt x="638" y="140"/>
                  </a:lnTo>
                  <a:lnTo>
                    <a:pt x="642" y="142"/>
                  </a:lnTo>
                  <a:lnTo>
                    <a:pt x="650" y="142"/>
                  </a:lnTo>
                  <a:lnTo>
                    <a:pt x="672" y="142"/>
                  </a:lnTo>
                  <a:lnTo>
                    <a:pt x="672" y="142"/>
                  </a:lnTo>
                  <a:lnTo>
                    <a:pt x="682" y="172"/>
                  </a:lnTo>
                  <a:lnTo>
                    <a:pt x="682" y="172"/>
                  </a:lnTo>
                  <a:lnTo>
                    <a:pt x="690" y="184"/>
                  </a:lnTo>
                  <a:lnTo>
                    <a:pt x="690" y="184"/>
                  </a:lnTo>
                  <a:lnTo>
                    <a:pt x="734" y="180"/>
                  </a:lnTo>
                  <a:lnTo>
                    <a:pt x="734" y="180"/>
                  </a:lnTo>
                  <a:lnTo>
                    <a:pt x="740" y="190"/>
                  </a:lnTo>
                  <a:lnTo>
                    <a:pt x="744" y="204"/>
                  </a:lnTo>
                  <a:lnTo>
                    <a:pt x="748" y="220"/>
                  </a:lnTo>
                  <a:lnTo>
                    <a:pt x="748" y="238"/>
                  </a:lnTo>
                  <a:lnTo>
                    <a:pt x="748" y="238"/>
                  </a:lnTo>
                  <a:lnTo>
                    <a:pt x="740" y="248"/>
                  </a:lnTo>
                  <a:lnTo>
                    <a:pt x="734" y="254"/>
                  </a:lnTo>
                  <a:lnTo>
                    <a:pt x="726" y="258"/>
                  </a:lnTo>
                  <a:lnTo>
                    <a:pt x="726" y="258"/>
                  </a:lnTo>
                  <a:lnTo>
                    <a:pt x="724" y="262"/>
                  </a:lnTo>
                  <a:lnTo>
                    <a:pt x="722" y="264"/>
                  </a:lnTo>
                  <a:lnTo>
                    <a:pt x="718" y="266"/>
                  </a:lnTo>
                  <a:lnTo>
                    <a:pt x="718" y="266"/>
                  </a:lnTo>
                  <a:lnTo>
                    <a:pt x="712" y="312"/>
                  </a:lnTo>
                  <a:lnTo>
                    <a:pt x="712" y="312"/>
                  </a:lnTo>
                  <a:lnTo>
                    <a:pt x="706" y="324"/>
                  </a:lnTo>
                  <a:lnTo>
                    <a:pt x="700" y="338"/>
                  </a:lnTo>
                  <a:lnTo>
                    <a:pt x="700" y="338"/>
                  </a:lnTo>
                  <a:lnTo>
                    <a:pt x="688" y="346"/>
                  </a:lnTo>
                  <a:lnTo>
                    <a:pt x="682" y="350"/>
                  </a:lnTo>
                  <a:lnTo>
                    <a:pt x="682" y="356"/>
                  </a:lnTo>
                  <a:lnTo>
                    <a:pt x="682" y="356"/>
                  </a:lnTo>
                  <a:lnTo>
                    <a:pt x="672" y="360"/>
                  </a:lnTo>
                  <a:lnTo>
                    <a:pt x="664" y="366"/>
                  </a:lnTo>
                  <a:lnTo>
                    <a:pt x="656" y="376"/>
                  </a:lnTo>
                  <a:lnTo>
                    <a:pt x="648" y="386"/>
                  </a:lnTo>
                  <a:lnTo>
                    <a:pt x="634" y="406"/>
                  </a:lnTo>
                  <a:lnTo>
                    <a:pt x="626" y="414"/>
                  </a:lnTo>
                  <a:lnTo>
                    <a:pt x="616" y="420"/>
                  </a:lnTo>
                  <a:lnTo>
                    <a:pt x="616" y="420"/>
                  </a:lnTo>
                  <a:lnTo>
                    <a:pt x="614" y="424"/>
                  </a:lnTo>
                  <a:lnTo>
                    <a:pt x="610" y="428"/>
                  </a:lnTo>
                  <a:lnTo>
                    <a:pt x="600" y="434"/>
                  </a:lnTo>
                  <a:lnTo>
                    <a:pt x="600" y="434"/>
                  </a:lnTo>
                  <a:lnTo>
                    <a:pt x="586" y="448"/>
                  </a:lnTo>
                  <a:lnTo>
                    <a:pt x="572" y="464"/>
                  </a:lnTo>
                  <a:lnTo>
                    <a:pt x="572" y="464"/>
                  </a:lnTo>
                  <a:lnTo>
                    <a:pt x="570" y="466"/>
                  </a:lnTo>
                  <a:lnTo>
                    <a:pt x="570" y="468"/>
                  </a:lnTo>
                  <a:lnTo>
                    <a:pt x="570" y="468"/>
                  </a:lnTo>
                  <a:lnTo>
                    <a:pt x="566" y="468"/>
                  </a:lnTo>
                  <a:lnTo>
                    <a:pt x="566" y="468"/>
                  </a:lnTo>
                  <a:lnTo>
                    <a:pt x="566" y="474"/>
                  </a:lnTo>
                  <a:lnTo>
                    <a:pt x="566" y="474"/>
                  </a:lnTo>
                  <a:lnTo>
                    <a:pt x="560" y="474"/>
                  </a:lnTo>
                  <a:lnTo>
                    <a:pt x="556" y="476"/>
                  </a:lnTo>
                  <a:lnTo>
                    <a:pt x="546" y="484"/>
                  </a:lnTo>
                  <a:lnTo>
                    <a:pt x="532" y="500"/>
                  </a:lnTo>
                  <a:lnTo>
                    <a:pt x="532" y="500"/>
                  </a:lnTo>
                  <a:lnTo>
                    <a:pt x="518" y="534"/>
                  </a:lnTo>
                  <a:lnTo>
                    <a:pt x="518" y="534"/>
                  </a:lnTo>
                  <a:lnTo>
                    <a:pt x="502" y="538"/>
                  </a:lnTo>
                  <a:lnTo>
                    <a:pt x="488" y="544"/>
                  </a:lnTo>
                  <a:lnTo>
                    <a:pt x="478" y="550"/>
                  </a:lnTo>
                  <a:lnTo>
                    <a:pt x="466" y="558"/>
                  </a:lnTo>
                  <a:lnTo>
                    <a:pt x="466" y="558"/>
                  </a:lnTo>
                  <a:lnTo>
                    <a:pt x="450" y="558"/>
                  </a:lnTo>
                  <a:lnTo>
                    <a:pt x="450" y="558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57" name="未知"/>
            <p:cNvSpPr>
              <a:spLocks/>
            </p:cNvSpPr>
            <p:nvPr/>
          </p:nvSpPr>
          <p:spPr bwMode="auto">
            <a:xfrm>
              <a:off x="3748838" y="2858593"/>
              <a:ext cx="131694" cy="283552"/>
            </a:xfrm>
            <a:custGeom>
              <a:avLst/>
              <a:gdLst>
                <a:gd name="T0" fmla="*/ 2147483647 w 178"/>
                <a:gd name="T1" fmla="*/ 2147483647 h 412"/>
                <a:gd name="T2" fmla="*/ 2147483647 w 178"/>
                <a:gd name="T3" fmla="*/ 2147483647 h 412"/>
                <a:gd name="T4" fmla="*/ 2147483647 w 178"/>
                <a:gd name="T5" fmla="*/ 2147483647 h 412"/>
                <a:gd name="T6" fmla="*/ 2147483647 w 178"/>
                <a:gd name="T7" fmla="*/ 2147483647 h 412"/>
                <a:gd name="T8" fmla="*/ 2147483647 w 178"/>
                <a:gd name="T9" fmla="*/ 2147483647 h 412"/>
                <a:gd name="T10" fmla="*/ 2147483647 w 178"/>
                <a:gd name="T11" fmla="*/ 2147483647 h 412"/>
                <a:gd name="T12" fmla="*/ 2147483647 w 178"/>
                <a:gd name="T13" fmla="*/ 2147483647 h 412"/>
                <a:gd name="T14" fmla="*/ 2147483647 w 178"/>
                <a:gd name="T15" fmla="*/ 2147483647 h 412"/>
                <a:gd name="T16" fmla="*/ 2147483647 w 178"/>
                <a:gd name="T17" fmla="*/ 2147483647 h 412"/>
                <a:gd name="T18" fmla="*/ 2147483647 w 178"/>
                <a:gd name="T19" fmla="*/ 2147483647 h 412"/>
                <a:gd name="T20" fmla="*/ 2147483647 w 178"/>
                <a:gd name="T21" fmla="*/ 2147483647 h 412"/>
                <a:gd name="T22" fmla="*/ 0 w 178"/>
                <a:gd name="T23" fmla="*/ 2147483647 h 412"/>
                <a:gd name="T24" fmla="*/ 0 w 178"/>
                <a:gd name="T25" fmla="*/ 2147483647 h 412"/>
                <a:gd name="T26" fmla="*/ 2147483647 w 178"/>
                <a:gd name="T27" fmla="*/ 2147483647 h 412"/>
                <a:gd name="T28" fmla="*/ 2147483647 w 178"/>
                <a:gd name="T29" fmla="*/ 2147483647 h 412"/>
                <a:gd name="T30" fmla="*/ 2147483647 w 178"/>
                <a:gd name="T31" fmla="*/ 2147483647 h 412"/>
                <a:gd name="T32" fmla="*/ 2147483647 w 178"/>
                <a:gd name="T33" fmla="*/ 2147483647 h 412"/>
                <a:gd name="T34" fmla="*/ 2147483647 w 178"/>
                <a:gd name="T35" fmla="*/ 2147483647 h 412"/>
                <a:gd name="T36" fmla="*/ 2147483647 w 178"/>
                <a:gd name="T37" fmla="*/ 2147483647 h 412"/>
                <a:gd name="T38" fmla="*/ 2147483647 w 178"/>
                <a:gd name="T39" fmla="*/ 2147483647 h 412"/>
                <a:gd name="T40" fmla="*/ 2147483647 w 178"/>
                <a:gd name="T41" fmla="*/ 2147483647 h 412"/>
                <a:gd name="T42" fmla="*/ 2147483647 w 178"/>
                <a:gd name="T43" fmla="*/ 2147483647 h 412"/>
                <a:gd name="T44" fmla="*/ 2147483647 w 178"/>
                <a:gd name="T45" fmla="*/ 2147483647 h 412"/>
                <a:gd name="T46" fmla="*/ 2147483647 w 178"/>
                <a:gd name="T47" fmla="*/ 2147483647 h 412"/>
                <a:gd name="T48" fmla="*/ 2147483647 w 178"/>
                <a:gd name="T49" fmla="*/ 2147483647 h 412"/>
                <a:gd name="T50" fmla="*/ 2147483647 w 178"/>
                <a:gd name="T51" fmla="*/ 2147483647 h 412"/>
                <a:gd name="T52" fmla="*/ 2147483647 w 178"/>
                <a:gd name="T53" fmla="*/ 2147483647 h 412"/>
                <a:gd name="T54" fmla="*/ 2147483647 w 178"/>
                <a:gd name="T55" fmla="*/ 2147483647 h 412"/>
                <a:gd name="T56" fmla="*/ 2147483647 w 178"/>
                <a:gd name="T57" fmla="*/ 2147483647 h 412"/>
                <a:gd name="T58" fmla="*/ 2147483647 w 178"/>
                <a:gd name="T59" fmla="*/ 2147483647 h 412"/>
                <a:gd name="T60" fmla="*/ 2147483647 w 178"/>
                <a:gd name="T61" fmla="*/ 2147483647 h 412"/>
                <a:gd name="T62" fmla="*/ 2147483647 w 178"/>
                <a:gd name="T63" fmla="*/ 0 h 412"/>
                <a:gd name="T64" fmla="*/ 2147483647 w 178"/>
                <a:gd name="T65" fmla="*/ 0 h 412"/>
                <a:gd name="T66" fmla="*/ 2147483647 w 178"/>
                <a:gd name="T67" fmla="*/ 2147483647 h 412"/>
                <a:gd name="T68" fmla="*/ 2147483647 w 178"/>
                <a:gd name="T69" fmla="*/ 2147483647 h 412"/>
                <a:gd name="T70" fmla="*/ 2147483647 w 178"/>
                <a:gd name="T71" fmla="*/ 2147483647 h 412"/>
                <a:gd name="T72" fmla="*/ 2147483647 w 178"/>
                <a:gd name="T73" fmla="*/ 2147483647 h 412"/>
                <a:gd name="T74" fmla="*/ 2147483647 w 178"/>
                <a:gd name="T75" fmla="*/ 2147483647 h 412"/>
                <a:gd name="T76" fmla="*/ 2147483647 w 178"/>
                <a:gd name="T77" fmla="*/ 2147483647 h 412"/>
                <a:gd name="T78" fmla="*/ 2147483647 w 178"/>
                <a:gd name="T79" fmla="*/ 2147483647 h 412"/>
                <a:gd name="T80" fmla="*/ 2147483647 w 178"/>
                <a:gd name="T81" fmla="*/ 2147483647 h 412"/>
                <a:gd name="T82" fmla="*/ 2147483647 w 178"/>
                <a:gd name="T83" fmla="*/ 2147483647 h 412"/>
                <a:gd name="T84" fmla="*/ 2147483647 w 178"/>
                <a:gd name="T85" fmla="*/ 2147483647 h 412"/>
                <a:gd name="T86" fmla="*/ 2147483647 w 178"/>
                <a:gd name="T87" fmla="*/ 2147483647 h 412"/>
                <a:gd name="T88" fmla="*/ 2147483647 w 178"/>
                <a:gd name="T89" fmla="*/ 2147483647 h 412"/>
                <a:gd name="T90" fmla="*/ 2147483647 w 178"/>
                <a:gd name="T91" fmla="*/ 2147483647 h 412"/>
                <a:gd name="T92" fmla="*/ 2147483647 w 178"/>
                <a:gd name="T93" fmla="*/ 2147483647 h 412"/>
                <a:gd name="T94" fmla="*/ 2147483647 w 178"/>
                <a:gd name="T95" fmla="*/ 2147483647 h 412"/>
                <a:gd name="T96" fmla="*/ 2147483647 w 178"/>
                <a:gd name="T97" fmla="*/ 2147483647 h 412"/>
                <a:gd name="T98" fmla="*/ 2147483647 w 178"/>
                <a:gd name="T99" fmla="*/ 2147483647 h 412"/>
                <a:gd name="T100" fmla="*/ 2147483647 w 178"/>
                <a:gd name="T101" fmla="*/ 2147483647 h 412"/>
                <a:gd name="T102" fmla="*/ 2147483647 w 178"/>
                <a:gd name="T103" fmla="*/ 2147483647 h 412"/>
                <a:gd name="T104" fmla="*/ 2147483647 w 178"/>
                <a:gd name="T105" fmla="*/ 2147483647 h 412"/>
                <a:gd name="T106" fmla="*/ 2147483647 w 178"/>
                <a:gd name="T107" fmla="*/ 2147483647 h 412"/>
                <a:gd name="T108" fmla="*/ 2147483647 w 178"/>
                <a:gd name="T109" fmla="*/ 2147483647 h 412"/>
                <a:gd name="T110" fmla="*/ 2147483647 w 178"/>
                <a:gd name="T111" fmla="*/ 2147483647 h 412"/>
                <a:gd name="T112" fmla="*/ 2147483647 w 178"/>
                <a:gd name="T113" fmla="*/ 2147483647 h 412"/>
                <a:gd name="T114" fmla="*/ 2147483647 w 178"/>
                <a:gd name="T115" fmla="*/ 2147483647 h 412"/>
                <a:gd name="T116" fmla="*/ 2147483647 w 178"/>
                <a:gd name="T117" fmla="*/ 2147483647 h 412"/>
                <a:gd name="T118" fmla="*/ 2147483647 w 178"/>
                <a:gd name="T119" fmla="*/ 2147483647 h 41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78" h="412">
                  <a:moveTo>
                    <a:pt x="82" y="412"/>
                  </a:moveTo>
                  <a:lnTo>
                    <a:pt x="82" y="412"/>
                  </a:lnTo>
                  <a:lnTo>
                    <a:pt x="50" y="364"/>
                  </a:lnTo>
                  <a:lnTo>
                    <a:pt x="40" y="360"/>
                  </a:lnTo>
                  <a:lnTo>
                    <a:pt x="34" y="356"/>
                  </a:lnTo>
                  <a:lnTo>
                    <a:pt x="28" y="350"/>
                  </a:lnTo>
                  <a:lnTo>
                    <a:pt x="26" y="346"/>
                  </a:lnTo>
                  <a:lnTo>
                    <a:pt x="20" y="336"/>
                  </a:lnTo>
                  <a:lnTo>
                    <a:pt x="16" y="324"/>
                  </a:lnTo>
                  <a:lnTo>
                    <a:pt x="0" y="304"/>
                  </a:lnTo>
                  <a:lnTo>
                    <a:pt x="2" y="280"/>
                  </a:lnTo>
                  <a:lnTo>
                    <a:pt x="6" y="258"/>
                  </a:lnTo>
                  <a:lnTo>
                    <a:pt x="8" y="238"/>
                  </a:lnTo>
                  <a:lnTo>
                    <a:pt x="8" y="228"/>
                  </a:lnTo>
                  <a:lnTo>
                    <a:pt x="6" y="220"/>
                  </a:lnTo>
                  <a:lnTo>
                    <a:pt x="6" y="196"/>
                  </a:lnTo>
                  <a:lnTo>
                    <a:pt x="10" y="180"/>
                  </a:lnTo>
                  <a:lnTo>
                    <a:pt x="16" y="166"/>
                  </a:lnTo>
                  <a:lnTo>
                    <a:pt x="30" y="150"/>
                  </a:lnTo>
                  <a:lnTo>
                    <a:pt x="38" y="112"/>
                  </a:lnTo>
                  <a:lnTo>
                    <a:pt x="60" y="64"/>
                  </a:lnTo>
                  <a:lnTo>
                    <a:pt x="76" y="44"/>
                  </a:lnTo>
                  <a:lnTo>
                    <a:pt x="90" y="28"/>
                  </a:lnTo>
                  <a:lnTo>
                    <a:pt x="104" y="14"/>
                  </a:lnTo>
                  <a:lnTo>
                    <a:pt x="122" y="0"/>
                  </a:lnTo>
                  <a:lnTo>
                    <a:pt x="164" y="2"/>
                  </a:lnTo>
                  <a:lnTo>
                    <a:pt x="170" y="6"/>
                  </a:lnTo>
                  <a:lnTo>
                    <a:pt x="176" y="30"/>
                  </a:lnTo>
                  <a:lnTo>
                    <a:pt x="178" y="44"/>
                  </a:lnTo>
                  <a:lnTo>
                    <a:pt x="178" y="58"/>
                  </a:lnTo>
                  <a:lnTo>
                    <a:pt x="172" y="72"/>
                  </a:lnTo>
                  <a:lnTo>
                    <a:pt x="168" y="86"/>
                  </a:lnTo>
                  <a:lnTo>
                    <a:pt x="166" y="102"/>
                  </a:lnTo>
                  <a:lnTo>
                    <a:pt x="166" y="118"/>
                  </a:lnTo>
                  <a:lnTo>
                    <a:pt x="168" y="154"/>
                  </a:lnTo>
                  <a:lnTo>
                    <a:pt x="170" y="188"/>
                  </a:lnTo>
                  <a:lnTo>
                    <a:pt x="164" y="202"/>
                  </a:lnTo>
                  <a:lnTo>
                    <a:pt x="158" y="218"/>
                  </a:lnTo>
                  <a:lnTo>
                    <a:pt x="118" y="304"/>
                  </a:lnTo>
                  <a:lnTo>
                    <a:pt x="108" y="398"/>
                  </a:lnTo>
                  <a:lnTo>
                    <a:pt x="98" y="408"/>
                  </a:lnTo>
                  <a:lnTo>
                    <a:pt x="90" y="410"/>
                  </a:lnTo>
                  <a:lnTo>
                    <a:pt x="82" y="412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  <a:extLst/>
          </p:spPr>
          <p:txBody>
            <a:bodyPr/>
            <a:lstStyle/>
            <a:p>
              <a:pPr defTabSz="914354"/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58" name="未知"/>
            <p:cNvSpPr>
              <a:spLocks/>
            </p:cNvSpPr>
            <p:nvPr/>
          </p:nvSpPr>
          <p:spPr bwMode="auto">
            <a:xfrm>
              <a:off x="3435553" y="2652027"/>
              <a:ext cx="305922" cy="370447"/>
            </a:xfrm>
            <a:custGeom>
              <a:avLst/>
              <a:gdLst>
                <a:gd name="T0" fmla="*/ 136 w 414"/>
                <a:gd name="T1" fmla="*/ 532 h 538"/>
                <a:gd name="T2" fmla="*/ 122 w 414"/>
                <a:gd name="T3" fmla="*/ 508 h 538"/>
                <a:gd name="T4" fmla="*/ 116 w 414"/>
                <a:gd name="T5" fmla="*/ 498 h 538"/>
                <a:gd name="T6" fmla="*/ 58 w 414"/>
                <a:gd name="T7" fmla="*/ 426 h 538"/>
                <a:gd name="T8" fmla="*/ 12 w 414"/>
                <a:gd name="T9" fmla="*/ 420 h 538"/>
                <a:gd name="T10" fmla="*/ 0 w 414"/>
                <a:gd name="T11" fmla="*/ 402 h 538"/>
                <a:gd name="T12" fmla="*/ 6 w 414"/>
                <a:gd name="T13" fmla="*/ 360 h 538"/>
                <a:gd name="T14" fmla="*/ 10 w 414"/>
                <a:gd name="T15" fmla="*/ 332 h 538"/>
                <a:gd name="T16" fmla="*/ 8 w 414"/>
                <a:gd name="T17" fmla="*/ 306 h 538"/>
                <a:gd name="T18" fmla="*/ 44 w 414"/>
                <a:gd name="T19" fmla="*/ 246 h 538"/>
                <a:gd name="T20" fmla="*/ 42 w 414"/>
                <a:gd name="T21" fmla="*/ 200 h 538"/>
                <a:gd name="T22" fmla="*/ 46 w 414"/>
                <a:gd name="T23" fmla="*/ 190 h 538"/>
                <a:gd name="T24" fmla="*/ 74 w 414"/>
                <a:gd name="T25" fmla="*/ 174 h 538"/>
                <a:gd name="T26" fmla="*/ 102 w 414"/>
                <a:gd name="T27" fmla="*/ 134 h 538"/>
                <a:gd name="T28" fmla="*/ 102 w 414"/>
                <a:gd name="T29" fmla="*/ 116 h 538"/>
                <a:gd name="T30" fmla="*/ 92 w 414"/>
                <a:gd name="T31" fmla="*/ 88 h 538"/>
                <a:gd name="T32" fmla="*/ 104 w 414"/>
                <a:gd name="T33" fmla="*/ 72 h 538"/>
                <a:gd name="T34" fmla="*/ 132 w 414"/>
                <a:gd name="T35" fmla="*/ 58 h 538"/>
                <a:gd name="T36" fmla="*/ 172 w 414"/>
                <a:gd name="T37" fmla="*/ 48 h 538"/>
                <a:gd name="T38" fmla="*/ 190 w 414"/>
                <a:gd name="T39" fmla="*/ 28 h 538"/>
                <a:gd name="T40" fmla="*/ 204 w 414"/>
                <a:gd name="T41" fmla="*/ 2 h 538"/>
                <a:gd name="T42" fmla="*/ 224 w 414"/>
                <a:gd name="T43" fmla="*/ 2 h 538"/>
                <a:gd name="T44" fmla="*/ 236 w 414"/>
                <a:gd name="T45" fmla="*/ 16 h 538"/>
                <a:gd name="T46" fmla="*/ 250 w 414"/>
                <a:gd name="T47" fmla="*/ 64 h 538"/>
                <a:gd name="T48" fmla="*/ 280 w 414"/>
                <a:gd name="T49" fmla="*/ 96 h 538"/>
                <a:gd name="T50" fmla="*/ 336 w 414"/>
                <a:gd name="T51" fmla="*/ 100 h 538"/>
                <a:gd name="T52" fmla="*/ 366 w 414"/>
                <a:gd name="T53" fmla="*/ 86 h 538"/>
                <a:gd name="T54" fmla="*/ 404 w 414"/>
                <a:gd name="T55" fmla="*/ 84 h 538"/>
                <a:gd name="T56" fmla="*/ 398 w 414"/>
                <a:gd name="T57" fmla="*/ 104 h 538"/>
                <a:gd name="T58" fmla="*/ 384 w 414"/>
                <a:gd name="T59" fmla="*/ 124 h 538"/>
                <a:gd name="T60" fmla="*/ 362 w 414"/>
                <a:gd name="T61" fmla="*/ 154 h 538"/>
                <a:gd name="T62" fmla="*/ 330 w 414"/>
                <a:gd name="T63" fmla="*/ 162 h 538"/>
                <a:gd name="T64" fmla="*/ 328 w 414"/>
                <a:gd name="T65" fmla="*/ 180 h 538"/>
                <a:gd name="T66" fmla="*/ 348 w 414"/>
                <a:gd name="T67" fmla="*/ 198 h 538"/>
                <a:gd name="T68" fmla="*/ 350 w 414"/>
                <a:gd name="T69" fmla="*/ 222 h 538"/>
                <a:gd name="T70" fmla="*/ 348 w 414"/>
                <a:gd name="T71" fmla="*/ 240 h 538"/>
                <a:gd name="T72" fmla="*/ 340 w 414"/>
                <a:gd name="T73" fmla="*/ 278 h 538"/>
                <a:gd name="T74" fmla="*/ 346 w 414"/>
                <a:gd name="T75" fmla="*/ 296 h 538"/>
                <a:gd name="T76" fmla="*/ 356 w 414"/>
                <a:gd name="T77" fmla="*/ 308 h 538"/>
                <a:gd name="T78" fmla="*/ 350 w 414"/>
                <a:gd name="T79" fmla="*/ 306 h 538"/>
                <a:gd name="T80" fmla="*/ 318 w 414"/>
                <a:gd name="T81" fmla="*/ 312 h 538"/>
                <a:gd name="T82" fmla="*/ 318 w 414"/>
                <a:gd name="T83" fmla="*/ 336 h 538"/>
                <a:gd name="T84" fmla="*/ 296 w 414"/>
                <a:gd name="T85" fmla="*/ 354 h 538"/>
                <a:gd name="T86" fmla="*/ 288 w 414"/>
                <a:gd name="T87" fmla="*/ 384 h 538"/>
                <a:gd name="T88" fmla="*/ 268 w 414"/>
                <a:gd name="T89" fmla="*/ 408 h 538"/>
                <a:gd name="T90" fmla="*/ 228 w 414"/>
                <a:gd name="T91" fmla="*/ 416 h 538"/>
                <a:gd name="T92" fmla="*/ 240 w 414"/>
                <a:gd name="T93" fmla="*/ 440 h 538"/>
                <a:gd name="T94" fmla="*/ 218 w 414"/>
                <a:gd name="T95" fmla="*/ 450 h 538"/>
                <a:gd name="T96" fmla="*/ 184 w 414"/>
                <a:gd name="T97" fmla="*/ 480 h 538"/>
                <a:gd name="T98" fmla="*/ 166 w 414"/>
                <a:gd name="T99" fmla="*/ 514 h 538"/>
                <a:gd name="T100" fmla="*/ 150 w 414"/>
                <a:gd name="T101" fmla="*/ 52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14" h="538">
                  <a:moveTo>
                    <a:pt x="136" y="538"/>
                  </a:moveTo>
                  <a:lnTo>
                    <a:pt x="136" y="538"/>
                  </a:lnTo>
                  <a:lnTo>
                    <a:pt x="136" y="532"/>
                  </a:lnTo>
                  <a:lnTo>
                    <a:pt x="134" y="526"/>
                  </a:lnTo>
                  <a:lnTo>
                    <a:pt x="128" y="516"/>
                  </a:lnTo>
                  <a:lnTo>
                    <a:pt x="122" y="508"/>
                  </a:lnTo>
                  <a:lnTo>
                    <a:pt x="116" y="504"/>
                  </a:lnTo>
                  <a:lnTo>
                    <a:pt x="116" y="504"/>
                  </a:lnTo>
                  <a:lnTo>
                    <a:pt x="116" y="498"/>
                  </a:lnTo>
                  <a:lnTo>
                    <a:pt x="116" y="498"/>
                  </a:lnTo>
                  <a:lnTo>
                    <a:pt x="58" y="426"/>
                  </a:lnTo>
                  <a:lnTo>
                    <a:pt x="58" y="426"/>
                  </a:lnTo>
                  <a:lnTo>
                    <a:pt x="40" y="422"/>
                  </a:lnTo>
                  <a:lnTo>
                    <a:pt x="26" y="420"/>
                  </a:lnTo>
                  <a:lnTo>
                    <a:pt x="12" y="420"/>
                  </a:lnTo>
                  <a:lnTo>
                    <a:pt x="2" y="418"/>
                  </a:lnTo>
                  <a:lnTo>
                    <a:pt x="2" y="418"/>
                  </a:lnTo>
                  <a:lnTo>
                    <a:pt x="0" y="402"/>
                  </a:lnTo>
                  <a:lnTo>
                    <a:pt x="0" y="386"/>
                  </a:lnTo>
                  <a:lnTo>
                    <a:pt x="6" y="360"/>
                  </a:lnTo>
                  <a:lnTo>
                    <a:pt x="6" y="360"/>
                  </a:lnTo>
                  <a:lnTo>
                    <a:pt x="8" y="352"/>
                  </a:lnTo>
                  <a:lnTo>
                    <a:pt x="10" y="346"/>
                  </a:lnTo>
                  <a:lnTo>
                    <a:pt x="10" y="332"/>
                  </a:lnTo>
                  <a:lnTo>
                    <a:pt x="10" y="318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40" y="270"/>
                  </a:lnTo>
                  <a:lnTo>
                    <a:pt x="40" y="270"/>
                  </a:lnTo>
                  <a:lnTo>
                    <a:pt x="44" y="246"/>
                  </a:lnTo>
                  <a:lnTo>
                    <a:pt x="44" y="246"/>
                  </a:lnTo>
                  <a:lnTo>
                    <a:pt x="42" y="214"/>
                  </a:lnTo>
                  <a:lnTo>
                    <a:pt x="42" y="200"/>
                  </a:lnTo>
                  <a:lnTo>
                    <a:pt x="44" y="194"/>
                  </a:lnTo>
                  <a:lnTo>
                    <a:pt x="46" y="190"/>
                  </a:lnTo>
                  <a:lnTo>
                    <a:pt x="46" y="190"/>
                  </a:lnTo>
                  <a:lnTo>
                    <a:pt x="60" y="182"/>
                  </a:lnTo>
                  <a:lnTo>
                    <a:pt x="74" y="174"/>
                  </a:lnTo>
                  <a:lnTo>
                    <a:pt x="74" y="174"/>
                  </a:lnTo>
                  <a:lnTo>
                    <a:pt x="94" y="152"/>
                  </a:lnTo>
                  <a:lnTo>
                    <a:pt x="94" y="152"/>
                  </a:lnTo>
                  <a:lnTo>
                    <a:pt x="102" y="134"/>
                  </a:lnTo>
                  <a:lnTo>
                    <a:pt x="102" y="134"/>
                  </a:lnTo>
                  <a:lnTo>
                    <a:pt x="102" y="116"/>
                  </a:lnTo>
                  <a:lnTo>
                    <a:pt x="102" y="116"/>
                  </a:lnTo>
                  <a:lnTo>
                    <a:pt x="96" y="104"/>
                  </a:lnTo>
                  <a:lnTo>
                    <a:pt x="94" y="94"/>
                  </a:lnTo>
                  <a:lnTo>
                    <a:pt x="92" y="88"/>
                  </a:lnTo>
                  <a:lnTo>
                    <a:pt x="94" y="82"/>
                  </a:lnTo>
                  <a:lnTo>
                    <a:pt x="98" y="76"/>
                  </a:lnTo>
                  <a:lnTo>
                    <a:pt x="104" y="72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32" y="58"/>
                  </a:lnTo>
                  <a:lnTo>
                    <a:pt x="144" y="56"/>
                  </a:lnTo>
                  <a:lnTo>
                    <a:pt x="158" y="54"/>
                  </a:lnTo>
                  <a:lnTo>
                    <a:pt x="172" y="48"/>
                  </a:lnTo>
                  <a:lnTo>
                    <a:pt x="172" y="48"/>
                  </a:lnTo>
                  <a:lnTo>
                    <a:pt x="182" y="40"/>
                  </a:lnTo>
                  <a:lnTo>
                    <a:pt x="190" y="28"/>
                  </a:lnTo>
                  <a:lnTo>
                    <a:pt x="198" y="14"/>
                  </a:lnTo>
                  <a:lnTo>
                    <a:pt x="204" y="2"/>
                  </a:lnTo>
                  <a:lnTo>
                    <a:pt x="204" y="2"/>
                  </a:lnTo>
                  <a:lnTo>
                    <a:pt x="210" y="0"/>
                  </a:lnTo>
                  <a:lnTo>
                    <a:pt x="216" y="0"/>
                  </a:lnTo>
                  <a:lnTo>
                    <a:pt x="224" y="2"/>
                  </a:lnTo>
                  <a:lnTo>
                    <a:pt x="232" y="6"/>
                  </a:lnTo>
                  <a:lnTo>
                    <a:pt x="232" y="6"/>
                  </a:lnTo>
                  <a:lnTo>
                    <a:pt x="236" y="16"/>
                  </a:lnTo>
                  <a:lnTo>
                    <a:pt x="238" y="28"/>
                  </a:lnTo>
                  <a:lnTo>
                    <a:pt x="246" y="52"/>
                  </a:lnTo>
                  <a:lnTo>
                    <a:pt x="250" y="64"/>
                  </a:lnTo>
                  <a:lnTo>
                    <a:pt x="258" y="76"/>
                  </a:lnTo>
                  <a:lnTo>
                    <a:pt x="266" y="86"/>
                  </a:lnTo>
                  <a:lnTo>
                    <a:pt x="280" y="96"/>
                  </a:lnTo>
                  <a:lnTo>
                    <a:pt x="280" y="96"/>
                  </a:lnTo>
                  <a:lnTo>
                    <a:pt x="336" y="100"/>
                  </a:lnTo>
                  <a:lnTo>
                    <a:pt x="336" y="100"/>
                  </a:lnTo>
                  <a:lnTo>
                    <a:pt x="342" y="94"/>
                  </a:lnTo>
                  <a:lnTo>
                    <a:pt x="350" y="92"/>
                  </a:lnTo>
                  <a:lnTo>
                    <a:pt x="366" y="86"/>
                  </a:lnTo>
                  <a:lnTo>
                    <a:pt x="386" y="86"/>
                  </a:lnTo>
                  <a:lnTo>
                    <a:pt x="404" y="84"/>
                  </a:lnTo>
                  <a:lnTo>
                    <a:pt x="404" y="84"/>
                  </a:lnTo>
                  <a:lnTo>
                    <a:pt x="414" y="90"/>
                  </a:lnTo>
                  <a:lnTo>
                    <a:pt x="414" y="90"/>
                  </a:lnTo>
                  <a:lnTo>
                    <a:pt x="398" y="104"/>
                  </a:lnTo>
                  <a:lnTo>
                    <a:pt x="392" y="112"/>
                  </a:lnTo>
                  <a:lnTo>
                    <a:pt x="384" y="124"/>
                  </a:lnTo>
                  <a:lnTo>
                    <a:pt x="384" y="124"/>
                  </a:lnTo>
                  <a:lnTo>
                    <a:pt x="382" y="156"/>
                  </a:lnTo>
                  <a:lnTo>
                    <a:pt x="382" y="156"/>
                  </a:lnTo>
                  <a:lnTo>
                    <a:pt x="362" y="154"/>
                  </a:lnTo>
                  <a:lnTo>
                    <a:pt x="342" y="154"/>
                  </a:lnTo>
                  <a:lnTo>
                    <a:pt x="336" y="158"/>
                  </a:lnTo>
                  <a:lnTo>
                    <a:pt x="330" y="162"/>
                  </a:lnTo>
                  <a:lnTo>
                    <a:pt x="326" y="168"/>
                  </a:lnTo>
                  <a:lnTo>
                    <a:pt x="328" y="180"/>
                  </a:lnTo>
                  <a:lnTo>
                    <a:pt x="328" y="180"/>
                  </a:lnTo>
                  <a:lnTo>
                    <a:pt x="338" y="186"/>
                  </a:lnTo>
                  <a:lnTo>
                    <a:pt x="348" y="198"/>
                  </a:lnTo>
                  <a:lnTo>
                    <a:pt x="348" y="198"/>
                  </a:lnTo>
                  <a:lnTo>
                    <a:pt x="364" y="208"/>
                  </a:lnTo>
                  <a:lnTo>
                    <a:pt x="364" y="208"/>
                  </a:lnTo>
                  <a:lnTo>
                    <a:pt x="350" y="222"/>
                  </a:lnTo>
                  <a:lnTo>
                    <a:pt x="350" y="222"/>
                  </a:lnTo>
                  <a:lnTo>
                    <a:pt x="350" y="230"/>
                  </a:lnTo>
                  <a:lnTo>
                    <a:pt x="348" y="240"/>
                  </a:lnTo>
                  <a:lnTo>
                    <a:pt x="342" y="258"/>
                  </a:lnTo>
                  <a:lnTo>
                    <a:pt x="342" y="268"/>
                  </a:lnTo>
                  <a:lnTo>
                    <a:pt x="340" y="278"/>
                  </a:lnTo>
                  <a:lnTo>
                    <a:pt x="342" y="286"/>
                  </a:lnTo>
                  <a:lnTo>
                    <a:pt x="346" y="296"/>
                  </a:lnTo>
                  <a:lnTo>
                    <a:pt x="346" y="296"/>
                  </a:lnTo>
                  <a:lnTo>
                    <a:pt x="356" y="304"/>
                  </a:lnTo>
                  <a:lnTo>
                    <a:pt x="356" y="304"/>
                  </a:lnTo>
                  <a:lnTo>
                    <a:pt x="356" y="308"/>
                  </a:lnTo>
                  <a:lnTo>
                    <a:pt x="356" y="308"/>
                  </a:lnTo>
                  <a:lnTo>
                    <a:pt x="350" y="306"/>
                  </a:lnTo>
                  <a:lnTo>
                    <a:pt x="350" y="306"/>
                  </a:lnTo>
                  <a:lnTo>
                    <a:pt x="322" y="306"/>
                  </a:lnTo>
                  <a:lnTo>
                    <a:pt x="322" y="306"/>
                  </a:lnTo>
                  <a:lnTo>
                    <a:pt x="318" y="312"/>
                  </a:lnTo>
                  <a:lnTo>
                    <a:pt x="318" y="318"/>
                  </a:lnTo>
                  <a:lnTo>
                    <a:pt x="320" y="324"/>
                  </a:lnTo>
                  <a:lnTo>
                    <a:pt x="318" y="336"/>
                  </a:lnTo>
                  <a:lnTo>
                    <a:pt x="318" y="336"/>
                  </a:lnTo>
                  <a:lnTo>
                    <a:pt x="304" y="346"/>
                  </a:lnTo>
                  <a:lnTo>
                    <a:pt x="296" y="354"/>
                  </a:lnTo>
                  <a:lnTo>
                    <a:pt x="292" y="364"/>
                  </a:lnTo>
                  <a:lnTo>
                    <a:pt x="288" y="384"/>
                  </a:lnTo>
                  <a:lnTo>
                    <a:pt x="288" y="384"/>
                  </a:lnTo>
                  <a:lnTo>
                    <a:pt x="278" y="396"/>
                  </a:lnTo>
                  <a:lnTo>
                    <a:pt x="268" y="408"/>
                  </a:lnTo>
                  <a:lnTo>
                    <a:pt x="268" y="408"/>
                  </a:lnTo>
                  <a:lnTo>
                    <a:pt x="232" y="410"/>
                  </a:lnTo>
                  <a:lnTo>
                    <a:pt x="232" y="410"/>
                  </a:lnTo>
                  <a:lnTo>
                    <a:pt x="228" y="416"/>
                  </a:lnTo>
                  <a:lnTo>
                    <a:pt x="228" y="422"/>
                  </a:lnTo>
                  <a:lnTo>
                    <a:pt x="230" y="430"/>
                  </a:lnTo>
                  <a:lnTo>
                    <a:pt x="240" y="440"/>
                  </a:lnTo>
                  <a:lnTo>
                    <a:pt x="240" y="440"/>
                  </a:lnTo>
                  <a:lnTo>
                    <a:pt x="228" y="444"/>
                  </a:lnTo>
                  <a:lnTo>
                    <a:pt x="218" y="450"/>
                  </a:lnTo>
                  <a:lnTo>
                    <a:pt x="208" y="456"/>
                  </a:lnTo>
                  <a:lnTo>
                    <a:pt x="200" y="464"/>
                  </a:lnTo>
                  <a:lnTo>
                    <a:pt x="184" y="480"/>
                  </a:lnTo>
                  <a:lnTo>
                    <a:pt x="168" y="500"/>
                  </a:lnTo>
                  <a:lnTo>
                    <a:pt x="168" y="500"/>
                  </a:lnTo>
                  <a:lnTo>
                    <a:pt x="166" y="514"/>
                  </a:lnTo>
                  <a:lnTo>
                    <a:pt x="166" y="514"/>
                  </a:lnTo>
                  <a:lnTo>
                    <a:pt x="158" y="522"/>
                  </a:lnTo>
                  <a:lnTo>
                    <a:pt x="150" y="528"/>
                  </a:lnTo>
                  <a:lnTo>
                    <a:pt x="136" y="538"/>
                  </a:lnTo>
                  <a:lnTo>
                    <a:pt x="136" y="538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59" name="未知"/>
            <p:cNvSpPr>
              <a:spLocks/>
            </p:cNvSpPr>
            <p:nvPr/>
          </p:nvSpPr>
          <p:spPr bwMode="auto">
            <a:xfrm>
              <a:off x="2496518" y="2616202"/>
              <a:ext cx="447433" cy="366635"/>
            </a:xfrm>
            <a:custGeom>
              <a:avLst/>
              <a:gdLst>
                <a:gd name="T0" fmla="*/ 210 w 606"/>
                <a:gd name="T1" fmla="*/ 516 h 532"/>
                <a:gd name="T2" fmla="*/ 172 w 606"/>
                <a:gd name="T3" fmla="*/ 494 h 532"/>
                <a:gd name="T4" fmla="*/ 126 w 606"/>
                <a:gd name="T5" fmla="*/ 498 h 532"/>
                <a:gd name="T6" fmla="*/ 96 w 606"/>
                <a:gd name="T7" fmla="*/ 530 h 532"/>
                <a:gd name="T8" fmla="*/ 104 w 606"/>
                <a:gd name="T9" fmla="*/ 494 h 532"/>
                <a:gd name="T10" fmla="*/ 62 w 606"/>
                <a:gd name="T11" fmla="*/ 432 h 532"/>
                <a:gd name="T12" fmla="*/ 84 w 606"/>
                <a:gd name="T13" fmla="*/ 356 h 532"/>
                <a:gd name="T14" fmla="*/ 88 w 606"/>
                <a:gd name="T15" fmla="*/ 336 h 532"/>
                <a:gd name="T16" fmla="*/ 70 w 606"/>
                <a:gd name="T17" fmla="*/ 304 h 532"/>
                <a:gd name="T18" fmla="*/ 20 w 606"/>
                <a:gd name="T19" fmla="*/ 314 h 532"/>
                <a:gd name="T20" fmla="*/ 6 w 606"/>
                <a:gd name="T21" fmla="*/ 302 h 532"/>
                <a:gd name="T22" fmla="*/ 0 w 606"/>
                <a:gd name="T23" fmla="*/ 278 h 532"/>
                <a:gd name="T24" fmla="*/ 10 w 606"/>
                <a:gd name="T25" fmla="*/ 240 h 532"/>
                <a:gd name="T26" fmla="*/ 60 w 606"/>
                <a:gd name="T27" fmla="*/ 218 h 532"/>
                <a:gd name="T28" fmla="*/ 90 w 606"/>
                <a:gd name="T29" fmla="*/ 226 h 532"/>
                <a:gd name="T30" fmla="*/ 134 w 606"/>
                <a:gd name="T31" fmla="*/ 234 h 532"/>
                <a:gd name="T32" fmla="*/ 158 w 606"/>
                <a:gd name="T33" fmla="*/ 214 h 532"/>
                <a:gd name="T34" fmla="*/ 174 w 606"/>
                <a:gd name="T35" fmla="*/ 194 h 532"/>
                <a:gd name="T36" fmla="*/ 252 w 606"/>
                <a:gd name="T37" fmla="*/ 204 h 532"/>
                <a:gd name="T38" fmla="*/ 264 w 606"/>
                <a:gd name="T39" fmla="*/ 182 h 532"/>
                <a:gd name="T40" fmla="*/ 266 w 606"/>
                <a:gd name="T41" fmla="*/ 146 h 532"/>
                <a:gd name="T42" fmla="*/ 196 w 606"/>
                <a:gd name="T43" fmla="*/ 108 h 532"/>
                <a:gd name="T44" fmla="*/ 192 w 606"/>
                <a:gd name="T45" fmla="*/ 88 h 532"/>
                <a:gd name="T46" fmla="*/ 216 w 606"/>
                <a:gd name="T47" fmla="*/ 78 h 532"/>
                <a:gd name="T48" fmla="*/ 278 w 606"/>
                <a:gd name="T49" fmla="*/ 102 h 532"/>
                <a:gd name="T50" fmla="*/ 326 w 606"/>
                <a:gd name="T51" fmla="*/ 88 h 532"/>
                <a:gd name="T52" fmla="*/ 378 w 606"/>
                <a:gd name="T53" fmla="*/ 44 h 532"/>
                <a:gd name="T54" fmla="*/ 390 w 606"/>
                <a:gd name="T55" fmla="*/ 14 h 532"/>
                <a:gd name="T56" fmla="*/ 414 w 606"/>
                <a:gd name="T57" fmla="*/ 0 h 532"/>
                <a:gd name="T58" fmla="*/ 444 w 606"/>
                <a:gd name="T59" fmla="*/ 10 h 532"/>
                <a:gd name="T60" fmla="*/ 468 w 606"/>
                <a:gd name="T61" fmla="*/ 66 h 532"/>
                <a:gd name="T62" fmla="*/ 526 w 606"/>
                <a:gd name="T63" fmla="*/ 130 h 532"/>
                <a:gd name="T64" fmla="*/ 562 w 606"/>
                <a:gd name="T65" fmla="*/ 154 h 532"/>
                <a:gd name="T66" fmla="*/ 564 w 606"/>
                <a:gd name="T67" fmla="*/ 196 h 532"/>
                <a:gd name="T68" fmla="*/ 534 w 606"/>
                <a:gd name="T69" fmla="*/ 216 h 532"/>
                <a:gd name="T70" fmla="*/ 506 w 606"/>
                <a:gd name="T71" fmla="*/ 246 h 532"/>
                <a:gd name="T72" fmla="*/ 532 w 606"/>
                <a:gd name="T73" fmla="*/ 258 h 532"/>
                <a:gd name="T74" fmla="*/ 568 w 606"/>
                <a:gd name="T75" fmla="*/ 326 h 532"/>
                <a:gd name="T76" fmla="*/ 592 w 606"/>
                <a:gd name="T77" fmla="*/ 356 h 532"/>
                <a:gd name="T78" fmla="*/ 590 w 606"/>
                <a:gd name="T79" fmla="*/ 380 h 532"/>
                <a:gd name="T80" fmla="*/ 546 w 606"/>
                <a:gd name="T81" fmla="*/ 408 h 532"/>
                <a:gd name="T82" fmla="*/ 482 w 606"/>
                <a:gd name="T83" fmla="*/ 460 h 532"/>
                <a:gd name="T84" fmla="*/ 434 w 606"/>
                <a:gd name="T85" fmla="*/ 472 h 532"/>
                <a:gd name="T86" fmla="*/ 392 w 606"/>
                <a:gd name="T87" fmla="*/ 456 h 532"/>
                <a:gd name="T88" fmla="*/ 358 w 606"/>
                <a:gd name="T89" fmla="*/ 436 h 532"/>
                <a:gd name="T90" fmla="*/ 332 w 606"/>
                <a:gd name="T91" fmla="*/ 442 h 532"/>
                <a:gd name="T92" fmla="*/ 302 w 606"/>
                <a:gd name="T93" fmla="*/ 492 h 532"/>
                <a:gd name="T94" fmla="*/ 266 w 606"/>
                <a:gd name="T95" fmla="*/ 528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6" h="532">
                  <a:moveTo>
                    <a:pt x="240" y="532"/>
                  </a:moveTo>
                  <a:lnTo>
                    <a:pt x="240" y="532"/>
                  </a:lnTo>
                  <a:lnTo>
                    <a:pt x="222" y="524"/>
                  </a:lnTo>
                  <a:lnTo>
                    <a:pt x="210" y="516"/>
                  </a:lnTo>
                  <a:lnTo>
                    <a:pt x="202" y="508"/>
                  </a:lnTo>
                  <a:lnTo>
                    <a:pt x="194" y="502"/>
                  </a:lnTo>
                  <a:lnTo>
                    <a:pt x="194" y="502"/>
                  </a:lnTo>
                  <a:lnTo>
                    <a:pt x="172" y="494"/>
                  </a:lnTo>
                  <a:lnTo>
                    <a:pt x="172" y="494"/>
                  </a:lnTo>
                  <a:lnTo>
                    <a:pt x="152" y="494"/>
                  </a:lnTo>
                  <a:lnTo>
                    <a:pt x="138" y="494"/>
                  </a:lnTo>
                  <a:lnTo>
                    <a:pt x="126" y="498"/>
                  </a:lnTo>
                  <a:lnTo>
                    <a:pt x="112" y="508"/>
                  </a:lnTo>
                  <a:lnTo>
                    <a:pt x="112" y="508"/>
                  </a:lnTo>
                  <a:lnTo>
                    <a:pt x="96" y="530"/>
                  </a:lnTo>
                  <a:lnTo>
                    <a:pt x="96" y="530"/>
                  </a:lnTo>
                  <a:lnTo>
                    <a:pt x="96" y="518"/>
                  </a:lnTo>
                  <a:lnTo>
                    <a:pt x="98" y="508"/>
                  </a:lnTo>
                  <a:lnTo>
                    <a:pt x="104" y="494"/>
                  </a:lnTo>
                  <a:lnTo>
                    <a:pt x="104" y="494"/>
                  </a:lnTo>
                  <a:lnTo>
                    <a:pt x="106" y="452"/>
                  </a:lnTo>
                  <a:lnTo>
                    <a:pt x="106" y="452"/>
                  </a:lnTo>
                  <a:lnTo>
                    <a:pt x="62" y="432"/>
                  </a:lnTo>
                  <a:lnTo>
                    <a:pt x="62" y="432"/>
                  </a:lnTo>
                  <a:lnTo>
                    <a:pt x="64" y="420"/>
                  </a:lnTo>
                  <a:lnTo>
                    <a:pt x="68" y="410"/>
                  </a:lnTo>
                  <a:lnTo>
                    <a:pt x="68" y="410"/>
                  </a:lnTo>
                  <a:lnTo>
                    <a:pt x="84" y="356"/>
                  </a:lnTo>
                  <a:lnTo>
                    <a:pt x="84" y="356"/>
                  </a:lnTo>
                  <a:lnTo>
                    <a:pt x="88" y="352"/>
                  </a:lnTo>
                  <a:lnTo>
                    <a:pt x="88" y="346"/>
                  </a:lnTo>
                  <a:lnTo>
                    <a:pt x="88" y="336"/>
                  </a:lnTo>
                  <a:lnTo>
                    <a:pt x="84" y="320"/>
                  </a:lnTo>
                  <a:lnTo>
                    <a:pt x="84" y="320"/>
                  </a:lnTo>
                  <a:lnTo>
                    <a:pt x="70" y="304"/>
                  </a:lnTo>
                  <a:lnTo>
                    <a:pt x="70" y="304"/>
                  </a:lnTo>
                  <a:lnTo>
                    <a:pt x="58" y="306"/>
                  </a:lnTo>
                  <a:lnTo>
                    <a:pt x="46" y="308"/>
                  </a:lnTo>
                  <a:lnTo>
                    <a:pt x="20" y="314"/>
                  </a:lnTo>
                  <a:lnTo>
                    <a:pt x="20" y="314"/>
                  </a:lnTo>
                  <a:lnTo>
                    <a:pt x="14" y="314"/>
                  </a:lnTo>
                  <a:lnTo>
                    <a:pt x="10" y="310"/>
                  </a:lnTo>
                  <a:lnTo>
                    <a:pt x="8" y="308"/>
                  </a:lnTo>
                  <a:lnTo>
                    <a:pt x="6" y="302"/>
                  </a:lnTo>
                  <a:lnTo>
                    <a:pt x="6" y="294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2" y="262"/>
                  </a:lnTo>
                  <a:lnTo>
                    <a:pt x="4" y="250"/>
                  </a:lnTo>
                  <a:lnTo>
                    <a:pt x="10" y="240"/>
                  </a:lnTo>
                  <a:lnTo>
                    <a:pt x="16" y="234"/>
                  </a:lnTo>
                  <a:lnTo>
                    <a:pt x="24" y="228"/>
                  </a:lnTo>
                  <a:lnTo>
                    <a:pt x="34" y="224"/>
                  </a:lnTo>
                  <a:lnTo>
                    <a:pt x="60" y="218"/>
                  </a:lnTo>
                  <a:lnTo>
                    <a:pt x="60" y="218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90" y="226"/>
                  </a:lnTo>
                  <a:lnTo>
                    <a:pt x="106" y="232"/>
                  </a:lnTo>
                  <a:lnTo>
                    <a:pt x="114" y="234"/>
                  </a:lnTo>
                  <a:lnTo>
                    <a:pt x="124" y="236"/>
                  </a:lnTo>
                  <a:lnTo>
                    <a:pt x="134" y="234"/>
                  </a:lnTo>
                  <a:lnTo>
                    <a:pt x="144" y="230"/>
                  </a:lnTo>
                  <a:lnTo>
                    <a:pt x="144" y="230"/>
                  </a:lnTo>
                  <a:lnTo>
                    <a:pt x="158" y="214"/>
                  </a:lnTo>
                  <a:lnTo>
                    <a:pt x="158" y="214"/>
                  </a:lnTo>
                  <a:lnTo>
                    <a:pt x="164" y="196"/>
                  </a:lnTo>
                  <a:lnTo>
                    <a:pt x="164" y="196"/>
                  </a:lnTo>
                  <a:lnTo>
                    <a:pt x="174" y="194"/>
                  </a:lnTo>
                  <a:lnTo>
                    <a:pt x="174" y="194"/>
                  </a:lnTo>
                  <a:lnTo>
                    <a:pt x="178" y="198"/>
                  </a:lnTo>
                  <a:lnTo>
                    <a:pt x="186" y="200"/>
                  </a:lnTo>
                  <a:lnTo>
                    <a:pt x="206" y="202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8" y="196"/>
                  </a:lnTo>
                  <a:lnTo>
                    <a:pt x="262" y="190"/>
                  </a:lnTo>
                  <a:lnTo>
                    <a:pt x="264" y="182"/>
                  </a:lnTo>
                  <a:lnTo>
                    <a:pt x="266" y="174"/>
                  </a:lnTo>
                  <a:lnTo>
                    <a:pt x="266" y="160"/>
                  </a:lnTo>
                  <a:lnTo>
                    <a:pt x="266" y="146"/>
                  </a:lnTo>
                  <a:lnTo>
                    <a:pt x="266" y="146"/>
                  </a:lnTo>
                  <a:lnTo>
                    <a:pt x="256" y="136"/>
                  </a:lnTo>
                  <a:lnTo>
                    <a:pt x="248" y="130"/>
                  </a:lnTo>
                  <a:lnTo>
                    <a:pt x="230" y="120"/>
                  </a:lnTo>
                  <a:lnTo>
                    <a:pt x="196" y="108"/>
                  </a:lnTo>
                  <a:lnTo>
                    <a:pt x="196" y="108"/>
                  </a:lnTo>
                  <a:lnTo>
                    <a:pt x="194" y="100"/>
                  </a:lnTo>
                  <a:lnTo>
                    <a:pt x="192" y="94"/>
                  </a:lnTo>
                  <a:lnTo>
                    <a:pt x="192" y="88"/>
                  </a:lnTo>
                  <a:lnTo>
                    <a:pt x="194" y="84"/>
                  </a:lnTo>
                  <a:lnTo>
                    <a:pt x="198" y="82"/>
                  </a:lnTo>
                  <a:lnTo>
                    <a:pt x="202" y="80"/>
                  </a:lnTo>
                  <a:lnTo>
                    <a:pt x="216" y="78"/>
                  </a:lnTo>
                  <a:lnTo>
                    <a:pt x="216" y="78"/>
                  </a:lnTo>
                  <a:lnTo>
                    <a:pt x="238" y="94"/>
                  </a:lnTo>
                  <a:lnTo>
                    <a:pt x="238" y="94"/>
                  </a:lnTo>
                  <a:lnTo>
                    <a:pt x="278" y="102"/>
                  </a:lnTo>
                  <a:lnTo>
                    <a:pt x="278" y="102"/>
                  </a:lnTo>
                  <a:lnTo>
                    <a:pt x="294" y="100"/>
                  </a:lnTo>
                  <a:lnTo>
                    <a:pt x="310" y="96"/>
                  </a:lnTo>
                  <a:lnTo>
                    <a:pt x="326" y="88"/>
                  </a:lnTo>
                  <a:lnTo>
                    <a:pt x="342" y="80"/>
                  </a:lnTo>
                  <a:lnTo>
                    <a:pt x="356" y="68"/>
                  </a:lnTo>
                  <a:lnTo>
                    <a:pt x="368" y="56"/>
                  </a:lnTo>
                  <a:lnTo>
                    <a:pt x="378" y="44"/>
                  </a:lnTo>
                  <a:lnTo>
                    <a:pt x="386" y="30"/>
                  </a:lnTo>
                  <a:lnTo>
                    <a:pt x="386" y="30"/>
                  </a:lnTo>
                  <a:lnTo>
                    <a:pt x="388" y="22"/>
                  </a:lnTo>
                  <a:lnTo>
                    <a:pt x="390" y="14"/>
                  </a:lnTo>
                  <a:lnTo>
                    <a:pt x="394" y="8"/>
                  </a:lnTo>
                  <a:lnTo>
                    <a:pt x="400" y="4"/>
                  </a:lnTo>
                  <a:lnTo>
                    <a:pt x="406" y="2"/>
                  </a:lnTo>
                  <a:lnTo>
                    <a:pt x="414" y="0"/>
                  </a:lnTo>
                  <a:lnTo>
                    <a:pt x="432" y="0"/>
                  </a:lnTo>
                  <a:lnTo>
                    <a:pt x="432" y="0"/>
                  </a:lnTo>
                  <a:lnTo>
                    <a:pt x="438" y="4"/>
                  </a:lnTo>
                  <a:lnTo>
                    <a:pt x="444" y="10"/>
                  </a:lnTo>
                  <a:lnTo>
                    <a:pt x="450" y="16"/>
                  </a:lnTo>
                  <a:lnTo>
                    <a:pt x="456" y="24"/>
                  </a:lnTo>
                  <a:lnTo>
                    <a:pt x="464" y="44"/>
                  </a:lnTo>
                  <a:lnTo>
                    <a:pt x="468" y="66"/>
                  </a:lnTo>
                  <a:lnTo>
                    <a:pt x="468" y="66"/>
                  </a:lnTo>
                  <a:lnTo>
                    <a:pt x="494" y="98"/>
                  </a:lnTo>
                  <a:lnTo>
                    <a:pt x="508" y="114"/>
                  </a:lnTo>
                  <a:lnTo>
                    <a:pt x="526" y="130"/>
                  </a:lnTo>
                  <a:lnTo>
                    <a:pt x="526" y="130"/>
                  </a:lnTo>
                  <a:lnTo>
                    <a:pt x="558" y="142"/>
                  </a:lnTo>
                  <a:lnTo>
                    <a:pt x="558" y="142"/>
                  </a:lnTo>
                  <a:lnTo>
                    <a:pt x="562" y="154"/>
                  </a:lnTo>
                  <a:lnTo>
                    <a:pt x="566" y="170"/>
                  </a:lnTo>
                  <a:lnTo>
                    <a:pt x="566" y="178"/>
                  </a:lnTo>
                  <a:lnTo>
                    <a:pt x="566" y="188"/>
                  </a:lnTo>
                  <a:lnTo>
                    <a:pt x="564" y="196"/>
                  </a:lnTo>
                  <a:lnTo>
                    <a:pt x="558" y="204"/>
                  </a:lnTo>
                  <a:lnTo>
                    <a:pt x="558" y="204"/>
                  </a:lnTo>
                  <a:lnTo>
                    <a:pt x="546" y="210"/>
                  </a:lnTo>
                  <a:lnTo>
                    <a:pt x="534" y="216"/>
                  </a:lnTo>
                  <a:lnTo>
                    <a:pt x="516" y="222"/>
                  </a:lnTo>
                  <a:lnTo>
                    <a:pt x="510" y="228"/>
                  </a:lnTo>
                  <a:lnTo>
                    <a:pt x="506" y="234"/>
                  </a:lnTo>
                  <a:lnTo>
                    <a:pt x="506" y="246"/>
                  </a:lnTo>
                  <a:lnTo>
                    <a:pt x="506" y="262"/>
                  </a:lnTo>
                  <a:lnTo>
                    <a:pt x="506" y="262"/>
                  </a:lnTo>
                  <a:lnTo>
                    <a:pt x="518" y="262"/>
                  </a:lnTo>
                  <a:lnTo>
                    <a:pt x="532" y="258"/>
                  </a:lnTo>
                  <a:lnTo>
                    <a:pt x="532" y="258"/>
                  </a:lnTo>
                  <a:lnTo>
                    <a:pt x="572" y="256"/>
                  </a:lnTo>
                  <a:lnTo>
                    <a:pt x="572" y="256"/>
                  </a:lnTo>
                  <a:lnTo>
                    <a:pt x="568" y="326"/>
                  </a:lnTo>
                  <a:lnTo>
                    <a:pt x="568" y="326"/>
                  </a:lnTo>
                  <a:lnTo>
                    <a:pt x="572" y="334"/>
                  </a:lnTo>
                  <a:lnTo>
                    <a:pt x="576" y="340"/>
                  </a:lnTo>
                  <a:lnTo>
                    <a:pt x="592" y="356"/>
                  </a:lnTo>
                  <a:lnTo>
                    <a:pt x="592" y="356"/>
                  </a:lnTo>
                  <a:lnTo>
                    <a:pt x="606" y="378"/>
                  </a:lnTo>
                  <a:lnTo>
                    <a:pt x="606" y="378"/>
                  </a:lnTo>
                  <a:lnTo>
                    <a:pt x="590" y="380"/>
                  </a:lnTo>
                  <a:lnTo>
                    <a:pt x="576" y="384"/>
                  </a:lnTo>
                  <a:lnTo>
                    <a:pt x="554" y="398"/>
                  </a:lnTo>
                  <a:lnTo>
                    <a:pt x="554" y="398"/>
                  </a:lnTo>
                  <a:lnTo>
                    <a:pt x="546" y="408"/>
                  </a:lnTo>
                  <a:lnTo>
                    <a:pt x="538" y="416"/>
                  </a:lnTo>
                  <a:lnTo>
                    <a:pt x="520" y="430"/>
                  </a:lnTo>
                  <a:lnTo>
                    <a:pt x="500" y="444"/>
                  </a:lnTo>
                  <a:lnTo>
                    <a:pt x="482" y="460"/>
                  </a:lnTo>
                  <a:lnTo>
                    <a:pt x="482" y="460"/>
                  </a:lnTo>
                  <a:lnTo>
                    <a:pt x="466" y="464"/>
                  </a:lnTo>
                  <a:lnTo>
                    <a:pt x="450" y="470"/>
                  </a:lnTo>
                  <a:lnTo>
                    <a:pt x="434" y="472"/>
                  </a:lnTo>
                  <a:lnTo>
                    <a:pt x="420" y="472"/>
                  </a:lnTo>
                  <a:lnTo>
                    <a:pt x="420" y="472"/>
                  </a:lnTo>
                  <a:lnTo>
                    <a:pt x="392" y="456"/>
                  </a:lnTo>
                  <a:lnTo>
                    <a:pt x="392" y="456"/>
                  </a:lnTo>
                  <a:lnTo>
                    <a:pt x="376" y="440"/>
                  </a:lnTo>
                  <a:lnTo>
                    <a:pt x="372" y="438"/>
                  </a:lnTo>
                  <a:lnTo>
                    <a:pt x="368" y="436"/>
                  </a:lnTo>
                  <a:lnTo>
                    <a:pt x="358" y="436"/>
                  </a:lnTo>
                  <a:lnTo>
                    <a:pt x="342" y="436"/>
                  </a:lnTo>
                  <a:lnTo>
                    <a:pt x="342" y="436"/>
                  </a:lnTo>
                  <a:lnTo>
                    <a:pt x="336" y="438"/>
                  </a:lnTo>
                  <a:lnTo>
                    <a:pt x="332" y="442"/>
                  </a:lnTo>
                  <a:lnTo>
                    <a:pt x="332" y="442"/>
                  </a:lnTo>
                  <a:lnTo>
                    <a:pt x="330" y="464"/>
                  </a:lnTo>
                  <a:lnTo>
                    <a:pt x="330" y="464"/>
                  </a:lnTo>
                  <a:lnTo>
                    <a:pt x="302" y="492"/>
                  </a:lnTo>
                  <a:lnTo>
                    <a:pt x="290" y="506"/>
                  </a:lnTo>
                  <a:lnTo>
                    <a:pt x="278" y="522"/>
                  </a:lnTo>
                  <a:lnTo>
                    <a:pt x="278" y="522"/>
                  </a:lnTo>
                  <a:lnTo>
                    <a:pt x="266" y="528"/>
                  </a:lnTo>
                  <a:lnTo>
                    <a:pt x="256" y="530"/>
                  </a:lnTo>
                  <a:lnTo>
                    <a:pt x="240" y="532"/>
                  </a:lnTo>
                  <a:lnTo>
                    <a:pt x="240" y="532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60" name="未知"/>
            <p:cNvSpPr>
              <a:spLocks/>
            </p:cNvSpPr>
            <p:nvPr/>
          </p:nvSpPr>
          <p:spPr bwMode="auto">
            <a:xfrm>
              <a:off x="2877695" y="2540741"/>
              <a:ext cx="397536" cy="439048"/>
            </a:xfrm>
            <a:custGeom>
              <a:avLst/>
              <a:gdLst>
                <a:gd name="T0" fmla="*/ 324 w 538"/>
                <a:gd name="T1" fmla="*/ 632 h 638"/>
                <a:gd name="T2" fmla="*/ 306 w 538"/>
                <a:gd name="T3" fmla="*/ 628 h 638"/>
                <a:gd name="T4" fmla="*/ 282 w 538"/>
                <a:gd name="T5" fmla="*/ 636 h 638"/>
                <a:gd name="T6" fmla="*/ 272 w 538"/>
                <a:gd name="T7" fmla="*/ 608 h 638"/>
                <a:gd name="T8" fmla="*/ 258 w 538"/>
                <a:gd name="T9" fmla="*/ 594 h 638"/>
                <a:gd name="T10" fmla="*/ 234 w 538"/>
                <a:gd name="T11" fmla="*/ 594 h 638"/>
                <a:gd name="T12" fmla="*/ 234 w 538"/>
                <a:gd name="T13" fmla="*/ 580 h 638"/>
                <a:gd name="T14" fmla="*/ 268 w 538"/>
                <a:gd name="T15" fmla="*/ 508 h 638"/>
                <a:gd name="T16" fmla="*/ 240 w 538"/>
                <a:gd name="T17" fmla="*/ 472 h 638"/>
                <a:gd name="T18" fmla="*/ 226 w 538"/>
                <a:gd name="T19" fmla="*/ 452 h 638"/>
                <a:gd name="T20" fmla="*/ 204 w 538"/>
                <a:gd name="T21" fmla="*/ 448 h 638"/>
                <a:gd name="T22" fmla="*/ 172 w 538"/>
                <a:gd name="T23" fmla="*/ 456 h 638"/>
                <a:gd name="T24" fmla="*/ 132 w 538"/>
                <a:gd name="T25" fmla="*/ 486 h 638"/>
                <a:gd name="T26" fmla="*/ 98 w 538"/>
                <a:gd name="T27" fmla="*/ 488 h 638"/>
                <a:gd name="T28" fmla="*/ 86 w 538"/>
                <a:gd name="T29" fmla="*/ 458 h 638"/>
                <a:gd name="T30" fmla="*/ 68 w 538"/>
                <a:gd name="T31" fmla="*/ 442 h 638"/>
                <a:gd name="T32" fmla="*/ 64 w 538"/>
                <a:gd name="T33" fmla="*/ 354 h 638"/>
                <a:gd name="T34" fmla="*/ 14 w 538"/>
                <a:gd name="T35" fmla="*/ 358 h 638"/>
                <a:gd name="T36" fmla="*/ 0 w 538"/>
                <a:gd name="T37" fmla="*/ 352 h 638"/>
                <a:gd name="T38" fmla="*/ 8 w 538"/>
                <a:gd name="T39" fmla="*/ 340 h 638"/>
                <a:gd name="T40" fmla="*/ 32 w 538"/>
                <a:gd name="T41" fmla="*/ 334 h 638"/>
                <a:gd name="T42" fmla="*/ 54 w 538"/>
                <a:gd name="T43" fmla="*/ 312 h 638"/>
                <a:gd name="T44" fmla="*/ 62 w 538"/>
                <a:gd name="T45" fmla="*/ 284 h 638"/>
                <a:gd name="T46" fmla="*/ 46 w 538"/>
                <a:gd name="T47" fmla="*/ 154 h 638"/>
                <a:gd name="T48" fmla="*/ 40 w 538"/>
                <a:gd name="T49" fmla="*/ 130 h 638"/>
                <a:gd name="T50" fmla="*/ 64 w 538"/>
                <a:gd name="T51" fmla="*/ 108 h 638"/>
                <a:gd name="T52" fmla="*/ 80 w 538"/>
                <a:gd name="T53" fmla="*/ 78 h 638"/>
                <a:gd name="T54" fmla="*/ 114 w 538"/>
                <a:gd name="T55" fmla="*/ 56 h 638"/>
                <a:gd name="T56" fmla="*/ 142 w 538"/>
                <a:gd name="T57" fmla="*/ 58 h 638"/>
                <a:gd name="T58" fmla="*/ 158 w 538"/>
                <a:gd name="T59" fmla="*/ 54 h 638"/>
                <a:gd name="T60" fmla="*/ 168 w 538"/>
                <a:gd name="T61" fmla="*/ 42 h 638"/>
                <a:gd name="T62" fmla="*/ 158 w 538"/>
                <a:gd name="T63" fmla="*/ 14 h 638"/>
                <a:gd name="T64" fmla="*/ 156 w 538"/>
                <a:gd name="T65" fmla="*/ 4 h 638"/>
                <a:gd name="T66" fmla="*/ 174 w 538"/>
                <a:gd name="T67" fmla="*/ 2 h 638"/>
                <a:gd name="T68" fmla="*/ 210 w 538"/>
                <a:gd name="T69" fmla="*/ 12 h 638"/>
                <a:gd name="T70" fmla="*/ 274 w 538"/>
                <a:gd name="T71" fmla="*/ 34 h 638"/>
                <a:gd name="T72" fmla="*/ 312 w 538"/>
                <a:gd name="T73" fmla="*/ 56 h 638"/>
                <a:gd name="T74" fmla="*/ 372 w 538"/>
                <a:gd name="T75" fmla="*/ 68 h 638"/>
                <a:gd name="T76" fmla="*/ 392 w 538"/>
                <a:gd name="T77" fmla="*/ 44 h 638"/>
                <a:gd name="T78" fmla="*/ 420 w 538"/>
                <a:gd name="T79" fmla="*/ 60 h 638"/>
                <a:gd name="T80" fmla="*/ 450 w 538"/>
                <a:gd name="T81" fmla="*/ 82 h 638"/>
                <a:gd name="T82" fmla="*/ 482 w 538"/>
                <a:gd name="T83" fmla="*/ 100 h 638"/>
                <a:gd name="T84" fmla="*/ 514 w 538"/>
                <a:gd name="T85" fmla="*/ 134 h 638"/>
                <a:gd name="T86" fmla="*/ 522 w 538"/>
                <a:gd name="T87" fmla="*/ 180 h 638"/>
                <a:gd name="T88" fmla="*/ 516 w 538"/>
                <a:gd name="T89" fmla="*/ 214 h 638"/>
                <a:gd name="T90" fmla="*/ 486 w 538"/>
                <a:gd name="T91" fmla="*/ 248 h 638"/>
                <a:gd name="T92" fmla="*/ 480 w 538"/>
                <a:gd name="T93" fmla="*/ 286 h 638"/>
                <a:gd name="T94" fmla="*/ 494 w 538"/>
                <a:gd name="T95" fmla="*/ 320 h 638"/>
                <a:gd name="T96" fmla="*/ 502 w 538"/>
                <a:gd name="T97" fmla="*/ 344 h 638"/>
                <a:gd name="T98" fmla="*/ 522 w 538"/>
                <a:gd name="T99" fmla="*/ 414 h 638"/>
                <a:gd name="T100" fmla="*/ 532 w 538"/>
                <a:gd name="T101" fmla="*/ 440 h 638"/>
                <a:gd name="T102" fmla="*/ 528 w 538"/>
                <a:gd name="T103" fmla="*/ 472 h 638"/>
                <a:gd name="T104" fmla="*/ 538 w 538"/>
                <a:gd name="T105" fmla="*/ 536 h 638"/>
                <a:gd name="T106" fmla="*/ 426 w 538"/>
                <a:gd name="T107" fmla="*/ 540 h 638"/>
                <a:gd name="T108" fmla="*/ 428 w 538"/>
                <a:gd name="T109" fmla="*/ 558 h 638"/>
                <a:gd name="T110" fmla="*/ 446 w 538"/>
                <a:gd name="T111" fmla="*/ 580 h 638"/>
                <a:gd name="T112" fmla="*/ 436 w 538"/>
                <a:gd name="T113" fmla="*/ 598 h 638"/>
                <a:gd name="T114" fmla="*/ 402 w 538"/>
                <a:gd name="T115" fmla="*/ 568 h 638"/>
                <a:gd name="T116" fmla="*/ 368 w 538"/>
                <a:gd name="T117" fmla="*/ 566 h 638"/>
                <a:gd name="T118" fmla="*/ 348 w 538"/>
                <a:gd name="T119" fmla="*/ 604 h 638"/>
                <a:gd name="T120" fmla="*/ 336 w 538"/>
                <a:gd name="T121" fmla="*/ 634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8" h="638">
                  <a:moveTo>
                    <a:pt x="332" y="638"/>
                  </a:moveTo>
                  <a:lnTo>
                    <a:pt x="332" y="638"/>
                  </a:lnTo>
                  <a:lnTo>
                    <a:pt x="324" y="632"/>
                  </a:lnTo>
                  <a:lnTo>
                    <a:pt x="318" y="630"/>
                  </a:lnTo>
                  <a:lnTo>
                    <a:pt x="312" y="628"/>
                  </a:lnTo>
                  <a:lnTo>
                    <a:pt x="306" y="628"/>
                  </a:lnTo>
                  <a:lnTo>
                    <a:pt x="294" y="632"/>
                  </a:lnTo>
                  <a:lnTo>
                    <a:pt x="282" y="636"/>
                  </a:lnTo>
                  <a:lnTo>
                    <a:pt x="282" y="636"/>
                  </a:lnTo>
                  <a:lnTo>
                    <a:pt x="274" y="620"/>
                  </a:lnTo>
                  <a:lnTo>
                    <a:pt x="274" y="620"/>
                  </a:lnTo>
                  <a:lnTo>
                    <a:pt x="272" y="608"/>
                  </a:lnTo>
                  <a:lnTo>
                    <a:pt x="270" y="600"/>
                  </a:lnTo>
                  <a:lnTo>
                    <a:pt x="264" y="596"/>
                  </a:lnTo>
                  <a:lnTo>
                    <a:pt x="258" y="594"/>
                  </a:lnTo>
                  <a:lnTo>
                    <a:pt x="252" y="592"/>
                  </a:lnTo>
                  <a:lnTo>
                    <a:pt x="246" y="592"/>
                  </a:lnTo>
                  <a:lnTo>
                    <a:pt x="234" y="594"/>
                  </a:lnTo>
                  <a:lnTo>
                    <a:pt x="234" y="594"/>
                  </a:lnTo>
                  <a:lnTo>
                    <a:pt x="234" y="580"/>
                  </a:lnTo>
                  <a:lnTo>
                    <a:pt x="234" y="580"/>
                  </a:lnTo>
                  <a:lnTo>
                    <a:pt x="254" y="542"/>
                  </a:lnTo>
                  <a:lnTo>
                    <a:pt x="264" y="524"/>
                  </a:lnTo>
                  <a:lnTo>
                    <a:pt x="268" y="508"/>
                  </a:lnTo>
                  <a:lnTo>
                    <a:pt x="268" y="508"/>
                  </a:lnTo>
                  <a:lnTo>
                    <a:pt x="246" y="484"/>
                  </a:lnTo>
                  <a:lnTo>
                    <a:pt x="240" y="472"/>
                  </a:lnTo>
                  <a:lnTo>
                    <a:pt x="236" y="462"/>
                  </a:lnTo>
                  <a:lnTo>
                    <a:pt x="236" y="462"/>
                  </a:lnTo>
                  <a:lnTo>
                    <a:pt x="226" y="452"/>
                  </a:lnTo>
                  <a:lnTo>
                    <a:pt x="218" y="448"/>
                  </a:lnTo>
                  <a:lnTo>
                    <a:pt x="212" y="448"/>
                  </a:lnTo>
                  <a:lnTo>
                    <a:pt x="204" y="448"/>
                  </a:lnTo>
                  <a:lnTo>
                    <a:pt x="204" y="448"/>
                  </a:lnTo>
                  <a:lnTo>
                    <a:pt x="172" y="456"/>
                  </a:lnTo>
                  <a:lnTo>
                    <a:pt x="172" y="456"/>
                  </a:lnTo>
                  <a:lnTo>
                    <a:pt x="162" y="466"/>
                  </a:lnTo>
                  <a:lnTo>
                    <a:pt x="152" y="472"/>
                  </a:lnTo>
                  <a:lnTo>
                    <a:pt x="132" y="486"/>
                  </a:lnTo>
                  <a:lnTo>
                    <a:pt x="132" y="486"/>
                  </a:lnTo>
                  <a:lnTo>
                    <a:pt x="98" y="488"/>
                  </a:lnTo>
                  <a:lnTo>
                    <a:pt x="98" y="488"/>
                  </a:lnTo>
                  <a:lnTo>
                    <a:pt x="96" y="478"/>
                  </a:lnTo>
                  <a:lnTo>
                    <a:pt x="94" y="470"/>
                  </a:lnTo>
                  <a:lnTo>
                    <a:pt x="86" y="458"/>
                  </a:lnTo>
                  <a:lnTo>
                    <a:pt x="76" y="448"/>
                  </a:lnTo>
                  <a:lnTo>
                    <a:pt x="68" y="442"/>
                  </a:lnTo>
                  <a:lnTo>
                    <a:pt x="68" y="442"/>
                  </a:lnTo>
                  <a:lnTo>
                    <a:pt x="64" y="432"/>
                  </a:lnTo>
                  <a:lnTo>
                    <a:pt x="64" y="432"/>
                  </a:lnTo>
                  <a:lnTo>
                    <a:pt x="64" y="354"/>
                  </a:lnTo>
                  <a:lnTo>
                    <a:pt x="64" y="354"/>
                  </a:lnTo>
                  <a:lnTo>
                    <a:pt x="28" y="356"/>
                  </a:lnTo>
                  <a:lnTo>
                    <a:pt x="14" y="358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2"/>
                  </a:lnTo>
                  <a:lnTo>
                    <a:pt x="2" y="346"/>
                  </a:lnTo>
                  <a:lnTo>
                    <a:pt x="4" y="344"/>
                  </a:lnTo>
                  <a:lnTo>
                    <a:pt x="8" y="340"/>
                  </a:lnTo>
                  <a:lnTo>
                    <a:pt x="18" y="338"/>
                  </a:lnTo>
                  <a:lnTo>
                    <a:pt x="32" y="334"/>
                  </a:lnTo>
                  <a:lnTo>
                    <a:pt x="32" y="334"/>
                  </a:lnTo>
                  <a:lnTo>
                    <a:pt x="38" y="330"/>
                  </a:lnTo>
                  <a:lnTo>
                    <a:pt x="44" y="326"/>
                  </a:lnTo>
                  <a:lnTo>
                    <a:pt x="54" y="312"/>
                  </a:lnTo>
                  <a:lnTo>
                    <a:pt x="60" y="298"/>
                  </a:lnTo>
                  <a:lnTo>
                    <a:pt x="62" y="284"/>
                  </a:lnTo>
                  <a:lnTo>
                    <a:pt x="62" y="284"/>
                  </a:lnTo>
                  <a:lnTo>
                    <a:pt x="48" y="224"/>
                  </a:lnTo>
                  <a:lnTo>
                    <a:pt x="48" y="224"/>
                  </a:lnTo>
                  <a:lnTo>
                    <a:pt x="46" y="154"/>
                  </a:lnTo>
                  <a:lnTo>
                    <a:pt x="46" y="154"/>
                  </a:lnTo>
                  <a:lnTo>
                    <a:pt x="40" y="130"/>
                  </a:lnTo>
                  <a:lnTo>
                    <a:pt x="40" y="130"/>
                  </a:lnTo>
                  <a:lnTo>
                    <a:pt x="46" y="126"/>
                  </a:lnTo>
                  <a:lnTo>
                    <a:pt x="54" y="120"/>
                  </a:lnTo>
                  <a:lnTo>
                    <a:pt x="64" y="108"/>
                  </a:lnTo>
                  <a:lnTo>
                    <a:pt x="72" y="94"/>
                  </a:lnTo>
                  <a:lnTo>
                    <a:pt x="80" y="78"/>
                  </a:lnTo>
                  <a:lnTo>
                    <a:pt x="80" y="78"/>
                  </a:lnTo>
                  <a:lnTo>
                    <a:pt x="94" y="68"/>
                  </a:lnTo>
                  <a:lnTo>
                    <a:pt x="108" y="60"/>
                  </a:lnTo>
                  <a:lnTo>
                    <a:pt x="114" y="56"/>
                  </a:lnTo>
                  <a:lnTo>
                    <a:pt x="122" y="56"/>
                  </a:lnTo>
                  <a:lnTo>
                    <a:pt x="132" y="56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50" y="58"/>
                  </a:lnTo>
                  <a:lnTo>
                    <a:pt x="158" y="54"/>
                  </a:lnTo>
                  <a:lnTo>
                    <a:pt x="164" y="50"/>
                  </a:lnTo>
                  <a:lnTo>
                    <a:pt x="168" y="42"/>
                  </a:lnTo>
                  <a:lnTo>
                    <a:pt x="168" y="42"/>
                  </a:lnTo>
                  <a:lnTo>
                    <a:pt x="166" y="30"/>
                  </a:lnTo>
                  <a:lnTo>
                    <a:pt x="164" y="20"/>
                  </a:lnTo>
                  <a:lnTo>
                    <a:pt x="158" y="14"/>
                  </a:lnTo>
                  <a:lnTo>
                    <a:pt x="152" y="10"/>
                  </a:lnTo>
                  <a:lnTo>
                    <a:pt x="152" y="10"/>
                  </a:lnTo>
                  <a:lnTo>
                    <a:pt x="156" y="4"/>
                  </a:lnTo>
                  <a:lnTo>
                    <a:pt x="160" y="2"/>
                  </a:lnTo>
                  <a:lnTo>
                    <a:pt x="166" y="0"/>
                  </a:lnTo>
                  <a:lnTo>
                    <a:pt x="174" y="2"/>
                  </a:lnTo>
                  <a:lnTo>
                    <a:pt x="192" y="6"/>
                  </a:lnTo>
                  <a:lnTo>
                    <a:pt x="210" y="12"/>
                  </a:lnTo>
                  <a:lnTo>
                    <a:pt x="210" y="12"/>
                  </a:lnTo>
                  <a:lnTo>
                    <a:pt x="238" y="16"/>
                  </a:lnTo>
                  <a:lnTo>
                    <a:pt x="238" y="16"/>
                  </a:lnTo>
                  <a:lnTo>
                    <a:pt x="274" y="34"/>
                  </a:lnTo>
                  <a:lnTo>
                    <a:pt x="292" y="44"/>
                  </a:lnTo>
                  <a:lnTo>
                    <a:pt x="312" y="56"/>
                  </a:lnTo>
                  <a:lnTo>
                    <a:pt x="312" y="56"/>
                  </a:lnTo>
                  <a:lnTo>
                    <a:pt x="342" y="68"/>
                  </a:lnTo>
                  <a:lnTo>
                    <a:pt x="342" y="68"/>
                  </a:lnTo>
                  <a:lnTo>
                    <a:pt x="372" y="68"/>
                  </a:lnTo>
                  <a:lnTo>
                    <a:pt x="372" y="68"/>
                  </a:lnTo>
                  <a:lnTo>
                    <a:pt x="392" y="44"/>
                  </a:lnTo>
                  <a:lnTo>
                    <a:pt x="392" y="44"/>
                  </a:lnTo>
                  <a:lnTo>
                    <a:pt x="400" y="46"/>
                  </a:lnTo>
                  <a:lnTo>
                    <a:pt x="410" y="52"/>
                  </a:lnTo>
                  <a:lnTo>
                    <a:pt x="420" y="60"/>
                  </a:lnTo>
                  <a:lnTo>
                    <a:pt x="430" y="72"/>
                  </a:lnTo>
                  <a:lnTo>
                    <a:pt x="430" y="72"/>
                  </a:lnTo>
                  <a:lnTo>
                    <a:pt x="450" y="82"/>
                  </a:lnTo>
                  <a:lnTo>
                    <a:pt x="450" y="82"/>
                  </a:lnTo>
                  <a:lnTo>
                    <a:pt x="466" y="90"/>
                  </a:lnTo>
                  <a:lnTo>
                    <a:pt x="482" y="100"/>
                  </a:lnTo>
                  <a:lnTo>
                    <a:pt x="500" y="116"/>
                  </a:lnTo>
                  <a:lnTo>
                    <a:pt x="514" y="134"/>
                  </a:lnTo>
                  <a:lnTo>
                    <a:pt x="514" y="134"/>
                  </a:lnTo>
                  <a:lnTo>
                    <a:pt x="520" y="152"/>
                  </a:lnTo>
                  <a:lnTo>
                    <a:pt x="522" y="170"/>
                  </a:lnTo>
                  <a:lnTo>
                    <a:pt x="522" y="180"/>
                  </a:lnTo>
                  <a:lnTo>
                    <a:pt x="522" y="190"/>
                  </a:lnTo>
                  <a:lnTo>
                    <a:pt x="520" y="202"/>
                  </a:lnTo>
                  <a:lnTo>
                    <a:pt x="516" y="214"/>
                  </a:lnTo>
                  <a:lnTo>
                    <a:pt x="516" y="214"/>
                  </a:lnTo>
                  <a:lnTo>
                    <a:pt x="494" y="238"/>
                  </a:lnTo>
                  <a:lnTo>
                    <a:pt x="486" y="248"/>
                  </a:lnTo>
                  <a:lnTo>
                    <a:pt x="482" y="260"/>
                  </a:lnTo>
                  <a:lnTo>
                    <a:pt x="480" y="272"/>
                  </a:lnTo>
                  <a:lnTo>
                    <a:pt x="480" y="286"/>
                  </a:lnTo>
                  <a:lnTo>
                    <a:pt x="486" y="302"/>
                  </a:lnTo>
                  <a:lnTo>
                    <a:pt x="494" y="320"/>
                  </a:lnTo>
                  <a:lnTo>
                    <a:pt x="494" y="320"/>
                  </a:lnTo>
                  <a:lnTo>
                    <a:pt x="500" y="340"/>
                  </a:lnTo>
                  <a:lnTo>
                    <a:pt x="500" y="340"/>
                  </a:lnTo>
                  <a:lnTo>
                    <a:pt x="502" y="344"/>
                  </a:lnTo>
                  <a:lnTo>
                    <a:pt x="506" y="352"/>
                  </a:lnTo>
                  <a:lnTo>
                    <a:pt x="512" y="372"/>
                  </a:lnTo>
                  <a:lnTo>
                    <a:pt x="522" y="414"/>
                  </a:lnTo>
                  <a:lnTo>
                    <a:pt x="522" y="414"/>
                  </a:lnTo>
                  <a:lnTo>
                    <a:pt x="530" y="428"/>
                  </a:lnTo>
                  <a:lnTo>
                    <a:pt x="532" y="440"/>
                  </a:lnTo>
                  <a:lnTo>
                    <a:pt x="532" y="454"/>
                  </a:lnTo>
                  <a:lnTo>
                    <a:pt x="528" y="472"/>
                  </a:lnTo>
                  <a:lnTo>
                    <a:pt x="528" y="472"/>
                  </a:lnTo>
                  <a:lnTo>
                    <a:pt x="528" y="500"/>
                  </a:lnTo>
                  <a:lnTo>
                    <a:pt x="532" y="518"/>
                  </a:lnTo>
                  <a:lnTo>
                    <a:pt x="538" y="536"/>
                  </a:lnTo>
                  <a:lnTo>
                    <a:pt x="538" y="536"/>
                  </a:lnTo>
                  <a:lnTo>
                    <a:pt x="426" y="540"/>
                  </a:lnTo>
                  <a:lnTo>
                    <a:pt x="426" y="540"/>
                  </a:lnTo>
                  <a:lnTo>
                    <a:pt x="424" y="544"/>
                  </a:lnTo>
                  <a:lnTo>
                    <a:pt x="424" y="548"/>
                  </a:lnTo>
                  <a:lnTo>
                    <a:pt x="428" y="558"/>
                  </a:lnTo>
                  <a:lnTo>
                    <a:pt x="438" y="570"/>
                  </a:lnTo>
                  <a:lnTo>
                    <a:pt x="446" y="580"/>
                  </a:lnTo>
                  <a:lnTo>
                    <a:pt x="446" y="580"/>
                  </a:lnTo>
                  <a:lnTo>
                    <a:pt x="442" y="598"/>
                  </a:lnTo>
                  <a:lnTo>
                    <a:pt x="442" y="598"/>
                  </a:lnTo>
                  <a:lnTo>
                    <a:pt x="436" y="598"/>
                  </a:lnTo>
                  <a:lnTo>
                    <a:pt x="428" y="594"/>
                  </a:lnTo>
                  <a:lnTo>
                    <a:pt x="416" y="584"/>
                  </a:lnTo>
                  <a:lnTo>
                    <a:pt x="402" y="568"/>
                  </a:lnTo>
                  <a:lnTo>
                    <a:pt x="402" y="568"/>
                  </a:lnTo>
                  <a:lnTo>
                    <a:pt x="368" y="566"/>
                  </a:lnTo>
                  <a:lnTo>
                    <a:pt x="368" y="566"/>
                  </a:lnTo>
                  <a:lnTo>
                    <a:pt x="350" y="594"/>
                  </a:lnTo>
                  <a:lnTo>
                    <a:pt x="350" y="594"/>
                  </a:lnTo>
                  <a:lnTo>
                    <a:pt x="348" y="604"/>
                  </a:lnTo>
                  <a:lnTo>
                    <a:pt x="346" y="616"/>
                  </a:lnTo>
                  <a:lnTo>
                    <a:pt x="340" y="628"/>
                  </a:lnTo>
                  <a:lnTo>
                    <a:pt x="336" y="634"/>
                  </a:lnTo>
                  <a:lnTo>
                    <a:pt x="332" y="638"/>
                  </a:lnTo>
                  <a:lnTo>
                    <a:pt x="332" y="638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61" name="未知"/>
            <p:cNvSpPr>
              <a:spLocks/>
            </p:cNvSpPr>
            <p:nvPr/>
          </p:nvSpPr>
          <p:spPr bwMode="auto">
            <a:xfrm>
              <a:off x="3239239" y="2515587"/>
              <a:ext cx="344367" cy="458866"/>
            </a:xfrm>
            <a:custGeom>
              <a:avLst/>
              <a:gdLst>
                <a:gd name="T0" fmla="*/ 112 w 466"/>
                <a:gd name="T1" fmla="*/ 660 h 666"/>
                <a:gd name="T2" fmla="*/ 94 w 466"/>
                <a:gd name="T3" fmla="*/ 656 h 666"/>
                <a:gd name="T4" fmla="*/ 134 w 466"/>
                <a:gd name="T5" fmla="*/ 598 h 666"/>
                <a:gd name="T6" fmla="*/ 128 w 466"/>
                <a:gd name="T7" fmla="*/ 566 h 666"/>
                <a:gd name="T8" fmla="*/ 104 w 466"/>
                <a:gd name="T9" fmla="*/ 568 h 666"/>
                <a:gd name="T10" fmla="*/ 88 w 466"/>
                <a:gd name="T11" fmla="*/ 576 h 666"/>
                <a:gd name="T12" fmla="*/ 48 w 466"/>
                <a:gd name="T13" fmla="*/ 536 h 666"/>
                <a:gd name="T14" fmla="*/ 52 w 466"/>
                <a:gd name="T15" fmla="*/ 494 h 666"/>
                <a:gd name="T16" fmla="*/ 52 w 466"/>
                <a:gd name="T17" fmla="*/ 456 h 666"/>
                <a:gd name="T18" fmla="*/ 42 w 466"/>
                <a:gd name="T19" fmla="*/ 446 h 666"/>
                <a:gd name="T20" fmla="*/ 30 w 466"/>
                <a:gd name="T21" fmla="*/ 398 h 666"/>
                <a:gd name="T22" fmla="*/ 16 w 466"/>
                <a:gd name="T23" fmla="*/ 356 h 666"/>
                <a:gd name="T24" fmla="*/ 2 w 466"/>
                <a:gd name="T25" fmla="*/ 316 h 666"/>
                <a:gd name="T26" fmla="*/ 6 w 466"/>
                <a:gd name="T27" fmla="*/ 292 h 666"/>
                <a:gd name="T28" fmla="*/ 16 w 466"/>
                <a:gd name="T29" fmla="*/ 280 h 666"/>
                <a:gd name="T30" fmla="*/ 42 w 466"/>
                <a:gd name="T31" fmla="*/ 240 h 666"/>
                <a:gd name="T32" fmla="*/ 42 w 466"/>
                <a:gd name="T33" fmla="*/ 188 h 666"/>
                <a:gd name="T34" fmla="*/ 22 w 466"/>
                <a:gd name="T35" fmla="*/ 146 h 666"/>
                <a:gd name="T36" fmla="*/ 46 w 466"/>
                <a:gd name="T37" fmla="*/ 126 h 666"/>
                <a:gd name="T38" fmla="*/ 78 w 466"/>
                <a:gd name="T39" fmla="*/ 116 h 666"/>
                <a:gd name="T40" fmla="*/ 88 w 466"/>
                <a:gd name="T41" fmla="*/ 114 h 666"/>
                <a:gd name="T42" fmla="*/ 102 w 466"/>
                <a:gd name="T43" fmla="*/ 98 h 666"/>
                <a:gd name="T44" fmla="*/ 160 w 466"/>
                <a:gd name="T45" fmla="*/ 60 h 666"/>
                <a:gd name="T46" fmla="*/ 176 w 466"/>
                <a:gd name="T47" fmla="*/ 46 h 666"/>
                <a:gd name="T48" fmla="*/ 226 w 466"/>
                <a:gd name="T49" fmla="*/ 32 h 666"/>
                <a:gd name="T50" fmla="*/ 250 w 466"/>
                <a:gd name="T51" fmla="*/ 22 h 666"/>
                <a:gd name="T52" fmla="*/ 260 w 466"/>
                <a:gd name="T53" fmla="*/ 2 h 666"/>
                <a:gd name="T54" fmla="*/ 284 w 466"/>
                <a:gd name="T55" fmla="*/ 0 h 666"/>
                <a:gd name="T56" fmla="*/ 292 w 466"/>
                <a:gd name="T57" fmla="*/ 52 h 666"/>
                <a:gd name="T58" fmla="*/ 314 w 466"/>
                <a:gd name="T59" fmla="*/ 56 h 666"/>
                <a:gd name="T60" fmla="*/ 326 w 466"/>
                <a:gd name="T61" fmla="*/ 34 h 666"/>
                <a:gd name="T62" fmla="*/ 334 w 466"/>
                <a:gd name="T63" fmla="*/ 14 h 666"/>
                <a:gd name="T64" fmla="*/ 344 w 466"/>
                <a:gd name="T65" fmla="*/ 36 h 666"/>
                <a:gd name="T66" fmla="*/ 362 w 466"/>
                <a:gd name="T67" fmla="*/ 50 h 666"/>
                <a:gd name="T68" fmla="*/ 384 w 466"/>
                <a:gd name="T69" fmla="*/ 54 h 666"/>
                <a:gd name="T70" fmla="*/ 424 w 466"/>
                <a:gd name="T71" fmla="*/ 42 h 666"/>
                <a:gd name="T72" fmla="*/ 442 w 466"/>
                <a:gd name="T73" fmla="*/ 42 h 666"/>
                <a:gd name="T74" fmla="*/ 422 w 466"/>
                <a:gd name="T75" fmla="*/ 66 h 666"/>
                <a:gd name="T76" fmla="*/ 414 w 466"/>
                <a:gd name="T77" fmla="*/ 88 h 666"/>
                <a:gd name="T78" fmla="*/ 428 w 466"/>
                <a:gd name="T79" fmla="*/ 112 h 666"/>
                <a:gd name="T80" fmla="*/ 466 w 466"/>
                <a:gd name="T81" fmla="*/ 168 h 666"/>
                <a:gd name="T82" fmla="*/ 464 w 466"/>
                <a:gd name="T83" fmla="*/ 192 h 666"/>
                <a:gd name="T84" fmla="*/ 450 w 466"/>
                <a:gd name="T85" fmla="*/ 218 h 666"/>
                <a:gd name="T86" fmla="*/ 430 w 466"/>
                <a:gd name="T87" fmla="*/ 236 h 666"/>
                <a:gd name="T88" fmla="*/ 396 w 466"/>
                <a:gd name="T89" fmla="*/ 244 h 666"/>
                <a:gd name="T90" fmla="*/ 376 w 466"/>
                <a:gd name="T91" fmla="*/ 250 h 666"/>
                <a:gd name="T92" fmla="*/ 348 w 466"/>
                <a:gd name="T93" fmla="*/ 276 h 666"/>
                <a:gd name="T94" fmla="*/ 348 w 466"/>
                <a:gd name="T95" fmla="*/ 304 h 666"/>
                <a:gd name="T96" fmla="*/ 354 w 466"/>
                <a:gd name="T97" fmla="*/ 332 h 666"/>
                <a:gd name="T98" fmla="*/ 328 w 466"/>
                <a:gd name="T99" fmla="*/ 366 h 666"/>
                <a:gd name="T100" fmla="*/ 302 w 466"/>
                <a:gd name="T101" fmla="*/ 386 h 666"/>
                <a:gd name="T102" fmla="*/ 296 w 466"/>
                <a:gd name="T103" fmla="*/ 408 h 666"/>
                <a:gd name="T104" fmla="*/ 292 w 466"/>
                <a:gd name="T105" fmla="*/ 468 h 666"/>
                <a:gd name="T106" fmla="*/ 270 w 466"/>
                <a:gd name="T107" fmla="*/ 490 h 666"/>
                <a:gd name="T108" fmla="*/ 264 w 466"/>
                <a:gd name="T109" fmla="*/ 522 h 666"/>
                <a:gd name="T110" fmla="*/ 266 w 466"/>
                <a:gd name="T111" fmla="*/ 546 h 666"/>
                <a:gd name="T112" fmla="*/ 254 w 466"/>
                <a:gd name="T113" fmla="*/ 596 h 666"/>
                <a:gd name="T114" fmla="*/ 260 w 466"/>
                <a:gd name="T115" fmla="*/ 630 h 666"/>
                <a:gd name="T116" fmla="*/ 224 w 466"/>
                <a:gd name="T117" fmla="*/ 650 h 666"/>
                <a:gd name="T118" fmla="*/ 196 w 466"/>
                <a:gd name="T119" fmla="*/ 636 h 666"/>
                <a:gd name="T120" fmla="*/ 168 w 466"/>
                <a:gd name="T121" fmla="*/ 646 h 666"/>
                <a:gd name="T122" fmla="*/ 134 w 466"/>
                <a:gd name="T123" fmla="*/ 660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6" h="666">
                  <a:moveTo>
                    <a:pt x="118" y="666"/>
                  </a:moveTo>
                  <a:lnTo>
                    <a:pt x="118" y="666"/>
                  </a:lnTo>
                  <a:lnTo>
                    <a:pt x="112" y="660"/>
                  </a:lnTo>
                  <a:lnTo>
                    <a:pt x="106" y="658"/>
                  </a:lnTo>
                  <a:lnTo>
                    <a:pt x="94" y="656"/>
                  </a:lnTo>
                  <a:lnTo>
                    <a:pt x="94" y="656"/>
                  </a:lnTo>
                  <a:lnTo>
                    <a:pt x="94" y="650"/>
                  </a:lnTo>
                  <a:lnTo>
                    <a:pt x="94" y="650"/>
                  </a:lnTo>
                  <a:lnTo>
                    <a:pt x="134" y="598"/>
                  </a:lnTo>
                  <a:lnTo>
                    <a:pt x="134" y="598"/>
                  </a:lnTo>
                  <a:lnTo>
                    <a:pt x="132" y="578"/>
                  </a:lnTo>
                  <a:lnTo>
                    <a:pt x="128" y="566"/>
                  </a:lnTo>
                  <a:lnTo>
                    <a:pt x="128" y="566"/>
                  </a:lnTo>
                  <a:lnTo>
                    <a:pt x="114" y="566"/>
                  </a:lnTo>
                  <a:lnTo>
                    <a:pt x="104" y="568"/>
                  </a:lnTo>
                  <a:lnTo>
                    <a:pt x="96" y="572"/>
                  </a:lnTo>
                  <a:lnTo>
                    <a:pt x="88" y="576"/>
                  </a:lnTo>
                  <a:lnTo>
                    <a:pt x="88" y="576"/>
                  </a:lnTo>
                  <a:lnTo>
                    <a:pt x="60" y="576"/>
                  </a:lnTo>
                  <a:lnTo>
                    <a:pt x="60" y="576"/>
                  </a:lnTo>
                  <a:lnTo>
                    <a:pt x="48" y="536"/>
                  </a:lnTo>
                  <a:lnTo>
                    <a:pt x="48" y="536"/>
                  </a:lnTo>
                  <a:lnTo>
                    <a:pt x="50" y="514"/>
                  </a:lnTo>
                  <a:lnTo>
                    <a:pt x="52" y="494"/>
                  </a:lnTo>
                  <a:lnTo>
                    <a:pt x="54" y="474"/>
                  </a:lnTo>
                  <a:lnTo>
                    <a:pt x="52" y="466"/>
                  </a:lnTo>
                  <a:lnTo>
                    <a:pt x="52" y="456"/>
                  </a:lnTo>
                  <a:lnTo>
                    <a:pt x="52" y="456"/>
                  </a:lnTo>
                  <a:lnTo>
                    <a:pt x="42" y="446"/>
                  </a:lnTo>
                  <a:lnTo>
                    <a:pt x="42" y="446"/>
                  </a:lnTo>
                  <a:lnTo>
                    <a:pt x="40" y="434"/>
                  </a:lnTo>
                  <a:lnTo>
                    <a:pt x="38" y="422"/>
                  </a:lnTo>
                  <a:lnTo>
                    <a:pt x="30" y="398"/>
                  </a:lnTo>
                  <a:lnTo>
                    <a:pt x="22" y="376"/>
                  </a:lnTo>
                  <a:lnTo>
                    <a:pt x="16" y="356"/>
                  </a:lnTo>
                  <a:lnTo>
                    <a:pt x="16" y="356"/>
                  </a:lnTo>
                  <a:lnTo>
                    <a:pt x="6" y="334"/>
                  </a:lnTo>
                  <a:lnTo>
                    <a:pt x="4" y="326"/>
                  </a:lnTo>
                  <a:lnTo>
                    <a:pt x="2" y="316"/>
                  </a:lnTo>
                  <a:lnTo>
                    <a:pt x="0" y="308"/>
                  </a:lnTo>
                  <a:lnTo>
                    <a:pt x="2" y="300"/>
                  </a:lnTo>
                  <a:lnTo>
                    <a:pt x="6" y="292"/>
                  </a:lnTo>
                  <a:lnTo>
                    <a:pt x="12" y="282"/>
                  </a:lnTo>
                  <a:lnTo>
                    <a:pt x="12" y="282"/>
                  </a:lnTo>
                  <a:lnTo>
                    <a:pt x="16" y="280"/>
                  </a:lnTo>
                  <a:lnTo>
                    <a:pt x="20" y="276"/>
                  </a:lnTo>
                  <a:lnTo>
                    <a:pt x="30" y="264"/>
                  </a:lnTo>
                  <a:lnTo>
                    <a:pt x="42" y="240"/>
                  </a:lnTo>
                  <a:lnTo>
                    <a:pt x="42" y="240"/>
                  </a:lnTo>
                  <a:lnTo>
                    <a:pt x="42" y="188"/>
                  </a:lnTo>
                  <a:lnTo>
                    <a:pt x="42" y="188"/>
                  </a:lnTo>
                  <a:lnTo>
                    <a:pt x="30" y="156"/>
                  </a:lnTo>
                  <a:lnTo>
                    <a:pt x="30" y="156"/>
                  </a:lnTo>
                  <a:lnTo>
                    <a:pt x="22" y="146"/>
                  </a:lnTo>
                  <a:lnTo>
                    <a:pt x="22" y="146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62" y="122"/>
                  </a:lnTo>
                  <a:lnTo>
                    <a:pt x="74" y="118"/>
                  </a:lnTo>
                  <a:lnTo>
                    <a:pt x="78" y="116"/>
                  </a:lnTo>
                  <a:lnTo>
                    <a:pt x="80" y="114"/>
                  </a:lnTo>
                  <a:lnTo>
                    <a:pt x="80" y="114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94" y="106"/>
                  </a:lnTo>
                  <a:lnTo>
                    <a:pt x="102" y="98"/>
                  </a:lnTo>
                  <a:lnTo>
                    <a:pt x="122" y="84"/>
                  </a:lnTo>
                  <a:lnTo>
                    <a:pt x="142" y="72"/>
                  </a:lnTo>
                  <a:lnTo>
                    <a:pt x="160" y="60"/>
                  </a:lnTo>
                  <a:lnTo>
                    <a:pt x="160" y="60"/>
                  </a:lnTo>
                  <a:lnTo>
                    <a:pt x="168" y="52"/>
                  </a:lnTo>
                  <a:lnTo>
                    <a:pt x="176" y="46"/>
                  </a:lnTo>
                  <a:lnTo>
                    <a:pt x="188" y="42"/>
                  </a:lnTo>
                  <a:lnTo>
                    <a:pt x="200" y="38"/>
                  </a:lnTo>
                  <a:lnTo>
                    <a:pt x="226" y="32"/>
                  </a:lnTo>
                  <a:lnTo>
                    <a:pt x="238" y="28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56" y="8"/>
                  </a:lnTo>
                  <a:lnTo>
                    <a:pt x="258" y="4"/>
                  </a:lnTo>
                  <a:lnTo>
                    <a:pt x="260" y="2"/>
                  </a:lnTo>
                  <a:lnTo>
                    <a:pt x="270" y="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86" y="48"/>
                  </a:lnTo>
                  <a:lnTo>
                    <a:pt x="286" y="48"/>
                  </a:lnTo>
                  <a:lnTo>
                    <a:pt x="292" y="52"/>
                  </a:lnTo>
                  <a:lnTo>
                    <a:pt x="298" y="54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20" y="50"/>
                  </a:lnTo>
                  <a:lnTo>
                    <a:pt x="322" y="44"/>
                  </a:lnTo>
                  <a:lnTo>
                    <a:pt x="326" y="34"/>
                  </a:lnTo>
                  <a:lnTo>
                    <a:pt x="330" y="22"/>
                  </a:lnTo>
                  <a:lnTo>
                    <a:pt x="332" y="18"/>
                  </a:lnTo>
                  <a:lnTo>
                    <a:pt x="334" y="14"/>
                  </a:lnTo>
                  <a:lnTo>
                    <a:pt x="334" y="14"/>
                  </a:lnTo>
                  <a:lnTo>
                    <a:pt x="338" y="24"/>
                  </a:lnTo>
                  <a:lnTo>
                    <a:pt x="344" y="36"/>
                  </a:lnTo>
                  <a:lnTo>
                    <a:pt x="350" y="42"/>
                  </a:lnTo>
                  <a:lnTo>
                    <a:pt x="356" y="46"/>
                  </a:lnTo>
                  <a:lnTo>
                    <a:pt x="362" y="50"/>
                  </a:lnTo>
                  <a:lnTo>
                    <a:pt x="370" y="54"/>
                  </a:lnTo>
                  <a:lnTo>
                    <a:pt x="370" y="54"/>
                  </a:lnTo>
                  <a:lnTo>
                    <a:pt x="384" y="54"/>
                  </a:lnTo>
                  <a:lnTo>
                    <a:pt x="396" y="52"/>
                  </a:lnTo>
                  <a:lnTo>
                    <a:pt x="410" y="48"/>
                  </a:lnTo>
                  <a:lnTo>
                    <a:pt x="424" y="42"/>
                  </a:lnTo>
                  <a:lnTo>
                    <a:pt x="424" y="42"/>
                  </a:lnTo>
                  <a:lnTo>
                    <a:pt x="442" y="42"/>
                  </a:lnTo>
                  <a:lnTo>
                    <a:pt x="442" y="42"/>
                  </a:lnTo>
                  <a:lnTo>
                    <a:pt x="438" y="48"/>
                  </a:lnTo>
                  <a:lnTo>
                    <a:pt x="432" y="54"/>
                  </a:lnTo>
                  <a:lnTo>
                    <a:pt x="422" y="66"/>
                  </a:lnTo>
                  <a:lnTo>
                    <a:pt x="418" y="74"/>
                  </a:lnTo>
                  <a:lnTo>
                    <a:pt x="414" y="80"/>
                  </a:lnTo>
                  <a:lnTo>
                    <a:pt x="414" y="88"/>
                  </a:lnTo>
                  <a:lnTo>
                    <a:pt x="414" y="96"/>
                  </a:lnTo>
                  <a:lnTo>
                    <a:pt x="414" y="96"/>
                  </a:lnTo>
                  <a:lnTo>
                    <a:pt x="428" y="112"/>
                  </a:lnTo>
                  <a:lnTo>
                    <a:pt x="440" y="128"/>
                  </a:lnTo>
                  <a:lnTo>
                    <a:pt x="452" y="146"/>
                  </a:lnTo>
                  <a:lnTo>
                    <a:pt x="466" y="168"/>
                  </a:lnTo>
                  <a:lnTo>
                    <a:pt x="466" y="168"/>
                  </a:lnTo>
                  <a:lnTo>
                    <a:pt x="464" y="192"/>
                  </a:lnTo>
                  <a:lnTo>
                    <a:pt x="464" y="192"/>
                  </a:lnTo>
                  <a:lnTo>
                    <a:pt x="460" y="196"/>
                  </a:lnTo>
                  <a:lnTo>
                    <a:pt x="456" y="202"/>
                  </a:lnTo>
                  <a:lnTo>
                    <a:pt x="450" y="218"/>
                  </a:lnTo>
                  <a:lnTo>
                    <a:pt x="450" y="218"/>
                  </a:lnTo>
                  <a:lnTo>
                    <a:pt x="440" y="228"/>
                  </a:lnTo>
                  <a:lnTo>
                    <a:pt x="430" y="236"/>
                  </a:lnTo>
                  <a:lnTo>
                    <a:pt x="422" y="240"/>
                  </a:lnTo>
                  <a:lnTo>
                    <a:pt x="414" y="242"/>
                  </a:lnTo>
                  <a:lnTo>
                    <a:pt x="396" y="244"/>
                  </a:lnTo>
                  <a:lnTo>
                    <a:pt x="386" y="246"/>
                  </a:lnTo>
                  <a:lnTo>
                    <a:pt x="376" y="250"/>
                  </a:lnTo>
                  <a:lnTo>
                    <a:pt x="376" y="250"/>
                  </a:lnTo>
                  <a:lnTo>
                    <a:pt x="360" y="262"/>
                  </a:lnTo>
                  <a:lnTo>
                    <a:pt x="352" y="272"/>
                  </a:lnTo>
                  <a:lnTo>
                    <a:pt x="348" y="276"/>
                  </a:lnTo>
                  <a:lnTo>
                    <a:pt x="348" y="282"/>
                  </a:lnTo>
                  <a:lnTo>
                    <a:pt x="348" y="304"/>
                  </a:lnTo>
                  <a:lnTo>
                    <a:pt x="348" y="304"/>
                  </a:lnTo>
                  <a:lnTo>
                    <a:pt x="354" y="312"/>
                  </a:lnTo>
                  <a:lnTo>
                    <a:pt x="356" y="322"/>
                  </a:lnTo>
                  <a:lnTo>
                    <a:pt x="354" y="332"/>
                  </a:lnTo>
                  <a:lnTo>
                    <a:pt x="350" y="344"/>
                  </a:lnTo>
                  <a:lnTo>
                    <a:pt x="350" y="344"/>
                  </a:lnTo>
                  <a:lnTo>
                    <a:pt x="328" y="366"/>
                  </a:lnTo>
                  <a:lnTo>
                    <a:pt x="328" y="366"/>
                  </a:lnTo>
                  <a:lnTo>
                    <a:pt x="308" y="382"/>
                  </a:lnTo>
                  <a:lnTo>
                    <a:pt x="302" y="386"/>
                  </a:lnTo>
                  <a:lnTo>
                    <a:pt x="298" y="392"/>
                  </a:lnTo>
                  <a:lnTo>
                    <a:pt x="296" y="400"/>
                  </a:lnTo>
                  <a:lnTo>
                    <a:pt x="296" y="408"/>
                  </a:lnTo>
                  <a:lnTo>
                    <a:pt x="300" y="440"/>
                  </a:lnTo>
                  <a:lnTo>
                    <a:pt x="300" y="440"/>
                  </a:lnTo>
                  <a:lnTo>
                    <a:pt x="292" y="468"/>
                  </a:lnTo>
                  <a:lnTo>
                    <a:pt x="292" y="468"/>
                  </a:lnTo>
                  <a:lnTo>
                    <a:pt x="278" y="480"/>
                  </a:lnTo>
                  <a:lnTo>
                    <a:pt x="270" y="490"/>
                  </a:lnTo>
                  <a:lnTo>
                    <a:pt x="266" y="496"/>
                  </a:lnTo>
                  <a:lnTo>
                    <a:pt x="264" y="502"/>
                  </a:lnTo>
                  <a:lnTo>
                    <a:pt x="264" y="522"/>
                  </a:lnTo>
                  <a:lnTo>
                    <a:pt x="264" y="522"/>
                  </a:lnTo>
                  <a:lnTo>
                    <a:pt x="266" y="546"/>
                  </a:lnTo>
                  <a:lnTo>
                    <a:pt x="266" y="546"/>
                  </a:lnTo>
                  <a:lnTo>
                    <a:pt x="262" y="560"/>
                  </a:lnTo>
                  <a:lnTo>
                    <a:pt x="256" y="576"/>
                  </a:lnTo>
                  <a:lnTo>
                    <a:pt x="254" y="596"/>
                  </a:lnTo>
                  <a:lnTo>
                    <a:pt x="254" y="614"/>
                  </a:lnTo>
                  <a:lnTo>
                    <a:pt x="254" y="614"/>
                  </a:lnTo>
                  <a:lnTo>
                    <a:pt x="260" y="630"/>
                  </a:lnTo>
                  <a:lnTo>
                    <a:pt x="260" y="630"/>
                  </a:lnTo>
                  <a:lnTo>
                    <a:pt x="224" y="650"/>
                  </a:lnTo>
                  <a:lnTo>
                    <a:pt x="224" y="650"/>
                  </a:lnTo>
                  <a:lnTo>
                    <a:pt x="216" y="642"/>
                  </a:lnTo>
                  <a:lnTo>
                    <a:pt x="206" y="638"/>
                  </a:lnTo>
                  <a:lnTo>
                    <a:pt x="196" y="636"/>
                  </a:lnTo>
                  <a:lnTo>
                    <a:pt x="188" y="638"/>
                  </a:lnTo>
                  <a:lnTo>
                    <a:pt x="178" y="642"/>
                  </a:lnTo>
                  <a:lnTo>
                    <a:pt x="168" y="646"/>
                  </a:lnTo>
                  <a:lnTo>
                    <a:pt x="148" y="654"/>
                  </a:lnTo>
                  <a:lnTo>
                    <a:pt x="148" y="654"/>
                  </a:lnTo>
                  <a:lnTo>
                    <a:pt x="134" y="660"/>
                  </a:lnTo>
                  <a:lnTo>
                    <a:pt x="118" y="666"/>
                  </a:lnTo>
                  <a:lnTo>
                    <a:pt x="118" y="666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62" name="未知"/>
            <p:cNvSpPr>
              <a:spLocks/>
            </p:cNvSpPr>
            <p:nvPr/>
          </p:nvSpPr>
          <p:spPr bwMode="auto">
            <a:xfrm>
              <a:off x="2058083" y="2225175"/>
              <a:ext cx="717364" cy="658572"/>
            </a:xfrm>
            <a:custGeom>
              <a:avLst/>
              <a:gdLst>
                <a:gd name="T0" fmla="*/ 392 w 972"/>
                <a:gd name="T1" fmla="*/ 934 h 956"/>
                <a:gd name="T2" fmla="*/ 354 w 972"/>
                <a:gd name="T3" fmla="*/ 888 h 956"/>
                <a:gd name="T4" fmla="*/ 366 w 972"/>
                <a:gd name="T5" fmla="*/ 840 h 956"/>
                <a:gd name="T6" fmla="*/ 324 w 972"/>
                <a:gd name="T7" fmla="*/ 780 h 956"/>
                <a:gd name="T8" fmla="*/ 290 w 972"/>
                <a:gd name="T9" fmla="*/ 722 h 956"/>
                <a:gd name="T10" fmla="*/ 248 w 972"/>
                <a:gd name="T11" fmla="*/ 712 h 956"/>
                <a:gd name="T12" fmla="*/ 192 w 972"/>
                <a:gd name="T13" fmla="*/ 608 h 956"/>
                <a:gd name="T14" fmla="*/ 160 w 972"/>
                <a:gd name="T15" fmla="*/ 662 h 956"/>
                <a:gd name="T16" fmla="*/ 140 w 972"/>
                <a:gd name="T17" fmla="*/ 634 h 956"/>
                <a:gd name="T18" fmla="*/ 138 w 972"/>
                <a:gd name="T19" fmla="*/ 590 h 956"/>
                <a:gd name="T20" fmla="*/ 130 w 972"/>
                <a:gd name="T21" fmla="*/ 500 h 956"/>
                <a:gd name="T22" fmla="*/ 150 w 972"/>
                <a:gd name="T23" fmla="*/ 442 h 956"/>
                <a:gd name="T24" fmla="*/ 110 w 972"/>
                <a:gd name="T25" fmla="*/ 312 h 956"/>
                <a:gd name="T26" fmla="*/ 50 w 972"/>
                <a:gd name="T27" fmla="*/ 222 h 956"/>
                <a:gd name="T28" fmla="*/ 6 w 972"/>
                <a:gd name="T29" fmla="*/ 178 h 956"/>
                <a:gd name="T30" fmla="*/ 2 w 972"/>
                <a:gd name="T31" fmla="*/ 134 h 956"/>
                <a:gd name="T32" fmla="*/ 26 w 972"/>
                <a:gd name="T33" fmla="*/ 80 h 956"/>
                <a:gd name="T34" fmla="*/ 74 w 972"/>
                <a:gd name="T35" fmla="*/ 24 h 956"/>
                <a:gd name="T36" fmla="*/ 112 w 972"/>
                <a:gd name="T37" fmla="*/ 64 h 956"/>
                <a:gd name="T38" fmla="*/ 166 w 972"/>
                <a:gd name="T39" fmla="*/ 152 h 956"/>
                <a:gd name="T40" fmla="*/ 200 w 972"/>
                <a:gd name="T41" fmla="*/ 172 h 956"/>
                <a:gd name="T42" fmla="*/ 236 w 972"/>
                <a:gd name="T43" fmla="*/ 158 h 956"/>
                <a:gd name="T44" fmla="*/ 250 w 972"/>
                <a:gd name="T45" fmla="*/ 170 h 956"/>
                <a:gd name="T46" fmla="*/ 290 w 972"/>
                <a:gd name="T47" fmla="*/ 188 h 956"/>
                <a:gd name="T48" fmla="*/ 374 w 972"/>
                <a:gd name="T49" fmla="*/ 166 h 956"/>
                <a:gd name="T50" fmla="*/ 378 w 972"/>
                <a:gd name="T51" fmla="*/ 128 h 956"/>
                <a:gd name="T52" fmla="*/ 370 w 972"/>
                <a:gd name="T53" fmla="*/ 66 h 956"/>
                <a:gd name="T54" fmla="*/ 412 w 972"/>
                <a:gd name="T55" fmla="*/ 100 h 956"/>
                <a:gd name="T56" fmla="*/ 468 w 972"/>
                <a:gd name="T57" fmla="*/ 100 h 956"/>
                <a:gd name="T58" fmla="*/ 472 w 972"/>
                <a:gd name="T59" fmla="*/ 30 h 956"/>
                <a:gd name="T60" fmla="*/ 516 w 972"/>
                <a:gd name="T61" fmla="*/ 0 h 956"/>
                <a:gd name="T62" fmla="*/ 562 w 972"/>
                <a:gd name="T63" fmla="*/ 50 h 956"/>
                <a:gd name="T64" fmla="*/ 628 w 972"/>
                <a:gd name="T65" fmla="*/ 98 h 956"/>
                <a:gd name="T66" fmla="*/ 656 w 972"/>
                <a:gd name="T67" fmla="*/ 150 h 956"/>
                <a:gd name="T68" fmla="*/ 764 w 972"/>
                <a:gd name="T69" fmla="*/ 184 h 956"/>
                <a:gd name="T70" fmla="*/ 812 w 972"/>
                <a:gd name="T71" fmla="*/ 168 h 956"/>
                <a:gd name="T72" fmla="*/ 932 w 972"/>
                <a:gd name="T73" fmla="*/ 208 h 956"/>
                <a:gd name="T74" fmla="*/ 972 w 972"/>
                <a:gd name="T75" fmla="*/ 278 h 956"/>
                <a:gd name="T76" fmla="*/ 908 w 972"/>
                <a:gd name="T77" fmla="*/ 388 h 956"/>
                <a:gd name="T78" fmla="*/ 840 w 972"/>
                <a:gd name="T79" fmla="*/ 418 h 956"/>
                <a:gd name="T80" fmla="*/ 788 w 972"/>
                <a:gd name="T81" fmla="*/ 376 h 956"/>
                <a:gd name="T82" fmla="*/ 764 w 972"/>
                <a:gd name="T83" fmla="*/ 422 h 956"/>
                <a:gd name="T84" fmla="*/ 772 w 972"/>
                <a:gd name="T85" fmla="*/ 478 h 956"/>
                <a:gd name="T86" fmla="*/ 784 w 972"/>
                <a:gd name="T87" fmla="*/ 564 h 956"/>
                <a:gd name="T88" fmla="*/ 810 w 972"/>
                <a:gd name="T89" fmla="*/ 602 h 956"/>
                <a:gd name="T90" fmla="*/ 780 w 972"/>
                <a:gd name="T91" fmla="*/ 646 h 956"/>
                <a:gd name="T92" fmla="*/ 788 w 972"/>
                <a:gd name="T93" fmla="*/ 686 h 956"/>
                <a:gd name="T94" fmla="*/ 848 w 972"/>
                <a:gd name="T95" fmla="*/ 740 h 956"/>
                <a:gd name="T96" fmla="*/ 796 w 972"/>
                <a:gd name="T97" fmla="*/ 758 h 956"/>
                <a:gd name="T98" fmla="*/ 756 w 972"/>
                <a:gd name="T99" fmla="*/ 712 h 956"/>
                <a:gd name="T100" fmla="*/ 716 w 972"/>
                <a:gd name="T101" fmla="*/ 718 h 956"/>
                <a:gd name="T102" fmla="*/ 662 w 972"/>
                <a:gd name="T103" fmla="*/ 706 h 956"/>
                <a:gd name="T104" fmla="*/ 630 w 972"/>
                <a:gd name="T105" fmla="*/ 636 h 956"/>
                <a:gd name="T106" fmla="*/ 578 w 972"/>
                <a:gd name="T107" fmla="*/ 648 h 956"/>
                <a:gd name="T108" fmla="*/ 550 w 972"/>
                <a:gd name="T109" fmla="*/ 682 h 956"/>
                <a:gd name="T110" fmla="*/ 558 w 972"/>
                <a:gd name="T111" fmla="*/ 726 h 956"/>
                <a:gd name="T112" fmla="*/ 558 w 972"/>
                <a:gd name="T113" fmla="*/ 766 h 956"/>
                <a:gd name="T114" fmla="*/ 500 w 972"/>
                <a:gd name="T115" fmla="*/ 810 h 956"/>
                <a:gd name="T116" fmla="*/ 522 w 972"/>
                <a:gd name="T117" fmla="*/ 870 h 956"/>
                <a:gd name="T118" fmla="*/ 522 w 972"/>
                <a:gd name="T119" fmla="*/ 918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72" h="956">
                  <a:moveTo>
                    <a:pt x="432" y="956"/>
                  </a:moveTo>
                  <a:lnTo>
                    <a:pt x="432" y="956"/>
                  </a:lnTo>
                  <a:lnTo>
                    <a:pt x="422" y="952"/>
                  </a:lnTo>
                  <a:lnTo>
                    <a:pt x="422" y="952"/>
                  </a:lnTo>
                  <a:lnTo>
                    <a:pt x="406" y="942"/>
                  </a:lnTo>
                  <a:lnTo>
                    <a:pt x="392" y="934"/>
                  </a:lnTo>
                  <a:lnTo>
                    <a:pt x="380" y="928"/>
                  </a:lnTo>
                  <a:lnTo>
                    <a:pt x="368" y="920"/>
                  </a:lnTo>
                  <a:lnTo>
                    <a:pt x="368" y="920"/>
                  </a:lnTo>
                  <a:lnTo>
                    <a:pt x="354" y="904"/>
                  </a:lnTo>
                  <a:lnTo>
                    <a:pt x="354" y="904"/>
                  </a:lnTo>
                  <a:lnTo>
                    <a:pt x="354" y="888"/>
                  </a:lnTo>
                  <a:lnTo>
                    <a:pt x="354" y="888"/>
                  </a:lnTo>
                  <a:lnTo>
                    <a:pt x="362" y="878"/>
                  </a:lnTo>
                  <a:lnTo>
                    <a:pt x="368" y="866"/>
                  </a:lnTo>
                  <a:lnTo>
                    <a:pt x="370" y="858"/>
                  </a:lnTo>
                  <a:lnTo>
                    <a:pt x="368" y="848"/>
                  </a:lnTo>
                  <a:lnTo>
                    <a:pt x="366" y="840"/>
                  </a:lnTo>
                  <a:lnTo>
                    <a:pt x="362" y="832"/>
                  </a:lnTo>
                  <a:lnTo>
                    <a:pt x="350" y="816"/>
                  </a:lnTo>
                  <a:lnTo>
                    <a:pt x="350" y="816"/>
                  </a:lnTo>
                  <a:lnTo>
                    <a:pt x="342" y="808"/>
                  </a:lnTo>
                  <a:lnTo>
                    <a:pt x="336" y="798"/>
                  </a:lnTo>
                  <a:lnTo>
                    <a:pt x="324" y="780"/>
                  </a:lnTo>
                  <a:lnTo>
                    <a:pt x="316" y="764"/>
                  </a:lnTo>
                  <a:lnTo>
                    <a:pt x="306" y="750"/>
                  </a:lnTo>
                  <a:lnTo>
                    <a:pt x="306" y="750"/>
                  </a:lnTo>
                  <a:lnTo>
                    <a:pt x="298" y="730"/>
                  </a:lnTo>
                  <a:lnTo>
                    <a:pt x="294" y="726"/>
                  </a:lnTo>
                  <a:lnTo>
                    <a:pt x="290" y="722"/>
                  </a:lnTo>
                  <a:lnTo>
                    <a:pt x="286" y="720"/>
                  </a:lnTo>
                  <a:lnTo>
                    <a:pt x="282" y="720"/>
                  </a:lnTo>
                  <a:lnTo>
                    <a:pt x="266" y="720"/>
                  </a:lnTo>
                  <a:lnTo>
                    <a:pt x="266" y="720"/>
                  </a:lnTo>
                  <a:lnTo>
                    <a:pt x="248" y="712"/>
                  </a:lnTo>
                  <a:lnTo>
                    <a:pt x="248" y="712"/>
                  </a:lnTo>
                  <a:lnTo>
                    <a:pt x="224" y="678"/>
                  </a:lnTo>
                  <a:lnTo>
                    <a:pt x="224" y="678"/>
                  </a:lnTo>
                  <a:lnTo>
                    <a:pt x="206" y="626"/>
                  </a:lnTo>
                  <a:lnTo>
                    <a:pt x="206" y="626"/>
                  </a:lnTo>
                  <a:lnTo>
                    <a:pt x="192" y="608"/>
                  </a:lnTo>
                  <a:lnTo>
                    <a:pt x="192" y="608"/>
                  </a:lnTo>
                  <a:lnTo>
                    <a:pt x="178" y="608"/>
                  </a:lnTo>
                  <a:lnTo>
                    <a:pt x="170" y="614"/>
                  </a:lnTo>
                  <a:lnTo>
                    <a:pt x="164" y="620"/>
                  </a:lnTo>
                  <a:lnTo>
                    <a:pt x="162" y="630"/>
                  </a:lnTo>
                  <a:lnTo>
                    <a:pt x="162" y="652"/>
                  </a:lnTo>
                  <a:lnTo>
                    <a:pt x="160" y="662"/>
                  </a:lnTo>
                  <a:lnTo>
                    <a:pt x="156" y="674"/>
                  </a:lnTo>
                  <a:lnTo>
                    <a:pt x="156" y="674"/>
                  </a:lnTo>
                  <a:lnTo>
                    <a:pt x="148" y="670"/>
                  </a:lnTo>
                  <a:lnTo>
                    <a:pt x="148" y="670"/>
                  </a:lnTo>
                  <a:lnTo>
                    <a:pt x="146" y="652"/>
                  </a:lnTo>
                  <a:lnTo>
                    <a:pt x="140" y="634"/>
                  </a:lnTo>
                  <a:lnTo>
                    <a:pt x="134" y="620"/>
                  </a:lnTo>
                  <a:lnTo>
                    <a:pt x="130" y="606"/>
                  </a:lnTo>
                  <a:lnTo>
                    <a:pt x="130" y="606"/>
                  </a:lnTo>
                  <a:lnTo>
                    <a:pt x="134" y="602"/>
                  </a:lnTo>
                  <a:lnTo>
                    <a:pt x="136" y="598"/>
                  </a:lnTo>
                  <a:lnTo>
                    <a:pt x="138" y="590"/>
                  </a:lnTo>
                  <a:lnTo>
                    <a:pt x="138" y="576"/>
                  </a:lnTo>
                  <a:lnTo>
                    <a:pt x="138" y="576"/>
                  </a:lnTo>
                  <a:lnTo>
                    <a:pt x="142" y="538"/>
                  </a:lnTo>
                  <a:lnTo>
                    <a:pt x="142" y="538"/>
                  </a:lnTo>
                  <a:lnTo>
                    <a:pt x="134" y="518"/>
                  </a:lnTo>
                  <a:lnTo>
                    <a:pt x="130" y="500"/>
                  </a:lnTo>
                  <a:lnTo>
                    <a:pt x="128" y="482"/>
                  </a:lnTo>
                  <a:lnTo>
                    <a:pt x="130" y="466"/>
                  </a:lnTo>
                  <a:lnTo>
                    <a:pt x="130" y="466"/>
                  </a:lnTo>
                  <a:lnTo>
                    <a:pt x="140" y="454"/>
                  </a:lnTo>
                  <a:lnTo>
                    <a:pt x="150" y="442"/>
                  </a:lnTo>
                  <a:lnTo>
                    <a:pt x="150" y="442"/>
                  </a:lnTo>
                  <a:lnTo>
                    <a:pt x="146" y="396"/>
                  </a:lnTo>
                  <a:lnTo>
                    <a:pt x="146" y="396"/>
                  </a:lnTo>
                  <a:lnTo>
                    <a:pt x="124" y="364"/>
                  </a:lnTo>
                  <a:lnTo>
                    <a:pt x="124" y="364"/>
                  </a:lnTo>
                  <a:lnTo>
                    <a:pt x="114" y="326"/>
                  </a:lnTo>
                  <a:lnTo>
                    <a:pt x="110" y="312"/>
                  </a:lnTo>
                  <a:lnTo>
                    <a:pt x="104" y="300"/>
                  </a:lnTo>
                  <a:lnTo>
                    <a:pt x="104" y="300"/>
                  </a:lnTo>
                  <a:lnTo>
                    <a:pt x="84" y="276"/>
                  </a:lnTo>
                  <a:lnTo>
                    <a:pt x="68" y="254"/>
                  </a:lnTo>
                  <a:lnTo>
                    <a:pt x="54" y="232"/>
                  </a:lnTo>
                  <a:lnTo>
                    <a:pt x="50" y="222"/>
                  </a:lnTo>
                  <a:lnTo>
                    <a:pt x="48" y="212"/>
                  </a:lnTo>
                  <a:lnTo>
                    <a:pt x="48" y="212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6" y="178"/>
                  </a:lnTo>
                  <a:lnTo>
                    <a:pt x="6" y="178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10" y="130"/>
                  </a:lnTo>
                  <a:lnTo>
                    <a:pt x="16" y="124"/>
                  </a:lnTo>
                  <a:lnTo>
                    <a:pt x="20" y="118"/>
                  </a:lnTo>
                  <a:lnTo>
                    <a:pt x="22" y="110"/>
                  </a:lnTo>
                  <a:lnTo>
                    <a:pt x="24" y="96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82" y="28"/>
                  </a:lnTo>
                  <a:lnTo>
                    <a:pt x="92" y="38"/>
                  </a:lnTo>
                  <a:lnTo>
                    <a:pt x="102" y="50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76"/>
                  </a:lnTo>
                  <a:lnTo>
                    <a:pt x="116" y="88"/>
                  </a:lnTo>
                  <a:lnTo>
                    <a:pt x="122" y="98"/>
                  </a:lnTo>
                  <a:lnTo>
                    <a:pt x="128" y="110"/>
                  </a:lnTo>
                  <a:lnTo>
                    <a:pt x="146" y="132"/>
                  </a:lnTo>
                  <a:lnTo>
                    <a:pt x="166" y="152"/>
                  </a:lnTo>
                  <a:lnTo>
                    <a:pt x="166" y="152"/>
                  </a:lnTo>
                  <a:lnTo>
                    <a:pt x="174" y="152"/>
                  </a:lnTo>
                  <a:lnTo>
                    <a:pt x="182" y="154"/>
                  </a:lnTo>
                  <a:lnTo>
                    <a:pt x="186" y="156"/>
                  </a:lnTo>
                  <a:lnTo>
                    <a:pt x="190" y="158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8" y="170"/>
                  </a:lnTo>
                  <a:lnTo>
                    <a:pt x="216" y="170"/>
                  </a:lnTo>
                  <a:lnTo>
                    <a:pt x="224" y="166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42" y="158"/>
                  </a:lnTo>
                  <a:lnTo>
                    <a:pt x="242" y="158"/>
                  </a:lnTo>
                  <a:lnTo>
                    <a:pt x="248" y="162"/>
                  </a:lnTo>
                  <a:lnTo>
                    <a:pt x="248" y="162"/>
                  </a:lnTo>
                  <a:lnTo>
                    <a:pt x="248" y="166"/>
                  </a:lnTo>
                  <a:lnTo>
                    <a:pt x="250" y="170"/>
                  </a:lnTo>
                  <a:lnTo>
                    <a:pt x="254" y="172"/>
                  </a:lnTo>
                  <a:lnTo>
                    <a:pt x="258" y="174"/>
                  </a:lnTo>
                  <a:lnTo>
                    <a:pt x="270" y="176"/>
                  </a:lnTo>
                  <a:lnTo>
                    <a:pt x="282" y="178"/>
                  </a:lnTo>
                  <a:lnTo>
                    <a:pt x="282" y="178"/>
                  </a:lnTo>
                  <a:lnTo>
                    <a:pt x="290" y="188"/>
                  </a:lnTo>
                  <a:lnTo>
                    <a:pt x="290" y="188"/>
                  </a:lnTo>
                  <a:lnTo>
                    <a:pt x="310" y="188"/>
                  </a:lnTo>
                  <a:lnTo>
                    <a:pt x="310" y="188"/>
                  </a:lnTo>
                  <a:lnTo>
                    <a:pt x="328" y="174"/>
                  </a:lnTo>
                  <a:lnTo>
                    <a:pt x="328" y="174"/>
                  </a:lnTo>
                  <a:lnTo>
                    <a:pt x="374" y="166"/>
                  </a:lnTo>
                  <a:lnTo>
                    <a:pt x="374" y="166"/>
                  </a:lnTo>
                  <a:lnTo>
                    <a:pt x="378" y="160"/>
                  </a:lnTo>
                  <a:lnTo>
                    <a:pt x="382" y="154"/>
                  </a:lnTo>
                  <a:lnTo>
                    <a:pt x="382" y="154"/>
                  </a:lnTo>
                  <a:lnTo>
                    <a:pt x="382" y="142"/>
                  </a:lnTo>
                  <a:lnTo>
                    <a:pt x="378" y="128"/>
                  </a:lnTo>
                  <a:lnTo>
                    <a:pt x="372" y="104"/>
                  </a:lnTo>
                  <a:lnTo>
                    <a:pt x="368" y="92"/>
                  </a:lnTo>
                  <a:lnTo>
                    <a:pt x="366" y="80"/>
                  </a:lnTo>
                  <a:lnTo>
                    <a:pt x="368" y="72"/>
                  </a:lnTo>
                  <a:lnTo>
                    <a:pt x="370" y="66"/>
                  </a:lnTo>
                  <a:lnTo>
                    <a:pt x="370" y="66"/>
                  </a:lnTo>
                  <a:lnTo>
                    <a:pt x="376" y="70"/>
                  </a:lnTo>
                  <a:lnTo>
                    <a:pt x="384" y="78"/>
                  </a:lnTo>
                  <a:lnTo>
                    <a:pt x="392" y="84"/>
                  </a:lnTo>
                  <a:lnTo>
                    <a:pt x="406" y="92"/>
                  </a:lnTo>
                  <a:lnTo>
                    <a:pt x="406" y="92"/>
                  </a:lnTo>
                  <a:lnTo>
                    <a:pt x="412" y="100"/>
                  </a:lnTo>
                  <a:lnTo>
                    <a:pt x="412" y="100"/>
                  </a:lnTo>
                  <a:lnTo>
                    <a:pt x="424" y="104"/>
                  </a:lnTo>
                  <a:lnTo>
                    <a:pt x="438" y="104"/>
                  </a:lnTo>
                  <a:lnTo>
                    <a:pt x="452" y="104"/>
                  </a:lnTo>
                  <a:lnTo>
                    <a:pt x="468" y="100"/>
                  </a:lnTo>
                  <a:lnTo>
                    <a:pt x="468" y="100"/>
                  </a:lnTo>
                  <a:lnTo>
                    <a:pt x="484" y="84"/>
                  </a:lnTo>
                  <a:lnTo>
                    <a:pt x="484" y="84"/>
                  </a:lnTo>
                  <a:lnTo>
                    <a:pt x="482" y="64"/>
                  </a:lnTo>
                  <a:lnTo>
                    <a:pt x="478" y="50"/>
                  </a:lnTo>
                  <a:lnTo>
                    <a:pt x="474" y="40"/>
                  </a:lnTo>
                  <a:lnTo>
                    <a:pt x="472" y="30"/>
                  </a:lnTo>
                  <a:lnTo>
                    <a:pt x="472" y="30"/>
                  </a:lnTo>
                  <a:lnTo>
                    <a:pt x="482" y="18"/>
                  </a:lnTo>
                  <a:lnTo>
                    <a:pt x="494" y="8"/>
                  </a:lnTo>
                  <a:lnTo>
                    <a:pt x="502" y="2"/>
                  </a:lnTo>
                  <a:lnTo>
                    <a:pt x="508" y="0"/>
                  </a:lnTo>
                  <a:lnTo>
                    <a:pt x="516" y="0"/>
                  </a:lnTo>
                  <a:lnTo>
                    <a:pt x="526" y="4"/>
                  </a:lnTo>
                  <a:lnTo>
                    <a:pt x="526" y="4"/>
                  </a:lnTo>
                  <a:lnTo>
                    <a:pt x="530" y="16"/>
                  </a:lnTo>
                  <a:lnTo>
                    <a:pt x="536" y="26"/>
                  </a:lnTo>
                  <a:lnTo>
                    <a:pt x="546" y="36"/>
                  </a:lnTo>
                  <a:lnTo>
                    <a:pt x="562" y="50"/>
                  </a:lnTo>
                  <a:lnTo>
                    <a:pt x="562" y="50"/>
                  </a:lnTo>
                  <a:lnTo>
                    <a:pt x="588" y="60"/>
                  </a:lnTo>
                  <a:lnTo>
                    <a:pt x="588" y="60"/>
                  </a:lnTo>
                  <a:lnTo>
                    <a:pt x="598" y="72"/>
                  </a:lnTo>
                  <a:lnTo>
                    <a:pt x="612" y="84"/>
                  </a:lnTo>
                  <a:lnTo>
                    <a:pt x="628" y="98"/>
                  </a:lnTo>
                  <a:lnTo>
                    <a:pt x="636" y="106"/>
                  </a:lnTo>
                  <a:lnTo>
                    <a:pt x="642" y="118"/>
                  </a:lnTo>
                  <a:lnTo>
                    <a:pt x="642" y="118"/>
                  </a:lnTo>
                  <a:lnTo>
                    <a:pt x="650" y="138"/>
                  </a:lnTo>
                  <a:lnTo>
                    <a:pt x="650" y="138"/>
                  </a:lnTo>
                  <a:lnTo>
                    <a:pt x="656" y="150"/>
                  </a:lnTo>
                  <a:lnTo>
                    <a:pt x="666" y="164"/>
                  </a:lnTo>
                  <a:lnTo>
                    <a:pt x="678" y="176"/>
                  </a:lnTo>
                  <a:lnTo>
                    <a:pt x="686" y="182"/>
                  </a:lnTo>
                  <a:lnTo>
                    <a:pt x="694" y="184"/>
                  </a:lnTo>
                  <a:lnTo>
                    <a:pt x="694" y="184"/>
                  </a:lnTo>
                  <a:lnTo>
                    <a:pt x="764" y="184"/>
                  </a:lnTo>
                  <a:lnTo>
                    <a:pt x="764" y="184"/>
                  </a:lnTo>
                  <a:lnTo>
                    <a:pt x="774" y="178"/>
                  </a:lnTo>
                  <a:lnTo>
                    <a:pt x="786" y="172"/>
                  </a:lnTo>
                  <a:lnTo>
                    <a:pt x="798" y="168"/>
                  </a:lnTo>
                  <a:lnTo>
                    <a:pt x="812" y="168"/>
                  </a:lnTo>
                  <a:lnTo>
                    <a:pt x="812" y="168"/>
                  </a:lnTo>
                  <a:lnTo>
                    <a:pt x="858" y="184"/>
                  </a:lnTo>
                  <a:lnTo>
                    <a:pt x="858" y="184"/>
                  </a:lnTo>
                  <a:lnTo>
                    <a:pt x="900" y="184"/>
                  </a:lnTo>
                  <a:lnTo>
                    <a:pt x="900" y="184"/>
                  </a:lnTo>
                  <a:lnTo>
                    <a:pt x="920" y="202"/>
                  </a:lnTo>
                  <a:lnTo>
                    <a:pt x="932" y="208"/>
                  </a:lnTo>
                  <a:lnTo>
                    <a:pt x="952" y="210"/>
                  </a:lnTo>
                  <a:lnTo>
                    <a:pt x="952" y="210"/>
                  </a:lnTo>
                  <a:lnTo>
                    <a:pt x="972" y="228"/>
                  </a:lnTo>
                  <a:lnTo>
                    <a:pt x="972" y="228"/>
                  </a:lnTo>
                  <a:lnTo>
                    <a:pt x="972" y="278"/>
                  </a:lnTo>
                  <a:lnTo>
                    <a:pt x="972" y="278"/>
                  </a:lnTo>
                  <a:lnTo>
                    <a:pt x="958" y="296"/>
                  </a:lnTo>
                  <a:lnTo>
                    <a:pt x="946" y="316"/>
                  </a:lnTo>
                  <a:lnTo>
                    <a:pt x="938" y="336"/>
                  </a:lnTo>
                  <a:lnTo>
                    <a:pt x="930" y="358"/>
                  </a:lnTo>
                  <a:lnTo>
                    <a:pt x="930" y="358"/>
                  </a:lnTo>
                  <a:lnTo>
                    <a:pt x="908" y="388"/>
                  </a:lnTo>
                  <a:lnTo>
                    <a:pt x="880" y="418"/>
                  </a:lnTo>
                  <a:lnTo>
                    <a:pt x="880" y="418"/>
                  </a:lnTo>
                  <a:lnTo>
                    <a:pt x="866" y="422"/>
                  </a:lnTo>
                  <a:lnTo>
                    <a:pt x="856" y="422"/>
                  </a:lnTo>
                  <a:lnTo>
                    <a:pt x="846" y="420"/>
                  </a:lnTo>
                  <a:lnTo>
                    <a:pt x="840" y="418"/>
                  </a:lnTo>
                  <a:lnTo>
                    <a:pt x="828" y="406"/>
                  </a:lnTo>
                  <a:lnTo>
                    <a:pt x="812" y="394"/>
                  </a:lnTo>
                  <a:lnTo>
                    <a:pt x="812" y="394"/>
                  </a:lnTo>
                  <a:lnTo>
                    <a:pt x="806" y="388"/>
                  </a:lnTo>
                  <a:lnTo>
                    <a:pt x="800" y="382"/>
                  </a:lnTo>
                  <a:lnTo>
                    <a:pt x="788" y="376"/>
                  </a:lnTo>
                  <a:lnTo>
                    <a:pt x="778" y="374"/>
                  </a:lnTo>
                  <a:lnTo>
                    <a:pt x="768" y="374"/>
                  </a:lnTo>
                  <a:lnTo>
                    <a:pt x="768" y="374"/>
                  </a:lnTo>
                  <a:lnTo>
                    <a:pt x="764" y="382"/>
                  </a:lnTo>
                  <a:lnTo>
                    <a:pt x="764" y="382"/>
                  </a:lnTo>
                  <a:lnTo>
                    <a:pt x="764" y="422"/>
                  </a:lnTo>
                  <a:lnTo>
                    <a:pt x="764" y="422"/>
                  </a:lnTo>
                  <a:lnTo>
                    <a:pt x="768" y="434"/>
                  </a:lnTo>
                  <a:lnTo>
                    <a:pt x="772" y="446"/>
                  </a:lnTo>
                  <a:lnTo>
                    <a:pt x="772" y="460"/>
                  </a:lnTo>
                  <a:lnTo>
                    <a:pt x="772" y="478"/>
                  </a:lnTo>
                  <a:lnTo>
                    <a:pt x="772" y="478"/>
                  </a:lnTo>
                  <a:lnTo>
                    <a:pt x="770" y="492"/>
                  </a:lnTo>
                  <a:lnTo>
                    <a:pt x="766" y="510"/>
                  </a:lnTo>
                  <a:lnTo>
                    <a:pt x="766" y="528"/>
                  </a:lnTo>
                  <a:lnTo>
                    <a:pt x="768" y="548"/>
                  </a:lnTo>
                  <a:lnTo>
                    <a:pt x="768" y="548"/>
                  </a:lnTo>
                  <a:lnTo>
                    <a:pt x="784" y="564"/>
                  </a:lnTo>
                  <a:lnTo>
                    <a:pt x="784" y="564"/>
                  </a:lnTo>
                  <a:lnTo>
                    <a:pt x="790" y="568"/>
                  </a:lnTo>
                  <a:lnTo>
                    <a:pt x="796" y="574"/>
                  </a:lnTo>
                  <a:lnTo>
                    <a:pt x="802" y="582"/>
                  </a:lnTo>
                  <a:lnTo>
                    <a:pt x="808" y="592"/>
                  </a:lnTo>
                  <a:lnTo>
                    <a:pt x="810" y="602"/>
                  </a:lnTo>
                  <a:lnTo>
                    <a:pt x="810" y="612"/>
                  </a:lnTo>
                  <a:lnTo>
                    <a:pt x="808" y="622"/>
                  </a:lnTo>
                  <a:lnTo>
                    <a:pt x="800" y="632"/>
                  </a:lnTo>
                  <a:lnTo>
                    <a:pt x="800" y="632"/>
                  </a:lnTo>
                  <a:lnTo>
                    <a:pt x="786" y="640"/>
                  </a:lnTo>
                  <a:lnTo>
                    <a:pt x="780" y="646"/>
                  </a:lnTo>
                  <a:lnTo>
                    <a:pt x="778" y="650"/>
                  </a:lnTo>
                  <a:lnTo>
                    <a:pt x="776" y="656"/>
                  </a:lnTo>
                  <a:lnTo>
                    <a:pt x="776" y="674"/>
                  </a:lnTo>
                  <a:lnTo>
                    <a:pt x="776" y="674"/>
                  </a:lnTo>
                  <a:lnTo>
                    <a:pt x="782" y="680"/>
                  </a:lnTo>
                  <a:lnTo>
                    <a:pt x="788" y="686"/>
                  </a:lnTo>
                  <a:lnTo>
                    <a:pt x="806" y="694"/>
                  </a:lnTo>
                  <a:lnTo>
                    <a:pt x="828" y="702"/>
                  </a:lnTo>
                  <a:lnTo>
                    <a:pt x="840" y="710"/>
                  </a:lnTo>
                  <a:lnTo>
                    <a:pt x="850" y="718"/>
                  </a:lnTo>
                  <a:lnTo>
                    <a:pt x="850" y="718"/>
                  </a:lnTo>
                  <a:lnTo>
                    <a:pt x="848" y="740"/>
                  </a:lnTo>
                  <a:lnTo>
                    <a:pt x="846" y="752"/>
                  </a:lnTo>
                  <a:lnTo>
                    <a:pt x="842" y="756"/>
                  </a:lnTo>
                  <a:lnTo>
                    <a:pt x="840" y="762"/>
                  </a:lnTo>
                  <a:lnTo>
                    <a:pt x="840" y="762"/>
                  </a:lnTo>
                  <a:lnTo>
                    <a:pt x="818" y="760"/>
                  </a:lnTo>
                  <a:lnTo>
                    <a:pt x="796" y="758"/>
                  </a:lnTo>
                  <a:lnTo>
                    <a:pt x="778" y="754"/>
                  </a:lnTo>
                  <a:lnTo>
                    <a:pt x="764" y="748"/>
                  </a:lnTo>
                  <a:lnTo>
                    <a:pt x="764" y="748"/>
                  </a:lnTo>
                  <a:lnTo>
                    <a:pt x="762" y="734"/>
                  </a:lnTo>
                  <a:lnTo>
                    <a:pt x="760" y="722"/>
                  </a:lnTo>
                  <a:lnTo>
                    <a:pt x="756" y="712"/>
                  </a:lnTo>
                  <a:lnTo>
                    <a:pt x="752" y="702"/>
                  </a:lnTo>
                  <a:lnTo>
                    <a:pt x="752" y="702"/>
                  </a:lnTo>
                  <a:lnTo>
                    <a:pt x="744" y="704"/>
                  </a:lnTo>
                  <a:lnTo>
                    <a:pt x="736" y="704"/>
                  </a:lnTo>
                  <a:lnTo>
                    <a:pt x="726" y="710"/>
                  </a:lnTo>
                  <a:lnTo>
                    <a:pt x="716" y="718"/>
                  </a:lnTo>
                  <a:lnTo>
                    <a:pt x="706" y="724"/>
                  </a:lnTo>
                  <a:lnTo>
                    <a:pt x="706" y="724"/>
                  </a:lnTo>
                  <a:lnTo>
                    <a:pt x="680" y="724"/>
                  </a:lnTo>
                  <a:lnTo>
                    <a:pt x="680" y="724"/>
                  </a:lnTo>
                  <a:lnTo>
                    <a:pt x="670" y="716"/>
                  </a:lnTo>
                  <a:lnTo>
                    <a:pt x="662" y="706"/>
                  </a:lnTo>
                  <a:lnTo>
                    <a:pt x="656" y="698"/>
                  </a:lnTo>
                  <a:lnTo>
                    <a:pt x="652" y="688"/>
                  </a:lnTo>
                  <a:lnTo>
                    <a:pt x="646" y="668"/>
                  </a:lnTo>
                  <a:lnTo>
                    <a:pt x="642" y="652"/>
                  </a:lnTo>
                  <a:lnTo>
                    <a:pt x="642" y="652"/>
                  </a:lnTo>
                  <a:lnTo>
                    <a:pt x="630" y="636"/>
                  </a:lnTo>
                  <a:lnTo>
                    <a:pt x="630" y="636"/>
                  </a:lnTo>
                  <a:lnTo>
                    <a:pt x="604" y="636"/>
                  </a:lnTo>
                  <a:lnTo>
                    <a:pt x="594" y="636"/>
                  </a:lnTo>
                  <a:lnTo>
                    <a:pt x="588" y="638"/>
                  </a:lnTo>
                  <a:lnTo>
                    <a:pt x="582" y="642"/>
                  </a:lnTo>
                  <a:lnTo>
                    <a:pt x="578" y="648"/>
                  </a:lnTo>
                  <a:lnTo>
                    <a:pt x="574" y="658"/>
                  </a:lnTo>
                  <a:lnTo>
                    <a:pt x="572" y="670"/>
                  </a:lnTo>
                  <a:lnTo>
                    <a:pt x="572" y="670"/>
                  </a:lnTo>
                  <a:lnTo>
                    <a:pt x="564" y="676"/>
                  </a:lnTo>
                  <a:lnTo>
                    <a:pt x="556" y="680"/>
                  </a:lnTo>
                  <a:lnTo>
                    <a:pt x="550" y="682"/>
                  </a:lnTo>
                  <a:lnTo>
                    <a:pt x="542" y="686"/>
                  </a:lnTo>
                  <a:lnTo>
                    <a:pt x="542" y="686"/>
                  </a:lnTo>
                  <a:lnTo>
                    <a:pt x="542" y="704"/>
                  </a:lnTo>
                  <a:lnTo>
                    <a:pt x="542" y="704"/>
                  </a:lnTo>
                  <a:lnTo>
                    <a:pt x="550" y="712"/>
                  </a:lnTo>
                  <a:lnTo>
                    <a:pt x="558" y="726"/>
                  </a:lnTo>
                  <a:lnTo>
                    <a:pt x="562" y="732"/>
                  </a:lnTo>
                  <a:lnTo>
                    <a:pt x="564" y="740"/>
                  </a:lnTo>
                  <a:lnTo>
                    <a:pt x="564" y="748"/>
                  </a:lnTo>
                  <a:lnTo>
                    <a:pt x="562" y="758"/>
                  </a:lnTo>
                  <a:lnTo>
                    <a:pt x="562" y="758"/>
                  </a:lnTo>
                  <a:lnTo>
                    <a:pt x="558" y="766"/>
                  </a:lnTo>
                  <a:lnTo>
                    <a:pt x="552" y="772"/>
                  </a:lnTo>
                  <a:lnTo>
                    <a:pt x="536" y="782"/>
                  </a:lnTo>
                  <a:lnTo>
                    <a:pt x="508" y="800"/>
                  </a:lnTo>
                  <a:lnTo>
                    <a:pt x="508" y="800"/>
                  </a:lnTo>
                  <a:lnTo>
                    <a:pt x="500" y="810"/>
                  </a:lnTo>
                  <a:lnTo>
                    <a:pt x="500" y="810"/>
                  </a:lnTo>
                  <a:lnTo>
                    <a:pt x="500" y="850"/>
                  </a:lnTo>
                  <a:lnTo>
                    <a:pt x="500" y="850"/>
                  </a:lnTo>
                  <a:lnTo>
                    <a:pt x="504" y="856"/>
                  </a:lnTo>
                  <a:lnTo>
                    <a:pt x="508" y="860"/>
                  </a:lnTo>
                  <a:lnTo>
                    <a:pt x="518" y="866"/>
                  </a:lnTo>
                  <a:lnTo>
                    <a:pt x="522" y="870"/>
                  </a:lnTo>
                  <a:lnTo>
                    <a:pt x="526" y="878"/>
                  </a:lnTo>
                  <a:lnTo>
                    <a:pt x="528" y="888"/>
                  </a:lnTo>
                  <a:lnTo>
                    <a:pt x="530" y="902"/>
                  </a:lnTo>
                  <a:lnTo>
                    <a:pt x="530" y="902"/>
                  </a:lnTo>
                  <a:lnTo>
                    <a:pt x="522" y="918"/>
                  </a:lnTo>
                  <a:lnTo>
                    <a:pt x="522" y="918"/>
                  </a:lnTo>
                  <a:lnTo>
                    <a:pt x="510" y="924"/>
                  </a:lnTo>
                  <a:lnTo>
                    <a:pt x="498" y="930"/>
                  </a:lnTo>
                  <a:lnTo>
                    <a:pt x="498" y="930"/>
                  </a:lnTo>
                  <a:lnTo>
                    <a:pt x="432" y="956"/>
                  </a:lnTo>
                  <a:lnTo>
                    <a:pt x="432" y="956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63" name="未知"/>
            <p:cNvSpPr>
              <a:spLocks/>
            </p:cNvSpPr>
            <p:nvPr/>
          </p:nvSpPr>
          <p:spPr bwMode="auto">
            <a:xfrm>
              <a:off x="721513" y="1940862"/>
              <a:ext cx="1439635" cy="821691"/>
            </a:xfrm>
            <a:custGeom>
              <a:avLst/>
              <a:gdLst>
                <a:gd name="T0" fmla="*/ 1244 w 1950"/>
                <a:gd name="T1" fmla="*/ 1192 h 1194"/>
                <a:gd name="T2" fmla="*/ 1218 w 1950"/>
                <a:gd name="T3" fmla="*/ 1156 h 1194"/>
                <a:gd name="T4" fmla="*/ 1200 w 1950"/>
                <a:gd name="T5" fmla="*/ 1100 h 1194"/>
                <a:gd name="T6" fmla="*/ 1152 w 1950"/>
                <a:gd name="T7" fmla="*/ 1058 h 1194"/>
                <a:gd name="T8" fmla="*/ 1050 w 1950"/>
                <a:gd name="T9" fmla="*/ 1000 h 1194"/>
                <a:gd name="T10" fmla="*/ 970 w 1950"/>
                <a:gd name="T11" fmla="*/ 1022 h 1194"/>
                <a:gd name="T12" fmla="*/ 928 w 1950"/>
                <a:gd name="T13" fmla="*/ 1096 h 1194"/>
                <a:gd name="T14" fmla="*/ 898 w 1950"/>
                <a:gd name="T15" fmla="*/ 1042 h 1194"/>
                <a:gd name="T16" fmla="*/ 872 w 1950"/>
                <a:gd name="T17" fmla="*/ 992 h 1194"/>
                <a:gd name="T18" fmla="*/ 754 w 1950"/>
                <a:gd name="T19" fmla="*/ 1010 h 1194"/>
                <a:gd name="T20" fmla="*/ 634 w 1950"/>
                <a:gd name="T21" fmla="*/ 966 h 1194"/>
                <a:gd name="T22" fmla="*/ 580 w 1950"/>
                <a:gd name="T23" fmla="*/ 900 h 1194"/>
                <a:gd name="T24" fmla="*/ 492 w 1950"/>
                <a:gd name="T25" fmla="*/ 842 h 1194"/>
                <a:gd name="T26" fmla="*/ 468 w 1950"/>
                <a:gd name="T27" fmla="*/ 764 h 1194"/>
                <a:gd name="T28" fmla="*/ 390 w 1950"/>
                <a:gd name="T29" fmla="*/ 726 h 1194"/>
                <a:gd name="T30" fmla="*/ 284 w 1950"/>
                <a:gd name="T31" fmla="*/ 610 h 1194"/>
                <a:gd name="T32" fmla="*/ 182 w 1950"/>
                <a:gd name="T33" fmla="*/ 630 h 1194"/>
                <a:gd name="T34" fmla="*/ 142 w 1950"/>
                <a:gd name="T35" fmla="*/ 552 h 1194"/>
                <a:gd name="T36" fmla="*/ 12 w 1950"/>
                <a:gd name="T37" fmla="*/ 454 h 1194"/>
                <a:gd name="T38" fmla="*/ 8 w 1950"/>
                <a:gd name="T39" fmla="*/ 412 h 1194"/>
                <a:gd name="T40" fmla="*/ 16 w 1950"/>
                <a:gd name="T41" fmla="*/ 290 h 1194"/>
                <a:gd name="T42" fmla="*/ 54 w 1950"/>
                <a:gd name="T43" fmla="*/ 300 h 1194"/>
                <a:gd name="T44" fmla="*/ 104 w 1950"/>
                <a:gd name="T45" fmla="*/ 280 h 1194"/>
                <a:gd name="T46" fmla="*/ 78 w 1950"/>
                <a:gd name="T47" fmla="*/ 126 h 1194"/>
                <a:gd name="T48" fmla="*/ 146 w 1950"/>
                <a:gd name="T49" fmla="*/ 98 h 1194"/>
                <a:gd name="T50" fmla="*/ 216 w 1950"/>
                <a:gd name="T51" fmla="*/ 72 h 1194"/>
                <a:gd name="T52" fmla="*/ 304 w 1950"/>
                <a:gd name="T53" fmla="*/ 6 h 1194"/>
                <a:gd name="T54" fmla="*/ 386 w 1950"/>
                <a:gd name="T55" fmla="*/ 48 h 1194"/>
                <a:gd name="T56" fmla="*/ 470 w 1950"/>
                <a:gd name="T57" fmla="*/ 10 h 1194"/>
                <a:gd name="T58" fmla="*/ 510 w 1950"/>
                <a:gd name="T59" fmla="*/ 56 h 1194"/>
                <a:gd name="T60" fmla="*/ 622 w 1950"/>
                <a:gd name="T61" fmla="*/ 72 h 1194"/>
                <a:gd name="T62" fmla="*/ 710 w 1950"/>
                <a:gd name="T63" fmla="*/ 56 h 1194"/>
                <a:gd name="T64" fmla="*/ 804 w 1950"/>
                <a:gd name="T65" fmla="*/ 44 h 1194"/>
                <a:gd name="T66" fmla="*/ 898 w 1950"/>
                <a:gd name="T67" fmla="*/ 30 h 1194"/>
                <a:gd name="T68" fmla="*/ 1046 w 1950"/>
                <a:gd name="T69" fmla="*/ 38 h 1194"/>
                <a:gd name="T70" fmla="*/ 1106 w 1950"/>
                <a:gd name="T71" fmla="*/ 114 h 1194"/>
                <a:gd name="T72" fmla="*/ 1092 w 1950"/>
                <a:gd name="T73" fmla="*/ 220 h 1194"/>
                <a:gd name="T74" fmla="*/ 1118 w 1950"/>
                <a:gd name="T75" fmla="*/ 378 h 1194"/>
                <a:gd name="T76" fmla="*/ 1192 w 1950"/>
                <a:gd name="T77" fmla="*/ 440 h 1194"/>
                <a:gd name="T78" fmla="*/ 1308 w 1950"/>
                <a:gd name="T79" fmla="*/ 502 h 1194"/>
                <a:gd name="T80" fmla="*/ 1406 w 1950"/>
                <a:gd name="T81" fmla="*/ 546 h 1194"/>
                <a:gd name="T82" fmla="*/ 1586 w 1950"/>
                <a:gd name="T83" fmla="*/ 576 h 1194"/>
                <a:gd name="T84" fmla="*/ 1666 w 1950"/>
                <a:gd name="T85" fmla="*/ 682 h 1194"/>
                <a:gd name="T86" fmla="*/ 1706 w 1950"/>
                <a:gd name="T87" fmla="*/ 676 h 1194"/>
                <a:gd name="T88" fmla="*/ 1794 w 1950"/>
                <a:gd name="T89" fmla="*/ 616 h 1194"/>
                <a:gd name="T90" fmla="*/ 1848 w 1950"/>
                <a:gd name="T91" fmla="*/ 632 h 1194"/>
                <a:gd name="T92" fmla="*/ 1926 w 1950"/>
                <a:gd name="T93" fmla="*/ 788 h 1194"/>
                <a:gd name="T94" fmla="*/ 1930 w 1950"/>
                <a:gd name="T95" fmla="*/ 878 h 1194"/>
                <a:gd name="T96" fmla="*/ 1940 w 1950"/>
                <a:gd name="T97" fmla="*/ 976 h 1194"/>
                <a:gd name="T98" fmla="*/ 1930 w 1950"/>
                <a:gd name="T99" fmla="*/ 1002 h 1194"/>
                <a:gd name="T100" fmla="*/ 1872 w 1950"/>
                <a:gd name="T101" fmla="*/ 1006 h 1194"/>
                <a:gd name="T102" fmla="*/ 1866 w 1950"/>
                <a:gd name="T103" fmla="*/ 1096 h 1194"/>
                <a:gd name="T104" fmla="*/ 1772 w 1950"/>
                <a:gd name="T105" fmla="*/ 1052 h 1194"/>
                <a:gd name="T106" fmla="*/ 1744 w 1950"/>
                <a:gd name="T107" fmla="*/ 1124 h 1194"/>
                <a:gd name="T108" fmla="*/ 1696 w 1950"/>
                <a:gd name="T109" fmla="*/ 1086 h 1194"/>
                <a:gd name="T110" fmla="*/ 1594 w 1950"/>
                <a:gd name="T111" fmla="*/ 1048 h 1194"/>
                <a:gd name="T112" fmla="*/ 1498 w 1950"/>
                <a:gd name="T113" fmla="*/ 1102 h 1194"/>
                <a:gd name="T114" fmla="*/ 1430 w 1950"/>
                <a:gd name="T115" fmla="*/ 1144 h 1194"/>
                <a:gd name="T116" fmla="*/ 1342 w 1950"/>
                <a:gd name="T117" fmla="*/ 1194 h 1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50" h="1194">
                  <a:moveTo>
                    <a:pt x="1342" y="1194"/>
                  </a:moveTo>
                  <a:lnTo>
                    <a:pt x="1342" y="1194"/>
                  </a:lnTo>
                  <a:lnTo>
                    <a:pt x="1336" y="1192"/>
                  </a:lnTo>
                  <a:lnTo>
                    <a:pt x="1324" y="1188"/>
                  </a:lnTo>
                  <a:lnTo>
                    <a:pt x="1298" y="1186"/>
                  </a:lnTo>
                  <a:lnTo>
                    <a:pt x="1258" y="1186"/>
                  </a:lnTo>
                  <a:lnTo>
                    <a:pt x="1258" y="1186"/>
                  </a:lnTo>
                  <a:lnTo>
                    <a:pt x="1244" y="1192"/>
                  </a:lnTo>
                  <a:lnTo>
                    <a:pt x="1244" y="1192"/>
                  </a:lnTo>
                  <a:lnTo>
                    <a:pt x="1226" y="1188"/>
                  </a:lnTo>
                  <a:lnTo>
                    <a:pt x="1216" y="1184"/>
                  </a:lnTo>
                  <a:lnTo>
                    <a:pt x="1212" y="1182"/>
                  </a:lnTo>
                  <a:lnTo>
                    <a:pt x="1210" y="1180"/>
                  </a:lnTo>
                  <a:lnTo>
                    <a:pt x="1210" y="1172"/>
                  </a:lnTo>
                  <a:lnTo>
                    <a:pt x="1214" y="1164"/>
                  </a:lnTo>
                  <a:lnTo>
                    <a:pt x="1218" y="1156"/>
                  </a:lnTo>
                  <a:lnTo>
                    <a:pt x="1224" y="1146"/>
                  </a:lnTo>
                  <a:lnTo>
                    <a:pt x="1228" y="1136"/>
                  </a:lnTo>
                  <a:lnTo>
                    <a:pt x="1228" y="1136"/>
                  </a:lnTo>
                  <a:lnTo>
                    <a:pt x="1228" y="1114"/>
                  </a:lnTo>
                  <a:lnTo>
                    <a:pt x="1228" y="1114"/>
                  </a:lnTo>
                  <a:lnTo>
                    <a:pt x="1216" y="1108"/>
                  </a:lnTo>
                  <a:lnTo>
                    <a:pt x="1206" y="1104"/>
                  </a:lnTo>
                  <a:lnTo>
                    <a:pt x="1200" y="1100"/>
                  </a:lnTo>
                  <a:lnTo>
                    <a:pt x="1194" y="1094"/>
                  </a:lnTo>
                  <a:lnTo>
                    <a:pt x="1192" y="1088"/>
                  </a:lnTo>
                  <a:lnTo>
                    <a:pt x="1190" y="1082"/>
                  </a:lnTo>
                  <a:lnTo>
                    <a:pt x="1186" y="1068"/>
                  </a:lnTo>
                  <a:lnTo>
                    <a:pt x="1186" y="1068"/>
                  </a:lnTo>
                  <a:lnTo>
                    <a:pt x="1180" y="1058"/>
                  </a:lnTo>
                  <a:lnTo>
                    <a:pt x="1180" y="1058"/>
                  </a:lnTo>
                  <a:lnTo>
                    <a:pt x="1152" y="1058"/>
                  </a:lnTo>
                  <a:lnTo>
                    <a:pt x="1128" y="1052"/>
                  </a:lnTo>
                  <a:lnTo>
                    <a:pt x="1128" y="1052"/>
                  </a:lnTo>
                  <a:lnTo>
                    <a:pt x="1112" y="1028"/>
                  </a:lnTo>
                  <a:lnTo>
                    <a:pt x="1112" y="1028"/>
                  </a:lnTo>
                  <a:lnTo>
                    <a:pt x="1092" y="1022"/>
                  </a:lnTo>
                  <a:lnTo>
                    <a:pt x="1074" y="1014"/>
                  </a:lnTo>
                  <a:lnTo>
                    <a:pt x="1060" y="1006"/>
                  </a:lnTo>
                  <a:lnTo>
                    <a:pt x="1050" y="1000"/>
                  </a:lnTo>
                  <a:lnTo>
                    <a:pt x="1050" y="1000"/>
                  </a:lnTo>
                  <a:lnTo>
                    <a:pt x="1038" y="994"/>
                  </a:lnTo>
                  <a:lnTo>
                    <a:pt x="1038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992" y="1002"/>
                  </a:lnTo>
                  <a:lnTo>
                    <a:pt x="982" y="1012"/>
                  </a:lnTo>
                  <a:lnTo>
                    <a:pt x="970" y="1022"/>
                  </a:lnTo>
                  <a:lnTo>
                    <a:pt x="956" y="1028"/>
                  </a:lnTo>
                  <a:lnTo>
                    <a:pt x="956" y="1028"/>
                  </a:lnTo>
                  <a:lnTo>
                    <a:pt x="944" y="1040"/>
                  </a:lnTo>
                  <a:lnTo>
                    <a:pt x="944" y="1040"/>
                  </a:lnTo>
                  <a:lnTo>
                    <a:pt x="936" y="1056"/>
                  </a:lnTo>
                  <a:lnTo>
                    <a:pt x="936" y="1056"/>
                  </a:lnTo>
                  <a:lnTo>
                    <a:pt x="932" y="1076"/>
                  </a:lnTo>
                  <a:lnTo>
                    <a:pt x="928" y="1096"/>
                  </a:lnTo>
                  <a:lnTo>
                    <a:pt x="928" y="1096"/>
                  </a:lnTo>
                  <a:lnTo>
                    <a:pt x="912" y="1092"/>
                  </a:lnTo>
                  <a:lnTo>
                    <a:pt x="906" y="1090"/>
                  </a:lnTo>
                  <a:lnTo>
                    <a:pt x="902" y="1086"/>
                  </a:lnTo>
                  <a:lnTo>
                    <a:pt x="896" y="1076"/>
                  </a:lnTo>
                  <a:lnTo>
                    <a:pt x="894" y="1066"/>
                  </a:lnTo>
                  <a:lnTo>
                    <a:pt x="894" y="1054"/>
                  </a:lnTo>
                  <a:lnTo>
                    <a:pt x="898" y="1042"/>
                  </a:lnTo>
                  <a:lnTo>
                    <a:pt x="902" y="1030"/>
                  </a:lnTo>
                  <a:lnTo>
                    <a:pt x="908" y="1020"/>
                  </a:lnTo>
                  <a:lnTo>
                    <a:pt x="908" y="1020"/>
                  </a:lnTo>
                  <a:lnTo>
                    <a:pt x="908" y="1004"/>
                  </a:lnTo>
                  <a:lnTo>
                    <a:pt x="908" y="1004"/>
                  </a:lnTo>
                  <a:lnTo>
                    <a:pt x="894" y="996"/>
                  </a:lnTo>
                  <a:lnTo>
                    <a:pt x="886" y="992"/>
                  </a:lnTo>
                  <a:lnTo>
                    <a:pt x="872" y="992"/>
                  </a:lnTo>
                  <a:lnTo>
                    <a:pt x="872" y="992"/>
                  </a:lnTo>
                  <a:lnTo>
                    <a:pt x="822" y="1002"/>
                  </a:lnTo>
                  <a:lnTo>
                    <a:pt x="802" y="1008"/>
                  </a:lnTo>
                  <a:lnTo>
                    <a:pt x="782" y="1018"/>
                  </a:lnTo>
                  <a:lnTo>
                    <a:pt x="782" y="1018"/>
                  </a:lnTo>
                  <a:lnTo>
                    <a:pt x="772" y="1016"/>
                  </a:lnTo>
                  <a:lnTo>
                    <a:pt x="762" y="1014"/>
                  </a:lnTo>
                  <a:lnTo>
                    <a:pt x="754" y="1010"/>
                  </a:lnTo>
                  <a:lnTo>
                    <a:pt x="748" y="1006"/>
                  </a:lnTo>
                  <a:lnTo>
                    <a:pt x="736" y="994"/>
                  </a:lnTo>
                  <a:lnTo>
                    <a:pt x="728" y="982"/>
                  </a:lnTo>
                  <a:lnTo>
                    <a:pt x="728" y="982"/>
                  </a:lnTo>
                  <a:lnTo>
                    <a:pt x="714" y="966"/>
                  </a:lnTo>
                  <a:lnTo>
                    <a:pt x="714" y="966"/>
                  </a:lnTo>
                  <a:lnTo>
                    <a:pt x="634" y="966"/>
                  </a:lnTo>
                  <a:lnTo>
                    <a:pt x="634" y="966"/>
                  </a:lnTo>
                  <a:lnTo>
                    <a:pt x="626" y="960"/>
                  </a:lnTo>
                  <a:lnTo>
                    <a:pt x="620" y="954"/>
                  </a:lnTo>
                  <a:lnTo>
                    <a:pt x="612" y="938"/>
                  </a:lnTo>
                  <a:lnTo>
                    <a:pt x="606" y="922"/>
                  </a:lnTo>
                  <a:lnTo>
                    <a:pt x="600" y="908"/>
                  </a:lnTo>
                  <a:lnTo>
                    <a:pt x="600" y="908"/>
                  </a:lnTo>
                  <a:lnTo>
                    <a:pt x="584" y="904"/>
                  </a:lnTo>
                  <a:lnTo>
                    <a:pt x="580" y="900"/>
                  </a:lnTo>
                  <a:lnTo>
                    <a:pt x="576" y="894"/>
                  </a:lnTo>
                  <a:lnTo>
                    <a:pt x="576" y="894"/>
                  </a:lnTo>
                  <a:lnTo>
                    <a:pt x="554" y="878"/>
                  </a:lnTo>
                  <a:lnTo>
                    <a:pt x="554" y="878"/>
                  </a:lnTo>
                  <a:lnTo>
                    <a:pt x="514" y="864"/>
                  </a:lnTo>
                  <a:lnTo>
                    <a:pt x="514" y="864"/>
                  </a:lnTo>
                  <a:lnTo>
                    <a:pt x="500" y="852"/>
                  </a:lnTo>
                  <a:lnTo>
                    <a:pt x="492" y="842"/>
                  </a:lnTo>
                  <a:lnTo>
                    <a:pt x="486" y="832"/>
                  </a:lnTo>
                  <a:lnTo>
                    <a:pt x="482" y="824"/>
                  </a:lnTo>
                  <a:lnTo>
                    <a:pt x="480" y="816"/>
                  </a:lnTo>
                  <a:lnTo>
                    <a:pt x="480" y="808"/>
                  </a:lnTo>
                  <a:lnTo>
                    <a:pt x="478" y="784"/>
                  </a:lnTo>
                  <a:lnTo>
                    <a:pt x="478" y="784"/>
                  </a:lnTo>
                  <a:lnTo>
                    <a:pt x="468" y="764"/>
                  </a:lnTo>
                  <a:lnTo>
                    <a:pt x="468" y="764"/>
                  </a:lnTo>
                  <a:lnTo>
                    <a:pt x="424" y="766"/>
                  </a:lnTo>
                  <a:lnTo>
                    <a:pt x="424" y="766"/>
                  </a:lnTo>
                  <a:lnTo>
                    <a:pt x="406" y="758"/>
                  </a:lnTo>
                  <a:lnTo>
                    <a:pt x="400" y="754"/>
                  </a:lnTo>
                  <a:lnTo>
                    <a:pt x="396" y="750"/>
                  </a:lnTo>
                  <a:lnTo>
                    <a:pt x="392" y="740"/>
                  </a:lnTo>
                  <a:lnTo>
                    <a:pt x="390" y="726"/>
                  </a:lnTo>
                  <a:lnTo>
                    <a:pt x="390" y="726"/>
                  </a:lnTo>
                  <a:lnTo>
                    <a:pt x="380" y="716"/>
                  </a:lnTo>
                  <a:lnTo>
                    <a:pt x="372" y="710"/>
                  </a:lnTo>
                  <a:lnTo>
                    <a:pt x="358" y="700"/>
                  </a:lnTo>
                  <a:lnTo>
                    <a:pt x="358" y="700"/>
                  </a:lnTo>
                  <a:lnTo>
                    <a:pt x="318" y="666"/>
                  </a:lnTo>
                  <a:lnTo>
                    <a:pt x="318" y="666"/>
                  </a:lnTo>
                  <a:lnTo>
                    <a:pt x="284" y="610"/>
                  </a:lnTo>
                  <a:lnTo>
                    <a:pt x="284" y="610"/>
                  </a:lnTo>
                  <a:lnTo>
                    <a:pt x="260" y="610"/>
                  </a:lnTo>
                  <a:lnTo>
                    <a:pt x="252" y="612"/>
                  </a:lnTo>
                  <a:lnTo>
                    <a:pt x="242" y="616"/>
                  </a:lnTo>
                  <a:lnTo>
                    <a:pt x="242" y="616"/>
                  </a:lnTo>
                  <a:lnTo>
                    <a:pt x="230" y="622"/>
                  </a:lnTo>
                  <a:lnTo>
                    <a:pt x="218" y="630"/>
                  </a:lnTo>
                  <a:lnTo>
                    <a:pt x="218" y="630"/>
                  </a:lnTo>
                  <a:lnTo>
                    <a:pt x="182" y="630"/>
                  </a:lnTo>
                  <a:lnTo>
                    <a:pt x="182" y="630"/>
                  </a:lnTo>
                  <a:lnTo>
                    <a:pt x="170" y="620"/>
                  </a:lnTo>
                  <a:lnTo>
                    <a:pt x="162" y="612"/>
                  </a:lnTo>
                  <a:lnTo>
                    <a:pt x="156" y="602"/>
                  </a:lnTo>
                  <a:lnTo>
                    <a:pt x="150" y="592"/>
                  </a:lnTo>
                  <a:lnTo>
                    <a:pt x="144" y="572"/>
                  </a:lnTo>
                  <a:lnTo>
                    <a:pt x="142" y="552"/>
                  </a:lnTo>
                  <a:lnTo>
                    <a:pt x="142" y="552"/>
                  </a:lnTo>
                  <a:lnTo>
                    <a:pt x="112" y="506"/>
                  </a:lnTo>
                  <a:lnTo>
                    <a:pt x="112" y="506"/>
                  </a:lnTo>
                  <a:lnTo>
                    <a:pt x="100" y="494"/>
                  </a:lnTo>
                  <a:lnTo>
                    <a:pt x="88" y="486"/>
                  </a:lnTo>
                  <a:lnTo>
                    <a:pt x="74" y="478"/>
                  </a:lnTo>
                  <a:lnTo>
                    <a:pt x="62" y="472"/>
                  </a:lnTo>
                  <a:lnTo>
                    <a:pt x="36" y="462"/>
                  </a:lnTo>
                  <a:lnTo>
                    <a:pt x="12" y="454"/>
                  </a:lnTo>
                  <a:lnTo>
                    <a:pt x="12" y="454"/>
                  </a:lnTo>
                  <a:lnTo>
                    <a:pt x="4" y="448"/>
                  </a:lnTo>
                  <a:lnTo>
                    <a:pt x="0" y="442"/>
                  </a:lnTo>
                  <a:lnTo>
                    <a:pt x="0" y="436"/>
                  </a:lnTo>
                  <a:lnTo>
                    <a:pt x="0" y="430"/>
                  </a:lnTo>
                  <a:lnTo>
                    <a:pt x="2" y="420"/>
                  </a:lnTo>
                  <a:lnTo>
                    <a:pt x="8" y="412"/>
                  </a:lnTo>
                  <a:lnTo>
                    <a:pt x="8" y="412"/>
                  </a:lnTo>
                  <a:lnTo>
                    <a:pt x="14" y="406"/>
                  </a:lnTo>
                  <a:lnTo>
                    <a:pt x="18" y="400"/>
                  </a:lnTo>
                  <a:lnTo>
                    <a:pt x="22" y="388"/>
                  </a:lnTo>
                  <a:lnTo>
                    <a:pt x="22" y="388"/>
                  </a:lnTo>
                  <a:lnTo>
                    <a:pt x="26" y="316"/>
                  </a:lnTo>
                  <a:lnTo>
                    <a:pt x="26" y="316"/>
                  </a:lnTo>
                  <a:lnTo>
                    <a:pt x="18" y="296"/>
                  </a:lnTo>
                  <a:lnTo>
                    <a:pt x="16" y="290"/>
                  </a:lnTo>
                  <a:lnTo>
                    <a:pt x="14" y="286"/>
                  </a:lnTo>
                  <a:lnTo>
                    <a:pt x="16" y="284"/>
                  </a:lnTo>
                  <a:lnTo>
                    <a:pt x="20" y="282"/>
                  </a:lnTo>
                  <a:lnTo>
                    <a:pt x="36" y="280"/>
                  </a:lnTo>
                  <a:lnTo>
                    <a:pt x="36" y="280"/>
                  </a:lnTo>
                  <a:lnTo>
                    <a:pt x="48" y="288"/>
                  </a:lnTo>
                  <a:lnTo>
                    <a:pt x="48" y="288"/>
                  </a:lnTo>
                  <a:lnTo>
                    <a:pt x="54" y="300"/>
                  </a:lnTo>
                  <a:lnTo>
                    <a:pt x="58" y="308"/>
                  </a:lnTo>
                  <a:lnTo>
                    <a:pt x="64" y="314"/>
                  </a:lnTo>
                  <a:lnTo>
                    <a:pt x="70" y="318"/>
                  </a:lnTo>
                  <a:lnTo>
                    <a:pt x="78" y="320"/>
                  </a:lnTo>
                  <a:lnTo>
                    <a:pt x="86" y="316"/>
                  </a:lnTo>
                  <a:lnTo>
                    <a:pt x="94" y="308"/>
                  </a:lnTo>
                  <a:lnTo>
                    <a:pt x="94" y="308"/>
                  </a:lnTo>
                  <a:lnTo>
                    <a:pt x="104" y="280"/>
                  </a:lnTo>
                  <a:lnTo>
                    <a:pt x="104" y="280"/>
                  </a:lnTo>
                  <a:lnTo>
                    <a:pt x="98" y="216"/>
                  </a:lnTo>
                  <a:lnTo>
                    <a:pt x="98" y="216"/>
                  </a:lnTo>
                  <a:lnTo>
                    <a:pt x="80" y="166"/>
                  </a:lnTo>
                  <a:lnTo>
                    <a:pt x="80" y="166"/>
                  </a:lnTo>
                  <a:lnTo>
                    <a:pt x="76" y="144"/>
                  </a:lnTo>
                  <a:lnTo>
                    <a:pt x="76" y="134"/>
                  </a:lnTo>
                  <a:lnTo>
                    <a:pt x="78" y="126"/>
                  </a:lnTo>
                  <a:lnTo>
                    <a:pt x="80" y="118"/>
                  </a:lnTo>
                  <a:lnTo>
                    <a:pt x="84" y="112"/>
                  </a:lnTo>
                  <a:lnTo>
                    <a:pt x="90" y="104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46" y="98"/>
                  </a:lnTo>
                  <a:lnTo>
                    <a:pt x="146" y="98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90" y="92"/>
                  </a:lnTo>
                  <a:lnTo>
                    <a:pt x="198" y="86"/>
                  </a:lnTo>
                  <a:lnTo>
                    <a:pt x="206" y="80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26" y="48"/>
                  </a:lnTo>
                  <a:lnTo>
                    <a:pt x="238" y="30"/>
                  </a:lnTo>
                  <a:lnTo>
                    <a:pt x="244" y="22"/>
                  </a:lnTo>
                  <a:lnTo>
                    <a:pt x="254" y="14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86" y="0"/>
                  </a:lnTo>
                  <a:lnTo>
                    <a:pt x="304" y="6"/>
                  </a:lnTo>
                  <a:lnTo>
                    <a:pt x="304" y="6"/>
                  </a:lnTo>
                  <a:lnTo>
                    <a:pt x="350" y="34"/>
                  </a:lnTo>
                  <a:lnTo>
                    <a:pt x="350" y="34"/>
                  </a:lnTo>
                  <a:lnTo>
                    <a:pt x="352" y="42"/>
                  </a:lnTo>
                  <a:lnTo>
                    <a:pt x="356" y="48"/>
                  </a:lnTo>
                  <a:lnTo>
                    <a:pt x="362" y="50"/>
                  </a:lnTo>
                  <a:lnTo>
                    <a:pt x="368" y="50"/>
                  </a:lnTo>
                  <a:lnTo>
                    <a:pt x="386" y="48"/>
                  </a:lnTo>
                  <a:lnTo>
                    <a:pt x="402" y="42"/>
                  </a:lnTo>
                  <a:lnTo>
                    <a:pt x="402" y="42"/>
                  </a:lnTo>
                  <a:lnTo>
                    <a:pt x="438" y="36"/>
                  </a:lnTo>
                  <a:lnTo>
                    <a:pt x="438" y="36"/>
                  </a:lnTo>
                  <a:lnTo>
                    <a:pt x="454" y="20"/>
                  </a:lnTo>
                  <a:lnTo>
                    <a:pt x="458" y="14"/>
                  </a:lnTo>
                  <a:lnTo>
                    <a:pt x="464" y="10"/>
                  </a:lnTo>
                  <a:lnTo>
                    <a:pt x="470" y="10"/>
                  </a:lnTo>
                  <a:lnTo>
                    <a:pt x="476" y="10"/>
                  </a:lnTo>
                  <a:lnTo>
                    <a:pt x="486" y="14"/>
                  </a:lnTo>
                  <a:lnTo>
                    <a:pt x="496" y="22"/>
                  </a:lnTo>
                  <a:lnTo>
                    <a:pt x="496" y="22"/>
                  </a:lnTo>
                  <a:lnTo>
                    <a:pt x="498" y="38"/>
                  </a:lnTo>
                  <a:lnTo>
                    <a:pt x="498" y="44"/>
                  </a:lnTo>
                  <a:lnTo>
                    <a:pt x="500" y="48"/>
                  </a:lnTo>
                  <a:lnTo>
                    <a:pt x="510" y="56"/>
                  </a:lnTo>
                  <a:lnTo>
                    <a:pt x="528" y="68"/>
                  </a:lnTo>
                  <a:lnTo>
                    <a:pt x="528" y="68"/>
                  </a:lnTo>
                  <a:lnTo>
                    <a:pt x="564" y="82"/>
                  </a:lnTo>
                  <a:lnTo>
                    <a:pt x="564" y="82"/>
                  </a:lnTo>
                  <a:lnTo>
                    <a:pt x="594" y="82"/>
                  </a:lnTo>
                  <a:lnTo>
                    <a:pt x="594" y="82"/>
                  </a:lnTo>
                  <a:lnTo>
                    <a:pt x="608" y="76"/>
                  </a:lnTo>
                  <a:lnTo>
                    <a:pt x="622" y="72"/>
                  </a:lnTo>
                  <a:lnTo>
                    <a:pt x="638" y="68"/>
                  </a:lnTo>
                  <a:lnTo>
                    <a:pt x="658" y="66"/>
                  </a:lnTo>
                  <a:lnTo>
                    <a:pt x="658" y="66"/>
                  </a:lnTo>
                  <a:lnTo>
                    <a:pt x="678" y="56"/>
                  </a:lnTo>
                  <a:lnTo>
                    <a:pt x="686" y="54"/>
                  </a:lnTo>
                  <a:lnTo>
                    <a:pt x="694" y="54"/>
                  </a:lnTo>
                  <a:lnTo>
                    <a:pt x="700" y="54"/>
                  </a:lnTo>
                  <a:lnTo>
                    <a:pt x="710" y="56"/>
                  </a:lnTo>
                  <a:lnTo>
                    <a:pt x="734" y="68"/>
                  </a:lnTo>
                  <a:lnTo>
                    <a:pt x="734" y="68"/>
                  </a:lnTo>
                  <a:lnTo>
                    <a:pt x="776" y="68"/>
                  </a:lnTo>
                  <a:lnTo>
                    <a:pt x="776" y="68"/>
                  </a:lnTo>
                  <a:lnTo>
                    <a:pt x="784" y="60"/>
                  </a:lnTo>
                  <a:lnTo>
                    <a:pt x="788" y="54"/>
                  </a:lnTo>
                  <a:lnTo>
                    <a:pt x="794" y="48"/>
                  </a:lnTo>
                  <a:lnTo>
                    <a:pt x="804" y="44"/>
                  </a:lnTo>
                  <a:lnTo>
                    <a:pt x="804" y="44"/>
                  </a:lnTo>
                  <a:lnTo>
                    <a:pt x="824" y="28"/>
                  </a:lnTo>
                  <a:lnTo>
                    <a:pt x="834" y="22"/>
                  </a:lnTo>
                  <a:lnTo>
                    <a:pt x="844" y="18"/>
                  </a:lnTo>
                  <a:lnTo>
                    <a:pt x="854" y="18"/>
                  </a:lnTo>
                  <a:lnTo>
                    <a:pt x="866" y="18"/>
                  </a:lnTo>
                  <a:lnTo>
                    <a:pt x="882" y="24"/>
                  </a:lnTo>
                  <a:lnTo>
                    <a:pt x="898" y="30"/>
                  </a:lnTo>
                  <a:lnTo>
                    <a:pt x="898" y="30"/>
                  </a:lnTo>
                  <a:lnTo>
                    <a:pt x="926" y="30"/>
                  </a:lnTo>
                  <a:lnTo>
                    <a:pt x="956" y="26"/>
                  </a:lnTo>
                  <a:lnTo>
                    <a:pt x="986" y="24"/>
                  </a:lnTo>
                  <a:lnTo>
                    <a:pt x="1018" y="24"/>
                  </a:lnTo>
                  <a:lnTo>
                    <a:pt x="1018" y="24"/>
                  </a:lnTo>
                  <a:lnTo>
                    <a:pt x="1046" y="38"/>
                  </a:lnTo>
                  <a:lnTo>
                    <a:pt x="1046" y="38"/>
                  </a:lnTo>
                  <a:lnTo>
                    <a:pt x="1060" y="52"/>
                  </a:lnTo>
                  <a:lnTo>
                    <a:pt x="1072" y="60"/>
                  </a:lnTo>
                  <a:lnTo>
                    <a:pt x="1086" y="66"/>
                  </a:lnTo>
                  <a:lnTo>
                    <a:pt x="1086" y="66"/>
                  </a:lnTo>
                  <a:lnTo>
                    <a:pt x="1088" y="90"/>
                  </a:lnTo>
                  <a:lnTo>
                    <a:pt x="1088" y="90"/>
                  </a:lnTo>
                  <a:lnTo>
                    <a:pt x="1096" y="100"/>
                  </a:lnTo>
                  <a:lnTo>
                    <a:pt x="1106" y="114"/>
                  </a:lnTo>
                  <a:lnTo>
                    <a:pt x="1110" y="122"/>
                  </a:lnTo>
                  <a:lnTo>
                    <a:pt x="1112" y="130"/>
                  </a:lnTo>
                  <a:lnTo>
                    <a:pt x="1112" y="140"/>
                  </a:lnTo>
                  <a:lnTo>
                    <a:pt x="1110" y="152"/>
                  </a:lnTo>
                  <a:lnTo>
                    <a:pt x="1110" y="152"/>
                  </a:lnTo>
                  <a:lnTo>
                    <a:pt x="1092" y="182"/>
                  </a:lnTo>
                  <a:lnTo>
                    <a:pt x="1092" y="182"/>
                  </a:lnTo>
                  <a:lnTo>
                    <a:pt x="1092" y="220"/>
                  </a:lnTo>
                  <a:lnTo>
                    <a:pt x="1092" y="220"/>
                  </a:lnTo>
                  <a:lnTo>
                    <a:pt x="1094" y="246"/>
                  </a:lnTo>
                  <a:lnTo>
                    <a:pt x="1096" y="270"/>
                  </a:lnTo>
                  <a:lnTo>
                    <a:pt x="1096" y="294"/>
                  </a:lnTo>
                  <a:lnTo>
                    <a:pt x="1100" y="320"/>
                  </a:lnTo>
                  <a:lnTo>
                    <a:pt x="1104" y="344"/>
                  </a:lnTo>
                  <a:lnTo>
                    <a:pt x="1112" y="368"/>
                  </a:lnTo>
                  <a:lnTo>
                    <a:pt x="1118" y="378"/>
                  </a:lnTo>
                  <a:lnTo>
                    <a:pt x="1126" y="390"/>
                  </a:lnTo>
                  <a:lnTo>
                    <a:pt x="1134" y="402"/>
                  </a:lnTo>
                  <a:lnTo>
                    <a:pt x="1144" y="412"/>
                  </a:lnTo>
                  <a:lnTo>
                    <a:pt x="1144" y="412"/>
                  </a:lnTo>
                  <a:lnTo>
                    <a:pt x="1166" y="426"/>
                  </a:lnTo>
                  <a:lnTo>
                    <a:pt x="1178" y="432"/>
                  </a:lnTo>
                  <a:lnTo>
                    <a:pt x="1192" y="440"/>
                  </a:lnTo>
                  <a:lnTo>
                    <a:pt x="1192" y="440"/>
                  </a:lnTo>
                  <a:lnTo>
                    <a:pt x="1236" y="446"/>
                  </a:lnTo>
                  <a:lnTo>
                    <a:pt x="1236" y="446"/>
                  </a:lnTo>
                  <a:lnTo>
                    <a:pt x="1244" y="460"/>
                  </a:lnTo>
                  <a:lnTo>
                    <a:pt x="1254" y="472"/>
                  </a:lnTo>
                  <a:lnTo>
                    <a:pt x="1266" y="482"/>
                  </a:lnTo>
                  <a:lnTo>
                    <a:pt x="1278" y="490"/>
                  </a:lnTo>
                  <a:lnTo>
                    <a:pt x="1292" y="496"/>
                  </a:lnTo>
                  <a:lnTo>
                    <a:pt x="1308" y="502"/>
                  </a:lnTo>
                  <a:lnTo>
                    <a:pt x="1324" y="506"/>
                  </a:lnTo>
                  <a:lnTo>
                    <a:pt x="1344" y="510"/>
                  </a:lnTo>
                  <a:lnTo>
                    <a:pt x="1344" y="510"/>
                  </a:lnTo>
                  <a:lnTo>
                    <a:pt x="1360" y="522"/>
                  </a:lnTo>
                  <a:lnTo>
                    <a:pt x="1376" y="534"/>
                  </a:lnTo>
                  <a:lnTo>
                    <a:pt x="1384" y="538"/>
                  </a:lnTo>
                  <a:lnTo>
                    <a:pt x="1394" y="542"/>
                  </a:lnTo>
                  <a:lnTo>
                    <a:pt x="1406" y="546"/>
                  </a:lnTo>
                  <a:lnTo>
                    <a:pt x="1420" y="548"/>
                  </a:lnTo>
                  <a:lnTo>
                    <a:pt x="1420" y="548"/>
                  </a:lnTo>
                  <a:lnTo>
                    <a:pt x="1528" y="546"/>
                  </a:lnTo>
                  <a:lnTo>
                    <a:pt x="1528" y="546"/>
                  </a:lnTo>
                  <a:lnTo>
                    <a:pt x="1552" y="554"/>
                  </a:lnTo>
                  <a:lnTo>
                    <a:pt x="1552" y="554"/>
                  </a:lnTo>
                  <a:lnTo>
                    <a:pt x="1586" y="576"/>
                  </a:lnTo>
                  <a:lnTo>
                    <a:pt x="1586" y="576"/>
                  </a:lnTo>
                  <a:lnTo>
                    <a:pt x="1606" y="622"/>
                  </a:lnTo>
                  <a:lnTo>
                    <a:pt x="1606" y="622"/>
                  </a:lnTo>
                  <a:lnTo>
                    <a:pt x="1610" y="640"/>
                  </a:lnTo>
                  <a:lnTo>
                    <a:pt x="1616" y="652"/>
                  </a:lnTo>
                  <a:lnTo>
                    <a:pt x="1626" y="664"/>
                  </a:lnTo>
                  <a:lnTo>
                    <a:pt x="1644" y="682"/>
                  </a:lnTo>
                  <a:lnTo>
                    <a:pt x="1644" y="682"/>
                  </a:lnTo>
                  <a:lnTo>
                    <a:pt x="1666" y="682"/>
                  </a:lnTo>
                  <a:lnTo>
                    <a:pt x="1666" y="682"/>
                  </a:lnTo>
                  <a:lnTo>
                    <a:pt x="1678" y="664"/>
                  </a:lnTo>
                  <a:lnTo>
                    <a:pt x="1678" y="664"/>
                  </a:lnTo>
                  <a:lnTo>
                    <a:pt x="1696" y="662"/>
                  </a:lnTo>
                  <a:lnTo>
                    <a:pt x="1696" y="662"/>
                  </a:lnTo>
                  <a:lnTo>
                    <a:pt x="1698" y="666"/>
                  </a:lnTo>
                  <a:lnTo>
                    <a:pt x="1698" y="670"/>
                  </a:lnTo>
                  <a:lnTo>
                    <a:pt x="1706" y="676"/>
                  </a:lnTo>
                  <a:lnTo>
                    <a:pt x="1716" y="680"/>
                  </a:lnTo>
                  <a:lnTo>
                    <a:pt x="1728" y="682"/>
                  </a:lnTo>
                  <a:lnTo>
                    <a:pt x="1728" y="682"/>
                  </a:lnTo>
                  <a:lnTo>
                    <a:pt x="1764" y="660"/>
                  </a:lnTo>
                  <a:lnTo>
                    <a:pt x="1764" y="660"/>
                  </a:lnTo>
                  <a:lnTo>
                    <a:pt x="1774" y="646"/>
                  </a:lnTo>
                  <a:lnTo>
                    <a:pt x="1784" y="632"/>
                  </a:lnTo>
                  <a:lnTo>
                    <a:pt x="1794" y="616"/>
                  </a:lnTo>
                  <a:lnTo>
                    <a:pt x="1804" y="604"/>
                  </a:lnTo>
                  <a:lnTo>
                    <a:pt x="1804" y="604"/>
                  </a:lnTo>
                  <a:lnTo>
                    <a:pt x="1808" y="602"/>
                  </a:lnTo>
                  <a:lnTo>
                    <a:pt x="1808" y="602"/>
                  </a:lnTo>
                  <a:lnTo>
                    <a:pt x="1814" y="610"/>
                  </a:lnTo>
                  <a:lnTo>
                    <a:pt x="1824" y="616"/>
                  </a:lnTo>
                  <a:lnTo>
                    <a:pt x="1848" y="632"/>
                  </a:lnTo>
                  <a:lnTo>
                    <a:pt x="1848" y="632"/>
                  </a:lnTo>
                  <a:lnTo>
                    <a:pt x="1850" y="642"/>
                  </a:lnTo>
                  <a:lnTo>
                    <a:pt x="1856" y="654"/>
                  </a:lnTo>
                  <a:lnTo>
                    <a:pt x="1868" y="676"/>
                  </a:lnTo>
                  <a:lnTo>
                    <a:pt x="1886" y="698"/>
                  </a:lnTo>
                  <a:lnTo>
                    <a:pt x="1906" y="722"/>
                  </a:lnTo>
                  <a:lnTo>
                    <a:pt x="1906" y="722"/>
                  </a:lnTo>
                  <a:lnTo>
                    <a:pt x="1926" y="788"/>
                  </a:lnTo>
                  <a:lnTo>
                    <a:pt x="1926" y="788"/>
                  </a:lnTo>
                  <a:lnTo>
                    <a:pt x="1934" y="800"/>
                  </a:lnTo>
                  <a:lnTo>
                    <a:pt x="1942" y="814"/>
                  </a:lnTo>
                  <a:lnTo>
                    <a:pt x="1948" y="830"/>
                  </a:lnTo>
                  <a:lnTo>
                    <a:pt x="1950" y="840"/>
                  </a:lnTo>
                  <a:lnTo>
                    <a:pt x="1950" y="850"/>
                  </a:lnTo>
                  <a:lnTo>
                    <a:pt x="1950" y="850"/>
                  </a:lnTo>
                  <a:lnTo>
                    <a:pt x="1938" y="866"/>
                  </a:lnTo>
                  <a:lnTo>
                    <a:pt x="1930" y="878"/>
                  </a:lnTo>
                  <a:lnTo>
                    <a:pt x="1928" y="892"/>
                  </a:lnTo>
                  <a:lnTo>
                    <a:pt x="1928" y="918"/>
                  </a:lnTo>
                  <a:lnTo>
                    <a:pt x="1928" y="918"/>
                  </a:lnTo>
                  <a:lnTo>
                    <a:pt x="1932" y="932"/>
                  </a:lnTo>
                  <a:lnTo>
                    <a:pt x="1938" y="948"/>
                  </a:lnTo>
                  <a:lnTo>
                    <a:pt x="1940" y="958"/>
                  </a:lnTo>
                  <a:lnTo>
                    <a:pt x="1942" y="966"/>
                  </a:lnTo>
                  <a:lnTo>
                    <a:pt x="1940" y="976"/>
                  </a:lnTo>
                  <a:lnTo>
                    <a:pt x="1938" y="986"/>
                  </a:lnTo>
                  <a:lnTo>
                    <a:pt x="1938" y="986"/>
                  </a:lnTo>
                  <a:lnTo>
                    <a:pt x="1938" y="1008"/>
                  </a:lnTo>
                  <a:lnTo>
                    <a:pt x="1938" y="1008"/>
                  </a:lnTo>
                  <a:lnTo>
                    <a:pt x="1932" y="1008"/>
                  </a:lnTo>
                  <a:lnTo>
                    <a:pt x="1932" y="1008"/>
                  </a:lnTo>
                  <a:lnTo>
                    <a:pt x="1932" y="1004"/>
                  </a:lnTo>
                  <a:lnTo>
                    <a:pt x="1930" y="1002"/>
                  </a:lnTo>
                  <a:lnTo>
                    <a:pt x="1924" y="996"/>
                  </a:lnTo>
                  <a:lnTo>
                    <a:pt x="1918" y="992"/>
                  </a:lnTo>
                  <a:lnTo>
                    <a:pt x="1912" y="988"/>
                  </a:lnTo>
                  <a:lnTo>
                    <a:pt x="1912" y="988"/>
                  </a:lnTo>
                  <a:lnTo>
                    <a:pt x="1896" y="990"/>
                  </a:lnTo>
                  <a:lnTo>
                    <a:pt x="1886" y="994"/>
                  </a:lnTo>
                  <a:lnTo>
                    <a:pt x="1880" y="998"/>
                  </a:lnTo>
                  <a:lnTo>
                    <a:pt x="1872" y="1006"/>
                  </a:lnTo>
                  <a:lnTo>
                    <a:pt x="1872" y="1006"/>
                  </a:lnTo>
                  <a:lnTo>
                    <a:pt x="1872" y="1018"/>
                  </a:lnTo>
                  <a:lnTo>
                    <a:pt x="1876" y="1032"/>
                  </a:lnTo>
                  <a:lnTo>
                    <a:pt x="1882" y="1066"/>
                  </a:lnTo>
                  <a:lnTo>
                    <a:pt x="1882" y="1066"/>
                  </a:lnTo>
                  <a:lnTo>
                    <a:pt x="1880" y="1092"/>
                  </a:lnTo>
                  <a:lnTo>
                    <a:pt x="1880" y="1092"/>
                  </a:lnTo>
                  <a:lnTo>
                    <a:pt x="1866" y="1096"/>
                  </a:lnTo>
                  <a:lnTo>
                    <a:pt x="1866" y="1096"/>
                  </a:lnTo>
                  <a:lnTo>
                    <a:pt x="1842" y="1096"/>
                  </a:lnTo>
                  <a:lnTo>
                    <a:pt x="1842" y="1096"/>
                  </a:lnTo>
                  <a:lnTo>
                    <a:pt x="1810" y="1054"/>
                  </a:lnTo>
                  <a:lnTo>
                    <a:pt x="1810" y="1054"/>
                  </a:lnTo>
                  <a:lnTo>
                    <a:pt x="1796" y="1050"/>
                  </a:lnTo>
                  <a:lnTo>
                    <a:pt x="1782" y="1048"/>
                  </a:lnTo>
                  <a:lnTo>
                    <a:pt x="1772" y="1052"/>
                  </a:lnTo>
                  <a:lnTo>
                    <a:pt x="1762" y="1058"/>
                  </a:lnTo>
                  <a:lnTo>
                    <a:pt x="1756" y="1068"/>
                  </a:lnTo>
                  <a:lnTo>
                    <a:pt x="1752" y="1078"/>
                  </a:lnTo>
                  <a:lnTo>
                    <a:pt x="1752" y="1092"/>
                  </a:lnTo>
                  <a:lnTo>
                    <a:pt x="1754" y="1108"/>
                  </a:lnTo>
                  <a:lnTo>
                    <a:pt x="1754" y="1108"/>
                  </a:lnTo>
                  <a:lnTo>
                    <a:pt x="1748" y="1116"/>
                  </a:lnTo>
                  <a:lnTo>
                    <a:pt x="1744" y="1124"/>
                  </a:lnTo>
                  <a:lnTo>
                    <a:pt x="1744" y="1124"/>
                  </a:lnTo>
                  <a:lnTo>
                    <a:pt x="1730" y="1122"/>
                  </a:lnTo>
                  <a:lnTo>
                    <a:pt x="1718" y="1118"/>
                  </a:lnTo>
                  <a:lnTo>
                    <a:pt x="1706" y="1112"/>
                  </a:lnTo>
                  <a:lnTo>
                    <a:pt x="1700" y="1108"/>
                  </a:lnTo>
                  <a:lnTo>
                    <a:pt x="1700" y="1108"/>
                  </a:lnTo>
                  <a:lnTo>
                    <a:pt x="1696" y="1086"/>
                  </a:lnTo>
                  <a:lnTo>
                    <a:pt x="1696" y="1086"/>
                  </a:lnTo>
                  <a:lnTo>
                    <a:pt x="1678" y="1076"/>
                  </a:lnTo>
                  <a:lnTo>
                    <a:pt x="1660" y="1070"/>
                  </a:lnTo>
                  <a:lnTo>
                    <a:pt x="1632" y="1060"/>
                  </a:lnTo>
                  <a:lnTo>
                    <a:pt x="1632" y="1060"/>
                  </a:lnTo>
                  <a:lnTo>
                    <a:pt x="1620" y="1046"/>
                  </a:lnTo>
                  <a:lnTo>
                    <a:pt x="1620" y="1046"/>
                  </a:lnTo>
                  <a:lnTo>
                    <a:pt x="1600" y="1046"/>
                  </a:lnTo>
                  <a:lnTo>
                    <a:pt x="1594" y="1048"/>
                  </a:lnTo>
                  <a:lnTo>
                    <a:pt x="1588" y="1050"/>
                  </a:lnTo>
                  <a:lnTo>
                    <a:pt x="1580" y="1058"/>
                  </a:lnTo>
                  <a:lnTo>
                    <a:pt x="1566" y="1070"/>
                  </a:lnTo>
                  <a:lnTo>
                    <a:pt x="1566" y="1070"/>
                  </a:lnTo>
                  <a:lnTo>
                    <a:pt x="1522" y="1094"/>
                  </a:lnTo>
                  <a:lnTo>
                    <a:pt x="1522" y="1094"/>
                  </a:lnTo>
                  <a:lnTo>
                    <a:pt x="1504" y="1100"/>
                  </a:lnTo>
                  <a:lnTo>
                    <a:pt x="1498" y="1102"/>
                  </a:lnTo>
                  <a:lnTo>
                    <a:pt x="1492" y="1106"/>
                  </a:lnTo>
                  <a:lnTo>
                    <a:pt x="1486" y="1116"/>
                  </a:lnTo>
                  <a:lnTo>
                    <a:pt x="1474" y="1132"/>
                  </a:lnTo>
                  <a:lnTo>
                    <a:pt x="1474" y="1132"/>
                  </a:lnTo>
                  <a:lnTo>
                    <a:pt x="1450" y="1134"/>
                  </a:lnTo>
                  <a:lnTo>
                    <a:pt x="1442" y="1138"/>
                  </a:lnTo>
                  <a:lnTo>
                    <a:pt x="1436" y="1140"/>
                  </a:lnTo>
                  <a:lnTo>
                    <a:pt x="1430" y="1144"/>
                  </a:lnTo>
                  <a:lnTo>
                    <a:pt x="1424" y="1150"/>
                  </a:lnTo>
                  <a:lnTo>
                    <a:pt x="1410" y="1170"/>
                  </a:lnTo>
                  <a:lnTo>
                    <a:pt x="1410" y="1170"/>
                  </a:lnTo>
                  <a:lnTo>
                    <a:pt x="1400" y="1178"/>
                  </a:lnTo>
                  <a:lnTo>
                    <a:pt x="1400" y="1178"/>
                  </a:lnTo>
                  <a:lnTo>
                    <a:pt x="1382" y="1182"/>
                  </a:lnTo>
                  <a:lnTo>
                    <a:pt x="1368" y="1186"/>
                  </a:lnTo>
                  <a:lnTo>
                    <a:pt x="1342" y="1194"/>
                  </a:lnTo>
                  <a:lnTo>
                    <a:pt x="1342" y="1194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64" name="未知"/>
            <p:cNvSpPr>
              <a:spLocks/>
            </p:cNvSpPr>
            <p:nvPr/>
          </p:nvSpPr>
          <p:spPr bwMode="auto">
            <a:xfrm>
              <a:off x="3554160" y="2467566"/>
              <a:ext cx="268296" cy="247727"/>
            </a:xfrm>
            <a:custGeom>
              <a:avLst/>
              <a:gdLst>
                <a:gd name="T0" fmla="*/ 138 w 364"/>
                <a:gd name="T1" fmla="*/ 356 h 360"/>
                <a:gd name="T2" fmla="*/ 108 w 364"/>
                <a:gd name="T3" fmla="*/ 340 h 360"/>
                <a:gd name="T4" fmla="*/ 86 w 364"/>
                <a:gd name="T5" fmla="*/ 274 h 360"/>
                <a:gd name="T6" fmla="*/ 48 w 364"/>
                <a:gd name="T7" fmla="*/ 256 h 360"/>
                <a:gd name="T8" fmla="*/ 46 w 364"/>
                <a:gd name="T9" fmla="*/ 226 h 360"/>
                <a:gd name="T10" fmla="*/ 24 w 364"/>
                <a:gd name="T11" fmla="*/ 188 h 360"/>
                <a:gd name="T12" fmla="*/ 0 w 364"/>
                <a:gd name="T13" fmla="*/ 162 h 360"/>
                <a:gd name="T14" fmla="*/ 10 w 364"/>
                <a:gd name="T15" fmla="*/ 140 h 360"/>
                <a:gd name="T16" fmla="*/ 26 w 364"/>
                <a:gd name="T17" fmla="*/ 122 h 360"/>
                <a:gd name="T18" fmla="*/ 32 w 364"/>
                <a:gd name="T19" fmla="*/ 104 h 360"/>
                <a:gd name="T20" fmla="*/ 58 w 364"/>
                <a:gd name="T21" fmla="*/ 88 h 360"/>
                <a:gd name="T22" fmla="*/ 70 w 364"/>
                <a:gd name="T23" fmla="*/ 68 h 360"/>
                <a:gd name="T24" fmla="*/ 72 w 364"/>
                <a:gd name="T25" fmla="*/ 16 h 360"/>
                <a:gd name="T26" fmla="*/ 90 w 364"/>
                <a:gd name="T27" fmla="*/ 8 h 360"/>
                <a:gd name="T28" fmla="*/ 106 w 364"/>
                <a:gd name="T29" fmla="*/ 6 h 360"/>
                <a:gd name="T30" fmla="*/ 140 w 364"/>
                <a:gd name="T31" fmla="*/ 10 h 360"/>
                <a:gd name="T32" fmla="*/ 152 w 364"/>
                <a:gd name="T33" fmla="*/ 2 h 360"/>
                <a:gd name="T34" fmla="*/ 186 w 364"/>
                <a:gd name="T35" fmla="*/ 4 h 360"/>
                <a:gd name="T36" fmla="*/ 212 w 364"/>
                <a:gd name="T37" fmla="*/ 16 h 360"/>
                <a:gd name="T38" fmla="*/ 238 w 364"/>
                <a:gd name="T39" fmla="*/ 26 h 360"/>
                <a:gd name="T40" fmla="*/ 254 w 364"/>
                <a:gd name="T41" fmla="*/ 22 h 360"/>
                <a:gd name="T42" fmla="*/ 280 w 364"/>
                <a:gd name="T43" fmla="*/ 2 h 360"/>
                <a:gd name="T44" fmla="*/ 300 w 364"/>
                <a:gd name="T45" fmla="*/ 8 h 360"/>
                <a:gd name="T46" fmla="*/ 324 w 364"/>
                <a:gd name="T47" fmla="*/ 18 h 360"/>
                <a:gd name="T48" fmla="*/ 360 w 364"/>
                <a:gd name="T49" fmla="*/ 28 h 360"/>
                <a:gd name="T50" fmla="*/ 324 w 364"/>
                <a:gd name="T51" fmla="*/ 58 h 360"/>
                <a:gd name="T52" fmla="*/ 316 w 364"/>
                <a:gd name="T53" fmla="*/ 76 h 360"/>
                <a:gd name="T54" fmla="*/ 320 w 364"/>
                <a:gd name="T55" fmla="*/ 84 h 360"/>
                <a:gd name="T56" fmla="*/ 362 w 364"/>
                <a:gd name="T57" fmla="*/ 72 h 360"/>
                <a:gd name="T58" fmla="*/ 364 w 364"/>
                <a:gd name="T59" fmla="*/ 90 h 360"/>
                <a:gd name="T60" fmla="*/ 346 w 364"/>
                <a:gd name="T61" fmla="*/ 100 h 360"/>
                <a:gd name="T62" fmla="*/ 322 w 364"/>
                <a:gd name="T63" fmla="*/ 112 h 360"/>
                <a:gd name="T64" fmla="*/ 344 w 364"/>
                <a:gd name="T65" fmla="*/ 142 h 360"/>
                <a:gd name="T66" fmla="*/ 340 w 364"/>
                <a:gd name="T67" fmla="*/ 196 h 360"/>
                <a:gd name="T68" fmla="*/ 344 w 364"/>
                <a:gd name="T69" fmla="*/ 214 h 360"/>
                <a:gd name="T70" fmla="*/ 338 w 364"/>
                <a:gd name="T71" fmla="*/ 238 h 360"/>
                <a:gd name="T72" fmla="*/ 330 w 364"/>
                <a:gd name="T73" fmla="*/ 240 h 360"/>
                <a:gd name="T74" fmla="*/ 324 w 364"/>
                <a:gd name="T75" fmla="*/ 224 h 360"/>
                <a:gd name="T76" fmla="*/ 304 w 364"/>
                <a:gd name="T77" fmla="*/ 232 h 360"/>
                <a:gd name="T78" fmla="*/ 270 w 364"/>
                <a:gd name="T79" fmla="*/ 268 h 360"/>
                <a:gd name="T80" fmla="*/ 262 w 364"/>
                <a:gd name="T81" fmla="*/ 286 h 360"/>
                <a:gd name="T82" fmla="*/ 260 w 364"/>
                <a:gd name="T83" fmla="*/ 344 h 360"/>
                <a:gd name="T84" fmla="*/ 222 w 364"/>
                <a:gd name="T85" fmla="*/ 344 h 360"/>
                <a:gd name="T86" fmla="*/ 158 w 364"/>
                <a:gd name="T87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4" h="360">
                  <a:moveTo>
                    <a:pt x="158" y="360"/>
                  </a:moveTo>
                  <a:lnTo>
                    <a:pt x="158" y="360"/>
                  </a:lnTo>
                  <a:lnTo>
                    <a:pt x="138" y="356"/>
                  </a:lnTo>
                  <a:lnTo>
                    <a:pt x="126" y="352"/>
                  </a:lnTo>
                  <a:lnTo>
                    <a:pt x="116" y="346"/>
                  </a:lnTo>
                  <a:lnTo>
                    <a:pt x="108" y="340"/>
                  </a:lnTo>
                  <a:lnTo>
                    <a:pt x="108" y="340"/>
                  </a:lnTo>
                  <a:lnTo>
                    <a:pt x="86" y="274"/>
                  </a:lnTo>
                  <a:lnTo>
                    <a:pt x="86" y="274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48" y="256"/>
                  </a:lnTo>
                  <a:lnTo>
                    <a:pt x="48" y="256"/>
                  </a:lnTo>
                  <a:lnTo>
                    <a:pt x="50" y="240"/>
                  </a:lnTo>
                  <a:lnTo>
                    <a:pt x="46" y="226"/>
                  </a:lnTo>
                  <a:lnTo>
                    <a:pt x="40" y="212"/>
                  </a:lnTo>
                  <a:lnTo>
                    <a:pt x="34" y="200"/>
                  </a:lnTo>
                  <a:lnTo>
                    <a:pt x="24" y="188"/>
                  </a:lnTo>
                  <a:lnTo>
                    <a:pt x="14" y="178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56"/>
                  </a:lnTo>
                  <a:lnTo>
                    <a:pt x="2" y="150"/>
                  </a:lnTo>
                  <a:lnTo>
                    <a:pt x="10" y="140"/>
                  </a:lnTo>
                  <a:lnTo>
                    <a:pt x="18" y="130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14"/>
                  </a:lnTo>
                  <a:lnTo>
                    <a:pt x="28" y="110"/>
                  </a:lnTo>
                  <a:lnTo>
                    <a:pt x="32" y="104"/>
                  </a:lnTo>
                  <a:lnTo>
                    <a:pt x="36" y="102"/>
                  </a:lnTo>
                  <a:lnTo>
                    <a:pt x="48" y="94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38"/>
                  </a:lnTo>
                  <a:lnTo>
                    <a:pt x="70" y="24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80" y="14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6"/>
                  </a:lnTo>
                  <a:lnTo>
                    <a:pt x="106" y="6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6" y="6"/>
                  </a:lnTo>
                  <a:lnTo>
                    <a:pt x="152" y="2"/>
                  </a:lnTo>
                  <a:lnTo>
                    <a:pt x="160" y="0"/>
                  </a:lnTo>
                  <a:lnTo>
                    <a:pt x="168" y="0"/>
                  </a:lnTo>
                  <a:lnTo>
                    <a:pt x="186" y="4"/>
                  </a:lnTo>
                  <a:lnTo>
                    <a:pt x="202" y="8"/>
                  </a:lnTo>
                  <a:lnTo>
                    <a:pt x="202" y="8"/>
                  </a:lnTo>
                  <a:lnTo>
                    <a:pt x="212" y="16"/>
                  </a:lnTo>
                  <a:lnTo>
                    <a:pt x="224" y="22"/>
                  </a:lnTo>
                  <a:lnTo>
                    <a:pt x="230" y="24"/>
                  </a:lnTo>
                  <a:lnTo>
                    <a:pt x="238" y="26"/>
                  </a:lnTo>
                  <a:lnTo>
                    <a:pt x="246" y="24"/>
                  </a:lnTo>
                  <a:lnTo>
                    <a:pt x="254" y="22"/>
                  </a:lnTo>
                  <a:lnTo>
                    <a:pt x="254" y="22"/>
                  </a:lnTo>
                  <a:lnTo>
                    <a:pt x="264" y="14"/>
                  </a:lnTo>
                  <a:lnTo>
                    <a:pt x="274" y="4"/>
                  </a:lnTo>
                  <a:lnTo>
                    <a:pt x="280" y="2"/>
                  </a:lnTo>
                  <a:lnTo>
                    <a:pt x="286" y="0"/>
                  </a:lnTo>
                  <a:lnTo>
                    <a:pt x="292" y="2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24" y="18"/>
                  </a:lnTo>
                  <a:lnTo>
                    <a:pt x="324" y="18"/>
                  </a:lnTo>
                  <a:lnTo>
                    <a:pt x="364" y="22"/>
                  </a:lnTo>
                  <a:lnTo>
                    <a:pt x="364" y="22"/>
                  </a:lnTo>
                  <a:lnTo>
                    <a:pt x="360" y="28"/>
                  </a:lnTo>
                  <a:lnTo>
                    <a:pt x="352" y="34"/>
                  </a:lnTo>
                  <a:lnTo>
                    <a:pt x="332" y="48"/>
                  </a:lnTo>
                  <a:lnTo>
                    <a:pt x="324" y="58"/>
                  </a:lnTo>
                  <a:lnTo>
                    <a:pt x="318" y="66"/>
                  </a:lnTo>
                  <a:lnTo>
                    <a:pt x="316" y="72"/>
                  </a:lnTo>
                  <a:lnTo>
                    <a:pt x="316" y="76"/>
                  </a:lnTo>
                  <a:lnTo>
                    <a:pt x="316" y="80"/>
                  </a:lnTo>
                  <a:lnTo>
                    <a:pt x="320" y="84"/>
                  </a:lnTo>
                  <a:lnTo>
                    <a:pt x="320" y="84"/>
                  </a:lnTo>
                  <a:lnTo>
                    <a:pt x="350" y="84"/>
                  </a:lnTo>
                  <a:lnTo>
                    <a:pt x="350" y="84"/>
                  </a:lnTo>
                  <a:lnTo>
                    <a:pt x="362" y="72"/>
                  </a:lnTo>
                  <a:lnTo>
                    <a:pt x="362" y="72"/>
                  </a:lnTo>
                  <a:lnTo>
                    <a:pt x="364" y="82"/>
                  </a:lnTo>
                  <a:lnTo>
                    <a:pt x="364" y="90"/>
                  </a:lnTo>
                  <a:lnTo>
                    <a:pt x="360" y="96"/>
                  </a:lnTo>
                  <a:lnTo>
                    <a:pt x="360" y="96"/>
                  </a:lnTo>
                  <a:lnTo>
                    <a:pt x="346" y="100"/>
                  </a:lnTo>
                  <a:lnTo>
                    <a:pt x="338" y="104"/>
                  </a:lnTo>
                  <a:lnTo>
                    <a:pt x="322" y="112"/>
                  </a:lnTo>
                  <a:lnTo>
                    <a:pt x="322" y="112"/>
                  </a:lnTo>
                  <a:lnTo>
                    <a:pt x="324" y="132"/>
                  </a:lnTo>
                  <a:lnTo>
                    <a:pt x="324" y="13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0" y="166"/>
                  </a:lnTo>
                  <a:lnTo>
                    <a:pt x="340" y="196"/>
                  </a:lnTo>
                  <a:lnTo>
                    <a:pt x="340" y="196"/>
                  </a:lnTo>
                  <a:lnTo>
                    <a:pt x="342" y="204"/>
                  </a:lnTo>
                  <a:lnTo>
                    <a:pt x="344" y="214"/>
                  </a:lnTo>
                  <a:lnTo>
                    <a:pt x="342" y="228"/>
                  </a:lnTo>
                  <a:lnTo>
                    <a:pt x="340" y="232"/>
                  </a:lnTo>
                  <a:lnTo>
                    <a:pt x="338" y="238"/>
                  </a:lnTo>
                  <a:lnTo>
                    <a:pt x="338" y="238"/>
                  </a:lnTo>
                  <a:lnTo>
                    <a:pt x="330" y="240"/>
                  </a:lnTo>
                  <a:lnTo>
                    <a:pt x="330" y="240"/>
                  </a:lnTo>
                  <a:lnTo>
                    <a:pt x="328" y="226"/>
                  </a:lnTo>
                  <a:lnTo>
                    <a:pt x="328" y="226"/>
                  </a:lnTo>
                  <a:lnTo>
                    <a:pt x="324" y="224"/>
                  </a:lnTo>
                  <a:lnTo>
                    <a:pt x="320" y="224"/>
                  </a:lnTo>
                  <a:lnTo>
                    <a:pt x="312" y="226"/>
                  </a:lnTo>
                  <a:lnTo>
                    <a:pt x="304" y="232"/>
                  </a:lnTo>
                  <a:lnTo>
                    <a:pt x="296" y="240"/>
                  </a:lnTo>
                  <a:lnTo>
                    <a:pt x="280" y="256"/>
                  </a:lnTo>
                  <a:lnTo>
                    <a:pt x="270" y="268"/>
                  </a:lnTo>
                  <a:lnTo>
                    <a:pt x="270" y="268"/>
                  </a:lnTo>
                  <a:lnTo>
                    <a:pt x="266" y="278"/>
                  </a:lnTo>
                  <a:lnTo>
                    <a:pt x="262" y="286"/>
                  </a:lnTo>
                  <a:lnTo>
                    <a:pt x="262" y="286"/>
                  </a:lnTo>
                  <a:lnTo>
                    <a:pt x="260" y="344"/>
                  </a:lnTo>
                  <a:lnTo>
                    <a:pt x="260" y="344"/>
                  </a:lnTo>
                  <a:lnTo>
                    <a:pt x="250" y="342"/>
                  </a:lnTo>
                  <a:lnTo>
                    <a:pt x="250" y="342"/>
                  </a:lnTo>
                  <a:lnTo>
                    <a:pt x="222" y="344"/>
                  </a:lnTo>
                  <a:lnTo>
                    <a:pt x="200" y="346"/>
                  </a:lnTo>
                  <a:lnTo>
                    <a:pt x="180" y="352"/>
                  </a:lnTo>
                  <a:lnTo>
                    <a:pt x="158" y="360"/>
                  </a:lnTo>
                  <a:lnTo>
                    <a:pt x="158" y="360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65" name="未知"/>
            <p:cNvSpPr>
              <a:spLocks/>
            </p:cNvSpPr>
            <p:nvPr/>
          </p:nvSpPr>
          <p:spPr bwMode="auto">
            <a:xfrm>
              <a:off x="2629030" y="2375336"/>
              <a:ext cx="341914" cy="330810"/>
            </a:xfrm>
            <a:custGeom>
              <a:avLst/>
              <a:gdLst>
                <a:gd name="T0" fmla="*/ 360 w 462"/>
                <a:gd name="T1" fmla="*/ 474 h 480"/>
                <a:gd name="T2" fmla="*/ 328 w 462"/>
                <a:gd name="T3" fmla="*/ 448 h 480"/>
                <a:gd name="T4" fmla="*/ 300 w 462"/>
                <a:gd name="T5" fmla="*/ 412 h 480"/>
                <a:gd name="T6" fmla="*/ 282 w 462"/>
                <a:gd name="T7" fmla="*/ 362 h 480"/>
                <a:gd name="T8" fmla="*/ 252 w 462"/>
                <a:gd name="T9" fmla="*/ 340 h 480"/>
                <a:gd name="T10" fmla="*/ 230 w 462"/>
                <a:gd name="T11" fmla="*/ 340 h 480"/>
                <a:gd name="T12" fmla="*/ 214 w 462"/>
                <a:gd name="T13" fmla="*/ 346 h 480"/>
                <a:gd name="T14" fmla="*/ 196 w 462"/>
                <a:gd name="T15" fmla="*/ 376 h 480"/>
                <a:gd name="T16" fmla="*/ 176 w 462"/>
                <a:gd name="T17" fmla="*/ 402 h 480"/>
                <a:gd name="T18" fmla="*/ 152 w 462"/>
                <a:gd name="T19" fmla="*/ 428 h 480"/>
                <a:gd name="T20" fmla="*/ 144 w 462"/>
                <a:gd name="T21" fmla="*/ 430 h 480"/>
                <a:gd name="T22" fmla="*/ 118 w 462"/>
                <a:gd name="T23" fmla="*/ 442 h 480"/>
                <a:gd name="T24" fmla="*/ 72 w 462"/>
                <a:gd name="T25" fmla="*/ 434 h 480"/>
                <a:gd name="T26" fmla="*/ 38 w 462"/>
                <a:gd name="T27" fmla="*/ 416 h 480"/>
                <a:gd name="T28" fmla="*/ 46 w 462"/>
                <a:gd name="T29" fmla="*/ 386 h 480"/>
                <a:gd name="T30" fmla="*/ 42 w 462"/>
                <a:gd name="T31" fmla="*/ 360 h 480"/>
                <a:gd name="T32" fmla="*/ 2 w 462"/>
                <a:gd name="T33" fmla="*/ 312 h 480"/>
                <a:gd name="T34" fmla="*/ 10 w 462"/>
                <a:gd name="T35" fmla="*/ 228 h 480"/>
                <a:gd name="T36" fmla="*/ 0 w 462"/>
                <a:gd name="T37" fmla="*/ 168 h 480"/>
                <a:gd name="T38" fmla="*/ 4 w 462"/>
                <a:gd name="T39" fmla="*/ 166 h 480"/>
                <a:gd name="T40" fmla="*/ 64 w 462"/>
                <a:gd name="T41" fmla="*/ 212 h 480"/>
                <a:gd name="T42" fmla="*/ 82 w 462"/>
                <a:gd name="T43" fmla="*/ 216 h 480"/>
                <a:gd name="T44" fmla="*/ 110 w 462"/>
                <a:gd name="T45" fmla="*/ 208 h 480"/>
                <a:gd name="T46" fmla="*/ 148 w 462"/>
                <a:gd name="T47" fmla="*/ 172 h 480"/>
                <a:gd name="T48" fmla="*/ 176 w 462"/>
                <a:gd name="T49" fmla="*/ 116 h 480"/>
                <a:gd name="T50" fmla="*/ 210 w 462"/>
                <a:gd name="T51" fmla="*/ 62 h 480"/>
                <a:gd name="T52" fmla="*/ 232 w 462"/>
                <a:gd name="T53" fmla="*/ 4 h 480"/>
                <a:gd name="T54" fmla="*/ 272 w 462"/>
                <a:gd name="T55" fmla="*/ 0 h 480"/>
                <a:gd name="T56" fmla="*/ 306 w 462"/>
                <a:gd name="T57" fmla="*/ 10 h 480"/>
                <a:gd name="T58" fmla="*/ 352 w 462"/>
                <a:gd name="T59" fmla="*/ 50 h 480"/>
                <a:gd name="T60" fmla="*/ 394 w 462"/>
                <a:gd name="T61" fmla="*/ 60 h 480"/>
                <a:gd name="T62" fmla="*/ 444 w 462"/>
                <a:gd name="T63" fmla="*/ 98 h 480"/>
                <a:gd name="T64" fmla="*/ 462 w 462"/>
                <a:gd name="T65" fmla="*/ 134 h 480"/>
                <a:gd name="T66" fmla="*/ 430 w 462"/>
                <a:gd name="T67" fmla="*/ 158 h 480"/>
                <a:gd name="T68" fmla="*/ 402 w 462"/>
                <a:gd name="T69" fmla="*/ 182 h 480"/>
                <a:gd name="T70" fmla="*/ 336 w 462"/>
                <a:gd name="T71" fmla="*/ 188 h 480"/>
                <a:gd name="T72" fmla="*/ 292 w 462"/>
                <a:gd name="T73" fmla="*/ 192 h 480"/>
                <a:gd name="T74" fmla="*/ 284 w 462"/>
                <a:gd name="T75" fmla="*/ 218 h 480"/>
                <a:gd name="T76" fmla="*/ 288 w 462"/>
                <a:gd name="T77" fmla="*/ 236 h 480"/>
                <a:gd name="T78" fmla="*/ 284 w 462"/>
                <a:gd name="T79" fmla="*/ 276 h 480"/>
                <a:gd name="T80" fmla="*/ 304 w 462"/>
                <a:gd name="T81" fmla="*/ 296 h 480"/>
                <a:gd name="T82" fmla="*/ 362 w 462"/>
                <a:gd name="T83" fmla="*/ 364 h 480"/>
                <a:gd name="T84" fmla="*/ 372 w 462"/>
                <a:gd name="T85" fmla="*/ 40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62" h="480">
                  <a:moveTo>
                    <a:pt x="372" y="480"/>
                  </a:moveTo>
                  <a:lnTo>
                    <a:pt x="372" y="480"/>
                  </a:lnTo>
                  <a:lnTo>
                    <a:pt x="360" y="474"/>
                  </a:lnTo>
                  <a:lnTo>
                    <a:pt x="348" y="466"/>
                  </a:lnTo>
                  <a:lnTo>
                    <a:pt x="338" y="458"/>
                  </a:lnTo>
                  <a:lnTo>
                    <a:pt x="328" y="448"/>
                  </a:lnTo>
                  <a:lnTo>
                    <a:pt x="312" y="430"/>
                  </a:lnTo>
                  <a:lnTo>
                    <a:pt x="300" y="412"/>
                  </a:lnTo>
                  <a:lnTo>
                    <a:pt x="300" y="412"/>
                  </a:lnTo>
                  <a:lnTo>
                    <a:pt x="296" y="394"/>
                  </a:lnTo>
                  <a:lnTo>
                    <a:pt x="290" y="376"/>
                  </a:lnTo>
                  <a:lnTo>
                    <a:pt x="282" y="362"/>
                  </a:lnTo>
                  <a:lnTo>
                    <a:pt x="272" y="350"/>
                  </a:lnTo>
                  <a:lnTo>
                    <a:pt x="258" y="342"/>
                  </a:lnTo>
                  <a:lnTo>
                    <a:pt x="252" y="340"/>
                  </a:lnTo>
                  <a:lnTo>
                    <a:pt x="246" y="338"/>
                  </a:lnTo>
                  <a:lnTo>
                    <a:pt x="238" y="338"/>
                  </a:lnTo>
                  <a:lnTo>
                    <a:pt x="230" y="340"/>
                  </a:lnTo>
                  <a:lnTo>
                    <a:pt x="222" y="342"/>
                  </a:lnTo>
                  <a:lnTo>
                    <a:pt x="214" y="346"/>
                  </a:lnTo>
                  <a:lnTo>
                    <a:pt x="214" y="346"/>
                  </a:lnTo>
                  <a:lnTo>
                    <a:pt x="202" y="358"/>
                  </a:lnTo>
                  <a:lnTo>
                    <a:pt x="198" y="364"/>
                  </a:lnTo>
                  <a:lnTo>
                    <a:pt x="196" y="376"/>
                  </a:lnTo>
                  <a:lnTo>
                    <a:pt x="196" y="376"/>
                  </a:lnTo>
                  <a:lnTo>
                    <a:pt x="188" y="390"/>
                  </a:lnTo>
                  <a:lnTo>
                    <a:pt x="176" y="402"/>
                  </a:lnTo>
                  <a:lnTo>
                    <a:pt x="152" y="424"/>
                  </a:lnTo>
                  <a:lnTo>
                    <a:pt x="152" y="424"/>
                  </a:lnTo>
                  <a:lnTo>
                    <a:pt x="152" y="428"/>
                  </a:lnTo>
                  <a:lnTo>
                    <a:pt x="152" y="428"/>
                  </a:lnTo>
                  <a:lnTo>
                    <a:pt x="146" y="428"/>
                  </a:lnTo>
                  <a:lnTo>
                    <a:pt x="144" y="430"/>
                  </a:lnTo>
                  <a:lnTo>
                    <a:pt x="140" y="434"/>
                  </a:lnTo>
                  <a:lnTo>
                    <a:pt x="140" y="434"/>
                  </a:lnTo>
                  <a:lnTo>
                    <a:pt x="118" y="442"/>
                  </a:lnTo>
                  <a:lnTo>
                    <a:pt x="118" y="442"/>
                  </a:lnTo>
                  <a:lnTo>
                    <a:pt x="94" y="440"/>
                  </a:lnTo>
                  <a:lnTo>
                    <a:pt x="72" y="434"/>
                  </a:lnTo>
                  <a:lnTo>
                    <a:pt x="54" y="426"/>
                  </a:lnTo>
                  <a:lnTo>
                    <a:pt x="46" y="422"/>
                  </a:lnTo>
                  <a:lnTo>
                    <a:pt x="38" y="416"/>
                  </a:lnTo>
                  <a:lnTo>
                    <a:pt x="38" y="416"/>
                  </a:lnTo>
                  <a:lnTo>
                    <a:pt x="46" y="400"/>
                  </a:lnTo>
                  <a:lnTo>
                    <a:pt x="46" y="386"/>
                  </a:lnTo>
                  <a:lnTo>
                    <a:pt x="44" y="374"/>
                  </a:lnTo>
                  <a:lnTo>
                    <a:pt x="42" y="360"/>
                  </a:lnTo>
                  <a:lnTo>
                    <a:pt x="42" y="360"/>
                  </a:lnTo>
                  <a:lnTo>
                    <a:pt x="16" y="336"/>
                  </a:lnTo>
                  <a:lnTo>
                    <a:pt x="8" y="324"/>
                  </a:lnTo>
                  <a:lnTo>
                    <a:pt x="2" y="312"/>
                  </a:lnTo>
                  <a:lnTo>
                    <a:pt x="2" y="312"/>
                  </a:lnTo>
                  <a:lnTo>
                    <a:pt x="10" y="228"/>
                  </a:lnTo>
                  <a:lnTo>
                    <a:pt x="10" y="228"/>
                  </a:lnTo>
                  <a:lnTo>
                    <a:pt x="2" y="194"/>
                  </a:lnTo>
                  <a:lnTo>
                    <a:pt x="0" y="182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4" y="166"/>
                  </a:lnTo>
                  <a:lnTo>
                    <a:pt x="4" y="166"/>
                  </a:lnTo>
                  <a:lnTo>
                    <a:pt x="38" y="188"/>
                  </a:lnTo>
                  <a:lnTo>
                    <a:pt x="38" y="188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74" y="216"/>
                  </a:lnTo>
                  <a:lnTo>
                    <a:pt x="82" y="216"/>
                  </a:lnTo>
                  <a:lnTo>
                    <a:pt x="92" y="216"/>
                  </a:lnTo>
                  <a:lnTo>
                    <a:pt x="102" y="212"/>
                  </a:lnTo>
                  <a:lnTo>
                    <a:pt x="110" y="208"/>
                  </a:lnTo>
                  <a:lnTo>
                    <a:pt x="118" y="204"/>
                  </a:lnTo>
                  <a:lnTo>
                    <a:pt x="134" y="190"/>
                  </a:lnTo>
                  <a:lnTo>
                    <a:pt x="148" y="172"/>
                  </a:lnTo>
                  <a:lnTo>
                    <a:pt x="158" y="154"/>
                  </a:lnTo>
                  <a:lnTo>
                    <a:pt x="168" y="134"/>
                  </a:lnTo>
                  <a:lnTo>
                    <a:pt x="176" y="116"/>
                  </a:lnTo>
                  <a:lnTo>
                    <a:pt x="176" y="116"/>
                  </a:lnTo>
                  <a:lnTo>
                    <a:pt x="210" y="62"/>
                  </a:lnTo>
                  <a:lnTo>
                    <a:pt x="210" y="62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32" y="4"/>
                  </a:lnTo>
                  <a:lnTo>
                    <a:pt x="232" y="4"/>
                  </a:lnTo>
                  <a:lnTo>
                    <a:pt x="252" y="2"/>
                  </a:lnTo>
                  <a:lnTo>
                    <a:pt x="272" y="0"/>
                  </a:lnTo>
                  <a:lnTo>
                    <a:pt x="284" y="2"/>
                  </a:lnTo>
                  <a:lnTo>
                    <a:pt x="294" y="4"/>
                  </a:lnTo>
                  <a:lnTo>
                    <a:pt x="306" y="10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52" y="50"/>
                  </a:lnTo>
                  <a:lnTo>
                    <a:pt x="352" y="50"/>
                  </a:lnTo>
                  <a:lnTo>
                    <a:pt x="394" y="60"/>
                  </a:lnTo>
                  <a:lnTo>
                    <a:pt x="394" y="60"/>
                  </a:lnTo>
                  <a:lnTo>
                    <a:pt x="412" y="70"/>
                  </a:lnTo>
                  <a:lnTo>
                    <a:pt x="434" y="88"/>
                  </a:lnTo>
                  <a:lnTo>
                    <a:pt x="444" y="98"/>
                  </a:lnTo>
                  <a:lnTo>
                    <a:pt x="454" y="110"/>
                  </a:lnTo>
                  <a:lnTo>
                    <a:pt x="460" y="122"/>
                  </a:lnTo>
                  <a:lnTo>
                    <a:pt x="462" y="134"/>
                  </a:lnTo>
                  <a:lnTo>
                    <a:pt x="462" y="134"/>
                  </a:lnTo>
                  <a:lnTo>
                    <a:pt x="444" y="146"/>
                  </a:lnTo>
                  <a:lnTo>
                    <a:pt x="430" y="158"/>
                  </a:lnTo>
                  <a:lnTo>
                    <a:pt x="416" y="170"/>
                  </a:lnTo>
                  <a:lnTo>
                    <a:pt x="402" y="182"/>
                  </a:lnTo>
                  <a:lnTo>
                    <a:pt x="402" y="182"/>
                  </a:lnTo>
                  <a:lnTo>
                    <a:pt x="386" y="186"/>
                  </a:lnTo>
                  <a:lnTo>
                    <a:pt x="368" y="188"/>
                  </a:lnTo>
                  <a:lnTo>
                    <a:pt x="336" y="188"/>
                  </a:lnTo>
                  <a:lnTo>
                    <a:pt x="322" y="186"/>
                  </a:lnTo>
                  <a:lnTo>
                    <a:pt x="306" y="188"/>
                  </a:lnTo>
                  <a:lnTo>
                    <a:pt x="292" y="192"/>
                  </a:lnTo>
                  <a:lnTo>
                    <a:pt x="280" y="198"/>
                  </a:lnTo>
                  <a:lnTo>
                    <a:pt x="280" y="198"/>
                  </a:lnTo>
                  <a:lnTo>
                    <a:pt x="284" y="218"/>
                  </a:lnTo>
                  <a:lnTo>
                    <a:pt x="284" y="218"/>
                  </a:lnTo>
                  <a:lnTo>
                    <a:pt x="288" y="228"/>
                  </a:lnTo>
                  <a:lnTo>
                    <a:pt x="288" y="236"/>
                  </a:lnTo>
                  <a:lnTo>
                    <a:pt x="284" y="256"/>
                  </a:lnTo>
                  <a:lnTo>
                    <a:pt x="282" y="266"/>
                  </a:lnTo>
                  <a:lnTo>
                    <a:pt x="284" y="276"/>
                  </a:lnTo>
                  <a:lnTo>
                    <a:pt x="290" y="286"/>
                  </a:lnTo>
                  <a:lnTo>
                    <a:pt x="304" y="296"/>
                  </a:lnTo>
                  <a:lnTo>
                    <a:pt x="304" y="296"/>
                  </a:lnTo>
                  <a:lnTo>
                    <a:pt x="334" y="324"/>
                  </a:lnTo>
                  <a:lnTo>
                    <a:pt x="334" y="324"/>
                  </a:lnTo>
                  <a:lnTo>
                    <a:pt x="362" y="364"/>
                  </a:lnTo>
                  <a:lnTo>
                    <a:pt x="362" y="364"/>
                  </a:lnTo>
                  <a:lnTo>
                    <a:pt x="372" y="400"/>
                  </a:lnTo>
                  <a:lnTo>
                    <a:pt x="372" y="400"/>
                  </a:lnTo>
                  <a:lnTo>
                    <a:pt x="372" y="480"/>
                  </a:lnTo>
                  <a:lnTo>
                    <a:pt x="372" y="480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66" name="未知"/>
            <p:cNvSpPr>
              <a:spLocks/>
            </p:cNvSpPr>
            <p:nvPr/>
          </p:nvSpPr>
          <p:spPr bwMode="auto">
            <a:xfrm>
              <a:off x="2844975" y="2302923"/>
              <a:ext cx="557041" cy="320139"/>
            </a:xfrm>
            <a:custGeom>
              <a:avLst/>
              <a:gdLst>
                <a:gd name="T0" fmla="*/ 72 w 754"/>
                <a:gd name="T1" fmla="*/ 452 h 466"/>
                <a:gd name="T2" fmla="*/ 4 w 754"/>
                <a:gd name="T3" fmla="*/ 380 h 466"/>
                <a:gd name="T4" fmla="*/ 2 w 754"/>
                <a:gd name="T5" fmla="*/ 362 h 466"/>
                <a:gd name="T6" fmla="*/ 6 w 754"/>
                <a:gd name="T7" fmla="*/ 348 h 466"/>
                <a:gd name="T8" fmla="*/ 0 w 754"/>
                <a:gd name="T9" fmla="*/ 310 h 466"/>
                <a:gd name="T10" fmla="*/ 18 w 754"/>
                <a:gd name="T11" fmla="*/ 304 h 466"/>
                <a:gd name="T12" fmla="*/ 96 w 754"/>
                <a:gd name="T13" fmla="*/ 304 h 466"/>
                <a:gd name="T14" fmla="*/ 138 w 754"/>
                <a:gd name="T15" fmla="*/ 276 h 466"/>
                <a:gd name="T16" fmla="*/ 178 w 754"/>
                <a:gd name="T17" fmla="*/ 244 h 466"/>
                <a:gd name="T18" fmla="*/ 180 w 754"/>
                <a:gd name="T19" fmla="*/ 226 h 466"/>
                <a:gd name="T20" fmla="*/ 126 w 754"/>
                <a:gd name="T21" fmla="*/ 166 h 466"/>
                <a:gd name="T22" fmla="*/ 100 w 754"/>
                <a:gd name="T23" fmla="*/ 144 h 466"/>
                <a:gd name="T24" fmla="*/ 98 w 754"/>
                <a:gd name="T25" fmla="*/ 96 h 466"/>
                <a:gd name="T26" fmla="*/ 136 w 754"/>
                <a:gd name="T27" fmla="*/ 66 h 466"/>
                <a:gd name="T28" fmla="*/ 146 w 754"/>
                <a:gd name="T29" fmla="*/ 54 h 466"/>
                <a:gd name="T30" fmla="*/ 140 w 754"/>
                <a:gd name="T31" fmla="*/ 30 h 466"/>
                <a:gd name="T32" fmla="*/ 118 w 754"/>
                <a:gd name="T33" fmla="*/ 10 h 466"/>
                <a:gd name="T34" fmla="*/ 108 w 754"/>
                <a:gd name="T35" fmla="*/ 0 h 466"/>
                <a:gd name="T36" fmla="*/ 234 w 754"/>
                <a:gd name="T37" fmla="*/ 6 h 466"/>
                <a:gd name="T38" fmla="*/ 246 w 754"/>
                <a:gd name="T39" fmla="*/ 22 h 466"/>
                <a:gd name="T40" fmla="*/ 276 w 754"/>
                <a:gd name="T41" fmla="*/ 46 h 466"/>
                <a:gd name="T42" fmla="*/ 314 w 754"/>
                <a:gd name="T43" fmla="*/ 62 h 466"/>
                <a:gd name="T44" fmla="*/ 338 w 754"/>
                <a:gd name="T45" fmla="*/ 72 h 466"/>
                <a:gd name="T46" fmla="*/ 494 w 754"/>
                <a:gd name="T47" fmla="*/ 100 h 466"/>
                <a:gd name="T48" fmla="*/ 504 w 754"/>
                <a:gd name="T49" fmla="*/ 116 h 466"/>
                <a:gd name="T50" fmla="*/ 524 w 754"/>
                <a:gd name="T51" fmla="*/ 136 h 466"/>
                <a:gd name="T52" fmla="*/ 618 w 754"/>
                <a:gd name="T53" fmla="*/ 158 h 466"/>
                <a:gd name="T54" fmla="*/ 626 w 754"/>
                <a:gd name="T55" fmla="*/ 160 h 466"/>
                <a:gd name="T56" fmla="*/ 660 w 754"/>
                <a:gd name="T57" fmla="*/ 164 h 466"/>
                <a:gd name="T58" fmla="*/ 670 w 754"/>
                <a:gd name="T59" fmla="*/ 174 h 466"/>
                <a:gd name="T60" fmla="*/ 684 w 754"/>
                <a:gd name="T61" fmla="*/ 192 h 466"/>
                <a:gd name="T62" fmla="*/ 702 w 754"/>
                <a:gd name="T63" fmla="*/ 196 h 466"/>
                <a:gd name="T64" fmla="*/ 718 w 754"/>
                <a:gd name="T65" fmla="*/ 208 h 466"/>
                <a:gd name="T66" fmla="*/ 708 w 754"/>
                <a:gd name="T67" fmla="*/ 228 h 466"/>
                <a:gd name="T68" fmla="*/ 702 w 754"/>
                <a:gd name="T69" fmla="*/ 250 h 466"/>
                <a:gd name="T70" fmla="*/ 724 w 754"/>
                <a:gd name="T71" fmla="*/ 274 h 466"/>
                <a:gd name="T72" fmla="*/ 732 w 754"/>
                <a:gd name="T73" fmla="*/ 298 h 466"/>
                <a:gd name="T74" fmla="*/ 740 w 754"/>
                <a:gd name="T75" fmla="*/ 320 h 466"/>
                <a:gd name="T76" fmla="*/ 754 w 754"/>
                <a:gd name="T77" fmla="*/ 330 h 466"/>
                <a:gd name="T78" fmla="*/ 734 w 754"/>
                <a:gd name="T79" fmla="*/ 338 h 466"/>
                <a:gd name="T80" fmla="*/ 692 w 754"/>
                <a:gd name="T81" fmla="*/ 354 h 466"/>
                <a:gd name="T82" fmla="*/ 640 w 754"/>
                <a:gd name="T83" fmla="*/ 392 h 466"/>
                <a:gd name="T84" fmla="*/ 616 w 754"/>
                <a:gd name="T85" fmla="*/ 414 h 466"/>
                <a:gd name="T86" fmla="*/ 582 w 754"/>
                <a:gd name="T87" fmla="*/ 424 h 466"/>
                <a:gd name="T88" fmla="*/ 562 w 754"/>
                <a:gd name="T89" fmla="*/ 434 h 466"/>
                <a:gd name="T90" fmla="*/ 544 w 754"/>
                <a:gd name="T91" fmla="*/ 448 h 466"/>
                <a:gd name="T92" fmla="*/ 512 w 754"/>
                <a:gd name="T93" fmla="*/ 422 h 466"/>
                <a:gd name="T94" fmla="*/ 482 w 754"/>
                <a:gd name="T95" fmla="*/ 408 h 466"/>
                <a:gd name="T96" fmla="*/ 450 w 754"/>
                <a:gd name="T97" fmla="*/ 380 h 466"/>
                <a:gd name="T98" fmla="*/ 426 w 754"/>
                <a:gd name="T99" fmla="*/ 384 h 466"/>
                <a:gd name="T100" fmla="*/ 410 w 754"/>
                <a:gd name="T101" fmla="*/ 404 h 466"/>
                <a:gd name="T102" fmla="*/ 358 w 754"/>
                <a:gd name="T103" fmla="*/ 392 h 466"/>
                <a:gd name="T104" fmla="*/ 286 w 754"/>
                <a:gd name="T105" fmla="*/ 352 h 466"/>
                <a:gd name="T106" fmla="*/ 252 w 754"/>
                <a:gd name="T107" fmla="*/ 346 h 466"/>
                <a:gd name="T108" fmla="*/ 200 w 754"/>
                <a:gd name="T109" fmla="*/ 338 h 466"/>
                <a:gd name="T110" fmla="*/ 184 w 754"/>
                <a:gd name="T111" fmla="*/ 350 h 466"/>
                <a:gd name="T112" fmla="*/ 202 w 754"/>
                <a:gd name="T113" fmla="*/ 380 h 466"/>
                <a:gd name="T114" fmla="*/ 196 w 754"/>
                <a:gd name="T115" fmla="*/ 392 h 466"/>
                <a:gd name="T116" fmla="*/ 164 w 754"/>
                <a:gd name="T117" fmla="*/ 390 h 466"/>
                <a:gd name="T118" fmla="*/ 128 w 754"/>
                <a:gd name="T119" fmla="*/ 406 h 466"/>
                <a:gd name="T120" fmla="*/ 96 w 754"/>
                <a:gd name="T121" fmla="*/ 454 h 466"/>
                <a:gd name="T122" fmla="*/ 80 w 754"/>
                <a:gd name="T123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4" h="466">
                  <a:moveTo>
                    <a:pt x="80" y="466"/>
                  </a:moveTo>
                  <a:lnTo>
                    <a:pt x="80" y="466"/>
                  </a:lnTo>
                  <a:lnTo>
                    <a:pt x="72" y="452"/>
                  </a:lnTo>
                  <a:lnTo>
                    <a:pt x="64" y="440"/>
                  </a:lnTo>
                  <a:lnTo>
                    <a:pt x="44" y="418"/>
                  </a:lnTo>
                  <a:lnTo>
                    <a:pt x="4" y="380"/>
                  </a:lnTo>
                  <a:lnTo>
                    <a:pt x="4" y="380"/>
                  </a:lnTo>
                  <a:lnTo>
                    <a:pt x="2" y="368"/>
                  </a:lnTo>
                  <a:lnTo>
                    <a:pt x="2" y="362"/>
                  </a:lnTo>
                  <a:lnTo>
                    <a:pt x="4" y="356"/>
                  </a:lnTo>
                  <a:lnTo>
                    <a:pt x="6" y="348"/>
                  </a:lnTo>
                  <a:lnTo>
                    <a:pt x="6" y="348"/>
                  </a:lnTo>
                  <a:lnTo>
                    <a:pt x="8" y="328"/>
                  </a:lnTo>
                  <a:lnTo>
                    <a:pt x="8" y="328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6" y="306"/>
                  </a:lnTo>
                  <a:lnTo>
                    <a:pt x="18" y="304"/>
                  </a:lnTo>
                  <a:lnTo>
                    <a:pt x="44" y="302"/>
                  </a:lnTo>
                  <a:lnTo>
                    <a:pt x="96" y="304"/>
                  </a:lnTo>
                  <a:lnTo>
                    <a:pt x="96" y="304"/>
                  </a:lnTo>
                  <a:lnTo>
                    <a:pt x="112" y="298"/>
                  </a:lnTo>
                  <a:lnTo>
                    <a:pt x="126" y="288"/>
                  </a:lnTo>
                  <a:lnTo>
                    <a:pt x="138" y="276"/>
                  </a:lnTo>
                  <a:lnTo>
                    <a:pt x="152" y="264"/>
                  </a:lnTo>
                  <a:lnTo>
                    <a:pt x="152" y="264"/>
                  </a:lnTo>
                  <a:lnTo>
                    <a:pt x="178" y="244"/>
                  </a:lnTo>
                  <a:lnTo>
                    <a:pt x="178" y="244"/>
                  </a:lnTo>
                  <a:lnTo>
                    <a:pt x="180" y="226"/>
                  </a:lnTo>
                  <a:lnTo>
                    <a:pt x="180" y="226"/>
                  </a:lnTo>
                  <a:lnTo>
                    <a:pt x="162" y="200"/>
                  </a:lnTo>
                  <a:lnTo>
                    <a:pt x="144" y="182"/>
                  </a:lnTo>
                  <a:lnTo>
                    <a:pt x="126" y="166"/>
                  </a:lnTo>
                  <a:lnTo>
                    <a:pt x="106" y="156"/>
                  </a:lnTo>
                  <a:lnTo>
                    <a:pt x="106" y="156"/>
                  </a:lnTo>
                  <a:lnTo>
                    <a:pt x="100" y="144"/>
                  </a:lnTo>
                  <a:lnTo>
                    <a:pt x="100" y="144"/>
                  </a:lnTo>
                  <a:lnTo>
                    <a:pt x="98" y="96"/>
                  </a:lnTo>
                  <a:lnTo>
                    <a:pt x="98" y="96"/>
                  </a:lnTo>
                  <a:lnTo>
                    <a:pt x="114" y="80"/>
                  </a:lnTo>
                  <a:lnTo>
                    <a:pt x="124" y="72"/>
                  </a:lnTo>
                  <a:lnTo>
                    <a:pt x="136" y="66"/>
                  </a:lnTo>
                  <a:lnTo>
                    <a:pt x="136" y="66"/>
                  </a:lnTo>
                  <a:lnTo>
                    <a:pt x="142" y="60"/>
                  </a:lnTo>
                  <a:lnTo>
                    <a:pt x="146" y="54"/>
                  </a:lnTo>
                  <a:lnTo>
                    <a:pt x="146" y="48"/>
                  </a:lnTo>
                  <a:lnTo>
                    <a:pt x="146" y="42"/>
                  </a:lnTo>
                  <a:lnTo>
                    <a:pt x="140" y="30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18" y="10"/>
                  </a:lnTo>
                  <a:lnTo>
                    <a:pt x="112" y="6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234" y="6"/>
                  </a:lnTo>
                  <a:lnTo>
                    <a:pt x="234" y="6"/>
                  </a:lnTo>
                  <a:lnTo>
                    <a:pt x="238" y="14"/>
                  </a:lnTo>
                  <a:lnTo>
                    <a:pt x="246" y="22"/>
                  </a:lnTo>
                  <a:lnTo>
                    <a:pt x="254" y="30"/>
                  </a:lnTo>
                  <a:lnTo>
                    <a:pt x="264" y="38"/>
                  </a:lnTo>
                  <a:lnTo>
                    <a:pt x="276" y="46"/>
                  </a:lnTo>
                  <a:lnTo>
                    <a:pt x="288" y="52"/>
                  </a:lnTo>
                  <a:lnTo>
                    <a:pt x="300" y="58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38" y="72"/>
                  </a:lnTo>
                  <a:lnTo>
                    <a:pt x="338" y="72"/>
                  </a:lnTo>
                  <a:lnTo>
                    <a:pt x="456" y="74"/>
                  </a:lnTo>
                  <a:lnTo>
                    <a:pt x="456" y="74"/>
                  </a:lnTo>
                  <a:lnTo>
                    <a:pt x="494" y="100"/>
                  </a:lnTo>
                  <a:lnTo>
                    <a:pt x="494" y="100"/>
                  </a:lnTo>
                  <a:lnTo>
                    <a:pt x="498" y="108"/>
                  </a:lnTo>
                  <a:lnTo>
                    <a:pt x="504" y="116"/>
                  </a:lnTo>
                  <a:lnTo>
                    <a:pt x="512" y="126"/>
                  </a:lnTo>
                  <a:lnTo>
                    <a:pt x="524" y="136"/>
                  </a:lnTo>
                  <a:lnTo>
                    <a:pt x="524" y="136"/>
                  </a:lnTo>
                  <a:lnTo>
                    <a:pt x="578" y="140"/>
                  </a:lnTo>
                  <a:lnTo>
                    <a:pt x="578" y="140"/>
                  </a:lnTo>
                  <a:lnTo>
                    <a:pt x="618" y="158"/>
                  </a:lnTo>
                  <a:lnTo>
                    <a:pt x="618" y="158"/>
                  </a:lnTo>
                  <a:lnTo>
                    <a:pt x="622" y="160"/>
                  </a:lnTo>
                  <a:lnTo>
                    <a:pt x="626" y="160"/>
                  </a:lnTo>
                  <a:lnTo>
                    <a:pt x="638" y="160"/>
                  </a:lnTo>
                  <a:lnTo>
                    <a:pt x="652" y="162"/>
                  </a:lnTo>
                  <a:lnTo>
                    <a:pt x="660" y="164"/>
                  </a:lnTo>
                  <a:lnTo>
                    <a:pt x="668" y="170"/>
                  </a:lnTo>
                  <a:lnTo>
                    <a:pt x="668" y="170"/>
                  </a:lnTo>
                  <a:lnTo>
                    <a:pt x="670" y="174"/>
                  </a:lnTo>
                  <a:lnTo>
                    <a:pt x="672" y="180"/>
                  </a:lnTo>
                  <a:lnTo>
                    <a:pt x="676" y="186"/>
                  </a:lnTo>
                  <a:lnTo>
                    <a:pt x="684" y="192"/>
                  </a:lnTo>
                  <a:lnTo>
                    <a:pt x="684" y="192"/>
                  </a:lnTo>
                  <a:lnTo>
                    <a:pt x="690" y="194"/>
                  </a:lnTo>
                  <a:lnTo>
                    <a:pt x="702" y="196"/>
                  </a:lnTo>
                  <a:lnTo>
                    <a:pt x="710" y="198"/>
                  </a:lnTo>
                  <a:lnTo>
                    <a:pt x="714" y="202"/>
                  </a:lnTo>
                  <a:lnTo>
                    <a:pt x="718" y="208"/>
                  </a:lnTo>
                  <a:lnTo>
                    <a:pt x="720" y="214"/>
                  </a:lnTo>
                  <a:lnTo>
                    <a:pt x="720" y="214"/>
                  </a:lnTo>
                  <a:lnTo>
                    <a:pt x="708" y="228"/>
                  </a:lnTo>
                  <a:lnTo>
                    <a:pt x="706" y="236"/>
                  </a:lnTo>
                  <a:lnTo>
                    <a:pt x="702" y="250"/>
                  </a:lnTo>
                  <a:lnTo>
                    <a:pt x="702" y="250"/>
                  </a:lnTo>
                  <a:lnTo>
                    <a:pt x="708" y="256"/>
                  </a:lnTo>
                  <a:lnTo>
                    <a:pt x="716" y="264"/>
                  </a:lnTo>
                  <a:lnTo>
                    <a:pt x="724" y="274"/>
                  </a:lnTo>
                  <a:lnTo>
                    <a:pt x="732" y="290"/>
                  </a:lnTo>
                  <a:lnTo>
                    <a:pt x="732" y="290"/>
                  </a:lnTo>
                  <a:lnTo>
                    <a:pt x="732" y="298"/>
                  </a:lnTo>
                  <a:lnTo>
                    <a:pt x="734" y="310"/>
                  </a:lnTo>
                  <a:lnTo>
                    <a:pt x="736" y="316"/>
                  </a:lnTo>
                  <a:lnTo>
                    <a:pt x="740" y="320"/>
                  </a:lnTo>
                  <a:lnTo>
                    <a:pt x="746" y="326"/>
                  </a:lnTo>
                  <a:lnTo>
                    <a:pt x="754" y="330"/>
                  </a:lnTo>
                  <a:lnTo>
                    <a:pt x="754" y="330"/>
                  </a:lnTo>
                  <a:lnTo>
                    <a:pt x="754" y="334"/>
                  </a:lnTo>
                  <a:lnTo>
                    <a:pt x="754" y="334"/>
                  </a:lnTo>
                  <a:lnTo>
                    <a:pt x="734" y="338"/>
                  </a:lnTo>
                  <a:lnTo>
                    <a:pt x="718" y="342"/>
                  </a:lnTo>
                  <a:lnTo>
                    <a:pt x="704" y="348"/>
                  </a:lnTo>
                  <a:lnTo>
                    <a:pt x="692" y="354"/>
                  </a:lnTo>
                  <a:lnTo>
                    <a:pt x="670" y="372"/>
                  </a:lnTo>
                  <a:lnTo>
                    <a:pt x="640" y="392"/>
                  </a:lnTo>
                  <a:lnTo>
                    <a:pt x="640" y="392"/>
                  </a:lnTo>
                  <a:lnTo>
                    <a:pt x="634" y="396"/>
                  </a:lnTo>
                  <a:lnTo>
                    <a:pt x="626" y="400"/>
                  </a:lnTo>
                  <a:lnTo>
                    <a:pt x="616" y="414"/>
                  </a:lnTo>
                  <a:lnTo>
                    <a:pt x="616" y="414"/>
                  </a:lnTo>
                  <a:lnTo>
                    <a:pt x="598" y="420"/>
                  </a:lnTo>
                  <a:lnTo>
                    <a:pt x="582" y="424"/>
                  </a:lnTo>
                  <a:lnTo>
                    <a:pt x="576" y="426"/>
                  </a:lnTo>
                  <a:lnTo>
                    <a:pt x="570" y="430"/>
                  </a:lnTo>
                  <a:lnTo>
                    <a:pt x="562" y="434"/>
                  </a:lnTo>
                  <a:lnTo>
                    <a:pt x="556" y="442"/>
                  </a:lnTo>
                  <a:lnTo>
                    <a:pt x="556" y="442"/>
                  </a:lnTo>
                  <a:lnTo>
                    <a:pt x="544" y="448"/>
                  </a:lnTo>
                  <a:lnTo>
                    <a:pt x="544" y="448"/>
                  </a:lnTo>
                  <a:lnTo>
                    <a:pt x="512" y="422"/>
                  </a:lnTo>
                  <a:lnTo>
                    <a:pt x="512" y="422"/>
                  </a:lnTo>
                  <a:lnTo>
                    <a:pt x="500" y="418"/>
                  </a:lnTo>
                  <a:lnTo>
                    <a:pt x="490" y="414"/>
                  </a:lnTo>
                  <a:lnTo>
                    <a:pt x="482" y="408"/>
                  </a:lnTo>
                  <a:lnTo>
                    <a:pt x="474" y="402"/>
                  </a:lnTo>
                  <a:lnTo>
                    <a:pt x="462" y="390"/>
                  </a:lnTo>
                  <a:lnTo>
                    <a:pt x="450" y="380"/>
                  </a:lnTo>
                  <a:lnTo>
                    <a:pt x="450" y="380"/>
                  </a:lnTo>
                  <a:lnTo>
                    <a:pt x="434" y="382"/>
                  </a:lnTo>
                  <a:lnTo>
                    <a:pt x="426" y="384"/>
                  </a:lnTo>
                  <a:lnTo>
                    <a:pt x="420" y="392"/>
                  </a:lnTo>
                  <a:lnTo>
                    <a:pt x="410" y="404"/>
                  </a:lnTo>
                  <a:lnTo>
                    <a:pt x="410" y="404"/>
                  </a:lnTo>
                  <a:lnTo>
                    <a:pt x="392" y="402"/>
                  </a:lnTo>
                  <a:lnTo>
                    <a:pt x="374" y="398"/>
                  </a:lnTo>
                  <a:lnTo>
                    <a:pt x="358" y="392"/>
                  </a:lnTo>
                  <a:lnTo>
                    <a:pt x="342" y="384"/>
                  </a:lnTo>
                  <a:lnTo>
                    <a:pt x="312" y="366"/>
                  </a:lnTo>
                  <a:lnTo>
                    <a:pt x="286" y="352"/>
                  </a:lnTo>
                  <a:lnTo>
                    <a:pt x="286" y="352"/>
                  </a:lnTo>
                  <a:lnTo>
                    <a:pt x="268" y="348"/>
                  </a:lnTo>
                  <a:lnTo>
                    <a:pt x="252" y="346"/>
                  </a:lnTo>
                  <a:lnTo>
                    <a:pt x="228" y="338"/>
                  </a:lnTo>
                  <a:lnTo>
                    <a:pt x="228" y="338"/>
                  </a:lnTo>
                  <a:lnTo>
                    <a:pt x="200" y="338"/>
                  </a:lnTo>
                  <a:lnTo>
                    <a:pt x="192" y="342"/>
                  </a:lnTo>
                  <a:lnTo>
                    <a:pt x="186" y="344"/>
                  </a:lnTo>
                  <a:lnTo>
                    <a:pt x="184" y="350"/>
                  </a:lnTo>
                  <a:lnTo>
                    <a:pt x="186" y="358"/>
                  </a:lnTo>
                  <a:lnTo>
                    <a:pt x="192" y="368"/>
                  </a:lnTo>
                  <a:lnTo>
                    <a:pt x="202" y="380"/>
                  </a:lnTo>
                  <a:lnTo>
                    <a:pt x="202" y="380"/>
                  </a:lnTo>
                  <a:lnTo>
                    <a:pt x="196" y="392"/>
                  </a:lnTo>
                  <a:lnTo>
                    <a:pt x="196" y="392"/>
                  </a:lnTo>
                  <a:lnTo>
                    <a:pt x="182" y="390"/>
                  </a:lnTo>
                  <a:lnTo>
                    <a:pt x="182" y="390"/>
                  </a:lnTo>
                  <a:lnTo>
                    <a:pt x="164" y="390"/>
                  </a:lnTo>
                  <a:lnTo>
                    <a:pt x="150" y="394"/>
                  </a:lnTo>
                  <a:lnTo>
                    <a:pt x="138" y="398"/>
                  </a:lnTo>
                  <a:lnTo>
                    <a:pt x="128" y="406"/>
                  </a:lnTo>
                  <a:lnTo>
                    <a:pt x="118" y="414"/>
                  </a:lnTo>
                  <a:lnTo>
                    <a:pt x="112" y="426"/>
                  </a:lnTo>
                  <a:lnTo>
                    <a:pt x="96" y="454"/>
                  </a:lnTo>
                  <a:lnTo>
                    <a:pt x="96" y="454"/>
                  </a:lnTo>
                  <a:lnTo>
                    <a:pt x="88" y="460"/>
                  </a:lnTo>
                  <a:lnTo>
                    <a:pt x="80" y="466"/>
                  </a:lnTo>
                  <a:lnTo>
                    <a:pt x="80" y="466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67" name="未知"/>
            <p:cNvSpPr>
              <a:spLocks/>
            </p:cNvSpPr>
            <p:nvPr/>
          </p:nvSpPr>
          <p:spPr bwMode="auto">
            <a:xfrm>
              <a:off x="3303041" y="2152763"/>
              <a:ext cx="344367" cy="394838"/>
            </a:xfrm>
            <a:custGeom>
              <a:avLst/>
              <a:gdLst>
                <a:gd name="T0" fmla="*/ 212 w 466"/>
                <a:gd name="T1" fmla="*/ 570 h 574"/>
                <a:gd name="T2" fmla="*/ 202 w 466"/>
                <a:gd name="T3" fmla="*/ 516 h 574"/>
                <a:gd name="T4" fmla="*/ 166 w 466"/>
                <a:gd name="T5" fmla="*/ 522 h 574"/>
                <a:gd name="T6" fmla="*/ 148 w 466"/>
                <a:gd name="T7" fmla="*/ 546 h 574"/>
                <a:gd name="T8" fmla="*/ 140 w 466"/>
                <a:gd name="T9" fmla="*/ 538 h 574"/>
                <a:gd name="T10" fmla="*/ 122 w 466"/>
                <a:gd name="T11" fmla="*/ 520 h 574"/>
                <a:gd name="T12" fmla="*/ 114 w 466"/>
                <a:gd name="T13" fmla="*/ 490 h 574"/>
                <a:gd name="T14" fmla="*/ 102 w 466"/>
                <a:gd name="T15" fmla="*/ 470 h 574"/>
                <a:gd name="T16" fmla="*/ 100 w 466"/>
                <a:gd name="T17" fmla="*/ 446 h 574"/>
                <a:gd name="T18" fmla="*/ 106 w 466"/>
                <a:gd name="T19" fmla="*/ 416 h 574"/>
                <a:gd name="T20" fmla="*/ 68 w 466"/>
                <a:gd name="T21" fmla="*/ 398 h 574"/>
                <a:gd name="T22" fmla="*/ 58 w 466"/>
                <a:gd name="T23" fmla="*/ 380 h 574"/>
                <a:gd name="T24" fmla="*/ 56 w 466"/>
                <a:gd name="T25" fmla="*/ 366 h 574"/>
                <a:gd name="T26" fmla="*/ 86 w 466"/>
                <a:gd name="T27" fmla="*/ 346 h 574"/>
                <a:gd name="T28" fmla="*/ 96 w 466"/>
                <a:gd name="T29" fmla="*/ 284 h 574"/>
                <a:gd name="T30" fmla="*/ 78 w 466"/>
                <a:gd name="T31" fmla="*/ 252 h 574"/>
                <a:gd name="T32" fmla="*/ 48 w 466"/>
                <a:gd name="T33" fmla="*/ 262 h 574"/>
                <a:gd name="T34" fmla="*/ 30 w 466"/>
                <a:gd name="T35" fmla="*/ 252 h 574"/>
                <a:gd name="T36" fmla="*/ 0 w 466"/>
                <a:gd name="T37" fmla="*/ 202 h 574"/>
                <a:gd name="T38" fmla="*/ 10 w 466"/>
                <a:gd name="T39" fmla="*/ 180 h 574"/>
                <a:gd name="T40" fmla="*/ 42 w 466"/>
                <a:gd name="T41" fmla="*/ 148 h 574"/>
                <a:gd name="T42" fmla="*/ 44 w 466"/>
                <a:gd name="T43" fmla="*/ 72 h 574"/>
                <a:gd name="T44" fmla="*/ 58 w 466"/>
                <a:gd name="T45" fmla="*/ 74 h 574"/>
                <a:gd name="T46" fmla="*/ 76 w 466"/>
                <a:gd name="T47" fmla="*/ 110 h 574"/>
                <a:gd name="T48" fmla="*/ 110 w 466"/>
                <a:gd name="T49" fmla="*/ 120 h 574"/>
                <a:gd name="T50" fmla="*/ 126 w 466"/>
                <a:gd name="T51" fmla="*/ 80 h 574"/>
                <a:gd name="T52" fmla="*/ 134 w 466"/>
                <a:gd name="T53" fmla="*/ 54 h 574"/>
                <a:gd name="T54" fmla="*/ 102 w 466"/>
                <a:gd name="T55" fmla="*/ 6 h 574"/>
                <a:gd name="T56" fmla="*/ 118 w 466"/>
                <a:gd name="T57" fmla="*/ 0 h 574"/>
                <a:gd name="T58" fmla="*/ 150 w 466"/>
                <a:gd name="T59" fmla="*/ 40 h 574"/>
                <a:gd name="T60" fmla="*/ 176 w 466"/>
                <a:gd name="T61" fmla="*/ 80 h 574"/>
                <a:gd name="T62" fmla="*/ 264 w 466"/>
                <a:gd name="T63" fmla="*/ 106 h 574"/>
                <a:gd name="T64" fmla="*/ 294 w 466"/>
                <a:gd name="T65" fmla="*/ 174 h 574"/>
                <a:gd name="T66" fmla="*/ 318 w 466"/>
                <a:gd name="T67" fmla="*/ 202 h 574"/>
                <a:gd name="T68" fmla="*/ 358 w 466"/>
                <a:gd name="T69" fmla="*/ 194 h 574"/>
                <a:gd name="T70" fmla="*/ 362 w 466"/>
                <a:gd name="T71" fmla="*/ 180 h 574"/>
                <a:gd name="T72" fmla="*/ 388 w 466"/>
                <a:gd name="T73" fmla="*/ 194 h 574"/>
                <a:gd name="T74" fmla="*/ 382 w 466"/>
                <a:gd name="T75" fmla="*/ 224 h 574"/>
                <a:gd name="T76" fmla="*/ 338 w 466"/>
                <a:gd name="T77" fmla="*/ 250 h 574"/>
                <a:gd name="T78" fmla="*/ 330 w 466"/>
                <a:gd name="T79" fmla="*/ 280 h 574"/>
                <a:gd name="T80" fmla="*/ 326 w 466"/>
                <a:gd name="T81" fmla="*/ 302 h 574"/>
                <a:gd name="T82" fmla="*/ 380 w 466"/>
                <a:gd name="T83" fmla="*/ 346 h 574"/>
                <a:gd name="T84" fmla="*/ 392 w 466"/>
                <a:gd name="T85" fmla="*/ 360 h 574"/>
                <a:gd name="T86" fmla="*/ 456 w 466"/>
                <a:gd name="T87" fmla="*/ 378 h 574"/>
                <a:gd name="T88" fmla="*/ 466 w 466"/>
                <a:gd name="T89" fmla="*/ 402 h 574"/>
                <a:gd name="T90" fmla="*/ 426 w 466"/>
                <a:gd name="T91" fmla="*/ 420 h 574"/>
                <a:gd name="T92" fmla="*/ 416 w 466"/>
                <a:gd name="T93" fmla="*/ 440 h 574"/>
                <a:gd name="T94" fmla="*/ 420 w 466"/>
                <a:gd name="T95" fmla="*/ 460 h 574"/>
                <a:gd name="T96" fmla="*/ 400 w 466"/>
                <a:gd name="T97" fmla="*/ 522 h 574"/>
                <a:gd name="T98" fmla="*/ 378 w 466"/>
                <a:gd name="T99" fmla="*/ 546 h 574"/>
                <a:gd name="T100" fmla="*/ 330 w 466"/>
                <a:gd name="T101" fmla="*/ 560 h 574"/>
                <a:gd name="T102" fmla="*/ 278 w 466"/>
                <a:gd name="T103" fmla="*/ 566 h 574"/>
                <a:gd name="T104" fmla="*/ 256 w 466"/>
                <a:gd name="T105" fmla="*/ 536 h 574"/>
                <a:gd name="T106" fmla="*/ 238 w 466"/>
                <a:gd name="T107" fmla="*/ 532 h 574"/>
                <a:gd name="T108" fmla="*/ 226 w 466"/>
                <a:gd name="T109" fmla="*/ 574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66" h="574">
                  <a:moveTo>
                    <a:pt x="216" y="574"/>
                  </a:moveTo>
                  <a:lnTo>
                    <a:pt x="216" y="574"/>
                  </a:lnTo>
                  <a:lnTo>
                    <a:pt x="212" y="570"/>
                  </a:lnTo>
                  <a:lnTo>
                    <a:pt x="212" y="570"/>
                  </a:lnTo>
                  <a:lnTo>
                    <a:pt x="212" y="524"/>
                  </a:lnTo>
                  <a:lnTo>
                    <a:pt x="212" y="524"/>
                  </a:lnTo>
                  <a:lnTo>
                    <a:pt x="202" y="516"/>
                  </a:lnTo>
                  <a:lnTo>
                    <a:pt x="202" y="516"/>
                  </a:lnTo>
                  <a:lnTo>
                    <a:pt x="182" y="516"/>
                  </a:lnTo>
                  <a:lnTo>
                    <a:pt x="176" y="518"/>
                  </a:lnTo>
                  <a:lnTo>
                    <a:pt x="170" y="520"/>
                  </a:lnTo>
                  <a:lnTo>
                    <a:pt x="166" y="522"/>
                  </a:lnTo>
                  <a:lnTo>
                    <a:pt x="162" y="528"/>
                  </a:lnTo>
                  <a:lnTo>
                    <a:pt x="154" y="542"/>
                  </a:lnTo>
                  <a:lnTo>
                    <a:pt x="154" y="542"/>
                  </a:lnTo>
                  <a:lnTo>
                    <a:pt x="148" y="546"/>
                  </a:lnTo>
                  <a:lnTo>
                    <a:pt x="144" y="548"/>
                  </a:lnTo>
                  <a:lnTo>
                    <a:pt x="144" y="548"/>
                  </a:lnTo>
                  <a:lnTo>
                    <a:pt x="142" y="542"/>
                  </a:lnTo>
                  <a:lnTo>
                    <a:pt x="140" y="538"/>
                  </a:lnTo>
                  <a:lnTo>
                    <a:pt x="130" y="532"/>
                  </a:lnTo>
                  <a:lnTo>
                    <a:pt x="130" y="532"/>
                  </a:lnTo>
                  <a:lnTo>
                    <a:pt x="122" y="520"/>
                  </a:lnTo>
                  <a:lnTo>
                    <a:pt x="122" y="520"/>
                  </a:lnTo>
                  <a:lnTo>
                    <a:pt x="122" y="510"/>
                  </a:lnTo>
                  <a:lnTo>
                    <a:pt x="120" y="502"/>
                  </a:lnTo>
                  <a:lnTo>
                    <a:pt x="118" y="494"/>
                  </a:lnTo>
                  <a:lnTo>
                    <a:pt x="114" y="490"/>
                  </a:lnTo>
                  <a:lnTo>
                    <a:pt x="108" y="480"/>
                  </a:lnTo>
                  <a:lnTo>
                    <a:pt x="104" y="476"/>
                  </a:lnTo>
                  <a:lnTo>
                    <a:pt x="102" y="470"/>
                  </a:lnTo>
                  <a:lnTo>
                    <a:pt x="102" y="470"/>
                  </a:lnTo>
                  <a:lnTo>
                    <a:pt x="94" y="462"/>
                  </a:lnTo>
                  <a:lnTo>
                    <a:pt x="94" y="462"/>
                  </a:lnTo>
                  <a:lnTo>
                    <a:pt x="94" y="452"/>
                  </a:lnTo>
                  <a:lnTo>
                    <a:pt x="100" y="446"/>
                  </a:lnTo>
                  <a:lnTo>
                    <a:pt x="112" y="436"/>
                  </a:lnTo>
                  <a:lnTo>
                    <a:pt x="112" y="436"/>
                  </a:lnTo>
                  <a:lnTo>
                    <a:pt x="110" y="424"/>
                  </a:lnTo>
                  <a:lnTo>
                    <a:pt x="106" y="416"/>
                  </a:lnTo>
                  <a:lnTo>
                    <a:pt x="100" y="410"/>
                  </a:lnTo>
                  <a:lnTo>
                    <a:pt x="92" y="406"/>
                  </a:lnTo>
                  <a:lnTo>
                    <a:pt x="74" y="400"/>
                  </a:lnTo>
                  <a:lnTo>
                    <a:pt x="68" y="398"/>
                  </a:lnTo>
                  <a:lnTo>
                    <a:pt x="60" y="394"/>
                  </a:lnTo>
                  <a:lnTo>
                    <a:pt x="60" y="394"/>
                  </a:lnTo>
                  <a:lnTo>
                    <a:pt x="58" y="380"/>
                  </a:lnTo>
                  <a:lnTo>
                    <a:pt x="58" y="380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4" y="370"/>
                  </a:lnTo>
                  <a:lnTo>
                    <a:pt x="56" y="366"/>
                  </a:lnTo>
                  <a:lnTo>
                    <a:pt x="64" y="356"/>
                  </a:lnTo>
                  <a:lnTo>
                    <a:pt x="74" y="350"/>
                  </a:lnTo>
                  <a:lnTo>
                    <a:pt x="86" y="346"/>
                  </a:lnTo>
                  <a:lnTo>
                    <a:pt x="86" y="346"/>
                  </a:lnTo>
                  <a:lnTo>
                    <a:pt x="102" y="326"/>
                  </a:lnTo>
                  <a:lnTo>
                    <a:pt x="102" y="326"/>
                  </a:lnTo>
                  <a:lnTo>
                    <a:pt x="100" y="304"/>
                  </a:lnTo>
                  <a:lnTo>
                    <a:pt x="96" y="284"/>
                  </a:lnTo>
                  <a:lnTo>
                    <a:pt x="88" y="266"/>
                  </a:lnTo>
                  <a:lnTo>
                    <a:pt x="84" y="260"/>
                  </a:lnTo>
                  <a:lnTo>
                    <a:pt x="78" y="252"/>
                  </a:lnTo>
                  <a:lnTo>
                    <a:pt x="78" y="252"/>
                  </a:lnTo>
                  <a:lnTo>
                    <a:pt x="56" y="252"/>
                  </a:lnTo>
                  <a:lnTo>
                    <a:pt x="56" y="252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0" y="264"/>
                  </a:lnTo>
                  <a:lnTo>
                    <a:pt x="40" y="264"/>
                  </a:lnTo>
                  <a:lnTo>
                    <a:pt x="34" y="258"/>
                  </a:lnTo>
                  <a:lnTo>
                    <a:pt x="30" y="252"/>
                  </a:lnTo>
                  <a:lnTo>
                    <a:pt x="24" y="238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2" y="194"/>
                  </a:lnTo>
                  <a:lnTo>
                    <a:pt x="6" y="186"/>
                  </a:lnTo>
                  <a:lnTo>
                    <a:pt x="10" y="180"/>
                  </a:lnTo>
                  <a:lnTo>
                    <a:pt x="16" y="172"/>
                  </a:lnTo>
                  <a:lnTo>
                    <a:pt x="30" y="160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6" y="128"/>
                  </a:lnTo>
                  <a:lnTo>
                    <a:pt x="46" y="10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60" y="82"/>
                  </a:lnTo>
                  <a:lnTo>
                    <a:pt x="66" y="96"/>
                  </a:lnTo>
                  <a:lnTo>
                    <a:pt x="72" y="104"/>
                  </a:lnTo>
                  <a:lnTo>
                    <a:pt x="76" y="110"/>
                  </a:lnTo>
                  <a:lnTo>
                    <a:pt x="82" y="116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110" y="120"/>
                  </a:lnTo>
                  <a:lnTo>
                    <a:pt x="110" y="120"/>
                  </a:lnTo>
                  <a:lnTo>
                    <a:pt x="118" y="104"/>
                  </a:lnTo>
                  <a:lnTo>
                    <a:pt x="122" y="92"/>
                  </a:lnTo>
                  <a:lnTo>
                    <a:pt x="126" y="80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8" y="10"/>
                  </a:lnTo>
                  <a:lnTo>
                    <a:pt x="102" y="6"/>
                  </a:lnTo>
                  <a:lnTo>
                    <a:pt x="106" y="4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28" y="12"/>
                  </a:lnTo>
                  <a:lnTo>
                    <a:pt x="140" y="24"/>
                  </a:lnTo>
                  <a:lnTo>
                    <a:pt x="150" y="40"/>
                  </a:lnTo>
                  <a:lnTo>
                    <a:pt x="160" y="60"/>
                  </a:lnTo>
                  <a:lnTo>
                    <a:pt x="160" y="60"/>
                  </a:lnTo>
                  <a:lnTo>
                    <a:pt x="176" y="80"/>
                  </a:lnTo>
                  <a:lnTo>
                    <a:pt x="176" y="80"/>
                  </a:lnTo>
                  <a:lnTo>
                    <a:pt x="248" y="94"/>
                  </a:lnTo>
                  <a:lnTo>
                    <a:pt x="248" y="94"/>
                  </a:lnTo>
                  <a:lnTo>
                    <a:pt x="264" y="106"/>
                  </a:lnTo>
                  <a:lnTo>
                    <a:pt x="264" y="106"/>
                  </a:lnTo>
                  <a:lnTo>
                    <a:pt x="272" y="126"/>
                  </a:lnTo>
                  <a:lnTo>
                    <a:pt x="280" y="150"/>
                  </a:lnTo>
                  <a:lnTo>
                    <a:pt x="286" y="162"/>
                  </a:lnTo>
                  <a:lnTo>
                    <a:pt x="294" y="174"/>
                  </a:lnTo>
                  <a:lnTo>
                    <a:pt x="302" y="184"/>
                  </a:lnTo>
                  <a:lnTo>
                    <a:pt x="314" y="194"/>
                  </a:lnTo>
                  <a:lnTo>
                    <a:pt x="314" y="194"/>
                  </a:lnTo>
                  <a:lnTo>
                    <a:pt x="318" y="202"/>
                  </a:lnTo>
                  <a:lnTo>
                    <a:pt x="318" y="202"/>
                  </a:lnTo>
                  <a:lnTo>
                    <a:pt x="336" y="200"/>
                  </a:lnTo>
                  <a:lnTo>
                    <a:pt x="348" y="198"/>
                  </a:lnTo>
                  <a:lnTo>
                    <a:pt x="358" y="194"/>
                  </a:lnTo>
                  <a:lnTo>
                    <a:pt x="358" y="194"/>
                  </a:lnTo>
                  <a:lnTo>
                    <a:pt x="360" y="182"/>
                  </a:lnTo>
                  <a:lnTo>
                    <a:pt x="360" y="180"/>
                  </a:lnTo>
                  <a:lnTo>
                    <a:pt x="362" y="180"/>
                  </a:lnTo>
                  <a:lnTo>
                    <a:pt x="366" y="180"/>
                  </a:lnTo>
                  <a:lnTo>
                    <a:pt x="380" y="180"/>
                  </a:lnTo>
                  <a:lnTo>
                    <a:pt x="380" y="180"/>
                  </a:lnTo>
                  <a:lnTo>
                    <a:pt x="388" y="194"/>
                  </a:lnTo>
                  <a:lnTo>
                    <a:pt x="392" y="206"/>
                  </a:lnTo>
                  <a:lnTo>
                    <a:pt x="394" y="220"/>
                  </a:lnTo>
                  <a:lnTo>
                    <a:pt x="394" y="220"/>
                  </a:lnTo>
                  <a:lnTo>
                    <a:pt x="382" y="224"/>
                  </a:lnTo>
                  <a:lnTo>
                    <a:pt x="370" y="226"/>
                  </a:lnTo>
                  <a:lnTo>
                    <a:pt x="348" y="226"/>
                  </a:lnTo>
                  <a:lnTo>
                    <a:pt x="348" y="226"/>
                  </a:lnTo>
                  <a:lnTo>
                    <a:pt x="338" y="250"/>
                  </a:lnTo>
                  <a:lnTo>
                    <a:pt x="338" y="250"/>
                  </a:lnTo>
                  <a:lnTo>
                    <a:pt x="334" y="274"/>
                  </a:lnTo>
                  <a:lnTo>
                    <a:pt x="334" y="274"/>
                  </a:lnTo>
                  <a:lnTo>
                    <a:pt x="330" y="280"/>
                  </a:lnTo>
                  <a:lnTo>
                    <a:pt x="326" y="284"/>
                  </a:lnTo>
                  <a:lnTo>
                    <a:pt x="326" y="292"/>
                  </a:lnTo>
                  <a:lnTo>
                    <a:pt x="326" y="302"/>
                  </a:lnTo>
                  <a:lnTo>
                    <a:pt x="326" y="302"/>
                  </a:lnTo>
                  <a:lnTo>
                    <a:pt x="368" y="342"/>
                  </a:lnTo>
                  <a:lnTo>
                    <a:pt x="368" y="342"/>
                  </a:lnTo>
                  <a:lnTo>
                    <a:pt x="372" y="344"/>
                  </a:lnTo>
                  <a:lnTo>
                    <a:pt x="380" y="346"/>
                  </a:lnTo>
                  <a:lnTo>
                    <a:pt x="388" y="350"/>
                  </a:lnTo>
                  <a:lnTo>
                    <a:pt x="390" y="354"/>
                  </a:lnTo>
                  <a:lnTo>
                    <a:pt x="392" y="360"/>
                  </a:lnTo>
                  <a:lnTo>
                    <a:pt x="392" y="360"/>
                  </a:lnTo>
                  <a:lnTo>
                    <a:pt x="408" y="374"/>
                  </a:lnTo>
                  <a:lnTo>
                    <a:pt x="408" y="374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66" y="386"/>
                  </a:lnTo>
                  <a:lnTo>
                    <a:pt x="466" y="386"/>
                  </a:lnTo>
                  <a:lnTo>
                    <a:pt x="466" y="402"/>
                  </a:lnTo>
                  <a:lnTo>
                    <a:pt x="466" y="402"/>
                  </a:lnTo>
                  <a:lnTo>
                    <a:pt x="458" y="408"/>
                  </a:lnTo>
                  <a:lnTo>
                    <a:pt x="450" y="412"/>
                  </a:lnTo>
                  <a:lnTo>
                    <a:pt x="434" y="416"/>
                  </a:lnTo>
                  <a:lnTo>
                    <a:pt x="426" y="420"/>
                  </a:lnTo>
                  <a:lnTo>
                    <a:pt x="422" y="424"/>
                  </a:lnTo>
                  <a:lnTo>
                    <a:pt x="418" y="430"/>
                  </a:lnTo>
                  <a:lnTo>
                    <a:pt x="416" y="440"/>
                  </a:lnTo>
                  <a:lnTo>
                    <a:pt x="416" y="44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20" y="460"/>
                  </a:lnTo>
                  <a:lnTo>
                    <a:pt x="420" y="460"/>
                  </a:lnTo>
                  <a:lnTo>
                    <a:pt x="408" y="466"/>
                  </a:lnTo>
                  <a:lnTo>
                    <a:pt x="400" y="472"/>
                  </a:lnTo>
                  <a:lnTo>
                    <a:pt x="400" y="472"/>
                  </a:lnTo>
                  <a:lnTo>
                    <a:pt x="400" y="522"/>
                  </a:lnTo>
                  <a:lnTo>
                    <a:pt x="400" y="522"/>
                  </a:lnTo>
                  <a:lnTo>
                    <a:pt x="392" y="532"/>
                  </a:lnTo>
                  <a:lnTo>
                    <a:pt x="384" y="540"/>
                  </a:lnTo>
                  <a:lnTo>
                    <a:pt x="378" y="546"/>
                  </a:lnTo>
                  <a:lnTo>
                    <a:pt x="368" y="550"/>
                  </a:lnTo>
                  <a:lnTo>
                    <a:pt x="352" y="556"/>
                  </a:lnTo>
                  <a:lnTo>
                    <a:pt x="330" y="560"/>
                  </a:lnTo>
                  <a:lnTo>
                    <a:pt x="330" y="560"/>
                  </a:lnTo>
                  <a:lnTo>
                    <a:pt x="316" y="566"/>
                  </a:lnTo>
                  <a:lnTo>
                    <a:pt x="302" y="570"/>
                  </a:lnTo>
                  <a:lnTo>
                    <a:pt x="290" y="570"/>
                  </a:lnTo>
                  <a:lnTo>
                    <a:pt x="278" y="566"/>
                  </a:lnTo>
                  <a:lnTo>
                    <a:pt x="278" y="566"/>
                  </a:lnTo>
                  <a:lnTo>
                    <a:pt x="268" y="556"/>
                  </a:lnTo>
                  <a:lnTo>
                    <a:pt x="260" y="546"/>
                  </a:lnTo>
                  <a:lnTo>
                    <a:pt x="256" y="536"/>
                  </a:lnTo>
                  <a:lnTo>
                    <a:pt x="250" y="530"/>
                  </a:lnTo>
                  <a:lnTo>
                    <a:pt x="250" y="530"/>
                  </a:lnTo>
                  <a:lnTo>
                    <a:pt x="242" y="530"/>
                  </a:lnTo>
                  <a:lnTo>
                    <a:pt x="238" y="532"/>
                  </a:lnTo>
                  <a:lnTo>
                    <a:pt x="234" y="542"/>
                  </a:lnTo>
                  <a:lnTo>
                    <a:pt x="234" y="542"/>
                  </a:lnTo>
                  <a:lnTo>
                    <a:pt x="226" y="574"/>
                  </a:lnTo>
                  <a:lnTo>
                    <a:pt x="226" y="574"/>
                  </a:lnTo>
                  <a:lnTo>
                    <a:pt x="216" y="574"/>
                  </a:lnTo>
                  <a:lnTo>
                    <a:pt x="216" y="574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68" name="未知"/>
            <p:cNvSpPr>
              <a:spLocks/>
            </p:cNvSpPr>
            <p:nvPr/>
          </p:nvSpPr>
          <p:spPr bwMode="auto">
            <a:xfrm>
              <a:off x="3394655" y="2098644"/>
              <a:ext cx="401625" cy="370447"/>
            </a:xfrm>
            <a:custGeom>
              <a:avLst/>
              <a:gdLst>
                <a:gd name="T0" fmla="*/ 322 w 544"/>
                <a:gd name="T1" fmla="*/ 532 h 538"/>
                <a:gd name="T2" fmla="*/ 308 w 544"/>
                <a:gd name="T3" fmla="*/ 518 h 538"/>
                <a:gd name="T4" fmla="*/ 308 w 544"/>
                <a:gd name="T5" fmla="*/ 508 h 538"/>
                <a:gd name="T6" fmla="*/ 354 w 544"/>
                <a:gd name="T7" fmla="*/ 484 h 538"/>
                <a:gd name="T8" fmla="*/ 342 w 544"/>
                <a:gd name="T9" fmla="*/ 450 h 538"/>
                <a:gd name="T10" fmla="*/ 298 w 544"/>
                <a:gd name="T11" fmla="*/ 444 h 538"/>
                <a:gd name="T12" fmla="*/ 272 w 544"/>
                <a:gd name="T13" fmla="*/ 420 h 538"/>
                <a:gd name="T14" fmla="*/ 240 w 544"/>
                <a:gd name="T15" fmla="*/ 400 h 538"/>
                <a:gd name="T16" fmla="*/ 216 w 544"/>
                <a:gd name="T17" fmla="*/ 380 h 538"/>
                <a:gd name="T18" fmla="*/ 216 w 544"/>
                <a:gd name="T19" fmla="*/ 364 h 538"/>
                <a:gd name="T20" fmla="*/ 224 w 544"/>
                <a:gd name="T21" fmla="*/ 334 h 538"/>
                <a:gd name="T22" fmla="*/ 254 w 544"/>
                <a:gd name="T23" fmla="*/ 314 h 538"/>
                <a:gd name="T24" fmla="*/ 280 w 544"/>
                <a:gd name="T25" fmla="*/ 304 h 538"/>
                <a:gd name="T26" fmla="*/ 264 w 544"/>
                <a:gd name="T27" fmla="*/ 250 h 538"/>
                <a:gd name="T28" fmla="*/ 228 w 544"/>
                <a:gd name="T29" fmla="*/ 252 h 538"/>
                <a:gd name="T30" fmla="*/ 202 w 544"/>
                <a:gd name="T31" fmla="*/ 272 h 538"/>
                <a:gd name="T32" fmla="*/ 186 w 544"/>
                <a:gd name="T33" fmla="*/ 256 h 538"/>
                <a:gd name="T34" fmla="*/ 152 w 544"/>
                <a:gd name="T35" fmla="*/ 186 h 538"/>
                <a:gd name="T36" fmla="*/ 116 w 544"/>
                <a:gd name="T37" fmla="*/ 158 h 538"/>
                <a:gd name="T38" fmla="*/ 58 w 544"/>
                <a:gd name="T39" fmla="*/ 146 h 538"/>
                <a:gd name="T40" fmla="*/ 26 w 544"/>
                <a:gd name="T41" fmla="*/ 98 h 538"/>
                <a:gd name="T42" fmla="*/ 0 w 544"/>
                <a:gd name="T43" fmla="*/ 56 h 538"/>
                <a:gd name="T44" fmla="*/ 10 w 544"/>
                <a:gd name="T45" fmla="*/ 36 h 538"/>
                <a:gd name="T46" fmla="*/ 30 w 544"/>
                <a:gd name="T47" fmla="*/ 52 h 538"/>
                <a:gd name="T48" fmla="*/ 36 w 544"/>
                <a:gd name="T49" fmla="*/ 60 h 538"/>
                <a:gd name="T50" fmla="*/ 60 w 544"/>
                <a:gd name="T51" fmla="*/ 90 h 538"/>
                <a:gd name="T52" fmla="*/ 112 w 544"/>
                <a:gd name="T53" fmla="*/ 98 h 538"/>
                <a:gd name="T54" fmla="*/ 140 w 544"/>
                <a:gd name="T55" fmla="*/ 68 h 538"/>
                <a:gd name="T56" fmla="*/ 160 w 544"/>
                <a:gd name="T57" fmla="*/ 76 h 538"/>
                <a:gd name="T58" fmla="*/ 200 w 544"/>
                <a:gd name="T59" fmla="*/ 50 h 538"/>
                <a:gd name="T60" fmla="*/ 212 w 544"/>
                <a:gd name="T61" fmla="*/ 10 h 538"/>
                <a:gd name="T62" fmla="*/ 236 w 544"/>
                <a:gd name="T63" fmla="*/ 0 h 538"/>
                <a:gd name="T64" fmla="*/ 268 w 544"/>
                <a:gd name="T65" fmla="*/ 52 h 538"/>
                <a:gd name="T66" fmla="*/ 338 w 544"/>
                <a:gd name="T67" fmla="*/ 88 h 538"/>
                <a:gd name="T68" fmla="*/ 412 w 544"/>
                <a:gd name="T69" fmla="*/ 218 h 538"/>
                <a:gd name="T70" fmla="*/ 424 w 544"/>
                <a:gd name="T71" fmla="*/ 258 h 538"/>
                <a:gd name="T72" fmla="*/ 500 w 544"/>
                <a:gd name="T73" fmla="*/ 312 h 538"/>
                <a:gd name="T74" fmla="*/ 526 w 544"/>
                <a:gd name="T75" fmla="*/ 336 h 538"/>
                <a:gd name="T76" fmla="*/ 470 w 544"/>
                <a:gd name="T77" fmla="*/ 340 h 538"/>
                <a:gd name="T78" fmla="*/ 504 w 544"/>
                <a:gd name="T79" fmla="*/ 374 h 538"/>
                <a:gd name="T80" fmla="*/ 498 w 544"/>
                <a:gd name="T81" fmla="*/ 392 h 538"/>
                <a:gd name="T82" fmla="*/ 540 w 544"/>
                <a:gd name="T83" fmla="*/ 420 h 538"/>
                <a:gd name="T84" fmla="*/ 540 w 544"/>
                <a:gd name="T85" fmla="*/ 440 h 538"/>
                <a:gd name="T86" fmla="*/ 502 w 544"/>
                <a:gd name="T87" fmla="*/ 468 h 538"/>
                <a:gd name="T88" fmla="*/ 498 w 544"/>
                <a:gd name="T89" fmla="*/ 474 h 538"/>
                <a:gd name="T90" fmla="*/ 452 w 544"/>
                <a:gd name="T91" fmla="*/ 514 h 538"/>
                <a:gd name="T92" fmla="*/ 416 w 544"/>
                <a:gd name="T93" fmla="*/ 530 h 538"/>
                <a:gd name="T94" fmla="*/ 342 w 544"/>
                <a:gd name="T95" fmla="*/ 53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44" h="538">
                  <a:moveTo>
                    <a:pt x="342" y="538"/>
                  </a:moveTo>
                  <a:lnTo>
                    <a:pt x="342" y="538"/>
                  </a:lnTo>
                  <a:lnTo>
                    <a:pt x="330" y="534"/>
                  </a:lnTo>
                  <a:lnTo>
                    <a:pt x="322" y="532"/>
                  </a:lnTo>
                  <a:lnTo>
                    <a:pt x="308" y="532"/>
                  </a:lnTo>
                  <a:lnTo>
                    <a:pt x="308" y="532"/>
                  </a:lnTo>
                  <a:lnTo>
                    <a:pt x="308" y="518"/>
                  </a:lnTo>
                  <a:lnTo>
                    <a:pt x="308" y="518"/>
                  </a:lnTo>
                  <a:lnTo>
                    <a:pt x="304" y="516"/>
                  </a:lnTo>
                  <a:lnTo>
                    <a:pt x="304" y="514"/>
                  </a:lnTo>
                  <a:lnTo>
                    <a:pt x="304" y="512"/>
                  </a:lnTo>
                  <a:lnTo>
                    <a:pt x="308" y="508"/>
                  </a:lnTo>
                  <a:lnTo>
                    <a:pt x="316" y="506"/>
                  </a:lnTo>
                  <a:lnTo>
                    <a:pt x="344" y="496"/>
                  </a:lnTo>
                  <a:lnTo>
                    <a:pt x="344" y="496"/>
                  </a:lnTo>
                  <a:lnTo>
                    <a:pt x="354" y="484"/>
                  </a:lnTo>
                  <a:lnTo>
                    <a:pt x="354" y="484"/>
                  </a:lnTo>
                  <a:lnTo>
                    <a:pt x="352" y="468"/>
                  </a:lnTo>
                  <a:lnTo>
                    <a:pt x="348" y="458"/>
                  </a:lnTo>
                  <a:lnTo>
                    <a:pt x="342" y="450"/>
                  </a:lnTo>
                  <a:lnTo>
                    <a:pt x="336" y="446"/>
                  </a:lnTo>
                  <a:lnTo>
                    <a:pt x="326" y="444"/>
                  </a:lnTo>
                  <a:lnTo>
                    <a:pt x="318" y="444"/>
                  </a:lnTo>
                  <a:lnTo>
                    <a:pt x="298" y="444"/>
                  </a:lnTo>
                  <a:lnTo>
                    <a:pt x="298" y="444"/>
                  </a:lnTo>
                  <a:lnTo>
                    <a:pt x="286" y="438"/>
                  </a:lnTo>
                  <a:lnTo>
                    <a:pt x="280" y="432"/>
                  </a:lnTo>
                  <a:lnTo>
                    <a:pt x="272" y="420"/>
                  </a:lnTo>
                  <a:lnTo>
                    <a:pt x="272" y="420"/>
                  </a:lnTo>
                  <a:lnTo>
                    <a:pt x="258" y="414"/>
                  </a:lnTo>
                  <a:lnTo>
                    <a:pt x="248" y="408"/>
                  </a:lnTo>
                  <a:lnTo>
                    <a:pt x="240" y="400"/>
                  </a:lnTo>
                  <a:lnTo>
                    <a:pt x="234" y="394"/>
                  </a:lnTo>
                  <a:lnTo>
                    <a:pt x="234" y="394"/>
                  </a:lnTo>
                  <a:lnTo>
                    <a:pt x="222" y="386"/>
                  </a:lnTo>
                  <a:lnTo>
                    <a:pt x="216" y="380"/>
                  </a:lnTo>
                  <a:lnTo>
                    <a:pt x="214" y="374"/>
                  </a:lnTo>
                  <a:lnTo>
                    <a:pt x="210" y="368"/>
                  </a:lnTo>
                  <a:lnTo>
                    <a:pt x="210" y="368"/>
                  </a:lnTo>
                  <a:lnTo>
                    <a:pt x="216" y="364"/>
                  </a:lnTo>
                  <a:lnTo>
                    <a:pt x="220" y="360"/>
                  </a:lnTo>
                  <a:lnTo>
                    <a:pt x="222" y="350"/>
                  </a:lnTo>
                  <a:lnTo>
                    <a:pt x="224" y="334"/>
                  </a:lnTo>
                  <a:lnTo>
                    <a:pt x="224" y="334"/>
                  </a:lnTo>
                  <a:lnTo>
                    <a:pt x="230" y="314"/>
                  </a:lnTo>
                  <a:lnTo>
                    <a:pt x="230" y="314"/>
                  </a:lnTo>
                  <a:lnTo>
                    <a:pt x="242" y="314"/>
                  </a:lnTo>
                  <a:lnTo>
                    <a:pt x="254" y="314"/>
                  </a:lnTo>
                  <a:lnTo>
                    <a:pt x="266" y="312"/>
                  </a:lnTo>
                  <a:lnTo>
                    <a:pt x="274" y="308"/>
                  </a:lnTo>
                  <a:lnTo>
                    <a:pt x="280" y="304"/>
                  </a:lnTo>
                  <a:lnTo>
                    <a:pt x="280" y="304"/>
                  </a:lnTo>
                  <a:lnTo>
                    <a:pt x="278" y="286"/>
                  </a:lnTo>
                  <a:lnTo>
                    <a:pt x="276" y="268"/>
                  </a:lnTo>
                  <a:lnTo>
                    <a:pt x="268" y="256"/>
                  </a:lnTo>
                  <a:lnTo>
                    <a:pt x="264" y="250"/>
                  </a:lnTo>
                  <a:lnTo>
                    <a:pt x="260" y="246"/>
                  </a:lnTo>
                  <a:lnTo>
                    <a:pt x="260" y="246"/>
                  </a:lnTo>
                  <a:lnTo>
                    <a:pt x="240" y="248"/>
                  </a:lnTo>
                  <a:lnTo>
                    <a:pt x="228" y="252"/>
                  </a:lnTo>
                  <a:lnTo>
                    <a:pt x="228" y="252"/>
                  </a:lnTo>
                  <a:lnTo>
                    <a:pt x="224" y="268"/>
                  </a:lnTo>
                  <a:lnTo>
                    <a:pt x="224" y="268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198" y="264"/>
                  </a:lnTo>
                  <a:lnTo>
                    <a:pt x="194" y="260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72" y="230"/>
                  </a:lnTo>
                  <a:lnTo>
                    <a:pt x="162" y="206"/>
                  </a:lnTo>
                  <a:lnTo>
                    <a:pt x="152" y="186"/>
                  </a:lnTo>
                  <a:lnTo>
                    <a:pt x="140" y="168"/>
                  </a:lnTo>
                  <a:lnTo>
                    <a:pt x="140" y="168"/>
                  </a:lnTo>
                  <a:lnTo>
                    <a:pt x="128" y="162"/>
                  </a:lnTo>
                  <a:lnTo>
                    <a:pt x="116" y="158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58" y="146"/>
                  </a:lnTo>
                  <a:lnTo>
                    <a:pt x="58" y="146"/>
                  </a:lnTo>
                  <a:lnTo>
                    <a:pt x="50" y="136"/>
                  </a:lnTo>
                  <a:lnTo>
                    <a:pt x="50" y="136"/>
                  </a:lnTo>
                  <a:lnTo>
                    <a:pt x="40" y="116"/>
                  </a:lnTo>
                  <a:lnTo>
                    <a:pt x="26" y="98"/>
                  </a:lnTo>
                  <a:lnTo>
                    <a:pt x="12" y="8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56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4" y="36"/>
                  </a:lnTo>
                  <a:lnTo>
                    <a:pt x="10" y="36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2" y="48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6" y="60"/>
                  </a:lnTo>
                  <a:lnTo>
                    <a:pt x="44" y="68"/>
                  </a:lnTo>
                  <a:lnTo>
                    <a:pt x="50" y="76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8" y="92"/>
                  </a:lnTo>
                  <a:lnTo>
                    <a:pt x="80" y="96"/>
                  </a:lnTo>
                  <a:lnTo>
                    <a:pt x="112" y="98"/>
                  </a:lnTo>
                  <a:lnTo>
                    <a:pt x="112" y="98"/>
                  </a:lnTo>
                  <a:lnTo>
                    <a:pt x="118" y="94"/>
                  </a:lnTo>
                  <a:lnTo>
                    <a:pt x="124" y="88"/>
                  </a:lnTo>
                  <a:lnTo>
                    <a:pt x="134" y="74"/>
                  </a:lnTo>
                  <a:lnTo>
                    <a:pt x="140" y="68"/>
                  </a:lnTo>
                  <a:lnTo>
                    <a:pt x="146" y="66"/>
                  </a:lnTo>
                  <a:lnTo>
                    <a:pt x="150" y="66"/>
                  </a:lnTo>
                  <a:lnTo>
                    <a:pt x="154" y="68"/>
                  </a:lnTo>
                  <a:lnTo>
                    <a:pt x="160" y="76"/>
                  </a:lnTo>
                  <a:lnTo>
                    <a:pt x="160" y="76"/>
                  </a:lnTo>
                  <a:lnTo>
                    <a:pt x="178" y="78"/>
                  </a:lnTo>
                  <a:lnTo>
                    <a:pt x="178" y="78"/>
                  </a:lnTo>
                  <a:lnTo>
                    <a:pt x="200" y="50"/>
                  </a:lnTo>
                  <a:lnTo>
                    <a:pt x="200" y="50"/>
                  </a:lnTo>
                  <a:lnTo>
                    <a:pt x="202" y="32"/>
                  </a:lnTo>
                  <a:lnTo>
                    <a:pt x="208" y="16"/>
                  </a:lnTo>
                  <a:lnTo>
                    <a:pt x="212" y="10"/>
                  </a:lnTo>
                  <a:lnTo>
                    <a:pt x="218" y="4"/>
                  </a:lnTo>
                  <a:lnTo>
                    <a:pt x="226" y="2"/>
                  </a:lnTo>
                  <a:lnTo>
                    <a:pt x="236" y="0"/>
                  </a:lnTo>
                  <a:lnTo>
                    <a:pt x="236" y="0"/>
                  </a:lnTo>
                  <a:lnTo>
                    <a:pt x="236" y="26"/>
                  </a:lnTo>
                  <a:lnTo>
                    <a:pt x="236" y="26"/>
                  </a:lnTo>
                  <a:lnTo>
                    <a:pt x="268" y="52"/>
                  </a:lnTo>
                  <a:lnTo>
                    <a:pt x="268" y="52"/>
                  </a:lnTo>
                  <a:lnTo>
                    <a:pt x="284" y="58"/>
                  </a:lnTo>
                  <a:lnTo>
                    <a:pt x="300" y="68"/>
                  </a:lnTo>
                  <a:lnTo>
                    <a:pt x="318" y="78"/>
                  </a:lnTo>
                  <a:lnTo>
                    <a:pt x="338" y="88"/>
                  </a:lnTo>
                  <a:lnTo>
                    <a:pt x="338" y="88"/>
                  </a:lnTo>
                  <a:lnTo>
                    <a:pt x="372" y="150"/>
                  </a:lnTo>
                  <a:lnTo>
                    <a:pt x="390" y="184"/>
                  </a:lnTo>
                  <a:lnTo>
                    <a:pt x="412" y="218"/>
                  </a:lnTo>
                  <a:lnTo>
                    <a:pt x="412" y="218"/>
                  </a:lnTo>
                  <a:lnTo>
                    <a:pt x="414" y="230"/>
                  </a:lnTo>
                  <a:lnTo>
                    <a:pt x="418" y="244"/>
                  </a:lnTo>
                  <a:lnTo>
                    <a:pt x="424" y="258"/>
                  </a:lnTo>
                  <a:lnTo>
                    <a:pt x="432" y="274"/>
                  </a:lnTo>
                  <a:lnTo>
                    <a:pt x="432" y="274"/>
                  </a:lnTo>
                  <a:lnTo>
                    <a:pt x="478" y="298"/>
                  </a:lnTo>
                  <a:lnTo>
                    <a:pt x="500" y="312"/>
                  </a:lnTo>
                  <a:lnTo>
                    <a:pt x="526" y="330"/>
                  </a:lnTo>
                  <a:lnTo>
                    <a:pt x="526" y="330"/>
                  </a:lnTo>
                  <a:lnTo>
                    <a:pt x="526" y="336"/>
                  </a:lnTo>
                  <a:lnTo>
                    <a:pt x="526" y="336"/>
                  </a:lnTo>
                  <a:lnTo>
                    <a:pt x="522" y="340"/>
                  </a:lnTo>
                  <a:lnTo>
                    <a:pt x="514" y="340"/>
                  </a:lnTo>
                  <a:lnTo>
                    <a:pt x="496" y="342"/>
                  </a:lnTo>
                  <a:lnTo>
                    <a:pt x="470" y="340"/>
                  </a:lnTo>
                  <a:lnTo>
                    <a:pt x="470" y="340"/>
                  </a:lnTo>
                  <a:lnTo>
                    <a:pt x="470" y="362"/>
                  </a:lnTo>
                  <a:lnTo>
                    <a:pt x="470" y="362"/>
                  </a:lnTo>
                  <a:lnTo>
                    <a:pt x="504" y="374"/>
                  </a:lnTo>
                  <a:lnTo>
                    <a:pt x="504" y="374"/>
                  </a:lnTo>
                  <a:lnTo>
                    <a:pt x="500" y="380"/>
                  </a:lnTo>
                  <a:lnTo>
                    <a:pt x="498" y="386"/>
                  </a:lnTo>
                  <a:lnTo>
                    <a:pt x="498" y="392"/>
                  </a:lnTo>
                  <a:lnTo>
                    <a:pt x="500" y="400"/>
                  </a:lnTo>
                  <a:lnTo>
                    <a:pt x="500" y="400"/>
                  </a:lnTo>
                  <a:lnTo>
                    <a:pt x="540" y="420"/>
                  </a:lnTo>
                  <a:lnTo>
                    <a:pt x="540" y="420"/>
                  </a:lnTo>
                  <a:lnTo>
                    <a:pt x="544" y="426"/>
                  </a:lnTo>
                  <a:lnTo>
                    <a:pt x="544" y="426"/>
                  </a:lnTo>
                  <a:lnTo>
                    <a:pt x="542" y="434"/>
                  </a:lnTo>
                  <a:lnTo>
                    <a:pt x="540" y="440"/>
                  </a:lnTo>
                  <a:lnTo>
                    <a:pt x="536" y="446"/>
                  </a:lnTo>
                  <a:lnTo>
                    <a:pt x="530" y="450"/>
                  </a:lnTo>
                  <a:lnTo>
                    <a:pt x="516" y="460"/>
                  </a:lnTo>
                  <a:lnTo>
                    <a:pt x="502" y="468"/>
                  </a:lnTo>
                  <a:lnTo>
                    <a:pt x="502" y="468"/>
                  </a:lnTo>
                  <a:lnTo>
                    <a:pt x="502" y="472"/>
                  </a:lnTo>
                  <a:lnTo>
                    <a:pt x="502" y="472"/>
                  </a:lnTo>
                  <a:lnTo>
                    <a:pt x="498" y="474"/>
                  </a:lnTo>
                  <a:lnTo>
                    <a:pt x="492" y="478"/>
                  </a:lnTo>
                  <a:lnTo>
                    <a:pt x="478" y="490"/>
                  </a:lnTo>
                  <a:lnTo>
                    <a:pt x="452" y="514"/>
                  </a:lnTo>
                  <a:lnTo>
                    <a:pt x="452" y="514"/>
                  </a:lnTo>
                  <a:lnTo>
                    <a:pt x="418" y="526"/>
                  </a:lnTo>
                  <a:lnTo>
                    <a:pt x="418" y="526"/>
                  </a:lnTo>
                  <a:lnTo>
                    <a:pt x="416" y="530"/>
                  </a:lnTo>
                  <a:lnTo>
                    <a:pt x="416" y="530"/>
                  </a:lnTo>
                  <a:lnTo>
                    <a:pt x="366" y="528"/>
                  </a:lnTo>
                  <a:lnTo>
                    <a:pt x="366" y="528"/>
                  </a:lnTo>
                  <a:lnTo>
                    <a:pt x="354" y="532"/>
                  </a:lnTo>
                  <a:lnTo>
                    <a:pt x="342" y="538"/>
                  </a:lnTo>
                  <a:lnTo>
                    <a:pt x="342" y="538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69" name="未知"/>
            <p:cNvSpPr>
              <a:spLocks/>
            </p:cNvSpPr>
            <p:nvPr/>
          </p:nvSpPr>
          <p:spPr bwMode="auto">
            <a:xfrm>
              <a:off x="2979123" y="2035378"/>
              <a:ext cx="413896" cy="373496"/>
            </a:xfrm>
            <a:custGeom>
              <a:avLst/>
              <a:gdLst>
                <a:gd name="T0" fmla="*/ 434 w 560"/>
                <a:gd name="T1" fmla="*/ 536 h 542"/>
                <a:gd name="T2" fmla="*/ 400 w 560"/>
                <a:gd name="T3" fmla="*/ 518 h 542"/>
                <a:gd name="T4" fmla="*/ 346 w 560"/>
                <a:gd name="T5" fmla="*/ 512 h 542"/>
                <a:gd name="T6" fmla="*/ 316 w 560"/>
                <a:gd name="T7" fmla="*/ 476 h 542"/>
                <a:gd name="T8" fmla="*/ 282 w 560"/>
                <a:gd name="T9" fmla="*/ 454 h 542"/>
                <a:gd name="T10" fmla="*/ 116 w 560"/>
                <a:gd name="T11" fmla="*/ 434 h 542"/>
                <a:gd name="T12" fmla="*/ 84 w 560"/>
                <a:gd name="T13" fmla="*/ 412 h 542"/>
                <a:gd name="T14" fmla="*/ 68 w 560"/>
                <a:gd name="T15" fmla="*/ 398 h 542"/>
                <a:gd name="T16" fmla="*/ 58 w 560"/>
                <a:gd name="T17" fmla="*/ 370 h 542"/>
                <a:gd name="T18" fmla="*/ 18 w 560"/>
                <a:gd name="T19" fmla="*/ 292 h 542"/>
                <a:gd name="T20" fmla="*/ 2 w 560"/>
                <a:gd name="T21" fmla="*/ 246 h 542"/>
                <a:gd name="T22" fmla="*/ 14 w 560"/>
                <a:gd name="T23" fmla="*/ 206 h 542"/>
                <a:gd name="T24" fmla="*/ 50 w 560"/>
                <a:gd name="T25" fmla="*/ 182 h 542"/>
                <a:gd name="T26" fmla="*/ 68 w 560"/>
                <a:gd name="T27" fmla="*/ 172 h 542"/>
                <a:gd name="T28" fmla="*/ 104 w 560"/>
                <a:gd name="T29" fmla="*/ 164 h 542"/>
                <a:gd name="T30" fmla="*/ 138 w 560"/>
                <a:gd name="T31" fmla="*/ 144 h 542"/>
                <a:gd name="T32" fmla="*/ 208 w 560"/>
                <a:gd name="T33" fmla="*/ 128 h 542"/>
                <a:gd name="T34" fmla="*/ 234 w 560"/>
                <a:gd name="T35" fmla="*/ 106 h 542"/>
                <a:gd name="T36" fmla="*/ 266 w 560"/>
                <a:gd name="T37" fmla="*/ 74 h 542"/>
                <a:gd name="T38" fmla="*/ 280 w 560"/>
                <a:gd name="T39" fmla="*/ 44 h 542"/>
                <a:gd name="T40" fmla="*/ 284 w 560"/>
                <a:gd name="T41" fmla="*/ 0 h 542"/>
                <a:gd name="T42" fmla="*/ 414 w 560"/>
                <a:gd name="T43" fmla="*/ 12 h 542"/>
                <a:gd name="T44" fmla="*/ 428 w 560"/>
                <a:gd name="T45" fmla="*/ 32 h 542"/>
                <a:gd name="T46" fmla="*/ 444 w 560"/>
                <a:gd name="T47" fmla="*/ 58 h 542"/>
                <a:gd name="T48" fmla="*/ 438 w 560"/>
                <a:gd name="T49" fmla="*/ 82 h 542"/>
                <a:gd name="T50" fmla="*/ 418 w 560"/>
                <a:gd name="T51" fmla="*/ 96 h 542"/>
                <a:gd name="T52" fmla="*/ 408 w 560"/>
                <a:gd name="T53" fmla="*/ 118 h 542"/>
                <a:gd name="T54" fmla="*/ 396 w 560"/>
                <a:gd name="T55" fmla="*/ 122 h 542"/>
                <a:gd name="T56" fmla="*/ 432 w 560"/>
                <a:gd name="T57" fmla="*/ 156 h 542"/>
                <a:gd name="T58" fmla="*/ 434 w 560"/>
                <a:gd name="T59" fmla="*/ 162 h 542"/>
                <a:gd name="T60" fmla="*/ 466 w 560"/>
                <a:gd name="T61" fmla="*/ 186 h 542"/>
                <a:gd name="T62" fmla="*/ 498 w 560"/>
                <a:gd name="T63" fmla="*/ 192 h 542"/>
                <a:gd name="T64" fmla="*/ 516 w 560"/>
                <a:gd name="T65" fmla="*/ 188 h 542"/>
                <a:gd name="T66" fmla="*/ 532 w 560"/>
                <a:gd name="T67" fmla="*/ 204 h 542"/>
                <a:gd name="T68" fmla="*/ 558 w 560"/>
                <a:gd name="T69" fmla="*/ 234 h 542"/>
                <a:gd name="T70" fmla="*/ 554 w 560"/>
                <a:gd name="T71" fmla="*/ 244 h 542"/>
                <a:gd name="T72" fmla="*/ 544 w 560"/>
                <a:gd name="T73" fmla="*/ 282 h 542"/>
                <a:gd name="T74" fmla="*/ 528 w 560"/>
                <a:gd name="T75" fmla="*/ 276 h 542"/>
                <a:gd name="T76" fmla="*/ 500 w 560"/>
                <a:gd name="T77" fmla="*/ 234 h 542"/>
                <a:gd name="T78" fmla="*/ 472 w 560"/>
                <a:gd name="T79" fmla="*/ 232 h 542"/>
                <a:gd name="T80" fmla="*/ 474 w 560"/>
                <a:gd name="T81" fmla="*/ 302 h 542"/>
                <a:gd name="T82" fmla="*/ 442 w 560"/>
                <a:gd name="T83" fmla="*/ 344 h 542"/>
                <a:gd name="T84" fmla="*/ 428 w 560"/>
                <a:gd name="T85" fmla="*/ 376 h 542"/>
                <a:gd name="T86" fmla="*/ 450 w 560"/>
                <a:gd name="T87" fmla="*/ 392 h 542"/>
                <a:gd name="T88" fmla="*/ 460 w 560"/>
                <a:gd name="T89" fmla="*/ 430 h 542"/>
                <a:gd name="T90" fmla="*/ 474 w 560"/>
                <a:gd name="T91" fmla="*/ 444 h 542"/>
                <a:gd name="T92" fmla="*/ 486 w 560"/>
                <a:gd name="T93" fmla="*/ 446 h 542"/>
                <a:gd name="T94" fmla="*/ 504 w 560"/>
                <a:gd name="T95" fmla="*/ 434 h 542"/>
                <a:gd name="T96" fmla="*/ 520 w 560"/>
                <a:gd name="T97" fmla="*/ 448 h 542"/>
                <a:gd name="T98" fmla="*/ 530 w 560"/>
                <a:gd name="T99" fmla="*/ 484 h 542"/>
                <a:gd name="T100" fmla="*/ 526 w 560"/>
                <a:gd name="T101" fmla="*/ 502 h 542"/>
                <a:gd name="T102" fmla="*/ 492 w 560"/>
                <a:gd name="T103" fmla="*/ 522 h 542"/>
                <a:gd name="T104" fmla="*/ 478 w 560"/>
                <a:gd name="T105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0" h="542">
                  <a:moveTo>
                    <a:pt x="478" y="542"/>
                  </a:moveTo>
                  <a:lnTo>
                    <a:pt x="478" y="542"/>
                  </a:lnTo>
                  <a:lnTo>
                    <a:pt x="434" y="536"/>
                  </a:lnTo>
                  <a:lnTo>
                    <a:pt x="434" y="536"/>
                  </a:lnTo>
                  <a:lnTo>
                    <a:pt x="400" y="518"/>
                  </a:lnTo>
                  <a:lnTo>
                    <a:pt x="400" y="518"/>
                  </a:lnTo>
                  <a:lnTo>
                    <a:pt x="376" y="518"/>
                  </a:lnTo>
                  <a:lnTo>
                    <a:pt x="360" y="516"/>
                  </a:lnTo>
                  <a:lnTo>
                    <a:pt x="346" y="512"/>
                  </a:lnTo>
                  <a:lnTo>
                    <a:pt x="334" y="502"/>
                  </a:lnTo>
                  <a:lnTo>
                    <a:pt x="334" y="502"/>
                  </a:lnTo>
                  <a:lnTo>
                    <a:pt x="316" y="476"/>
                  </a:lnTo>
                  <a:lnTo>
                    <a:pt x="316" y="476"/>
                  </a:lnTo>
                  <a:lnTo>
                    <a:pt x="282" y="454"/>
                  </a:lnTo>
                  <a:lnTo>
                    <a:pt x="282" y="454"/>
                  </a:lnTo>
                  <a:lnTo>
                    <a:pt x="162" y="452"/>
                  </a:lnTo>
                  <a:lnTo>
                    <a:pt x="162" y="452"/>
                  </a:lnTo>
                  <a:lnTo>
                    <a:pt x="116" y="434"/>
                  </a:lnTo>
                  <a:lnTo>
                    <a:pt x="96" y="424"/>
                  </a:lnTo>
                  <a:lnTo>
                    <a:pt x="90" y="418"/>
                  </a:lnTo>
                  <a:lnTo>
                    <a:pt x="84" y="412"/>
                  </a:lnTo>
                  <a:lnTo>
                    <a:pt x="84" y="412"/>
                  </a:lnTo>
                  <a:lnTo>
                    <a:pt x="74" y="406"/>
                  </a:lnTo>
                  <a:lnTo>
                    <a:pt x="68" y="398"/>
                  </a:lnTo>
                  <a:lnTo>
                    <a:pt x="60" y="386"/>
                  </a:lnTo>
                  <a:lnTo>
                    <a:pt x="60" y="386"/>
                  </a:lnTo>
                  <a:lnTo>
                    <a:pt x="58" y="370"/>
                  </a:lnTo>
                  <a:lnTo>
                    <a:pt x="54" y="356"/>
                  </a:lnTo>
                  <a:lnTo>
                    <a:pt x="42" y="33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2" y="246"/>
                  </a:lnTo>
                  <a:lnTo>
                    <a:pt x="2" y="246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14" y="206"/>
                  </a:lnTo>
                  <a:lnTo>
                    <a:pt x="26" y="198"/>
                  </a:lnTo>
                  <a:lnTo>
                    <a:pt x="40" y="190"/>
                  </a:lnTo>
                  <a:lnTo>
                    <a:pt x="50" y="182"/>
                  </a:lnTo>
                  <a:lnTo>
                    <a:pt x="50" y="182"/>
                  </a:lnTo>
                  <a:lnTo>
                    <a:pt x="58" y="176"/>
                  </a:lnTo>
                  <a:lnTo>
                    <a:pt x="68" y="172"/>
                  </a:lnTo>
                  <a:lnTo>
                    <a:pt x="68" y="172"/>
                  </a:lnTo>
                  <a:lnTo>
                    <a:pt x="86" y="170"/>
                  </a:lnTo>
                  <a:lnTo>
                    <a:pt x="104" y="164"/>
                  </a:lnTo>
                  <a:lnTo>
                    <a:pt x="120" y="156"/>
                  </a:lnTo>
                  <a:lnTo>
                    <a:pt x="138" y="144"/>
                  </a:lnTo>
                  <a:lnTo>
                    <a:pt x="138" y="144"/>
                  </a:lnTo>
                  <a:lnTo>
                    <a:pt x="154" y="142"/>
                  </a:lnTo>
                  <a:lnTo>
                    <a:pt x="172" y="138"/>
                  </a:lnTo>
                  <a:lnTo>
                    <a:pt x="208" y="128"/>
                  </a:lnTo>
                  <a:lnTo>
                    <a:pt x="208" y="128"/>
                  </a:lnTo>
                  <a:lnTo>
                    <a:pt x="222" y="118"/>
                  </a:lnTo>
                  <a:lnTo>
                    <a:pt x="234" y="106"/>
                  </a:lnTo>
                  <a:lnTo>
                    <a:pt x="258" y="82"/>
                  </a:lnTo>
                  <a:lnTo>
                    <a:pt x="258" y="82"/>
                  </a:lnTo>
                  <a:lnTo>
                    <a:pt x="266" y="74"/>
                  </a:lnTo>
                  <a:lnTo>
                    <a:pt x="274" y="64"/>
                  </a:lnTo>
                  <a:lnTo>
                    <a:pt x="278" y="54"/>
                  </a:lnTo>
                  <a:lnTo>
                    <a:pt x="280" y="44"/>
                  </a:lnTo>
                  <a:lnTo>
                    <a:pt x="284" y="20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338" y="12"/>
                  </a:lnTo>
                  <a:lnTo>
                    <a:pt x="338" y="12"/>
                  </a:lnTo>
                  <a:lnTo>
                    <a:pt x="414" y="12"/>
                  </a:lnTo>
                  <a:lnTo>
                    <a:pt x="414" y="12"/>
                  </a:lnTo>
                  <a:lnTo>
                    <a:pt x="428" y="32"/>
                  </a:lnTo>
                  <a:lnTo>
                    <a:pt x="428" y="32"/>
                  </a:lnTo>
                  <a:lnTo>
                    <a:pt x="436" y="38"/>
                  </a:lnTo>
                  <a:lnTo>
                    <a:pt x="442" y="50"/>
                  </a:lnTo>
                  <a:lnTo>
                    <a:pt x="444" y="58"/>
                  </a:lnTo>
                  <a:lnTo>
                    <a:pt x="444" y="66"/>
                  </a:lnTo>
                  <a:lnTo>
                    <a:pt x="442" y="74"/>
                  </a:lnTo>
                  <a:lnTo>
                    <a:pt x="438" y="82"/>
                  </a:lnTo>
                  <a:lnTo>
                    <a:pt x="438" y="82"/>
                  </a:lnTo>
                  <a:lnTo>
                    <a:pt x="426" y="88"/>
                  </a:lnTo>
                  <a:lnTo>
                    <a:pt x="418" y="96"/>
                  </a:lnTo>
                  <a:lnTo>
                    <a:pt x="412" y="104"/>
                  </a:lnTo>
                  <a:lnTo>
                    <a:pt x="408" y="118"/>
                  </a:lnTo>
                  <a:lnTo>
                    <a:pt x="408" y="118"/>
                  </a:lnTo>
                  <a:lnTo>
                    <a:pt x="402" y="120"/>
                  </a:lnTo>
                  <a:lnTo>
                    <a:pt x="396" y="122"/>
                  </a:lnTo>
                  <a:lnTo>
                    <a:pt x="396" y="122"/>
                  </a:lnTo>
                  <a:lnTo>
                    <a:pt x="396" y="130"/>
                  </a:lnTo>
                  <a:lnTo>
                    <a:pt x="396" y="130"/>
                  </a:lnTo>
                  <a:lnTo>
                    <a:pt x="432" y="156"/>
                  </a:lnTo>
                  <a:lnTo>
                    <a:pt x="432" y="156"/>
                  </a:lnTo>
                  <a:lnTo>
                    <a:pt x="434" y="162"/>
                  </a:lnTo>
                  <a:lnTo>
                    <a:pt x="434" y="162"/>
                  </a:lnTo>
                  <a:lnTo>
                    <a:pt x="448" y="174"/>
                  </a:lnTo>
                  <a:lnTo>
                    <a:pt x="456" y="180"/>
                  </a:lnTo>
                  <a:lnTo>
                    <a:pt x="466" y="186"/>
                  </a:lnTo>
                  <a:lnTo>
                    <a:pt x="476" y="192"/>
                  </a:lnTo>
                  <a:lnTo>
                    <a:pt x="488" y="194"/>
                  </a:lnTo>
                  <a:lnTo>
                    <a:pt x="498" y="192"/>
                  </a:lnTo>
                  <a:lnTo>
                    <a:pt x="510" y="186"/>
                  </a:lnTo>
                  <a:lnTo>
                    <a:pt x="510" y="186"/>
                  </a:lnTo>
                  <a:lnTo>
                    <a:pt x="516" y="188"/>
                  </a:lnTo>
                  <a:lnTo>
                    <a:pt x="520" y="192"/>
                  </a:lnTo>
                  <a:lnTo>
                    <a:pt x="532" y="204"/>
                  </a:lnTo>
                  <a:lnTo>
                    <a:pt x="532" y="204"/>
                  </a:lnTo>
                  <a:lnTo>
                    <a:pt x="560" y="226"/>
                  </a:lnTo>
                  <a:lnTo>
                    <a:pt x="560" y="226"/>
                  </a:lnTo>
                  <a:lnTo>
                    <a:pt x="558" y="234"/>
                  </a:lnTo>
                  <a:lnTo>
                    <a:pt x="558" y="234"/>
                  </a:lnTo>
                  <a:lnTo>
                    <a:pt x="556" y="240"/>
                  </a:lnTo>
                  <a:lnTo>
                    <a:pt x="554" y="244"/>
                  </a:lnTo>
                  <a:lnTo>
                    <a:pt x="550" y="256"/>
                  </a:lnTo>
                  <a:lnTo>
                    <a:pt x="548" y="270"/>
                  </a:lnTo>
                  <a:lnTo>
                    <a:pt x="544" y="282"/>
                  </a:lnTo>
                  <a:lnTo>
                    <a:pt x="544" y="282"/>
                  </a:lnTo>
                  <a:lnTo>
                    <a:pt x="528" y="276"/>
                  </a:lnTo>
                  <a:lnTo>
                    <a:pt x="528" y="276"/>
                  </a:lnTo>
                  <a:lnTo>
                    <a:pt x="514" y="256"/>
                  </a:lnTo>
                  <a:lnTo>
                    <a:pt x="504" y="240"/>
                  </a:lnTo>
                  <a:lnTo>
                    <a:pt x="500" y="234"/>
                  </a:lnTo>
                  <a:lnTo>
                    <a:pt x="492" y="232"/>
                  </a:lnTo>
                  <a:lnTo>
                    <a:pt x="484" y="230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4" y="302"/>
                  </a:lnTo>
                  <a:lnTo>
                    <a:pt x="474" y="302"/>
                  </a:lnTo>
                  <a:lnTo>
                    <a:pt x="466" y="316"/>
                  </a:lnTo>
                  <a:lnTo>
                    <a:pt x="454" y="330"/>
                  </a:lnTo>
                  <a:lnTo>
                    <a:pt x="442" y="344"/>
                  </a:lnTo>
                  <a:lnTo>
                    <a:pt x="428" y="354"/>
                  </a:lnTo>
                  <a:lnTo>
                    <a:pt x="428" y="354"/>
                  </a:lnTo>
                  <a:lnTo>
                    <a:pt x="428" y="376"/>
                  </a:lnTo>
                  <a:lnTo>
                    <a:pt x="428" y="376"/>
                  </a:lnTo>
                  <a:lnTo>
                    <a:pt x="436" y="384"/>
                  </a:lnTo>
                  <a:lnTo>
                    <a:pt x="450" y="392"/>
                  </a:lnTo>
                  <a:lnTo>
                    <a:pt x="450" y="392"/>
                  </a:lnTo>
                  <a:lnTo>
                    <a:pt x="460" y="430"/>
                  </a:lnTo>
                  <a:lnTo>
                    <a:pt x="460" y="430"/>
                  </a:lnTo>
                  <a:lnTo>
                    <a:pt x="462" y="434"/>
                  </a:lnTo>
                  <a:lnTo>
                    <a:pt x="466" y="438"/>
                  </a:lnTo>
                  <a:lnTo>
                    <a:pt x="474" y="444"/>
                  </a:lnTo>
                  <a:lnTo>
                    <a:pt x="480" y="446"/>
                  </a:lnTo>
                  <a:lnTo>
                    <a:pt x="486" y="446"/>
                  </a:lnTo>
                  <a:lnTo>
                    <a:pt x="486" y="446"/>
                  </a:lnTo>
                  <a:lnTo>
                    <a:pt x="492" y="440"/>
                  </a:lnTo>
                  <a:lnTo>
                    <a:pt x="498" y="436"/>
                  </a:lnTo>
                  <a:lnTo>
                    <a:pt x="504" y="434"/>
                  </a:lnTo>
                  <a:lnTo>
                    <a:pt x="514" y="436"/>
                  </a:lnTo>
                  <a:lnTo>
                    <a:pt x="514" y="436"/>
                  </a:lnTo>
                  <a:lnTo>
                    <a:pt x="520" y="448"/>
                  </a:lnTo>
                  <a:lnTo>
                    <a:pt x="526" y="464"/>
                  </a:lnTo>
                  <a:lnTo>
                    <a:pt x="528" y="474"/>
                  </a:lnTo>
                  <a:lnTo>
                    <a:pt x="530" y="484"/>
                  </a:lnTo>
                  <a:lnTo>
                    <a:pt x="530" y="492"/>
                  </a:lnTo>
                  <a:lnTo>
                    <a:pt x="526" y="502"/>
                  </a:lnTo>
                  <a:lnTo>
                    <a:pt x="526" y="502"/>
                  </a:lnTo>
                  <a:lnTo>
                    <a:pt x="516" y="504"/>
                  </a:lnTo>
                  <a:lnTo>
                    <a:pt x="506" y="510"/>
                  </a:lnTo>
                  <a:lnTo>
                    <a:pt x="492" y="522"/>
                  </a:lnTo>
                  <a:lnTo>
                    <a:pt x="492" y="522"/>
                  </a:lnTo>
                  <a:lnTo>
                    <a:pt x="478" y="542"/>
                  </a:lnTo>
                  <a:lnTo>
                    <a:pt x="478" y="542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70" name="未知"/>
            <p:cNvSpPr>
              <a:spLocks/>
            </p:cNvSpPr>
            <p:nvPr/>
          </p:nvSpPr>
          <p:spPr bwMode="auto">
            <a:xfrm>
              <a:off x="2652752" y="1794512"/>
              <a:ext cx="362363" cy="611313"/>
            </a:xfrm>
            <a:custGeom>
              <a:avLst/>
              <a:gdLst>
                <a:gd name="T0" fmla="*/ 320 w 490"/>
                <a:gd name="T1" fmla="*/ 878 h 888"/>
                <a:gd name="T2" fmla="*/ 252 w 490"/>
                <a:gd name="T3" fmla="*/ 834 h 888"/>
                <a:gd name="T4" fmla="*/ 196 w 490"/>
                <a:gd name="T5" fmla="*/ 838 h 888"/>
                <a:gd name="T6" fmla="*/ 170 w 490"/>
                <a:gd name="T7" fmla="*/ 842 h 888"/>
                <a:gd name="T8" fmla="*/ 136 w 490"/>
                <a:gd name="T9" fmla="*/ 824 h 888"/>
                <a:gd name="T10" fmla="*/ 106 w 490"/>
                <a:gd name="T11" fmla="*/ 804 h 888"/>
                <a:gd name="T12" fmla="*/ 56 w 490"/>
                <a:gd name="T13" fmla="*/ 800 h 888"/>
                <a:gd name="T14" fmla="*/ 12 w 490"/>
                <a:gd name="T15" fmla="*/ 776 h 888"/>
                <a:gd name="T16" fmla="*/ 20 w 490"/>
                <a:gd name="T17" fmla="*/ 744 h 888"/>
                <a:gd name="T18" fmla="*/ 8 w 490"/>
                <a:gd name="T19" fmla="*/ 726 h 888"/>
                <a:gd name="T20" fmla="*/ 0 w 490"/>
                <a:gd name="T21" fmla="*/ 706 h 888"/>
                <a:gd name="T22" fmla="*/ 62 w 490"/>
                <a:gd name="T23" fmla="*/ 696 h 888"/>
                <a:gd name="T24" fmla="*/ 66 w 490"/>
                <a:gd name="T25" fmla="*/ 648 h 888"/>
                <a:gd name="T26" fmla="*/ 52 w 490"/>
                <a:gd name="T27" fmla="*/ 602 h 888"/>
                <a:gd name="T28" fmla="*/ 56 w 490"/>
                <a:gd name="T29" fmla="*/ 536 h 888"/>
                <a:gd name="T30" fmla="*/ 104 w 490"/>
                <a:gd name="T31" fmla="*/ 530 h 888"/>
                <a:gd name="T32" fmla="*/ 168 w 490"/>
                <a:gd name="T33" fmla="*/ 548 h 888"/>
                <a:gd name="T34" fmla="*/ 172 w 490"/>
                <a:gd name="T35" fmla="*/ 504 h 888"/>
                <a:gd name="T36" fmla="*/ 190 w 490"/>
                <a:gd name="T37" fmla="*/ 494 h 888"/>
                <a:gd name="T38" fmla="*/ 214 w 490"/>
                <a:gd name="T39" fmla="*/ 500 h 888"/>
                <a:gd name="T40" fmla="*/ 248 w 490"/>
                <a:gd name="T41" fmla="*/ 478 h 888"/>
                <a:gd name="T42" fmla="*/ 246 w 490"/>
                <a:gd name="T43" fmla="*/ 416 h 888"/>
                <a:gd name="T44" fmla="*/ 256 w 490"/>
                <a:gd name="T45" fmla="*/ 384 h 888"/>
                <a:gd name="T46" fmla="*/ 240 w 490"/>
                <a:gd name="T47" fmla="*/ 362 h 888"/>
                <a:gd name="T48" fmla="*/ 196 w 490"/>
                <a:gd name="T49" fmla="*/ 334 h 888"/>
                <a:gd name="T50" fmla="*/ 152 w 490"/>
                <a:gd name="T51" fmla="*/ 318 h 888"/>
                <a:gd name="T52" fmla="*/ 126 w 490"/>
                <a:gd name="T53" fmla="*/ 296 h 888"/>
                <a:gd name="T54" fmla="*/ 130 w 490"/>
                <a:gd name="T55" fmla="*/ 244 h 888"/>
                <a:gd name="T56" fmla="*/ 148 w 490"/>
                <a:gd name="T57" fmla="*/ 222 h 888"/>
                <a:gd name="T58" fmla="*/ 184 w 490"/>
                <a:gd name="T59" fmla="*/ 226 h 888"/>
                <a:gd name="T60" fmla="*/ 270 w 490"/>
                <a:gd name="T61" fmla="*/ 220 h 888"/>
                <a:gd name="T62" fmla="*/ 278 w 490"/>
                <a:gd name="T63" fmla="*/ 162 h 888"/>
                <a:gd name="T64" fmla="*/ 280 w 490"/>
                <a:gd name="T65" fmla="*/ 130 h 888"/>
                <a:gd name="T66" fmla="*/ 304 w 490"/>
                <a:gd name="T67" fmla="*/ 104 h 888"/>
                <a:gd name="T68" fmla="*/ 364 w 490"/>
                <a:gd name="T69" fmla="*/ 38 h 888"/>
                <a:gd name="T70" fmla="*/ 404 w 490"/>
                <a:gd name="T71" fmla="*/ 28 h 888"/>
                <a:gd name="T72" fmla="*/ 416 w 490"/>
                <a:gd name="T73" fmla="*/ 22 h 888"/>
                <a:gd name="T74" fmla="*/ 440 w 490"/>
                <a:gd name="T75" fmla="*/ 2 h 888"/>
                <a:gd name="T76" fmla="*/ 462 w 490"/>
                <a:gd name="T77" fmla="*/ 20 h 888"/>
                <a:gd name="T78" fmla="*/ 452 w 490"/>
                <a:gd name="T79" fmla="*/ 52 h 888"/>
                <a:gd name="T80" fmla="*/ 438 w 490"/>
                <a:gd name="T81" fmla="*/ 108 h 888"/>
                <a:gd name="T82" fmla="*/ 422 w 490"/>
                <a:gd name="T83" fmla="*/ 138 h 888"/>
                <a:gd name="T84" fmla="*/ 430 w 490"/>
                <a:gd name="T85" fmla="*/ 228 h 888"/>
                <a:gd name="T86" fmla="*/ 408 w 490"/>
                <a:gd name="T87" fmla="*/ 284 h 888"/>
                <a:gd name="T88" fmla="*/ 398 w 490"/>
                <a:gd name="T89" fmla="*/ 384 h 888"/>
                <a:gd name="T90" fmla="*/ 418 w 490"/>
                <a:gd name="T91" fmla="*/ 454 h 888"/>
                <a:gd name="T92" fmla="*/ 412 w 490"/>
                <a:gd name="T93" fmla="*/ 526 h 888"/>
                <a:gd name="T94" fmla="*/ 428 w 490"/>
                <a:gd name="T95" fmla="*/ 556 h 888"/>
                <a:gd name="T96" fmla="*/ 432 w 490"/>
                <a:gd name="T97" fmla="*/ 600 h 888"/>
                <a:gd name="T98" fmla="*/ 476 w 490"/>
                <a:gd name="T99" fmla="*/ 690 h 888"/>
                <a:gd name="T100" fmla="*/ 462 w 490"/>
                <a:gd name="T101" fmla="*/ 726 h 888"/>
                <a:gd name="T102" fmla="*/ 362 w 490"/>
                <a:gd name="T103" fmla="*/ 728 h 888"/>
                <a:gd name="T104" fmla="*/ 354 w 490"/>
                <a:gd name="T105" fmla="*/ 744 h 888"/>
                <a:gd name="T106" fmla="*/ 398 w 490"/>
                <a:gd name="T107" fmla="*/ 792 h 888"/>
                <a:gd name="T108" fmla="*/ 350 w 490"/>
                <a:gd name="T109" fmla="*/ 828 h 888"/>
                <a:gd name="T110" fmla="*/ 344 w 490"/>
                <a:gd name="T111" fmla="*/ 888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0" h="888">
                  <a:moveTo>
                    <a:pt x="344" y="888"/>
                  </a:moveTo>
                  <a:lnTo>
                    <a:pt x="344" y="888"/>
                  </a:lnTo>
                  <a:lnTo>
                    <a:pt x="330" y="884"/>
                  </a:lnTo>
                  <a:lnTo>
                    <a:pt x="320" y="878"/>
                  </a:lnTo>
                  <a:lnTo>
                    <a:pt x="304" y="866"/>
                  </a:lnTo>
                  <a:lnTo>
                    <a:pt x="278" y="842"/>
                  </a:lnTo>
                  <a:lnTo>
                    <a:pt x="278" y="842"/>
                  </a:lnTo>
                  <a:lnTo>
                    <a:pt x="252" y="834"/>
                  </a:lnTo>
                  <a:lnTo>
                    <a:pt x="252" y="834"/>
                  </a:lnTo>
                  <a:lnTo>
                    <a:pt x="232" y="834"/>
                  </a:lnTo>
                  <a:lnTo>
                    <a:pt x="214" y="834"/>
                  </a:lnTo>
                  <a:lnTo>
                    <a:pt x="196" y="838"/>
                  </a:lnTo>
                  <a:lnTo>
                    <a:pt x="188" y="840"/>
                  </a:lnTo>
                  <a:lnTo>
                    <a:pt x="180" y="844"/>
                  </a:lnTo>
                  <a:lnTo>
                    <a:pt x="180" y="844"/>
                  </a:lnTo>
                  <a:lnTo>
                    <a:pt x="170" y="842"/>
                  </a:lnTo>
                  <a:lnTo>
                    <a:pt x="160" y="836"/>
                  </a:lnTo>
                  <a:lnTo>
                    <a:pt x="146" y="826"/>
                  </a:lnTo>
                  <a:lnTo>
                    <a:pt x="146" y="826"/>
                  </a:lnTo>
                  <a:lnTo>
                    <a:pt x="136" y="824"/>
                  </a:lnTo>
                  <a:lnTo>
                    <a:pt x="128" y="822"/>
                  </a:lnTo>
                  <a:lnTo>
                    <a:pt x="120" y="818"/>
                  </a:lnTo>
                  <a:lnTo>
                    <a:pt x="114" y="814"/>
                  </a:lnTo>
                  <a:lnTo>
                    <a:pt x="106" y="804"/>
                  </a:lnTo>
                  <a:lnTo>
                    <a:pt x="102" y="802"/>
                  </a:lnTo>
                  <a:lnTo>
                    <a:pt x="98" y="800"/>
                  </a:lnTo>
                  <a:lnTo>
                    <a:pt x="98" y="800"/>
                  </a:lnTo>
                  <a:lnTo>
                    <a:pt x="56" y="800"/>
                  </a:lnTo>
                  <a:lnTo>
                    <a:pt x="56" y="800"/>
                  </a:lnTo>
                  <a:lnTo>
                    <a:pt x="12" y="784"/>
                  </a:lnTo>
                  <a:lnTo>
                    <a:pt x="12" y="784"/>
                  </a:lnTo>
                  <a:lnTo>
                    <a:pt x="12" y="776"/>
                  </a:lnTo>
                  <a:lnTo>
                    <a:pt x="14" y="770"/>
                  </a:lnTo>
                  <a:lnTo>
                    <a:pt x="20" y="758"/>
                  </a:lnTo>
                  <a:lnTo>
                    <a:pt x="20" y="758"/>
                  </a:lnTo>
                  <a:lnTo>
                    <a:pt x="20" y="744"/>
                  </a:lnTo>
                  <a:lnTo>
                    <a:pt x="18" y="734"/>
                  </a:lnTo>
                  <a:lnTo>
                    <a:pt x="14" y="728"/>
                  </a:lnTo>
                  <a:lnTo>
                    <a:pt x="8" y="726"/>
                  </a:lnTo>
                  <a:lnTo>
                    <a:pt x="8" y="726"/>
                  </a:lnTo>
                  <a:lnTo>
                    <a:pt x="2" y="718"/>
                  </a:lnTo>
                  <a:lnTo>
                    <a:pt x="0" y="714"/>
                  </a:lnTo>
                  <a:lnTo>
                    <a:pt x="0" y="708"/>
                  </a:lnTo>
                  <a:lnTo>
                    <a:pt x="0" y="706"/>
                  </a:lnTo>
                  <a:lnTo>
                    <a:pt x="0" y="706"/>
                  </a:lnTo>
                  <a:lnTo>
                    <a:pt x="58" y="704"/>
                  </a:lnTo>
                  <a:lnTo>
                    <a:pt x="58" y="704"/>
                  </a:lnTo>
                  <a:lnTo>
                    <a:pt x="62" y="696"/>
                  </a:lnTo>
                  <a:lnTo>
                    <a:pt x="66" y="686"/>
                  </a:lnTo>
                  <a:lnTo>
                    <a:pt x="66" y="676"/>
                  </a:lnTo>
                  <a:lnTo>
                    <a:pt x="68" y="666"/>
                  </a:lnTo>
                  <a:lnTo>
                    <a:pt x="66" y="648"/>
                  </a:lnTo>
                  <a:lnTo>
                    <a:pt x="64" y="632"/>
                  </a:lnTo>
                  <a:lnTo>
                    <a:pt x="64" y="632"/>
                  </a:lnTo>
                  <a:lnTo>
                    <a:pt x="52" y="602"/>
                  </a:lnTo>
                  <a:lnTo>
                    <a:pt x="52" y="602"/>
                  </a:lnTo>
                  <a:lnTo>
                    <a:pt x="46" y="564"/>
                  </a:lnTo>
                  <a:lnTo>
                    <a:pt x="46" y="550"/>
                  </a:lnTo>
                  <a:lnTo>
                    <a:pt x="50" y="542"/>
                  </a:lnTo>
                  <a:lnTo>
                    <a:pt x="56" y="536"/>
                  </a:lnTo>
                  <a:lnTo>
                    <a:pt x="68" y="532"/>
                  </a:lnTo>
                  <a:lnTo>
                    <a:pt x="84" y="530"/>
                  </a:lnTo>
                  <a:lnTo>
                    <a:pt x="104" y="530"/>
                  </a:lnTo>
                  <a:lnTo>
                    <a:pt x="104" y="530"/>
                  </a:lnTo>
                  <a:lnTo>
                    <a:pt x="150" y="552"/>
                  </a:lnTo>
                  <a:lnTo>
                    <a:pt x="150" y="552"/>
                  </a:lnTo>
                  <a:lnTo>
                    <a:pt x="162" y="550"/>
                  </a:lnTo>
                  <a:lnTo>
                    <a:pt x="168" y="548"/>
                  </a:lnTo>
                  <a:lnTo>
                    <a:pt x="172" y="546"/>
                  </a:lnTo>
                  <a:lnTo>
                    <a:pt x="172" y="546"/>
                  </a:lnTo>
                  <a:lnTo>
                    <a:pt x="172" y="504"/>
                  </a:lnTo>
                  <a:lnTo>
                    <a:pt x="172" y="504"/>
                  </a:lnTo>
                  <a:lnTo>
                    <a:pt x="174" y="500"/>
                  </a:lnTo>
                  <a:lnTo>
                    <a:pt x="178" y="496"/>
                  </a:lnTo>
                  <a:lnTo>
                    <a:pt x="182" y="494"/>
                  </a:lnTo>
                  <a:lnTo>
                    <a:pt x="190" y="494"/>
                  </a:lnTo>
                  <a:lnTo>
                    <a:pt x="204" y="494"/>
                  </a:lnTo>
                  <a:lnTo>
                    <a:pt x="210" y="496"/>
                  </a:lnTo>
                  <a:lnTo>
                    <a:pt x="214" y="500"/>
                  </a:lnTo>
                  <a:lnTo>
                    <a:pt x="214" y="500"/>
                  </a:lnTo>
                  <a:lnTo>
                    <a:pt x="242" y="500"/>
                  </a:lnTo>
                  <a:lnTo>
                    <a:pt x="242" y="500"/>
                  </a:lnTo>
                  <a:lnTo>
                    <a:pt x="246" y="490"/>
                  </a:lnTo>
                  <a:lnTo>
                    <a:pt x="248" y="478"/>
                  </a:lnTo>
                  <a:lnTo>
                    <a:pt x="250" y="454"/>
                  </a:lnTo>
                  <a:lnTo>
                    <a:pt x="250" y="432"/>
                  </a:lnTo>
                  <a:lnTo>
                    <a:pt x="248" y="424"/>
                  </a:lnTo>
                  <a:lnTo>
                    <a:pt x="246" y="416"/>
                  </a:lnTo>
                  <a:lnTo>
                    <a:pt x="246" y="416"/>
                  </a:lnTo>
                  <a:lnTo>
                    <a:pt x="248" y="404"/>
                  </a:lnTo>
                  <a:lnTo>
                    <a:pt x="250" y="396"/>
                  </a:lnTo>
                  <a:lnTo>
                    <a:pt x="256" y="384"/>
                  </a:lnTo>
                  <a:lnTo>
                    <a:pt x="256" y="384"/>
                  </a:lnTo>
                  <a:lnTo>
                    <a:pt x="256" y="364"/>
                  </a:lnTo>
                  <a:lnTo>
                    <a:pt x="256" y="364"/>
                  </a:lnTo>
                  <a:lnTo>
                    <a:pt x="240" y="362"/>
                  </a:lnTo>
                  <a:lnTo>
                    <a:pt x="240" y="362"/>
                  </a:lnTo>
                  <a:lnTo>
                    <a:pt x="224" y="352"/>
                  </a:lnTo>
                  <a:lnTo>
                    <a:pt x="210" y="342"/>
                  </a:lnTo>
                  <a:lnTo>
                    <a:pt x="196" y="334"/>
                  </a:lnTo>
                  <a:lnTo>
                    <a:pt x="188" y="328"/>
                  </a:lnTo>
                  <a:lnTo>
                    <a:pt x="188" y="328"/>
                  </a:lnTo>
                  <a:lnTo>
                    <a:pt x="170" y="324"/>
                  </a:lnTo>
                  <a:lnTo>
                    <a:pt x="152" y="318"/>
                  </a:lnTo>
                  <a:lnTo>
                    <a:pt x="136" y="312"/>
                  </a:lnTo>
                  <a:lnTo>
                    <a:pt x="126" y="306"/>
                  </a:lnTo>
                  <a:lnTo>
                    <a:pt x="126" y="306"/>
                  </a:lnTo>
                  <a:lnTo>
                    <a:pt x="126" y="296"/>
                  </a:lnTo>
                  <a:lnTo>
                    <a:pt x="128" y="290"/>
                  </a:lnTo>
                  <a:lnTo>
                    <a:pt x="136" y="280"/>
                  </a:lnTo>
                  <a:lnTo>
                    <a:pt x="136" y="280"/>
                  </a:lnTo>
                  <a:lnTo>
                    <a:pt x="130" y="244"/>
                  </a:lnTo>
                  <a:lnTo>
                    <a:pt x="130" y="244"/>
                  </a:lnTo>
                  <a:lnTo>
                    <a:pt x="134" y="242"/>
                  </a:lnTo>
                  <a:lnTo>
                    <a:pt x="140" y="236"/>
                  </a:lnTo>
                  <a:lnTo>
                    <a:pt x="148" y="222"/>
                  </a:lnTo>
                  <a:lnTo>
                    <a:pt x="148" y="222"/>
                  </a:lnTo>
                  <a:lnTo>
                    <a:pt x="162" y="222"/>
                  </a:lnTo>
                  <a:lnTo>
                    <a:pt x="172" y="222"/>
                  </a:lnTo>
                  <a:lnTo>
                    <a:pt x="184" y="226"/>
                  </a:lnTo>
                  <a:lnTo>
                    <a:pt x="184" y="226"/>
                  </a:lnTo>
                  <a:lnTo>
                    <a:pt x="264" y="230"/>
                  </a:lnTo>
                  <a:lnTo>
                    <a:pt x="264" y="230"/>
                  </a:lnTo>
                  <a:lnTo>
                    <a:pt x="270" y="220"/>
                  </a:lnTo>
                  <a:lnTo>
                    <a:pt x="276" y="210"/>
                  </a:lnTo>
                  <a:lnTo>
                    <a:pt x="278" y="198"/>
                  </a:lnTo>
                  <a:lnTo>
                    <a:pt x="280" y="186"/>
                  </a:lnTo>
                  <a:lnTo>
                    <a:pt x="278" y="162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8" y="136"/>
                  </a:lnTo>
                  <a:lnTo>
                    <a:pt x="280" y="130"/>
                  </a:lnTo>
                  <a:lnTo>
                    <a:pt x="282" y="124"/>
                  </a:lnTo>
                  <a:lnTo>
                    <a:pt x="286" y="120"/>
                  </a:lnTo>
                  <a:lnTo>
                    <a:pt x="294" y="114"/>
                  </a:lnTo>
                  <a:lnTo>
                    <a:pt x="304" y="104"/>
                  </a:lnTo>
                  <a:lnTo>
                    <a:pt x="304" y="104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64" y="38"/>
                  </a:lnTo>
                  <a:lnTo>
                    <a:pt x="364" y="38"/>
                  </a:lnTo>
                  <a:lnTo>
                    <a:pt x="382" y="12"/>
                  </a:lnTo>
                  <a:lnTo>
                    <a:pt x="382" y="12"/>
                  </a:lnTo>
                  <a:lnTo>
                    <a:pt x="404" y="28"/>
                  </a:lnTo>
                  <a:lnTo>
                    <a:pt x="404" y="28"/>
                  </a:lnTo>
                  <a:lnTo>
                    <a:pt x="410" y="28"/>
                  </a:lnTo>
                  <a:lnTo>
                    <a:pt x="410" y="28"/>
                  </a:lnTo>
                  <a:lnTo>
                    <a:pt x="416" y="22"/>
                  </a:lnTo>
                  <a:lnTo>
                    <a:pt x="422" y="16"/>
                  </a:lnTo>
                  <a:lnTo>
                    <a:pt x="430" y="0"/>
                  </a:lnTo>
                  <a:lnTo>
                    <a:pt x="430" y="0"/>
                  </a:lnTo>
                  <a:lnTo>
                    <a:pt x="440" y="2"/>
                  </a:lnTo>
                  <a:lnTo>
                    <a:pt x="450" y="4"/>
                  </a:lnTo>
                  <a:lnTo>
                    <a:pt x="456" y="8"/>
                  </a:lnTo>
                  <a:lnTo>
                    <a:pt x="460" y="12"/>
                  </a:lnTo>
                  <a:lnTo>
                    <a:pt x="462" y="20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52" y="52"/>
                  </a:lnTo>
                  <a:lnTo>
                    <a:pt x="452" y="52"/>
                  </a:lnTo>
                  <a:lnTo>
                    <a:pt x="450" y="72"/>
                  </a:lnTo>
                  <a:lnTo>
                    <a:pt x="446" y="90"/>
                  </a:lnTo>
                  <a:lnTo>
                    <a:pt x="444" y="100"/>
                  </a:lnTo>
                  <a:lnTo>
                    <a:pt x="438" y="108"/>
                  </a:lnTo>
                  <a:lnTo>
                    <a:pt x="432" y="118"/>
                  </a:lnTo>
                  <a:lnTo>
                    <a:pt x="424" y="126"/>
                  </a:lnTo>
                  <a:lnTo>
                    <a:pt x="424" y="126"/>
                  </a:lnTo>
                  <a:lnTo>
                    <a:pt x="422" y="138"/>
                  </a:lnTo>
                  <a:lnTo>
                    <a:pt x="420" y="150"/>
                  </a:lnTo>
                  <a:lnTo>
                    <a:pt x="422" y="174"/>
                  </a:lnTo>
                  <a:lnTo>
                    <a:pt x="430" y="228"/>
                  </a:lnTo>
                  <a:lnTo>
                    <a:pt x="430" y="228"/>
                  </a:lnTo>
                  <a:lnTo>
                    <a:pt x="430" y="238"/>
                  </a:lnTo>
                  <a:lnTo>
                    <a:pt x="428" y="246"/>
                  </a:lnTo>
                  <a:lnTo>
                    <a:pt x="420" y="266"/>
                  </a:lnTo>
                  <a:lnTo>
                    <a:pt x="408" y="284"/>
                  </a:lnTo>
                  <a:lnTo>
                    <a:pt x="398" y="300"/>
                  </a:lnTo>
                  <a:lnTo>
                    <a:pt x="398" y="300"/>
                  </a:lnTo>
                  <a:lnTo>
                    <a:pt x="398" y="384"/>
                  </a:lnTo>
                  <a:lnTo>
                    <a:pt x="398" y="384"/>
                  </a:lnTo>
                  <a:lnTo>
                    <a:pt x="412" y="416"/>
                  </a:lnTo>
                  <a:lnTo>
                    <a:pt x="416" y="434"/>
                  </a:lnTo>
                  <a:lnTo>
                    <a:pt x="418" y="454"/>
                  </a:lnTo>
                  <a:lnTo>
                    <a:pt x="418" y="454"/>
                  </a:lnTo>
                  <a:lnTo>
                    <a:pt x="414" y="472"/>
                  </a:lnTo>
                  <a:lnTo>
                    <a:pt x="410" y="492"/>
                  </a:lnTo>
                  <a:lnTo>
                    <a:pt x="410" y="514"/>
                  </a:lnTo>
                  <a:lnTo>
                    <a:pt x="412" y="526"/>
                  </a:lnTo>
                  <a:lnTo>
                    <a:pt x="414" y="538"/>
                  </a:lnTo>
                  <a:lnTo>
                    <a:pt x="414" y="538"/>
                  </a:lnTo>
                  <a:lnTo>
                    <a:pt x="422" y="548"/>
                  </a:lnTo>
                  <a:lnTo>
                    <a:pt x="428" y="556"/>
                  </a:lnTo>
                  <a:lnTo>
                    <a:pt x="434" y="568"/>
                  </a:lnTo>
                  <a:lnTo>
                    <a:pt x="434" y="568"/>
                  </a:lnTo>
                  <a:lnTo>
                    <a:pt x="432" y="600"/>
                  </a:lnTo>
                  <a:lnTo>
                    <a:pt x="432" y="600"/>
                  </a:lnTo>
                  <a:lnTo>
                    <a:pt x="456" y="660"/>
                  </a:lnTo>
                  <a:lnTo>
                    <a:pt x="456" y="660"/>
                  </a:lnTo>
                  <a:lnTo>
                    <a:pt x="466" y="674"/>
                  </a:lnTo>
                  <a:lnTo>
                    <a:pt x="476" y="690"/>
                  </a:lnTo>
                  <a:lnTo>
                    <a:pt x="484" y="710"/>
                  </a:lnTo>
                  <a:lnTo>
                    <a:pt x="490" y="732"/>
                  </a:lnTo>
                  <a:lnTo>
                    <a:pt x="490" y="732"/>
                  </a:lnTo>
                  <a:lnTo>
                    <a:pt x="462" y="726"/>
                  </a:lnTo>
                  <a:lnTo>
                    <a:pt x="462" y="726"/>
                  </a:lnTo>
                  <a:lnTo>
                    <a:pt x="404" y="726"/>
                  </a:lnTo>
                  <a:lnTo>
                    <a:pt x="372" y="728"/>
                  </a:lnTo>
                  <a:lnTo>
                    <a:pt x="362" y="728"/>
                  </a:lnTo>
                  <a:lnTo>
                    <a:pt x="356" y="732"/>
                  </a:lnTo>
                  <a:lnTo>
                    <a:pt x="356" y="732"/>
                  </a:lnTo>
                  <a:lnTo>
                    <a:pt x="354" y="744"/>
                  </a:lnTo>
                  <a:lnTo>
                    <a:pt x="354" y="744"/>
                  </a:lnTo>
                  <a:lnTo>
                    <a:pt x="394" y="776"/>
                  </a:lnTo>
                  <a:lnTo>
                    <a:pt x="394" y="776"/>
                  </a:lnTo>
                  <a:lnTo>
                    <a:pt x="398" y="792"/>
                  </a:lnTo>
                  <a:lnTo>
                    <a:pt x="398" y="792"/>
                  </a:lnTo>
                  <a:lnTo>
                    <a:pt x="382" y="798"/>
                  </a:lnTo>
                  <a:lnTo>
                    <a:pt x="370" y="806"/>
                  </a:lnTo>
                  <a:lnTo>
                    <a:pt x="360" y="816"/>
                  </a:lnTo>
                  <a:lnTo>
                    <a:pt x="350" y="828"/>
                  </a:lnTo>
                  <a:lnTo>
                    <a:pt x="350" y="828"/>
                  </a:lnTo>
                  <a:lnTo>
                    <a:pt x="350" y="888"/>
                  </a:lnTo>
                  <a:lnTo>
                    <a:pt x="350" y="888"/>
                  </a:lnTo>
                  <a:lnTo>
                    <a:pt x="344" y="888"/>
                  </a:lnTo>
                  <a:lnTo>
                    <a:pt x="344" y="888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71" name="未知"/>
            <p:cNvSpPr>
              <a:spLocks/>
            </p:cNvSpPr>
            <p:nvPr/>
          </p:nvSpPr>
          <p:spPr bwMode="auto">
            <a:xfrm>
              <a:off x="1534580" y="1785365"/>
              <a:ext cx="912859" cy="618936"/>
            </a:xfrm>
            <a:custGeom>
              <a:avLst/>
              <a:gdLst>
                <a:gd name="T0" fmla="*/ 494 w 1236"/>
                <a:gd name="T1" fmla="*/ 798 h 900"/>
                <a:gd name="T2" fmla="*/ 430 w 1236"/>
                <a:gd name="T3" fmla="*/ 762 h 900"/>
                <a:gd name="T4" fmla="*/ 278 w 1236"/>
                <a:gd name="T5" fmla="*/ 748 h 900"/>
                <a:gd name="T6" fmla="*/ 176 w 1236"/>
                <a:gd name="T7" fmla="*/ 704 h 900"/>
                <a:gd name="T8" fmla="*/ 148 w 1236"/>
                <a:gd name="T9" fmla="*/ 670 h 900"/>
                <a:gd name="T10" fmla="*/ 70 w 1236"/>
                <a:gd name="T11" fmla="*/ 640 h 900"/>
                <a:gd name="T12" fmla="*/ 24 w 1236"/>
                <a:gd name="T13" fmla="*/ 596 h 900"/>
                <a:gd name="T14" fmla="*/ 0 w 1236"/>
                <a:gd name="T15" fmla="*/ 412 h 900"/>
                <a:gd name="T16" fmla="*/ 16 w 1236"/>
                <a:gd name="T17" fmla="*/ 340 h 900"/>
                <a:gd name="T18" fmla="*/ 26 w 1236"/>
                <a:gd name="T19" fmla="*/ 328 h 900"/>
                <a:gd name="T20" fmla="*/ 52 w 1236"/>
                <a:gd name="T21" fmla="*/ 314 h 900"/>
                <a:gd name="T22" fmla="*/ 98 w 1236"/>
                <a:gd name="T23" fmla="*/ 336 h 900"/>
                <a:gd name="T24" fmla="*/ 150 w 1236"/>
                <a:gd name="T25" fmla="*/ 336 h 900"/>
                <a:gd name="T26" fmla="*/ 138 w 1236"/>
                <a:gd name="T27" fmla="*/ 274 h 900"/>
                <a:gd name="T28" fmla="*/ 168 w 1236"/>
                <a:gd name="T29" fmla="*/ 236 h 900"/>
                <a:gd name="T30" fmla="*/ 186 w 1236"/>
                <a:gd name="T31" fmla="*/ 192 h 900"/>
                <a:gd name="T32" fmla="*/ 152 w 1236"/>
                <a:gd name="T33" fmla="*/ 150 h 900"/>
                <a:gd name="T34" fmla="*/ 120 w 1236"/>
                <a:gd name="T35" fmla="*/ 120 h 900"/>
                <a:gd name="T36" fmla="*/ 118 w 1236"/>
                <a:gd name="T37" fmla="*/ 92 h 900"/>
                <a:gd name="T38" fmla="*/ 104 w 1236"/>
                <a:gd name="T39" fmla="*/ 58 h 900"/>
                <a:gd name="T40" fmla="*/ 234 w 1236"/>
                <a:gd name="T41" fmla="*/ 42 h 900"/>
                <a:gd name="T42" fmla="*/ 340 w 1236"/>
                <a:gd name="T43" fmla="*/ 4 h 900"/>
                <a:gd name="T44" fmla="*/ 430 w 1236"/>
                <a:gd name="T45" fmla="*/ 8 h 900"/>
                <a:gd name="T46" fmla="*/ 526 w 1236"/>
                <a:gd name="T47" fmla="*/ 22 h 900"/>
                <a:gd name="T48" fmla="*/ 654 w 1236"/>
                <a:gd name="T49" fmla="*/ 114 h 900"/>
                <a:gd name="T50" fmla="*/ 720 w 1236"/>
                <a:gd name="T51" fmla="*/ 110 h 900"/>
                <a:gd name="T52" fmla="*/ 720 w 1236"/>
                <a:gd name="T53" fmla="*/ 56 h 900"/>
                <a:gd name="T54" fmla="*/ 792 w 1236"/>
                <a:gd name="T55" fmla="*/ 72 h 900"/>
                <a:gd name="T56" fmla="*/ 930 w 1236"/>
                <a:gd name="T57" fmla="*/ 128 h 900"/>
                <a:gd name="T58" fmla="*/ 952 w 1236"/>
                <a:gd name="T59" fmla="*/ 142 h 900"/>
                <a:gd name="T60" fmla="*/ 1088 w 1236"/>
                <a:gd name="T61" fmla="*/ 224 h 900"/>
                <a:gd name="T62" fmla="*/ 1174 w 1236"/>
                <a:gd name="T63" fmla="*/ 250 h 900"/>
                <a:gd name="T64" fmla="*/ 1216 w 1236"/>
                <a:gd name="T65" fmla="*/ 368 h 900"/>
                <a:gd name="T66" fmla="*/ 1236 w 1236"/>
                <a:gd name="T67" fmla="*/ 452 h 900"/>
                <a:gd name="T68" fmla="*/ 1184 w 1236"/>
                <a:gd name="T69" fmla="*/ 496 h 900"/>
                <a:gd name="T70" fmla="*/ 1120 w 1236"/>
                <a:gd name="T71" fmla="*/ 584 h 900"/>
                <a:gd name="T72" fmla="*/ 1144 w 1236"/>
                <a:gd name="T73" fmla="*/ 626 h 900"/>
                <a:gd name="T74" fmla="*/ 1086 w 1236"/>
                <a:gd name="T75" fmla="*/ 606 h 900"/>
                <a:gd name="T76" fmla="*/ 1030 w 1236"/>
                <a:gd name="T77" fmla="*/ 642 h 900"/>
                <a:gd name="T78" fmla="*/ 1064 w 1236"/>
                <a:gd name="T79" fmla="*/ 694 h 900"/>
                <a:gd name="T80" fmla="*/ 1076 w 1236"/>
                <a:gd name="T81" fmla="*/ 792 h 900"/>
                <a:gd name="T82" fmla="*/ 1034 w 1236"/>
                <a:gd name="T83" fmla="*/ 804 h 900"/>
                <a:gd name="T84" fmla="*/ 996 w 1236"/>
                <a:gd name="T85" fmla="*/ 806 h 900"/>
                <a:gd name="T86" fmla="*/ 956 w 1236"/>
                <a:gd name="T87" fmla="*/ 788 h 900"/>
                <a:gd name="T88" fmla="*/ 920 w 1236"/>
                <a:gd name="T89" fmla="*/ 800 h 900"/>
                <a:gd name="T90" fmla="*/ 878 w 1236"/>
                <a:gd name="T91" fmla="*/ 780 h 900"/>
                <a:gd name="T92" fmla="*/ 828 w 1236"/>
                <a:gd name="T93" fmla="*/ 698 h 900"/>
                <a:gd name="T94" fmla="*/ 778 w 1236"/>
                <a:gd name="T95" fmla="*/ 654 h 900"/>
                <a:gd name="T96" fmla="*/ 700 w 1236"/>
                <a:gd name="T97" fmla="*/ 662 h 900"/>
                <a:gd name="T98" fmla="*/ 722 w 1236"/>
                <a:gd name="T99" fmla="*/ 746 h 900"/>
                <a:gd name="T100" fmla="*/ 694 w 1236"/>
                <a:gd name="T101" fmla="*/ 796 h 900"/>
                <a:gd name="T102" fmla="*/ 664 w 1236"/>
                <a:gd name="T103" fmla="*/ 862 h 900"/>
                <a:gd name="T104" fmla="*/ 634 w 1236"/>
                <a:gd name="T105" fmla="*/ 886 h 900"/>
                <a:gd name="T106" fmla="*/ 604 w 1236"/>
                <a:gd name="T107" fmla="*/ 884 h 900"/>
                <a:gd name="T108" fmla="*/ 568 w 1236"/>
                <a:gd name="T109" fmla="*/ 880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36" h="900">
                  <a:moveTo>
                    <a:pt x="552" y="900"/>
                  </a:moveTo>
                  <a:lnTo>
                    <a:pt x="552" y="900"/>
                  </a:lnTo>
                  <a:lnTo>
                    <a:pt x="522" y="874"/>
                  </a:lnTo>
                  <a:lnTo>
                    <a:pt x="522" y="874"/>
                  </a:lnTo>
                  <a:lnTo>
                    <a:pt x="510" y="834"/>
                  </a:lnTo>
                  <a:lnTo>
                    <a:pt x="494" y="798"/>
                  </a:lnTo>
                  <a:lnTo>
                    <a:pt x="494" y="798"/>
                  </a:lnTo>
                  <a:lnTo>
                    <a:pt x="486" y="790"/>
                  </a:lnTo>
                  <a:lnTo>
                    <a:pt x="478" y="782"/>
                  </a:lnTo>
                  <a:lnTo>
                    <a:pt x="460" y="772"/>
                  </a:lnTo>
                  <a:lnTo>
                    <a:pt x="444" y="766"/>
                  </a:lnTo>
                  <a:lnTo>
                    <a:pt x="430" y="762"/>
                  </a:lnTo>
                  <a:lnTo>
                    <a:pt x="430" y="762"/>
                  </a:lnTo>
                  <a:lnTo>
                    <a:pt x="322" y="764"/>
                  </a:lnTo>
                  <a:lnTo>
                    <a:pt x="322" y="764"/>
                  </a:lnTo>
                  <a:lnTo>
                    <a:pt x="310" y="762"/>
                  </a:lnTo>
                  <a:lnTo>
                    <a:pt x="298" y="758"/>
                  </a:lnTo>
                  <a:lnTo>
                    <a:pt x="278" y="748"/>
                  </a:lnTo>
                  <a:lnTo>
                    <a:pt x="262" y="736"/>
                  </a:lnTo>
                  <a:lnTo>
                    <a:pt x="248" y="724"/>
                  </a:lnTo>
                  <a:lnTo>
                    <a:pt x="248" y="724"/>
                  </a:lnTo>
                  <a:lnTo>
                    <a:pt x="220" y="720"/>
                  </a:lnTo>
                  <a:lnTo>
                    <a:pt x="198" y="712"/>
                  </a:lnTo>
                  <a:lnTo>
                    <a:pt x="176" y="704"/>
                  </a:lnTo>
                  <a:lnTo>
                    <a:pt x="158" y="692"/>
                  </a:lnTo>
                  <a:lnTo>
                    <a:pt x="158" y="692"/>
                  </a:lnTo>
                  <a:lnTo>
                    <a:pt x="156" y="686"/>
                  </a:lnTo>
                  <a:lnTo>
                    <a:pt x="154" y="680"/>
                  </a:lnTo>
                  <a:lnTo>
                    <a:pt x="148" y="670"/>
                  </a:lnTo>
                  <a:lnTo>
                    <a:pt x="148" y="670"/>
                  </a:lnTo>
                  <a:lnTo>
                    <a:pt x="138" y="662"/>
                  </a:lnTo>
                  <a:lnTo>
                    <a:pt x="138" y="662"/>
                  </a:lnTo>
                  <a:lnTo>
                    <a:pt x="118" y="658"/>
                  </a:lnTo>
                  <a:lnTo>
                    <a:pt x="100" y="654"/>
                  </a:lnTo>
                  <a:lnTo>
                    <a:pt x="84" y="648"/>
                  </a:lnTo>
                  <a:lnTo>
                    <a:pt x="70" y="640"/>
                  </a:lnTo>
                  <a:lnTo>
                    <a:pt x="70" y="640"/>
                  </a:lnTo>
                  <a:lnTo>
                    <a:pt x="62" y="638"/>
                  </a:lnTo>
                  <a:lnTo>
                    <a:pt x="54" y="634"/>
                  </a:lnTo>
                  <a:lnTo>
                    <a:pt x="42" y="624"/>
                  </a:lnTo>
                  <a:lnTo>
                    <a:pt x="32" y="610"/>
                  </a:lnTo>
                  <a:lnTo>
                    <a:pt x="24" y="596"/>
                  </a:lnTo>
                  <a:lnTo>
                    <a:pt x="18" y="580"/>
                  </a:lnTo>
                  <a:lnTo>
                    <a:pt x="12" y="566"/>
                  </a:lnTo>
                  <a:lnTo>
                    <a:pt x="6" y="542"/>
                  </a:lnTo>
                  <a:lnTo>
                    <a:pt x="6" y="542"/>
                  </a:lnTo>
                  <a:lnTo>
                    <a:pt x="0" y="412"/>
                  </a:lnTo>
                  <a:lnTo>
                    <a:pt x="0" y="412"/>
                  </a:lnTo>
                  <a:lnTo>
                    <a:pt x="14" y="388"/>
                  </a:lnTo>
                  <a:lnTo>
                    <a:pt x="18" y="376"/>
                  </a:lnTo>
                  <a:lnTo>
                    <a:pt x="22" y="366"/>
                  </a:lnTo>
                  <a:lnTo>
                    <a:pt x="22" y="366"/>
                  </a:lnTo>
                  <a:lnTo>
                    <a:pt x="20" y="352"/>
                  </a:lnTo>
                  <a:lnTo>
                    <a:pt x="16" y="340"/>
                  </a:lnTo>
                  <a:lnTo>
                    <a:pt x="12" y="332"/>
                  </a:lnTo>
                  <a:lnTo>
                    <a:pt x="10" y="328"/>
                  </a:lnTo>
                  <a:lnTo>
                    <a:pt x="10" y="328"/>
                  </a:lnTo>
                  <a:lnTo>
                    <a:pt x="22" y="326"/>
                  </a:lnTo>
                  <a:lnTo>
                    <a:pt x="22" y="326"/>
                  </a:lnTo>
                  <a:lnTo>
                    <a:pt x="26" y="328"/>
                  </a:lnTo>
                  <a:lnTo>
                    <a:pt x="32" y="330"/>
                  </a:lnTo>
                  <a:lnTo>
                    <a:pt x="42" y="330"/>
                  </a:lnTo>
                  <a:lnTo>
                    <a:pt x="42" y="330"/>
                  </a:lnTo>
                  <a:lnTo>
                    <a:pt x="50" y="320"/>
                  </a:lnTo>
                  <a:lnTo>
                    <a:pt x="52" y="314"/>
                  </a:lnTo>
                  <a:lnTo>
                    <a:pt x="52" y="314"/>
                  </a:lnTo>
                  <a:lnTo>
                    <a:pt x="60" y="312"/>
                  </a:lnTo>
                  <a:lnTo>
                    <a:pt x="66" y="312"/>
                  </a:lnTo>
                  <a:lnTo>
                    <a:pt x="72" y="316"/>
                  </a:lnTo>
                  <a:lnTo>
                    <a:pt x="78" y="320"/>
                  </a:lnTo>
                  <a:lnTo>
                    <a:pt x="90" y="330"/>
                  </a:lnTo>
                  <a:lnTo>
                    <a:pt x="98" y="336"/>
                  </a:lnTo>
                  <a:lnTo>
                    <a:pt x="108" y="342"/>
                  </a:lnTo>
                  <a:lnTo>
                    <a:pt x="108" y="342"/>
                  </a:lnTo>
                  <a:lnTo>
                    <a:pt x="128" y="342"/>
                  </a:lnTo>
                  <a:lnTo>
                    <a:pt x="140" y="340"/>
                  </a:lnTo>
                  <a:lnTo>
                    <a:pt x="150" y="336"/>
                  </a:lnTo>
                  <a:lnTo>
                    <a:pt x="150" y="336"/>
                  </a:lnTo>
                  <a:lnTo>
                    <a:pt x="158" y="326"/>
                  </a:lnTo>
                  <a:lnTo>
                    <a:pt x="158" y="326"/>
                  </a:lnTo>
                  <a:lnTo>
                    <a:pt x="158" y="300"/>
                  </a:lnTo>
                  <a:lnTo>
                    <a:pt x="158" y="300"/>
                  </a:lnTo>
                  <a:lnTo>
                    <a:pt x="148" y="286"/>
                  </a:lnTo>
                  <a:lnTo>
                    <a:pt x="138" y="274"/>
                  </a:lnTo>
                  <a:lnTo>
                    <a:pt x="136" y="270"/>
                  </a:lnTo>
                  <a:lnTo>
                    <a:pt x="136" y="264"/>
                  </a:lnTo>
                  <a:lnTo>
                    <a:pt x="136" y="258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68" y="236"/>
                  </a:lnTo>
                  <a:lnTo>
                    <a:pt x="168" y="236"/>
                  </a:lnTo>
                  <a:lnTo>
                    <a:pt x="180" y="224"/>
                  </a:lnTo>
                  <a:lnTo>
                    <a:pt x="180" y="224"/>
                  </a:lnTo>
                  <a:lnTo>
                    <a:pt x="184" y="212"/>
                  </a:lnTo>
                  <a:lnTo>
                    <a:pt x="188" y="200"/>
                  </a:lnTo>
                  <a:lnTo>
                    <a:pt x="186" y="192"/>
                  </a:lnTo>
                  <a:lnTo>
                    <a:pt x="184" y="184"/>
                  </a:lnTo>
                  <a:lnTo>
                    <a:pt x="178" y="178"/>
                  </a:lnTo>
                  <a:lnTo>
                    <a:pt x="172" y="17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2" y="150"/>
                  </a:lnTo>
                  <a:lnTo>
                    <a:pt x="142" y="138"/>
                  </a:lnTo>
                  <a:lnTo>
                    <a:pt x="132" y="128"/>
                  </a:lnTo>
                  <a:lnTo>
                    <a:pt x="126" y="126"/>
                  </a:lnTo>
                  <a:lnTo>
                    <a:pt x="122" y="126"/>
                  </a:lnTo>
                  <a:lnTo>
                    <a:pt x="122" y="126"/>
                  </a:lnTo>
                  <a:lnTo>
                    <a:pt x="120" y="120"/>
                  </a:lnTo>
                  <a:lnTo>
                    <a:pt x="116" y="114"/>
                  </a:lnTo>
                  <a:lnTo>
                    <a:pt x="114" y="110"/>
                  </a:lnTo>
                  <a:lnTo>
                    <a:pt x="114" y="104"/>
                  </a:lnTo>
                  <a:lnTo>
                    <a:pt x="114" y="104"/>
                  </a:lnTo>
                  <a:lnTo>
                    <a:pt x="118" y="98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6" y="80"/>
                  </a:lnTo>
                  <a:lnTo>
                    <a:pt x="110" y="70"/>
                  </a:lnTo>
                  <a:lnTo>
                    <a:pt x="104" y="66"/>
                  </a:lnTo>
                  <a:lnTo>
                    <a:pt x="104" y="66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20" y="56"/>
                  </a:lnTo>
                  <a:lnTo>
                    <a:pt x="138" y="52"/>
                  </a:lnTo>
                  <a:lnTo>
                    <a:pt x="176" y="50"/>
                  </a:lnTo>
                  <a:lnTo>
                    <a:pt x="214" y="46"/>
                  </a:lnTo>
                  <a:lnTo>
                    <a:pt x="234" y="42"/>
                  </a:lnTo>
                  <a:lnTo>
                    <a:pt x="252" y="38"/>
                  </a:lnTo>
                  <a:lnTo>
                    <a:pt x="252" y="38"/>
                  </a:lnTo>
                  <a:lnTo>
                    <a:pt x="280" y="24"/>
                  </a:lnTo>
                  <a:lnTo>
                    <a:pt x="310" y="12"/>
                  </a:lnTo>
                  <a:lnTo>
                    <a:pt x="324" y="6"/>
                  </a:lnTo>
                  <a:lnTo>
                    <a:pt x="340" y="4"/>
                  </a:lnTo>
                  <a:lnTo>
                    <a:pt x="358" y="0"/>
                  </a:lnTo>
                  <a:lnTo>
                    <a:pt x="378" y="0"/>
                  </a:lnTo>
                  <a:lnTo>
                    <a:pt x="378" y="0"/>
                  </a:lnTo>
                  <a:lnTo>
                    <a:pt x="400" y="10"/>
                  </a:lnTo>
                  <a:lnTo>
                    <a:pt x="400" y="10"/>
                  </a:lnTo>
                  <a:lnTo>
                    <a:pt x="430" y="8"/>
                  </a:lnTo>
                  <a:lnTo>
                    <a:pt x="462" y="10"/>
                  </a:lnTo>
                  <a:lnTo>
                    <a:pt x="478" y="10"/>
                  </a:lnTo>
                  <a:lnTo>
                    <a:pt x="494" y="12"/>
                  </a:lnTo>
                  <a:lnTo>
                    <a:pt x="510" y="16"/>
                  </a:lnTo>
                  <a:lnTo>
                    <a:pt x="526" y="22"/>
                  </a:lnTo>
                  <a:lnTo>
                    <a:pt x="526" y="22"/>
                  </a:lnTo>
                  <a:lnTo>
                    <a:pt x="604" y="72"/>
                  </a:lnTo>
                  <a:lnTo>
                    <a:pt x="604" y="72"/>
                  </a:lnTo>
                  <a:lnTo>
                    <a:pt x="612" y="84"/>
                  </a:lnTo>
                  <a:lnTo>
                    <a:pt x="612" y="84"/>
                  </a:lnTo>
                  <a:lnTo>
                    <a:pt x="638" y="104"/>
                  </a:lnTo>
                  <a:lnTo>
                    <a:pt x="654" y="114"/>
                  </a:lnTo>
                  <a:lnTo>
                    <a:pt x="676" y="122"/>
                  </a:lnTo>
                  <a:lnTo>
                    <a:pt x="676" y="122"/>
                  </a:lnTo>
                  <a:lnTo>
                    <a:pt x="706" y="122"/>
                  </a:lnTo>
                  <a:lnTo>
                    <a:pt x="706" y="122"/>
                  </a:lnTo>
                  <a:lnTo>
                    <a:pt x="720" y="110"/>
                  </a:lnTo>
                  <a:lnTo>
                    <a:pt x="720" y="110"/>
                  </a:lnTo>
                  <a:lnTo>
                    <a:pt x="722" y="94"/>
                  </a:lnTo>
                  <a:lnTo>
                    <a:pt x="720" y="80"/>
                  </a:lnTo>
                  <a:lnTo>
                    <a:pt x="718" y="68"/>
                  </a:lnTo>
                  <a:lnTo>
                    <a:pt x="716" y="58"/>
                  </a:lnTo>
                  <a:lnTo>
                    <a:pt x="716" y="58"/>
                  </a:lnTo>
                  <a:lnTo>
                    <a:pt x="720" y="56"/>
                  </a:lnTo>
                  <a:lnTo>
                    <a:pt x="724" y="54"/>
                  </a:lnTo>
                  <a:lnTo>
                    <a:pt x="736" y="52"/>
                  </a:lnTo>
                  <a:lnTo>
                    <a:pt x="762" y="52"/>
                  </a:lnTo>
                  <a:lnTo>
                    <a:pt x="762" y="52"/>
                  </a:lnTo>
                  <a:lnTo>
                    <a:pt x="792" y="72"/>
                  </a:lnTo>
                  <a:lnTo>
                    <a:pt x="792" y="72"/>
                  </a:lnTo>
                  <a:lnTo>
                    <a:pt x="822" y="80"/>
                  </a:lnTo>
                  <a:lnTo>
                    <a:pt x="858" y="84"/>
                  </a:lnTo>
                  <a:lnTo>
                    <a:pt x="858" y="84"/>
                  </a:lnTo>
                  <a:lnTo>
                    <a:pt x="898" y="104"/>
                  </a:lnTo>
                  <a:lnTo>
                    <a:pt x="898" y="104"/>
                  </a:lnTo>
                  <a:lnTo>
                    <a:pt x="930" y="128"/>
                  </a:lnTo>
                  <a:lnTo>
                    <a:pt x="930" y="128"/>
                  </a:lnTo>
                  <a:lnTo>
                    <a:pt x="930" y="132"/>
                  </a:lnTo>
                  <a:lnTo>
                    <a:pt x="930" y="132"/>
                  </a:lnTo>
                  <a:lnTo>
                    <a:pt x="940" y="140"/>
                  </a:lnTo>
                  <a:lnTo>
                    <a:pt x="940" y="140"/>
                  </a:lnTo>
                  <a:lnTo>
                    <a:pt x="952" y="142"/>
                  </a:lnTo>
                  <a:lnTo>
                    <a:pt x="964" y="140"/>
                  </a:lnTo>
                  <a:lnTo>
                    <a:pt x="992" y="136"/>
                  </a:lnTo>
                  <a:lnTo>
                    <a:pt x="992" y="136"/>
                  </a:lnTo>
                  <a:lnTo>
                    <a:pt x="1032" y="184"/>
                  </a:lnTo>
                  <a:lnTo>
                    <a:pt x="1032" y="184"/>
                  </a:lnTo>
                  <a:lnTo>
                    <a:pt x="1088" y="224"/>
                  </a:lnTo>
                  <a:lnTo>
                    <a:pt x="1088" y="224"/>
                  </a:lnTo>
                  <a:lnTo>
                    <a:pt x="1116" y="238"/>
                  </a:lnTo>
                  <a:lnTo>
                    <a:pt x="1116" y="238"/>
                  </a:lnTo>
                  <a:lnTo>
                    <a:pt x="1166" y="238"/>
                  </a:lnTo>
                  <a:lnTo>
                    <a:pt x="1166" y="238"/>
                  </a:lnTo>
                  <a:lnTo>
                    <a:pt x="1174" y="250"/>
                  </a:lnTo>
                  <a:lnTo>
                    <a:pt x="1182" y="272"/>
                  </a:lnTo>
                  <a:lnTo>
                    <a:pt x="1188" y="294"/>
                  </a:lnTo>
                  <a:lnTo>
                    <a:pt x="1194" y="316"/>
                  </a:lnTo>
                  <a:lnTo>
                    <a:pt x="1194" y="316"/>
                  </a:lnTo>
                  <a:lnTo>
                    <a:pt x="1216" y="368"/>
                  </a:lnTo>
                  <a:lnTo>
                    <a:pt x="1216" y="368"/>
                  </a:lnTo>
                  <a:lnTo>
                    <a:pt x="1220" y="412"/>
                  </a:lnTo>
                  <a:lnTo>
                    <a:pt x="1220" y="412"/>
                  </a:lnTo>
                  <a:lnTo>
                    <a:pt x="1228" y="422"/>
                  </a:lnTo>
                  <a:lnTo>
                    <a:pt x="1234" y="436"/>
                  </a:lnTo>
                  <a:lnTo>
                    <a:pt x="1236" y="444"/>
                  </a:lnTo>
                  <a:lnTo>
                    <a:pt x="1236" y="452"/>
                  </a:lnTo>
                  <a:lnTo>
                    <a:pt x="1232" y="458"/>
                  </a:lnTo>
                  <a:lnTo>
                    <a:pt x="1226" y="466"/>
                  </a:lnTo>
                  <a:lnTo>
                    <a:pt x="1226" y="466"/>
                  </a:lnTo>
                  <a:lnTo>
                    <a:pt x="1200" y="482"/>
                  </a:lnTo>
                  <a:lnTo>
                    <a:pt x="1192" y="488"/>
                  </a:lnTo>
                  <a:lnTo>
                    <a:pt x="1184" y="496"/>
                  </a:lnTo>
                  <a:lnTo>
                    <a:pt x="1172" y="514"/>
                  </a:lnTo>
                  <a:lnTo>
                    <a:pt x="1156" y="542"/>
                  </a:lnTo>
                  <a:lnTo>
                    <a:pt x="1156" y="542"/>
                  </a:lnTo>
                  <a:lnTo>
                    <a:pt x="1120" y="568"/>
                  </a:lnTo>
                  <a:lnTo>
                    <a:pt x="1120" y="568"/>
                  </a:lnTo>
                  <a:lnTo>
                    <a:pt x="1120" y="584"/>
                  </a:lnTo>
                  <a:lnTo>
                    <a:pt x="1120" y="584"/>
                  </a:lnTo>
                  <a:lnTo>
                    <a:pt x="1154" y="614"/>
                  </a:lnTo>
                  <a:lnTo>
                    <a:pt x="1154" y="614"/>
                  </a:lnTo>
                  <a:lnTo>
                    <a:pt x="1152" y="620"/>
                  </a:lnTo>
                  <a:lnTo>
                    <a:pt x="1148" y="624"/>
                  </a:lnTo>
                  <a:lnTo>
                    <a:pt x="1144" y="626"/>
                  </a:lnTo>
                  <a:lnTo>
                    <a:pt x="1138" y="628"/>
                  </a:lnTo>
                  <a:lnTo>
                    <a:pt x="1128" y="628"/>
                  </a:lnTo>
                  <a:lnTo>
                    <a:pt x="1120" y="628"/>
                  </a:lnTo>
                  <a:lnTo>
                    <a:pt x="1120" y="628"/>
                  </a:lnTo>
                  <a:lnTo>
                    <a:pt x="1086" y="606"/>
                  </a:lnTo>
                  <a:lnTo>
                    <a:pt x="1086" y="606"/>
                  </a:lnTo>
                  <a:lnTo>
                    <a:pt x="1052" y="604"/>
                  </a:lnTo>
                  <a:lnTo>
                    <a:pt x="1038" y="606"/>
                  </a:lnTo>
                  <a:lnTo>
                    <a:pt x="1030" y="608"/>
                  </a:lnTo>
                  <a:lnTo>
                    <a:pt x="1030" y="608"/>
                  </a:lnTo>
                  <a:lnTo>
                    <a:pt x="1030" y="632"/>
                  </a:lnTo>
                  <a:lnTo>
                    <a:pt x="1030" y="642"/>
                  </a:lnTo>
                  <a:lnTo>
                    <a:pt x="1032" y="652"/>
                  </a:lnTo>
                  <a:lnTo>
                    <a:pt x="1036" y="662"/>
                  </a:lnTo>
                  <a:lnTo>
                    <a:pt x="1042" y="672"/>
                  </a:lnTo>
                  <a:lnTo>
                    <a:pt x="1052" y="682"/>
                  </a:lnTo>
                  <a:lnTo>
                    <a:pt x="1064" y="694"/>
                  </a:lnTo>
                  <a:lnTo>
                    <a:pt x="1064" y="694"/>
                  </a:lnTo>
                  <a:lnTo>
                    <a:pt x="1064" y="730"/>
                  </a:lnTo>
                  <a:lnTo>
                    <a:pt x="1064" y="730"/>
                  </a:lnTo>
                  <a:lnTo>
                    <a:pt x="1080" y="780"/>
                  </a:lnTo>
                  <a:lnTo>
                    <a:pt x="1080" y="780"/>
                  </a:lnTo>
                  <a:lnTo>
                    <a:pt x="1078" y="788"/>
                  </a:lnTo>
                  <a:lnTo>
                    <a:pt x="1076" y="792"/>
                  </a:lnTo>
                  <a:lnTo>
                    <a:pt x="1074" y="796"/>
                  </a:lnTo>
                  <a:lnTo>
                    <a:pt x="1068" y="798"/>
                  </a:lnTo>
                  <a:lnTo>
                    <a:pt x="1058" y="800"/>
                  </a:lnTo>
                  <a:lnTo>
                    <a:pt x="1046" y="800"/>
                  </a:lnTo>
                  <a:lnTo>
                    <a:pt x="1046" y="800"/>
                  </a:lnTo>
                  <a:lnTo>
                    <a:pt x="1034" y="804"/>
                  </a:lnTo>
                  <a:lnTo>
                    <a:pt x="1028" y="808"/>
                  </a:lnTo>
                  <a:lnTo>
                    <a:pt x="1014" y="818"/>
                  </a:lnTo>
                  <a:lnTo>
                    <a:pt x="1014" y="818"/>
                  </a:lnTo>
                  <a:lnTo>
                    <a:pt x="1004" y="818"/>
                  </a:lnTo>
                  <a:lnTo>
                    <a:pt x="1004" y="818"/>
                  </a:lnTo>
                  <a:lnTo>
                    <a:pt x="996" y="806"/>
                  </a:lnTo>
                  <a:lnTo>
                    <a:pt x="996" y="806"/>
                  </a:lnTo>
                  <a:lnTo>
                    <a:pt x="968" y="804"/>
                  </a:lnTo>
                  <a:lnTo>
                    <a:pt x="968" y="804"/>
                  </a:lnTo>
                  <a:lnTo>
                    <a:pt x="968" y="798"/>
                  </a:lnTo>
                  <a:lnTo>
                    <a:pt x="964" y="794"/>
                  </a:lnTo>
                  <a:lnTo>
                    <a:pt x="956" y="788"/>
                  </a:lnTo>
                  <a:lnTo>
                    <a:pt x="956" y="788"/>
                  </a:lnTo>
                  <a:lnTo>
                    <a:pt x="936" y="786"/>
                  </a:lnTo>
                  <a:lnTo>
                    <a:pt x="936" y="786"/>
                  </a:lnTo>
                  <a:lnTo>
                    <a:pt x="934" y="792"/>
                  </a:lnTo>
                  <a:lnTo>
                    <a:pt x="926" y="796"/>
                  </a:lnTo>
                  <a:lnTo>
                    <a:pt x="920" y="800"/>
                  </a:lnTo>
                  <a:lnTo>
                    <a:pt x="914" y="800"/>
                  </a:lnTo>
                  <a:lnTo>
                    <a:pt x="914" y="800"/>
                  </a:lnTo>
                  <a:lnTo>
                    <a:pt x="908" y="786"/>
                  </a:lnTo>
                  <a:lnTo>
                    <a:pt x="908" y="786"/>
                  </a:lnTo>
                  <a:lnTo>
                    <a:pt x="878" y="780"/>
                  </a:lnTo>
                  <a:lnTo>
                    <a:pt x="878" y="780"/>
                  </a:lnTo>
                  <a:lnTo>
                    <a:pt x="836" y="732"/>
                  </a:lnTo>
                  <a:lnTo>
                    <a:pt x="836" y="732"/>
                  </a:lnTo>
                  <a:lnTo>
                    <a:pt x="830" y="722"/>
                  </a:lnTo>
                  <a:lnTo>
                    <a:pt x="830" y="722"/>
                  </a:lnTo>
                  <a:lnTo>
                    <a:pt x="830" y="710"/>
                  </a:lnTo>
                  <a:lnTo>
                    <a:pt x="828" y="698"/>
                  </a:lnTo>
                  <a:lnTo>
                    <a:pt x="824" y="690"/>
                  </a:lnTo>
                  <a:lnTo>
                    <a:pt x="820" y="682"/>
                  </a:lnTo>
                  <a:lnTo>
                    <a:pt x="808" y="670"/>
                  </a:lnTo>
                  <a:lnTo>
                    <a:pt x="796" y="658"/>
                  </a:lnTo>
                  <a:lnTo>
                    <a:pt x="796" y="658"/>
                  </a:lnTo>
                  <a:lnTo>
                    <a:pt x="778" y="654"/>
                  </a:lnTo>
                  <a:lnTo>
                    <a:pt x="758" y="652"/>
                  </a:lnTo>
                  <a:lnTo>
                    <a:pt x="724" y="654"/>
                  </a:lnTo>
                  <a:lnTo>
                    <a:pt x="724" y="654"/>
                  </a:lnTo>
                  <a:lnTo>
                    <a:pt x="706" y="656"/>
                  </a:lnTo>
                  <a:lnTo>
                    <a:pt x="702" y="660"/>
                  </a:lnTo>
                  <a:lnTo>
                    <a:pt x="700" y="662"/>
                  </a:lnTo>
                  <a:lnTo>
                    <a:pt x="698" y="674"/>
                  </a:lnTo>
                  <a:lnTo>
                    <a:pt x="698" y="694"/>
                  </a:lnTo>
                  <a:lnTo>
                    <a:pt x="698" y="694"/>
                  </a:lnTo>
                  <a:lnTo>
                    <a:pt x="722" y="726"/>
                  </a:lnTo>
                  <a:lnTo>
                    <a:pt x="722" y="726"/>
                  </a:lnTo>
                  <a:lnTo>
                    <a:pt x="722" y="746"/>
                  </a:lnTo>
                  <a:lnTo>
                    <a:pt x="722" y="746"/>
                  </a:lnTo>
                  <a:lnTo>
                    <a:pt x="712" y="758"/>
                  </a:lnTo>
                  <a:lnTo>
                    <a:pt x="700" y="772"/>
                  </a:lnTo>
                  <a:lnTo>
                    <a:pt x="696" y="778"/>
                  </a:lnTo>
                  <a:lnTo>
                    <a:pt x="694" y="786"/>
                  </a:lnTo>
                  <a:lnTo>
                    <a:pt x="694" y="796"/>
                  </a:lnTo>
                  <a:lnTo>
                    <a:pt x="698" y="804"/>
                  </a:lnTo>
                  <a:lnTo>
                    <a:pt x="698" y="804"/>
                  </a:lnTo>
                  <a:lnTo>
                    <a:pt x="698" y="810"/>
                  </a:lnTo>
                  <a:lnTo>
                    <a:pt x="694" y="818"/>
                  </a:lnTo>
                  <a:lnTo>
                    <a:pt x="684" y="834"/>
                  </a:lnTo>
                  <a:lnTo>
                    <a:pt x="664" y="862"/>
                  </a:lnTo>
                  <a:lnTo>
                    <a:pt x="664" y="862"/>
                  </a:lnTo>
                  <a:lnTo>
                    <a:pt x="658" y="870"/>
                  </a:lnTo>
                  <a:lnTo>
                    <a:pt x="652" y="878"/>
                  </a:lnTo>
                  <a:lnTo>
                    <a:pt x="644" y="882"/>
                  </a:lnTo>
                  <a:lnTo>
                    <a:pt x="634" y="886"/>
                  </a:lnTo>
                  <a:lnTo>
                    <a:pt x="634" y="886"/>
                  </a:lnTo>
                  <a:lnTo>
                    <a:pt x="624" y="898"/>
                  </a:lnTo>
                  <a:lnTo>
                    <a:pt x="624" y="898"/>
                  </a:lnTo>
                  <a:lnTo>
                    <a:pt x="618" y="896"/>
                  </a:lnTo>
                  <a:lnTo>
                    <a:pt x="612" y="896"/>
                  </a:lnTo>
                  <a:lnTo>
                    <a:pt x="608" y="890"/>
                  </a:lnTo>
                  <a:lnTo>
                    <a:pt x="604" y="884"/>
                  </a:lnTo>
                  <a:lnTo>
                    <a:pt x="604" y="880"/>
                  </a:lnTo>
                  <a:lnTo>
                    <a:pt x="604" y="880"/>
                  </a:lnTo>
                  <a:lnTo>
                    <a:pt x="598" y="878"/>
                  </a:lnTo>
                  <a:lnTo>
                    <a:pt x="594" y="876"/>
                  </a:lnTo>
                  <a:lnTo>
                    <a:pt x="582" y="876"/>
                  </a:lnTo>
                  <a:lnTo>
                    <a:pt x="568" y="880"/>
                  </a:lnTo>
                  <a:lnTo>
                    <a:pt x="568" y="880"/>
                  </a:lnTo>
                  <a:lnTo>
                    <a:pt x="560" y="892"/>
                  </a:lnTo>
                  <a:lnTo>
                    <a:pt x="556" y="896"/>
                  </a:lnTo>
                  <a:lnTo>
                    <a:pt x="552" y="900"/>
                  </a:lnTo>
                  <a:lnTo>
                    <a:pt x="552" y="900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72" name="未知"/>
            <p:cNvSpPr>
              <a:spLocks/>
            </p:cNvSpPr>
            <p:nvPr/>
          </p:nvSpPr>
          <p:spPr bwMode="auto">
            <a:xfrm>
              <a:off x="2956220" y="1701519"/>
              <a:ext cx="250300" cy="470300"/>
            </a:xfrm>
            <a:custGeom>
              <a:avLst/>
              <a:gdLst>
                <a:gd name="T0" fmla="*/ 24 w 340"/>
                <a:gd name="T1" fmla="*/ 676 h 684"/>
                <a:gd name="T2" fmla="*/ 10 w 340"/>
                <a:gd name="T3" fmla="*/ 654 h 684"/>
                <a:gd name="T4" fmla="*/ 10 w 340"/>
                <a:gd name="T5" fmla="*/ 624 h 684"/>
                <a:gd name="T6" fmla="*/ 18 w 340"/>
                <a:gd name="T7" fmla="*/ 560 h 684"/>
                <a:gd name="T8" fmla="*/ 0 w 340"/>
                <a:gd name="T9" fmla="*/ 514 h 684"/>
                <a:gd name="T10" fmla="*/ 8 w 340"/>
                <a:gd name="T11" fmla="*/ 426 h 684"/>
                <a:gd name="T12" fmla="*/ 30 w 340"/>
                <a:gd name="T13" fmla="*/ 386 h 684"/>
                <a:gd name="T14" fmla="*/ 24 w 340"/>
                <a:gd name="T15" fmla="*/ 326 h 684"/>
                <a:gd name="T16" fmla="*/ 22 w 340"/>
                <a:gd name="T17" fmla="*/ 282 h 684"/>
                <a:gd name="T18" fmla="*/ 44 w 340"/>
                <a:gd name="T19" fmla="*/ 248 h 684"/>
                <a:gd name="T20" fmla="*/ 50 w 340"/>
                <a:gd name="T21" fmla="*/ 218 h 684"/>
                <a:gd name="T22" fmla="*/ 64 w 340"/>
                <a:gd name="T23" fmla="*/ 170 h 684"/>
                <a:gd name="T24" fmla="*/ 70 w 340"/>
                <a:gd name="T25" fmla="*/ 150 h 684"/>
                <a:gd name="T26" fmla="*/ 94 w 340"/>
                <a:gd name="T27" fmla="*/ 122 h 684"/>
                <a:gd name="T28" fmla="*/ 128 w 340"/>
                <a:gd name="T29" fmla="*/ 82 h 684"/>
                <a:gd name="T30" fmla="*/ 152 w 340"/>
                <a:gd name="T31" fmla="*/ 58 h 684"/>
                <a:gd name="T32" fmla="*/ 170 w 340"/>
                <a:gd name="T33" fmla="*/ 40 h 684"/>
                <a:gd name="T34" fmla="*/ 224 w 340"/>
                <a:gd name="T35" fmla="*/ 40 h 684"/>
                <a:gd name="T36" fmla="*/ 238 w 340"/>
                <a:gd name="T37" fmla="*/ 32 h 684"/>
                <a:gd name="T38" fmla="*/ 270 w 340"/>
                <a:gd name="T39" fmla="*/ 20 h 684"/>
                <a:gd name="T40" fmla="*/ 290 w 340"/>
                <a:gd name="T41" fmla="*/ 0 h 684"/>
                <a:gd name="T42" fmla="*/ 308 w 340"/>
                <a:gd name="T43" fmla="*/ 12 h 684"/>
                <a:gd name="T44" fmla="*/ 290 w 340"/>
                <a:gd name="T45" fmla="*/ 34 h 684"/>
                <a:gd name="T46" fmla="*/ 276 w 340"/>
                <a:gd name="T47" fmla="*/ 54 h 684"/>
                <a:gd name="T48" fmla="*/ 286 w 340"/>
                <a:gd name="T49" fmla="*/ 64 h 684"/>
                <a:gd name="T50" fmla="*/ 310 w 340"/>
                <a:gd name="T51" fmla="*/ 82 h 684"/>
                <a:gd name="T52" fmla="*/ 340 w 340"/>
                <a:gd name="T53" fmla="*/ 124 h 684"/>
                <a:gd name="T54" fmla="*/ 328 w 340"/>
                <a:gd name="T55" fmla="*/ 158 h 684"/>
                <a:gd name="T56" fmla="*/ 290 w 340"/>
                <a:gd name="T57" fmla="*/ 186 h 684"/>
                <a:gd name="T58" fmla="*/ 268 w 340"/>
                <a:gd name="T59" fmla="*/ 228 h 684"/>
                <a:gd name="T60" fmla="*/ 274 w 340"/>
                <a:gd name="T61" fmla="*/ 256 h 684"/>
                <a:gd name="T62" fmla="*/ 300 w 340"/>
                <a:gd name="T63" fmla="*/ 278 h 684"/>
                <a:gd name="T64" fmla="*/ 320 w 340"/>
                <a:gd name="T65" fmla="*/ 312 h 684"/>
                <a:gd name="T66" fmla="*/ 328 w 340"/>
                <a:gd name="T67" fmla="*/ 344 h 684"/>
                <a:gd name="T68" fmla="*/ 316 w 340"/>
                <a:gd name="T69" fmla="*/ 384 h 684"/>
                <a:gd name="T70" fmla="*/ 298 w 340"/>
                <a:gd name="T71" fmla="*/ 412 h 684"/>
                <a:gd name="T72" fmla="*/ 276 w 340"/>
                <a:gd name="T73" fmla="*/ 436 h 684"/>
                <a:gd name="T74" fmla="*/ 298 w 340"/>
                <a:gd name="T75" fmla="*/ 474 h 684"/>
                <a:gd name="T76" fmla="*/ 302 w 340"/>
                <a:gd name="T77" fmla="*/ 506 h 684"/>
                <a:gd name="T78" fmla="*/ 296 w 340"/>
                <a:gd name="T79" fmla="*/ 544 h 684"/>
                <a:gd name="T80" fmla="*/ 236 w 340"/>
                <a:gd name="T81" fmla="*/ 602 h 684"/>
                <a:gd name="T82" fmla="*/ 164 w 340"/>
                <a:gd name="T83" fmla="*/ 620 h 684"/>
                <a:gd name="T84" fmla="*/ 112 w 340"/>
                <a:gd name="T85" fmla="*/ 644 h 684"/>
                <a:gd name="T86" fmla="*/ 66 w 340"/>
                <a:gd name="T87" fmla="*/ 664 h 684"/>
                <a:gd name="T88" fmla="*/ 48 w 340"/>
                <a:gd name="T89" fmla="*/ 678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40" h="684">
                  <a:moveTo>
                    <a:pt x="32" y="684"/>
                  </a:moveTo>
                  <a:lnTo>
                    <a:pt x="32" y="684"/>
                  </a:lnTo>
                  <a:lnTo>
                    <a:pt x="24" y="676"/>
                  </a:lnTo>
                  <a:lnTo>
                    <a:pt x="16" y="668"/>
                  </a:lnTo>
                  <a:lnTo>
                    <a:pt x="12" y="662"/>
                  </a:lnTo>
                  <a:lnTo>
                    <a:pt x="10" y="654"/>
                  </a:lnTo>
                  <a:lnTo>
                    <a:pt x="10" y="638"/>
                  </a:lnTo>
                  <a:lnTo>
                    <a:pt x="10" y="624"/>
                  </a:lnTo>
                  <a:lnTo>
                    <a:pt x="10" y="624"/>
                  </a:lnTo>
                  <a:lnTo>
                    <a:pt x="20" y="594"/>
                  </a:lnTo>
                  <a:lnTo>
                    <a:pt x="20" y="594"/>
                  </a:lnTo>
                  <a:lnTo>
                    <a:pt x="18" y="560"/>
                  </a:lnTo>
                  <a:lnTo>
                    <a:pt x="18" y="560"/>
                  </a:lnTo>
                  <a:lnTo>
                    <a:pt x="0" y="514"/>
                  </a:lnTo>
                  <a:lnTo>
                    <a:pt x="0" y="514"/>
                  </a:lnTo>
                  <a:lnTo>
                    <a:pt x="0" y="440"/>
                  </a:lnTo>
                  <a:lnTo>
                    <a:pt x="0" y="440"/>
                  </a:lnTo>
                  <a:lnTo>
                    <a:pt x="8" y="426"/>
                  </a:lnTo>
                  <a:lnTo>
                    <a:pt x="16" y="412"/>
                  </a:lnTo>
                  <a:lnTo>
                    <a:pt x="30" y="386"/>
                  </a:lnTo>
                  <a:lnTo>
                    <a:pt x="30" y="386"/>
                  </a:lnTo>
                  <a:lnTo>
                    <a:pt x="30" y="358"/>
                  </a:lnTo>
                  <a:lnTo>
                    <a:pt x="30" y="358"/>
                  </a:lnTo>
                  <a:lnTo>
                    <a:pt x="24" y="326"/>
                  </a:lnTo>
                  <a:lnTo>
                    <a:pt x="22" y="310"/>
                  </a:lnTo>
                  <a:lnTo>
                    <a:pt x="20" y="296"/>
                  </a:lnTo>
                  <a:lnTo>
                    <a:pt x="22" y="282"/>
                  </a:lnTo>
                  <a:lnTo>
                    <a:pt x="24" y="270"/>
                  </a:lnTo>
                  <a:lnTo>
                    <a:pt x="32" y="258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8" y="232"/>
                  </a:lnTo>
                  <a:lnTo>
                    <a:pt x="50" y="218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6" y="158"/>
                  </a:lnTo>
                  <a:lnTo>
                    <a:pt x="70" y="150"/>
                  </a:lnTo>
                  <a:lnTo>
                    <a:pt x="74" y="142"/>
                  </a:lnTo>
                  <a:lnTo>
                    <a:pt x="80" y="134"/>
                  </a:lnTo>
                  <a:lnTo>
                    <a:pt x="94" y="122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28" y="82"/>
                  </a:lnTo>
                  <a:lnTo>
                    <a:pt x="140" y="68"/>
                  </a:lnTo>
                  <a:lnTo>
                    <a:pt x="146" y="62"/>
                  </a:lnTo>
                  <a:lnTo>
                    <a:pt x="152" y="58"/>
                  </a:lnTo>
                  <a:lnTo>
                    <a:pt x="152" y="58"/>
                  </a:lnTo>
                  <a:lnTo>
                    <a:pt x="170" y="40"/>
                  </a:lnTo>
                  <a:lnTo>
                    <a:pt x="170" y="40"/>
                  </a:lnTo>
                  <a:lnTo>
                    <a:pt x="204" y="42"/>
                  </a:lnTo>
                  <a:lnTo>
                    <a:pt x="214" y="42"/>
                  </a:lnTo>
                  <a:lnTo>
                    <a:pt x="224" y="40"/>
                  </a:lnTo>
                  <a:lnTo>
                    <a:pt x="232" y="38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50" y="30"/>
                  </a:lnTo>
                  <a:lnTo>
                    <a:pt x="260" y="26"/>
                  </a:lnTo>
                  <a:lnTo>
                    <a:pt x="270" y="20"/>
                  </a:lnTo>
                  <a:lnTo>
                    <a:pt x="282" y="10"/>
                  </a:lnTo>
                  <a:lnTo>
                    <a:pt x="282" y="10"/>
                  </a:lnTo>
                  <a:lnTo>
                    <a:pt x="290" y="0"/>
                  </a:lnTo>
                  <a:lnTo>
                    <a:pt x="290" y="0"/>
                  </a:lnTo>
                  <a:lnTo>
                    <a:pt x="308" y="12"/>
                  </a:lnTo>
                  <a:lnTo>
                    <a:pt x="308" y="12"/>
                  </a:lnTo>
                  <a:lnTo>
                    <a:pt x="306" y="18"/>
                  </a:lnTo>
                  <a:lnTo>
                    <a:pt x="302" y="24"/>
                  </a:lnTo>
                  <a:lnTo>
                    <a:pt x="290" y="34"/>
                  </a:lnTo>
                  <a:lnTo>
                    <a:pt x="284" y="40"/>
                  </a:lnTo>
                  <a:lnTo>
                    <a:pt x="280" y="46"/>
                  </a:lnTo>
                  <a:lnTo>
                    <a:pt x="276" y="54"/>
                  </a:lnTo>
                  <a:lnTo>
                    <a:pt x="278" y="62"/>
                  </a:lnTo>
                  <a:lnTo>
                    <a:pt x="278" y="62"/>
                  </a:lnTo>
                  <a:lnTo>
                    <a:pt x="286" y="64"/>
                  </a:lnTo>
                  <a:lnTo>
                    <a:pt x="296" y="68"/>
                  </a:lnTo>
                  <a:lnTo>
                    <a:pt x="302" y="74"/>
                  </a:lnTo>
                  <a:lnTo>
                    <a:pt x="310" y="82"/>
                  </a:lnTo>
                  <a:lnTo>
                    <a:pt x="324" y="100"/>
                  </a:lnTo>
                  <a:lnTo>
                    <a:pt x="340" y="124"/>
                  </a:lnTo>
                  <a:lnTo>
                    <a:pt x="340" y="124"/>
                  </a:lnTo>
                  <a:lnTo>
                    <a:pt x="340" y="142"/>
                  </a:lnTo>
                  <a:lnTo>
                    <a:pt x="340" y="142"/>
                  </a:lnTo>
                  <a:lnTo>
                    <a:pt x="328" y="158"/>
                  </a:lnTo>
                  <a:lnTo>
                    <a:pt x="318" y="168"/>
                  </a:lnTo>
                  <a:lnTo>
                    <a:pt x="290" y="186"/>
                  </a:lnTo>
                  <a:lnTo>
                    <a:pt x="290" y="186"/>
                  </a:lnTo>
                  <a:lnTo>
                    <a:pt x="280" y="202"/>
                  </a:lnTo>
                  <a:lnTo>
                    <a:pt x="272" y="218"/>
                  </a:lnTo>
                  <a:lnTo>
                    <a:pt x="268" y="228"/>
                  </a:lnTo>
                  <a:lnTo>
                    <a:pt x="268" y="238"/>
                  </a:lnTo>
                  <a:lnTo>
                    <a:pt x="268" y="248"/>
                  </a:lnTo>
                  <a:lnTo>
                    <a:pt x="274" y="256"/>
                  </a:lnTo>
                  <a:lnTo>
                    <a:pt x="274" y="256"/>
                  </a:lnTo>
                  <a:lnTo>
                    <a:pt x="300" y="278"/>
                  </a:lnTo>
                  <a:lnTo>
                    <a:pt x="300" y="278"/>
                  </a:lnTo>
                  <a:lnTo>
                    <a:pt x="308" y="290"/>
                  </a:lnTo>
                  <a:lnTo>
                    <a:pt x="316" y="302"/>
                  </a:lnTo>
                  <a:lnTo>
                    <a:pt x="320" y="312"/>
                  </a:lnTo>
                  <a:lnTo>
                    <a:pt x="324" y="320"/>
                  </a:lnTo>
                  <a:lnTo>
                    <a:pt x="326" y="332"/>
                  </a:lnTo>
                  <a:lnTo>
                    <a:pt x="328" y="344"/>
                  </a:lnTo>
                  <a:lnTo>
                    <a:pt x="328" y="344"/>
                  </a:lnTo>
                  <a:lnTo>
                    <a:pt x="322" y="364"/>
                  </a:lnTo>
                  <a:lnTo>
                    <a:pt x="316" y="384"/>
                  </a:lnTo>
                  <a:lnTo>
                    <a:pt x="316" y="384"/>
                  </a:lnTo>
                  <a:lnTo>
                    <a:pt x="308" y="398"/>
                  </a:lnTo>
                  <a:lnTo>
                    <a:pt x="298" y="412"/>
                  </a:lnTo>
                  <a:lnTo>
                    <a:pt x="286" y="426"/>
                  </a:lnTo>
                  <a:lnTo>
                    <a:pt x="276" y="436"/>
                  </a:lnTo>
                  <a:lnTo>
                    <a:pt x="276" y="436"/>
                  </a:lnTo>
                  <a:lnTo>
                    <a:pt x="274" y="448"/>
                  </a:lnTo>
                  <a:lnTo>
                    <a:pt x="274" y="448"/>
                  </a:lnTo>
                  <a:lnTo>
                    <a:pt x="298" y="474"/>
                  </a:lnTo>
                  <a:lnTo>
                    <a:pt x="298" y="474"/>
                  </a:lnTo>
                  <a:lnTo>
                    <a:pt x="302" y="488"/>
                  </a:lnTo>
                  <a:lnTo>
                    <a:pt x="302" y="506"/>
                  </a:lnTo>
                  <a:lnTo>
                    <a:pt x="300" y="524"/>
                  </a:lnTo>
                  <a:lnTo>
                    <a:pt x="296" y="544"/>
                  </a:lnTo>
                  <a:lnTo>
                    <a:pt x="296" y="544"/>
                  </a:lnTo>
                  <a:lnTo>
                    <a:pt x="282" y="560"/>
                  </a:lnTo>
                  <a:lnTo>
                    <a:pt x="268" y="574"/>
                  </a:lnTo>
                  <a:lnTo>
                    <a:pt x="236" y="602"/>
                  </a:lnTo>
                  <a:lnTo>
                    <a:pt x="236" y="602"/>
                  </a:lnTo>
                  <a:lnTo>
                    <a:pt x="164" y="620"/>
                  </a:lnTo>
                  <a:lnTo>
                    <a:pt x="164" y="620"/>
                  </a:lnTo>
                  <a:lnTo>
                    <a:pt x="146" y="632"/>
                  </a:lnTo>
                  <a:lnTo>
                    <a:pt x="128" y="640"/>
                  </a:lnTo>
                  <a:lnTo>
                    <a:pt x="112" y="644"/>
                  </a:lnTo>
                  <a:lnTo>
                    <a:pt x="92" y="648"/>
                  </a:lnTo>
                  <a:lnTo>
                    <a:pt x="92" y="648"/>
                  </a:lnTo>
                  <a:lnTo>
                    <a:pt x="66" y="664"/>
                  </a:lnTo>
                  <a:lnTo>
                    <a:pt x="66" y="664"/>
                  </a:lnTo>
                  <a:lnTo>
                    <a:pt x="56" y="672"/>
                  </a:lnTo>
                  <a:lnTo>
                    <a:pt x="48" y="678"/>
                  </a:lnTo>
                  <a:lnTo>
                    <a:pt x="32" y="684"/>
                  </a:lnTo>
                  <a:lnTo>
                    <a:pt x="32" y="684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73" name="未知"/>
            <p:cNvSpPr>
              <a:spLocks/>
            </p:cNvSpPr>
            <p:nvPr/>
          </p:nvSpPr>
          <p:spPr bwMode="auto">
            <a:xfrm>
              <a:off x="3285046" y="1867687"/>
              <a:ext cx="472789" cy="294223"/>
            </a:xfrm>
            <a:custGeom>
              <a:avLst/>
              <a:gdLst>
                <a:gd name="T0" fmla="*/ 42 w 640"/>
                <a:gd name="T1" fmla="*/ 410 h 428"/>
                <a:gd name="T2" fmla="*/ 0 w 640"/>
                <a:gd name="T3" fmla="*/ 372 h 428"/>
                <a:gd name="T4" fmla="*/ 26 w 640"/>
                <a:gd name="T5" fmla="*/ 338 h 428"/>
                <a:gd name="T6" fmla="*/ 38 w 640"/>
                <a:gd name="T7" fmla="*/ 322 h 428"/>
                <a:gd name="T8" fmla="*/ 26 w 640"/>
                <a:gd name="T9" fmla="*/ 244 h 428"/>
                <a:gd name="T10" fmla="*/ 12 w 640"/>
                <a:gd name="T11" fmla="*/ 208 h 428"/>
                <a:gd name="T12" fmla="*/ 20 w 640"/>
                <a:gd name="T13" fmla="*/ 174 h 428"/>
                <a:gd name="T14" fmla="*/ 42 w 640"/>
                <a:gd name="T15" fmla="*/ 144 h 428"/>
                <a:gd name="T16" fmla="*/ 76 w 640"/>
                <a:gd name="T17" fmla="*/ 106 h 428"/>
                <a:gd name="T18" fmla="*/ 104 w 640"/>
                <a:gd name="T19" fmla="*/ 80 h 428"/>
                <a:gd name="T20" fmla="*/ 150 w 640"/>
                <a:gd name="T21" fmla="*/ 52 h 428"/>
                <a:gd name="T22" fmla="*/ 210 w 640"/>
                <a:gd name="T23" fmla="*/ 38 h 428"/>
                <a:gd name="T24" fmla="*/ 236 w 640"/>
                <a:gd name="T25" fmla="*/ 38 h 428"/>
                <a:gd name="T26" fmla="*/ 268 w 640"/>
                <a:gd name="T27" fmla="*/ 16 h 428"/>
                <a:gd name="T28" fmla="*/ 294 w 640"/>
                <a:gd name="T29" fmla="*/ 12 h 428"/>
                <a:gd name="T30" fmla="*/ 308 w 640"/>
                <a:gd name="T31" fmla="*/ 36 h 428"/>
                <a:gd name="T32" fmla="*/ 308 w 640"/>
                <a:gd name="T33" fmla="*/ 80 h 428"/>
                <a:gd name="T34" fmla="*/ 360 w 640"/>
                <a:gd name="T35" fmla="*/ 108 h 428"/>
                <a:gd name="T36" fmla="*/ 384 w 640"/>
                <a:gd name="T37" fmla="*/ 110 h 428"/>
                <a:gd name="T38" fmla="*/ 432 w 640"/>
                <a:gd name="T39" fmla="*/ 38 h 428"/>
                <a:gd name="T40" fmla="*/ 452 w 640"/>
                <a:gd name="T41" fmla="*/ 24 h 428"/>
                <a:gd name="T42" fmla="*/ 492 w 640"/>
                <a:gd name="T43" fmla="*/ 16 h 428"/>
                <a:gd name="T44" fmla="*/ 536 w 640"/>
                <a:gd name="T45" fmla="*/ 34 h 428"/>
                <a:gd name="T46" fmla="*/ 640 w 640"/>
                <a:gd name="T47" fmla="*/ 36 h 428"/>
                <a:gd name="T48" fmla="*/ 636 w 640"/>
                <a:gd name="T49" fmla="*/ 46 h 428"/>
                <a:gd name="T50" fmla="*/ 632 w 640"/>
                <a:gd name="T51" fmla="*/ 76 h 428"/>
                <a:gd name="T52" fmla="*/ 570 w 640"/>
                <a:gd name="T53" fmla="*/ 96 h 428"/>
                <a:gd name="T54" fmla="*/ 514 w 640"/>
                <a:gd name="T55" fmla="*/ 136 h 428"/>
                <a:gd name="T56" fmla="*/ 500 w 640"/>
                <a:gd name="T57" fmla="*/ 160 h 428"/>
                <a:gd name="T58" fmla="*/ 472 w 640"/>
                <a:gd name="T59" fmla="*/ 178 h 428"/>
                <a:gd name="T60" fmla="*/ 446 w 640"/>
                <a:gd name="T61" fmla="*/ 188 h 428"/>
                <a:gd name="T62" fmla="*/ 438 w 640"/>
                <a:gd name="T63" fmla="*/ 228 h 428"/>
                <a:gd name="T64" fmla="*/ 418 w 640"/>
                <a:gd name="T65" fmla="*/ 252 h 428"/>
                <a:gd name="T66" fmla="*/ 400 w 640"/>
                <a:gd name="T67" fmla="*/ 276 h 428"/>
                <a:gd name="T68" fmla="*/ 390 w 640"/>
                <a:gd name="T69" fmla="*/ 324 h 428"/>
                <a:gd name="T70" fmla="*/ 374 w 640"/>
                <a:gd name="T71" fmla="*/ 326 h 428"/>
                <a:gd name="T72" fmla="*/ 350 w 640"/>
                <a:gd name="T73" fmla="*/ 342 h 428"/>
                <a:gd name="T74" fmla="*/ 338 w 640"/>
                <a:gd name="T75" fmla="*/ 366 h 428"/>
                <a:gd name="T76" fmla="*/ 322 w 640"/>
                <a:gd name="T77" fmla="*/ 400 h 428"/>
                <a:gd name="T78" fmla="*/ 314 w 640"/>
                <a:gd name="T79" fmla="*/ 400 h 428"/>
                <a:gd name="T80" fmla="*/ 304 w 640"/>
                <a:gd name="T81" fmla="*/ 392 h 428"/>
                <a:gd name="T82" fmla="*/ 274 w 640"/>
                <a:gd name="T83" fmla="*/ 404 h 428"/>
                <a:gd name="T84" fmla="*/ 250 w 640"/>
                <a:gd name="T85" fmla="*/ 422 h 428"/>
                <a:gd name="T86" fmla="*/ 214 w 640"/>
                <a:gd name="T87" fmla="*/ 416 h 428"/>
                <a:gd name="T88" fmla="*/ 208 w 640"/>
                <a:gd name="T89" fmla="*/ 404 h 428"/>
                <a:gd name="T90" fmla="*/ 142 w 640"/>
                <a:gd name="T91" fmla="*/ 362 h 428"/>
                <a:gd name="T92" fmla="*/ 138 w 640"/>
                <a:gd name="T93" fmla="*/ 380 h 428"/>
                <a:gd name="T94" fmla="*/ 126 w 640"/>
                <a:gd name="T95" fmla="*/ 406 h 428"/>
                <a:gd name="T96" fmla="*/ 108 w 640"/>
                <a:gd name="T97" fmla="*/ 418 h 428"/>
                <a:gd name="T98" fmla="*/ 86 w 640"/>
                <a:gd name="T99" fmla="*/ 422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0" h="428">
                  <a:moveTo>
                    <a:pt x="70" y="428"/>
                  </a:moveTo>
                  <a:lnTo>
                    <a:pt x="70" y="428"/>
                  </a:lnTo>
                  <a:lnTo>
                    <a:pt x="42" y="410"/>
                  </a:lnTo>
                  <a:lnTo>
                    <a:pt x="42" y="410"/>
                  </a:lnTo>
                  <a:lnTo>
                    <a:pt x="0" y="372"/>
                  </a:lnTo>
                  <a:lnTo>
                    <a:pt x="0" y="372"/>
                  </a:lnTo>
                  <a:lnTo>
                    <a:pt x="10" y="352"/>
                  </a:lnTo>
                  <a:lnTo>
                    <a:pt x="10" y="352"/>
                  </a:lnTo>
                  <a:lnTo>
                    <a:pt x="26" y="338"/>
                  </a:lnTo>
                  <a:lnTo>
                    <a:pt x="32" y="330"/>
                  </a:lnTo>
                  <a:lnTo>
                    <a:pt x="38" y="322"/>
                  </a:lnTo>
                  <a:lnTo>
                    <a:pt x="38" y="322"/>
                  </a:lnTo>
                  <a:lnTo>
                    <a:pt x="38" y="288"/>
                  </a:lnTo>
                  <a:lnTo>
                    <a:pt x="38" y="288"/>
                  </a:lnTo>
                  <a:lnTo>
                    <a:pt x="26" y="244"/>
                  </a:lnTo>
                  <a:lnTo>
                    <a:pt x="18" y="220"/>
                  </a:lnTo>
                  <a:lnTo>
                    <a:pt x="12" y="208"/>
                  </a:lnTo>
                  <a:lnTo>
                    <a:pt x="12" y="208"/>
                  </a:lnTo>
                  <a:lnTo>
                    <a:pt x="12" y="186"/>
                  </a:lnTo>
                  <a:lnTo>
                    <a:pt x="14" y="180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30" y="156"/>
                  </a:lnTo>
                  <a:lnTo>
                    <a:pt x="42" y="144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76" y="106"/>
                  </a:lnTo>
                  <a:lnTo>
                    <a:pt x="84" y="96"/>
                  </a:lnTo>
                  <a:lnTo>
                    <a:pt x="92" y="88"/>
                  </a:lnTo>
                  <a:lnTo>
                    <a:pt x="104" y="80"/>
                  </a:lnTo>
                  <a:lnTo>
                    <a:pt x="126" y="66"/>
                  </a:lnTo>
                  <a:lnTo>
                    <a:pt x="150" y="52"/>
                  </a:lnTo>
                  <a:lnTo>
                    <a:pt x="150" y="52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10" y="38"/>
                  </a:lnTo>
                  <a:lnTo>
                    <a:pt x="210" y="38"/>
                  </a:lnTo>
                  <a:lnTo>
                    <a:pt x="236" y="38"/>
                  </a:lnTo>
                  <a:lnTo>
                    <a:pt x="236" y="38"/>
                  </a:lnTo>
                  <a:lnTo>
                    <a:pt x="248" y="16"/>
                  </a:lnTo>
                  <a:lnTo>
                    <a:pt x="248" y="16"/>
                  </a:lnTo>
                  <a:lnTo>
                    <a:pt x="268" y="16"/>
                  </a:lnTo>
                  <a:lnTo>
                    <a:pt x="282" y="16"/>
                  </a:lnTo>
                  <a:lnTo>
                    <a:pt x="294" y="12"/>
                  </a:lnTo>
                  <a:lnTo>
                    <a:pt x="294" y="12"/>
                  </a:lnTo>
                  <a:lnTo>
                    <a:pt x="294" y="16"/>
                  </a:lnTo>
                  <a:lnTo>
                    <a:pt x="298" y="22"/>
                  </a:lnTo>
                  <a:lnTo>
                    <a:pt x="308" y="36"/>
                  </a:lnTo>
                  <a:lnTo>
                    <a:pt x="308" y="36"/>
                  </a:lnTo>
                  <a:lnTo>
                    <a:pt x="308" y="80"/>
                  </a:lnTo>
                  <a:lnTo>
                    <a:pt x="308" y="80"/>
                  </a:lnTo>
                  <a:lnTo>
                    <a:pt x="322" y="90"/>
                  </a:lnTo>
                  <a:lnTo>
                    <a:pt x="340" y="100"/>
                  </a:lnTo>
                  <a:lnTo>
                    <a:pt x="360" y="108"/>
                  </a:lnTo>
                  <a:lnTo>
                    <a:pt x="372" y="110"/>
                  </a:lnTo>
                  <a:lnTo>
                    <a:pt x="384" y="110"/>
                  </a:lnTo>
                  <a:lnTo>
                    <a:pt x="384" y="110"/>
                  </a:lnTo>
                  <a:lnTo>
                    <a:pt x="424" y="48"/>
                  </a:lnTo>
                  <a:lnTo>
                    <a:pt x="424" y="48"/>
                  </a:lnTo>
                  <a:lnTo>
                    <a:pt x="432" y="38"/>
                  </a:lnTo>
                  <a:lnTo>
                    <a:pt x="440" y="30"/>
                  </a:lnTo>
                  <a:lnTo>
                    <a:pt x="440" y="30"/>
                  </a:lnTo>
                  <a:lnTo>
                    <a:pt x="452" y="24"/>
                  </a:lnTo>
                  <a:lnTo>
                    <a:pt x="462" y="18"/>
                  </a:lnTo>
                  <a:lnTo>
                    <a:pt x="476" y="16"/>
                  </a:lnTo>
                  <a:lnTo>
                    <a:pt x="492" y="16"/>
                  </a:lnTo>
                  <a:lnTo>
                    <a:pt x="492" y="16"/>
                  </a:lnTo>
                  <a:lnTo>
                    <a:pt x="536" y="34"/>
                  </a:lnTo>
                  <a:lnTo>
                    <a:pt x="536" y="34"/>
                  </a:lnTo>
                  <a:lnTo>
                    <a:pt x="632" y="32"/>
                  </a:lnTo>
                  <a:lnTo>
                    <a:pt x="632" y="32"/>
                  </a:lnTo>
                  <a:lnTo>
                    <a:pt x="640" y="36"/>
                  </a:lnTo>
                  <a:lnTo>
                    <a:pt x="640" y="36"/>
                  </a:lnTo>
                  <a:lnTo>
                    <a:pt x="636" y="40"/>
                  </a:lnTo>
                  <a:lnTo>
                    <a:pt x="636" y="46"/>
                  </a:lnTo>
                  <a:lnTo>
                    <a:pt x="636" y="46"/>
                  </a:lnTo>
                  <a:lnTo>
                    <a:pt x="632" y="76"/>
                  </a:lnTo>
                  <a:lnTo>
                    <a:pt x="632" y="76"/>
                  </a:lnTo>
                  <a:lnTo>
                    <a:pt x="598" y="80"/>
                  </a:lnTo>
                  <a:lnTo>
                    <a:pt x="598" y="80"/>
                  </a:lnTo>
                  <a:lnTo>
                    <a:pt x="570" y="96"/>
                  </a:lnTo>
                  <a:lnTo>
                    <a:pt x="540" y="114"/>
                  </a:lnTo>
                  <a:lnTo>
                    <a:pt x="526" y="124"/>
                  </a:lnTo>
                  <a:lnTo>
                    <a:pt x="514" y="136"/>
                  </a:lnTo>
                  <a:lnTo>
                    <a:pt x="506" y="148"/>
                  </a:lnTo>
                  <a:lnTo>
                    <a:pt x="500" y="160"/>
                  </a:lnTo>
                  <a:lnTo>
                    <a:pt x="500" y="160"/>
                  </a:lnTo>
                  <a:lnTo>
                    <a:pt x="478" y="170"/>
                  </a:lnTo>
                  <a:lnTo>
                    <a:pt x="478" y="170"/>
                  </a:lnTo>
                  <a:lnTo>
                    <a:pt x="472" y="178"/>
                  </a:lnTo>
                  <a:lnTo>
                    <a:pt x="464" y="182"/>
                  </a:lnTo>
                  <a:lnTo>
                    <a:pt x="446" y="188"/>
                  </a:lnTo>
                  <a:lnTo>
                    <a:pt x="446" y="188"/>
                  </a:lnTo>
                  <a:lnTo>
                    <a:pt x="440" y="194"/>
                  </a:lnTo>
                  <a:lnTo>
                    <a:pt x="440" y="194"/>
                  </a:lnTo>
                  <a:lnTo>
                    <a:pt x="438" y="228"/>
                  </a:lnTo>
                  <a:lnTo>
                    <a:pt x="438" y="228"/>
                  </a:lnTo>
                  <a:lnTo>
                    <a:pt x="430" y="240"/>
                  </a:lnTo>
                  <a:lnTo>
                    <a:pt x="418" y="252"/>
                  </a:lnTo>
                  <a:lnTo>
                    <a:pt x="408" y="264"/>
                  </a:lnTo>
                  <a:lnTo>
                    <a:pt x="400" y="276"/>
                  </a:lnTo>
                  <a:lnTo>
                    <a:pt x="400" y="276"/>
                  </a:lnTo>
                  <a:lnTo>
                    <a:pt x="400" y="298"/>
                  </a:lnTo>
                  <a:lnTo>
                    <a:pt x="396" y="312"/>
                  </a:lnTo>
                  <a:lnTo>
                    <a:pt x="390" y="324"/>
                  </a:lnTo>
                  <a:lnTo>
                    <a:pt x="390" y="324"/>
                  </a:lnTo>
                  <a:lnTo>
                    <a:pt x="382" y="324"/>
                  </a:lnTo>
                  <a:lnTo>
                    <a:pt x="374" y="326"/>
                  </a:lnTo>
                  <a:lnTo>
                    <a:pt x="366" y="328"/>
                  </a:lnTo>
                  <a:lnTo>
                    <a:pt x="360" y="332"/>
                  </a:lnTo>
                  <a:lnTo>
                    <a:pt x="350" y="342"/>
                  </a:lnTo>
                  <a:lnTo>
                    <a:pt x="342" y="352"/>
                  </a:lnTo>
                  <a:lnTo>
                    <a:pt x="342" y="352"/>
                  </a:lnTo>
                  <a:lnTo>
                    <a:pt x="338" y="366"/>
                  </a:lnTo>
                  <a:lnTo>
                    <a:pt x="334" y="380"/>
                  </a:lnTo>
                  <a:lnTo>
                    <a:pt x="326" y="394"/>
                  </a:lnTo>
                  <a:lnTo>
                    <a:pt x="322" y="400"/>
                  </a:lnTo>
                  <a:lnTo>
                    <a:pt x="314" y="404"/>
                  </a:lnTo>
                  <a:lnTo>
                    <a:pt x="314" y="404"/>
                  </a:lnTo>
                  <a:lnTo>
                    <a:pt x="314" y="400"/>
                  </a:lnTo>
                  <a:lnTo>
                    <a:pt x="314" y="400"/>
                  </a:lnTo>
                  <a:lnTo>
                    <a:pt x="304" y="392"/>
                  </a:lnTo>
                  <a:lnTo>
                    <a:pt x="304" y="392"/>
                  </a:lnTo>
                  <a:lnTo>
                    <a:pt x="286" y="390"/>
                  </a:lnTo>
                  <a:lnTo>
                    <a:pt x="286" y="390"/>
                  </a:lnTo>
                  <a:lnTo>
                    <a:pt x="274" y="404"/>
                  </a:lnTo>
                  <a:lnTo>
                    <a:pt x="262" y="420"/>
                  </a:lnTo>
                  <a:lnTo>
                    <a:pt x="262" y="420"/>
                  </a:lnTo>
                  <a:lnTo>
                    <a:pt x="250" y="422"/>
                  </a:lnTo>
                  <a:lnTo>
                    <a:pt x="236" y="422"/>
                  </a:lnTo>
                  <a:lnTo>
                    <a:pt x="222" y="420"/>
                  </a:lnTo>
                  <a:lnTo>
                    <a:pt x="214" y="416"/>
                  </a:lnTo>
                  <a:lnTo>
                    <a:pt x="214" y="416"/>
                  </a:lnTo>
                  <a:lnTo>
                    <a:pt x="208" y="404"/>
                  </a:lnTo>
                  <a:lnTo>
                    <a:pt x="208" y="404"/>
                  </a:lnTo>
                  <a:lnTo>
                    <a:pt x="168" y="364"/>
                  </a:lnTo>
                  <a:lnTo>
                    <a:pt x="168" y="364"/>
                  </a:lnTo>
                  <a:lnTo>
                    <a:pt x="142" y="362"/>
                  </a:lnTo>
                  <a:lnTo>
                    <a:pt x="142" y="362"/>
                  </a:lnTo>
                  <a:lnTo>
                    <a:pt x="140" y="370"/>
                  </a:lnTo>
                  <a:lnTo>
                    <a:pt x="138" y="380"/>
                  </a:lnTo>
                  <a:lnTo>
                    <a:pt x="136" y="404"/>
                  </a:lnTo>
                  <a:lnTo>
                    <a:pt x="136" y="404"/>
                  </a:lnTo>
                  <a:lnTo>
                    <a:pt x="126" y="406"/>
                  </a:lnTo>
                  <a:lnTo>
                    <a:pt x="118" y="410"/>
                  </a:lnTo>
                  <a:lnTo>
                    <a:pt x="112" y="414"/>
                  </a:lnTo>
                  <a:lnTo>
                    <a:pt x="108" y="418"/>
                  </a:lnTo>
                  <a:lnTo>
                    <a:pt x="108" y="418"/>
                  </a:lnTo>
                  <a:lnTo>
                    <a:pt x="96" y="420"/>
                  </a:lnTo>
                  <a:lnTo>
                    <a:pt x="86" y="422"/>
                  </a:lnTo>
                  <a:lnTo>
                    <a:pt x="70" y="428"/>
                  </a:lnTo>
                  <a:lnTo>
                    <a:pt x="70" y="428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74" name="未知"/>
            <p:cNvSpPr>
              <a:spLocks/>
            </p:cNvSpPr>
            <p:nvPr/>
          </p:nvSpPr>
          <p:spPr bwMode="auto">
            <a:xfrm>
              <a:off x="2551323" y="1823476"/>
              <a:ext cx="203675" cy="295748"/>
            </a:xfrm>
            <a:custGeom>
              <a:avLst/>
              <a:gdLst>
                <a:gd name="T0" fmla="*/ 106 w 276"/>
                <a:gd name="T1" fmla="*/ 398 h 430"/>
                <a:gd name="T2" fmla="*/ 98 w 276"/>
                <a:gd name="T3" fmla="*/ 364 h 430"/>
                <a:gd name="T4" fmla="*/ 92 w 276"/>
                <a:gd name="T5" fmla="*/ 318 h 430"/>
                <a:gd name="T6" fmla="*/ 86 w 276"/>
                <a:gd name="T7" fmla="*/ 280 h 430"/>
                <a:gd name="T8" fmla="*/ 52 w 276"/>
                <a:gd name="T9" fmla="*/ 240 h 430"/>
                <a:gd name="T10" fmla="*/ 26 w 276"/>
                <a:gd name="T11" fmla="*/ 214 h 430"/>
                <a:gd name="T12" fmla="*/ 0 w 276"/>
                <a:gd name="T13" fmla="*/ 200 h 430"/>
                <a:gd name="T14" fmla="*/ 4 w 276"/>
                <a:gd name="T15" fmla="*/ 196 h 430"/>
                <a:gd name="T16" fmla="*/ 28 w 276"/>
                <a:gd name="T17" fmla="*/ 186 h 430"/>
                <a:gd name="T18" fmla="*/ 68 w 276"/>
                <a:gd name="T19" fmla="*/ 180 h 430"/>
                <a:gd name="T20" fmla="*/ 84 w 276"/>
                <a:gd name="T21" fmla="*/ 166 h 430"/>
                <a:gd name="T22" fmla="*/ 112 w 276"/>
                <a:gd name="T23" fmla="*/ 160 h 430"/>
                <a:gd name="T24" fmla="*/ 130 w 276"/>
                <a:gd name="T25" fmla="*/ 138 h 430"/>
                <a:gd name="T26" fmla="*/ 128 w 276"/>
                <a:gd name="T27" fmla="*/ 98 h 430"/>
                <a:gd name="T28" fmla="*/ 158 w 276"/>
                <a:gd name="T29" fmla="*/ 42 h 430"/>
                <a:gd name="T30" fmla="*/ 162 w 276"/>
                <a:gd name="T31" fmla="*/ 12 h 430"/>
                <a:gd name="T32" fmla="*/ 170 w 276"/>
                <a:gd name="T33" fmla="*/ 10 h 430"/>
                <a:gd name="T34" fmla="*/ 190 w 276"/>
                <a:gd name="T35" fmla="*/ 2 h 430"/>
                <a:gd name="T36" fmla="*/ 204 w 276"/>
                <a:gd name="T37" fmla="*/ 0 h 430"/>
                <a:gd name="T38" fmla="*/ 220 w 276"/>
                <a:gd name="T39" fmla="*/ 6 h 430"/>
                <a:gd name="T40" fmla="*/ 226 w 276"/>
                <a:gd name="T41" fmla="*/ 22 h 430"/>
                <a:gd name="T42" fmla="*/ 218 w 276"/>
                <a:gd name="T43" fmla="*/ 40 h 430"/>
                <a:gd name="T44" fmla="*/ 212 w 276"/>
                <a:gd name="T45" fmla="*/ 58 h 430"/>
                <a:gd name="T46" fmla="*/ 196 w 276"/>
                <a:gd name="T47" fmla="*/ 82 h 430"/>
                <a:gd name="T48" fmla="*/ 192 w 276"/>
                <a:gd name="T49" fmla="*/ 108 h 430"/>
                <a:gd name="T50" fmla="*/ 194 w 276"/>
                <a:gd name="T51" fmla="*/ 132 h 430"/>
                <a:gd name="T52" fmla="*/ 232 w 276"/>
                <a:gd name="T53" fmla="*/ 138 h 430"/>
                <a:gd name="T54" fmla="*/ 248 w 276"/>
                <a:gd name="T55" fmla="*/ 154 h 430"/>
                <a:gd name="T56" fmla="*/ 268 w 276"/>
                <a:gd name="T57" fmla="*/ 168 h 430"/>
                <a:gd name="T58" fmla="*/ 276 w 276"/>
                <a:gd name="T59" fmla="*/ 170 h 430"/>
                <a:gd name="T60" fmla="*/ 270 w 276"/>
                <a:gd name="T61" fmla="*/ 184 h 430"/>
                <a:gd name="T62" fmla="*/ 258 w 276"/>
                <a:gd name="T63" fmla="*/ 198 h 430"/>
                <a:gd name="T64" fmla="*/ 252 w 276"/>
                <a:gd name="T65" fmla="*/ 206 h 430"/>
                <a:gd name="T66" fmla="*/ 228 w 276"/>
                <a:gd name="T67" fmla="*/ 226 h 430"/>
                <a:gd name="T68" fmla="*/ 216 w 276"/>
                <a:gd name="T69" fmla="*/ 228 h 430"/>
                <a:gd name="T70" fmla="*/ 202 w 276"/>
                <a:gd name="T71" fmla="*/ 232 h 430"/>
                <a:gd name="T72" fmla="*/ 202 w 276"/>
                <a:gd name="T73" fmla="*/ 248 h 430"/>
                <a:gd name="T74" fmla="*/ 198 w 276"/>
                <a:gd name="T75" fmla="*/ 270 h 430"/>
                <a:gd name="T76" fmla="*/ 188 w 276"/>
                <a:gd name="T77" fmla="*/ 284 h 430"/>
                <a:gd name="T78" fmla="*/ 180 w 276"/>
                <a:gd name="T79" fmla="*/ 308 h 430"/>
                <a:gd name="T80" fmla="*/ 178 w 276"/>
                <a:gd name="T81" fmla="*/ 332 h 430"/>
                <a:gd name="T82" fmla="*/ 194 w 276"/>
                <a:gd name="T83" fmla="*/ 346 h 430"/>
                <a:gd name="T84" fmla="*/ 214 w 276"/>
                <a:gd name="T85" fmla="*/ 352 h 430"/>
                <a:gd name="T86" fmla="*/ 222 w 276"/>
                <a:gd name="T87" fmla="*/ 364 h 430"/>
                <a:gd name="T88" fmla="*/ 222 w 276"/>
                <a:gd name="T89" fmla="*/ 382 h 430"/>
                <a:gd name="T90" fmla="*/ 216 w 276"/>
                <a:gd name="T91" fmla="*/ 394 h 430"/>
                <a:gd name="T92" fmla="*/ 198 w 276"/>
                <a:gd name="T93" fmla="*/ 400 h 430"/>
                <a:gd name="T94" fmla="*/ 184 w 276"/>
                <a:gd name="T95" fmla="*/ 406 h 430"/>
                <a:gd name="T96" fmla="*/ 154 w 276"/>
                <a:gd name="T97" fmla="*/ 430 h 430"/>
                <a:gd name="T98" fmla="*/ 142 w 276"/>
                <a:gd name="T99" fmla="*/ 428 h 430"/>
                <a:gd name="T100" fmla="*/ 106 w 276"/>
                <a:gd name="T101" fmla="*/ 398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6" h="430">
                  <a:moveTo>
                    <a:pt x="106" y="398"/>
                  </a:moveTo>
                  <a:lnTo>
                    <a:pt x="106" y="398"/>
                  </a:lnTo>
                  <a:lnTo>
                    <a:pt x="98" y="364"/>
                  </a:lnTo>
                  <a:lnTo>
                    <a:pt x="98" y="364"/>
                  </a:lnTo>
                  <a:lnTo>
                    <a:pt x="96" y="340"/>
                  </a:lnTo>
                  <a:lnTo>
                    <a:pt x="92" y="318"/>
                  </a:lnTo>
                  <a:lnTo>
                    <a:pt x="86" y="280"/>
                  </a:lnTo>
                  <a:lnTo>
                    <a:pt x="86" y="280"/>
                  </a:lnTo>
                  <a:lnTo>
                    <a:pt x="68" y="258"/>
                  </a:lnTo>
                  <a:lnTo>
                    <a:pt x="52" y="240"/>
                  </a:lnTo>
                  <a:lnTo>
                    <a:pt x="36" y="226"/>
                  </a:lnTo>
                  <a:lnTo>
                    <a:pt x="26" y="214"/>
                  </a:lnTo>
                  <a:lnTo>
                    <a:pt x="26" y="214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4" y="196"/>
                  </a:lnTo>
                  <a:lnTo>
                    <a:pt x="10" y="192"/>
                  </a:lnTo>
                  <a:lnTo>
                    <a:pt x="28" y="186"/>
                  </a:lnTo>
                  <a:lnTo>
                    <a:pt x="68" y="180"/>
                  </a:lnTo>
                  <a:lnTo>
                    <a:pt x="68" y="180"/>
                  </a:lnTo>
                  <a:lnTo>
                    <a:pt x="78" y="170"/>
                  </a:lnTo>
                  <a:lnTo>
                    <a:pt x="84" y="166"/>
                  </a:lnTo>
                  <a:lnTo>
                    <a:pt x="94" y="162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28" y="98"/>
                  </a:lnTo>
                  <a:lnTo>
                    <a:pt x="128" y="98"/>
                  </a:lnTo>
                  <a:lnTo>
                    <a:pt x="158" y="42"/>
                  </a:lnTo>
                  <a:lnTo>
                    <a:pt x="158" y="42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70" y="10"/>
                  </a:lnTo>
                  <a:lnTo>
                    <a:pt x="176" y="8"/>
                  </a:lnTo>
                  <a:lnTo>
                    <a:pt x="190" y="2"/>
                  </a:lnTo>
                  <a:lnTo>
                    <a:pt x="198" y="0"/>
                  </a:lnTo>
                  <a:lnTo>
                    <a:pt x="204" y="0"/>
                  </a:lnTo>
                  <a:lnTo>
                    <a:pt x="212" y="2"/>
                  </a:lnTo>
                  <a:lnTo>
                    <a:pt x="220" y="6"/>
                  </a:lnTo>
                  <a:lnTo>
                    <a:pt x="220" y="6"/>
                  </a:lnTo>
                  <a:lnTo>
                    <a:pt x="226" y="22"/>
                  </a:lnTo>
                  <a:lnTo>
                    <a:pt x="226" y="22"/>
                  </a:lnTo>
                  <a:lnTo>
                    <a:pt x="218" y="40"/>
                  </a:lnTo>
                  <a:lnTo>
                    <a:pt x="212" y="58"/>
                  </a:lnTo>
                  <a:lnTo>
                    <a:pt x="212" y="58"/>
                  </a:lnTo>
                  <a:lnTo>
                    <a:pt x="198" y="74"/>
                  </a:lnTo>
                  <a:lnTo>
                    <a:pt x="196" y="82"/>
                  </a:lnTo>
                  <a:lnTo>
                    <a:pt x="192" y="90"/>
                  </a:lnTo>
                  <a:lnTo>
                    <a:pt x="192" y="108"/>
                  </a:lnTo>
                  <a:lnTo>
                    <a:pt x="194" y="132"/>
                  </a:lnTo>
                  <a:lnTo>
                    <a:pt x="194" y="132"/>
                  </a:lnTo>
                  <a:lnTo>
                    <a:pt x="232" y="138"/>
                  </a:lnTo>
                  <a:lnTo>
                    <a:pt x="232" y="138"/>
                  </a:lnTo>
                  <a:lnTo>
                    <a:pt x="238" y="146"/>
                  </a:lnTo>
                  <a:lnTo>
                    <a:pt x="248" y="154"/>
                  </a:lnTo>
                  <a:lnTo>
                    <a:pt x="260" y="164"/>
                  </a:lnTo>
                  <a:lnTo>
                    <a:pt x="268" y="168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4" y="176"/>
                  </a:lnTo>
                  <a:lnTo>
                    <a:pt x="270" y="184"/>
                  </a:lnTo>
                  <a:lnTo>
                    <a:pt x="264" y="192"/>
                  </a:lnTo>
                  <a:lnTo>
                    <a:pt x="258" y="198"/>
                  </a:lnTo>
                  <a:lnTo>
                    <a:pt x="258" y="198"/>
                  </a:lnTo>
                  <a:lnTo>
                    <a:pt x="252" y="206"/>
                  </a:lnTo>
                  <a:lnTo>
                    <a:pt x="244" y="214"/>
                  </a:lnTo>
                  <a:lnTo>
                    <a:pt x="228" y="226"/>
                  </a:lnTo>
                  <a:lnTo>
                    <a:pt x="228" y="226"/>
                  </a:lnTo>
                  <a:lnTo>
                    <a:pt x="216" y="228"/>
                  </a:lnTo>
                  <a:lnTo>
                    <a:pt x="206" y="228"/>
                  </a:lnTo>
                  <a:lnTo>
                    <a:pt x="202" y="232"/>
                  </a:lnTo>
                  <a:lnTo>
                    <a:pt x="200" y="236"/>
                  </a:lnTo>
                  <a:lnTo>
                    <a:pt x="202" y="248"/>
                  </a:lnTo>
                  <a:lnTo>
                    <a:pt x="200" y="258"/>
                  </a:lnTo>
                  <a:lnTo>
                    <a:pt x="198" y="270"/>
                  </a:lnTo>
                  <a:lnTo>
                    <a:pt x="198" y="270"/>
                  </a:lnTo>
                  <a:lnTo>
                    <a:pt x="188" y="284"/>
                  </a:lnTo>
                  <a:lnTo>
                    <a:pt x="182" y="296"/>
                  </a:lnTo>
                  <a:lnTo>
                    <a:pt x="180" y="308"/>
                  </a:lnTo>
                  <a:lnTo>
                    <a:pt x="178" y="332"/>
                  </a:lnTo>
                  <a:lnTo>
                    <a:pt x="178" y="332"/>
                  </a:lnTo>
                  <a:lnTo>
                    <a:pt x="194" y="346"/>
                  </a:lnTo>
                  <a:lnTo>
                    <a:pt x="194" y="346"/>
                  </a:lnTo>
                  <a:lnTo>
                    <a:pt x="202" y="348"/>
                  </a:lnTo>
                  <a:lnTo>
                    <a:pt x="214" y="352"/>
                  </a:lnTo>
                  <a:lnTo>
                    <a:pt x="218" y="358"/>
                  </a:lnTo>
                  <a:lnTo>
                    <a:pt x="222" y="364"/>
                  </a:lnTo>
                  <a:lnTo>
                    <a:pt x="224" y="372"/>
                  </a:lnTo>
                  <a:lnTo>
                    <a:pt x="222" y="382"/>
                  </a:lnTo>
                  <a:lnTo>
                    <a:pt x="222" y="382"/>
                  </a:lnTo>
                  <a:lnTo>
                    <a:pt x="216" y="394"/>
                  </a:lnTo>
                  <a:lnTo>
                    <a:pt x="216" y="394"/>
                  </a:lnTo>
                  <a:lnTo>
                    <a:pt x="198" y="400"/>
                  </a:lnTo>
                  <a:lnTo>
                    <a:pt x="184" y="406"/>
                  </a:lnTo>
                  <a:lnTo>
                    <a:pt x="184" y="406"/>
                  </a:lnTo>
                  <a:lnTo>
                    <a:pt x="160" y="426"/>
                  </a:lnTo>
                  <a:lnTo>
                    <a:pt x="154" y="430"/>
                  </a:lnTo>
                  <a:lnTo>
                    <a:pt x="148" y="430"/>
                  </a:lnTo>
                  <a:lnTo>
                    <a:pt x="142" y="428"/>
                  </a:lnTo>
                  <a:lnTo>
                    <a:pt x="134" y="422"/>
                  </a:lnTo>
                  <a:lnTo>
                    <a:pt x="106" y="398"/>
                  </a:lnTo>
                  <a:lnTo>
                    <a:pt x="106" y="398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75" name="未知"/>
            <p:cNvSpPr>
              <a:spLocks/>
            </p:cNvSpPr>
            <p:nvPr/>
          </p:nvSpPr>
          <p:spPr bwMode="auto">
            <a:xfrm>
              <a:off x="3156624" y="1517820"/>
              <a:ext cx="395899" cy="528992"/>
            </a:xfrm>
            <a:custGeom>
              <a:avLst/>
              <a:gdLst>
                <a:gd name="T0" fmla="*/ 108 w 536"/>
                <a:gd name="T1" fmla="*/ 754 h 768"/>
                <a:gd name="T2" fmla="*/ 22 w 536"/>
                <a:gd name="T3" fmla="*/ 720 h 768"/>
                <a:gd name="T4" fmla="*/ 52 w 536"/>
                <a:gd name="T5" fmla="*/ 664 h 768"/>
                <a:gd name="T6" fmla="*/ 58 w 536"/>
                <a:gd name="T7" fmla="*/ 572 h 768"/>
                <a:gd name="T8" fmla="*/ 6 w 536"/>
                <a:gd name="T9" fmla="*/ 508 h 768"/>
                <a:gd name="T10" fmla="*/ 32 w 536"/>
                <a:gd name="T11" fmla="*/ 458 h 768"/>
                <a:gd name="T12" fmla="*/ 78 w 536"/>
                <a:gd name="T13" fmla="*/ 412 h 768"/>
                <a:gd name="T14" fmla="*/ 40 w 536"/>
                <a:gd name="T15" fmla="*/ 334 h 768"/>
                <a:gd name="T16" fmla="*/ 18 w 536"/>
                <a:gd name="T17" fmla="*/ 316 h 768"/>
                <a:gd name="T18" fmla="*/ 46 w 536"/>
                <a:gd name="T19" fmla="*/ 282 h 768"/>
                <a:gd name="T20" fmla="*/ 24 w 536"/>
                <a:gd name="T21" fmla="*/ 236 h 768"/>
                <a:gd name="T22" fmla="*/ 0 w 536"/>
                <a:gd name="T23" fmla="*/ 164 h 768"/>
                <a:gd name="T24" fmla="*/ 28 w 536"/>
                <a:gd name="T25" fmla="*/ 142 h 768"/>
                <a:gd name="T26" fmla="*/ 44 w 536"/>
                <a:gd name="T27" fmla="*/ 84 h 768"/>
                <a:gd name="T28" fmla="*/ 70 w 536"/>
                <a:gd name="T29" fmla="*/ 88 h 768"/>
                <a:gd name="T30" fmla="*/ 72 w 536"/>
                <a:gd name="T31" fmla="*/ 118 h 768"/>
                <a:gd name="T32" fmla="*/ 82 w 536"/>
                <a:gd name="T33" fmla="*/ 150 h 768"/>
                <a:gd name="T34" fmla="*/ 124 w 536"/>
                <a:gd name="T35" fmla="*/ 154 h 768"/>
                <a:gd name="T36" fmla="*/ 136 w 536"/>
                <a:gd name="T37" fmla="*/ 134 h 768"/>
                <a:gd name="T38" fmla="*/ 180 w 536"/>
                <a:gd name="T39" fmla="*/ 106 h 768"/>
                <a:gd name="T40" fmla="*/ 252 w 536"/>
                <a:gd name="T41" fmla="*/ 92 h 768"/>
                <a:gd name="T42" fmla="*/ 266 w 536"/>
                <a:gd name="T43" fmla="*/ 22 h 768"/>
                <a:gd name="T44" fmla="*/ 310 w 536"/>
                <a:gd name="T45" fmla="*/ 0 h 768"/>
                <a:gd name="T46" fmla="*/ 332 w 536"/>
                <a:gd name="T47" fmla="*/ 40 h 768"/>
                <a:gd name="T48" fmla="*/ 378 w 536"/>
                <a:gd name="T49" fmla="*/ 128 h 768"/>
                <a:gd name="T50" fmla="*/ 424 w 536"/>
                <a:gd name="T51" fmla="*/ 138 h 768"/>
                <a:gd name="T52" fmla="*/ 444 w 536"/>
                <a:gd name="T53" fmla="*/ 152 h 768"/>
                <a:gd name="T54" fmla="*/ 430 w 536"/>
                <a:gd name="T55" fmla="*/ 188 h 768"/>
                <a:gd name="T56" fmla="*/ 448 w 536"/>
                <a:gd name="T57" fmla="*/ 210 h 768"/>
                <a:gd name="T58" fmla="*/ 520 w 536"/>
                <a:gd name="T59" fmla="*/ 250 h 768"/>
                <a:gd name="T60" fmla="*/ 488 w 536"/>
                <a:gd name="T61" fmla="*/ 330 h 768"/>
                <a:gd name="T62" fmla="*/ 450 w 536"/>
                <a:gd name="T63" fmla="*/ 370 h 768"/>
                <a:gd name="T64" fmla="*/ 398 w 536"/>
                <a:gd name="T65" fmla="*/ 384 h 768"/>
                <a:gd name="T66" fmla="*/ 350 w 536"/>
                <a:gd name="T67" fmla="*/ 340 h 768"/>
                <a:gd name="T68" fmla="*/ 344 w 536"/>
                <a:gd name="T69" fmla="*/ 288 h 768"/>
                <a:gd name="T70" fmla="*/ 310 w 536"/>
                <a:gd name="T71" fmla="*/ 252 h 768"/>
                <a:gd name="T72" fmla="*/ 294 w 536"/>
                <a:gd name="T73" fmla="*/ 200 h 768"/>
                <a:gd name="T74" fmla="*/ 258 w 536"/>
                <a:gd name="T75" fmla="*/ 184 h 768"/>
                <a:gd name="T76" fmla="*/ 226 w 536"/>
                <a:gd name="T77" fmla="*/ 190 h 768"/>
                <a:gd name="T78" fmla="*/ 194 w 536"/>
                <a:gd name="T79" fmla="*/ 228 h 768"/>
                <a:gd name="T80" fmla="*/ 178 w 536"/>
                <a:gd name="T81" fmla="*/ 266 h 768"/>
                <a:gd name="T82" fmla="*/ 172 w 536"/>
                <a:gd name="T83" fmla="*/ 298 h 768"/>
                <a:gd name="T84" fmla="*/ 142 w 536"/>
                <a:gd name="T85" fmla="*/ 314 h 768"/>
                <a:gd name="T86" fmla="*/ 142 w 536"/>
                <a:gd name="T87" fmla="*/ 360 h 768"/>
                <a:gd name="T88" fmla="*/ 222 w 536"/>
                <a:gd name="T89" fmla="*/ 346 h 768"/>
                <a:gd name="T90" fmla="*/ 252 w 536"/>
                <a:gd name="T91" fmla="*/ 342 h 768"/>
                <a:gd name="T92" fmla="*/ 274 w 536"/>
                <a:gd name="T93" fmla="*/ 360 h 768"/>
                <a:gd name="T94" fmla="*/ 300 w 536"/>
                <a:gd name="T95" fmla="*/ 436 h 768"/>
                <a:gd name="T96" fmla="*/ 352 w 536"/>
                <a:gd name="T97" fmla="*/ 468 h 768"/>
                <a:gd name="T98" fmla="*/ 354 w 536"/>
                <a:gd name="T99" fmla="*/ 512 h 768"/>
                <a:gd name="T100" fmla="*/ 328 w 536"/>
                <a:gd name="T101" fmla="*/ 540 h 768"/>
                <a:gd name="T102" fmla="*/ 266 w 536"/>
                <a:gd name="T103" fmla="*/ 582 h 768"/>
                <a:gd name="T104" fmla="*/ 202 w 536"/>
                <a:gd name="T105" fmla="*/ 650 h 768"/>
                <a:gd name="T106" fmla="*/ 180 w 536"/>
                <a:gd name="T107" fmla="*/ 73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6" h="768">
                  <a:moveTo>
                    <a:pt x="192" y="768"/>
                  </a:moveTo>
                  <a:lnTo>
                    <a:pt x="192" y="768"/>
                  </a:lnTo>
                  <a:lnTo>
                    <a:pt x="178" y="754"/>
                  </a:lnTo>
                  <a:lnTo>
                    <a:pt x="178" y="754"/>
                  </a:lnTo>
                  <a:lnTo>
                    <a:pt x="108" y="754"/>
                  </a:lnTo>
                  <a:lnTo>
                    <a:pt x="108" y="754"/>
                  </a:lnTo>
                  <a:lnTo>
                    <a:pt x="44" y="740"/>
                  </a:lnTo>
                  <a:lnTo>
                    <a:pt x="44" y="740"/>
                  </a:lnTo>
                  <a:lnTo>
                    <a:pt x="32" y="730"/>
                  </a:lnTo>
                  <a:lnTo>
                    <a:pt x="22" y="720"/>
                  </a:lnTo>
                  <a:lnTo>
                    <a:pt x="16" y="712"/>
                  </a:lnTo>
                  <a:lnTo>
                    <a:pt x="14" y="708"/>
                  </a:lnTo>
                  <a:lnTo>
                    <a:pt x="14" y="708"/>
                  </a:lnTo>
                  <a:lnTo>
                    <a:pt x="52" y="664"/>
                  </a:lnTo>
                  <a:lnTo>
                    <a:pt x="52" y="664"/>
                  </a:lnTo>
                  <a:lnTo>
                    <a:pt x="62" y="630"/>
                  </a:lnTo>
                  <a:lnTo>
                    <a:pt x="62" y="630"/>
                  </a:lnTo>
                  <a:lnTo>
                    <a:pt x="66" y="608"/>
                  </a:lnTo>
                  <a:lnTo>
                    <a:pt x="64" y="588"/>
                  </a:lnTo>
                  <a:lnTo>
                    <a:pt x="58" y="572"/>
                  </a:lnTo>
                  <a:lnTo>
                    <a:pt x="50" y="558"/>
                  </a:lnTo>
                  <a:lnTo>
                    <a:pt x="42" y="544"/>
                  </a:lnTo>
                  <a:lnTo>
                    <a:pt x="30" y="532"/>
                  </a:lnTo>
                  <a:lnTo>
                    <a:pt x="6" y="508"/>
                  </a:lnTo>
                  <a:lnTo>
                    <a:pt x="6" y="508"/>
                  </a:lnTo>
                  <a:lnTo>
                    <a:pt x="6" y="494"/>
                  </a:lnTo>
                  <a:lnTo>
                    <a:pt x="10" y="482"/>
                  </a:lnTo>
                  <a:lnTo>
                    <a:pt x="16" y="474"/>
                  </a:lnTo>
                  <a:lnTo>
                    <a:pt x="22" y="464"/>
                  </a:lnTo>
                  <a:lnTo>
                    <a:pt x="32" y="458"/>
                  </a:lnTo>
                  <a:lnTo>
                    <a:pt x="40" y="450"/>
                  </a:lnTo>
                  <a:lnTo>
                    <a:pt x="62" y="438"/>
                  </a:lnTo>
                  <a:lnTo>
                    <a:pt x="62" y="438"/>
                  </a:lnTo>
                  <a:lnTo>
                    <a:pt x="78" y="412"/>
                  </a:lnTo>
                  <a:lnTo>
                    <a:pt x="78" y="412"/>
                  </a:lnTo>
                  <a:lnTo>
                    <a:pt x="78" y="382"/>
                  </a:lnTo>
                  <a:lnTo>
                    <a:pt x="78" y="382"/>
                  </a:lnTo>
                  <a:lnTo>
                    <a:pt x="64" y="362"/>
                  </a:lnTo>
                  <a:lnTo>
                    <a:pt x="52" y="346"/>
                  </a:lnTo>
                  <a:lnTo>
                    <a:pt x="40" y="334"/>
                  </a:lnTo>
                  <a:lnTo>
                    <a:pt x="26" y="322"/>
                  </a:lnTo>
                  <a:lnTo>
                    <a:pt x="26" y="322"/>
                  </a:lnTo>
                  <a:lnTo>
                    <a:pt x="18" y="320"/>
                  </a:lnTo>
                  <a:lnTo>
                    <a:pt x="18" y="320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38" y="300"/>
                  </a:lnTo>
                  <a:lnTo>
                    <a:pt x="38" y="300"/>
                  </a:lnTo>
                  <a:lnTo>
                    <a:pt x="44" y="288"/>
                  </a:lnTo>
                  <a:lnTo>
                    <a:pt x="46" y="282"/>
                  </a:lnTo>
                  <a:lnTo>
                    <a:pt x="48" y="276"/>
                  </a:lnTo>
                  <a:lnTo>
                    <a:pt x="48" y="27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36"/>
                  </a:lnTo>
                  <a:lnTo>
                    <a:pt x="24" y="236"/>
                  </a:lnTo>
                  <a:lnTo>
                    <a:pt x="10" y="220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16" y="146"/>
                  </a:lnTo>
                  <a:lnTo>
                    <a:pt x="16" y="146"/>
                  </a:lnTo>
                  <a:lnTo>
                    <a:pt x="22" y="144"/>
                  </a:lnTo>
                  <a:lnTo>
                    <a:pt x="28" y="142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44" y="84"/>
                  </a:lnTo>
                  <a:lnTo>
                    <a:pt x="50" y="80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64" y="82"/>
                  </a:lnTo>
                  <a:lnTo>
                    <a:pt x="70" y="88"/>
                  </a:lnTo>
                  <a:lnTo>
                    <a:pt x="76" y="98"/>
                  </a:lnTo>
                  <a:lnTo>
                    <a:pt x="78" y="104"/>
                  </a:lnTo>
                  <a:lnTo>
                    <a:pt x="80" y="112"/>
                  </a:lnTo>
                  <a:lnTo>
                    <a:pt x="80" y="112"/>
                  </a:lnTo>
                  <a:lnTo>
                    <a:pt x="72" y="118"/>
                  </a:lnTo>
                  <a:lnTo>
                    <a:pt x="68" y="124"/>
                  </a:lnTo>
                  <a:lnTo>
                    <a:pt x="68" y="130"/>
                  </a:lnTo>
                  <a:lnTo>
                    <a:pt x="70" y="136"/>
                  </a:lnTo>
                  <a:lnTo>
                    <a:pt x="76" y="142"/>
                  </a:lnTo>
                  <a:lnTo>
                    <a:pt x="82" y="150"/>
                  </a:lnTo>
                  <a:lnTo>
                    <a:pt x="98" y="164"/>
                  </a:lnTo>
                  <a:lnTo>
                    <a:pt x="98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24" y="154"/>
                  </a:lnTo>
                  <a:lnTo>
                    <a:pt x="124" y="154"/>
                  </a:lnTo>
                  <a:lnTo>
                    <a:pt x="124" y="148"/>
                  </a:lnTo>
                  <a:lnTo>
                    <a:pt x="128" y="142"/>
                  </a:lnTo>
                  <a:lnTo>
                    <a:pt x="132" y="138"/>
                  </a:lnTo>
                  <a:lnTo>
                    <a:pt x="136" y="134"/>
                  </a:lnTo>
                  <a:lnTo>
                    <a:pt x="148" y="126"/>
                  </a:lnTo>
                  <a:lnTo>
                    <a:pt x="162" y="120"/>
                  </a:lnTo>
                  <a:lnTo>
                    <a:pt x="162" y="120"/>
                  </a:lnTo>
                  <a:lnTo>
                    <a:pt x="170" y="110"/>
                  </a:lnTo>
                  <a:lnTo>
                    <a:pt x="180" y="106"/>
                  </a:lnTo>
                  <a:lnTo>
                    <a:pt x="190" y="104"/>
                  </a:lnTo>
                  <a:lnTo>
                    <a:pt x="202" y="102"/>
                  </a:lnTo>
                  <a:lnTo>
                    <a:pt x="228" y="100"/>
                  </a:lnTo>
                  <a:lnTo>
                    <a:pt x="240" y="98"/>
                  </a:lnTo>
                  <a:lnTo>
                    <a:pt x="252" y="92"/>
                  </a:lnTo>
                  <a:lnTo>
                    <a:pt x="252" y="92"/>
                  </a:lnTo>
                  <a:lnTo>
                    <a:pt x="250" y="40"/>
                  </a:lnTo>
                  <a:lnTo>
                    <a:pt x="250" y="40"/>
                  </a:lnTo>
                  <a:lnTo>
                    <a:pt x="258" y="30"/>
                  </a:lnTo>
                  <a:lnTo>
                    <a:pt x="266" y="22"/>
                  </a:lnTo>
                  <a:lnTo>
                    <a:pt x="288" y="8"/>
                  </a:lnTo>
                  <a:lnTo>
                    <a:pt x="288" y="8"/>
                  </a:lnTo>
                  <a:lnTo>
                    <a:pt x="296" y="2"/>
                  </a:lnTo>
                  <a:lnTo>
                    <a:pt x="304" y="0"/>
                  </a:lnTo>
                  <a:lnTo>
                    <a:pt x="310" y="0"/>
                  </a:lnTo>
                  <a:lnTo>
                    <a:pt x="314" y="4"/>
                  </a:lnTo>
                  <a:lnTo>
                    <a:pt x="318" y="10"/>
                  </a:lnTo>
                  <a:lnTo>
                    <a:pt x="322" y="18"/>
                  </a:lnTo>
                  <a:lnTo>
                    <a:pt x="332" y="40"/>
                  </a:lnTo>
                  <a:lnTo>
                    <a:pt x="332" y="40"/>
                  </a:lnTo>
                  <a:lnTo>
                    <a:pt x="370" y="100"/>
                  </a:lnTo>
                  <a:lnTo>
                    <a:pt x="370" y="100"/>
                  </a:lnTo>
                  <a:lnTo>
                    <a:pt x="372" y="112"/>
                  </a:lnTo>
                  <a:lnTo>
                    <a:pt x="374" y="122"/>
                  </a:lnTo>
                  <a:lnTo>
                    <a:pt x="378" y="128"/>
                  </a:lnTo>
                  <a:lnTo>
                    <a:pt x="382" y="132"/>
                  </a:lnTo>
                  <a:lnTo>
                    <a:pt x="388" y="136"/>
                  </a:lnTo>
                  <a:lnTo>
                    <a:pt x="398" y="140"/>
                  </a:lnTo>
                  <a:lnTo>
                    <a:pt x="398" y="140"/>
                  </a:lnTo>
                  <a:lnTo>
                    <a:pt x="424" y="138"/>
                  </a:lnTo>
                  <a:lnTo>
                    <a:pt x="442" y="138"/>
                  </a:lnTo>
                  <a:lnTo>
                    <a:pt x="458" y="140"/>
                  </a:lnTo>
                  <a:lnTo>
                    <a:pt x="458" y="140"/>
                  </a:lnTo>
                  <a:lnTo>
                    <a:pt x="450" y="146"/>
                  </a:lnTo>
                  <a:lnTo>
                    <a:pt x="444" y="152"/>
                  </a:lnTo>
                  <a:lnTo>
                    <a:pt x="436" y="158"/>
                  </a:lnTo>
                  <a:lnTo>
                    <a:pt x="430" y="166"/>
                  </a:lnTo>
                  <a:lnTo>
                    <a:pt x="430" y="166"/>
                  </a:lnTo>
                  <a:lnTo>
                    <a:pt x="430" y="178"/>
                  </a:lnTo>
                  <a:lnTo>
                    <a:pt x="430" y="188"/>
                  </a:lnTo>
                  <a:lnTo>
                    <a:pt x="432" y="192"/>
                  </a:lnTo>
                  <a:lnTo>
                    <a:pt x="436" y="198"/>
                  </a:lnTo>
                  <a:lnTo>
                    <a:pt x="440" y="204"/>
                  </a:lnTo>
                  <a:lnTo>
                    <a:pt x="448" y="210"/>
                  </a:lnTo>
                  <a:lnTo>
                    <a:pt x="448" y="210"/>
                  </a:lnTo>
                  <a:lnTo>
                    <a:pt x="458" y="212"/>
                  </a:lnTo>
                  <a:lnTo>
                    <a:pt x="466" y="216"/>
                  </a:lnTo>
                  <a:lnTo>
                    <a:pt x="482" y="226"/>
                  </a:lnTo>
                  <a:lnTo>
                    <a:pt x="500" y="238"/>
                  </a:lnTo>
                  <a:lnTo>
                    <a:pt x="520" y="250"/>
                  </a:lnTo>
                  <a:lnTo>
                    <a:pt x="520" y="250"/>
                  </a:lnTo>
                  <a:lnTo>
                    <a:pt x="536" y="264"/>
                  </a:lnTo>
                  <a:lnTo>
                    <a:pt x="536" y="264"/>
                  </a:lnTo>
                  <a:lnTo>
                    <a:pt x="488" y="330"/>
                  </a:lnTo>
                  <a:lnTo>
                    <a:pt x="488" y="330"/>
                  </a:lnTo>
                  <a:lnTo>
                    <a:pt x="486" y="336"/>
                  </a:lnTo>
                  <a:lnTo>
                    <a:pt x="482" y="344"/>
                  </a:lnTo>
                  <a:lnTo>
                    <a:pt x="476" y="352"/>
                  </a:lnTo>
                  <a:lnTo>
                    <a:pt x="468" y="358"/>
                  </a:lnTo>
                  <a:lnTo>
                    <a:pt x="450" y="370"/>
                  </a:lnTo>
                  <a:lnTo>
                    <a:pt x="436" y="376"/>
                  </a:lnTo>
                  <a:lnTo>
                    <a:pt x="436" y="376"/>
                  </a:lnTo>
                  <a:lnTo>
                    <a:pt x="416" y="380"/>
                  </a:lnTo>
                  <a:lnTo>
                    <a:pt x="398" y="384"/>
                  </a:lnTo>
                  <a:lnTo>
                    <a:pt x="398" y="384"/>
                  </a:lnTo>
                  <a:lnTo>
                    <a:pt x="382" y="372"/>
                  </a:lnTo>
                  <a:lnTo>
                    <a:pt x="370" y="360"/>
                  </a:lnTo>
                  <a:lnTo>
                    <a:pt x="360" y="348"/>
                  </a:lnTo>
                  <a:lnTo>
                    <a:pt x="350" y="340"/>
                  </a:lnTo>
                  <a:lnTo>
                    <a:pt x="350" y="340"/>
                  </a:lnTo>
                  <a:lnTo>
                    <a:pt x="346" y="332"/>
                  </a:lnTo>
                  <a:lnTo>
                    <a:pt x="346" y="324"/>
                  </a:lnTo>
                  <a:lnTo>
                    <a:pt x="346" y="308"/>
                  </a:lnTo>
                  <a:lnTo>
                    <a:pt x="344" y="294"/>
                  </a:lnTo>
                  <a:lnTo>
                    <a:pt x="344" y="288"/>
                  </a:lnTo>
                  <a:lnTo>
                    <a:pt x="342" y="284"/>
                  </a:lnTo>
                  <a:lnTo>
                    <a:pt x="342" y="284"/>
                  </a:lnTo>
                  <a:lnTo>
                    <a:pt x="310" y="272"/>
                  </a:lnTo>
                  <a:lnTo>
                    <a:pt x="310" y="272"/>
                  </a:lnTo>
                  <a:lnTo>
                    <a:pt x="310" y="252"/>
                  </a:lnTo>
                  <a:lnTo>
                    <a:pt x="312" y="232"/>
                  </a:lnTo>
                  <a:lnTo>
                    <a:pt x="314" y="214"/>
                  </a:lnTo>
                  <a:lnTo>
                    <a:pt x="314" y="202"/>
                  </a:lnTo>
                  <a:lnTo>
                    <a:pt x="314" y="202"/>
                  </a:lnTo>
                  <a:lnTo>
                    <a:pt x="294" y="200"/>
                  </a:lnTo>
                  <a:lnTo>
                    <a:pt x="278" y="198"/>
                  </a:lnTo>
                  <a:lnTo>
                    <a:pt x="270" y="196"/>
                  </a:lnTo>
                  <a:lnTo>
                    <a:pt x="264" y="192"/>
                  </a:lnTo>
                  <a:lnTo>
                    <a:pt x="260" y="188"/>
                  </a:lnTo>
                  <a:lnTo>
                    <a:pt x="258" y="184"/>
                  </a:lnTo>
                  <a:lnTo>
                    <a:pt x="258" y="184"/>
                  </a:lnTo>
                  <a:lnTo>
                    <a:pt x="238" y="184"/>
                  </a:lnTo>
                  <a:lnTo>
                    <a:pt x="232" y="184"/>
                  </a:lnTo>
                  <a:lnTo>
                    <a:pt x="228" y="186"/>
                  </a:lnTo>
                  <a:lnTo>
                    <a:pt x="226" y="190"/>
                  </a:lnTo>
                  <a:lnTo>
                    <a:pt x="224" y="196"/>
                  </a:lnTo>
                  <a:lnTo>
                    <a:pt x="220" y="214"/>
                  </a:lnTo>
                  <a:lnTo>
                    <a:pt x="220" y="214"/>
                  </a:lnTo>
                  <a:lnTo>
                    <a:pt x="206" y="220"/>
                  </a:lnTo>
                  <a:lnTo>
                    <a:pt x="194" y="228"/>
                  </a:lnTo>
                  <a:lnTo>
                    <a:pt x="172" y="244"/>
                  </a:lnTo>
                  <a:lnTo>
                    <a:pt x="172" y="244"/>
                  </a:lnTo>
                  <a:lnTo>
                    <a:pt x="172" y="250"/>
                  </a:lnTo>
                  <a:lnTo>
                    <a:pt x="174" y="258"/>
                  </a:lnTo>
                  <a:lnTo>
                    <a:pt x="178" y="266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82" y="286"/>
                  </a:lnTo>
                  <a:lnTo>
                    <a:pt x="176" y="292"/>
                  </a:lnTo>
                  <a:lnTo>
                    <a:pt x="172" y="298"/>
                  </a:lnTo>
                  <a:lnTo>
                    <a:pt x="164" y="300"/>
                  </a:lnTo>
                  <a:lnTo>
                    <a:pt x="152" y="306"/>
                  </a:lnTo>
                  <a:lnTo>
                    <a:pt x="146" y="310"/>
                  </a:lnTo>
                  <a:lnTo>
                    <a:pt x="142" y="314"/>
                  </a:lnTo>
                  <a:lnTo>
                    <a:pt x="142" y="314"/>
                  </a:lnTo>
                  <a:lnTo>
                    <a:pt x="142" y="326"/>
                  </a:lnTo>
                  <a:lnTo>
                    <a:pt x="140" y="338"/>
                  </a:lnTo>
                  <a:lnTo>
                    <a:pt x="138" y="350"/>
                  </a:lnTo>
                  <a:lnTo>
                    <a:pt x="140" y="356"/>
                  </a:lnTo>
                  <a:lnTo>
                    <a:pt x="142" y="360"/>
                  </a:lnTo>
                  <a:lnTo>
                    <a:pt x="142" y="360"/>
                  </a:lnTo>
                  <a:lnTo>
                    <a:pt x="206" y="360"/>
                  </a:lnTo>
                  <a:lnTo>
                    <a:pt x="206" y="360"/>
                  </a:lnTo>
                  <a:lnTo>
                    <a:pt x="214" y="352"/>
                  </a:lnTo>
                  <a:lnTo>
                    <a:pt x="222" y="346"/>
                  </a:lnTo>
                  <a:lnTo>
                    <a:pt x="228" y="342"/>
                  </a:lnTo>
                  <a:lnTo>
                    <a:pt x="234" y="342"/>
                  </a:lnTo>
                  <a:lnTo>
                    <a:pt x="242" y="340"/>
                  </a:lnTo>
                  <a:lnTo>
                    <a:pt x="252" y="342"/>
                  </a:lnTo>
                  <a:lnTo>
                    <a:pt x="252" y="342"/>
                  </a:lnTo>
                  <a:lnTo>
                    <a:pt x="256" y="348"/>
                  </a:lnTo>
                  <a:lnTo>
                    <a:pt x="260" y="350"/>
                  </a:lnTo>
                  <a:lnTo>
                    <a:pt x="266" y="356"/>
                  </a:lnTo>
                  <a:lnTo>
                    <a:pt x="274" y="360"/>
                  </a:lnTo>
                  <a:lnTo>
                    <a:pt x="274" y="360"/>
                  </a:lnTo>
                  <a:lnTo>
                    <a:pt x="282" y="378"/>
                  </a:lnTo>
                  <a:lnTo>
                    <a:pt x="282" y="378"/>
                  </a:lnTo>
                  <a:lnTo>
                    <a:pt x="290" y="422"/>
                  </a:lnTo>
                  <a:lnTo>
                    <a:pt x="290" y="422"/>
                  </a:lnTo>
                  <a:lnTo>
                    <a:pt x="300" y="436"/>
                  </a:lnTo>
                  <a:lnTo>
                    <a:pt x="314" y="448"/>
                  </a:lnTo>
                  <a:lnTo>
                    <a:pt x="330" y="460"/>
                  </a:lnTo>
                  <a:lnTo>
                    <a:pt x="340" y="464"/>
                  </a:lnTo>
                  <a:lnTo>
                    <a:pt x="352" y="468"/>
                  </a:lnTo>
                  <a:lnTo>
                    <a:pt x="352" y="468"/>
                  </a:lnTo>
                  <a:lnTo>
                    <a:pt x="372" y="502"/>
                  </a:lnTo>
                  <a:lnTo>
                    <a:pt x="372" y="502"/>
                  </a:lnTo>
                  <a:lnTo>
                    <a:pt x="368" y="502"/>
                  </a:lnTo>
                  <a:lnTo>
                    <a:pt x="362" y="504"/>
                  </a:lnTo>
                  <a:lnTo>
                    <a:pt x="354" y="512"/>
                  </a:lnTo>
                  <a:lnTo>
                    <a:pt x="346" y="520"/>
                  </a:lnTo>
                  <a:lnTo>
                    <a:pt x="340" y="526"/>
                  </a:lnTo>
                  <a:lnTo>
                    <a:pt x="340" y="526"/>
                  </a:lnTo>
                  <a:lnTo>
                    <a:pt x="336" y="534"/>
                  </a:lnTo>
                  <a:lnTo>
                    <a:pt x="328" y="540"/>
                  </a:lnTo>
                  <a:lnTo>
                    <a:pt x="312" y="554"/>
                  </a:lnTo>
                  <a:lnTo>
                    <a:pt x="296" y="564"/>
                  </a:lnTo>
                  <a:lnTo>
                    <a:pt x="280" y="570"/>
                  </a:lnTo>
                  <a:lnTo>
                    <a:pt x="280" y="570"/>
                  </a:lnTo>
                  <a:lnTo>
                    <a:pt x="266" y="582"/>
                  </a:lnTo>
                  <a:lnTo>
                    <a:pt x="254" y="592"/>
                  </a:lnTo>
                  <a:lnTo>
                    <a:pt x="244" y="606"/>
                  </a:lnTo>
                  <a:lnTo>
                    <a:pt x="234" y="620"/>
                  </a:lnTo>
                  <a:lnTo>
                    <a:pt x="234" y="620"/>
                  </a:lnTo>
                  <a:lnTo>
                    <a:pt x="202" y="650"/>
                  </a:lnTo>
                  <a:lnTo>
                    <a:pt x="190" y="662"/>
                  </a:lnTo>
                  <a:lnTo>
                    <a:pt x="182" y="676"/>
                  </a:lnTo>
                  <a:lnTo>
                    <a:pt x="176" y="690"/>
                  </a:lnTo>
                  <a:lnTo>
                    <a:pt x="176" y="708"/>
                  </a:lnTo>
                  <a:lnTo>
                    <a:pt x="180" y="730"/>
                  </a:lnTo>
                  <a:lnTo>
                    <a:pt x="190" y="756"/>
                  </a:lnTo>
                  <a:lnTo>
                    <a:pt x="190" y="756"/>
                  </a:lnTo>
                  <a:lnTo>
                    <a:pt x="192" y="768"/>
                  </a:lnTo>
                  <a:lnTo>
                    <a:pt x="192" y="768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76" name="未知"/>
            <p:cNvSpPr>
              <a:spLocks/>
            </p:cNvSpPr>
            <p:nvPr/>
          </p:nvSpPr>
          <p:spPr bwMode="auto">
            <a:xfrm>
              <a:off x="573460" y="972059"/>
              <a:ext cx="1462539" cy="1042739"/>
            </a:xfrm>
            <a:custGeom>
              <a:avLst/>
              <a:gdLst>
                <a:gd name="T0" fmla="*/ 1348 w 1980"/>
                <a:gd name="T1" fmla="*/ 1486 h 1516"/>
                <a:gd name="T2" fmla="*/ 1296 w 1980"/>
                <a:gd name="T3" fmla="*/ 1480 h 1516"/>
                <a:gd name="T4" fmla="*/ 1206 w 1980"/>
                <a:gd name="T5" fmla="*/ 1418 h 1516"/>
                <a:gd name="T6" fmla="*/ 1068 w 1980"/>
                <a:gd name="T7" fmla="*/ 1416 h 1516"/>
                <a:gd name="T8" fmla="*/ 938 w 1980"/>
                <a:gd name="T9" fmla="*/ 1464 h 1516"/>
                <a:gd name="T10" fmla="*/ 842 w 1980"/>
                <a:gd name="T11" fmla="*/ 1464 h 1516"/>
                <a:gd name="T12" fmla="*/ 720 w 1980"/>
                <a:gd name="T13" fmla="*/ 1458 h 1516"/>
                <a:gd name="T14" fmla="*/ 664 w 1980"/>
                <a:gd name="T15" fmla="*/ 1408 h 1516"/>
                <a:gd name="T16" fmla="*/ 580 w 1980"/>
                <a:gd name="T17" fmla="*/ 1446 h 1516"/>
                <a:gd name="T18" fmla="*/ 528 w 1980"/>
                <a:gd name="T19" fmla="*/ 1412 h 1516"/>
                <a:gd name="T20" fmla="*/ 420 w 1980"/>
                <a:gd name="T21" fmla="*/ 1446 h 1516"/>
                <a:gd name="T22" fmla="*/ 332 w 1980"/>
                <a:gd name="T23" fmla="*/ 1490 h 1516"/>
                <a:gd name="T24" fmla="*/ 278 w 1980"/>
                <a:gd name="T25" fmla="*/ 1444 h 1516"/>
                <a:gd name="T26" fmla="*/ 256 w 1980"/>
                <a:gd name="T27" fmla="*/ 1350 h 1516"/>
                <a:gd name="T28" fmla="*/ 190 w 1980"/>
                <a:gd name="T29" fmla="*/ 1318 h 1516"/>
                <a:gd name="T30" fmla="*/ 112 w 1980"/>
                <a:gd name="T31" fmla="*/ 1224 h 1516"/>
                <a:gd name="T32" fmla="*/ 98 w 1980"/>
                <a:gd name="T33" fmla="*/ 1128 h 1516"/>
                <a:gd name="T34" fmla="*/ 36 w 1980"/>
                <a:gd name="T35" fmla="*/ 1054 h 1516"/>
                <a:gd name="T36" fmla="*/ 86 w 1980"/>
                <a:gd name="T37" fmla="*/ 920 h 1516"/>
                <a:gd name="T38" fmla="*/ 20 w 1980"/>
                <a:gd name="T39" fmla="*/ 884 h 1516"/>
                <a:gd name="T40" fmla="*/ 0 w 1980"/>
                <a:gd name="T41" fmla="*/ 864 h 1516"/>
                <a:gd name="T42" fmla="*/ 8 w 1980"/>
                <a:gd name="T43" fmla="*/ 798 h 1516"/>
                <a:gd name="T44" fmla="*/ 106 w 1980"/>
                <a:gd name="T45" fmla="*/ 726 h 1516"/>
                <a:gd name="T46" fmla="*/ 236 w 1980"/>
                <a:gd name="T47" fmla="*/ 732 h 1516"/>
                <a:gd name="T48" fmla="*/ 308 w 1980"/>
                <a:gd name="T49" fmla="*/ 746 h 1516"/>
                <a:gd name="T50" fmla="*/ 418 w 1980"/>
                <a:gd name="T51" fmla="*/ 684 h 1516"/>
                <a:gd name="T52" fmla="*/ 510 w 1980"/>
                <a:gd name="T53" fmla="*/ 688 h 1516"/>
                <a:gd name="T54" fmla="*/ 638 w 1980"/>
                <a:gd name="T55" fmla="*/ 620 h 1516"/>
                <a:gd name="T56" fmla="*/ 708 w 1980"/>
                <a:gd name="T57" fmla="*/ 536 h 1516"/>
                <a:gd name="T58" fmla="*/ 728 w 1980"/>
                <a:gd name="T59" fmla="*/ 392 h 1516"/>
                <a:gd name="T60" fmla="*/ 772 w 1980"/>
                <a:gd name="T61" fmla="*/ 326 h 1516"/>
                <a:gd name="T62" fmla="*/ 904 w 1980"/>
                <a:gd name="T63" fmla="*/ 356 h 1516"/>
                <a:gd name="T64" fmla="*/ 926 w 1980"/>
                <a:gd name="T65" fmla="*/ 302 h 1516"/>
                <a:gd name="T66" fmla="*/ 1008 w 1980"/>
                <a:gd name="T67" fmla="*/ 172 h 1516"/>
                <a:gd name="T68" fmla="*/ 1092 w 1980"/>
                <a:gd name="T69" fmla="*/ 186 h 1516"/>
                <a:gd name="T70" fmla="*/ 1196 w 1980"/>
                <a:gd name="T71" fmla="*/ 202 h 1516"/>
                <a:gd name="T72" fmla="*/ 1246 w 1980"/>
                <a:gd name="T73" fmla="*/ 76 h 1516"/>
                <a:gd name="T74" fmla="*/ 1352 w 1980"/>
                <a:gd name="T75" fmla="*/ 36 h 1516"/>
                <a:gd name="T76" fmla="*/ 1426 w 1980"/>
                <a:gd name="T77" fmla="*/ 22 h 1516"/>
                <a:gd name="T78" fmla="*/ 1568 w 1980"/>
                <a:gd name="T79" fmla="*/ 164 h 1516"/>
                <a:gd name="T80" fmla="*/ 1612 w 1980"/>
                <a:gd name="T81" fmla="*/ 320 h 1516"/>
                <a:gd name="T82" fmla="*/ 1568 w 1980"/>
                <a:gd name="T83" fmla="*/ 390 h 1516"/>
                <a:gd name="T84" fmla="*/ 1614 w 1980"/>
                <a:gd name="T85" fmla="*/ 488 h 1516"/>
                <a:gd name="T86" fmla="*/ 1778 w 1980"/>
                <a:gd name="T87" fmla="*/ 526 h 1516"/>
                <a:gd name="T88" fmla="*/ 1918 w 1980"/>
                <a:gd name="T89" fmla="*/ 628 h 1516"/>
                <a:gd name="T90" fmla="*/ 1974 w 1980"/>
                <a:gd name="T91" fmla="*/ 736 h 1516"/>
                <a:gd name="T92" fmla="*/ 1952 w 1980"/>
                <a:gd name="T93" fmla="*/ 832 h 1516"/>
                <a:gd name="T94" fmla="*/ 1878 w 1980"/>
                <a:gd name="T95" fmla="*/ 908 h 1516"/>
                <a:gd name="T96" fmla="*/ 1774 w 1980"/>
                <a:gd name="T97" fmla="*/ 980 h 1516"/>
                <a:gd name="T98" fmla="*/ 1672 w 1980"/>
                <a:gd name="T99" fmla="*/ 1034 h 1516"/>
                <a:gd name="T100" fmla="*/ 1646 w 1980"/>
                <a:gd name="T101" fmla="*/ 1106 h 1516"/>
                <a:gd name="T102" fmla="*/ 1580 w 1980"/>
                <a:gd name="T103" fmla="*/ 1194 h 1516"/>
                <a:gd name="T104" fmla="*/ 1396 w 1980"/>
                <a:gd name="T105" fmla="*/ 1236 h 1516"/>
                <a:gd name="T106" fmla="*/ 1404 w 1980"/>
                <a:gd name="T107" fmla="*/ 1294 h 1516"/>
                <a:gd name="T108" fmla="*/ 1474 w 1980"/>
                <a:gd name="T109" fmla="*/ 1370 h 1516"/>
                <a:gd name="T110" fmla="*/ 1434 w 1980"/>
                <a:gd name="T111" fmla="*/ 1426 h 1516"/>
                <a:gd name="T112" fmla="*/ 1450 w 1980"/>
                <a:gd name="T113" fmla="*/ 1504 h 1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80" h="1516">
                  <a:moveTo>
                    <a:pt x="1416" y="1516"/>
                  </a:moveTo>
                  <a:lnTo>
                    <a:pt x="1416" y="1516"/>
                  </a:lnTo>
                  <a:lnTo>
                    <a:pt x="1402" y="1508"/>
                  </a:lnTo>
                  <a:lnTo>
                    <a:pt x="1402" y="1508"/>
                  </a:lnTo>
                  <a:lnTo>
                    <a:pt x="1378" y="1484"/>
                  </a:lnTo>
                  <a:lnTo>
                    <a:pt x="1378" y="1484"/>
                  </a:lnTo>
                  <a:lnTo>
                    <a:pt x="1362" y="1484"/>
                  </a:lnTo>
                  <a:lnTo>
                    <a:pt x="1352" y="1484"/>
                  </a:lnTo>
                  <a:lnTo>
                    <a:pt x="1348" y="1486"/>
                  </a:lnTo>
                  <a:lnTo>
                    <a:pt x="1346" y="1488"/>
                  </a:lnTo>
                  <a:lnTo>
                    <a:pt x="1340" y="1502"/>
                  </a:lnTo>
                  <a:lnTo>
                    <a:pt x="1340" y="1502"/>
                  </a:lnTo>
                  <a:lnTo>
                    <a:pt x="1330" y="1498"/>
                  </a:lnTo>
                  <a:lnTo>
                    <a:pt x="1330" y="1498"/>
                  </a:lnTo>
                  <a:lnTo>
                    <a:pt x="1304" y="1500"/>
                  </a:lnTo>
                  <a:lnTo>
                    <a:pt x="1304" y="1500"/>
                  </a:lnTo>
                  <a:lnTo>
                    <a:pt x="1298" y="1490"/>
                  </a:lnTo>
                  <a:lnTo>
                    <a:pt x="1296" y="1480"/>
                  </a:lnTo>
                  <a:lnTo>
                    <a:pt x="1294" y="1466"/>
                  </a:lnTo>
                  <a:lnTo>
                    <a:pt x="1294" y="1466"/>
                  </a:lnTo>
                  <a:lnTo>
                    <a:pt x="1276" y="1458"/>
                  </a:lnTo>
                  <a:lnTo>
                    <a:pt x="1276" y="1458"/>
                  </a:lnTo>
                  <a:lnTo>
                    <a:pt x="1252" y="1438"/>
                  </a:lnTo>
                  <a:lnTo>
                    <a:pt x="1242" y="1430"/>
                  </a:lnTo>
                  <a:lnTo>
                    <a:pt x="1230" y="1424"/>
                  </a:lnTo>
                  <a:lnTo>
                    <a:pt x="1218" y="1420"/>
                  </a:lnTo>
                  <a:lnTo>
                    <a:pt x="1206" y="1418"/>
                  </a:lnTo>
                  <a:lnTo>
                    <a:pt x="1194" y="1418"/>
                  </a:lnTo>
                  <a:lnTo>
                    <a:pt x="1180" y="1422"/>
                  </a:lnTo>
                  <a:lnTo>
                    <a:pt x="1180" y="1422"/>
                  </a:lnTo>
                  <a:lnTo>
                    <a:pt x="1142" y="1428"/>
                  </a:lnTo>
                  <a:lnTo>
                    <a:pt x="1122" y="1428"/>
                  </a:lnTo>
                  <a:lnTo>
                    <a:pt x="1104" y="1428"/>
                  </a:lnTo>
                  <a:lnTo>
                    <a:pt x="1104" y="1428"/>
                  </a:lnTo>
                  <a:lnTo>
                    <a:pt x="1068" y="1416"/>
                  </a:lnTo>
                  <a:lnTo>
                    <a:pt x="1068" y="1416"/>
                  </a:lnTo>
                  <a:lnTo>
                    <a:pt x="1038" y="1416"/>
                  </a:lnTo>
                  <a:lnTo>
                    <a:pt x="1038" y="1416"/>
                  </a:lnTo>
                  <a:lnTo>
                    <a:pt x="1018" y="1426"/>
                  </a:lnTo>
                  <a:lnTo>
                    <a:pt x="1000" y="1436"/>
                  </a:lnTo>
                  <a:lnTo>
                    <a:pt x="984" y="1450"/>
                  </a:lnTo>
                  <a:lnTo>
                    <a:pt x="978" y="1458"/>
                  </a:lnTo>
                  <a:lnTo>
                    <a:pt x="972" y="1466"/>
                  </a:lnTo>
                  <a:lnTo>
                    <a:pt x="972" y="1466"/>
                  </a:lnTo>
                  <a:lnTo>
                    <a:pt x="938" y="1464"/>
                  </a:lnTo>
                  <a:lnTo>
                    <a:pt x="938" y="1464"/>
                  </a:lnTo>
                  <a:lnTo>
                    <a:pt x="906" y="1450"/>
                  </a:lnTo>
                  <a:lnTo>
                    <a:pt x="906" y="1450"/>
                  </a:lnTo>
                  <a:lnTo>
                    <a:pt x="884" y="1450"/>
                  </a:lnTo>
                  <a:lnTo>
                    <a:pt x="876" y="1452"/>
                  </a:lnTo>
                  <a:lnTo>
                    <a:pt x="870" y="1458"/>
                  </a:lnTo>
                  <a:lnTo>
                    <a:pt x="870" y="1458"/>
                  </a:lnTo>
                  <a:lnTo>
                    <a:pt x="842" y="1464"/>
                  </a:lnTo>
                  <a:lnTo>
                    <a:pt x="842" y="1464"/>
                  </a:lnTo>
                  <a:lnTo>
                    <a:pt x="826" y="1466"/>
                  </a:lnTo>
                  <a:lnTo>
                    <a:pt x="814" y="1470"/>
                  </a:lnTo>
                  <a:lnTo>
                    <a:pt x="802" y="1476"/>
                  </a:lnTo>
                  <a:lnTo>
                    <a:pt x="788" y="1480"/>
                  </a:lnTo>
                  <a:lnTo>
                    <a:pt x="788" y="1480"/>
                  </a:lnTo>
                  <a:lnTo>
                    <a:pt x="776" y="1480"/>
                  </a:lnTo>
                  <a:lnTo>
                    <a:pt x="764" y="1476"/>
                  </a:lnTo>
                  <a:lnTo>
                    <a:pt x="740" y="1468"/>
                  </a:lnTo>
                  <a:lnTo>
                    <a:pt x="720" y="1458"/>
                  </a:lnTo>
                  <a:lnTo>
                    <a:pt x="708" y="1448"/>
                  </a:lnTo>
                  <a:lnTo>
                    <a:pt x="708" y="1448"/>
                  </a:lnTo>
                  <a:lnTo>
                    <a:pt x="706" y="1428"/>
                  </a:lnTo>
                  <a:lnTo>
                    <a:pt x="704" y="1424"/>
                  </a:lnTo>
                  <a:lnTo>
                    <a:pt x="702" y="1420"/>
                  </a:lnTo>
                  <a:lnTo>
                    <a:pt x="694" y="1414"/>
                  </a:lnTo>
                  <a:lnTo>
                    <a:pt x="684" y="1406"/>
                  </a:lnTo>
                  <a:lnTo>
                    <a:pt x="684" y="1406"/>
                  </a:lnTo>
                  <a:lnTo>
                    <a:pt x="664" y="1408"/>
                  </a:lnTo>
                  <a:lnTo>
                    <a:pt x="658" y="1408"/>
                  </a:lnTo>
                  <a:lnTo>
                    <a:pt x="654" y="1410"/>
                  </a:lnTo>
                  <a:lnTo>
                    <a:pt x="646" y="1418"/>
                  </a:lnTo>
                  <a:lnTo>
                    <a:pt x="634" y="1434"/>
                  </a:lnTo>
                  <a:lnTo>
                    <a:pt x="634" y="1434"/>
                  </a:lnTo>
                  <a:lnTo>
                    <a:pt x="618" y="1438"/>
                  </a:lnTo>
                  <a:lnTo>
                    <a:pt x="602" y="1440"/>
                  </a:lnTo>
                  <a:lnTo>
                    <a:pt x="586" y="1442"/>
                  </a:lnTo>
                  <a:lnTo>
                    <a:pt x="580" y="1446"/>
                  </a:lnTo>
                  <a:lnTo>
                    <a:pt x="572" y="1448"/>
                  </a:lnTo>
                  <a:lnTo>
                    <a:pt x="572" y="1448"/>
                  </a:lnTo>
                  <a:lnTo>
                    <a:pt x="566" y="1448"/>
                  </a:lnTo>
                  <a:lnTo>
                    <a:pt x="566" y="1448"/>
                  </a:lnTo>
                  <a:lnTo>
                    <a:pt x="562" y="1438"/>
                  </a:lnTo>
                  <a:lnTo>
                    <a:pt x="562" y="1438"/>
                  </a:lnTo>
                  <a:lnTo>
                    <a:pt x="550" y="1428"/>
                  </a:lnTo>
                  <a:lnTo>
                    <a:pt x="540" y="1420"/>
                  </a:lnTo>
                  <a:lnTo>
                    <a:pt x="528" y="1412"/>
                  </a:lnTo>
                  <a:lnTo>
                    <a:pt x="516" y="1406"/>
                  </a:lnTo>
                  <a:lnTo>
                    <a:pt x="504" y="1400"/>
                  </a:lnTo>
                  <a:lnTo>
                    <a:pt x="492" y="1398"/>
                  </a:lnTo>
                  <a:lnTo>
                    <a:pt x="482" y="1396"/>
                  </a:lnTo>
                  <a:lnTo>
                    <a:pt x="470" y="1398"/>
                  </a:lnTo>
                  <a:lnTo>
                    <a:pt x="470" y="1398"/>
                  </a:lnTo>
                  <a:lnTo>
                    <a:pt x="448" y="1414"/>
                  </a:lnTo>
                  <a:lnTo>
                    <a:pt x="432" y="1428"/>
                  </a:lnTo>
                  <a:lnTo>
                    <a:pt x="420" y="1446"/>
                  </a:lnTo>
                  <a:lnTo>
                    <a:pt x="408" y="1468"/>
                  </a:lnTo>
                  <a:lnTo>
                    <a:pt x="408" y="1468"/>
                  </a:lnTo>
                  <a:lnTo>
                    <a:pt x="398" y="1480"/>
                  </a:lnTo>
                  <a:lnTo>
                    <a:pt x="388" y="1488"/>
                  </a:lnTo>
                  <a:lnTo>
                    <a:pt x="376" y="1494"/>
                  </a:lnTo>
                  <a:lnTo>
                    <a:pt x="362" y="1498"/>
                  </a:lnTo>
                  <a:lnTo>
                    <a:pt x="362" y="1498"/>
                  </a:lnTo>
                  <a:lnTo>
                    <a:pt x="332" y="1490"/>
                  </a:lnTo>
                  <a:lnTo>
                    <a:pt x="332" y="1490"/>
                  </a:lnTo>
                  <a:lnTo>
                    <a:pt x="322" y="1484"/>
                  </a:lnTo>
                  <a:lnTo>
                    <a:pt x="318" y="1482"/>
                  </a:lnTo>
                  <a:lnTo>
                    <a:pt x="312" y="1482"/>
                  </a:lnTo>
                  <a:lnTo>
                    <a:pt x="312" y="1482"/>
                  </a:lnTo>
                  <a:lnTo>
                    <a:pt x="308" y="1472"/>
                  </a:lnTo>
                  <a:lnTo>
                    <a:pt x="304" y="1464"/>
                  </a:lnTo>
                  <a:lnTo>
                    <a:pt x="298" y="1456"/>
                  </a:lnTo>
                  <a:lnTo>
                    <a:pt x="292" y="1452"/>
                  </a:lnTo>
                  <a:lnTo>
                    <a:pt x="278" y="1444"/>
                  </a:lnTo>
                  <a:lnTo>
                    <a:pt x="264" y="1438"/>
                  </a:lnTo>
                  <a:lnTo>
                    <a:pt x="264" y="1438"/>
                  </a:lnTo>
                  <a:lnTo>
                    <a:pt x="252" y="1420"/>
                  </a:lnTo>
                  <a:lnTo>
                    <a:pt x="252" y="1420"/>
                  </a:lnTo>
                  <a:lnTo>
                    <a:pt x="252" y="1378"/>
                  </a:lnTo>
                  <a:lnTo>
                    <a:pt x="252" y="1378"/>
                  </a:lnTo>
                  <a:lnTo>
                    <a:pt x="256" y="1372"/>
                  </a:lnTo>
                  <a:lnTo>
                    <a:pt x="256" y="1364"/>
                  </a:lnTo>
                  <a:lnTo>
                    <a:pt x="256" y="1350"/>
                  </a:lnTo>
                  <a:lnTo>
                    <a:pt x="256" y="1350"/>
                  </a:lnTo>
                  <a:lnTo>
                    <a:pt x="250" y="1340"/>
                  </a:lnTo>
                  <a:lnTo>
                    <a:pt x="244" y="1332"/>
                  </a:lnTo>
                  <a:lnTo>
                    <a:pt x="234" y="1326"/>
                  </a:lnTo>
                  <a:lnTo>
                    <a:pt x="226" y="1324"/>
                  </a:lnTo>
                  <a:lnTo>
                    <a:pt x="206" y="1322"/>
                  </a:lnTo>
                  <a:lnTo>
                    <a:pt x="198" y="1320"/>
                  </a:lnTo>
                  <a:lnTo>
                    <a:pt x="190" y="1318"/>
                  </a:lnTo>
                  <a:lnTo>
                    <a:pt x="190" y="1318"/>
                  </a:lnTo>
                  <a:lnTo>
                    <a:pt x="174" y="1302"/>
                  </a:lnTo>
                  <a:lnTo>
                    <a:pt x="174" y="1302"/>
                  </a:lnTo>
                  <a:lnTo>
                    <a:pt x="150" y="1258"/>
                  </a:lnTo>
                  <a:lnTo>
                    <a:pt x="150" y="1258"/>
                  </a:lnTo>
                  <a:lnTo>
                    <a:pt x="114" y="1250"/>
                  </a:lnTo>
                  <a:lnTo>
                    <a:pt x="114" y="1250"/>
                  </a:lnTo>
                  <a:lnTo>
                    <a:pt x="112" y="1242"/>
                  </a:lnTo>
                  <a:lnTo>
                    <a:pt x="112" y="1232"/>
                  </a:lnTo>
                  <a:lnTo>
                    <a:pt x="112" y="1224"/>
                  </a:lnTo>
                  <a:lnTo>
                    <a:pt x="114" y="1216"/>
                  </a:lnTo>
                  <a:lnTo>
                    <a:pt x="120" y="1200"/>
                  </a:lnTo>
                  <a:lnTo>
                    <a:pt x="126" y="1186"/>
                  </a:lnTo>
                  <a:lnTo>
                    <a:pt x="126" y="1186"/>
                  </a:lnTo>
                  <a:lnTo>
                    <a:pt x="124" y="1174"/>
                  </a:lnTo>
                  <a:lnTo>
                    <a:pt x="122" y="1162"/>
                  </a:lnTo>
                  <a:lnTo>
                    <a:pt x="118" y="1152"/>
                  </a:lnTo>
                  <a:lnTo>
                    <a:pt x="112" y="1144"/>
                  </a:lnTo>
                  <a:lnTo>
                    <a:pt x="98" y="1128"/>
                  </a:lnTo>
                  <a:lnTo>
                    <a:pt x="84" y="1114"/>
                  </a:lnTo>
                  <a:lnTo>
                    <a:pt x="84" y="1114"/>
                  </a:lnTo>
                  <a:lnTo>
                    <a:pt x="38" y="1092"/>
                  </a:lnTo>
                  <a:lnTo>
                    <a:pt x="38" y="1092"/>
                  </a:lnTo>
                  <a:lnTo>
                    <a:pt x="32" y="1084"/>
                  </a:lnTo>
                  <a:lnTo>
                    <a:pt x="32" y="1084"/>
                  </a:lnTo>
                  <a:lnTo>
                    <a:pt x="32" y="1062"/>
                  </a:lnTo>
                  <a:lnTo>
                    <a:pt x="32" y="1056"/>
                  </a:lnTo>
                  <a:lnTo>
                    <a:pt x="36" y="1054"/>
                  </a:lnTo>
                  <a:lnTo>
                    <a:pt x="40" y="1050"/>
                  </a:lnTo>
                  <a:lnTo>
                    <a:pt x="46" y="1048"/>
                  </a:lnTo>
                  <a:lnTo>
                    <a:pt x="66" y="1038"/>
                  </a:lnTo>
                  <a:lnTo>
                    <a:pt x="66" y="1038"/>
                  </a:lnTo>
                  <a:lnTo>
                    <a:pt x="78" y="1028"/>
                  </a:lnTo>
                  <a:lnTo>
                    <a:pt x="82" y="1024"/>
                  </a:lnTo>
                  <a:lnTo>
                    <a:pt x="86" y="1018"/>
                  </a:lnTo>
                  <a:lnTo>
                    <a:pt x="86" y="1018"/>
                  </a:lnTo>
                  <a:lnTo>
                    <a:pt x="86" y="920"/>
                  </a:lnTo>
                  <a:lnTo>
                    <a:pt x="86" y="920"/>
                  </a:lnTo>
                  <a:lnTo>
                    <a:pt x="82" y="904"/>
                  </a:lnTo>
                  <a:lnTo>
                    <a:pt x="76" y="894"/>
                  </a:lnTo>
                  <a:lnTo>
                    <a:pt x="68" y="888"/>
                  </a:lnTo>
                  <a:lnTo>
                    <a:pt x="60" y="886"/>
                  </a:lnTo>
                  <a:lnTo>
                    <a:pt x="50" y="884"/>
                  </a:lnTo>
                  <a:lnTo>
                    <a:pt x="40" y="884"/>
                  </a:lnTo>
                  <a:lnTo>
                    <a:pt x="20" y="884"/>
                  </a:lnTo>
                  <a:lnTo>
                    <a:pt x="20" y="884"/>
                  </a:lnTo>
                  <a:lnTo>
                    <a:pt x="14" y="888"/>
                  </a:lnTo>
                  <a:lnTo>
                    <a:pt x="10" y="894"/>
                  </a:lnTo>
                  <a:lnTo>
                    <a:pt x="10" y="894"/>
                  </a:lnTo>
                  <a:lnTo>
                    <a:pt x="8" y="894"/>
                  </a:lnTo>
                  <a:lnTo>
                    <a:pt x="8" y="898"/>
                  </a:lnTo>
                  <a:lnTo>
                    <a:pt x="8" y="898"/>
                  </a:lnTo>
                  <a:lnTo>
                    <a:pt x="2" y="882"/>
                  </a:lnTo>
                  <a:lnTo>
                    <a:pt x="0" y="872"/>
                  </a:lnTo>
                  <a:lnTo>
                    <a:pt x="0" y="864"/>
                  </a:lnTo>
                  <a:lnTo>
                    <a:pt x="2" y="856"/>
                  </a:lnTo>
                  <a:lnTo>
                    <a:pt x="2" y="856"/>
                  </a:lnTo>
                  <a:lnTo>
                    <a:pt x="26" y="844"/>
                  </a:lnTo>
                  <a:lnTo>
                    <a:pt x="26" y="844"/>
                  </a:lnTo>
                  <a:lnTo>
                    <a:pt x="26" y="820"/>
                  </a:lnTo>
                  <a:lnTo>
                    <a:pt x="26" y="820"/>
                  </a:lnTo>
                  <a:lnTo>
                    <a:pt x="18" y="808"/>
                  </a:lnTo>
                  <a:lnTo>
                    <a:pt x="12" y="802"/>
                  </a:lnTo>
                  <a:lnTo>
                    <a:pt x="8" y="798"/>
                  </a:lnTo>
                  <a:lnTo>
                    <a:pt x="8" y="796"/>
                  </a:lnTo>
                  <a:lnTo>
                    <a:pt x="16" y="792"/>
                  </a:lnTo>
                  <a:lnTo>
                    <a:pt x="26" y="786"/>
                  </a:lnTo>
                  <a:lnTo>
                    <a:pt x="40" y="778"/>
                  </a:lnTo>
                  <a:lnTo>
                    <a:pt x="40" y="778"/>
                  </a:lnTo>
                  <a:lnTo>
                    <a:pt x="64" y="742"/>
                  </a:lnTo>
                  <a:lnTo>
                    <a:pt x="64" y="742"/>
                  </a:lnTo>
                  <a:lnTo>
                    <a:pt x="106" y="726"/>
                  </a:lnTo>
                  <a:lnTo>
                    <a:pt x="106" y="726"/>
                  </a:lnTo>
                  <a:lnTo>
                    <a:pt x="136" y="724"/>
                  </a:lnTo>
                  <a:lnTo>
                    <a:pt x="160" y="722"/>
                  </a:lnTo>
                  <a:lnTo>
                    <a:pt x="186" y="716"/>
                  </a:lnTo>
                  <a:lnTo>
                    <a:pt x="214" y="704"/>
                  </a:lnTo>
                  <a:lnTo>
                    <a:pt x="214" y="704"/>
                  </a:lnTo>
                  <a:lnTo>
                    <a:pt x="232" y="704"/>
                  </a:lnTo>
                  <a:lnTo>
                    <a:pt x="232" y="704"/>
                  </a:lnTo>
                  <a:lnTo>
                    <a:pt x="232" y="716"/>
                  </a:lnTo>
                  <a:lnTo>
                    <a:pt x="236" y="732"/>
                  </a:lnTo>
                  <a:lnTo>
                    <a:pt x="240" y="738"/>
                  </a:lnTo>
                  <a:lnTo>
                    <a:pt x="246" y="746"/>
                  </a:lnTo>
                  <a:lnTo>
                    <a:pt x="254" y="752"/>
                  </a:lnTo>
                  <a:lnTo>
                    <a:pt x="262" y="756"/>
                  </a:lnTo>
                  <a:lnTo>
                    <a:pt x="262" y="756"/>
                  </a:lnTo>
                  <a:lnTo>
                    <a:pt x="274" y="756"/>
                  </a:lnTo>
                  <a:lnTo>
                    <a:pt x="284" y="754"/>
                  </a:lnTo>
                  <a:lnTo>
                    <a:pt x="296" y="752"/>
                  </a:lnTo>
                  <a:lnTo>
                    <a:pt x="308" y="746"/>
                  </a:lnTo>
                  <a:lnTo>
                    <a:pt x="308" y="746"/>
                  </a:lnTo>
                  <a:lnTo>
                    <a:pt x="338" y="706"/>
                  </a:lnTo>
                  <a:lnTo>
                    <a:pt x="338" y="706"/>
                  </a:lnTo>
                  <a:lnTo>
                    <a:pt x="362" y="708"/>
                  </a:lnTo>
                  <a:lnTo>
                    <a:pt x="374" y="708"/>
                  </a:lnTo>
                  <a:lnTo>
                    <a:pt x="388" y="706"/>
                  </a:lnTo>
                  <a:lnTo>
                    <a:pt x="388" y="706"/>
                  </a:lnTo>
                  <a:lnTo>
                    <a:pt x="402" y="694"/>
                  </a:lnTo>
                  <a:lnTo>
                    <a:pt x="418" y="684"/>
                  </a:lnTo>
                  <a:lnTo>
                    <a:pt x="418" y="684"/>
                  </a:lnTo>
                  <a:lnTo>
                    <a:pt x="436" y="682"/>
                  </a:lnTo>
                  <a:lnTo>
                    <a:pt x="436" y="682"/>
                  </a:lnTo>
                  <a:lnTo>
                    <a:pt x="458" y="690"/>
                  </a:lnTo>
                  <a:lnTo>
                    <a:pt x="472" y="694"/>
                  </a:lnTo>
                  <a:lnTo>
                    <a:pt x="488" y="696"/>
                  </a:lnTo>
                  <a:lnTo>
                    <a:pt x="488" y="696"/>
                  </a:lnTo>
                  <a:lnTo>
                    <a:pt x="498" y="692"/>
                  </a:lnTo>
                  <a:lnTo>
                    <a:pt x="510" y="688"/>
                  </a:lnTo>
                  <a:lnTo>
                    <a:pt x="536" y="686"/>
                  </a:lnTo>
                  <a:lnTo>
                    <a:pt x="562" y="682"/>
                  </a:lnTo>
                  <a:lnTo>
                    <a:pt x="576" y="678"/>
                  </a:lnTo>
                  <a:lnTo>
                    <a:pt x="588" y="674"/>
                  </a:lnTo>
                  <a:lnTo>
                    <a:pt x="588" y="674"/>
                  </a:lnTo>
                  <a:lnTo>
                    <a:pt x="628" y="650"/>
                  </a:lnTo>
                  <a:lnTo>
                    <a:pt x="628" y="650"/>
                  </a:lnTo>
                  <a:lnTo>
                    <a:pt x="638" y="620"/>
                  </a:lnTo>
                  <a:lnTo>
                    <a:pt x="638" y="620"/>
                  </a:lnTo>
                  <a:lnTo>
                    <a:pt x="648" y="616"/>
                  </a:lnTo>
                  <a:lnTo>
                    <a:pt x="656" y="608"/>
                  </a:lnTo>
                  <a:lnTo>
                    <a:pt x="662" y="600"/>
                  </a:lnTo>
                  <a:lnTo>
                    <a:pt x="668" y="590"/>
                  </a:lnTo>
                  <a:lnTo>
                    <a:pt x="676" y="568"/>
                  </a:lnTo>
                  <a:lnTo>
                    <a:pt x="682" y="550"/>
                  </a:lnTo>
                  <a:lnTo>
                    <a:pt x="682" y="550"/>
                  </a:lnTo>
                  <a:lnTo>
                    <a:pt x="700" y="542"/>
                  </a:lnTo>
                  <a:lnTo>
                    <a:pt x="708" y="536"/>
                  </a:lnTo>
                  <a:lnTo>
                    <a:pt x="716" y="528"/>
                  </a:lnTo>
                  <a:lnTo>
                    <a:pt x="716" y="528"/>
                  </a:lnTo>
                  <a:lnTo>
                    <a:pt x="730" y="496"/>
                  </a:lnTo>
                  <a:lnTo>
                    <a:pt x="730" y="496"/>
                  </a:lnTo>
                  <a:lnTo>
                    <a:pt x="732" y="438"/>
                  </a:lnTo>
                  <a:lnTo>
                    <a:pt x="732" y="438"/>
                  </a:lnTo>
                  <a:lnTo>
                    <a:pt x="726" y="414"/>
                  </a:lnTo>
                  <a:lnTo>
                    <a:pt x="726" y="414"/>
                  </a:lnTo>
                  <a:lnTo>
                    <a:pt x="728" y="392"/>
                  </a:lnTo>
                  <a:lnTo>
                    <a:pt x="732" y="370"/>
                  </a:lnTo>
                  <a:lnTo>
                    <a:pt x="732" y="358"/>
                  </a:lnTo>
                  <a:lnTo>
                    <a:pt x="732" y="350"/>
                  </a:lnTo>
                  <a:lnTo>
                    <a:pt x="730" y="342"/>
                  </a:lnTo>
                  <a:lnTo>
                    <a:pt x="726" y="334"/>
                  </a:lnTo>
                  <a:lnTo>
                    <a:pt x="726" y="334"/>
                  </a:lnTo>
                  <a:lnTo>
                    <a:pt x="722" y="324"/>
                  </a:lnTo>
                  <a:lnTo>
                    <a:pt x="722" y="324"/>
                  </a:lnTo>
                  <a:lnTo>
                    <a:pt x="772" y="326"/>
                  </a:lnTo>
                  <a:lnTo>
                    <a:pt x="798" y="328"/>
                  </a:lnTo>
                  <a:lnTo>
                    <a:pt x="824" y="332"/>
                  </a:lnTo>
                  <a:lnTo>
                    <a:pt x="824" y="332"/>
                  </a:lnTo>
                  <a:lnTo>
                    <a:pt x="834" y="334"/>
                  </a:lnTo>
                  <a:lnTo>
                    <a:pt x="842" y="338"/>
                  </a:lnTo>
                  <a:lnTo>
                    <a:pt x="860" y="340"/>
                  </a:lnTo>
                  <a:lnTo>
                    <a:pt x="882" y="344"/>
                  </a:lnTo>
                  <a:lnTo>
                    <a:pt x="892" y="350"/>
                  </a:lnTo>
                  <a:lnTo>
                    <a:pt x="904" y="356"/>
                  </a:lnTo>
                  <a:lnTo>
                    <a:pt x="904" y="356"/>
                  </a:lnTo>
                  <a:lnTo>
                    <a:pt x="918" y="356"/>
                  </a:lnTo>
                  <a:lnTo>
                    <a:pt x="918" y="356"/>
                  </a:lnTo>
                  <a:lnTo>
                    <a:pt x="932" y="342"/>
                  </a:lnTo>
                  <a:lnTo>
                    <a:pt x="932" y="342"/>
                  </a:lnTo>
                  <a:lnTo>
                    <a:pt x="932" y="328"/>
                  </a:lnTo>
                  <a:lnTo>
                    <a:pt x="932" y="328"/>
                  </a:lnTo>
                  <a:lnTo>
                    <a:pt x="928" y="314"/>
                  </a:lnTo>
                  <a:lnTo>
                    <a:pt x="926" y="302"/>
                  </a:lnTo>
                  <a:lnTo>
                    <a:pt x="930" y="290"/>
                  </a:lnTo>
                  <a:lnTo>
                    <a:pt x="934" y="280"/>
                  </a:lnTo>
                  <a:lnTo>
                    <a:pt x="934" y="280"/>
                  </a:lnTo>
                  <a:lnTo>
                    <a:pt x="972" y="234"/>
                  </a:lnTo>
                  <a:lnTo>
                    <a:pt x="972" y="234"/>
                  </a:lnTo>
                  <a:lnTo>
                    <a:pt x="978" y="214"/>
                  </a:lnTo>
                  <a:lnTo>
                    <a:pt x="984" y="200"/>
                  </a:lnTo>
                  <a:lnTo>
                    <a:pt x="994" y="186"/>
                  </a:lnTo>
                  <a:lnTo>
                    <a:pt x="1008" y="172"/>
                  </a:lnTo>
                  <a:lnTo>
                    <a:pt x="1008" y="172"/>
                  </a:lnTo>
                  <a:lnTo>
                    <a:pt x="1012" y="160"/>
                  </a:lnTo>
                  <a:lnTo>
                    <a:pt x="1016" y="154"/>
                  </a:lnTo>
                  <a:lnTo>
                    <a:pt x="1018" y="152"/>
                  </a:lnTo>
                  <a:lnTo>
                    <a:pt x="1022" y="150"/>
                  </a:lnTo>
                  <a:lnTo>
                    <a:pt x="1034" y="150"/>
                  </a:lnTo>
                  <a:lnTo>
                    <a:pt x="1034" y="150"/>
                  </a:lnTo>
                  <a:lnTo>
                    <a:pt x="1092" y="186"/>
                  </a:lnTo>
                  <a:lnTo>
                    <a:pt x="1092" y="186"/>
                  </a:lnTo>
                  <a:lnTo>
                    <a:pt x="1104" y="188"/>
                  </a:lnTo>
                  <a:lnTo>
                    <a:pt x="1118" y="190"/>
                  </a:lnTo>
                  <a:lnTo>
                    <a:pt x="1134" y="194"/>
                  </a:lnTo>
                  <a:lnTo>
                    <a:pt x="1142" y="198"/>
                  </a:lnTo>
                  <a:lnTo>
                    <a:pt x="1150" y="204"/>
                  </a:lnTo>
                  <a:lnTo>
                    <a:pt x="1150" y="204"/>
                  </a:lnTo>
                  <a:lnTo>
                    <a:pt x="1172" y="204"/>
                  </a:lnTo>
                  <a:lnTo>
                    <a:pt x="1184" y="204"/>
                  </a:lnTo>
                  <a:lnTo>
                    <a:pt x="1196" y="202"/>
                  </a:lnTo>
                  <a:lnTo>
                    <a:pt x="1208" y="198"/>
                  </a:lnTo>
                  <a:lnTo>
                    <a:pt x="1218" y="194"/>
                  </a:lnTo>
                  <a:lnTo>
                    <a:pt x="1226" y="186"/>
                  </a:lnTo>
                  <a:lnTo>
                    <a:pt x="1232" y="174"/>
                  </a:lnTo>
                  <a:lnTo>
                    <a:pt x="1232" y="174"/>
                  </a:lnTo>
                  <a:lnTo>
                    <a:pt x="1226" y="106"/>
                  </a:lnTo>
                  <a:lnTo>
                    <a:pt x="1226" y="106"/>
                  </a:lnTo>
                  <a:lnTo>
                    <a:pt x="1236" y="88"/>
                  </a:lnTo>
                  <a:lnTo>
                    <a:pt x="1246" y="76"/>
                  </a:lnTo>
                  <a:lnTo>
                    <a:pt x="1258" y="68"/>
                  </a:lnTo>
                  <a:lnTo>
                    <a:pt x="1270" y="62"/>
                  </a:lnTo>
                  <a:lnTo>
                    <a:pt x="1284" y="58"/>
                  </a:lnTo>
                  <a:lnTo>
                    <a:pt x="1298" y="56"/>
                  </a:lnTo>
                  <a:lnTo>
                    <a:pt x="1336" y="52"/>
                  </a:lnTo>
                  <a:lnTo>
                    <a:pt x="1336" y="52"/>
                  </a:lnTo>
                  <a:lnTo>
                    <a:pt x="1340" y="50"/>
                  </a:lnTo>
                  <a:lnTo>
                    <a:pt x="1344" y="46"/>
                  </a:lnTo>
                  <a:lnTo>
                    <a:pt x="1352" y="36"/>
                  </a:lnTo>
                  <a:lnTo>
                    <a:pt x="1360" y="14"/>
                  </a:lnTo>
                  <a:lnTo>
                    <a:pt x="1360" y="14"/>
                  </a:lnTo>
                  <a:lnTo>
                    <a:pt x="1374" y="0"/>
                  </a:lnTo>
                  <a:lnTo>
                    <a:pt x="1374" y="0"/>
                  </a:lnTo>
                  <a:lnTo>
                    <a:pt x="1418" y="0"/>
                  </a:lnTo>
                  <a:lnTo>
                    <a:pt x="1418" y="0"/>
                  </a:lnTo>
                  <a:lnTo>
                    <a:pt x="1420" y="2"/>
                  </a:lnTo>
                  <a:lnTo>
                    <a:pt x="1424" y="8"/>
                  </a:lnTo>
                  <a:lnTo>
                    <a:pt x="1426" y="22"/>
                  </a:lnTo>
                  <a:lnTo>
                    <a:pt x="1430" y="40"/>
                  </a:lnTo>
                  <a:lnTo>
                    <a:pt x="1436" y="58"/>
                  </a:lnTo>
                  <a:lnTo>
                    <a:pt x="1436" y="58"/>
                  </a:lnTo>
                  <a:lnTo>
                    <a:pt x="1480" y="124"/>
                  </a:lnTo>
                  <a:lnTo>
                    <a:pt x="1480" y="124"/>
                  </a:lnTo>
                  <a:lnTo>
                    <a:pt x="1504" y="134"/>
                  </a:lnTo>
                  <a:lnTo>
                    <a:pt x="1538" y="144"/>
                  </a:lnTo>
                  <a:lnTo>
                    <a:pt x="1538" y="144"/>
                  </a:lnTo>
                  <a:lnTo>
                    <a:pt x="1568" y="164"/>
                  </a:lnTo>
                  <a:lnTo>
                    <a:pt x="1568" y="164"/>
                  </a:lnTo>
                  <a:lnTo>
                    <a:pt x="1584" y="190"/>
                  </a:lnTo>
                  <a:lnTo>
                    <a:pt x="1584" y="190"/>
                  </a:lnTo>
                  <a:lnTo>
                    <a:pt x="1590" y="242"/>
                  </a:lnTo>
                  <a:lnTo>
                    <a:pt x="1590" y="242"/>
                  </a:lnTo>
                  <a:lnTo>
                    <a:pt x="1610" y="280"/>
                  </a:lnTo>
                  <a:lnTo>
                    <a:pt x="1610" y="280"/>
                  </a:lnTo>
                  <a:lnTo>
                    <a:pt x="1612" y="298"/>
                  </a:lnTo>
                  <a:lnTo>
                    <a:pt x="1612" y="320"/>
                  </a:lnTo>
                  <a:lnTo>
                    <a:pt x="1612" y="332"/>
                  </a:lnTo>
                  <a:lnTo>
                    <a:pt x="1610" y="342"/>
                  </a:lnTo>
                  <a:lnTo>
                    <a:pt x="1606" y="354"/>
                  </a:lnTo>
                  <a:lnTo>
                    <a:pt x="1602" y="364"/>
                  </a:lnTo>
                  <a:lnTo>
                    <a:pt x="1602" y="364"/>
                  </a:lnTo>
                  <a:lnTo>
                    <a:pt x="1580" y="378"/>
                  </a:lnTo>
                  <a:lnTo>
                    <a:pt x="1574" y="382"/>
                  </a:lnTo>
                  <a:lnTo>
                    <a:pt x="1572" y="386"/>
                  </a:lnTo>
                  <a:lnTo>
                    <a:pt x="1568" y="390"/>
                  </a:lnTo>
                  <a:lnTo>
                    <a:pt x="1568" y="396"/>
                  </a:lnTo>
                  <a:lnTo>
                    <a:pt x="1566" y="420"/>
                  </a:lnTo>
                  <a:lnTo>
                    <a:pt x="1566" y="420"/>
                  </a:lnTo>
                  <a:lnTo>
                    <a:pt x="1570" y="440"/>
                  </a:lnTo>
                  <a:lnTo>
                    <a:pt x="1574" y="452"/>
                  </a:lnTo>
                  <a:lnTo>
                    <a:pt x="1582" y="466"/>
                  </a:lnTo>
                  <a:lnTo>
                    <a:pt x="1582" y="466"/>
                  </a:lnTo>
                  <a:lnTo>
                    <a:pt x="1614" y="488"/>
                  </a:lnTo>
                  <a:lnTo>
                    <a:pt x="1614" y="488"/>
                  </a:lnTo>
                  <a:lnTo>
                    <a:pt x="1662" y="500"/>
                  </a:lnTo>
                  <a:lnTo>
                    <a:pt x="1662" y="500"/>
                  </a:lnTo>
                  <a:lnTo>
                    <a:pt x="1674" y="506"/>
                  </a:lnTo>
                  <a:lnTo>
                    <a:pt x="1688" y="512"/>
                  </a:lnTo>
                  <a:lnTo>
                    <a:pt x="1700" y="516"/>
                  </a:lnTo>
                  <a:lnTo>
                    <a:pt x="1714" y="520"/>
                  </a:lnTo>
                  <a:lnTo>
                    <a:pt x="1744" y="524"/>
                  </a:lnTo>
                  <a:lnTo>
                    <a:pt x="1778" y="526"/>
                  </a:lnTo>
                  <a:lnTo>
                    <a:pt x="1778" y="526"/>
                  </a:lnTo>
                  <a:lnTo>
                    <a:pt x="1790" y="534"/>
                  </a:lnTo>
                  <a:lnTo>
                    <a:pt x="1806" y="546"/>
                  </a:lnTo>
                  <a:lnTo>
                    <a:pt x="1836" y="576"/>
                  </a:lnTo>
                  <a:lnTo>
                    <a:pt x="1836" y="576"/>
                  </a:lnTo>
                  <a:lnTo>
                    <a:pt x="1882" y="614"/>
                  </a:lnTo>
                  <a:lnTo>
                    <a:pt x="1882" y="614"/>
                  </a:lnTo>
                  <a:lnTo>
                    <a:pt x="1894" y="616"/>
                  </a:lnTo>
                  <a:lnTo>
                    <a:pt x="1906" y="620"/>
                  </a:lnTo>
                  <a:lnTo>
                    <a:pt x="1918" y="628"/>
                  </a:lnTo>
                  <a:lnTo>
                    <a:pt x="1930" y="640"/>
                  </a:lnTo>
                  <a:lnTo>
                    <a:pt x="1930" y="640"/>
                  </a:lnTo>
                  <a:lnTo>
                    <a:pt x="1938" y="672"/>
                  </a:lnTo>
                  <a:lnTo>
                    <a:pt x="1944" y="690"/>
                  </a:lnTo>
                  <a:lnTo>
                    <a:pt x="1952" y="710"/>
                  </a:lnTo>
                  <a:lnTo>
                    <a:pt x="1952" y="710"/>
                  </a:lnTo>
                  <a:lnTo>
                    <a:pt x="1964" y="718"/>
                  </a:lnTo>
                  <a:lnTo>
                    <a:pt x="1968" y="724"/>
                  </a:lnTo>
                  <a:lnTo>
                    <a:pt x="1974" y="736"/>
                  </a:lnTo>
                  <a:lnTo>
                    <a:pt x="1974" y="736"/>
                  </a:lnTo>
                  <a:lnTo>
                    <a:pt x="1972" y="766"/>
                  </a:lnTo>
                  <a:lnTo>
                    <a:pt x="1972" y="766"/>
                  </a:lnTo>
                  <a:lnTo>
                    <a:pt x="1980" y="788"/>
                  </a:lnTo>
                  <a:lnTo>
                    <a:pt x="1980" y="788"/>
                  </a:lnTo>
                  <a:lnTo>
                    <a:pt x="1968" y="796"/>
                  </a:lnTo>
                  <a:lnTo>
                    <a:pt x="1960" y="804"/>
                  </a:lnTo>
                  <a:lnTo>
                    <a:pt x="1956" y="814"/>
                  </a:lnTo>
                  <a:lnTo>
                    <a:pt x="1952" y="832"/>
                  </a:lnTo>
                  <a:lnTo>
                    <a:pt x="1952" y="832"/>
                  </a:lnTo>
                  <a:lnTo>
                    <a:pt x="1952" y="864"/>
                  </a:lnTo>
                  <a:lnTo>
                    <a:pt x="1952" y="864"/>
                  </a:lnTo>
                  <a:lnTo>
                    <a:pt x="1958" y="902"/>
                  </a:lnTo>
                  <a:lnTo>
                    <a:pt x="1958" y="902"/>
                  </a:lnTo>
                  <a:lnTo>
                    <a:pt x="1952" y="906"/>
                  </a:lnTo>
                  <a:lnTo>
                    <a:pt x="1952" y="906"/>
                  </a:lnTo>
                  <a:lnTo>
                    <a:pt x="1878" y="908"/>
                  </a:lnTo>
                  <a:lnTo>
                    <a:pt x="1878" y="908"/>
                  </a:lnTo>
                  <a:lnTo>
                    <a:pt x="1844" y="914"/>
                  </a:lnTo>
                  <a:lnTo>
                    <a:pt x="1830" y="918"/>
                  </a:lnTo>
                  <a:lnTo>
                    <a:pt x="1818" y="922"/>
                  </a:lnTo>
                  <a:lnTo>
                    <a:pt x="1808" y="930"/>
                  </a:lnTo>
                  <a:lnTo>
                    <a:pt x="1798" y="940"/>
                  </a:lnTo>
                  <a:lnTo>
                    <a:pt x="1792" y="952"/>
                  </a:lnTo>
                  <a:lnTo>
                    <a:pt x="1786" y="968"/>
                  </a:lnTo>
                  <a:lnTo>
                    <a:pt x="1786" y="968"/>
                  </a:lnTo>
                  <a:lnTo>
                    <a:pt x="1774" y="980"/>
                  </a:lnTo>
                  <a:lnTo>
                    <a:pt x="1766" y="990"/>
                  </a:lnTo>
                  <a:lnTo>
                    <a:pt x="1760" y="1002"/>
                  </a:lnTo>
                  <a:lnTo>
                    <a:pt x="1754" y="1018"/>
                  </a:lnTo>
                  <a:lnTo>
                    <a:pt x="1754" y="1018"/>
                  </a:lnTo>
                  <a:lnTo>
                    <a:pt x="1744" y="1024"/>
                  </a:lnTo>
                  <a:lnTo>
                    <a:pt x="1732" y="1028"/>
                  </a:lnTo>
                  <a:lnTo>
                    <a:pt x="1710" y="1032"/>
                  </a:lnTo>
                  <a:lnTo>
                    <a:pt x="1690" y="1034"/>
                  </a:lnTo>
                  <a:lnTo>
                    <a:pt x="1672" y="1034"/>
                  </a:lnTo>
                  <a:lnTo>
                    <a:pt x="1672" y="1034"/>
                  </a:lnTo>
                  <a:lnTo>
                    <a:pt x="1670" y="1044"/>
                  </a:lnTo>
                  <a:lnTo>
                    <a:pt x="1664" y="1056"/>
                  </a:lnTo>
                  <a:lnTo>
                    <a:pt x="1656" y="1066"/>
                  </a:lnTo>
                  <a:lnTo>
                    <a:pt x="1648" y="1074"/>
                  </a:lnTo>
                  <a:lnTo>
                    <a:pt x="1648" y="1074"/>
                  </a:lnTo>
                  <a:lnTo>
                    <a:pt x="1644" y="1082"/>
                  </a:lnTo>
                  <a:lnTo>
                    <a:pt x="1644" y="1090"/>
                  </a:lnTo>
                  <a:lnTo>
                    <a:pt x="1646" y="1106"/>
                  </a:lnTo>
                  <a:lnTo>
                    <a:pt x="1652" y="1124"/>
                  </a:lnTo>
                  <a:lnTo>
                    <a:pt x="1658" y="1146"/>
                  </a:lnTo>
                  <a:lnTo>
                    <a:pt x="1658" y="1146"/>
                  </a:lnTo>
                  <a:lnTo>
                    <a:pt x="1660" y="1170"/>
                  </a:lnTo>
                  <a:lnTo>
                    <a:pt x="1660" y="1170"/>
                  </a:lnTo>
                  <a:lnTo>
                    <a:pt x="1604" y="1182"/>
                  </a:lnTo>
                  <a:lnTo>
                    <a:pt x="1604" y="1182"/>
                  </a:lnTo>
                  <a:lnTo>
                    <a:pt x="1592" y="1188"/>
                  </a:lnTo>
                  <a:lnTo>
                    <a:pt x="1580" y="1194"/>
                  </a:lnTo>
                  <a:lnTo>
                    <a:pt x="1560" y="1206"/>
                  </a:lnTo>
                  <a:lnTo>
                    <a:pt x="1560" y="1206"/>
                  </a:lnTo>
                  <a:lnTo>
                    <a:pt x="1526" y="1214"/>
                  </a:lnTo>
                  <a:lnTo>
                    <a:pt x="1490" y="1220"/>
                  </a:lnTo>
                  <a:lnTo>
                    <a:pt x="1458" y="1224"/>
                  </a:lnTo>
                  <a:lnTo>
                    <a:pt x="1426" y="1224"/>
                  </a:lnTo>
                  <a:lnTo>
                    <a:pt x="1426" y="1224"/>
                  </a:lnTo>
                  <a:lnTo>
                    <a:pt x="1408" y="1228"/>
                  </a:lnTo>
                  <a:lnTo>
                    <a:pt x="1396" y="1236"/>
                  </a:lnTo>
                  <a:lnTo>
                    <a:pt x="1396" y="1236"/>
                  </a:lnTo>
                  <a:lnTo>
                    <a:pt x="1396" y="1244"/>
                  </a:lnTo>
                  <a:lnTo>
                    <a:pt x="1398" y="1250"/>
                  </a:lnTo>
                  <a:lnTo>
                    <a:pt x="1402" y="1258"/>
                  </a:lnTo>
                  <a:lnTo>
                    <a:pt x="1412" y="1272"/>
                  </a:lnTo>
                  <a:lnTo>
                    <a:pt x="1412" y="1272"/>
                  </a:lnTo>
                  <a:lnTo>
                    <a:pt x="1406" y="1280"/>
                  </a:lnTo>
                  <a:lnTo>
                    <a:pt x="1404" y="1288"/>
                  </a:lnTo>
                  <a:lnTo>
                    <a:pt x="1404" y="1294"/>
                  </a:lnTo>
                  <a:lnTo>
                    <a:pt x="1408" y="1302"/>
                  </a:lnTo>
                  <a:lnTo>
                    <a:pt x="1412" y="1308"/>
                  </a:lnTo>
                  <a:lnTo>
                    <a:pt x="1420" y="1314"/>
                  </a:lnTo>
                  <a:lnTo>
                    <a:pt x="1438" y="1328"/>
                  </a:lnTo>
                  <a:lnTo>
                    <a:pt x="1438" y="1328"/>
                  </a:lnTo>
                  <a:lnTo>
                    <a:pt x="1460" y="1360"/>
                  </a:lnTo>
                  <a:lnTo>
                    <a:pt x="1460" y="1360"/>
                  </a:lnTo>
                  <a:lnTo>
                    <a:pt x="1468" y="1364"/>
                  </a:lnTo>
                  <a:lnTo>
                    <a:pt x="1474" y="1370"/>
                  </a:lnTo>
                  <a:lnTo>
                    <a:pt x="1476" y="1374"/>
                  </a:lnTo>
                  <a:lnTo>
                    <a:pt x="1476" y="1380"/>
                  </a:lnTo>
                  <a:lnTo>
                    <a:pt x="1476" y="1396"/>
                  </a:lnTo>
                  <a:lnTo>
                    <a:pt x="1476" y="1396"/>
                  </a:lnTo>
                  <a:lnTo>
                    <a:pt x="1464" y="1408"/>
                  </a:lnTo>
                  <a:lnTo>
                    <a:pt x="1464" y="1408"/>
                  </a:lnTo>
                  <a:lnTo>
                    <a:pt x="1444" y="1418"/>
                  </a:lnTo>
                  <a:lnTo>
                    <a:pt x="1438" y="1422"/>
                  </a:lnTo>
                  <a:lnTo>
                    <a:pt x="1434" y="1426"/>
                  </a:lnTo>
                  <a:lnTo>
                    <a:pt x="1430" y="1432"/>
                  </a:lnTo>
                  <a:lnTo>
                    <a:pt x="1428" y="1438"/>
                  </a:lnTo>
                  <a:lnTo>
                    <a:pt x="1428" y="1460"/>
                  </a:lnTo>
                  <a:lnTo>
                    <a:pt x="1428" y="1460"/>
                  </a:lnTo>
                  <a:lnTo>
                    <a:pt x="1434" y="1466"/>
                  </a:lnTo>
                  <a:lnTo>
                    <a:pt x="1442" y="1476"/>
                  </a:lnTo>
                  <a:lnTo>
                    <a:pt x="1448" y="1488"/>
                  </a:lnTo>
                  <a:lnTo>
                    <a:pt x="1450" y="1496"/>
                  </a:lnTo>
                  <a:lnTo>
                    <a:pt x="1450" y="1504"/>
                  </a:lnTo>
                  <a:lnTo>
                    <a:pt x="1450" y="1504"/>
                  </a:lnTo>
                  <a:lnTo>
                    <a:pt x="1440" y="1510"/>
                  </a:lnTo>
                  <a:lnTo>
                    <a:pt x="1430" y="1512"/>
                  </a:lnTo>
                  <a:lnTo>
                    <a:pt x="1416" y="1516"/>
                  </a:lnTo>
                  <a:lnTo>
                    <a:pt x="1416" y="1516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77" name="未知"/>
            <p:cNvSpPr>
              <a:spLocks/>
            </p:cNvSpPr>
            <p:nvPr/>
          </p:nvSpPr>
          <p:spPr bwMode="auto">
            <a:xfrm>
              <a:off x="2121068" y="680122"/>
              <a:ext cx="1611410" cy="1285131"/>
            </a:xfrm>
            <a:custGeom>
              <a:avLst/>
              <a:gdLst>
                <a:gd name="T0" fmla="*/ 538 w 2182"/>
                <a:gd name="T1" fmla="*/ 1714 h 1868"/>
                <a:gd name="T2" fmla="*/ 526 w 2182"/>
                <a:gd name="T3" fmla="*/ 1632 h 1868"/>
                <a:gd name="T4" fmla="*/ 362 w 2182"/>
                <a:gd name="T5" fmla="*/ 1664 h 1868"/>
                <a:gd name="T6" fmla="*/ 286 w 2182"/>
                <a:gd name="T7" fmla="*/ 1690 h 1868"/>
                <a:gd name="T8" fmla="*/ 168 w 2182"/>
                <a:gd name="T9" fmla="*/ 1576 h 1868"/>
                <a:gd name="T10" fmla="*/ 220 w 2182"/>
                <a:gd name="T11" fmla="*/ 1468 h 1868"/>
                <a:gd name="T12" fmla="*/ 66 w 2182"/>
                <a:gd name="T13" fmla="*/ 1450 h 1868"/>
                <a:gd name="T14" fmla="*/ 20 w 2182"/>
                <a:gd name="T15" fmla="*/ 1304 h 1868"/>
                <a:gd name="T16" fmla="*/ 400 w 2182"/>
                <a:gd name="T17" fmla="*/ 1336 h 1868"/>
                <a:gd name="T18" fmla="*/ 594 w 2182"/>
                <a:gd name="T19" fmla="*/ 1418 h 1868"/>
                <a:gd name="T20" fmla="*/ 724 w 2182"/>
                <a:gd name="T21" fmla="*/ 1354 h 1868"/>
                <a:gd name="T22" fmla="*/ 828 w 2182"/>
                <a:gd name="T23" fmla="*/ 1308 h 1868"/>
                <a:gd name="T24" fmla="*/ 1006 w 2182"/>
                <a:gd name="T25" fmla="*/ 1300 h 1868"/>
                <a:gd name="T26" fmla="*/ 1170 w 2182"/>
                <a:gd name="T27" fmla="*/ 1170 h 1868"/>
                <a:gd name="T28" fmla="*/ 1178 w 2182"/>
                <a:gd name="T29" fmla="*/ 1032 h 1868"/>
                <a:gd name="T30" fmla="*/ 1260 w 2182"/>
                <a:gd name="T31" fmla="*/ 1006 h 1868"/>
                <a:gd name="T32" fmla="*/ 1410 w 2182"/>
                <a:gd name="T33" fmla="*/ 924 h 1868"/>
                <a:gd name="T34" fmla="*/ 1524 w 2182"/>
                <a:gd name="T35" fmla="*/ 876 h 1868"/>
                <a:gd name="T36" fmla="*/ 1632 w 2182"/>
                <a:gd name="T37" fmla="*/ 776 h 1868"/>
                <a:gd name="T38" fmla="*/ 1798 w 2182"/>
                <a:gd name="T39" fmla="*/ 740 h 1868"/>
                <a:gd name="T40" fmla="*/ 1712 w 2182"/>
                <a:gd name="T41" fmla="*/ 614 h 1868"/>
                <a:gd name="T42" fmla="*/ 1586 w 2182"/>
                <a:gd name="T43" fmla="*/ 646 h 1868"/>
                <a:gd name="T44" fmla="*/ 1456 w 2182"/>
                <a:gd name="T45" fmla="*/ 650 h 1868"/>
                <a:gd name="T46" fmla="*/ 1480 w 2182"/>
                <a:gd name="T47" fmla="*/ 512 h 1868"/>
                <a:gd name="T48" fmla="*/ 1602 w 2182"/>
                <a:gd name="T49" fmla="*/ 428 h 1868"/>
                <a:gd name="T50" fmla="*/ 1698 w 2182"/>
                <a:gd name="T51" fmla="*/ 250 h 1868"/>
                <a:gd name="T52" fmla="*/ 1738 w 2182"/>
                <a:gd name="T53" fmla="*/ 108 h 1868"/>
                <a:gd name="T54" fmla="*/ 1736 w 2182"/>
                <a:gd name="T55" fmla="*/ 20 h 1868"/>
                <a:gd name="T56" fmla="*/ 1800 w 2182"/>
                <a:gd name="T57" fmla="*/ 42 h 1868"/>
                <a:gd name="T58" fmla="*/ 1848 w 2182"/>
                <a:gd name="T59" fmla="*/ 80 h 1868"/>
                <a:gd name="T60" fmla="*/ 1926 w 2182"/>
                <a:gd name="T61" fmla="*/ 178 h 1868"/>
                <a:gd name="T62" fmla="*/ 2052 w 2182"/>
                <a:gd name="T63" fmla="*/ 152 h 1868"/>
                <a:gd name="T64" fmla="*/ 2136 w 2182"/>
                <a:gd name="T65" fmla="*/ 246 h 1868"/>
                <a:gd name="T66" fmla="*/ 2136 w 2182"/>
                <a:gd name="T67" fmla="*/ 440 h 1868"/>
                <a:gd name="T68" fmla="*/ 2118 w 2182"/>
                <a:gd name="T69" fmla="*/ 476 h 1868"/>
                <a:gd name="T70" fmla="*/ 2064 w 2182"/>
                <a:gd name="T71" fmla="*/ 514 h 1868"/>
                <a:gd name="T72" fmla="*/ 2020 w 2182"/>
                <a:gd name="T73" fmla="*/ 674 h 1868"/>
                <a:gd name="T74" fmla="*/ 2068 w 2182"/>
                <a:gd name="T75" fmla="*/ 716 h 1868"/>
                <a:gd name="T76" fmla="*/ 2026 w 2182"/>
                <a:gd name="T77" fmla="*/ 796 h 1868"/>
                <a:gd name="T78" fmla="*/ 1968 w 2182"/>
                <a:gd name="T79" fmla="*/ 828 h 1868"/>
                <a:gd name="T80" fmla="*/ 2054 w 2182"/>
                <a:gd name="T81" fmla="*/ 986 h 1868"/>
                <a:gd name="T82" fmla="*/ 2154 w 2182"/>
                <a:gd name="T83" fmla="*/ 1034 h 1868"/>
                <a:gd name="T84" fmla="*/ 2156 w 2182"/>
                <a:gd name="T85" fmla="*/ 1130 h 1868"/>
                <a:gd name="T86" fmla="*/ 2054 w 2182"/>
                <a:gd name="T87" fmla="*/ 1170 h 1868"/>
                <a:gd name="T88" fmla="*/ 1920 w 2182"/>
                <a:gd name="T89" fmla="*/ 1272 h 1868"/>
                <a:gd name="T90" fmla="*/ 1850 w 2182"/>
                <a:gd name="T91" fmla="*/ 1260 h 1868"/>
                <a:gd name="T92" fmla="*/ 1786 w 2182"/>
                <a:gd name="T93" fmla="*/ 1338 h 1868"/>
                <a:gd name="T94" fmla="*/ 1696 w 2182"/>
                <a:gd name="T95" fmla="*/ 1206 h 1868"/>
                <a:gd name="T96" fmla="*/ 1524 w 2182"/>
                <a:gd name="T97" fmla="*/ 1346 h 1868"/>
                <a:gd name="T98" fmla="*/ 1494 w 2182"/>
                <a:gd name="T99" fmla="*/ 1334 h 1868"/>
                <a:gd name="T100" fmla="*/ 1424 w 2182"/>
                <a:gd name="T101" fmla="*/ 1310 h 1868"/>
                <a:gd name="T102" fmla="*/ 1392 w 2182"/>
                <a:gd name="T103" fmla="*/ 1430 h 1868"/>
                <a:gd name="T104" fmla="*/ 1288 w 2182"/>
                <a:gd name="T105" fmla="*/ 1520 h 1868"/>
                <a:gd name="T106" fmla="*/ 1140 w 2182"/>
                <a:gd name="T107" fmla="*/ 1612 h 1868"/>
                <a:gd name="T108" fmla="*/ 1076 w 2182"/>
                <a:gd name="T109" fmla="*/ 1650 h 1868"/>
                <a:gd name="T110" fmla="*/ 988 w 2182"/>
                <a:gd name="T111" fmla="*/ 1790 h 1868"/>
                <a:gd name="T112" fmla="*/ 838 w 2182"/>
                <a:gd name="T113" fmla="*/ 1810 h 1868"/>
                <a:gd name="T114" fmla="*/ 814 w 2182"/>
                <a:gd name="T115" fmla="*/ 1666 h 1868"/>
                <a:gd name="T116" fmla="*/ 732 w 2182"/>
                <a:gd name="T117" fmla="*/ 1678 h 1868"/>
                <a:gd name="T118" fmla="*/ 662 w 2182"/>
                <a:gd name="T119" fmla="*/ 1816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82" h="1868">
                  <a:moveTo>
                    <a:pt x="556" y="1868"/>
                  </a:moveTo>
                  <a:lnTo>
                    <a:pt x="556" y="1868"/>
                  </a:lnTo>
                  <a:lnTo>
                    <a:pt x="518" y="1832"/>
                  </a:lnTo>
                  <a:lnTo>
                    <a:pt x="518" y="1832"/>
                  </a:lnTo>
                  <a:lnTo>
                    <a:pt x="498" y="1792"/>
                  </a:lnTo>
                  <a:lnTo>
                    <a:pt x="498" y="1792"/>
                  </a:lnTo>
                  <a:lnTo>
                    <a:pt x="500" y="1764"/>
                  </a:lnTo>
                  <a:lnTo>
                    <a:pt x="502" y="1754"/>
                  </a:lnTo>
                  <a:lnTo>
                    <a:pt x="506" y="1744"/>
                  </a:lnTo>
                  <a:lnTo>
                    <a:pt x="512" y="1736"/>
                  </a:lnTo>
                  <a:lnTo>
                    <a:pt x="518" y="1728"/>
                  </a:lnTo>
                  <a:lnTo>
                    <a:pt x="528" y="1720"/>
                  </a:lnTo>
                  <a:lnTo>
                    <a:pt x="538" y="1714"/>
                  </a:lnTo>
                  <a:lnTo>
                    <a:pt x="538" y="1714"/>
                  </a:lnTo>
                  <a:lnTo>
                    <a:pt x="556" y="1698"/>
                  </a:lnTo>
                  <a:lnTo>
                    <a:pt x="556" y="1698"/>
                  </a:lnTo>
                  <a:lnTo>
                    <a:pt x="572" y="1674"/>
                  </a:lnTo>
                  <a:lnTo>
                    <a:pt x="572" y="1674"/>
                  </a:lnTo>
                  <a:lnTo>
                    <a:pt x="570" y="1658"/>
                  </a:lnTo>
                  <a:lnTo>
                    <a:pt x="570" y="1658"/>
                  </a:lnTo>
                  <a:lnTo>
                    <a:pt x="562" y="1646"/>
                  </a:lnTo>
                  <a:lnTo>
                    <a:pt x="556" y="1638"/>
                  </a:lnTo>
                  <a:lnTo>
                    <a:pt x="548" y="1634"/>
                  </a:lnTo>
                  <a:lnTo>
                    <a:pt x="542" y="1632"/>
                  </a:lnTo>
                  <a:lnTo>
                    <a:pt x="534" y="1630"/>
                  </a:lnTo>
                  <a:lnTo>
                    <a:pt x="526" y="1632"/>
                  </a:lnTo>
                  <a:lnTo>
                    <a:pt x="506" y="1638"/>
                  </a:lnTo>
                  <a:lnTo>
                    <a:pt x="506" y="1638"/>
                  </a:lnTo>
                  <a:lnTo>
                    <a:pt x="482" y="1658"/>
                  </a:lnTo>
                  <a:lnTo>
                    <a:pt x="482" y="1658"/>
                  </a:lnTo>
                  <a:lnTo>
                    <a:pt x="448" y="1674"/>
                  </a:lnTo>
                  <a:lnTo>
                    <a:pt x="448" y="1674"/>
                  </a:lnTo>
                  <a:lnTo>
                    <a:pt x="442" y="1668"/>
                  </a:lnTo>
                  <a:lnTo>
                    <a:pt x="436" y="1664"/>
                  </a:lnTo>
                  <a:lnTo>
                    <a:pt x="426" y="1658"/>
                  </a:lnTo>
                  <a:lnTo>
                    <a:pt x="426" y="1658"/>
                  </a:lnTo>
                  <a:lnTo>
                    <a:pt x="384" y="1658"/>
                  </a:lnTo>
                  <a:lnTo>
                    <a:pt x="370" y="1660"/>
                  </a:lnTo>
                  <a:lnTo>
                    <a:pt x="362" y="1664"/>
                  </a:lnTo>
                  <a:lnTo>
                    <a:pt x="356" y="1672"/>
                  </a:lnTo>
                  <a:lnTo>
                    <a:pt x="352" y="1682"/>
                  </a:lnTo>
                  <a:lnTo>
                    <a:pt x="350" y="1700"/>
                  </a:lnTo>
                  <a:lnTo>
                    <a:pt x="348" y="1722"/>
                  </a:lnTo>
                  <a:lnTo>
                    <a:pt x="348" y="1722"/>
                  </a:lnTo>
                  <a:lnTo>
                    <a:pt x="342" y="1726"/>
                  </a:lnTo>
                  <a:lnTo>
                    <a:pt x="336" y="1726"/>
                  </a:lnTo>
                  <a:lnTo>
                    <a:pt x="330" y="1726"/>
                  </a:lnTo>
                  <a:lnTo>
                    <a:pt x="324" y="1724"/>
                  </a:lnTo>
                  <a:lnTo>
                    <a:pt x="314" y="1718"/>
                  </a:lnTo>
                  <a:lnTo>
                    <a:pt x="306" y="1716"/>
                  </a:lnTo>
                  <a:lnTo>
                    <a:pt x="306" y="1716"/>
                  </a:lnTo>
                  <a:lnTo>
                    <a:pt x="286" y="1690"/>
                  </a:lnTo>
                  <a:lnTo>
                    <a:pt x="270" y="1674"/>
                  </a:lnTo>
                  <a:lnTo>
                    <a:pt x="270" y="1674"/>
                  </a:lnTo>
                  <a:lnTo>
                    <a:pt x="262" y="1654"/>
                  </a:lnTo>
                  <a:lnTo>
                    <a:pt x="252" y="1638"/>
                  </a:lnTo>
                  <a:lnTo>
                    <a:pt x="248" y="1632"/>
                  </a:lnTo>
                  <a:lnTo>
                    <a:pt x="242" y="1626"/>
                  </a:lnTo>
                  <a:lnTo>
                    <a:pt x="234" y="1624"/>
                  </a:lnTo>
                  <a:lnTo>
                    <a:pt x="226" y="1620"/>
                  </a:lnTo>
                  <a:lnTo>
                    <a:pt x="226" y="1620"/>
                  </a:lnTo>
                  <a:lnTo>
                    <a:pt x="190" y="1582"/>
                  </a:lnTo>
                  <a:lnTo>
                    <a:pt x="190" y="1582"/>
                  </a:lnTo>
                  <a:lnTo>
                    <a:pt x="168" y="1576"/>
                  </a:lnTo>
                  <a:lnTo>
                    <a:pt x="168" y="1576"/>
                  </a:lnTo>
                  <a:lnTo>
                    <a:pt x="170" y="1568"/>
                  </a:lnTo>
                  <a:lnTo>
                    <a:pt x="172" y="1560"/>
                  </a:lnTo>
                  <a:lnTo>
                    <a:pt x="178" y="1554"/>
                  </a:lnTo>
                  <a:lnTo>
                    <a:pt x="184" y="1548"/>
                  </a:lnTo>
                  <a:lnTo>
                    <a:pt x="198" y="1538"/>
                  </a:lnTo>
                  <a:lnTo>
                    <a:pt x="206" y="1532"/>
                  </a:lnTo>
                  <a:lnTo>
                    <a:pt x="212" y="1526"/>
                  </a:lnTo>
                  <a:lnTo>
                    <a:pt x="212" y="1526"/>
                  </a:lnTo>
                  <a:lnTo>
                    <a:pt x="226" y="1496"/>
                  </a:lnTo>
                  <a:lnTo>
                    <a:pt x="226" y="1496"/>
                  </a:lnTo>
                  <a:lnTo>
                    <a:pt x="226" y="1484"/>
                  </a:lnTo>
                  <a:lnTo>
                    <a:pt x="224" y="1474"/>
                  </a:lnTo>
                  <a:lnTo>
                    <a:pt x="220" y="1468"/>
                  </a:lnTo>
                  <a:lnTo>
                    <a:pt x="216" y="1464"/>
                  </a:lnTo>
                  <a:lnTo>
                    <a:pt x="216" y="1464"/>
                  </a:lnTo>
                  <a:lnTo>
                    <a:pt x="182" y="1464"/>
                  </a:lnTo>
                  <a:lnTo>
                    <a:pt x="150" y="1468"/>
                  </a:lnTo>
                  <a:lnTo>
                    <a:pt x="120" y="1474"/>
                  </a:lnTo>
                  <a:lnTo>
                    <a:pt x="92" y="1484"/>
                  </a:lnTo>
                  <a:lnTo>
                    <a:pt x="92" y="1484"/>
                  </a:lnTo>
                  <a:lnTo>
                    <a:pt x="84" y="1490"/>
                  </a:lnTo>
                  <a:lnTo>
                    <a:pt x="76" y="1492"/>
                  </a:lnTo>
                  <a:lnTo>
                    <a:pt x="70" y="1492"/>
                  </a:lnTo>
                  <a:lnTo>
                    <a:pt x="64" y="1492"/>
                  </a:lnTo>
                  <a:lnTo>
                    <a:pt x="64" y="1492"/>
                  </a:lnTo>
                  <a:lnTo>
                    <a:pt x="66" y="1450"/>
                  </a:lnTo>
                  <a:lnTo>
                    <a:pt x="66" y="1450"/>
                  </a:lnTo>
                  <a:lnTo>
                    <a:pt x="50" y="1428"/>
                  </a:lnTo>
                  <a:lnTo>
                    <a:pt x="50" y="1428"/>
                  </a:lnTo>
                  <a:lnTo>
                    <a:pt x="14" y="1398"/>
                  </a:lnTo>
                  <a:lnTo>
                    <a:pt x="14" y="1398"/>
                  </a:lnTo>
                  <a:lnTo>
                    <a:pt x="14" y="1386"/>
                  </a:lnTo>
                  <a:lnTo>
                    <a:pt x="18" y="1376"/>
                  </a:lnTo>
                  <a:lnTo>
                    <a:pt x="26" y="1358"/>
                  </a:lnTo>
                  <a:lnTo>
                    <a:pt x="26" y="1358"/>
                  </a:lnTo>
                  <a:lnTo>
                    <a:pt x="24" y="1328"/>
                  </a:lnTo>
                  <a:lnTo>
                    <a:pt x="24" y="1316"/>
                  </a:lnTo>
                  <a:lnTo>
                    <a:pt x="20" y="1304"/>
                  </a:lnTo>
                  <a:lnTo>
                    <a:pt x="20" y="1304"/>
                  </a:lnTo>
                  <a:lnTo>
                    <a:pt x="0" y="1278"/>
                  </a:lnTo>
                  <a:lnTo>
                    <a:pt x="0" y="1278"/>
                  </a:lnTo>
                  <a:lnTo>
                    <a:pt x="0" y="1244"/>
                  </a:lnTo>
                  <a:lnTo>
                    <a:pt x="0" y="1244"/>
                  </a:lnTo>
                  <a:lnTo>
                    <a:pt x="100" y="1268"/>
                  </a:lnTo>
                  <a:lnTo>
                    <a:pt x="100" y="1268"/>
                  </a:lnTo>
                  <a:lnTo>
                    <a:pt x="274" y="1270"/>
                  </a:lnTo>
                  <a:lnTo>
                    <a:pt x="274" y="1270"/>
                  </a:lnTo>
                  <a:lnTo>
                    <a:pt x="306" y="1278"/>
                  </a:lnTo>
                  <a:lnTo>
                    <a:pt x="326" y="1284"/>
                  </a:lnTo>
                  <a:lnTo>
                    <a:pt x="344" y="1290"/>
                  </a:lnTo>
                  <a:lnTo>
                    <a:pt x="344" y="1290"/>
                  </a:lnTo>
                  <a:lnTo>
                    <a:pt x="400" y="1336"/>
                  </a:lnTo>
                  <a:lnTo>
                    <a:pt x="400" y="1336"/>
                  </a:lnTo>
                  <a:lnTo>
                    <a:pt x="414" y="1342"/>
                  </a:lnTo>
                  <a:lnTo>
                    <a:pt x="414" y="1342"/>
                  </a:lnTo>
                  <a:lnTo>
                    <a:pt x="466" y="1350"/>
                  </a:lnTo>
                  <a:lnTo>
                    <a:pt x="466" y="1350"/>
                  </a:lnTo>
                  <a:lnTo>
                    <a:pt x="490" y="1366"/>
                  </a:lnTo>
                  <a:lnTo>
                    <a:pt x="490" y="1366"/>
                  </a:lnTo>
                  <a:lnTo>
                    <a:pt x="556" y="1388"/>
                  </a:lnTo>
                  <a:lnTo>
                    <a:pt x="556" y="1388"/>
                  </a:lnTo>
                  <a:lnTo>
                    <a:pt x="562" y="1392"/>
                  </a:lnTo>
                  <a:lnTo>
                    <a:pt x="568" y="1398"/>
                  </a:lnTo>
                  <a:lnTo>
                    <a:pt x="584" y="1412"/>
                  </a:lnTo>
                  <a:lnTo>
                    <a:pt x="594" y="1418"/>
                  </a:lnTo>
                  <a:lnTo>
                    <a:pt x="604" y="1420"/>
                  </a:lnTo>
                  <a:lnTo>
                    <a:pt x="614" y="1418"/>
                  </a:lnTo>
                  <a:lnTo>
                    <a:pt x="628" y="1412"/>
                  </a:lnTo>
                  <a:lnTo>
                    <a:pt x="628" y="1412"/>
                  </a:lnTo>
                  <a:lnTo>
                    <a:pt x="632" y="1406"/>
                  </a:lnTo>
                  <a:lnTo>
                    <a:pt x="638" y="1400"/>
                  </a:lnTo>
                  <a:lnTo>
                    <a:pt x="650" y="1392"/>
                  </a:lnTo>
                  <a:lnTo>
                    <a:pt x="666" y="1386"/>
                  </a:lnTo>
                  <a:lnTo>
                    <a:pt x="680" y="1380"/>
                  </a:lnTo>
                  <a:lnTo>
                    <a:pt x="680" y="1380"/>
                  </a:lnTo>
                  <a:lnTo>
                    <a:pt x="696" y="1368"/>
                  </a:lnTo>
                  <a:lnTo>
                    <a:pt x="708" y="1360"/>
                  </a:lnTo>
                  <a:lnTo>
                    <a:pt x="724" y="1354"/>
                  </a:lnTo>
                  <a:lnTo>
                    <a:pt x="746" y="1350"/>
                  </a:lnTo>
                  <a:lnTo>
                    <a:pt x="746" y="1350"/>
                  </a:lnTo>
                  <a:lnTo>
                    <a:pt x="746" y="1346"/>
                  </a:lnTo>
                  <a:lnTo>
                    <a:pt x="750" y="1344"/>
                  </a:lnTo>
                  <a:lnTo>
                    <a:pt x="758" y="1340"/>
                  </a:lnTo>
                  <a:lnTo>
                    <a:pt x="768" y="1336"/>
                  </a:lnTo>
                  <a:lnTo>
                    <a:pt x="778" y="1332"/>
                  </a:lnTo>
                  <a:lnTo>
                    <a:pt x="778" y="1332"/>
                  </a:lnTo>
                  <a:lnTo>
                    <a:pt x="784" y="1332"/>
                  </a:lnTo>
                  <a:lnTo>
                    <a:pt x="792" y="1328"/>
                  </a:lnTo>
                  <a:lnTo>
                    <a:pt x="806" y="1320"/>
                  </a:lnTo>
                  <a:lnTo>
                    <a:pt x="820" y="1310"/>
                  </a:lnTo>
                  <a:lnTo>
                    <a:pt x="828" y="1308"/>
                  </a:lnTo>
                  <a:lnTo>
                    <a:pt x="836" y="1306"/>
                  </a:lnTo>
                  <a:lnTo>
                    <a:pt x="836" y="1306"/>
                  </a:lnTo>
                  <a:lnTo>
                    <a:pt x="848" y="1300"/>
                  </a:lnTo>
                  <a:lnTo>
                    <a:pt x="862" y="1296"/>
                  </a:lnTo>
                  <a:lnTo>
                    <a:pt x="876" y="1296"/>
                  </a:lnTo>
                  <a:lnTo>
                    <a:pt x="894" y="1296"/>
                  </a:lnTo>
                  <a:lnTo>
                    <a:pt x="894" y="1296"/>
                  </a:lnTo>
                  <a:lnTo>
                    <a:pt x="918" y="1302"/>
                  </a:lnTo>
                  <a:lnTo>
                    <a:pt x="952" y="1306"/>
                  </a:lnTo>
                  <a:lnTo>
                    <a:pt x="970" y="1306"/>
                  </a:lnTo>
                  <a:lnTo>
                    <a:pt x="986" y="1306"/>
                  </a:lnTo>
                  <a:lnTo>
                    <a:pt x="1000" y="1302"/>
                  </a:lnTo>
                  <a:lnTo>
                    <a:pt x="1006" y="1300"/>
                  </a:lnTo>
                  <a:lnTo>
                    <a:pt x="1010" y="1296"/>
                  </a:lnTo>
                  <a:lnTo>
                    <a:pt x="1010" y="1296"/>
                  </a:lnTo>
                  <a:lnTo>
                    <a:pt x="1028" y="1294"/>
                  </a:lnTo>
                  <a:lnTo>
                    <a:pt x="1044" y="1286"/>
                  </a:lnTo>
                  <a:lnTo>
                    <a:pt x="1060" y="1278"/>
                  </a:lnTo>
                  <a:lnTo>
                    <a:pt x="1074" y="1266"/>
                  </a:lnTo>
                  <a:lnTo>
                    <a:pt x="1086" y="1254"/>
                  </a:lnTo>
                  <a:lnTo>
                    <a:pt x="1100" y="1240"/>
                  </a:lnTo>
                  <a:lnTo>
                    <a:pt x="1122" y="1212"/>
                  </a:lnTo>
                  <a:lnTo>
                    <a:pt x="1122" y="1212"/>
                  </a:lnTo>
                  <a:lnTo>
                    <a:pt x="1156" y="1182"/>
                  </a:lnTo>
                  <a:lnTo>
                    <a:pt x="1156" y="1182"/>
                  </a:lnTo>
                  <a:lnTo>
                    <a:pt x="1170" y="1170"/>
                  </a:lnTo>
                  <a:lnTo>
                    <a:pt x="1186" y="1158"/>
                  </a:lnTo>
                  <a:lnTo>
                    <a:pt x="1186" y="1158"/>
                  </a:lnTo>
                  <a:lnTo>
                    <a:pt x="1202" y="1150"/>
                  </a:lnTo>
                  <a:lnTo>
                    <a:pt x="1210" y="1146"/>
                  </a:lnTo>
                  <a:lnTo>
                    <a:pt x="1218" y="1138"/>
                  </a:lnTo>
                  <a:lnTo>
                    <a:pt x="1218" y="1138"/>
                  </a:lnTo>
                  <a:lnTo>
                    <a:pt x="1216" y="1112"/>
                  </a:lnTo>
                  <a:lnTo>
                    <a:pt x="1216" y="1112"/>
                  </a:lnTo>
                  <a:lnTo>
                    <a:pt x="1182" y="1080"/>
                  </a:lnTo>
                  <a:lnTo>
                    <a:pt x="1182" y="1080"/>
                  </a:lnTo>
                  <a:lnTo>
                    <a:pt x="1176" y="1058"/>
                  </a:lnTo>
                  <a:lnTo>
                    <a:pt x="1176" y="1058"/>
                  </a:lnTo>
                  <a:lnTo>
                    <a:pt x="1178" y="1032"/>
                  </a:lnTo>
                  <a:lnTo>
                    <a:pt x="1180" y="1020"/>
                  </a:lnTo>
                  <a:lnTo>
                    <a:pt x="1182" y="1010"/>
                  </a:lnTo>
                  <a:lnTo>
                    <a:pt x="1186" y="1002"/>
                  </a:lnTo>
                  <a:lnTo>
                    <a:pt x="1192" y="994"/>
                  </a:lnTo>
                  <a:lnTo>
                    <a:pt x="1200" y="986"/>
                  </a:lnTo>
                  <a:lnTo>
                    <a:pt x="1212" y="982"/>
                  </a:lnTo>
                  <a:lnTo>
                    <a:pt x="1212" y="982"/>
                  </a:lnTo>
                  <a:lnTo>
                    <a:pt x="1214" y="978"/>
                  </a:lnTo>
                  <a:lnTo>
                    <a:pt x="1216" y="976"/>
                  </a:lnTo>
                  <a:lnTo>
                    <a:pt x="1220" y="978"/>
                  </a:lnTo>
                  <a:lnTo>
                    <a:pt x="1226" y="982"/>
                  </a:lnTo>
                  <a:lnTo>
                    <a:pt x="1260" y="1006"/>
                  </a:lnTo>
                  <a:lnTo>
                    <a:pt x="1260" y="1006"/>
                  </a:lnTo>
                  <a:lnTo>
                    <a:pt x="1286" y="1014"/>
                  </a:lnTo>
                  <a:lnTo>
                    <a:pt x="1286" y="1014"/>
                  </a:lnTo>
                  <a:lnTo>
                    <a:pt x="1314" y="1014"/>
                  </a:lnTo>
                  <a:lnTo>
                    <a:pt x="1314" y="1014"/>
                  </a:lnTo>
                  <a:lnTo>
                    <a:pt x="1326" y="1010"/>
                  </a:lnTo>
                  <a:lnTo>
                    <a:pt x="1336" y="1002"/>
                  </a:lnTo>
                  <a:lnTo>
                    <a:pt x="1348" y="992"/>
                  </a:lnTo>
                  <a:lnTo>
                    <a:pt x="1358" y="980"/>
                  </a:lnTo>
                  <a:lnTo>
                    <a:pt x="1380" y="956"/>
                  </a:lnTo>
                  <a:lnTo>
                    <a:pt x="1398" y="932"/>
                  </a:lnTo>
                  <a:lnTo>
                    <a:pt x="1398" y="932"/>
                  </a:lnTo>
                  <a:lnTo>
                    <a:pt x="1404" y="928"/>
                  </a:lnTo>
                  <a:lnTo>
                    <a:pt x="1410" y="924"/>
                  </a:lnTo>
                  <a:lnTo>
                    <a:pt x="1416" y="924"/>
                  </a:lnTo>
                  <a:lnTo>
                    <a:pt x="1424" y="922"/>
                  </a:lnTo>
                  <a:lnTo>
                    <a:pt x="1438" y="924"/>
                  </a:lnTo>
                  <a:lnTo>
                    <a:pt x="1454" y="926"/>
                  </a:lnTo>
                  <a:lnTo>
                    <a:pt x="1454" y="926"/>
                  </a:lnTo>
                  <a:lnTo>
                    <a:pt x="1464" y="918"/>
                  </a:lnTo>
                  <a:lnTo>
                    <a:pt x="1472" y="914"/>
                  </a:lnTo>
                  <a:lnTo>
                    <a:pt x="1492" y="906"/>
                  </a:lnTo>
                  <a:lnTo>
                    <a:pt x="1492" y="906"/>
                  </a:lnTo>
                  <a:lnTo>
                    <a:pt x="1518" y="882"/>
                  </a:lnTo>
                  <a:lnTo>
                    <a:pt x="1518" y="882"/>
                  </a:lnTo>
                  <a:lnTo>
                    <a:pt x="1522" y="880"/>
                  </a:lnTo>
                  <a:lnTo>
                    <a:pt x="1524" y="876"/>
                  </a:lnTo>
                  <a:lnTo>
                    <a:pt x="1530" y="866"/>
                  </a:lnTo>
                  <a:lnTo>
                    <a:pt x="1534" y="848"/>
                  </a:lnTo>
                  <a:lnTo>
                    <a:pt x="1534" y="848"/>
                  </a:lnTo>
                  <a:lnTo>
                    <a:pt x="1540" y="832"/>
                  </a:lnTo>
                  <a:lnTo>
                    <a:pt x="1546" y="822"/>
                  </a:lnTo>
                  <a:lnTo>
                    <a:pt x="1554" y="816"/>
                  </a:lnTo>
                  <a:lnTo>
                    <a:pt x="1562" y="812"/>
                  </a:lnTo>
                  <a:lnTo>
                    <a:pt x="1580" y="806"/>
                  </a:lnTo>
                  <a:lnTo>
                    <a:pt x="1594" y="804"/>
                  </a:lnTo>
                  <a:lnTo>
                    <a:pt x="1610" y="798"/>
                  </a:lnTo>
                  <a:lnTo>
                    <a:pt x="1610" y="798"/>
                  </a:lnTo>
                  <a:lnTo>
                    <a:pt x="1620" y="786"/>
                  </a:lnTo>
                  <a:lnTo>
                    <a:pt x="1632" y="776"/>
                  </a:lnTo>
                  <a:lnTo>
                    <a:pt x="1646" y="768"/>
                  </a:lnTo>
                  <a:lnTo>
                    <a:pt x="1660" y="760"/>
                  </a:lnTo>
                  <a:lnTo>
                    <a:pt x="1660" y="760"/>
                  </a:lnTo>
                  <a:lnTo>
                    <a:pt x="1670" y="754"/>
                  </a:lnTo>
                  <a:lnTo>
                    <a:pt x="1680" y="752"/>
                  </a:lnTo>
                  <a:lnTo>
                    <a:pt x="1696" y="750"/>
                  </a:lnTo>
                  <a:lnTo>
                    <a:pt x="1712" y="750"/>
                  </a:lnTo>
                  <a:lnTo>
                    <a:pt x="1746" y="752"/>
                  </a:lnTo>
                  <a:lnTo>
                    <a:pt x="1776" y="756"/>
                  </a:lnTo>
                  <a:lnTo>
                    <a:pt x="1776" y="756"/>
                  </a:lnTo>
                  <a:lnTo>
                    <a:pt x="1792" y="748"/>
                  </a:lnTo>
                  <a:lnTo>
                    <a:pt x="1792" y="748"/>
                  </a:lnTo>
                  <a:lnTo>
                    <a:pt x="1798" y="740"/>
                  </a:lnTo>
                  <a:lnTo>
                    <a:pt x="1802" y="730"/>
                  </a:lnTo>
                  <a:lnTo>
                    <a:pt x="1804" y="720"/>
                  </a:lnTo>
                  <a:lnTo>
                    <a:pt x="1804" y="712"/>
                  </a:lnTo>
                  <a:lnTo>
                    <a:pt x="1802" y="702"/>
                  </a:lnTo>
                  <a:lnTo>
                    <a:pt x="1798" y="694"/>
                  </a:lnTo>
                  <a:lnTo>
                    <a:pt x="1790" y="680"/>
                  </a:lnTo>
                  <a:lnTo>
                    <a:pt x="1790" y="680"/>
                  </a:lnTo>
                  <a:lnTo>
                    <a:pt x="1764" y="656"/>
                  </a:lnTo>
                  <a:lnTo>
                    <a:pt x="1764" y="656"/>
                  </a:lnTo>
                  <a:lnTo>
                    <a:pt x="1718" y="628"/>
                  </a:lnTo>
                  <a:lnTo>
                    <a:pt x="1718" y="628"/>
                  </a:lnTo>
                  <a:lnTo>
                    <a:pt x="1716" y="622"/>
                  </a:lnTo>
                  <a:lnTo>
                    <a:pt x="1712" y="614"/>
                  </a:lnTo>
                  <a:lnTo>
                    <a:pt x="1702" y="604"/>
                  </a:lnTo>
                  <a:lnTo>
                    <a:pt x="1688" y="590"/>
                  </a:lnTo>
                  <a:lnTo>
                    <a:pt x="1688" y="590"/>
                  </a:lnTo>
                  <a:lnTo>
                    <a:pt x="1656" y="590"/>
                  </a:lnTo>
                  <a:lnTo>
                    <a:pt x="1656" y="590"/>
                  </a:lnTo>
                  <a:lnTo>
                    <a:pt x="1640" y="608"/>
                  </a:lnTo>
                  <a:lnTo>
                    <a:pt x="1640" y="608"/>
                  </a:lnTo>
                  <a:lnTo>
                    <a:pt x="1610" y="608"/>
                  </a:lnTo>
                  <a:lnTo>
                    <a:pt x="1610" y="608"/>
                  </a:lnTo>
                  <a:lnTo>
                    <a:pt x="1604" y="644"/>
                  </a:lnTo>
                  <a:lnTo>
                    <a:pt x="1604" y="644"/>
                  </a:lnTo>
                  <a:lnTo>
                    <a:pt x="1596" y="646"/>
                  </a:lnTo>
                  <a:lnTo>
                    <a:pt x="1586" y="646"/>
                  </a:lnTo>
                  <a:lnTo>
                    <a:pt x="1578" y="644"/>
                  </a:lnTo>
                  <a:lnTo>
                    <a:pt x="1570" y="642"/>
                  </a:lnTo>
                  <a:lnTo>
                    <a:pt x="1554" y="634"/>
                  </a:lnTo>
                  <a:lnTo>
                    <a:pt x="1544" y="630"/>
                  </a:lnTo>
                  <a:lnTo>
                    <a:pt x="1544" y="630"/>
                  </a:lnTo>
                  <a:lnTo>
                    <a:pt x="1516" y="630"/>
                  </a:lnTo>
                  <a:lnTo>
                    <a:pt x="1516" y="630"/>
                  </a:lnTo>
                  <a:lnTo>
                    <a:pt x="1504" y="634"/>
                  </a:lnTo>
                  <a:lnTo>
                    <a:pt x="1494" y="640"/>
                  </a:lnTo>
                  <a:lnTo>
                    <a:pt x="1476" y="654"/>
                  </a:lnTo>
                  <a:lnTo>
                    <a:pt x="1476" y="654"/>
                  </a:lnTo>
                  <a:lnTo>
                    <a:pt x="1466" y="654"/>
                  </a:lnTo>
                  <a:lnTo>
                    <a:pt x="1456" y="650"/>
                  </a:lnTo>
                  <a:lnTo>
                    <a:pt x="1450" y="646"/>
                  </a:lnTo>
                  <a:lnTo>
                    <a:pt x="1446" y="640"/>
                  </a:lnTo>
                  <a:lnTo>
                    <a:pt x="1442" y="634"/>
                  </a:lnTo>
                  <a:lnTo>
                    <a:pt x="1440" y="628"/>
                  </a:lnTo>
                  <a:lnTo>
                    <a:pt x="1440" y="616"/>
                  </a:lnTo>
                  <a:lnTo>
                    <a:pt x="1440" y="616"/>
                  </a:lnTo>
                  <a:lnTo>
                    <a:pt x="1470" y="588"/>
                  </a:lnTo>
                  <a:lnTo>
                    <a:pt x="1470" y="588"/>
                  </a:lnTo>
                  <a:lnTo>
                    <a:pt x="1468" y="556"/>
                  </a:lnTo>
                  <a:lnTo>
                    <a:pt x="1470" y="544"/>
                  </a:lnTo>
                  <a:lnTo>
                    <a:pt x="1470" y="532"/>
                  </a:lnTo>
                  <a:lnTo>
                    <a:pt x="1470" y="532"/>
                  </a:lnTo>
                  <a:lnTo>
                    <a:pt x="1480" y="512"/>
                  </a:lnTo>
                  <a:lnTo>
                    <a:pt x="1488" y="494"/>
                  </a:lnTo>
                  <a:lnTo>
                    <a:pt x="1488" y="494"/>
                  </a:lnTo>
                  <a:lnTo>
                    <a:pt x="1488" y="472"/>
                  </a:lnTo>
                  <a:lnTo>
                    <a:pt x="1490" y="456"/>
                  </a:lnTo>
                  <a:lnTo>
                    <a:pt x="1494" y="440"/>
                  </a:lnTo>
                  <a:lnTo>
                    <a:pt x="1502" y="426"/>
                  </a:lnTo>
                  <a:lnTo>
                    <a:pt x="1502" y="426"/>
                  </a:lnTo>
                  <a:lnTo>
                    <a:pt x="1522" y="426"/>
                  </a:lnTo>
                  <a:lnTo>
                    <a:pt x="1522" y="426"/>
                  </a:lnTo>
                  <a:lnTo>
                    <a:pt x="1546" y="430"/>
                  </a:lnTo>
                  <a:lnTo>
                    <a:pt x="1574" y="432"/>
                  </a:lnTo>
                  <a:lnTo>
                    <a:pt x="1588" y="430"/>
                  </a:lnTo>
                  <a:lnTo>
                    <a:pt x="1602" y="428"/>
                  </a:lnTo>
                  <a:lnTo>
                    <a:pt x="1616" y="424"/>
                  </a:lnTo>
                  <a:lnTo>
                    <a:pt x="1628" y="416"/>
                  </a:lnTo>
                  <a:lnTo>
                    <a:pt x="1628" y="416"/>
                  </a:lnTo>
                  <a:lnTo>
                    <a:pt x="1642" y="404"/>
                  </a:lnTo>
                  <a:lnTo>
                    <a:pt x="1658" y="390"/>
                  </a:lnTo>
                  <a:lnTo>
                    <a:pt x="1672" y="376"/>
                  </a:lnTo>
                  <a:lnTo>
                    <a:pt x="1684" y="362"/>
                  </a:lnTo>
                  <a:lnTo>
                    <a:pt x="1684" y="362"/>
                  </a:lnTo>
                  <a:lnTo>
                    <a:pt x="1684" y="332"/>
                  </a:lnTo>
                  <a:lnTo>
                    <a:pt x="1686" y="296"/>
                  </a:lnTo>
                  <a:lnTo>
                    <a:pt x="1688" y="278"/>
                  </a:lnTo>
                  <a:lnTo>
                    <a:pt x="1692" y="262"/>
                  </a:lnTo>
                  <a:lnTo>
                    <a:pt x="1698" y="250"/>
                  </a:lnTo>
                  <a:lnTo>
                    <a:pt x="1702" y="246"/>
                  </a:lnTo>
                  <a:lnTo>
                    <a:pt x="1708" y="242"/>
                  </a:lnTo>
                  <a:lnTo>
                    <a:pt x="1708" y="242"/>
                  </a:lnTo>
                  <a:lnTo>
                    <a:pt x="1714" y="232"/>
                  </a:lnTo>
                  <a:lnTo>
                    <a:pt x="1720" y="220"/>
                  </a:lnTo>
                  <a:lnTo>
                    <a:pt x="1724" y="198"/>
                  </a:lnTo>
                  <a:lnTo>
                    <a:pt x="1730" y="176"/>
                  </a:lnTo>
                  <a:lnTo>
                    <a:pt x="1736" y="166"/>
                  </a:lnTo>
                  <a:lnTo>
                    <a:pt x="1742" y="158"/>
                  </a:lnTo>
                  <a:lnTo>
                    <a:pt x="1742" y="158"/>
                  </a:lnTo>
                  <a:lnTo>
                    <a:pt x="1742" y="116"/>
                  </a:lnTo>
                  <a:lnTo>
                    <a:pt x="1742" y="116"/>
                  </a:lnTo>
                  <a:lnTo>
                    <a:pt x="1738" y="108"/>
                  </a:lnTo>
                  <a:lnTo>
                    <a:pt x="1738" y="108"/>
                  </a:lnTo>
                  <a:lnTo>
                    <a:pt x="1716" y="82"/>
                  </a:lnTo>
                  <a:lnTo>
                    <a:pt x="1716" y="82"/>
                  </a:lnTo>
                  <a:lnTo>
                    <a:pt x="1696" y="72"/>
                  </a:lnTo>
                  <a:lnTo>
                    <a:pt x="1696" y="72"/>
                  </a:lnTo>
                  <a:lnTo>
                    <a:pt x="1696" y="62"/>
                  </a:lnTo>
                  <a:lnTo>
                    <a:pt x="1698" y="54"/>
                  </a:lnTo>
                  <a:lnTo>
                    <a:pt x="1702" y="46"/>
                  </a:lnTo>
                  <a:lnTo>
                    <a:pt x="1706" y="40"/>
                  </a:lnTo>
                  <a:lnTo>
                    <a:pt x="1712" y="34"/>
                  </a:lnTo>
                  <a:lnTo>
                    <a:pt x="1720" y="28"/>
                  </a:lnTo>
                  <a:lnTo>
                    <a:pt x="1736" y="20"/>
                  </a:lnTo>
                  <a:lnTo>
                    <a:pt x="1736" y="20"/>
                  </a:lnTo>
                  <a:lnTo>
                    <a:pt x="1744" y="20"/>
                  </a:lnTo>
                  <a:lnTo>
                    <a:pt x="1750" y="16"/>
                  </a:lnTo>
                  <a:lnTo>
                    <a:pt x="1764" y="10"/>
                  </a:lnTo>
                  <a:lnTo>
                    <a:pt x="1778" y="4"/>
                  </a:lnTo>
                  <a:lnTo>
                    <a:pt x="1784" y="2"/>
                  </a:lnTo>
                  <a:lnTo>
                    <a:pt x="1794" y="0"/>
                  </a:lnTo>
                  <a:lnTo>
                    <a:pt x="1794" y="0"/>
                  </a:lnTo>
                  <a:lnTo>
                    <a:pt x="1794" y="6"/>
                  </a:lnTo>
                  <a:lnTo>
                    <a:pt x="1796" y="8"/>
                  </a:lnTo>
                  <a:lnTo>
                    <a:pt x="1804" y="16"/>
                  </a:lnTo>
                  <a:lnTo>
                    <a:pt x="1804" y="16"/>
                  </a:lnTo>
                  <a:lnTo>
                    <a:pt x="1800" y="42"/>
                  </a:lnTo>
                  <a:lnTo>
                    <a:pt x="1800" y="42"/>
                  </a:lnTo>
                  <a:lnTo>
                    <a:pt x="1792" y="52"/>
                  </a:lnTo>
                  <a:lnTo>
                    <a:pt x="1786" y="58"/>
                  </a:lnTo>
                  <a:lnTo>
                    <a:pt x="1782" y="66"/>
                  </a:lnTo>
                  <a:lnTo>
                    <a:pt x="1780" y="78"/>
                  </a:lnTo>
                  <a:lnTo>
                    <a:pt x="1780" y="78"/>
                  </a:lnTo>
                  <a:lnTo>
                    <a:pt x="1804" y="96"/>
                  </a:lnTo>
                  <a:lnTo>
                    <a:pt x="1804" y="96"/>
                  </a:lnTo>
                  <a:lnTo>
                    <a:pt x="1810" y="104"/>
                  </a:lnTo>
                  <a:lnTo>
                    <a:pt x="1816" y="110"/>
                  </a:lnTo>
                  <a:lnTo>
                    <a:pt x="1826" y="114"/>
                  </a:lnTo>
                  <a:lnTo>
                    <a:pt x="1842" y="116"/>
                  </a:lnTo>
                  <a:lnTo>
                    <a:pt x="1842" y="116"/>
                  </a:lnTo>
                  <a:lnTo>
                    <a:pt x="1848" y="80"/>
                  </a:lnTo>
                  <a:lnTo>
                    <a:pt x="1848" y="80"/>
                  </a:lnTo>
                  <a:lnTo>
                    <a:pt x="1856" y="80"/>
                  </a:lnTo>
                  <a:lnTo>
                    <a:pt x="1866" y="80"/>
                  </a:lnTo>
                  <a:lnTo>
                    <a:pt x="1878" y="84"/>
                  </a:lnTo>
                  <a:lnTo>
                    <a:pt x="1892" y="92"/>
                  </a:lnTo>
                  <a:lnTo>
                    <a:pt x="1892" y="92"/>
                  </a:lnTo>
                  <a:lnTo>
                    <a:pt x="1900" y="104"/>
                  </a:lnTo>
                  <a:lnTo>
                    <a:pt x="1900" y="104"/>
                  </a:lnTo>
                  <a:lnTo>
                    <a:pt x="1904" y="122"/>
                  </a:lnTo>
                  <a:lnTo>
                    <a:pt x="1908" y="140"/>
                  </a:lnTo>
                  <a:lnTo>
                    <a:pt x="1914" y="160"/>
                  </a:lnTo>
                  <a:lnTo>
                    <a:pt x="1920" y="168"/>
                  </a:lnTo>
                  <a:lnTo>
                    <a:pt x="1926" y="178"/>
                  </a:lnTo>
                  <a:lnTo>
                    <a:pt x="1926" y="178"/>
                  </a:lnTo>
                  <a:lnTo>
                    <a:pt x="1938" y="184"/>
                  </a:lnTo>
                  <a:lnTo>
                    <a:pt x="1938" y="184"/>
                  </a:lnTo>
                  <a:lnTo>
                    <a:pt x="1968" y="182"/>
                  </a:lnTo>
                  <a:lnTo>
                    <a:pt x="1968" y="182"/>
                  </a:lnTo>
                  <a:lnTo>
                    <a:pt x="1978" y="178"/>
                  </a:lnTo>
                  <a:lnTo>
                    <a:pt x="1988" y="174"/>
                  </a:lnTo>
                  <a:lnTo>
                    <a:pt x="2010" y="172"/>
                  </a:lnTo>
                  <a:lnTo>
                    <a:pt x="2022" y="168"/>
                  </a:lnTo>
                  <a:lnTo>
                    <a:pt x="2032" y="166"/>
                  </a:lnTo>
                  <a:lnTo>
                    <a:pt x="2042" y="160"/>
                  </a:lnTo>
                  <a:lnTo>
                    <a:pt x="2052" y="152"/>
                  </a:lnTo>
                  <a:lnTo>
                    <a:pt x="2052" y="152"/>
                  </a:lnTo>
                  <a:lnTo>
                    <a:pt x="2060" y="138"/>
                  </a:lnTo>
                  <a:lnTo>
                    <a:pt x="2068" y="128"/>
                  </a:lnTo>
                  <a:lnTo>
                    <a:pt x="2076" y="122"/>
                  </a:lnTo>
                  <a:lnTo>
                    <a:pt x="2084" y="118"/>
                  </a:lnTo>
                  <a:lnTo>
                    <a:pt x="2094" y="120"/>
                  </a:lnTo>
                  <a:lnTo>
                    <a:pt x="2104" y="124"/>
                  </a:lnTo>
                  <a:lnTo>
                    <a:pt x="2114" y="132"/>
                  </a:lnTo>
                  <a:lnTo>
                    <a:pt x="2126" y="146"/>
                  </a:lnTo>
                  <a:lnTo>
                    <a:pt x="2126" y="146"/>
                  </a:lnTo>
                  <a:lnTo>
                    <a:pt x="2146" y="200"/>
                  </a:lnTo>
                  <a:lnTo>
                    <a:pt x="2146" y="200"/>
                  </a:lnTo>
                  <a:lnTo>
                    <a:pt x="2142" y="220"/>
                  </a:lnTo>
                  <a:lnTo>
                    <a:pt x="2136" y="246"/>
                  </a:lnTo>
                  <a:lnTo>
                    <a:pt x="2128" y="274"/>
                  </a:lnTo>
                  <a:lnTo>
                    <a:pt x="2118" y="296"/>
                  </a:lnTo>
                  <a:lnTo>
                    <a:pt x="2118" y="296"/>
                  </a:lnTo>
                  <a:lnTo>
                    <a:pt x="2118" y="320"/>
                  </a:lnTo>
                  <a:lnTo>
                    <a:pt x="2118" y="320"/>
                  </a:lnTo>
                  <a:lnTo>
                    <a:pt x="2142" y="366"/>
                  </a:lnTo>
                  <a:lnTo>
                    <a:pt x="2142" y="366"/>
                  </a:lnTo>
                  <a:lnTo>
                    <a:pt x="2140" y="374"/>
                  </a:lnTo>
                  <a:lnTo>
                    <a:pt x="2138" y="384"/>
                  </a:lnTo>
                  <a:lnTo>
                    <a:pt x="2130" y="406"/>
                  </a:lnTo>
                  <a:lnTo>
                    <a:pt x="2128" y="418"/>
                  </a:lnTo>
                  <a:lnTo>
                    <a:pt x="2130" y="428"/>
                  </a:lnTo>
                  <a:lnTo>
                    <a:pt x="2136" y="440"/>
                  </a:lnTo>
                  <a:lnTo>
                    <a:pt x="2140" y="444"/>
                  </a:lnTo>
                  <a:lnTo>
                    <a:pt x="2148" y="450"/>
                  </a:lnTo>
                  <a:lnTo>
                    <a:pt x="2148" y="450"/>
                  </a:lnTo>
                  <a:lnTo>
                    <a:pt x="2150" y="462"/>
                  </a:lnTo>
                  <a:lnTo>
                    <a:pt x="2150" y="476"/>
                  </a:lnTo>
                  <a:lnTo>
                    <a:pt x="2148" y="510"/>
                  </a:lnTo>
                  <a:lnTo>
                    <a:pt x="2148" y="510"/>
                  </a:lnTo>
                  <a:lnTo>
                    <a:pt x="2126" y="514"/>
                  </a:lnTo>
                  <a:lnTo>
                    <a:pt x="2126" y="514"/>
                  </a:lnTo>
                  <a:lnTo>
                    <a:pt x="2122" y="508"/>
                  </a:lnTo>
                  <a:lnTo>
                    <a:pt x="2118" y="502"/>
                  </a:lnTo>
                  <a:lnTo>
                    <a:pt x="2116" y="492"/>
                  </a:lnTo>
                  <a:lnTo>
                    <a:pt x="2118" y="476"/>
                  </a:lnTo>
                  <a:lnTo>
                    <a:pt x="2118" y="476"/>
                  </a:lnTo>
                  <a:lnTo>
                    <a:pt x="2114" y="466"/>
                  </a:lnTo>
                  <a:lnTo>
                    <a:pt x="2108" y="458"/>
                  </a:lnTo>
                  <a:lnTo>
                    <a:pt x="2108" y="458"/>
                  </a:lnTo>
                  <a:lnTo>
                    <a:pt x="2094" y="460"/>
                  </a:lnTo>
                  <a:lnTo>
                    <a:pt x="2086" y="462"/>
                  </a:lnTo>
                  <a:lnTo>
                    <a:pt x="2084" y="466"/>
                  </a:lnTo>
                  <a:lnTo>
                    <a:pt x="2082" y="470"/>
                  </a:lnTo>
                  <a:lnTo>
                    <a:pt x="2084" y="484"/>
                  </a:lnTo>
                  <a:lnTo>
                    <a:pt x="2082" y="492"/>
                  </a:lnTo>
                  <a:lnTo>
                    <a:pt x="2078" y="500"/>
                  </a:lnTo>
                  <a:lnTo>
                    <a:pt x="2078" y="500"/>
                  </a:lnTo>
                  <a:lnTo>
                    <a:pt x="2064" y="514"/>
                  </a:lnTo>
                  <a:lnTo>
                    <a:pt x="2054" y="528"/>
                  </a:lnTo>
                  <a:lnTo>
                    <a:pt x="2046" y="544"/>
                  </a:lnTo>
                  <a:lnTo>
                    <a:pt x="2042" y="564"/>
                  </a:lnTo>
                  <a:lnTo>
                    <a:pt x="2042" y="564"/>
                  </a:lnTo>
                  <a:lnTo>
                    <a:pt x="2034" y="576"/>
                  </a:lnTo>
                  <a:lnTo>
                    <a:pt x="2024" y="586"/>
                  </a:lnTo>
                  <a:lnTo>
                    <a:pt x="2012" y="598"/>
                  </a:lnTo>
                  <a:lnTo>
                    <a:pt x="2002" y="606"/>
                  </a:lnTo>
                  <a:lnTo>
                    <a:pt x="2002" y="606"/>
                  </a:lnTo>
                  <a:lnTo>
                    <a:pt x="2000" y="642"/>
                  </a:lnTo>
                  <a:lnTo>
                    <a:pt x="2000" y="642"/>
                  </a:lnTo>
                  <a:lnTo>
                    <a:pt x="2008" y="654"/>
                  </a:lnTo>
                  <a:lnTo>
                    <a:pt x="2020" y="674"/>
                  </a:lnTo>
                  <a:lnTo>
                    <a:pt x="2020" y="674"/>
                  </a:lnTo>
                  <a:lnTo>
                    <a:pt x="2054" y="694"/>
                  </a:lnTo>
                  <a:lnTo>
                    <a:pt x="2054" y="694"/>
                  </a:lnTo>
                  <a:lnTo>
                    <a:pt x="2078" y="692"/>
                  </a:lnTo>
                  <a:lnTo>
                    <a:pt x="2078" y="692"/>
                  </a:lnTo>
                  <a:lnTo>
                    <a:pt x="2094" y="668"/>
                  </a:lnTo>
                  <a:lnTo>
                    <a:pt x="2094" y="668"/>
                  </a:lnTo>
                  <a:lnTo>
                    <a:pt x="2100" y="680"/>
                  </a:lnTo>
                  <a:lnTo>
                    <a:pt x="2104" y="690"/>
                  </a:lnTo>
                  <a:lnTo>
                    <a:pt x="2106" y="702"/>
                  </a:lnTo>
                  <a:lnTo>
                    <a:pt x="2106" y="702"/>
                  </a:lnTo>
                  <a:lnTo>
                    <a:pt x="2086" y="708"/>
                  </a:lnTo>
                  <a:lnTo>
                    <a:pt x="2068" y="716"/>
                  </a:lnTo>
                  <a:lnTo>
                    <a:pt x="2068" y="716"/>
                  </a:lnTo>
                  <a:lnTo>
                    <a:pt x="2068" y="724"/>
                  </a:lnTo>
                  <a:lnTo>
                    <a:pt x="2070" y="732"/>
                  </a:lnTo>
                  <a:lnTo>
                    <a:pt x="2070" y="738"/>
                  </a:lnTo>
                  <a:lnTo>
                    <a:pt x="2074" y="742"/>
                  </a:lnTo>
                  <a:lnTo>
                    <a:pt x="2078" y="748"/>
                  </a:lnTo>
                  <a:lnTo>
                    <a:pt x="2084" y="750"/>
                  </a:lnTo>
                  <a:lnTo>
                    <a:pt x="2084" y="750"/>
                  </a:lnTo>
                  <a:lnTo>
                    <a:pt x="2064" y="778"/>
                  </a:lnTo>
                  <a:lnTo>
                    <a:pt x="2052" y="790"/>
                  </a:lnTo>
                  <a:lnTo>
                    <a:pt x="2040" y="800"/>
                  </a:lnTo>
                  <a:lnTo>
                    <a:pt x="2040" y="800"/>
                  </a:lnTo>
                  <a:lnTo>
                    <a:pt x="2026" y="796"/>
                  </a:lnTo>
                  <a:lnTo>
                    <a:pt x="2026" y="796"/>
                  </a:lnTo>
                  <a:lnTo>
                    <a:pt x="1986" y="770"/>
                  </a:lnTo>
                  <a:lnTo>
                    <a:pt x="1986" y="770"/>
                  </a:lnTo>
                  <a:lnTo>
                    <a:pt x="1968" y="770"/>
                  </a:lnTo>
                  <a:lnTo>
                    <a:pt x="1968" y="770"/>
                  </a:lnTo>
                  <a:lnTo>
                    <a:pt x="1960" y="780"/>
                  </a:lnTo>
                  <a:lnTo>
                    <a:pt x="1958" y="786"/>
                  </a:lnTo>
                  <a:lnTo>
                    <a:pt x="1956" y="792"/>
                  </a:lnTo>
                  <a:lnTo>
                    <a:pt x="1956" y="792"/>
                  </a:lnTo>
                  <a:lnTo>
                    <a:pt x="1958" y="818"/>
                  </a:lnTo>
                  <a:lnTo>
                    <a:pt x="1958" y="818"/>
                  </a:lnTo>
                  <a:lnTo>
                    <a:pt x="1962" y="824"/>
                  </a:lnTo>
                  <a:lnTo>
                    <a:pt x="1968" y="828"/>
                  </a:lnTo>
                  <a:lnTo>
                    <a:pt x="1982" y="838"/>
                  </a:lnTo>
                  <a:lnTo>
                    <a:pt x="2000" y="852"/>
                  </a:lnTo>
                  <a:lnTo>
                    <a:pt x="2008" y="860"/>
                  </a:lnTo>
                  <a:lnTo>
                    <a:pt x="2016" y="870"/>
                  </a:lnTo>
                  <a:lnTo>
                    <a:pt x="2016" y="870"/>
                  </a:lnTo>
                  <a:lnTo>
                    <a:pt x="2016" y="908"/>
                  </a:lnTo>
                  <a:lnTo>
                    <a:pt x="2016" y="908"/>
                  </a:lnTo>
                  <a:lnTo>
                    <a:pt x="2024" y="920"/>
                  </a:lnTo>
                  <a:lnTo>
                    <a:pt x="2032" y="938"/>
                  </a:lnTo>
                  <a:lnTo>
                    <a:pt x="2046" y="976"/>
                  </a:lnTo>
                  <a:lnTo>
                    <a:pt x="2046" y="976"/>
                  </a:lnTo>
                  <a:lnTo>
                    <a:pt x="2054" y="986"/>
                  </a:lnTo>
                  <a:lnTo>
                    <a:pt x="2054" y="986"/>
                  </a:lnTo>
                  <a:lnTo>
                    <a:pt x="2070" y="986"/>
                  </a:lnTo>
                  <a:lnTo>
                    <a:pt x="2070" y="986"/>
                  </a:lnTo>
                  <a:lnTo>
                    <a:pt x="2084" y="958"/>
                  </a:lnTo>
                  <a:lnTo>
                    <a:pt x="2084" y="958"/>
                  </a:lnTo>
                  <a:lnTo>
                    <a:pt x="2110" y="940"/>
                  </a:lnTo>
                  <a:lnTo>
                    <a:pt x="2110" y="940"/>
                  </a:lnTo>
                  <a:lnTo>
                    <a:pt x="2124" y="962"/>
                  </a:lnTo>
                  <a:lnTo>
                    <a:pt x="2134" y="976"/>
                  </a:lnTo>
                  <a:lnTo>
                    <a:pt x="2142" y="994"/>
                  </a:lnTo>
                  <a:lnTo>
                    <a:pt x="2142" y="994"/>
                  </a:lnTo>
                  <a:lnTo>
                    <a:pt x="2144" y="1010"/>
                  </a:lnTo>
                  <a:lnTo>
                    <a:pt x="2150" y="1026"/>
                  </a:lnTo>
                  <a:lnTo>
                    <a:pt x="2154" y="1034"/>
                  </a:lnTo>
                  <a:lnTo>
                    <a:pt x="2160" y="1040"/>
                  </a:lnTo>
                  <a:lnTo>
                    <a:pt x="2168" y="1048"/>
                  </a:lnTo>
                  <a:lnTo>
                    <a:pt x="2178" y="1054"/>
                  </a:lnTo>
                  <a:lnTo>
                    <a:pt x="2178" y="1054"/>
                  </a:lnTo>
                  <a:lnTo>
                    <a:pt x="2182" y="1062"/>
                  </a:lnTo>
                  <a:lnTo>
                    <a:pt x="2182" y="1062"/>
                  </a:lnTo>
                  <a:lnTo>
                    <a:pt x="2180" y="1074"/>
                  </a:lnTo>
                  <a:lnTo>
                    <a:pt x="2180" y="1088"/>
                  </a:lnTo>
                  <a:lnTo>
                    <a:pt x="2180" y="1120"/>
                  </a:lnTo>
                  <a:lnTo>
                    <a:pt x="2180" y="1120"/>
                  </a:lnTo>
                  <a:lnTo>
                    <a:pt x="2168" y="1132"/>
                  </a:lnTo>
                  <a:lnTo>
                    <a:pt x="2168" y="1132"/>
                  </a:lnTo>
                  <a:lnTo>
                    <a:pt x="2156" y="1130"/>
                  </a:lnTo>
                  <a:lnTo>
                    <a:pt x="2150" y="1126"/>
                  </a:lnTo>
                  <a:lnTo>
                    <a:pt x="2138" y="1120"/>
                  </a:lnTo>
                  <a:lnTo>
                    <a:pt x="2138" y="1120"/>
                  </a:lnTo>
                  <a:lnTo>
                    <a:pt x="2108" y="1122"/>
                  </a:lnTo>
                  <a:lnTo>
                    <a:pt x="2096" y="1124"/>
                  </a:lnTo>
                  <a:lnTo>
                    <a:pt x="2088" y="1128"/>
                  </a:lnTo>
                  <a:lnTo>
                    <a:pt x="2080" y="1134"/>
                  </a:lnTo>
                  <a:lnTo>
                    <a:pt x="2074" y="1140"/>
                  </a:lnTo>
                  <a:lnTo>
                    <a:pt x="2062" y="1162"/>
                  </a:lnTo>
                  <a:lnTo>
                    <a:pt x="2062" y="1162"/>
                  </a:lnTo>
                  <a:lnTo>
                    <a:pt x="2058" y="1166"/>
                  </a:lnTo>
                  <a:lnTo>
                    <a:pt x="2054" y="1170"/>
                  </a:lnTo>
                  <a:lnTo>
                    <a:pt x="2054" y="1170"/>
                  </a:lnTo>
                  <a:lnTo>
                    <a:pt x="2052" y="1176"/>
                  </a:lnTo>
                  <a:lnTo>
                    <a:pt x="2046" y="1182"/>
                  </a:lnTo>
                  <a:lnTo>
                    <a:pt x="2028" y="1196"/>
                  </a:lnTo>
                  <a:lnTo>
                    <a:pt x="1994" y="1218"/>
                  </a:lnTo>
                  <a:lnTo>
                    <a:pt x="1994" y="1218"/>
                  </a:lnTo>
                  <a:lnTo>
                    <a:pt x="1988" y="1228"/>
                  </a:lnTo>
                  <a:lnTo>
                    <a:pt x="1974" y="1238"/>
                  </a:lnTo>
                  <a:lnTo>
                    <a:pt x="1948" y="1256"/>
                  </a:lnTo>
                  <a:lnTo>
                    <a:pt x="1948" y="1256"/>
                  </a:lnTo>
                  <a:lnTo>
                    <a:pt x="1938" y="1268"/>
                  </a:lnTo>
                  <a:lnTo>
                    <a:pt x="1938" y="1268"/>
                  </a:lnTo>
                  <a:lnTo>
                    <a:pt x="1920" y="1272"/>
                  </a:lnTo>
                  <a:lnTo>
                    <a:pt x="1920" y="1272"/>
                  </a:lnTo>
                  <a:lnTo>
                    <a:pt x="1902" y="1254"/>
                  </a:lnTo>
                  <a:lnTo>
                    <a:pt x="1902" y="1254"/>
                  </a:lnTo>
                  <a:lnTo>
                    <a:pt x="1894" y="1236"/>
                  </a:lnTo>
                  <a:lnTo>
                    <a:pt x="1890" y="1230"/>
                  </a:lnTo>
                  <a:lnTo>
                    <a:pt x="1884" y="1226"/>
                  </a:lnTo>
                  <a:lnTo>
                    <a:pt x="1880" y="1222"/>
                  </a:lnTo>
                  <a:lnTo>
                    <a:pt x="1874" y="1222"/>
                  </a:lnTo>
                  <a:lnTo>
                    <a:pt x="1860" y="1220"/>
                  </a:lnTo>
                  <a:lnTo>
                    <a:pt x="1860" y="1220"/>
                  </a:lnTo>
                  <a:lnTo>
                    <a:pt x="1856" y="1228"/>
                  </a:lnTo>
                  <a:lnTo>
                    <a:pt x="1854" y="1238"/>
                  </a:lnTo>
                  <a:lnTo>
                    <a:pt x="1852" y="1248"/>
                  </a:lnTo>
                  <a:lnTo>
                    <a:pt x="1850" y="1260"/>
                  </a:lnTo>
                  <a:lnTo>
                    <a:pt x="1852" y="1270"/>
                  </a:lnTo>
                  <a:lnTo>
                    <a:pt x="1854" y="1282"/>
                  </a:lnTo>
                  <a:lnTo>
                    <a:pt x="1860" y="1292"/>
                  </a:lnTo>
                  <a:lnTo>
                    <a:pt x="1868" y="1302"/>
                  </a:lnTo>
                  <a:lnTo>
                    <a:pt x="1868" y="1302"/>
                  </a:lnTo>
                  <a:lnTo>
                    <a:pt x="1872" y="1344"/>
                  </a:lnTo>
                  <a:lnTo>
                    <a:pt x="1872" y="1344"/>
                  </a:lnTo>
                  <a:lnTo>
                    <a:pt x="1846" y="1346"/>
                  </a:lnTo>
                  <a:lnTo>
                    <a:pt x="1824" y="1348"/>
                  </a:lnTo>
                  <a:lnTo>
                    <a:pt x="1812" y="1346"/>
                  </a:lnTo>
                  <a:lnTo>
                    <a:pt x="1802" y="1344"/>
                  </a:lnTo>
                  <a:lnTo>
                    <a:pt x="1794" y="1342"/>
                  </a:lnTo>
                  <a:lnTo>
                    <a:pt x="1786" y="1338"/>
                  </a:lnTo>
                  <a:lnTo>
                    <a:pt x="1786" y="1338"/>
                  </a:lnTo>
                  <a:lnTo>
                    <a:pt x="1782" y="1316"/>
                  </a:lnTo>
                  <a:lnTo>
                    <a:pt x="1776" y="1302"/>
                  </a:lnTo>
                  <a:lnTo>
                    <a:pt x="1768" y="1292"/>
                  </a:lnTo>
                  <a:lnTo>
                    <a:pt x="1758" y="1280"/>
                  </a:lnTo>
                  <a:lnTo>
                    <a:pt x="1758" y="1280"/>
                  </a:lnTo>
                  <a:lnTo>
                    <a:pt x="1732" y="1222"/>
                  </a:lnTo>
                  <a:lnTo>
                    <a:pt x="1732" y="1222"/>
                  </a:lnTo>
                  <a:lnTo>
                    <a:pt x="1720" y="1210"/>
                  </a:lnTo>
                  <a:lnTo>
                    <a:pt x="1712" y="1206"/>
                  </a:lnTo>
                  <a:lnTo>
                    <a:pt x="1706" y="1206"/>
                  </a:lnTo>
                  <a:lnTo>
                    <a:pt x="1696" y="1206"/>
                  </a:lnTo>
                  <a:lnTo>
                    <a:pt x="1696" y="1206"/>
                  </a:lnTo>
                  <a:lnTo>
                    <a:pt x="1684" y="1216"/>
                  </a:lnTo>
                  <a:lnTo>
                    <a:pt x="1670" y="1226"/>
                  </a:lnTo>
                  <a:lnTo>
                    <a:pt x="1658" y="1234"/>
                  </a:lnTo>
                  <a:lnTo>
                    <a:pt x="1646" y="1244"/>
                  </a:lnTo>
                  <a:lnTo>
                    <a:pt x="1646" y="1244"/>
                  </a:lnTo>
                  <a:lnTo>
                    <a:pt x="1642" y="1256"/>
                  </a:lnTo>
                  <a:lnTo>
                    <a:pt x="1640" y="1270"/>
                  </a:lnTo>
                  <a:lnTo>
                    <a:pt x="1640" y="1288"/>
                  </a:lnTo>
                  <a:lnTo>
                    <a:pt x="1644" y="1306"/>
                  </a:lnTo>
                  <a:lnTo>
                    <a:pt x="1644" y="1306"/>
                  </a:lnTo>
                  <a:lnTo>
                    <a:pt x="1580" y="1312"/>
                  </a:lnTo>
                  <a:lnTo>
                    <a:pt x="1580" y="1312"/>
                  </a:lnTo>
                  <a:lnTo>
                    <a:pt x="1524" y="1346"/>
                  </a:lnTo>
                  <a:lnTo>
                    <a:pt x="1524" y="1346"/>
                  </a:lnTo>
                  <a:lnTo>
                    <a:pt x="1516" y="1362"/>
                  </a:lnTo>
                  <a:lnTo>
                    <a:pt x="1510" y="1368"/>
                  </a:lnTo>
                  <a:lnTo>
                    <a:pt x="1508" y="1370"/>
                  </a:lnTo>
                  <a:lnTo>
                    <a:pt x="1504" y="1370"/>
                  </a:lnTo>
                  <a:lnTo>
                    <a:pt x="1504" y="1370"/>
                  </a:lnTo>
                  <a:lnTo>
                    <a:pt x="1492" y="1362"/>
                  </a:lnTo>
                  <a:lnTo>
                    <a:pt x="1486" y="1356"/>
                  </a:lnTo>
                  <a:lnTo>
                    <a:pt x="1484" y="1348"/>
                  </a:lnTo>
                  <a:lnTo>
                    <a:pt x="1482" y="1342"/>
                  </a:lnTo>
                  <a:lnTo>
                    <a:pt x="1482" y="1342"/>
                  </a:lnTo>
                  <a:lnTo>
                    <a:pt x="1494" y="1334"/>
                  </a:lnTo>
                  <a:lnTo>
                    <a:pt x="1494" y="1334"/>
                  </a:lnTo>
                  <a:lnTo>
                    <a:pt x="1492" y="1322"/>
                  </a:lnTo>
                  <a:lnTo>
                    <a:pt x="1490" y="1312"/>
                  </a:lnTo>
                  <a:lnTo>
                    <a:pt x="1486" y="1304"/>
                  </a:lnTo>
                  <a:lnTo>
                    <a:pt x="1480" y="1298"/>
                  </a:lnTo>
                  <a:lnTo>
                    <a:pt x="1474" y="1292"/>
                  </a:lnTo>
                  <a:lnTo>
                    <a:pt x="1466" y="1288"/>
                  </a:lnTo>
                  <a:lnTo>
                    <a:pt x="1458" y="1286"/>
                  </a:lnTo>
                  <a:lnTo>
                    <a:pt x="1450" y="1286"/>
                  </a:lnTo>
                  <a:lnTo>
                    <a:pt x="1450" y="1286"/>
                  </a:lnTo>
                  <a:lnTo>
                    <a:pt x="1440" y="1290"/>
                  </a:lnTo>
                  <a:lnTo>
                    <a:pt x="1434" y="1296"/>
                  </a:lnTo>
                  <a:lnTo>
                    <a:pt x="1428" y="1302"/>
                  </a:lnTo>
                  <a:lnTo>
                    <a:pt x="1424" y="1310"/>
                  </a:lnTo>
                  <a:lnTo>
                    <a:pt x="1424" y="1318"/>
                  </a:lnTo>
                  <a:lnTo>
                    <a:pt x="1424" y="1328"/>
                  </a:lnTo>
                  <a:lnTo>
                    <a:pt x="1428" y="1352"/>
                  </a:lnTo>
                  <a:lnTo>
                    <a:pt x="1428" y="1352"/>
                  </a:lnTo>
                  <a:lnTo>
                    <a:pt x="1408" y="1356"/>
                  </a:lnTo>
                  <a:lnTo>
                    <a:pt x="1408" y="1356"/>
                  </a:lnTo>
                  <a:lnTo>
                    <a:pt x="1404" y="1362"/>
                  </a:lnTo>
                  <a:lnTo>
                    <a:pt x="1402" y="1370"/>
                  </a:lnTo>
                  <a:lnTo>
                    <a:pt x="1402" y="1370"/>
                  </a:lnTo>
                  <a:lnTo>
                    <a:pt x="1392" y="1374"/>
                  </a:lnTo>
                  <a:lnTo>
                    <a:pt x="1392" y="1374"/>
                  </a:lnTo>
                  <a:lnTo>
                    <a:pt x="1392" y="1430"/>
                  </a:lnTo>
                  <a:lnTo>
                    <a:pt x="1392" y="1430"/>
                  </a:lnTo>
                  <a:lnTo>
                    <a:pt x="1412" y="1454"/>
                  </a:lnTo>
                  <a:lnTo>
                    <a:pt x="1412" y="1454"/>
                  </a:lnTo>
                  <a:lnTo>
                    <a:pt x="1412" y="1472"/>
                  </a:lnTo>
                  <a:lnTo>
                    <a:pt x="1412" y="1472"/>
                  </a:lnTo>
                  <a:lnTo>
                    <a:pt x="1402" y="1490"/>
                  </a:lnTo>
                  <a:lnTo>
                    <a:pt x="1402" y="1490"/>
                  </a:lnTo>
                  <a:lnTo>
                    <a:pt x="1380" y="1504"/>
                  </a:lnTo>
                  <a:lnTo>
                    <a:pt x="1356" y="1510"/>
                  </a:lnTo>
                  <a:lnTo>
                    <a:pt x="1336" y="1514"/>
                  </a:lnTo>
                  <a:lnTo>
                    <a:pt x="1314" y="1514"/>
                  </a:lnTo>
                  <a:lnTo>
                    <a:pt x="1314" y="1514"/>
                  </a:lnTo>
                  <a:lnTo>
                    <a:pt x="1298" y="1516"/>
                  </a:lnTo>
                  <a:lnTo>
                    <a:pt x="1288" y="1520"/>
                  </a:lnTo>
                  <a:lnTo>
                    <a:pt x="1280" y="1526"/>
                  </a:lnTo>
                  <a:lnTo>
                    <a:pt x="1270" y="1534"/>
                  </a:lnTo>
                  <a:lnTo>
                    <a:pt x="1270" y="1534"/>
                  </a:lnTo>
                  <a:lnTo>
                    <a:pt x="1256" y="1546"/>
                  </a:lnTo>
                  <a:lnTo>
                    <a:pt x="1256" y="1546"/>
                  </a:lnTo>
                  <a:lnTo>
                    <a:pt x="1244" y="1566"/>
                  </a:lnTo>
                  <a:lnTo>
                    <a:pt x="1228" y="1586"/>
                  </a:lnTo>
                  <a:lnTo>
                    <a:pt x="1192" y="1626"/>
                  </a:lnTo>
                  <a:lnTo>
                    <a:pt x="1192" y="1626"/>
                  </a:lnTo>
                  <a:lnTo>
                    <a:pt x="1168" y="1610"/>
                  </a:lnTo>
                  <a:lnTo>
                    <a:pt x="1168" y="1610"/>
                  </a:lnTo>
                  <a:lnTo>
                    <a:pt x="1140" y="1612"/>
                  </a:lnTo>
                  <a:lnTo>
                    <a:pt x="1140" y="1612"/>
                  </a:lnTo>
                  <a:lnTo>
                    <a:pt x="1136" y="1626"/>
                  </a:lnTo>
                  <a:lnTo>
                    <a:pt x="1132" y="1632"/>
                  </a:lnTo>
                  <a:lnTo>
                    <a:pt x="1128" y="1636"/>
                  </a:lnTo>
                  <a:lnTo>
                    <a:pt x="1128" y="1636"/>
                  </a:lnTo>
                  <a:lnTo>
                    <a:pt x="1124" y="1630"/>
                  </a:lnTo>
                  <a:lnTo>
                    <a:pt x="1118" y="1626"/>
                  </a:lnTo>
                  <a:lnTo>
                    <a:pt x="1108" y="1622"/>
                  </a:lnTo>
                  <a:lnTo>
                    <a:pt x="1100" y="1622"/>
                  </a:lnTo>
                  <a:lnTo>
                    <a:pt x="1092" y="1622"/>
                  </a:lnTo>
                  <a:lnTo>
                    <a:pt x="1092" y="1622"/>
                  </a:lnTo>
                  <a:lnTo>
                    <a:pt x="1088" y="1632"/>
                  </a:lnTo>
                  <a:lnTo>
                    <a:pt x="1082" y="1640"/>
                  </a:lnTo>
                  <a:lnTo>
                    <a:pt x="1076" y="1650"/>
                  </a:lnTo>
                  <a:lnTo>
                    <a:pt x="1066" y="1658"/>
                  </a:lnTo>
                  <a:lnTo>
                    <a:pt x="1066" y="1658"/>
                  </a:lnTo>
                  <a:lnTo>
                    <a:pt x="1056" y="1664"/>
                  </a:lnTo>
                  <a:lnTo>
                    <a:pt x="1046" y="1674"/>
                  </a:lnTo>
                  <a:lnTo>
                    <a:pt x="1038" y="1684"/>
                  </a:lnTo>
                  <a:lnTo>
                    <a:pt x="1030" y="1696"/>
                  </a:lnTo>
                  <a:lnTo>
                    <a:pt x="1014" y="1718"/>
                  </a:lnTo>
                  <a:lnTo>
                    <a:pt x="1004" y="1728"/>
                  </a:lnTo>
                  <a:lnTo>
                    <a:pt x="994" y="1736"/>
                  </a:lnTo>
                  <a:lnTo>
                    <a:pt x="994" y="1736"/>
                  </a:lnTo>
                  <a:lnTo>
                    <a:pt x="990" y="1748"/>
                  </a:lnTo>
                  <a:lnTo>
                    <a:pt x="988" y="1760"/>
                  </a:lnTo>
                  <a:lnTo>
                    <a:pt x="988" y="1790"/>
                  </a:lnTo>
                  <a:lnTo>
                    <a:pt x="988" y="1790"/>
                  </a:lnTo>
                  <a:lnTo>
                    <a:pt x="988" y="1798"/>
                  </a:lnTo>
                  <a:lnTo>
                    <a:pt x="988" y="1812"/>
                  </a:lnTo>
                  <a:lnTo>
                    <a:pt x="982" y="1836"/>
                  </a:lnTo>
                  <a:lnTo>
                    <a:pt x="982" y="1836"/>
                  </a:lnTo>
                  <a:lnTo>
                    <a:pt x="976" y="1840"/>
                  </a:lnTo>
                  <a:lnTo>
                    <a:pt x="976" y="1840"/>
                  </a:lnTo>
                  <a:lnTo>
                    <a:pt x="946" y="1838"/>
                  </a:lnTo>
                  <a:lnTo>
                    <a:pt x="920" y="1834"/>
                  </a:lnTo>
                  <a:lnTo>
                    <a:pt x="870" y="1826"/>
                  </a:lnTo>
                  <a:lnTo>
                    <a:pt x="870" y="1826"/>
                  </a:lnTo>
                  <a:lnTo>
                    <a:pt x="838" y="1810"/>
                  </a:lnTo>
                  <a:lnTo>
                    <a:pt x="838" y="1810"/>
                  </a:lnTo>
                  <a:lnTo>
                    <a:pt x="820" y="1790"/>
                  </a:lnTo>
                  <a:lnTo>
                    <a:pt x="820" y="1790"/>
                  </a:lnTo>
                  <a:lnTo>
                    <a:pt x="784" y="1782"/>
                  </a:lnTo>
                  <a:lnTo>
                    <a:pt x="784" y="1782"/>
                  </a:lnTo>
                  <a:lnTo>
                    <a:pt x="784" y="1752"/>
                  </a:lnTo>
                  <a:lnTo>
                    <a:pt x="784" y="1752"/>
                  </a:lnTo>
                  <a:lnTo>
                    <a:pt x="796" y="1734"/>
                  </a:lnTo>
                  <a:lnTo>
                    <a:pt x="808" y="1716"/>
                  </a:lnTo>
                  <a:lnTo>
                    <a:pt x="816" y="1696"/>
                  </a:lnTo>
                  <a:lnTo>
                    <a:pt x="818" y="1686"/>
                  </a:lnTo>
                  <a:lnTo>
                    <a:pt x="818" y="1676"/>
                  </a:lnTo>
                  <a:lnTo>
                    <a:pt x="818" y="1676"/>
                  </a:lnTo>
                  <a:lnTo>
                    <a:pt x="814" y="1666"/>
                  </a:lnTo>
                  <a:lnTo>
                    <a:pt x="810" y="1660"/>
                  </a:lnTo>
                  <a:lnTo>
                    <a:pt x="804" y="1656"/>
                  </a:lnTo>
                  <a:lnTo>
                    <a:pt x="798" y="1652"/>
                  </a:lnTo>
                  <a:lnTo>
                    <a:pt x="784" y="1652"/>
                  </a:lnTo>
                  <a:lnTo>
                    <a:pt x="772" y="1652"/>
                  </a:lnTo>
                  <a:lnTo>
                    <a:pt x="772" y="1652"/>
                  </a:lnTo>
                  <a:lnTo>
                    <a:pt x="764" y="1656"/>
                  </a:lnTo>
                  <a:lnTo>
                    <a:pt x="758" y="1660"/>
                  </a:lnTo>
                  <a:lnTo>
                    <a:pt x="758" y="1660"/>
                  </a:lnTo>
                  <a:lnTo>
                    <a:pt x="740" y="1662"/>
                  </a:lnTo>
                  <a:lnTo>
                    <a:pt x="734" y="1664"/>
                  </a:lnTo>
                  <a:lnTo>
                    <a:pt x="732" y="1668"/>
                  </a:lnTo>
                  <a:lnTo>
                    <a:pt x="732" y="1678"/>
                  </a:lnTo>
                  <a:lnTo>
                    <a:pt x="730" y="1700"/>
                  </a:lnTo>
                  <a:lnTo>
                    <a:pt x="730" y="1700"/>
                  </a:lnTo>
                  <a:lnTo>
                    <a:pt x="722" y="1708"/>
                  </a:lnTo>
                  <a:lnTo>
                    <a:pt x="718" y="1720"/>
                  </a:lnTo>
                  <a:lnTo>
                    <a:pt x="718" y="1720"/>
                  </a:lnTo>
                  <a:lnTo>
                    <a:pt x="698" y="1756"/>
                  </a:lnTo>
                  <a:lnTo>
                    <a:pt x="698" y="1756"/>
                  </a:lnTo>
                  <a:lnTo>
                    <a:pt x="700" y="1796"/>
                  </a:lnTo>
                  <a:lnTo>
                    <a:pt x="700" y="1796"/>
                  </a:lnTo>
                  <a:lnTo>
                    <a:pt x="688" y="1810"/>
                  </a:lnTo>
                  <a:lnTo>
                    <a:pt x="688" y="1810"/>
                  </a:lnTo>
                  <a:lnTo>
                    <a:pt x="672" y="1814"/>
                  </a:lnTo>
                  <a:lnTo>
                    <a:pt x="662" y="1816"/>
                  </a:lnTo>
                  <a:lnTo>
                    <a:pt x="654" y="1822"/>
                  </a:lnTo>
                  <a:lnTo>
                    <a:pt x="644" y="1830"/>
                  </a:lnTo>
                  <a:lnTo>
                    <a:pt x="644" y="1830"/>
                  </a:lnTo>
                  <a:lnTo>
                    <a:pt x="618" y="1836"/>
                  </a:lnTo>
                  <a:lnTo>
                    <a:pt x="590" y="1842"/>
                  </a:lnTo>
                  <a:lnTo>
                    <a:pt x="590" y="1842"/>
                  </a:lnTo>
                  <a:lnTo>
                    <a:pt x="580" y="1850"/>
                  </a:lnTo>
                  <a:lnTo>
                    <a:pt x="572" y="1856"/>
                  </a:lnTo>
                  <a:lnTo>
                    <a:pt x="566" y="1864"/>
                  </a:lnTo>
                  <a:lnTo>
                    <a:pt x="556" y="1868"/>
                  </a:lnTo>
                  <a:lnTo>
                    <a:pt x="556" y="1868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78" name="未知"/>
            <p:cNvSpPr>
              <a:spLocks/>
            </p:cNvSpPr>
            <p:nvPr/>
          </p:nvSpPr>
          <p:spPr bwMode="auto">
            <a:xfrm>
              <a:off x="3267868" y="1650449"/>
              <a:ext cx="170957" cy="181412"/>
            </a:xfrm>
            <a:custGeom>
              <a:avLst/>
              <a:gdLst>
                <a:gd name="T0" fmla="*/ 196 w 232"/>
                <a:gd name="T1" fmla="*/ 264 h 264"/>
                <a:gd name="T2" fmla="*/ 170 w 232"/>
                <a:gd name="T3" fmla="*/ 248 h 264"/>
                <a:gd name="T4" fmla="*/ 158 w 232"/>
                <a:gd name="T5" fmla="*/ 238 h 264"/>
                <a:gd name="T6" fmla="*/ 148 w 232"/>
                <a:gd name="T7" fmla="*/ 218 h 264"/>
                <a:gd name="T8" fmla="*/ 144 w 232"/>
                <a:gd name="T9" fmla="*/ 186 h 264"/>
                <a:gd name="T10" fmla="*/ 140 w 232"/>
                <a:gd name="T11" fmla="*/ 178 h 264"/>
                <a:gd name="T12" fmla="*/ 136 w 232"/>
                <a:gd name="T13" fmla="*/ 166 h 264"/>
                <a:gd name="T14" fmla="*/ 116 w 232"/>
                <a:gd name="T15" fmla="*/ 148 h 264"/>
                <a:gd name="T16" fmla="*/ 100 w 232"/>
                <a:gd name="T17" fmla="*/ 140 h 264"/>
                <a:gd name="T18" fmla="*/ 82 w 232"/>
                <a:gd name="T19" fmla="*/ 140 h 264"/>
                <a:gd name="T20" fmla="*/ 62 w 232"/>
                <a:gd name="T21" fmla="*/ 144 h 264"/>
                <a:gd name="T22" fmla="*/ 50 w 232"/>
                <a:gd name="T23" fmla="*/ 158 h 264"/>
                <a:gd name="T24" fmla="*/ 0 w 232"/>
                <a:gd name="T25" fmla="*/ 160 h 264"/>
                <a:gd name="T26" fmla="*/ 0 w 232"/>
                <a:gd name="T27" fmla="*/ 146 h 264"/>
                <a:gd name="T28" fmla="*/ 2 w 232"/>
                <a:gd name="T29" fmla="*/ 130 h 264"/>
                <a:gd name="T30" fmla="*/ 10 w 232"/>
                <a:gd name="T31" fmla="*/ 124 h 264"/>
                <a:gd name="T32" fmla="*/ 18 w 232"/>
                <a:gd name="T33" fmla="*/ 122 h 264"/>
                <a:gd name="T34" fmla="*/ 40 w 232"/>
                <a:gd name="T35" fmla="*/ 104 h 264"/>
                <a:gd name="T36" fmla="*/ 44 w 232"/>
                <a:gd name="T37" fmla="*/ 88 h 264"/>
                <a:gd name="T38" fmla="*/ 42 w 232"/>
                <a:gd name="T39" fmla="*/ 76 h 264"/>
                <a:gd name="T40" fmla="*/ 34 w 232"/>
                <a:gd name="T41" fmla="*/ 60 h 264"/>
                <a:gd name="T42" fmla="*/ 34 w 232"/>
                <a:gd name="T43" fmla="*/ 56 h 264"/>
                <a:gd name="T44" fmla="*/ 70 w 232"/>
                <a:gd name="T45" fmla="*/ 32 h 264"/>
                <a:gd name="T46" fmla="*/ 82 w 232"/>
                <a:gd name="T47" fmla="*/ 22 h 264"/>
                <a:gd name="T48" fmla="*/ 86 w 232"/>
                <a:gd name="T49" fmla="*/ 6 h 264"/>
                <a:gd name="T50" fmla="*/ 100 w 232"/>
                <a:gd name="T51" fmla="*/ 0 h 264"/>
                <a:gd name="T52" fmla="*/ 118 w 232"/>
                <a:gd name="T53" fmla="*/ 16 h 264"/>
                <a:gd name="T54" fmla="*/ 154 w 232"/>
                <a:gd name="T55" fmla="*/ 20 h 264"/>
                <a:gd name="T56" fmla="*/ 150 w 232"/>
                <a:gd name="T57" fmla="*/ 32 h 264"/>
                <a:gd name="T58" fmla="*/ 150 w 232"/>
                <a:gd name="T59" fmla="*/ 74 h 264"/>
                <a:gd name="T60" fmla="*/ 156 w 232"/>
                <a:gd name="T61" fmla="*/ 94 h 264"/>
                <a:gd name="T62" fmla="*/ 174 w 232"/>
                <a:gd name="T63" fmla="*/ 96 h 264"/>
                <a:gd name="T64" fmla="*/ 186 w 232"/>
                <a:gd name="T65" fmla="*/ 104 h 264"/>
                <a:gd name="T66" fmla="*/ 184 w 232"/>
                <a:gd name="T67" fmla="*/ 124 h 264"/>
                <a:gd name="T68" fmla="*/ 186 w 232"/>
                <a:gd name="T69" fmla="*/ 140 h 264"/>
                <a:gd name="T70" fmla="*/ 194 w 232"/>
                <a:gd name="T71" fmla="*/ 154 h 264"/>
                <a:gd name="T72" fmla="*/ 212 w 232"/>
                <a:gd name="T73" fmla="*/ 170 h 264"/>
                <a:gd name="T74" fmla="*/ 232 w 232"/>
                <a:gd name="T75" fmla="*/ 196 h 264"/>
                <a:gd name="T76" fmla="*/ 208 w 232"/>
                <a:gd name="T77" fmla="*/ 208 h 264"/>
                <a:gd name="T78" fmla="*/ 194 w 232"/>
                <a:gd name="T79" fmla="*/ 224 h 264"/>
                <a:gd name="T80" fmla="*/ 196 w 232"/>
                <a:gd name="T81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2" h="264">
                  <a:moveTo>
                    <a:pt x="196" y="264"/>
                  </a:moveTo>
                  <a:lnTo>
                    <a:pt x="196" y="264"/>
                  </a:lnTo>
                  <a:lnTo>
                    <a:pt x="182" y="256"/>
                  </a:lnTo>
                  <a:lnTo>
                    <a:pt x="170" y="248"/>
                  </a:lnTo>
                  <a:lnTo>
                    <a:pt x="158" y="238"/>
                  </a:lnTo>
                  <a:lnTo>
                    <a:pt x="158" y="238"/>
                  </a:lnTo>
                  <a:lnTo>
                    <a:pt x="152" y="228"/>
                  </a:lnTo>
                  <a:lnTo>
                    <a:pt x="148" y="218"/>
                  </a:lnTo>
                  <a:lnTo>
                    <a:pt x="146" y="202"/>
                  </a:lnTo>
                  <a:lnTo>
                    <a:pt x="144" y="186"/>
                  </a:lnTo>
                  <a:lnTo>
                    <a:pt x="142" y="182"/>
                  </a:lnTo>
                  <a:lnTo>
                    <a:pt x="140" y="178"/>
                  </a:lnTo>
                  <a:lnTo>
                    <a:pt x="140" y="178"/>
                  </a:lnTo>
                  <a:lnTo>
                    <a:pt x="136" y="166"/>
                  </a:lnTo>
                  <a:lnTo>
                    <a:pt x="136" y="166"/>
                  </a:lnTo>
                  <a:lnTo>
                    <a:pt x="116" y="148"/>
                  </a:lnTo>
                  <a:lnTo>
                    <a:pt x="108" y="144"/>
                  </a:lnTo>
                  <a:lnTo>
                    <a:pt x="100" y="140"/>
                  </a:lnTo>
                  <a:lnTo>
                    <a:pt x="92" y="138"/>
                  </a:lnTo>
                  <a:lnTo>
                    <a:pt x="82" y="140"/>
                  </a:lnTo>
                  <a:lnTo>
                    <a:pt x="62" y="144"/>
                  </a:lnTo>
                  <a:lnTo>
                    <a:pt x="62" y="144"/>
                  </a:lnTo>
                  <a:lnTo>
                    <a:pt x="56" y="152"/>
                  </a:lnTo>
                  <a:lnTo>
                    <a:pt x="50" y="158"/>
                  </a:lnTo>
                  <a:lnTo>
                    <a:pt x="50" y="158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46"/>
                  </a:lnTo>
                  <a:lnTo>
                    <a:pt x="2" y="134"/>
                  </a:lnTo>
                  <a:lnTo>
                    <a:pt x="2" y="130"/>
                  </a:lnTo>
                  <a:lnTo>
                    <a:pt x="6" y="126"/>
                  </a:lnTo>
                  <a:lnTo>
                    <a:pt x="10" y="124"/>
                  </a:lnTo>
                  <a:lnTo>
                    <a:pt x="18" y="122"/>
                  </a:lnTo>
                  <a:lnTo>
                    <a:pt x="18" y="122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2" y="96"/>
                  </a:lnTo>
                  <a:lnTo>
                    <a:pt x="44" y="88"/>
                  </a:lnTo>
                  <a:lnTo>
                    <a:pt x="44" y="82"/>
                  </a:lnTo>
                  <a:lnTo>
                    <a:pt x="42" y="76"/>
                  </a:lnTo>
                  <a:lnTo>
                    <a:pt x="36" y="66"/>
                  </a:lnTo>
                  <a:lnTo>
                    <a:pt x="34" y="60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58" y="42"/>
                  </a:lnTo>
                  <a:lnTo>
                    <a:pt x="70" y="3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4" y="12"/>
                  </a:lnTo>
                  <a:lnTo>
                    <a:pt x="86" y="6"/>
                  </a:lnTo>
                  <a:lnTo>
                    <a:pt x="90" y="2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54" y="20"/>
                  </a:lnTo>
                  <a:lnTo>
                    <a:pt x="154" y="20"/>
                  </a:lnTo>
                  <a:lnTo>
                    <a:pt x="150" y="32"/>
                  </a:lnTo>
                  <a:lnTo>
                    <a:pt x="148" y="52"/>
                  </a:lnTo>
                  <a:lnTo>
                    <a:pt x="150" y="74"/>
                  </a:lnTo>
                  <a:lnTo>
                    <a:pt x="152" y="84"/>
                  </a:lnTo>
                  <a:lnTo>
                    <a:pt x="156" y="94"/>
                  </a:lnTo>
                  <a:lnTo>
                    <a:pt x="156" y="94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86" y="104"/>
                  </a:lnTo>
                  <a:lnTo>
                    <a:pt x="186" y="104"/>
                  </a:lnTo>
                  <a:lnTo>
                    <a:pt x="184" y="124"/>
                  </a:lnTo>
                  <a:lnTo>
                    <a:pt x="184" y="132"/>
                  </a:lnTo>
                  <a:lnTo>
                    <a:pt x="186" y="140"/>
                  </a:lnTo>
                  <a:lnTo>
                    <a:pt x="188" y="146"/>
                  </a:lnTo>
                  <a:lnTo>
                    <a:pt x="194" y="154"/>
                  </a:lnTo>
                  <a:lnTo>
                    <a:pt x="200" y="162"/>
                  </a:lnTo>
                  <a:lnTo>
                    <a:pt x="212" y="170"/>
                  </a:lnTo>
                  <a:lnTo>
                    <a:pt x="212" y="170"/>
                  </a:lnTo>
                  <a:lnTo>
                    <a:pt x="232" y="196"/>
                  </a:lnTo>
                  <a:lnTo>
                    <a:pt x="232" y="196"/>
                  </a:lnTo>
                  <a:lnTo>
                    <a:pt x="208" y="208"/>
                  </a:lnTo>
                  <a:lnTo>
                    <a:pt x="200" y="214"/>
                  </a:lnTo>
                  <a:lnTo>
                    <a:pt x="194" y="224"/>
                  </a:lnTo>
                  <a:lnTo>
                    <a:pt x="194" y="224"/>
                  </a:lnTo>
                  <a:lnTo>
                    <a:pt x="196" y="264"/>
                  </a:lnTo>
                  <a:lnTo>
                    <a:pt x="196" y="264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79" name="未知"/>
            <p:cNvSpPr>
              <a:spLocks/>
            </p:cNvSpPr>
            <p:nvPr/>
          </p:nvSpPr>
          <p:spPr bwMode="auto">
            <a:xfrm>
              <a:off x="3481360" y="1408058"/>
              <a:ext cx="434345" cy="381119"/>
            </a:xfrm>
            <a:custGeom>
              <a:avLst/>
              <a:gdLst>
                <a:gd name="T0" fmla="*/ 234 w 588"/>
                <a:gd name="T1" fmla="*/ 550 h 554"/>
                <a:gd name="T2" fmla="*/ 248 w 588"/>
                <a:gd name="T3" fmla="*/ 530 h 554"/>
                <a:gd name="T4" fmla="*/ 264 w 588"/>
                <a:gd name="T5" fmla="*/ 516 h 554"/>
                <a:gd name="T6" fmla="*/ 274 w 588"/>
                <a:gd name="T7" fmla="*/ 480 h 554"/>
                <a:gd name="T8" fmla="*/ 252 w 588"/>
                <a:gd name="T9" fmla="*/ 468 h 554"/>
                <a:gd name="T10" fmla="*/ 252 w 588"/>
                <a:gd name="T11" fmla="*/ 438 h 554"/>
                <a:gd name="T12" fmla="*/ 280 w 588"/>
                <a:gd name="T13" fmla="*/ 404 h 554"/>
                <a:gd name="T14" fmla="*/ 288 w 588"/>
                <a:gd name="T15" fmla="*/ 388 h 554"/>
                <a:gd name="T16" fmla="*/ 290 w 588"/>
                <a:gd name="T17" fmla="*/ 342 h 554"/>
                <a:gd name="T18" fmla="*/ 252 w 588"/>
                <a:gd name="T19" fmla="*/ 300 h 554"/>
                <a:gd name="T20" fmla="*/ 200 w 588"/>
                <a:gd name="T21" fmla="*/ 304 h 554"/>
                <a:gd name="T22" fmla="*/ 174 w 588"/>
                <a:gd name="T23" fmla="*/ 330 h 554"/>
                <a:gd name="T24" fmla="*/ 130 w 588"/>
                <a:gd name="T25" fmla="*/ 390 h 554"/>
                <a:gd name="T26" fmla="*/ 110 w 588"/>
                <a:gd name="T27" fmla="*/ 416 h 554"/>
                <a:gd name="T28" fmla="*/ 36 w 588"/>
                <a:gd name="T29" fmla="*/ 364 h 554"/>
                <a:gd name="T30" fmla="*/ 12 w 588"/>
                <a:gd name="T31" fmla="*/ 358 h 554"/>
                <a:gd name="T32" fmla="*/ 0 w 588"/>
                <a:gd name="T33" fmla="*/ 348 h 554"/>
                <a:gd name="T34" fmla="*/ 4 w 588"/>
                <a:gd name="T35" fmla="*/ 324 h 554"/>
                <a:gd name="T36" fmla="*/ 18 w 588"/>
                <a:gd name="T37" fmla="*/ 320 h 554"/>
                <a:gd name="T38" fmla="*/ 40 w 588"/>
                <a:gd name="T39" fmla="*/ 292 h 554"/>
                <a:gd name="T40" fmla="*/ 34 w 588"/>
                <a:gd name="T41" fmla="*/ 238 h 554"/>
                <a:gd name="T42" fmla="*/ 28 w 588"/>
                <a:gd name="T43" fmla="*/ 228 h 554"/>
                <a:gd name="T44" fmla="*/ 20 w 588"/>
                <a:gd name="T45" fmla="*/ 186 h 554"/>
                <a:gd name="T46" fmla="*/ 26 w 588"/>
                <a:gd name="T47" fmla="*/ 172 h 554"/>
                <a:gd name="T48" fmla="*/ 44 w 588"/>
                <a:gd name="T49" fmla="*/ 190 h 554"/>
                <a:gd name="T50" fmla="*/ 58 w 588"/>
                <a:gd name="T51" fmla="*/ 210 h 554"/>
                <a:gd name="T52" fmla="*/ 80 w 588"/>
                <a:gd name="T53" fmla="*/ 224 h 554"/>
                <a:gd name="T54" fmla="*/ 100 w 588"/>
                <a:gd name="T55" fmla="*/ 222 h 554"/>
                <a:gd name="T56" fmla="*/ 142 w 588"/>
                <a:gd name="T57" fmla="*/ 186 h 554"/>
                <a:gd name="T58" fmla="*/ 216 w 588"/>
                <a:gd name="T59" fmla="*/ 128 h 554"/>
                <a:gd name="T60" fmla="*/ 232 w 588"/>
                <a:gd name="T61" fmla="*/ 104 h 554"/>
                <a:gd name="T62" fmla="*/ 262 w 588"/>
                <a:gd name="T63" fmla="*/ 76 h 554"/>
                <a:gd name="T64" fmla="*/ 292 w 588"/>
                <a:gd name="T65" fmla="*/ 74 h 554"/>
                <a:gd name="T66" fmla="*/ 312 w 588"/>
                <a:gd name="T67" fmla="*/ 84 h 554"/>
                <a:gd name="T68" fmla="*/ 348 w 588"/>
                <a:gd name="T69" fmla="*/ 66 h 554"/>
                <a:gd name="T70" fmla="*/ 348 w 588"/>
                <a:gd name="T71" fmla="*/ 16 h 554"/>
                <a:gd name="T72" fmla="*/ 362 w 588"/>
                <a:gd name="T73" fmla="*/ 2 h 554"/>
                <a:gd name="T74" fmla="*/ 396 w 588"/>
                <a:gd name="T75" fmla="*/ 32 h 554"/>
                <a:gd name="T76" fmla="*/ 418 w 588"/>
                <a:gd name="T77" fmla="*/ 46 h 554"/>
                <a:gd name="T78" fmla="*/ 436 w 588"/>
                <a:gd name="T79" fmla="*/ 44 h 554"/>
                <a:gd name="T80" fmla="*/ 440 w 588"/>
                <a:gd name="T81" fmla="*/ 28 h 554"/>
                <a:gd name="T82" fmla="*/ 458 w 588"/>
                <a:gd name="T83" fmla="*/ 24 h 554"/>
                <a:gd name="T84" fmla="*/ 460 w 588"/>
                <a:gd name="T85" fmla="*/ 62 h 554"/>
                <a:gd name="T86" fmla="*/ 498 w 588"/>
                <a:gd name="T87" fmla="*/ 110 h 554"/>
                <a:gd name="T88" fmla="*/ 516 w 588"/>
                <a:gd name="T89" fmla="*/ 178 h 554"/>
                <a:gd name="T90" fmla="*/ 530 w 588"/>
                <a:gd name="T91" fmla="*/ 196 h 554"/>
                <a:gd name="T92" fmla="*/ 588 w 588"/>
                <a:gd name="T93" fmla="*/ 236 h 554"/>
                <a:gd name="T94" fmla="*/ 580 w 588"/>
                <a:gd name="T95" fmla="*/ 250 h 554"/>
                <a:gd name="T96" fmla="*/ 520 w 588"/>
                <a:gd name="T97" fmla="*/ 292 h 554"/>
                <a:gd name="T98" fmla="*/ 502 w 588"/>
                <a:gd name="T99" fmla="*/ 310 h 554"/>
                <a:gd name="T100" fmla="*/ 472 w 588"/>
                <a:gd name="T101" fmla="*/ 346 h 554"/>
                <a:gd name="T102" fmla="*/ 466 w 588"/>
                <a:gd name="T103" fmla="*/ 374 h 554"/>
                <a:gd name="T104" fmla="*/ 448 w 588"/>
                <a:gd name="T105" fmla="*/ 390 h 554"/>
                <a:gd name="T106" fmla="*/ 412 w 588"/>
                <a:gd name="T107" fmla="*/ 402 h 554"/>
                <a:gd name="T108" fmla="*/ 362 w 588"/>
                <a:gd name="T109" fmla="*/ 424 h 554"/>
                <a:gd name="T110" fmla="*/ 322 w 588"/>
                <a:gd name="T111" fmla="*/ 460 h 554"/>
                <a:gd name="T112" fmla="*/ 304 w 588"/>
                <a:gd name="T113" fmla="*/ 494 h 554"/>
                <a:gd name="T114" fmla="*/ 290 w 588"/>
                <a:gd name="T115" fmla="*/ 542 h 554"/>
                <a:gd name="T116" fmla="*/ 236 w 588"/>
                <a:gd name="T117" fmla="*/ 554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88" h="554">
                  <a:moveTo>
                    <a:pt x="236" y="554"/>
                  </a:moveTo>
                  <a:lnTo>
                    <a:pt x="236" y="554"/>
                  </a:lnTo>
                  <a:lnTo>
                    <a:pt x="234" y="550"/>
                  </a:lnTo>
                  <a:lnTo>
                    <a:pt x="234" y="550"/>
                  </a:lnTo>
                  <a:lnTo>
                    <a:pt x="240" y="536"/>
                  </a:lnTo>
                  <a:lnTo>
                    <a:pt x="248" y="530"/>
                  </a:lnTo>
                  <a:lnTo>
                    <a:pt x="254" y="524"/>
                  </a:lnTo>
                  <a:lnTo>
                    <a:pt x="264" y="516"/>
                  </a:lnTo>
                  <a:lnTo>
                    <a:pt x="264" y="516"/>
                  </a:lnTo>
                  <a:lnTo>
                    <a:pt x="274" y="496"/>
                  </a:lnTo>
                  <a:lnTo>
                    <a:pt x="274" y="496"/>
                  </a:lnTo>
                  <a:lnTo>
                    <a:pt x="274" y="480"/>
                  </a:lnTo>
                  <a:lnTo>
                    <a:pt x="274" y="480"/>
                  </a:lnTo>
                  <a:lnTo>
                    <a:pt x="252" y="468"/>
                  </a:lnTo>
                  <a:lnTo>
                    <a:pt x="252" y="468"/>
                  </a:lnTo>
                  <a:lnTo>
                    <a:pt x="250" y="456"/>
                  </a:lnTo>
                  <a:lnTo>
                    <a:pt x="250" y="446"/>
                  </a:lnTo>
                  <a:lnTo>
                    <a:pt x="252" y="438"/>
                  </a:lnTo>
                  <a:lnTo>
                    <a:pt x="256" y="430"/>
                  </a:lnTo>
                  <a:lnTo>
                    <a:pt x="266" y="416"/>
                  </a:lnTo>
                  <a:lnTo>
                    <a:pt x="280" y="404"/>
                  </a:lnTo>
                  <a:lnTo>
                    <a:pt x="280" y="404"/>
                  </a:lnTo>
                  <a:lnTo>
                    <a:pt x="284" y="396"/>
                  </a:lnTo>
                  <a:lnTo>
                    <a:pt x="288" y="388"/>
                  </a:lnTo>
                  <a:lnTo>
                    <a:pt x="290" y="370"/>
                  </a:lnTo>
                  <a:lnTo>
                    <a:pt x="290" y="356"/>
                  </a:lnTo>
                  <a:lnTo>
                    <a:pt x="290" y="342"/>
                  </a:lnTo>
                  <a:lnTo>
                    <a:pt x="290" y="342"/>
                  </a:lnTo>
                  <a:lnTo>
                    <a:pt x="252" y="300"/>
                  </a:lnTo>
                  <a:lnTo>
                    <a:pt x="252" y="300"/>
                  </a:lnTo>
                  <a:lnTo>
                    <a:pt x="234" y="298"/>
                  </a:lnTo>
                  <a:lnTo>
                    <a:pt x="234" y="298"/>
                  </a:lnTo>
                  <a:lnTo>
                    <a:pt x="200" y="304"/>
                  </a:lnTo>
                  <a:lnTo>
                    <a:pt x="200" y="304"/>
                  </a:lnTo>
                  <a:lnTo>
                    <a:pt x="186" y="316"/>
                  </a:lnTo>
                  <a:lnTo>
                    <a:pt x="174" y="330"/>
                  </a:lnTo>
                  <a:lnTo>
                    <a:pt x="148" y="360"/>
                  </a:lnTo>
                  <a:lnTo>
                    <a:pt x="148" y="360"/>
                  </a:lnTo>
                  <a:lnTo>
                    <a:pt x="130" y="390"/>
                  </a:lnTo>
                  <a:lnTo>
                    <a:pt x="120" y="404"/>
                  </a:lnTo>
                  <a:lnTo>
                    <a:pt x="110" y="416"/>
                  </a:lnTo>
                  <a:lnTo>
                    <a:pt x="110" y="416"/>
                  </a:lnTo>
                  <a:lnTo>
                    <a:pt x="70" y="390"/>
                  </a:lnTo>
                  <a:lnTo>
                    <a:pt x="52" y="376"/>
                  </a:lnTo>
                  <a:lnTo>
                    <a:pt x="36" y="364"/>
                  </a:lnTo>
                  <a:lnTo>
                    <a:pt x="36" y="364"/>
                  </a:lnTo>
                  <a:lnTo>
                    <a:pt x="22" y="362"/>
                  </a:lnTo>
                  <a:lnTo>
                    <a:pt x="12" y="358"/>
                  </a:lnTo>
                  <a:lnTo>
                    <a:pt x="6" y="352"/>
                  </a:lnTo>
                  <a:lnTo>
                    <a:pt x="0" y="348"/>
                  </a:lnTo>
                  <a:lnTo>
                    <a:pt x="0" y="348"/>
                  </a:lnTo>
                  <a:lnTo>
                    <a:pt x="0" y="334"/>
                  </a:lnTo>
                  <a:lnTo>
                    <a:pt x="2" y="326"/>
                  </a:lnTo>
                  <a:lnTo>
                    <a:pt x="4" y="324"/>
                  </a:lnTo>
                  <a:lnTo>
                    <a:pt x="6" y="322"/>
                  </a:lnTo>
                  <a:lnTo>
                    <a:pt x="18" y="320"/>
                  </a:lnTo>
                  <a:lnTo>
                    <a:pt x="18" y="320"/>
                  </a:lnTo>
                  <a:lnTo>
                    <a:pt x="28" y="306"/>
                  </a:lnTo>
                  <a:lnTo>
                    <a:pt x="40" y="292"/>
                  </a:lnTo>
                  <a:lnTo>
                    <a:pt x="40" y="292"/>
                  </a:lnTo>
                  <a:lnTo>
                    <a:pt x="38" y="240"/>
                  </a:lnTo>
                  <a:lnTo>
                    <a:pt x="38" y="240"/>
                  </a:lnTo>
                  <a:lnTo>
                    <a:pt x="34" y="238"/>
                  </a:lnTo>
                  <a:lnTo>
                    <a:pt x="34" y="238"/>
                  </a:lnTo>
                  <a:lnTo>
                    <a:pt x="28" y="228"/>
                  </a:lnTo>
                  <a:lnTo>
                    <a:pt x="28" y="228"/>
                  </a:lnTo>
                  <a:lnTo>
                    <a:pt x="20" y="206"/>
                  </a:lnTo>
                  <a:lnTo>
                    <a:pt x="20" y="206"/>
                  </a:lnTo>
                  <a:lnTo>
                    <a:pt x="20" y="186"/>
                  </a:lnTo>
                  <a:lnTo>
                    <a:pt x="22" y="178"/>
                  </a:lnTo>
                  <a:lnTo>
                    <a:pt x="26" y="172"/>
                  </a:lnTo>
                  <a:lnTo>
                    <a:pt x="26" y="172"/>
                  </a:lnTo>
                  <a:lnTo>
                    <a:pt x="34" y="176"/>
                  </a:lnTo>
                  <a:lnTo>
                    <a:pt x="40" y="180"/>
                  </a:lnTo>
                  <a:lnTo>
                    <a:pt x="44" y="190"/>
                  </a:lnTo>
                  <a:lnTo>
                    <a:pt x="48" y="202"/>
                  </a:lnTo>
                  <a:lnTo>
                    <a:pt x="48" y="202"/>
                  </a:lnTo>
                  <a:lnTo>
                    <a:pt x="58" y="210"/>
                  </a:lnTo>
                  <a:lnTo>
                    <a:pt x="68" y="218"/>
                  </a:lnTo>
                  <a:lnTo>
                    <a:pt x="74" y="222"/>
                  </a:lnTo>
                  <a:lnTo>
                    <a:pt x="80" y="224"/>
                  </a:lnTo>
                  <a:lnTo>
                    <a:pt x="88" y="224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18" y="204"/>
                  </a:lnTo>
                  <a:lnTo>
                    <a:pt x="118" y="204"/>
                  </a:lnTo>
                  <a:lnTo>
                    <a:pt x="142" y="186"/>
                  </a:lnTo>
                  <a:lnTo>
                    <a:pt x="168" y="166"/>
                  </a:lnTo>
                  <a:lnTo>
                    <a:pt x="192" y="146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26" y="116"/>
                  </a:lnTo>
                  <a:lnTo>
                    <a:pt x="232" y="104"/>
                  </a:lnTo>
                  <a:lnTo>
                    <a:pt x="244" y="82"/>
                  </a:lnTo>
                  <a:lnTo>
                    <a:pt x="244" y="82"/>
                  </a:lnTo>
                  <a:lnTo>
                    <a:pt x="262" y="76"/>
                  </a:lnTo>
                  <a:lnTo>
                    <a:pt x="278" y="72"/>
                  </a:lnTo>
                  <a:lnTo>
                    <a:pt x="284" y="72"/>
                  </a:lnTo>
                  <a:lnTo>
                    <a:pt x="292" y="74"/>
                  </a:lnTo>
                  <a:lnTo>
                    <a:pt x="302" y="78"/>
                  </a:lnTo>
                  <a:lnTo>
                    <a:pt x="312" y="84"/>
                  </a:lnTo>
                  <a:lnTo>
                    <a:pt x="312" y="84"/>
                  </a:lnTo>
                  <a:lnTo>
                    <a:pt x="332" y="84"/>
                  </a:lnTo>
                  <a:lnTo>
                    <a:pt x="332" y="84"/>
                  </a:lnTo>
                  <a:lnTo>
                    <a:pt x="348" y="66"/>
                  </a:lnTo>
                  <a:lnTo>
                    <a:pt x="348" y="66"/>
                  </a:lnTo>
                  <a:lnTo>
                    <a:pt x="348" y="16"/>
                  </a:lnTo>
                  <a:lnTo>
                    <a:pt x="348" y="16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62" y="2"/>
                  </a:lnTo>
                  <a:lnTo>
                    <a:pt x="374" y="8"/>
                  </a:lnTo>
                  <a:lnTo>
                    <a:pt x="384" y="18"/>
                  </a:lnTo>
                  <a:lnTo>
                    <a:pt x="396" y="32"/>
                  </a:lnTo>
                  <a:lnTo>
                    <a:pt x="396" y="32"/>
                  </a:lnTo>
                  <a:lnTo>
                    <a:pt x="408" y="42"/>
                  </a:lnTo>
                  <a:lnTo>
                    <a:pt x="418" y="46"/>
                  </a:lnTo>
                  <a:lnTo>
                    <a:pt x="432" y="48"/>
                  </a:lnTo>
                  <a:lnTo>
                    <a:pt x="432" y="48"/>
                  </a:lnTo>
                  <a:lnTo>
                    <a:pt x="436" y="44"/>
                  </a:lnTo>
                  <a:lnTo>
                    <a:pt x="438" y="36"/>
                  </a:lnTo>
                  <a:lnTo>
                    <a:pt x="440" y="28"/>
                  </a:lnTo>
                  <a:lnTo>
                    <a:pt x="440" y="28"/>
                  </a:lnTo>
                  <a:lnTo>
                    <a:pt x="450" y="16"/>
                  </a:lnTo>
                  <a:lnTo>
                    <a:pt x="450" y="16"/>
                  </a:lnTo>
                  <a:lnTo>
                    <a:pt x="458" y="24"/>
                  </a:lnTo>
                  <a:lnTo>
                    <a:pt x="458" y="24"/>
                  </a:lnTo>
                  <a:lnTo>
                    <a:pt x="460" y="62"/>
                  </a:lnTo>
                  <a:lnTo>
                    <a:pt x="460" y="62"/>
                  </a:lnTo>
                  <a:lnTo>
                    <a:pt x="472" y="76"/>
                  </a:lnTo>
                  <a:lnTo>
                    <a:pt x="484" y="92"/>
                  </a:lnTo>
                  <a:lnTo>
                    <a:pt x="498" y="110"/>
                  </a:lnTo>
                  <a:lnTo>
                    <a:pt x="516" y="128"/>
                  </a:lnTo>
                  <a:lnTo>
                    <a:pt x="516" y="128"/>
                  </a:lnTo>
                  <a:lnTo>
                    <a:pt x="516" y="178"/>
                  </a:lnTo>
                  <a:lnTo>
                    <a:pt x="516" y="178"/>
                  </a:lnTo>
                  <a:lnTo>
                    <a:pt x="530" y="196"/>
                  </a:lnTo>
                  <a:lnTo>
                    <a:pt x="530" y="196"/>
                  </a:lnTo>
                  <a:lnTo>
                    <a:pt x="564" y="220"/>
                  </a:lnTo>
                  <a:lnTo>
                    <a:pt x="564" y="220"/>
                  </a:lnTo>
                  <a:lnTo>
                    <a:pt x="588" y="236"/>
                  </a:lnTo>
                  <a:lnTo>
                    <a:pt x="588" y="236"/>
                  </a:lnTo>
                  <a:lnTo>
                    <a:pt x="586" y="242"/>
                  </a:lnTo>
                  <a:lnTo>
                    <a:pt x="580" y="250"/>
                  </a:lnTo>
                  <a:lnTo>
                    <a:pt x="558" y="266"/>
                  </a:lnTo>
                  <a:lnTo>
                    <a:pt x="534" y="282"/>
                  </a:lnTo>
                  <a:lnTo>
                    <a:pt x="520" y="292"/>
                  </a:lnTo>
                  <a:lnTo>
                    <a:pt x="520" y="292"/>
                  </a:lnTo>
                  <a:lnTo>
                    <a:pt x="502" y="310"/>
                  </a:lnTo>
                  <a:lnTo>
                    <a:pt x="502" y="310"/>
                  </a:lnTo>
                  <a:lnTo>
                    <a:pt x="486" y="328"/>
                  </a:lnTo>
                  <a:lnTo>
                    <a:pt x="472" y="346"/>
                  </a:lnTo>
                  <a:lnTo>
                    <a:pt x="472" y="346"/>
                  </a:lnTo>
                  <a:lnTo>
                    <a:pt x="470" y="354"/>
                  </a:lnTo>
                  <a:lnTo>
                    <a:pt x="468" y="364"/>
                  </a:lnTo>
                  <a:lnTo>
                    <a:pt x="466" y="374"/>
                  </a:lnTo>
                  <a:lnTo>
                    <a:pt x="462" y="384"/>
                  </a:lnTo>
                  <a:lnTo>
                    <a:pt x="462" y="384"/>
                  </a:lnTo>
                  <a:lnTo>
                    <a:pt x="448" y="390"/>
                  </a:lnTo>
                  <a:lnTo>
                    <a:pt x="432" y="398"/>
                  </a:lnTo>
                  <a:lnTo>
                    <a:pt x="432" y="398"/>
                  </a:lnTo>
                  <a:lnTo>
                    <a:pt x="412" y="402"/>
                  </a:lnTo>
                  <a:lnTo>
                    <a:pt x="394" y="408"/>
                  </a:lnTo>
                  <a:lnTo>
                    <a:pt x="378" y="416"/>
                  </a:lnTo>
                  <a:lnTo>
                    <a:pt x="362" y="424"/>
                  </a:lnTo>
                  <a:lnTo>
                    <a:pt x="348" y="434"/>
                  </a:lnTo>
                  <a:lnTo>
                    <a:pt x="336" y="446"/>
                  </a:lnTo>
                  <a:lnTo>
                    <a:pt x="322" y="460"/>
                  </a:lnTo>
                  <a:lnTo>
                    <a:pt x="310" y="476"/>
                  </a:lnTo>
                  <a:lnTo>
                    <a:pt x="310" y="476"/>
                  </a:lnTo>
                  <a:lnTo>
                    <a:pt x="304" y="494"/>
                  </a:lnTo>
                  <a:lnTo>
                    <a:pt x="304" y="494"/>
                  </a:lnTo>
                  <a:lnTo>
                    <a:pt x="296" y="518"/>
                  </a:lnTo>
                  <a:lnTo>
                    <a:pt x="290" y="542"/>
                  </a:lnTo>
                  <a:lnTo>
                    <a:pt x="290" y="542"/>
                  </a:lnTo>
                  <a:lnTo>
                    <a:pt x="260" y="550"/>
                  </a:lnTo>
                  <a:lnTo>
                    <a:pt x="236" y="554"/>
                  </a:lnTo>
                  <a:lnTo>
                    <a:pt x="236" y="554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80" name="未知"/>
            <p:cNvSpPr>
              <a:spLocks/>
            </p:cNvSpPr>
            <p:nvPr/>
          </p:nvSpPr>
          <p:spPr bwMode="auto">
            <a:xfrm>
              <a:off x="3572972" y="1196156"/>
              <a:ext cx="619207" cy="365873"/>
            </a:xfrm>
            <a:custGeom>
              <a:avLst/>
              <a:gdLst>
                <a:gd name="T0" fmla="*/ 410 w 838"/>
                <a:gd name="T1" fmla="*/ 492 h 532"/>
                <a:gd name="T2" fmla="*/ 402 w 838"/>
                <a:gd name="T3" fmla="*/ 438 h 532"/>
                <a:gd name="T4" fmla="*/ 376 w 838"/>
                <a:gd name="T5" fmla="*/ 398 h 532"/>
                <a:gd name="T6" fmla="*/ 346 w 838"/>
                <a:gd name="T7" fmla="*/ 366 h 532"/>
                <a:gd name="T8" fmla="*/ 324 w 838"/>
                <a:gd name="T9" fmla="*/ 314 h 532"/>
                <a:gd name="T10" fmla="*/ 300 w 838"/>
                <a:gd name="T11" fmla="*/ 346 h 532"/>
                <a:gd name="T12" fmla="*/ 258 w 838"/>
                <a:gd name="T13" fmla="*/ 308 h 532"/>
                <a:gd name="T14" fmla="*/ 206 w 838"/>
                <a:gd name="T15" fmla="*/ 288 h 532"/>
                <a:gd name="T16" fmla="*/ 186 w 838"/>
                <a:gd name="T17" fmla="*/ 240 h 532"/>
                <a:gd name="T18" fmla="*/ 152 w 838"/>
                <a:gd name="T19" fmla="*/ 174 h 532"/>
                <a:gd name="T20" fmla="*/ 112 w 838"/>
                <a:gd name="T21" fmla="*/ 200 h 532"/>
                <a:gd name="T22" fmla="*/ 80 w 838"/>
                <a:gd name="T23" fmla="*/ 200 h 532"/>
                <a:gd name="T24" fmla="*/ 60 w 838"/>
                <a:gd name="T25" fmla="*/ 152 h 532"/>
                <a:gd name="T26" fmla="*/ 36 w 838"/>
                <a:gd name="T27" fmla="*/ 88 h 532"/>
                <a:gd name="T28" fmla="*/ 0 w 838"/>
                <a:gd name="T29" fmla="*/ 58 h 532"/>
                <a:gd name="T30" fmla="*/ 14 w 838"/>
                <a:gd name="T31" fmla="*/ 30 h 532"/>
                <a:gd name="T32" fmla="*/ 68 w 838"/>
                <a:gd name="T33" fmla="*/ 60 h 532"/>
                <a:gd name="T34" fmla="*/ 108 w 838"/>
                <a:gd name="T35" fmla="*/ 32 h 532"/>
                <a:gd name="T36" fmla="*/ 138 w 838"/>
                <a:gd name="T37" fmla="*/ 0 h 532"/>
                <a:gd name="T38" fmla="*/ 166 w 838"/>
                <a:gd name="T39" fmla="*/ 22 h 532"/>
                <a:gd name="T40" fmla="*/ 198 w 838"/>
                <a:gd name="T41" fmla="*/ 68 h 532"/>
                <a:gd name="T42" fmla="*/ 294 w 838"/>
                <a:gd name="T43" fmla="*/ 66 h 532"/>
                <a:gd name="T44" fmla="*/ 350 w 838"/>
                <a:gd name="T45" fmla="*/ 30 h 532"/>
                <a:gd name="T46" fmla="*/ 358 w 838"/>
                <a:gd name="T47" fmla="*/ 80 h 532"/>
                <a:gd name="T48" fmla="*/ 398 w 838"/>
                <a:gd name="T49" fmla="*/ 78 h 532"/>
                <a:gd name="T50" fmla="*/ 422 w 838"/>
                <a:gd name="T51" fmla="*/ 76 h 532"/>
                <a:gd name="T52" fmla="*/ 470 w 838"/>
                <a:gd name="T53" fmla="*/ 110 h 532"/>
                <a:gd name="T54" fmla="*/ 518 w 838"/>
                <a:gd name="T55" fmla="*/ 166 h 532"/>
                <a:gd name="T56" fmla="*/ 546 w 838"/>
                <a:gd name="T57" fmla="*/ 134 h 532"/>
                <a:gd name="T58" fmla="*/ 572 w 838"/>
                <a:gd name="T59" fmla="*/ 140 h 532"/>
                <a:gd name="T60" fmla="*/ 606 w 838"/>
                <a:gd name="T61" fmla="*/ 184 h 532"/>
                <a:gd name="T62" fmla="*/ 664 w 838"/>
                <a:gd name="T63" fmla="*/ 204 h 532"/>
                <a:gd name="T64" fmla="*/ 684 w 838"/>
                <a:gd name="T65" fmla="*/ 186 h 532"/>
                <a:gd name="T66" fmla="*/ 684 w 838"/>
                <a:gd name="T67" fmla="*/ 168 h 532"/>
                <a:gd name="T68" fmla="*/ 724 w 838"/>
                <a:gd name="T69" fmla="*/ 146 h 532"/>
                <a:gd name="T70" fmla="*/ 742 w 838"/>
                <a:gd name="T71" fmla="*/ 132 h 532"/>
                <a:gd name="T72" fmla="*/ 756 w 838"/>
                <a:gd name="T73" fmla="*/ 154 h 532"/>
                <a:gd name="T74" fmla="*/ 806 w 838"/>
                <a:gd name="T75" fmla="*/ 188 h 532"/>
                <a:gd name="T76" fmla="*/ 838 w 838"/>
                <a:gd name="T77" fmla="*/ 228 h 532"/>
                <a:gd name="T78" fmla="*/ 818 w 838"/>
                <a:gd name="T79" fmla="*/ 272 h 532"/>
                <a:gd name="T80" fmla="*/ 802 w 838"/>
                <a:gd name="T81" fmla="*/ 308 h 532"/>
                <a:gd name="T82" fmla="*/ 778 w 838"/>
                <a:gd name="T83" fmla="*/ 300 h 532"/>
                <a:gd name="T84" fmla="*/ 770 w 838"/>
                <a:gd name="T85" fmla="*/ 258 h 532"/>
                <a:gd name="T86" fmla="*/ 744 w 838"/>
                <a:gd name="T87" fmla="*/ 242 h 532"/>
                <a:gd name="T88" fmla="*/ 716 w 838"/>
                <a:gd name="T89" fmla="*/ 282 h 532"/>
                <a:gd name="T90" fmla="*/ 686 w 838"/>
                <a:gd name="T91" fmla="*/ 346 h 532"/>
                <a:gd name="T92" fmla="*/ 632 w 838"/>
                <a:gd name="T93" fmla="*/ 368 h 532"/>
                <a:gd name="T94" fmla="*/ 618 w 838"/>
                <a:gd name="T95" fmla="*/ 410 h 532"/>
                <a:gd name="T96" fmla="*/ 638 w 838"/>
                <a:gd name="T97" fmla="*/ 444 h 532"/>
                <a:gd name="T98" fmla="*/ 588 w 838"/>
                <a:gd name="T99" fmla="*/ 456 h 532"/>
                <a:gd name="T100" fmla="*/ 540 w 838"/>
                <a:gd name="T101" fmla="*/ 438 h 532"/>
                <a:gd name="T102" fmla="*/ 502 w 838"/>
                <a:gd name="T103" fmla="*/ 456 h 532"/>
                <a:gd name="T104" fmla="*/ 476 w 838"/>
                <a:gd name="T105" fmla="*/ 53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38" h="532">
                  <a:moveTo>
                    <a:pt x="464" y="532"/>
                  </a:moveTo>
                  <a:lnTo>
                    <a:pt x="464" y="532"/>
                  </a:lnTo>
                  <a:lnTo>
                    <a:pt x="452" y="520"/>
                  </a:lnTo>
                  <a:lnTo>
                    <a:pt x="436" y="508"/>
                  </a:lnTo>
                  <a:lnTo>
                    <a:pt x="410" y="492"/>
                  </a:lnTo>
                  <a:lnTo>
                    <a:pt x="410" y="492"/>
                  </a:lnTo>
                  <a:lnTo>
                    <a:pt x="402" y="482"/>
                  </a:lnTo>
                  <a:lnTo>
                    <a:pt x="402" y="482"/>
                  </a:lnTo>
                  <a:lnTo>
                    <a:pt x="404" y="450"/>
                  </a:lnTo>
                  <a:lnTo>
                    <a:pt x="402" y="438"/>
                  </a:lnTo>
                  <a:lnTo>
                    <a:pt x="398" y="426"/>
                  </a:lnTo>
                  <a:lnTo>
                    <a:pt x="398" y="426"/>
                  </a:lnTo>
                  <a:lnTo>
                    <a:pt x="388" y="416"/>
                  </a:lnTo>
                  <a:lnTo>
                    <a:pt x="382" y="410"/>
                  </a:lnTo>
                  <a:lnTo>
                    <a:pt x="376" y="398"/>
                  </a:lnTo>
                  <a:lnTo>
                    <a:pt x="376" y="398"/>
                  </a:lnTo>
                  <a:lnTo>
                    <a:pt x="348" y="368"/>
                  </a:lnTo>
                  <a:lnTo>
                    <a:pt x="348" y="368"/>
                  </a:lnTo>
                  <a:lnTo>
                    <a:pt x="346" y="366"/>
                  </a:lnTo>
                  <a:lnTo>
                    <a:pt x="346" y="366"/>
                  </a:lnTo>
                  <a:lnTo>
                    <a:pt x="344" y="326"/>
                  </a:lnTo>
                  <a:lnTo>
                    <a:pt x="344" y="326"/>
                  </a:lnTo>
                  <a:lnTo>
                    <a:pt x="336" y="318"/>
                  </a:lnTo>
                  <a:lnTo>
                    <a:pt x="330" y="314"/>
                  </a:lnTo>
                  <a:lnTo>
                    <a:pt x="324" y="314"/>
                  </a:lnTo>
                  <a:lnTo>
                    <a:pt x="318" y="314"/>
                  </a:lnTo>
                  <a:lnTo>
                    <a:pt x="318" y="314"/>
                  </a:lnTo>
                  <a:lnTo>
                    <a:pt x="312" y="322"/>
                  </a:lnTo>
                  <a:lnTo>
                    <a:pt x="308" y="328"/>
                  </a:lnTo>
                  <a:lnTo>
                    <a:pt x="300" y="346"/>
                  </a:lnTo>
                  <a:lnTo>
                    <a:pt x="300" y="346"/>
                  </a:lnTo>
                  <a:lnTo>
                    <a:pt x="296" y="346"/>
                  </a:lnTo>
                  <a:lnTo>
                    <a:pt x="296" y="346"/>
                  </a:lnTo>
                  <a:lnTo>
                    <a:pt x="270" y="320"/>
                  </a:lnTo>
                  <a:lnTo>
                    <a:pt x="258" y="308"/>
                  </a:lnTo>
                  <a:lnTo>
                    <a:pt x="246" y="300"/>
                  </a:lnTo>
                  <a:lnTo>
                    <a:pt x="246" y="300"/>
                  </a:lnTo>
                  <a:lnTo>
                    <a:pt x="228" y="296"/>
                  </a:lnTo>
                  <a:lnTo>
                    <a:pt x="216" y="292"/>
                  </a:lnTo>
                  <a:lnTo>
                    <a:pt x="206" y="288"/>
                  </a:lnTo>
                  <a:lnTo>
                    <a:pt x="200" y="280"/>
                  </a:lnTo>
                  <a:lnTo>
                    <a:pt x="194" y="274"/>
                  </a:lnTo>
                  <a:lnTo>
                    <a:pt x="192" y="264"/>
                  </a:lnTo>
                  <a:lnTo>
                    <a:pt x="186" y="240"/>
                  </a:lnTo>
                  <a:lnTo>
                    <a:pt x="186" y="240"/>
                  </a:lnTo>
                  <a:lnTo>
                    <a:pt x="180" y="224"/>
                  </a:lnTo>
                  <a:lnTo>
                    <a:pt x="170" y="210"/>
                  </a:lnTo>
                  <a:lnTo>
                    <a:pt x="156" y="190"/>
                  </a:lnTo>
                  <a:lnTo>
                    <a:pt x="156" y="190"/>
                  </a:lnTo>
                  <a:lnTo>
                    <a:pt x="152" y="174"/>
                  </a:lnTo>
                  <a:lnTo>
                    <a:pt x="152" y="174"/>
                  </a:lnTo>
                  <a:lnTo>
                    <a:pt x="144" y="172"/>
                  </a:lnTo>
                  <a:lnTo>
                    <a:pt x="144" y="172"/>
                  </a:lnTo>
                  <a:lnTo>
                    <a:pt x="112" y="200"/>
                  </a:lnTo>
                  <a:lnTo>
                    <a:pt x="112" y="200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0" y="220"/>
                  </a:lnTo>
                  <a:lnTo>
                    <a:pt x="86" y="214"/>
                  </a:lnTo>
                  <a:lnTo>
                    <a:pt x="80" y="200"/>
                  </a:lnTo>
                  <a:lnTo>
                    <a:pt x="76" y="186"/>
                  </a:lnTo>
                  <a:lnTo>
                    <a:pt x="74" y="182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60" y="152"/>
                  </a:lnTo>
                  <a:lnTo>
                    <a:pt x="60" y="152"/>
                  </a:lnTo>
                  <a:lnTo>
                    <a:pt x="60" y="116"/>
                  </a:lnTo>
                  <a:lnTo>
                    <a:pt x="60" y="116"/>
                  </a:lnTo>
                  <a:lnTo>
                    <a:pt x="48" y="100"/>
                  </a:lnTo>
                  <a:lnTo>
                    <a:pt x="36" y="8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6" y="66"/>
                  </a:lnTo>
                  <a:lnTo>
                    <a:pt x="2" y="64"/>
                  </a:lnTo>
                  <a:lnTo>
                    <a:pt x="0" y="58"/>
                  </a:lnTo>
                  <a:lnTo>
                    <a:pt x="0" y="52"/>
                  </a:lnTo>
                  <a:lnTo>
                    <a:pt x="4" y="3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28" y="40"/>
                  </a:lnTo>
                  <a:lnTo>
                    <a:pt x="42" y="50"/>
                  </a:lnTo>
                  <a:lnTo>
                    <a:pt x="58" y="56"/>
                  </a:lnTo>
                  <a:lnTo>
                    <a:pt x="68" y="60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88" y="52"/>
                  </a:lnTo>
                  <a:lnTo>
                    <a:pt x="98" y="42"/>
                  </a:lnTo>
                  <a:lnTo>
                    <a:pt x="108" y="32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28" y="8"/>
                  </a:lnTo>
                  <a:lnTo>
                    <a:pt x="134" y="4"/>
                  </a:lnTo>
                  <a:lnTo>
                    <a:pt x="138" y="0"/>
                  </a:lnTo>
                  <a:lnTo>
                    <a:pt x="144" y="0"/>
                  </a:lnTo>
                  <a:lnTo>
                    <a:pt x="152" y="4"/>
                  </a:lnTo>
                  <a:lnTo>
                    <a:pt x="158" y="10"/>
                  </a:lnTo>
                  <a:lnTo>
                    <a:pt x="166" y="22"/>
                  </a:lnTo>
                  <a:lnTo>
                    <a:pt x="166" y="22"/>
                  </a:lnTo>
                  <a:lnTo>
                    <a:pt x="168" y="32"/>
                  </a:lnTo>
                  <a:lnTo>
                    <a:pt x="172" y="42"/>
                  </a:lnTo>
                  <a:lnTo>
                    <a:pt x="180" y="52"/>
                  </a:lnTo>
                  <a:lnTo>
                    <a:pt x="188" y="60"/>
                  </a:lnTo>
                  <a:lnTo>
                    <a:pt x="198" y="68"/>
                  </a:lnTo>
                  <a:lnTo>
                    <a:pt x="210" y="74"/>
                  </a:lnTo>
                  <a:lnTo>
                    <a:pt x="224" y="78"/>
                  </a:lnTo>
                  <a:lnTo>
                    <a:pt x="238" y="82"/>
                  </a:lnTo>
                  <a:lnTo>
                    <a:pt x="238" y="82"/>
                  </a:lnTo>
                  <a:lnTo>
                    <a:pt x="294" y="66"/>
                  </a:lnTo>
                  <a:lnTo>
                    <a:pt x="294" y="66"/>
                  </a:lnTo>
                  <a:lnTo>
                    <a:pt x="340" y="26"/>
                  </a:lnTo>
                  <a:lnTo>
                    <a:pt x="340" y="26"/>
                  </a:lnTo>
                  <a:lnTo>
                    <a:pt x="350" y="30"/>
                  </a:lnTo>
                  <a:lnTo>
                    <a:pt x="350" y="30"/>
                  </a:lnTo>
                  <a:lnTo>
                    <a:pt x="348" y="46"/>
                  </a:lnTo>
                  <a:lnTo>
                    <a:pt x="348" y="54"/>
                  </a:lnTo>
                  <a:lnTo>
                    <a:pt x="348" y="64"/>
                  </a:lnTo>
                  <a:lnTo>
                    <a:pt x="352" y="72"/>
                  </a:lnTo>
                  <a:lnTo>
                    <a:pt x="358" y="80"/>
                  </a:lnTo>
                  <a:lnTo>
                    <a:pt x="366" y="84"/>
                  </a:lnTo>
                  <a:lnTo>
                    <a:pt x="380" y="86"/>
                  </a:lnTo>
                  <a:lnTo>
                    <a:pt x="380" y="86"/>
                  </a:lnTo>
                  <a:lnTo>
                    <a:pt x="388" y="82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404" y="74"/>
                  </a:lnTo>
                  <a:lnTo>
                    <a:pt x="410" y="72"/>
                  </a:lnTo>
                  <a:lnTo>
                    <a:pt x="416" y="74"/>
                  </a:lnTo>
                  <a:lnTo>
                    <a:pt x="422" y="76"/>
                  </a:lnTo>
                  <a:lnTo>
                    <a:pt x="434" y="88"/>
                  </a:lnTo>
                  <a:lnTo>
                    <a:pt x="446" y="102"/>
                  </a:lnTo>
                  <a:lnTo>
                    <a:pt x="446" y="102"/>
                  </a:lnTo>
                  <a:lnTo>
                    <a:pt x="470" y="110"/>
                  </a:lnTo>
                  <a:lnTo>
                    <a:pt x="470" y="110"/>
                  </a:lnTo>
                  <a:lnTo>
                    <a:pt x="478" y="122"/>
                  </a:lnTo>
                  <a:lnTo>
                    <a:pt x="488" y="136"/>
                  </a:lnTo>
                  <a:lnTo>
                    <a:pt x="500" y="152"/>
                  </a:lnTo>
                  <a:lnTo>
                    <a:pt x="518" y="166"/>
                  </a:lnTo>
                  <a:lnTo>
                    <a:pt x="518" y="166"/>
                  </a:lnTo>
                  <a:lnTo>
                    <a:pt x="526" y="166"/>
                  </a:lnTo>
                  <a:lnTo>
                    <a:pt x="526" y="166"/>
                  </a:lnTo>
                  <a:lnTo>
                    <a:pt x="536" y="156"/>
                  </a:lnTo>
                  <a:lnTo>
                    <a:pt x="542" y="144"/>
                  </a:lnTo>
                  <a:lnTo>
                    <a:pt x="546" y="134"/>
                  </a:lnTo>
                  <a:lnTo>
                    <a:pt x="550" y="122"/>
                  </a:lnTo>
                  <a:lnTo>
                    <a:pt x="550" y="122"/>
                  </a:lnTo>
                  <a:lnTo>
                    <a:pt x="568" y="128"/>
                  </a:lnTo>
                  <a:lnTo>
                    <a:pt x="568" y="128"/>
                  </a:lnTo>
                  <a:lnTo>
                    <a:pt x="572" y="140"/>
                  </a:lnTo>
                  <a:lnTo>
                    <a:pt x="580" y="154"/>
                  </a:lnTo>
                  <a:lnTo>
                    <a:pt x="592" y="168"/>
                  </a:lnTo>
                  <a:lnTo>
                    <a:pt x="606" y="180"/>
                  </a:lnTo>
                  <a:lnTo>
                    <a:pt x="606" y="180"/>
                  </a:lnTo>
                  <a:lnTo>
                    <a:pt x="606" y="184"/>
                  </a:lnTo>
                  <a:lnTo>
                    <a:pt x="606" y="184"/>
                  </a:lnTo>
                  <a:lnTo>
                    <a:pt x="632" y="206"/>
                  </a:lnTo>
                  <a:lnTo>
                    <a:pt x="632" y="206"/>
                  </a:lnTo>
                  <a:lnTo>
                    <a:pt x="664" y="204"/>
                  </a:lnTo>
                  <a:lnTo>
                    <a:pt x="664" y="204"/>
                  </a:lnTo>
                  <a:lnTo>
                    <a:pt x="670" y="196"/>
                  </a:lnTo>
                  <a:lnTo>
                    <a:pt x="678" y="190"/>
                  </a:lnTo>
                  <a:lnTo>
                    <a:pt x="678" y="190"/>
                  </a:lnTo>
                  <a:lnTo>
                    <a:pt x="680" y="188"/>
                  </a:lnTo>
                  <a:lnTo>
                    <a:pt x="684" y="186"/>
                  </a:lnTo>
                  <a:lnTo>
                    <a:pt x="690" y="180"/>
                  </a:lnTo>
                  <a:lnTo>
                    <a:pt x="690" y="180"/>
                  </a:lnTo>
                  <a:lnTo>
                    <a:pt x="690" y="172"/>
                  </a:lnTo>
                  <a:lnTo>
                    <a:pt x="690" y="172"/>
                  </a:lnTo>
                  <a:lnTo>
                    <a:pt x="684" y="168"/>
                  </a:lnTo>
                  <a:lnTo>
                    <a:pt x="684" y="168"/>
                  </a:lnTo>
                  <a:lnTo>
                    <a:pt x="684" y="164"/>
                  </a:lnTo>
                  <a:lnTo>
                    <a:pt x="688" y="160"/>
                  </a:lnTo>
                  <a:lnTo>
                    <a:pt x="700" y="154"/>
                  </a:lnTo>
                  <a:lnTo>
                    <a:pt x="724" y="146"/>
                  </a:lnTo>
                  <a:lnTo>
                    <a:pt x="724" y="146"/>
                  </a:lnTo>
                  <a:lnTo>
                    <a:pt x="730" y="142"/>
                  </a:lnTo>
                  <a:lnTo>
                    <a:pt x="734" y="140"/>
                  </a:lnTo>
                  <a:lnTo>
                    <a:pt x="734" y="140"/>
                  </a:lnTo>
                  <a:lnTo>
                    <a:pt x="742" y="132"/>
                  </a:lnTo>
                  <a:lnTo>
                    <a:pt x="742" y="132"/>
                  </a:lnTo>
                  <a:lnTo>
                    <a:pt x="744" y="134"/>
                  </a:lnTo>
                  <a:lnTo>
                    <a:pt x="746" y="136"/>
                  </a:lnTo>
                  <a:lnTo>
                    <a:pt x="750" y="144"/>
                  </a:lnTo>
                  <a:lnTo>
                    <a:pt x="756" y="154"/>
                  </a:lnTo>
                  <a:lnTo>
                    <a:pt x="762" y="158"/>
                  </a:lnTo>
                  <a:lnTo>
                    <a:pt x="770" y="162"/>
                  </a:lnTo>
                  <a:lnTo>
                    <a:pt x="770" y="162"/>
                  </a:lnTo>
                  <a:lnTo>
                    <a:pt x="806" y="188"/>
                  </a:lnTo>
                  <a:lnTo>
                    <a:pt x="806" y="188"/>
                  </a:lnTo>
                  <a:lnTo>
                    <a:pt x="838" y="194"/>
                  </a:lnTo>
                  <a:lnTo>
                    <a:pt x="838" y="194"/>
                  </a:lnTo>
                  <a:lnTo>
                    <a:pt x="838" y="204"/>
                  </a:lnTo>
                  <a:lnTo>
                    <a:pt x="838" y="220"/>
                  </a:lnTo>
                  <a:lnTo>
                    <a:pt x="838" y="228"/>
                  </a:lnTo>
                  <a:lnTo>
                    <a:pt x="836" y="236"/>
                  </a:lnTo>
                  <a:lnTo>
                    <a:pt x="834" y="242"/>
                  </a:lnTo>
                  <a:lnTo>
                    <a:pt x="828" y="246"/>
                  </a:lnTo>
                  <a:lnTo>
                    <a:pt x="828" y="246"/>
                  </a:lnTo>
                  <a:lnTo>
                    <a:pt x="818" y="272"/>
                  </a:lnTo>
                  <a:lnTo>
                    <a:pt x="818" y="272"/>
                  </a:lnTo>
                  <a:lnTo>
                    <a:pt x="812" y="306"/>
                  </a:lnTo>
                  <a:lnTo>
                    <a:pt x="812" y="306"/>
                  </a:lnTo>
                  <a:lnTo>
                    <a:pt x="802" y="308"/>
                  </a:lnTo>
                  <a:lnTo>
                    <a:pt x="802" y="308"/>
                  </a:lnTo>
                  <a:lnTo>
                    <a:pt x="800" y="302"/>
                  </a:lnTo>
                  <a:lnTo>
                    <a:pt x="796" y="300"/>
                  </a:lnTo>
                  <a:lnTo>
                    <a:pt x="792" y="298"/>
                  </a:lnTo>
                  <a:lnTo>
                    <a:pt x="788" y="298"/>
                  </a:lnTo>
                  <a:lnTo>
                    <a:pt x="778" y="300"/>
                  </a:lnTo>
                  <a:lnTo>
                    <a:pt x="774" y="302"/>
                  </a:lnTo>
                  <a:lnTo>
                    <a:pt x="774" y="302"/>
                  </a:lnTo>
                  <a:lnTo>
                    <a:pt x="770" y="300"/>
                  </a:lnTo>
                  <a:lnTo>
                    <a:pt x="770" y="300"/>
                  </a:lnTo>
                  <a:lnTo>
                    <a:pt x="770" y="258"/>
                  </a:lnTo>
                  <a:lnTo>
                    <a:pt x="770" y="258"/>
                  </a:lnTo>
                  <a:lnTo>
                    <a:pt x="762" y="248"/>
                  </a:lnTo>
                  <a:lnTo>
                    <a:pt x="756" y="244"/>
                  </a:lnTo>
                  <a:lnTo>
                    <a:pt x="750" y="242"/>
                  </a:lnTo>
                  <a:lnTo>
                    <a:pt x="744" y="242"/>
                  </a:lnTo>
                  <a:lnTo>
                    <a:pt x="738" y="244"/>
                  </a:lnTo>
                  <a:lnTo>
                    <a:pt x="732" y="250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16" y="282"/>
                  </a:lnTo>
                  <a:lnTo>
                    <a:pt x="708" y="302"/>
                  </a:lnTo>
                  <a:lnTo>
                    <a:pt x="698" y="320"/>
                  </a:lnTo>
                  <a:lnTo>
                    <a:pt x="690" y="340"/>
                  </a:lnTo>
                  <a:lnTo>
                    <a:pt x="690" y="340"/>
                  </a:lnTo>
                  <a:lnTo>
                    <a:pt x="686" y="346"/>
                  </a:lnTo>
                  <a:lnTo>
                    <a:pt x="680" y="354"/>
                  </a:lnTo>
                  <a:lnTo>
                    <a:pt x="680" y="354"/>
                  </a:lnTo>
                  <a:lnTo>
                    <a:pt x="666" y="362"/>
                  </a:lnTo>
                  <a:lnTo>
                    <a:pt x="652" y="366"/>
                  </a:lnTo>
                  <a:lnTo>
                    <a:pt x="632" y="368"/>
                  </a:lnTo>
                  <a:lnTo>
                    <a:pt x="624" y="372"/>
                  </a:lnTo>
                  <a:lnTo>
                    <a:pt x="622" y="374"/>
                  </a:lnTo>
                  <a:lnTo>
                    <a:pt x="620" y="378"/>
                  </a:lnTo>
                  <a:lnTo>
                    <a:pt x="618" y="390"/>
                  </a:lnTo>
                  <a:lnTo>
                    <a:pt x="618" y="410"/>
                  </a:lnTo>
                  <a:lnTo>
                    <a:pt x="618" y="410"/>
                  </a:lnTo>
                  <a:lnTo>
                    <a:pt x="644" y="432"/>
                  </a:lnTo>
                  <a:lnTo>
                    <a:pt x="644" y="432"/>
                  </a:lnTo>
                  <a:lnTo>
                    <a:pt x="642" y="438"/>
                  </a:lnTo>
                  <a:lnTo>
                    <a:pt x="638" y="444"/>
                  </a:lnTo>
                  <a:lnTo>
                    <a:pt x="628" y="454"/>
                  </a:lnTo>
                  <a:lnTo>
                    <a:pt x="628" y="454"/>
                  </a:lnTo>
                  <a:lnTo>
                    <a:pt x="620" y="456"/>
                  </a:lnTo>
                  <a:lnTo>
                    <a:pt x="610" y="456"/>
                  </a:lnTo>
                  <a:lnTo>
                    <a:pt x="588" y="456"/>
                  </a:lnTo>
                  <a:lnTo>
                    <a:pt x="570" y="452"/>
                  </a:lnTo>
                  <a:lnTo>
                    <a:pt x="556" y="448"/>
                  </a:lnTo>
                  <a:lnTo>
                    <a:pt x="556" y="448"/>
                  </a:lnTo>
                  <a:lnTo>
                    <a:pt x="548" y="442"/>
                  </a:lnTo>
                  <a:lnTo>
                    <a:pt x="540" y="438"/>
                  </a:lnTo>
                  <a:lnTo>
                    <a:pt x="532" y="436"/>
                  </a:lnTo>
                  <a:lnTo>
                    <a:pt x="526" y="438"/>
                  </a:lnTo>
                  <a:lnTo>
                    <a:pt x="520" y="440"/>
                  </a:lnTo>
                  <a:lnTo>
                    <a:pt x="514" y="446"/>
                  </a:lnTo>
                  <a:lnTo>
                    <a:pt x="502" y="456"/>
                  </a:lnTo>
                  <a:lnTo>
                    <a:pt x="502" y="456"/>
                  </a:lnTo>
                  <a:lnTo>
                    <a:pt x="480" y="520"/>
                  </a:lnTo>
                  <a:lnTo>
                    <a:pt x="480" y="520"/>
                  </a:lnTo>
                  <a:lnTo>
                    <a:pt x="476" y="530"/>
                  </a:lnTo>
                  <a:lnTo>
                    <a:pt x="476" y="530"/>
                  </a:lnTo>
                  <a:lnTo>
                    <a:pt x="464" y="532"/>
                  </a:lnTo>
                  <a:lnTo>
                    <a:pt x="464" y="532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81" name="未知"/>
            <p:cNvSpPr>
              <a:spLocks/>
            </p:cNvSpPr>
            <p:nvPr/>
          </p:nvSpPr>
          <p:spPr bwMode="auto">
            <a:xfrm>
              <a:off x="3444551" y="646584"/>
              <a:ext cx="822883" cy="686013"/>
            </a:xfrm>
            <a:custGeom>
              <a:avLst/>
              <a:gdLst>
                <a:gd name="T0" fmla="*/ 750 w 1114"/>
                <a:gd name="T1" fmla="*/ 920 h 996"/>
                <a:gd name="T2" fmla="*/ 698 w 1114"/>
                <a:gd name="T3" fmla="*/ 952 h 996"/>
                <a:gd name="T4" fmla="*/ 656 w 1114"/>
                <a:gd name="T5" fmla="*/ 908 h 996"/>
                <a:gd name="T6" fmla="*/ 614 w 1114"/>
                <a:gd name="T7" fmla="*/ 872 h 996"/>
                <a:gd name="T8" fmla="*/ 568 w 1114"/>
                <a:gd name="T9" fmla="*/ 866 h 996"/>
                <a:gd name="T10" fmla="*/ 534 w 1114"/>
                <a:gd name="T11" fmla="*/ 824 h 996"/>
                <a:gd name="T12" fmla="*/ 488 w 1114"/>
                <a:gd name="T13" fmla="*/ 834 h 996"/>
                <a:gd name="T14" fmla="*/ 442 w 1114"/>
                <a:gd name="T15" fmla="*/ 860 h 996"/>
                <a:gd name="T16" fmla="*/ 360 w 1114"/>
                <a:gd name="T17" fmla="*/ 840 h 996"/>
                <a:gd name="T18" fmla="*/ 320 w 1114"/>
                <a:gd name="T19" fmla="*/ 790 h 996"/>
                <a:gd name="T20" fmla="*/ 288 w 1114"/>
                <a:gd name="T21" fmla="*/ 776 h 996"/>
                <a:gd name="T22" fmla="*/ 324 w 1114"/>
                <a:gd name="T23" fmla="*/ 756 h 996"/>
                <a:gd name="T24" fmla="*/ 288 w 1114"/>
                <a:gd name="T25" fmla="*/ 712 h 996"/>
                <a:gd name="T26" fmla="*/ 244 w 1114"/>
                <a:gd name="T27" fmla="*/ 716 h 996"/>
                <a:gd name="T28" fmla="*/ 220 w 1114"/>
                <a:gd name="T29" fmla="*/ 662 h 996"/>
                <a:gd name="T30" fmla="*/ 268 w 1114"/>
                <a:gd name="T31" fmla="*/ 592 h 996"/>
                <a:gd name="T32" fmla="*/ 304 w 1114"/>
                <a:gd name="T33" fmla="*/ 516 h 996"/>
                <a:gd name="T34" fmla="*/ 314 w 1114"/>
                <a:gd name="T35" fmla="*/ 550 h 996"/>
                <a:gd name="T36" fmla="*/ 358 w 1114"/>
                <a:gd name="T37" fmla="*/ 568 h 996"/>
                <a:gd name="T38" fmla="*/ 358 w 1114"/>
                <a:gd name="T39" fmla="*/ 484 h 996"/>
                <a:gd name="T40" fmla="*/ 360 w 1114"/>
                <a:gd name="T41" fmla="*/ 428 h 996"/>
                <a:gd name="T42" fmla="*/ 338 w 1114"/>
                <a:gd name="T43" fmla="*/ 348 h 996"/>
                <a:gd name="T44" fmla="*/ 362 w 1114"/>
                <a:gd name="T45" fmla="*/ 252 h 996"/>
                <a:gd name="T46" fmla="*/ 314 w 1114"/>
                <a:gd name="T47" fmla="*/ 158 h 996"/>
                <a:gd name="T48" fmla="*/ 252 w 1114"/>
                <a:gd name="T49" fmla="*/ 188 h 996"/>
                <a:gd name="T50" fmla="*/ 166 w 1114"/>
                <a:gd name="T51" fmla="*/ 218 h 996"/>
                <a:gd name="T52" fmla="*/ 130 w 1114"/>
                <a:gd name="T53" fmla="*/ 192 h 996"/>
                <a:gd name="T54" fmla="*/ 102 w 1114"/>
                <a:gd name="T55" fmla="*/ 126 h 996"/>
                <a:gd name="T56" fmla="*/ 44 w 1114"/>
                <a:gd name="T57" fmla="*/ 140 h 996"/>
                <a:gd name="T58" fmla="*/ 20 w 1114"/>
                <a:gd name="T59" fmla="*/ 96 h 996"/>
                <a:gd name="T60" fmla="*/ 72 w 1114"/>
                <a:gd name="T61" fmla="*/ 10 h 996"/>
                <a:gd name="T62" fmla="*/ 168 w 1114"/>
                <a:gd name="T63" fmla="*/ 16 h 996"/>
                <a:gd name="T64" fmla="*/ 282 w 1114"/>
                <a:gd name="T65" fmla="*/ 26 h 996"/>
                <a:gd name="T66" fmla="*/ 392 w 1114"/>
                <a:gd name="T67" fmla="*/ 184 h 996"/>
                <a:gd name="T68" fmla="*/ 458 w 1114"/>
                <a:gd name="T69" fmla="*/ 278 h 996"/>
                <a:gd name="T70" fmla="*/ 498 w 1114"/>
                <a:gd name="T71" fmla="*/ 330 h 996"/>
                <a:gd name="T72" fmla="*/ 570 w 1114"/>
                <a:gd name="T73" fmla="*/ 354 h 996"/>
                <a:gd name="T74" fmla="*/ 638 w 1114"/>
                <a:gd name="T75" fmla="*/ 366 h 996"/>
                <a:gd name="T76" fmla="*/ 716 w 1114"/>
                <a:gd name="T77" fmla="*/ 396 h 996"/>
                <a:gd name="T78" fmla="*/ 770 w 1114"/>
                <a:gd name="T79" fmla="*/ 448 h 996"/>
                <a:gd name="T80" fmla="*/ 814 w 1114"/>
                <a:gd name="T81" fmla="*/ 512 h 996"/>
                <a:gd name="T82" fmla="*/ 912 w 1114"/>
                <a:gd name="T83" fmla="*/ 486 h 996"/>
                <a:gd name="T84" fmla="*/ 990 w 1114"/>
                <a:gd name="T85" fmla="*/ 404 h 996"/>
                <a:gd name="T86" fmla="*/ 1084 w 1114"/>
                <a:gd name="T87" fmla="*/ 340 h 996"/>
                <a:gd name="T88" fmla="*/ 1084 w 1114"/>
                <a:gd name="T89" fmla="*/ 412 h 996"/>
                <a:gd name="T90" fmla="*/ 1112 w 1114"/>
                <a:gd name="T91" fmla="*/ 498 h 996"/>
                <a:gd name="T92" fmla="*/ 1096 w 1114"/>
                <a:gd name="T93" fmla="*/ 584 h 996"/>
                <a:gd name="T94" fmla="*/ 1088 w 1114"/>
                <a:gd name="T95" fmla="*/ 732 h 996"/>
                <a:gd name="T96" fmla="*/ 1028 w 1114"/>
                <a:gd name="T97" fmla="*/ 748 h 996"/>
                <a:gd name="T98" fmla="*/ 974 w 1114"/>
                <a:gd name="T99" fmla="*/ 772 h 996"/>
                <a:gd name="T100" fmla="*/ 942 w 1114"/>
                <a:gd name="T101" fmla="*/ 800 h 996"/>
                <a:gd name="T102" fmla="*/ 984 w 1114"/>
                <a:gd name="T103" fmla="*/ 910 h 996"/>
                <a:gd name="T104" fmla="*/ 972 w 1114"/>
                <a:gd name="T105" fmla="*/ 968 h 996"/>
                <a:gd name="T106" fmla="*/ 928 w 1114"/>
                <a:gd name="T107" fmla="*/ 924 h 996"/>
                <a:gd name="T108" fmla="*/ 904 w 1114"/>
                <a:gd name="T109" fmla="*/ 930 h 996"/>
                <a:gd name="T110" fmla="*/ 848 w 1114"/>
                <a:gd name="T111" fmla="*/ 972 h 996"/>
                <a:gd name="T112" fmla="*/ 812 w 1114"/>
                <a:gd name="T113" fmla="*/ 996 h 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14" h="996">
                  <a:moveTo>
                    <a:pt x="812" y="996"/>
                  </a:moveTo>
                  <a:lnTo>
                    <a:pt x="812" y="996"/>
                  </a:lnTo>
                  <a:lnTo>
                    <a:pt x="772" y="958"/>
                  </a:lnTo>
                  <a:lnTo>
                    <a:pt x="772" y="958"/>
                  </a:lnTo>
                  <a:lnTo>
                    <a:pt x="760" y="936"/>
                  </a:lnTo>
                  <a:lnTo>
                    <a:pt x="754" y="926"/>
                  </a:lnTo>
                  <a:lnTo>
                    <a:pt x="750" y="920"/>
                  </a:lnTo>
                  <a:lnTo>
                    <a:pt x="742" y="916"/>
                  </a:lnTo>
                  <a:lnTo>
                    <a:pt x="736" y="912"/>
                  </a:lnTo>
                  <a:lnTo>
                    <a:pt x="726" y="910"/>
                  </a:lnTo>
                  <a:lnTo>
                    <a:pt x="716" y="912"/>
                  </a:lnTo>
                  <a:lnTo>
                    <a:pt x="716" y="912"/>
                  </a:lnTo>
                  <a:lnTo>
                    <a:pt x="698" y="952"/>
                  </a:lnTo>
                  <a:lnTo>
                    <a:pt x="698" y="952"/>
                  </a:lnTo>
                  <a:lnTo>
                    <a:pt x="692" y="950"/>
                  </a:lnTo>
                  <a:lnTo>
                    <a:pt x="684" y="946"/>
                  </a:lnTo>
                  <a:lnTo>
                    <a:pt x="672" y="932"/>
                  </a:lnTo>
                  <a:lnTo>
                    <a:pt x="664" y="918"/>
                  </a:lnTo>
                  <a:lnTo>
                    <a:pt x="660" y="910"/>
                  </a:lnTo>
                  <a:lnTo>
                    <a:pt x="660" y="910"/>
                  </a:lnTo>
                  <a:lnTo>
                    <a:pt x="656" y="908"/>
                  </a:lnTo>
                  <a:lnTo>
                    <a:pt x="654" y="904"/>
                  </a:lnTo>
                  <a:lnTo>
                    <a:pt x="650" y="896"/>
                  </a:lnTo>
                  <a:lnTo>
                    <a:pt x="650" y="896"/>
                  </a:lnTo>
                  <a:lnTo>
                    <a:pt x="628" y="892"/>
                  </a:lnTo>
                  <a:lnTo>
                    <a:pt x="628" y="892"/>
                  </a:lnTo>
                  <a:lnTo>
                    <a:pt x="620" y="880"/>
                  </a:lnTo>
                  <a:lnTo>
                    <a:pt x="614" y="872"/>
                  </a:lnTo>
                  <a:lnTo>
                    <a:pt x="608" y="868"/>
                  </a:lnTo>
                  <a:lnTo>
                    <a:pt x="602" y="864"/>
                  </a:lnTo>
                  <a:lnTo>
                    <a:pt x="588" y="862"/>
                  </a:lnTo>
                  <a:lnTo>
                    <a:pt x="572" y="860"/>
                  </a:lnTo>
                  <a:lnTo>
                    <a:pt x="572" y="860"/>
                  </a:lnTo>
                  <a:lnTo>
                    <a:pt x="568" y="866"/>
                  </a:lnTo>
                  <a:lnTo>
                    <a:pt x="568" y="866"/>
                  </a:lnTo>
                  <a:lnTo>
                    <a:pt x="554" y="870"/>
                  </a:lnTo>
                  <a:lnTo>
                    <a:pt x="544" y="870"/>
                  </a:lnTo>
                  <a:lnTo>
                    <a:pt x="538" y="866"/>
                  </a:lnTo>
                  <a:lnTo>
                    <a:pt x="536" y="860"/>
                  </a:lnTo>
                  <a:lnTo>
                    <a:pt x="534" y="852"/>
                  </a:lnTo>
                  <a:lnTo>
                    <a:pt x="534" y="842"/>
                  </a:lnTo>
                  <a:lnTo>
                    <a:pt x="534" y="824"/>
                  </a:lnTo>
                  <a:lnTo>
                    <a:pt x="534" y="824"/>
                  </a:lnTo>
                  <a:lnTo>
                    <a:pt x="526" y="816"/>
                  </a:lnTo>
                  <a:lnTo>
                    <a:pt x="520" y="814"/>
                  </a:lnTo>
                  <a:lnTo>
                    <a:pt x="514" y="812"/>
                  </a:lnTo>
                  <a:lnTo>
                    <a:pt x="506" y="812"/>
                  </a:lnTo>
                  <a:lnTo>
                    <a:pt x="506" y="812"/>
                  </a:lnTo>
                  <a:lnTo>
                    <a:pt x="488" y="834"/>
                  </a:lnTo>
                  <a:lnTo>
                    <a:pt x="488" y="834"/>
                  </a:lnTo>
                  <a:lnTo>
                    <a:pt x="474" y="842"/>
                  </a:lnTo>
                  <a:lnTo>
                    <a:pt x="474" y="842"/>
                  </a:lnTo>
                  <a:lnTo>
                    <a:pt x="468" y="848"/>
                  </a:lnTo>
                  <a:lnTo>
                    <a:pt x="460" y="852"/>
                  </a:lnTo>
                  <a:lnTo>
                    <a:pt x="452" y="858"/>
                  </a:lnTo>
                  <a:lnTo>
                    <a:pt x="442" y="860"/>
                  </a:lnTo>
                  <a:lnTo>
                    <a:pt x="422" y="866"/>
                  </a:lnTo>
                  <a:lnTo>
                    <a:pt x="404" y="868"/>
                  </a:lnTo>
                  <a:lnTo>
                    <a:pt x="404" y="868"/>
                  </a:lnTo>
                  <a:lnTo>
                    <a:pt x="380" y="858"/>
                  </a:lnTo>
                  <a:lnTo>
                    <a:pt x="372" y="852"/>
                  </a:lnTo>
                  <a:lnTo>
                    <a:pt x="364" y="846"/>
                  </a:lnTo>
                  <a:lnTo>
                    <a:pt x="360" y="840"/>
                  </a:lnTo>
                  <a:lnTo>
                    <a:pt x="354" y="832"/>
                  </a:lnTo>
                  <a:lnTo>
                    <a:pt x="348" y="814"/>
                  </a:lnTo>
                  <a:lnTo>
                    <a:pt x="348" y="814"/>
                  </a:lnTo>
                  <a:lnTo>
                    <a:pt x="336" y="796"/>
                  </a:lnTo>
                  <a:lnTo>
                    <a:pt x="332" y="792"/>
                  </a:lnTo>
                  <a:lnTo>
                    <a:pt x="330" y="790"/>
                  </a:lnTo>
                  <a:lnTo>
                    <a:pt x="320" y="790"/>
                  </a:lnTo>
                  <a:lnTo>
                    <a:pt x="304" y="788"/>
                  </a:lnTo>
                  <a:lnTo>
                    <a:pt x="304" y="788"/>
                  </a:lnTo>
                  <a:lnTo>
                    <a:pt x="302" y="790"/>
                  </a:lnTo>
                  <a:lnTo>
                    <a:pt x="302" y="790"/>
                  </a:lnTo>
                  <a:lnTo>
                    <a:pt x="294" y="786"/>
                  </a:lnTo>
                  <a:lnTo>
                    <a:pt x="290" y="782"/>
                  </a:lnTo>
                  <a:lnTo>
                    <a:pt x="288" y="776"/>
                  </a:lnTo>
                  <a:lnTo>
                    <a:pt x="286" y="770"/>
                  </a:lnTo>
                  <a:lnTo>
                    <a:pt x="286" y="770"/>
                  </a:lnTo>
                  <a:lnTo>
                    <a:pt x="294" y="768"/>
                  </a:lnTo>
                  <a:lnTo>
                    <a:pt x="304" y="766"/>
                  </a:lnTo>
                  <a:lnTo>
                    <a:pt x="314" y="762"/>
                  </a:lnTo>
                  <a:lnTo>
                    <a:pt x="324" y="756"/>
                  </a:lnTo>
                  <a:lnTo>
                    <a:pt x="324" y="756"/>
                  </a:lnTo>
                  <a:lnTo>
                    <a:pt x="322" y="736"/>
                  </a:lnTo>
                  <a:lnTo>
                    <a:pt x="318" y="722"/>
                  </a:lnTo>
                  <a:lnTo>
                    <a:pt x="318" y="722"/>
                  </a:lnTo>
                  <a:lnTo>
                    <a:pt x="310" y="708"/>
                  </a:lnTo>
                  <a:lnTo>
                    <a:pt x="310" y="708"/>
                  </a:lnTo>
                  <a:lnTo>
                    <a:pt x="296" y="708"/>
                  </a:lnTo>
                  <a:lnTo>
                    <a:pt x="288" y="712"/>
                  </a:lnTo>
                  <a:lnTo>
                    <a:pt x="284" y="720"/>
                  </a:lnTo>
                  <a:lnTo>
                    <a:pt x="278" y="732"/>
                  </a:lnTo>
                  <a:lnTo>
                    <a:pt x="278" y="732"/>
                  </a:lnTo>
                  <a:lnTo>
                    <a:pt x="270" y="732"/>
                  </a:lnTo>
                  <a:lnTo>
                    <a:pt x="264" y="730"/>
                  </a:lnTo>
                  <a:lnTo>
                    <a:pt x="252" y="724"/>
                  </a:lnTo>
                  <a:lnTo>
                    <a:pt x="244" y="716"/>
                  </a:lnTo>
                  <a:lnTo>
                    <a:pt x="234" y="712"/>
                  </a:lnTo>
                  <a:lnTo>
                    <a:pt x="234" y="712"/>
                  </a:lnTo>
                  <a:lnTo>
                    <a:pt x="232" y="702"/>
                  </a:lnTo>
                  <a:lnTo>
                    <a:pt x="228" y="696"/>
                  </a:lnTo>
                  <a:lnTo>
                    <a:pt x="220" y="686"/>
                  </a:lnTo>
                  <a:lnTo>
                    <a:pt x="220" y="686"/>
                  </a:lnTo>
                  <a:lnTo>
                    <a:pt x="220" y="662"/>
                  </a:lnTo>
                  <a:lnTo>
                    <a:pt x="220" y="662"/>
                  </a:lnTo>
                  <a:lnTo>
                    <a:pt x="232" y="650"/>
                  </a:lnTo>
                  <a:lnTo>
                    <a:pt x="244" y="640"/>
                  </a:lnTo>
                  <a:lnTo>
                    <a:pt x="260" y="616"/>
                  </a:lnTo>
                  <a:lnTo>
                    <a:pt x="260" y="616"/>
                  </a:lnTo>
                  <a:lnTo>
                    <a:pt x="264" y="602"/>
                  </a:lnTo>
                  <a:lnTo>
                    <a:pt x="268" y="592"/>
                  </a:lnTo>
                  <a:lnTo>
                    <a:pt x="274" y="582"/>
                  </a:lnTo>
                  <a:lnTo>
                    <a:pt x="280" y="572"/>
                  </a:lnTo>
                  <a:lnTo>
                    <a:pt x="292" y="556"/>
                  </a:lnTo>
                  <a:lnTo>
                    <a:pt x="298" y="546"/>
                  </a:lnTo>
                  <a:lnTo>
                    <a:pt x="302" y="536"/>
                  </a:lnTo>
                  <a:lnTo>
                    <a:pt x="302" y="536"/>
                  </a:lnTo>
                  <a:lnTo>
                    <a:pt x="304" y="516"/>
                  </a:lnTo>
                  <a:lnTo>
                    <a:pt x="304" y="516"/>
                  </a:lnTo>
                  <a:lnTo>
                    <a:pt x="308" y="518"/>
                  </a:lnTo>
                  <a:lnTo>
                    <a:pt x="312" y="520"/>
                  </a:lnTo>
                  <a:lnTo>
                    <a:pt x="316" y="528"/>
                  </a:lnTo>
                  <a:lnTo>
                    <a:pt x="316" y="528"/>
                  </a:lnTo>
                  <a:lnTo>
                    <a:pt x="316" y="538"/>
                  </a:lnTo>
                  <a:lnTo>
                    <a:pt x="314" y="550"/>
                  </a:lnTo>
                  <a:lnTo>
                    <a:pt x="316" y="556"/>
                  </a:lnTo>
                  <a:lnTo>
                    <a:pt x="318" y="562"/>
                  </a:lnTo>
                  <a:lnTo>
                    <a:pt x="322" y="568"/>
                  </a:lnTo>
                  <a:lnTo>
                    <a:pt x="330" y="572"/>
                  </a:lnTo>
                  <a:lnTo>
                    <a:pt x="330" y="572"/>
                  </a:lnTo>
                  <a:lnTo>
                    <a:pt x="348" y="572"/>
                  </a:lnTo>
                  <a:lnTo>
                    <a:pt x="358" y="568"/>
                  </a:lnTo>
                  <a:lnTo>
                    <a:pt x="366" y="562"/>
                  </a:lnTo>
                  <a:lnTo>
                    <a:pt x="366" y="562"/>
                  </a:lnTo>
                  <a:lnTo>
                    <a:pt x="368" y="524"/>
                  </a:lnTo>
                  <a:lnTo>
                    <a:pt x="368" y="508"/>
                  </a:lnTo>
                  <a:lnTo>
                    <a:pt x="366" y="494"/>
                  </a:lnTo>
                  <a:lnTo>
                    <a:pt x="366" y="494"/>
                  </a:lnTo>
                  <a:lnTo>
                    <a:pt x="358" y="484"/>
                  </a:lnTo>
                  <a:lnTo>
                    <a:pt x="352" y="474"/>
                  </a:lnTo>
                  <a:lnTo>
                    <a:pt x="348" y="466"/>
                  </a:lnTo>
                  <a:lnTo>
                    <a:pt x="348" y="458"/>
                  </a:lnTo>
                  <a:lnTo>
                    <a:pt x="350" y="452"/>
                  </a:lnTo>
                  <a:lnTo>
                    <a:pt x="352" y="444"/>
                  </a:lnTo>
                  <a:lnTo>
                    <a:pt x="360" y="428"/>
                  </a:lnTo>
                  <a:lnTo>
                    <a:pt x="360" y="428"/>
                  </a:lnTo>
                  <a:lnTo>
                    <a:pt x="358" y="410"/>
                  </a:lnTo>
                  <a:lnTo>
                    <a:pt x="352" y="392"/>
                  </a:lnTo>
                  <a:lnTo>
                    <a:pt x="346" y="380"/>
                  </a:lnTo>
                  <a:lnTo>
                    <a:pt x="340" y="372"/>
                  </a:lnTo>
                  <a:lnTo>
                    <a:pt x="340" y="372"/>
                  </a:lnTo>
                  <a:lnTo>
                    <a:pt x="338" y="348"/>
                  </a:lnTo>
                  <a:lnTo>
                    <a:pt x="338" y="348"/>
                  </a:lnTo>
                  <a:lnTo>
                    <a:pt x="350" y="320"/>
                  </a:lnTo>
                  <a:lnTo>
                    <a:pt x="350" y="320"/>
                  </a:lnTo>
                  <a:lnTo>
                    <a:pt x="352" y="306"/>
                  </a:lnTo>
                  <a:lnTo>
                    <a:pt x="354" y="294"/>
                  </a:lnTo>
                  <a:lnTo>
                    <a:pt x="364" y="268"/>
                  </a:lnTo>
                  <a:lnTo>
                    <a:pt x="364" y="268"/>
                  </a:lnTo>
                  <a:lnTo>
                    <a:pt x="362" y="252"/>
                  </a:lnTo>
                  <a:lnTo>
                    <a:pt x="360" y="236"/>
                  </a:lnTo>
                  <a:lnTo>
                    <a:pt x="356" y="218"/>
                  </a:lnTo>
                  <a:lnTo>
                    <a:pt x="350" y="202"/>
                  </a:lnTo>
                  <a:lnTo>
                    <a:pt x="342" y="188"/>
                  </a:lnTo>
                  <a:lnTo>
                    <a:pt x="334" y="174"/>
                  </a:lnTo>
                  <a:lnTo>
                    <a:pt x="324" y="164"/>
                  </a:lnTo>
                  <a:lnTo>
                    <a:pt x="314" y="158"/>
                  </a:lnTo>
                  <a:lnTo>
                    <a:pt x="314" y="158"/>
                  </a:lnTo>
                  <a:lnTo>
                    <a:pt x="296" y="158"/>
                  </a:lnTo>
                  <a:lnTo>
                    <a:pt x="284" y="160"/>
                  </a:lnTo>
                  <a:lnTo>
                    <a:pt x="272" y="164"/>
                  </a:lnTo>
                  <a:lnTo>
                    <a:pt x="262" y="172"/>
                  </a:lnTo>
                  <a:lnTo>
                    <a:pt x="262" y="172"/>
                  </a:lnTo>
                  <a:lnTo>
                    <a:pt x="252" y="188"/>
                  </a:lnTo>
                  <a:lnTo>
                    <a:pt x="244" y="198"/>
                  </a:lnTo>
                  <a:lnTo>
                    <a:pt x="234" y="204"/>
                  </a:lnTo>
                  <a:lnTo>
                    <a:pt x="216" y="208"/>
                  </a:lnTo>
                  <a:lnTo>
                    <a:pt x="216" y="208"/>
                  </a:lnTo>
                  <a:lnTo>
                    <a:pt x="198" y="210"/>
                  </a:lnTo>
                  <a:lnTo>
                    <a:pt x="182" y="214"/>
                  </a:lnTo>
                  <a:lnTo>
                    <a:pt x="166" y="218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44" y="218"/>
                  </a:lnTo>
                  <a:lnTo>
                    <a:pt x="138" y="212"/>
                  </a:lnTo>
                  <a:lnTo>
                    <a:pt x="134" y="208"/>
                  </a:lnTo>
                  <a:lnTo>
                    <a:pt x="132" y="202"/>
                  </a:lnTo>
                  <a:lnTo>
                    <a:pt x="130" y="192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4" y="164"/>
                  </a:lnTo>
                  <a:lnTo>
                    <a:pt x="118" y="148"/>
                  </a:lnTo>
                  <a:lnTo>
                    <a:pt x="110" y="136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86" y="120"/>
                  </a:lnTo>
                  <a:lnTo>
                    <a:pt x="72" y="116"/>
                  </a:lnTo>
                  <a:lnTo>
                    <a:pt x="62" y="114"/>
                  </a:lnTo>
                  <a:lnTo>
                    <a:pt x="54" y="116"/>
                  </a:lnTo>
                  <a:lnTo>
                    <a:pt x="48" y="122"/>
                  </a:lnTo>
                  <a:lnTo>
                    <a:pt x="46" y="130"/>
                  </a:lnTo>
                  <a:lnTo>
                    <a:pt x="44" y="140"/>
                  </a:lnTo>
                  <a:lnTo>
                    <a:pt x="44" y="156"/>
                  </a:lnTo>
                  <a:lnTo>
                    <a:pt x="44" y="156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88" y="4"/>
                  </a:lnTo>
                  <a:lnTo>
                    <a:pt x="104" y="0"/>
                  </a:lnTo>
                  <a:lnTo>
                    <a:pt x="122" y="0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56" y="10"/>
                  </a:lnTo>
                  <a:lnTo>
                    <a:pt x="168" y="16"/>
                  </a:lnTo>
                  <a:lnTo>
                    <a:pt x="184" y="18"/>
                  </a:lnTo>
                  <a:lnTo>
                    <a:pt x="204" y="20"/>
                  </a:lnTo>
                  <a:lnTo>
                    <a:pt x="204" y="20"/>
                  </a:lnTo>
                  <a:lnTo>
                    <a:pt x="224" y="16"/>
                  </a:lnTo>
                  <a:lnTo>
                    <a:pt x="240" y="14"/>
                  </a:lnTo>
                  <a:lnTo>
                    <a:pt x="258" y="18"/>
                  </a:lnTo>
                  <a:lnTo>
                    <a:pt x="282" y="26"/>
                  </a:lnTo>
                  <a:lnTo>
                    <a:pt x="282" y="26"/>
                  </a:lnTo>
                  <a:lnTo>
                    <a:pt x="324" y="78"/>
                  </a:lnTo>
                  <a:lnTo>
                    <a:pt x="348" y="106"/>
                  </a:lnTo>
                  <a:lnTo>
                    <a:pt x="374" y="136"/>
                  </a:lnTo>
                  <a:lnTo>
                    <a:pt x="374" y="136"/>
                  </a:lnTo>
                  <a:lnTo>
                    <a:pt x="392" y="184"/>
                  </a:lnTo>
                  <a:lnTo>
                    <a:pt x="392" y="184"/>
                  </a:lnTo>
                  <a:lnTo>
                    <a:pt x="436" y="222"/>
                  </a:lnTo>
                  <a:lnTo>
                    <a:pt x="436" y="222"/>
                  </a:lnTo>
                  <a:lnTo>
                    <a:pt x="446" y="236"/>
                  </a:lnTo>
                  <a:lnTo>
                    <a:pt x="452" y="246"/>
                  </a:lnTo>
                  <a:lnTo>
                    <a:pt x="456" y="258"/>
                  </a:lnTo>
                  <a:lnTo>
                    <a:pt x="458" y="278"/>
                  </a:lnTo>
                  <a:lnTo>
                    <a:pt x="458" y="278"/>
                  </a:lnTo>
                  <a:lnTo>
                    <a:pt x="464" y="284"/>
                  </a:lnTo>
                  <a:lnTo>
                    <a:pt x="470" y="290"/>
                  </a:lnTo>
                  <a:lnTo>
                    <a:pt x="492" y="306"/>
                  </a:lnTo>
                  <a:lnTo>
                    <a:pt x="492" y="306"/>
                  </a:lnTo>
                  <a:lnTo>
                    <a:pt x="496" y="314"/>
                  </a:lnTo>
                  <a:lnTo>
                    <a:pt x="496" y="314"/>
                  </a:lnTo>
                  <a:lnTo>
                    <a:pt x="498" y="330"/>
                  </a:lnTo>
                  <a:lnTo>
                    <a:pt x="504" y="354"/>
                  </a:lnTo>
                  <a:lnTo>
                    <a:pt x="504" y="354"/>
                  </a:lnTo>
                  <a:lnTo>
                    <a:pt x="514" y="358"/>
                  </a:lnTo>
                  <a:lnTo>
                    <a:pt x="532" y="358"/>
                  </a:lnTo>
                  <a:lnTo>
                    <a:pt x="552" y="356"/>
                  </a:lnTo>
                  <a:lnTo>
                    <a:pt x="570" y="354"/>
                  </a:lnTo>
                  <a:lnTo>
                    <a:pt x="570" y="354"/>
                  </a:lnTo>
                  <a:lnTo>
                    <a:pt x="580" y="354"/>
                  </a:lnTo>
                  <a:lnTo>
                    <a:pt x="588" y="354"/>
                  </a:lnTo>
                  <a:lnTo>
                    <a:pt x="600" y="358"/>
                  </a:lnTo>
                  <a:lnTo>
                    <a:pt x="614" y="366"/>
                  </a:lnTo>
                  <a:lnTo>
                    <a:pt x="614" y="366"/>
                  </a:lnTo>
                  <a:lnTo>
                    <a:pt x="638" y="366"/>
                  </a:lnTo>
                  <a:lnTo>
                    <a:pt x="638" y="366"/>
                  </a:lnTo>
                  <a:lnTo>
                    <a:pt x="642" y="362"/>
                  </a:lnTo>
                  <a:lnTo>
                    <a:pt x="646" y="360"/>
                  </a:lnTo>
                  <a:lnTo>
                    <a:pt x="662" y="358"/>
                  </a:lnTo>
                  <a:lnTo>
                    <a:pt x="662" y="358"/>
                  </a:lnTo>
                  <a:lnTo>
                    <a:pt x="704" y="396"/>
                  </a:lnTo>
                  <a:lnTo>
                    <a:pt x="704" y="396"/>
                  </a:lnTo>
                  <a:lnTo>
                    <a:pt x="716" y="396"/>
                  </a:lnTo>
                  <a:lnTo>
                    <a:pt x="728" y="396"/>
                  </a:lnTo>
                  <a:lnTo>
                    <a:pt x="740" y="400"/>
                  </a:lnTo>
                  <a:lnTo>
                    <a:pt x="748" y="404"/>
                  </a:lnTo>
                  <a:lnTo>
                    <a:pt x="754" y="410"/>
                  </a:lnTo>
                  <a:lnTo>
                    <a:pt x="754" y="410"/>
                  </a:lnTo>
                  <a:lnTo>
                    <a:pt x="770" y="448"/>
                  </a:lnTo>
                  <a:lnTo>
                    <a:pt x="770" y="448"/>
                  </a:lnTo>
                  <a:lnTo>
                    <a:pt x="772" y="458"/>
                  </a:lnTo>
                  <a:lnTo>
                    <a:pt x="778" y="470"/>
                  </a:lnTo>
                  <a:lnTo>
                    <a:pt x="784" y="484"/>
                  </a:lnTo>
                  <a:lnTo>
                    <a:pt x="792" y="496"/>
                  </a:lnTo>
                  <a:lnTo>
                    <a:pt x="802" y="506"/>
                  </a:lnTo>
                  <a:lnTo>
                    <a:pt x="808" y="510"/>
                  </a:lnTo>
                  <a:lnTo>
                    <a:pt x="814" y="512"/>
                  </a:lnTo>
                  <a:lnTo>
                    <a:pt x="822" y="514"/>
                  </a:lnTo>
                  <a:lnTo>
                    <a:pt x="830" y="512"/>
                  </a:lnTo>
                  <a:lnTo>
                    <a:pt x="838" y="510"/>
                  </a:lnTo>
                  <a:lnTo>
                    <a:pt x="846" y="506"/>
                  </a:lnTo>
                  <a:lnTo>
                    <a:pt x="846" y="506"/>
                  </a:lnTo>
                  <a:lnTo>
                    <a:pt x="878" y="498"/>
                  </a:lnTo>
                  <a:lnTo>
                    <a:pt x="912" y="486"/>
                  </a:lnTo>
                  <a:lnTo>
                    <a:pt x="912" y="486"/>
                  </a:lnTo>
                  <a:lnTo>
                    <a:pt x="928" y="476"/>
                  </a:lnTo>
                  <a:lnTo>
                    <a:pt x="928" y="476"/>
                  </a:lnTo>
                  <a:lnTo>
                    <a:pt x="942" y="454"/>
                  </a:lnTo>
                  <a:lnTo>
                    <a:pt x="956" y="436"/>
                  </a:lnTo>
                  <a:lnTo>
                    <a:pt x="972" y="420"/>
                  </a:lnTo>
                  <a:lnTo>
                    <a:pt x="990" y="404"/>
                  </a:lnTo>
                  <a:lnTo>
                    <a:pt x="990" y="404"/>
                  </a:lnTo>
                  <a:lnTo>
                    <a:pt x="1016" y="376"/>
                  </a:lnTo>
                  <a:lnTo>
                    <a:pt x="1016" y="376"/>
                  </a:lnTo>
                  <a:lnTo>
                    <a:pt x="1064" y="336"/>
                  </a:lnTo>
                  <a:lnTo>
                    <a:pt x="1064" y="336"/>
                  </a:lnTo>
                  <a:lnTo>
                    <a:pt x="1078" y="338"/>
                  </a:lnTo>
                  <a:lnTo>
                    <a:pt x="1084" y="340"/>
                  </a:lnTo>
                  <a:lnTo>
                    <a:pt x="1086" y="342"/>
                  </a:lnTo>
                  <a:lnTo>
                    <a:pt x="1088" y="346"/>
                  </a:lnTo>
                  <a:lnTo>
                    <a:pt x="1086" y="350"/>
                  </a:lnTo>
                  <a:lnTo>
                    <a:pt x="1084" y="370"/>
                  </a:lnTo>
                  <a:lnTo>
                    <a:pt x="1084" y="370"/>
                  </a:lnTo>
                  <a:lnTo>
                    <a:pt x="1084" y="412"/>
                  </a:lnTo>
                  <a:lnTo>
                    <a:pt x="1084" y="412"/>
                  </a:lnTo>
                  <a:lnTo>
                    <a:pt x="1100" y="428"/>
                  </a:lnTo>
                  <a:lnTo>
                    <a:pt x="1108" y="442"/>
                  </a:lnTo>
                  <a:lnTo>
                    <a:pt x="1112" y="448"/>
                  </a:lnTo>
                  <a:lnTo>
                    <a:pt x="1114" y="456"/>
                  </a:lnTo>
                  <a:lnTo>
                    <a:pt x="1114" y="456"/>
                  </a:lnTo>
                  <a:lnTo>
                    <a:pt x="1112" y="498"/>
                  </a:lnTo>
                  <a:lnTo>
                    <a:pt x="1112" y="498"/>
                  </a:lnTo>
                  <a:lnTo>
                    <a:pt x="1102" y="524"/>
                  </a:lnTo>
                  <a:lnTo>
                    <a:pt x="1102" y="524"/>
                  </a:lnTo>
                  <a:lnTo>
                    <a:pt x="1098" y="530"/>
                  </a:lnTo>
                  <a:lnTo>
                    <a:pt x="1094" y="536"/>
                  </a:lnTo>
                  <a:lnTo>
                    <a:pt x="1092" y="550"/>
                  </a:lnTo>
                  <a:lnTo>
                    <a:pt x="1094" y="566"/>
                  </a:lnTo>
                  <a:lnTo>
                    <a:pt x="1096" y="584"/>
                  </a:lnTo>
                  <a:lnTo>
                    <a:pt x="1096" y="584"/>
                  </a:lnTo>
                  <a:lnTo>
                    <a:pt x="1096" y="650"/>
                  </a:lnTo>
                  <a:lnTo>
                    <a:pt x="1096" y="650"/>
                  </a:lnTo>
                  <a:lnTo>
                    <a:pt x="1086" y="690"/>
                  </a:lnTo>
                  <a:lnTo>
                    <a:pt x="1086" y="690"/>
                  </a:lnTo>
                  <a:lnTo>
                    <a:pt x="1088" y="732"/>
                  </a:lnTo>
                  <a:lnTo>
                    <a:pt x="1088" y="732"/>
                  </a:lnTo>
                  <a:lnTo>
                    <a:pt x="1080" y="742"/>
                  </a:lnTo>
                  <a:lnTo>
                    <a:pt x="1074" y="746"/>
                  </a:lnTo>
                  <a:lnTo>
                    <a:pt x="1068" y="750"/>
                  </a:lnTo>
                  <a:lnTo>
                    <a:pt x="1068" y="750"/>
                  </a:lnTo>
                  <a:lnTo>
                    <a:pt x="1046" y="752"/>
                  </a:lnTo>
                  <a:lnTo>
                    <a:pt x="1046" y="752"/>
                  </a:lnTo>
                  <a:lnTo>
                    <a:pt x="1028" y="748"/>
                  </a:lnTo>
                  <a:lnTo>
                    <a:pt x="1014" y="746"/>
                  </a:lnTo>
                  <a:lnTo>
                    <a:pt x="990" y="744"/>
                  </a:lnTo>
                  <a:lnTo>
                    <a:pt x="990" y="744"/>
                  </a:lnTo>
                  <a:lnTo>
                    <a:pt x="986" y="752"/>
                  </a:lnTo>
                  <a:lnTo>
                    <a:pt x="982" y="758"/>
                  </a:lnTo>
                  <a:lnTo>
                    <a:pt x="978" y="764"/>
                  </a:lnTo>
                  <a:lnTo>
                    <a:pt x="974" y="772"/>
                  </a:lnTo>
                  <a:lnTo>
                    <a:pt x="974" y="772"/>
                  </a:lnTo>
                  <a:lnTo>
                    <a:pt x="964" y="774"/>
                  </a:lnTo>
                  <a:lnTo>
                    <a:pt x="956" y="778"/>
                  </a:lnTo>
                  <a:lnTo>
                    <a:pt x="950" y="782"/>
                  </a:lnTo>
                  <a:lnTo>
                    <a:pt x="946" y="788"/>
                  </a:lnTo>
                  <a:lnTo>
                    <a:pt x="944" y="794"/>
                  </a:lnTo>
                  <a:lnTo>
                    <a:pt x="942" y="800"/>
                  </a:lnTo>
                  <a:lnTo>
                    <a:pt x="944" y="820"/>
                  </a:lnTo>
                  <a:lnTo>
                    <a:pt x="944" y="820"/>
                  </a:lnTo>
                  <a:lnTo>
                    <a:pt x="960" y="846"/>
                  </a:lnTo>
                  <a:lnTo>
                    <a:pt x="960" y="846"/>
                  </a:lnTo>
                  <a:lnTo>
                    <a:pt x="964" y="866"/>
                  </a:lnTo>
                  <a:lnTo>
                    <a:pt x="972" y="888"/>
                  </a:lnTo>
                  <a:lnTo>
                    <a:pt x="984" y="910"/>
                  </a:lnTo>
                  <a:lnTo>
                    <a:pt x="996" y="936"/>
                  </a:lnTo>
                  <a:lnTo>
                    <a:pt x="996" y="936"/>
                  </a:lnTo>
                  <a:lnTo>
                    <a:pt x="1006" y="976"/>
                  </a:lnTo>
                  <a:lnTo>
                    <a:pt x="1006" y="976"/>
                  </a:lnTo>
                  <a:lnTo>
                    <a:pt x="992" y="976"/>
                  </a:lnTo>
                  <a:lnTo>
                    <a:pt x="982" y="972"/>
                  </a:lnTo>
                  <a:lnTo>
                    <a:pt x="972" y="968"/>
                  </a:lnTo>
                  <a:lnTo>
                    <a:pt x="962" y="962"/>
                  </a:lnTo>
                  <a:lnTo>
                    <a:pt x="948" y="950"/>
                  </a:lnTo>
                  <a:lnTo>
                    <a:pt x="936" y="942"/>
                  </a:lnTo>
                  <a:lnTo>
                    <a:pt x="936" y="942"/>
                  </a:lnTo>
                  <a:lnTo>
                    <a:pt x="934" y="934"/>
                  </a:lnTo>
                  <a:lnTo>
                    <a:pt x="932" y="928"/>
                  </a:lnTo>
                  <a:lnTo>
                    <a:pt x="928" y="924"/>
                  </a:lnTo>
                  <a:lnTo>
                    <a:pt x="924" y="920"/>
                  </a:lnTo>
                  <a:lnTo>
                    <a:pt x="918" y="920"/>
                  </a:lnTo>
                  <a:lnTo>
                    <a:pt x="914" y="918"/>
                  </a:lnTo>
                  <a:lnTo>
                    <a:pt x="910" y="920"/>
                  </a:lnTo>
                  <a:lnTo>
                    <a:pt x="906" y="922"/>
                  </a:lnTo>
                  <a:lnTo>
                    <a:pt x="906" y="922"/>
                  </a:lnTo>
                  <a:lnTo>
                    <a:pt x="904" y="930"/>
                  </a:lnTo>
                  <a:lnTo>
                    <a:pt x="904" y="930"/>
                  </a:lnTo>
                  <a:lnTo>
                    <a:pt x="888" y="934"/>
                  </a:lnTo>
                  <a:lnTo>
                    <a:pt x="874" y="940"/>
                  </a:lnTo>
                  <a:lnTo>
                    <a:pt x="848" y="954"/>
                  </a:lnTo>
                  <a:lnTo>
                    <a:pt x="848" y="954"/>
                  </a:lnTo>
                  <a:lnTo>
                    <a:pt x="848" y="972"/>
                  </a:lnTo>
                  <a:lnTo>
                    <a:pt x="848" y="972"/>
                  </a:lnTo>
                  <a:lnTo>
                    <a:pt x="852" y="976"/>
                  </a:lnTo>
                  <a:lnTo>
                    <a:pt x="852" y="976"/>
                  </a:lnTo>
                  <a:lnTo>
                    <a:pt x="840" y="982"/>
                  </a:lnTo>
                  <a:lnTo>
                    <a:pt x="832" y="992"/>
                  </a:lnTo>
                  <a:lnTo>
                    <a:pt x="832" y="992"/>
                  </a:lnTo>
                  <a:lnTo>
                    <a:pt x="812" y="996"/>
                  </a:lnTo>
                  <a:lnTo>
                    <a:pt x="812" y="996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82" name="未知"/>
            <p:cNvSpPr>
              <a:spLocks/>
            </p:cNvSpPr>
            <p:nvPr/>
          </p:nvSpPr>
          <p:spPr bwMode="auto">
            <a:xfrm>
              <a:off x="1794696" y="1520869"/>
              <a:ext cx="1041282" cy="825502"/>
            </a:xfrm>
            <a:custGeom>
              <a:avLst/>
              <a:gdLst>
                <a:gd name="T0" fmla="*/ 1230 w 1410"/>
                <a:gd name="T1" fmla="*/ 918 h 1200"/>
                <a:gd name="T2" fmla="*/ 1196 w 1410"/>
                <a:gd name="T3" fmla="*/ 976 h 1200"/>
                <a:gd name="T4" fmla="*/ 1214 w 1410"/>
                <a:gd name="T5" fmla="*/ 1092 h 1200"/>
                <a:gd name="T6" fmla="*/ 1172 w 1410"/>
                <a:gd name="T7" fmla="*/ 1136 h 1200"/>
                <a:gd name="T8" fmla="*/ 1124 w 1410"/>
                <a:gd name="T9" fmla="*/ 1194 h 1200"/>
                <a:gd name="T10" fmla="*/ 1036 w 1410"/>
                <a:gd name="T11" fmla="*/ 1182 h 1200"/>
                <a:gd name="T12" fmla="*/ 972 w 1410"/>
                <a:gd name="T13" fmla="*/ 1096 h 1200"/>
                <a:gd name="T14" fmla="*/ 908 w 1410"/>
                <a:gd name="T15" fmla="*/ 1054 h 1200"/>
                <a:gd name="T16" fmla="*/ 834 w 1410"/>
                <a:gd name="T17" fmla="*/ 1030 h 1200"/>
                <a:gd name="T18" fmla="*/ 826 w 1410"/>
                <a:gd name="T19" fmla="*/ 1080 h 1200"/>
                <a:gd name="T20" fmla="*/ 788 w 1410"/>
                <a:gd name="T21" fmla="*/ 1120 h 1200"/>
                <a:gd name="T22" fmla="*/ 696 w 1410"/>
                <a:gd name="T23" fmla="*/ 1046 h 1200"/>
                <a:gd name="T24" fmla="*/ 764 w 1410"/>
                <a:gd name="T25" fmla="*/ 1022 h 1200"/>
                <a:gd name="T26" fmla="*/ 812 w 1410"/>
                <a:gd name="T27" fmla="*/ 1010 h 1200"/>
                <a:gd name="T28" fmla="*/ 818 w 1410"/>
                <a:gd name="T29" fmla="*/ 922 h 1200"/>
                <a:gd name="T30" fmla="*/ 878 w 1410"/>
                <a:gd name="T31" fmla="*/ 860 h 1200"/>
                <a:gd name="T32" fmla="*/ 876 w 1410"/>
                <a:gd name="T33" fmla="*/ 776 h 1200"/>
                <a:gd name="T34" fmla="*/ 846 w 1410"/>
                <a:gd name="T35" fmla="*/ 662 h 1200"/>
                <a:gd name="T36" fmla="*/ 760 w 1410"/>
                <a:gd name="T37" fmla="*/ 608 h 1200"/>
                <a:gd name="T38" fmla="*/ 638 w 1410"/>
                <a:gd name="T39" fmla="*/ 510 h 1200"/>
                <a:gd name="T40" fmla="*/ 506 w 1410"/>
                <a:gd name="T41" fmla="*/ 456 h 1200"/>
                <a:gd name="T42" fmla="*/ 412 w 1410"/>
                <a:gd name="T43" fmla="*/ 428 h 1200"/>
                <a:gd name="T44" fmla="*/ 356 w 1410"/>
                <a:gd name="T45" fmla="*/ 460 h 1200"/>
                <a:gd name="T46" fmla="*/ 318 w 1410"/>
                <a:gd name="T47" fmla="*/ 494 h 1200"/>
                <a:gd name="T48" fmla="*/ 182 w 1410"/>
                <a:gd name="T49" fmla="*/ 398 h 1200"/>
                <a:gd name="T50" fmla="*/ 42 w 1410"/>
                <a:gd name="T51" fmla="*/ 378 h 1200"/>
                <a:gd name="T52" fmla="*/ 8 w 1410"/>
                <a:gd name="T53" fmla="*/ 326 h 1200"/>
                <a:gd name="T54" fmla="*/ 12 w 1410"/>
                <a:gd name="T55" fmla="*/ 278 h 1200"/>
                <a:gd name="T56" fmla="*/ 100 w 1410"/>
                <a:gd name="T57" fmla="*/ 232 h 1200"/>
                <a:gd name="T58" fmla="*/ 156 w 1410"/>
                <a:gd name="T59" fmla="*/ 146 h 1200"/>
                <a:gd name="T60" fmla="*/ 274 w 1410"/>
                <a:gd name="T61" fmla="*/ 120 h 1200"/>
                <a:gd name="T62" fmla="*/ 308 w 1410"/>
                <a:gd name="T63" fmla="*/ 38 h 1200"/>
                <a:gd name="T64" fmla="*/ 346 w 1410"/>
                <a:gd name="T65" fmla="*/ 4 h 1200"/>
                <a:gd name="T66" fmla="*/ 450 w 1410"/>
                <a:gd name="T67" fmla="*/ 90 h 1200"/>
                <a:gd name="T68" fmla="*/ 446 w 1410"/>
                <a:gd name="T69" fmla="*/ 180 h 1200"/>
                <a:gd name="T70" fmla="*/ 506 w 1410"/>
                <a:gd name="T71" fmla="*/ 280 h 1200"/>
                <a:gd name="T72" fmla="*/ 652 w 1410"/>
                <a:gd name="T73" fmla="*/ 252 h 1200"/>
                <a:gd name="T74" fmla="*/ 626 w 1410"/>
                <a:gd name="T75" fmla="*/ 314 h 1200"/>
                <a:gd name="T76" fmla="*/ 632 w 1410"/>
                <a:gd name="T77" fmla="*/ 372 h 1200"/>
                <a:gd name="T78" fmla="*/ 702 w 1410"/>
                <a:gd name="T79" fmla="*/ 456 h 1200"/>
                <a:gd name="T80" fmla="*/ 780 w 1410"/>
                <a:gd name="T81" fmla="*/ 514 h 1200"/>
                <a:gd name="T82" fmla="*/ 808 w 1410"/>
                <a:gd name="T83" fmla="*/ 456 h 1200"/>
                <a:gd name="T84" fmla="*/ 868 w 1410"/>
                <a:gd name="T85" fmla="*/ 450 h 1200"/>
                <a:gd name="T86" fmla="*/ 938 w 1410"/>
                <a:gd name="T87" fmla="*/ 438 h 1200"/>
                <a:gd name="T88" fmla="*/ 1002 w 1410"/>
                <a:gd name="T89" fmla="*/ 440 h 1200"/>
                <a:gd name="T90" fmla="*/ 940 w 1410"/>
                <a:gd name="T91" fmla="*/ 512 h 1200"/>
                <a:gd name="T92" fmla="*/ 974 w 1410"/>
                <a:gd name="T93" fmla="*/ 642 h 1200"/>
                <a:gd name="T94" fmla="*/ 1024 w 1410"/>
                <a:gd name="T95" fmla="*/ 652 h 1200"/>
                <a:gd name="T96" fmla="*/ 1106 w 1410"/>
                <a:gd name="T97" fmla="*/ 762 h 1200"/>
                <a:gd name="T98" fmla="*/ 1152 w 1410"/>
                <a:gd name="T99" fmla="*/ 868 h 1200"/>
                <a:gd name="T100" fmla="*/ 1230 w 1410"/>
                <a:gd name="T101" fmla="*/ 850 h 1200"/>
                <a:gd name="T102" fmla="*/ 1250 w 1410"/>
                <a:gd name="T103" fmla="*/ 792 h 1200"/>
                <a:gd name="T104" fmla="*/ 1214 w 1410"/>
                <a:gd name="T105" fmla="*/ 742 h 1200"/>
                <a:gd name="T106" fmla="*/ 1258 w 1410"/>
                <a:gd name="T107" fmla="*/ 678 h 1200"/>
                <a:gd name="T108" fmla="*/ 1278 w 1410"/>
                <a:gd name="T109" fmla="*/ 688 h 1200"/>
                <a:gd name="T110" fmla="*/ 1344 w 1410"/>
                <a:gd name="T111" fmla="*/ 736 h 1200"/>
                <a:gd name="T112" fmla="*/ 1404 w 1410"/>
                <a:gd name="T113" fmla="*/ 860 h 1200"/>
                <a:gd name="T114" fmla="*/ 1360 w 1410"/>
                <a:gd name="T115" fmla="*/ 880 h 1200"/>
                <a:gd name="T116" fmla="*/ 1324 w 1410"/>
                <a:gd name="T117" fmla="*/ 938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10" h="1200">
                  <a:moveTo>
                    <a:pt x="1314" y="940"/>
                  </a:moveTo>
                  <a:lnTo>
                    <a:pt x="1314" y="940"/>
                  </a:lnTo>
                  <a:lnTo>
                    <a:pt x="1302" y="932"/>
                  </a:lnTo>
                  <a:lnTo>
                    <a:pt x="1290" y="926"/>
                  </a:lnTo>
                  <a:lnTo>
                    <a:pt x="1280" y="922"/>
                  </a:lnTo>
                  <a:lnTo>
                    <a:pt x="1270" y="918"/>
                  </a:lnTo>
                  <a:lnTo>
                    <a:pt x="1250" y="916"/>
                  </a:lnTo>
                  <a:lnTo>
                    <a:pt x="1230" y="918"/>
                  </a:lnTo>
                  <a:lnTo>
                    <a:pt x="1230" y="918"/>
                  </a:lnTo>
                  <a:lnTo>
                    <a:pt x="1220" y="920"/>
                  </a:lnTo>
                  <a:lnTo>
                    <a:pt x="1208" y="924"/>
                  </a:lnTo>
                  <a:lnTo>
                    <a:pt x="1208" y="924"/>
                  </a:lnTo>
                  <a:lnTo>
                    <a:pt x="1202" y="936"/>
                  </a:lnTo>
                  <a:lnTo>
                    <a:pt x="1198" y="950"/>
                  </a:lnTo>
                  <a:lnTo>
                    <a:pt x="1196" y="962"/>
                  </a:lnTo>
                  <a:lnTo>
                    <a:pt x="1196" y="976"/>
                  </a:lnTo>
                  <a:lnTo>
                    <a:pt x="1200" y="990"/>
                  </a:lnTo>
                  <a:lnTo>
                    <a:pt x="1204" y="1006"/>
                  </a:lnTo>
                  <a:lnTo>
                    <a:pt x="1216" y="1036"/>
                  </a:lnTo>
                  <a:lnTo>
                    <a:pt x="1216" y="1036"/>
                  </a:lnTo>
                  <a:lnTo>
                    <a:pt x="1218" y="1062"/>
                  </a:lnTo>
                  <a:lnTo>
                    <a:pt x="1218" y="1076"/>
                  </a:lnTo>
                  <a:lnTo>
                    <a:pt x="1214" y="1092"/>
                  </a:lnTo>
                  <a:lnTo>
                    <a:pt x="1214" y="1092"/>
                  </a:lnTo>
                  <a:lnTo>
                    <a:pt x="1164" y="1092"/>
                  </a:lnTo>
                  <a:lnTo>
                    <a:pt x="1164" y="1092"/>
                  </a:lnTo>
                  <a:lnTo>
                    <a:pt x="1154" y="1098"/>
                  </a:lnTo>
                  <a:lnTo>
                    <a:pt x="1152" y="1102"/>
                  </a:lnTo>
                  <a:lnTo>
                    <a:pt x="1150" y="1120"/>
                  </a:lnTo>
                  <a:lnTo>
                    <a:pt x="1150" y="1120"/>
                  </a:lnTo>
                  <a:lnTo>
                    <a:pt x="1172" y="1136"/>
                  </a:lnTo>
                  <a:lnTo>
                    <a:pt x="1172" y="1136"/>
                  </a:lnTo>
                  <a:lnTo>
                    <a:pt x="1172" y="1150"/>
                  </a:lnTo>
                  <a:lnTo>
                    <a:pt x="1172" y="1150"/>
                  </a:lnTo>
                  <a:lnTo>
                    <a:pt x="1166" y="1166"/>
                  </a:lnTo>
                  <a:lnTo>
                    <a:pt x="1160" y="1182"/>
                  </a:lnTo>
                  <a:lnTo>
                    <a:pt x="1160" y="1182"/>
                  </a:lnTo>
                  <a:lnTo>
                    <a:pt x="1144" y="1184"/>
                  </a:lnTo>
                  <a:lnTo>
                    <a:pt x="1134" y="1188"/>
                  </a:lnTo>
                  <a:lnTo>
                    <a:pt x="1124" y="1194"/>
                  </a:lnTo>
                  <a:lnTo>
                    <a:pt x="1112" y="1198"/>
                  </a:lnTo>
                  <a:lnTo>
                    <a:pt x="1112" y="1198"/>
                  </a:lnTo>
                  <a:lnTo>
                    <a:pt x="1056" y="1200"/>
                  </a:lnTo>
                  <a:lnTo>
                    <a:pt x="1056" y="1200"/>
                  </a:lnTo>
                  <a:lnTo>
                    <a:pt x="1050" y="1198"/>
                  </a:lnTo>
                  <a:lnTo>
                    <a:pt x="1050" y="1198"/>
                  </a:lnTo>
                  <a:lnTo>
                    <a:pt x="1044" y="1188"/>
                  </a:lnTo>
                  <a:lnTo>
                    <a:pt x="1036" y="1182"/>
                  </a:lnTo>
                  <a:lnTo>
                    <a:pt x="1030" y="1178"/>
                  </a:lnTo>
                  <a:lnTo>
                    <a:pt x="1024" y="1176"/>
                  </a:lnTo>
                  <a:lnTo>
                    <a:pt x="1024" y="1176"/>
                  </a:lnTo>
                  <a:lnTo>
                    <a:pt x="1018" y="1160"/>
                  </a:lnTo>
                  <a:lnTo>
                    <a:pt x="1018" y="1160"/>
                  </a:lnTo>
                  <a:lnTo>
                    <a:pt x="996" y="1116"/>
                  </a:lnTo>
                  <a:lnTo>
                    <a:pt x="996" y="1116"/>
                  </a:lnTo>
                  <a:lnTo>
                    <a:pt x="972" y="1096"/>
                  </a:lnTo>
                  <a:lnTo>
                    <a:pt x="972" y="1096"/>
                  </a:lnTo>
                  <a:lnTo>
                    <a:pt x="968" y="1090"/>
                  </a:lnTo>
                  <a:lnTo>
                    <a:pt x="962" y="1084"/>
                  </a:lnTo>
                  <a:lnTo>
                    <a:pt x="950" y="1074"/>
                  </a:lnTo>
                  <a:lnTo>
                    <a:pt x="938" y="1070"/>
                  </a:lnTo>
                  <a:lnTo>
                    <a:pt x="928" y="1066"/>
                  </a:lnTo>
                  <a:lnTo>
                    <a:pt x="928" y="1066"/>
                  </a:lnTo>
                  <a:lnTo>
                    <a:pt x="908" y="1054"/>
                  </a:lnTo>
                  <a:lnTo>
                    <a:pt x="908" y="1054"/>
                  </a:lnTo>
                  <a:lnTo>
                    <a:pt x="900" y="1036"/>
                  </a:lnTo>
                  <a:lnTo>
                    <a:pt x="892" y="1024"/>
                  </a:lnTo>
                  <a:lnTo>
                    <a:pt x="884" y="1016"/>
                  </a:lnTo>
                  <a:lnTo>
                    <a:pt x="876" y="1014"/>
                  </a:lnTo>
                  <a:lnTo>
                    <a:pt x="868" y="1014"/>
                  </a:lnTo>
                  <a:lnTo>
                    <a:pt x="858" y="1016"/>
                  </a:lnTo>
                  <a:lnTo>
                    <a:pt x="834" y="1030"/>
                  </a:lnTo>
                  <a:lnTo>
                    <a:pt x="834" y="1030"/>
                  </a:lnTo>
                  <a:lnTo>
                    <a:pt x="826" y="1038"/>
                  </a:lnTo>
                  <a:lnTo>
                    <a:pt x="820" y="1044"/>
                  </a:lnTo>
                  <a:lnTo>
                    <a:pt x="818" y="1052"/>
                  </a:lnTo>
                  <a:lnTo>
                    <a:pt x="818" y="1066"/>
                  </a:lnTo>
                  <a:lnTo>
                    <a:pt x="818" y="1066"/>
                  </a:lnTo>
                  <a:lnTo>
                    <a:pt x="822" y="1074"/>
                  </a:lnTo>
                  <a:lnTo>
                    <a:pt x="826" y="1080"/>
                  </a:lnTo>
                  <a:lnTo>
                    <a:pt x="828" y="1090"/>
                  </a:lnTo>
                  <a:lnTo>
                    <a:pt x="830" y="1104"/>
                  </a:lnTo>
                  <a:lnTo>
                    <a:pt x="830" y="1104"/>
                  </a:lnTo>
                  <a:lnTo>
                    <a:pt x="818" y="1112"/>
                  </a:lnTo>
                  <a:lnTo>
                    <a:pt x="812" y="1116"/>
                  </a:lnTo>
                  <a:lnTo>
                    <a:pt x="804" y="1118"/>
                  </a:lnTo>
                  <a:lnTo>
                    <a:pt x="804" y="1118"/>
                  </a:lnTo>
                  <a:lnTo>
                    <a:pt x="788" y="1120"/>
                  </a:lnTo>
                  <a:lnTo>
                    <a:pt x="788" y="1120"/>
                  </a:lnTo>
                  <a:lnTo>
                    <a:pt x="764" y="1104"/>
                  </a:lnTo>
                  <a:lnTo>
                    <a:pt x="742" y="1090"/>
                  </a:lnTo>
                  <a:lnTo>
                    <a:pt x="724" y="1074"/>
                  </a:lnTo>
                  <a:lnTo>
                    <a:pt x="708" y="1058"/>
                  </a:lnTo>
                  <a:lnTo>
                    <a:pt x="708" y="1058"/>
                  </a:lnTo>
                  <a:lnTo>
                    <a:pt x="702" y="1052"/>
                  </a:lnTo>
                  <a:lnTo>
                    <a:pt x="696" y="1046"/>
                  </a:lnTo>
                  <a:lnTo>
                    <a:pt x="692" y="1036"/>
                  </a:lnTo>
                  <a:lnTo>
                    <a:pt x="690" y="1028"/>
                  </a:lnTo>
                  <a:lnTo>
                    <a:pt x="688" y="1010"/>
                  </a:lnTo>
                  <a:lnTo>
                    <a:pt x="688" y="998"/>
                  </a:lnTo>
                  <a:lnTo>
                    <a:pt x="688" y="998"/>
                  </a:lnTo>
                  <a:lnTo>
                    <a:pt x="730" y="1000"/>
                  </a:lnTo>
                  <a:lnTo>
                    <a:pt x="730" y="1000"/>
                  </a:lnTo>
                  <a:lnTo>
                    <a:pt x="764" y="1022"/>
                  </a:lnTo>
                  <a:lnTo>
                    <a:pt x="764" y="1022"/>
                  </a:lnTo>
                  <a:lnTo>
                    <a:pt x="776" y="1022"/>
                  </a:lnTo>
                  <a:lnTo>
                    <a:pt x="788" y="1022"/>
                  </a:lnTo>
                  <a:lnTo>
                    <a:pt x="794" y="1022"/>
                  </a:lnTo>
                  <a:lnTo>
                    <a:pt x="800" y="1020"/>
                  </a:lnTo>
                  <a:lnTo>
                    <a:pt x="806" y="1016"/>
                  </a:lnTo>
                  <a:lnTo>
                    <a:pt x="812" y="1010"/>
                  </a:lnTo>
                  <a:lnTo>
                    <a:pt x="812" y="1010"/>
                  </a:lnTo>
                  <a:lnTo>
                    <a:pt x="812" y="994"/>
                  </a:lnTo>
                  <a:lnTo>
                    <a:pt x="812" y="994"/>
                  </a:lnTo>
                  <a:lnTo>
                    <a:pt x="790" y="974"/>
                  </a:lnTo>
                  <a:lnTo>
                    <a:pt x="782" y="966"/>
                  </a:lnTo>
                  <a:lnTo>
                    <a:pt x="778" y="958"/>
                  </a:lnTo>
                  <a:lnTo>
                    <a:pt x="778" y="958"/>
                  </a:lnTo>
                  <a:lnTo>
                    <a:pt x="798" y="944"/>
                  </a:lnTo>
                  <a:lnTo>
                    <a:pt x="818" y="922"/>
                  </a:lnTo>
                  <a:lnTo>
                    <a:pt x="836" y="900"/>
                  </a:lnTo>
                  <a:lnTo>
                    <a:pt x="842" y="888"/>
                  </a:lnTo>
                  <a:lnTo>
                    <a:pt x="846" y="878"/>
                  </a:lnTo>
                  <a:lnTo>
                    <a:pt x="846" y="878"/>
                  </a:lnTo>
                  <a:lnTo>
                    <a:pt x="862" y="870"/>
                  </a:lnTo>
                  <a:lnTo>
                    <a:pt x="874" y="862"/>
                  </a:lnTo>
                  <a:lnTo>
                    <a:pt x="874" y="862"/>
                  </a:lnTo>
                  <a:lnTo>
                    <a:pt x="878" y="860"/>
                  </a:lnTo>
                  <a:lnTo>
                    <a:pt x="884" y="856"/>
                  </a:lnTo>
                  <a:lnTo>
                    <a:pt x="892" y="846"/>
                  </a:lnTo>
                  <a:lnTo>
                    <a:pt x="892" y="846"/>
                  </a:lnTo>
                  <a:lnTo>
                    <a:pt x="890" y="804"/>
                  </a:lnTo>
                  <a:lnTo>
                    <a:pt x="890" y="804"/>
                  </a:lnTo>
                  <a:lnTo>
                    <a:pt x="884" y="796"/>
                  </a:lnTo>
                  <a:lnTo>
                    <a:pt x="878" y="786"/>
                  </a:lnTo>
                  <a:lnTo>
                    <a:pt x="876" y="776"/>
                  </a:lnTo>
                  <a:lnTo>
                    <a:pt x="874" y="768"/>
                  </a:lnTo>
                  <a:lnTo>
                    <a:pt x="874" y="754"/>
                  </a:lnTo>
                  <a:lnTo>
                    <a:pt x="874" y="748"/>
                  </a:lnTo>
                  <a:lnTo>
                    <a:pt x="872" y="746"/>
                  </a:lnTo>
                  <a:lnTo>
                    <a:pt x="872" y="746"/>
                  </a:lnTo>
                  <a:lnTo>
                    <a:pt x="852" y="696"/>
                  </a:lnTo>
                  <a:lnTo>
                    <a:pt x="852" y="696"/>
                  </a:lnTo>
                  <a:lnTo>
                    <a:pt x="846" y="662"/>
                  </a:lnTo>
                  <a:lnTo>
                    <a:pt x="846" y="662"/>
                  </a:lnTo>
                  <a:lnTo>
                    <a:pt x="830" y="630"/>
                  </a:lnTo>
                  <a:lnTo>
                    <a:pt x="824" y="618"/>
                  </a:lnTo>
                  <a:lnTo>
                    <a:pt x="818" y="612"/>
                  </a:lnTo>
                  <a:lnTo>
                    <a:pt x="818" y="612"/>
                  </a:lnTo>
                  <a:lnTo>
                    <a:pt x="770" y="612"/>
                  </a:lnTo>
                  <a:lnTo>
                    <a:pt x="770" y="612"/>
                  </a:lnTo>
                  <a:lnTo>
                    <a:pt x="760" y="608"/>
                  </a:lnTo>
                  <a:lnTo>
                    <a:pt x="748" y="602"/>
                  </a:lnTo>
                  <a:lnTo>
                    <a:pt x="728" y="588"/>
                  </a:lnTo>
                  <a:lnTo>
                    <a:pt x="710" y="576"/>
                  </a:lnTo>
                  <a:lnTo>
                    <a:pt x="696" y="566"/>
                  </a:lnTo>
                  <a:lnTo>
                    <a:pt x="696" y="566"/>
                  </a:lnTo>
                  <a:lnTo>
                    <a:pt x="648" y="510"/>
                  </a:lnTo>
                  <a:lnTo>
                    <a:pt x="648" y="510"/>
                  </a:lnTo>
                  <a:lnTo>
                    <a:pt x="638" y="510"/>
                  </a:lnTo>
                  <a:lnTo>
                    <a:pt x="630" y="512"/>
                  </a:lnTo>
                  <a:lnTo>
                    <a:pt x="618" y="516"/>
                  </a:lnTo>
                  <a:lnTo>
                    <a:pt x="618" y="516"/>
                  </a:lnTo>
                  <a:lnTo>
                    <a:pt x="594" y="514"/>
                  </a:lnTo>
                  <a:lnTo>
                    <a:pt x="594" y="514"/>
                  </a:lnTo>
                  <a:lnTo>
                    <a:pt x="548" y="476"/>
                  </a:lnTo>
                  <a:lnTo>
                    <a:pt x="548" y="476"/>
                  </a:lnTo>
                  <a:lnTo>
                    <a:pt x="506" y="456"/>
                  </a:lnTo>
                  <a:lnTo>
                    <a:pt x="506" y="456"/>
                  </a:lnTo>
                  <a:lnTo>
                    <a:pt x="486" y="454"/>
                  </a:lnTo>
                  <a:lnTo>
                    <a:pt x="470" y="452"/>
                  </a:lnTo>
                  <a:lnTo>
                    <a:pt x="442" y="446"/>
                  </a:lnTo>
                  <a:lnTo>
                    <a:pt x="442" y="446"/>
                  </a:lnTo>
                  <a:lnTo>
                    <a:pt x="430" y="436"/>
                  </a:lnTo>
                  <a:lnTo>
                    <a:pt x="422" y="432"/>
                  </a:lnTo>
                  <a:lnTo>
                    <a:pt x="412" y="428"/>
                  </a:lnTo>
                  <a:lnTo>
                    <a:pt x="406" y="426"/>
                  </a:lnTo>
                  <a:lnTo>
                    <a:pt x="390" y="426"/>
                  </a:lnTo>
                  <a:lnTo>
                    <a:pt x="370" y="426"/>
                  </a:lnTo>
                  <a:lnTo>
                    <a:pt x="370" y="426"/>
                  </a:lnTo>
                  <a:lnTo>
                    <a:pt x="352" y="436"/>
                  </a:lnTo>
                  <a:lnTo>
                    <a:pt x="352" y="436"/>
                  </a:lnTo>
                  <a:lnTo>
                    <a:pt x="354" y="448"/>
                  </a:lnTo>
                  <a:lnTo>
                    <a:pt x="356" y="460"/>
                  </a:lnTo>
                  <a:lnTo>
                    <a:pt x="358" y="472"/>
                  </a:lnTo>
                  <a:lnTo>
                    <a:pt x="356" y="490"/>
                  </a:lnTo>
                  <a:lnTo>
                    <a:pt x="356" y="490"/>
                  </a:lnTo>
                  <a:lnTo>
                    <a:pt x="352" y="494"/>
                  </a:lnTo>
                  <a:lnTo>
                    <a:pt x="346" y="496"/>
                  </a:lnTo>
                  <a:lnTo>
                    <a:pt x="338" y="498"/>
                  </a:lnTo>
                  <a:lnTo>
                    <a:pt x="332" y="498"/>
                  </a:lnTo>
                  <a:lnTo>
                    <a:pt x="318" y="494"/>
                  </a:lnTo>
                  <a:lnTo>
                    <a:pt x="304" y="486"/>
                  </a:lnTo>
                  <a:lnTo>
                    <a:pt x="290" y="478"/>
                  </a:lnTo>
                  <a:lnTo>
                    <a:pt x="278" y="468"/>
                  </a:lnTo>
                  <a:lnTo>
                    <a:pt x="262" y="452"/>
                  </a:lnTo>
                  <a:lnTo>
                    <a:pt x="262" y="452"/>
                  </a:lnTo>
                  <a:lnTo>
                    <a:pt x="222" y="420"/>
                  </a:lnTo>
                  <a:lnTo>
                    <a:pt x="222" y="420"/>
                  </a:lnTo>
                  <a:lnTo>
                    <a:pt x="182" y="398"/>
                  </a:lnTo>
                  <a:lnTo>
                    <a:pt x="164" y="390"/>
                  </a:lnTo>
                  <a:lnTo>
                    <a:pt x="148" y="384"/>
                  </a:lnTo>
                  <a:lnTo>
                    <a:pt x="148" y="384"/>
                  </a:lnTo>
                  <a:lnTo>
                    <a:pt x="116" y="384"/>
                  </a:lnTo>
                  <a:lnTo>
                    <a:pt x="86" y="384"/>
                  </a:lnTo>
                  <a:lnTo>
                    <a:pt x="70" y="384"/>
                  </a:lnTo>
                  <a:lnTo>
                    <a:pt x="56" y="382"/>
                  </a:lnTo>
                  <a:lnTo>
                    <a:pt x="42" y="378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20" y="372"/>
                  </a:lnTo>
                  <a:lnTo>
                    <a:pt x="20" y="372"/>
                  </a:lnTo>
                  <a:lnTo>
                    <a:pt x="18" y="358"/>
                  </a:lnTo>
                  <a:lnTo>
                    <a:pt x="14" y="344"/>
                  </a:lnTo>
                  <a:lnTo>
                    <a:pt x="12" y="332"/>
                  </a:lnTo>
                  <a:lnTo>
                    <a:pt x="8" y="326"/>
                  </a:lnTo>
                  <a:lnTo>
                    <a:pt x="8" y="326"/>
                  </a:lnTo>
                  <a:lnTo>
                    <a:pt x="4" y="310"/>
                  </a:lnTo>
                  <a:lnTo>
                    <a:pt x="0" y="296"/>
                  </a:lnTo>
                  <a:lnTo>
                    <a:pt x="0" y="290"/>
                  </a:lnTo>
                  <a:lnTo>
                    <a:pt x="2" y="284"/>
                  </a:lnTo>
                  <a:lnTo>
                    <a:pt x="4" y="280"/>
                  </a:lnTo>
                  <a:lnTo>
                    <a:pt x="12" y="278"/>
                  </a:lnTo>
                  <a:lnTo>
                    <a:pt x="12" y="278"/>
                  </a:lnTo>
                  <a:lnTo>
                    <a:pt x="20" y="262"/>
                  </a:lnTo>
                  <a:lnTo>
                    <a:pt x="28" y="246"/>
                  </a:lnTo>
                  <a:lnTo>
                    <a:pt x="28" y="246"/>
                  </a:lnTo>
                  <a:lnTo>
                    <a:pt x="46" y="246"/>
                  </a:lnTo>
                  <a:lnTo>
                    <a:pt x="68" y="244"/>
                  </a:lnTo>
                  <a:lnTo>
                    <a:pt x="80" y="242"/>
                  </a:lnTo>
                  <a:lnTo>
                    <a:pt x="90" y="238"/>
                  </a:lnTo>
                  <a:lnTo>
                    <a:pt x="100" y="232"/>
                  </a:lnTo>
                  <a:lnTo>
                    <a:pt x="108" y="226"/>
                  </a:lnTo>
                  <a:lnTo>
                    <a:pt x="108" y="226"/>
                  </a:lnTo>
                  <a:lnTo>
                    <a:pt x="120" y="200"/>
                  </a:lnTo>
                  <a:lnTo>
                    <a:pt x="120" y="200"/>
                  </a:lnTo>
                  <a:lnTo>
                    <a:pt x="142" y="176"/>
                  </a:lnTo>
                  <a:lnTo>
                    <a:pt x="142" y="176"/>
                  </a:lnTo>
                  <a:lnTo>
                    <a:pt x="150" y="158"/>
                  </a:lnTo>
                  <a:lnTo>
                    <a:pt x="156" y="146"/>
                  </a:lnTo>
                  <a:lnTo>
                    <a:pt x="166" y="136"/>
                  </a:lnTo>
                  <a:lnTo>
                    <a:pt x="176" y="130"/>
                  </a:lnTo>
                  <a:lnTo>
                    <a:pt x="188" y="126"/>
                  </a:lnTo>
                  <a:lnTo>
                    <a:pt x="202" y="124"/>
                  </a:lnTo>
                  <a:lnTo>
                    <a:pt x="238" y="120"/>
                  </a:lnTo>
                  <a:lnTo>
                    <a:pt x="238" y="120"/>
                  </a:lnTo>
                  <a:lnTo>
                    <a:pt x="252" y="120"/>
                  </a:lnTo>
                  <a:lnTo>
                    <a:pt x="274" y="120"/>
                  </a:lnTo>
                  <a:lnTo>
                    <a:pt x="286" y="120"/>
                  </a:lnTo>
                  <a:lnTo>
                    <a:pt x="298" y="118"/>
                  </a:lnTo>
                  <a:lnTo>
                    <a:pt x="308" y="114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08" y="62"/>
                  </a:lnTo>
                  <a:lnTo>
                    <a:pt x="308" y="62"/>
                  </a:lnTo>
                  <a:lnTo>
                    <a:pt x="308" y="38"/>
                  </a:lnTo>
                  <a:lnTo>
                    <a:pt x="310" y="26"/>
                  </a:lnTo>
                  <a:lnTo>
                    <a:pt x="312" y="16"/>
                  </a:lnTo>
                  <a:lnTo>
                    <a:pt x="318" y="8"/>
                  </a:lnTo>
                  <a:lnTo>
                    <a:pt x="324" y="2"/>
                  </a:lnTo>
                  <a:lnTo>
                    <a:pt x="328" y="0"/>
                  </a:lnTo>
                  <a:lnTo>
                    <a:pt x="334" y="0"/>
                  </a:lnTo>
                  <a:lnTo>
                    <a:pt x="346" y="4"/>
                  </a:lnTo>
                  <a:lnTo>
                    <a:pt x="346" y="4"/>
                  </a:lnTo>
                  <a:lnTo>
                    <a:pt x="434" y="16"/>
                  </a:lnTo>
                  <a:lnTo>
                    <a:pt x="434" y="16"/>
                  </a:lnTo>
                  <a:lnTo>
                    <a:pt x="432" y="24"/>
                  </a:lnTo>
                  <a:lnTo>
                    <a:pt x="430" y="36"/>
                  </a:lnTo>
                  <a:lnTo>
                    <a:pt x="432" y="60"/>
                  </a:lnTo>
                  <a:lnTo>
                    <a:pt x="432" y="60"/>
                  </a:lnTo>
                  <a:lnTo>
                    <a:pt x="444" y="80"/>
                  </a:lnTo>
                  <a:lnTo>
                    <a:pt x="450" y="90"/>
                  </a:lnTo>
                  <a:lnTo>
                    <a:pt x="456" y="106"/>
                  </a:lnTo>
                  <a:lnTo>
                    <a:pt x="456" y="106"/>
                  </a:lnTo>
                  <a:lnTo>
                    <a:pt x="456" y="130"/>
                  </a:lnTo>
                  <a:lnTo>
                    <a:pt x="456" y="130"/>
                  </a:lnTo>
                  <a:lnTo>
                    <a:pt x="448" y="152"/>
                  </a:lnTo>
                  <a:lnTo>
                    <a:pt x="444" y="166"/>
                  </a:lnTo>
                  <a:lnTo>
                    <a:pt x="446" y="180"/>
                  </a:lnTo>
                  <a:lnTo>
                    <a:pt x="446" y="180"/>
                  </a:lnTo>
                  <a:lnTo>
                    <a:pt x="490" y="222"/>
                  </a:lnTo>
                  <a:lnTo>
                    <a:pt x="490" y="222"/>
                  </a:lnTo>
                  <a:lnTo>
                    <a:pt x="496" y="234"/>
                  </a:lnTo>
                  <a:lnTo>
                    <a:pt x="496" y="234"/>
                  </a:lnTo>
                  <a:lnTo>
                    <a:pt x="496" y="276"/>
                  </a:lnTo>
                  <a:lnTo>
                    <a:pt x="496" y="276"/>
                  </a:lnTo>
                  <a:lnTo>
                    <a:pt x="500" y="278"/>
                  </a:lnTo>
                  <a:lnTo>
                    <a:pt x="506" y="280"/>
                  </a:lnTo>
                  <a:lnTo>
                    <a:pt x="526" y="282"/>
                  </a:lnTo>
                  <a:lnTo>
                    <a:pt x="526" y="282"/>
                  </a:lnTo>
                  <a:lnTo>
                    <a:pt x="538" y="274"/>
                  </a:lnTo>
                  <a:lnTo>
                    <a:pt x="552" y="266"/>
                  </a:lnTo>
                  <a:lnTo>
                    <a:pt x="566" y="262"/>
                  </a:lnTo>
                  <a:lnTo>
                    <a:pt x="582" y="258"/>
                  </a:lnTo>
                  <a:lnTo>
                    <a:pt x="618" y="254"/>
                  </a:lnTo>
                  <a:lnTo>
                    <a:pt x="652" y="252"/>
                  </a:lnTo>
                  <a:lnTo>
                    <a:pt x="652" y="252"/>
                  </a:lnTo>
                  <a:lnTo>
                    <a:pt x="658" y="268"/>
                  </a:lnTo>
                  <a:lnTo>
                    <a:pt x="658" y="268"/>
                  </a:lnTo>
                  <a:lnTo>
                    <a:pt x="650" y="284"/>
                  </a:lnTo>
                  <a:lnTo>
                    <a:pt x="644" y="298"/>
                  </a:lnTo>
                  <a:lnTo>
                    <a:pt x="644" y="298"/>
                  </a:lnTo>
                  <a:lnTo>
                    <a:pt x="636" y="308"/>
                  </a:lnTo>
                  <a:lnTo>
                    <a:pt x="626" y="314"/>
                  </a:lnTo>
                  <a:lnTo>
                    <a:pt x="612" y="324"/>
                  </a:lnTo>
                  <a:lnTo>
                    <a:pt x="606" y="330"/>
                  </a:lnTo>
                  <a:lnTo>
                    <a:pt x="602" y="338"/>
                  </a:lnTo>
                  <a:lnTo>
                    <a:pt x="600" y="348"/>
                  </a:lnTo>
                  <a:lnTo>
                    <a:pt x="600" y="360"/>
                  </a:lnTo>
                  <a:lnTo>
                    <a:pt x="600" y="360"/>
                  </a:lnTo>
                  <a:lnTo>
                    <a:pt x="632" y="372"/>
                  </a:lnTo>
                  <a:lnTo>
                    <a:pt x="632" y="372"/>
                  </a:lnTo>
                  <a:lnTo>
                    <a:pt x="640" y="384"/>
                  </a:lnTo>
                  <a:lnTo>
                    <a:pt x="652" y="396"/>
                  </a:lnTo>
                  <a:lnTo>
                    <a:pt x="664" y="406"/>
                  </a:lnTo>
                  <a:lnTo>
                    <a:pt x="680" y="416"/>
                  </a:lnTo>
                  <a:lnTo>
                    <a:pt x="680" y="416"/>
                  </a:lnTo>
                  <a:lnTo>
                    <a:pt x="686" y="428"/>
                  </a:lnTo>
                  <a:lnTo>
                    <a:pt x="692" y="442"/>
                  </a:lnTo>
                  <a:lnTo>
                    <a:pt x="702" y="456"/>
                  </a:lnTo>
                  <a:lnTo>
                    <a:pt x="706" y="460"/>
                  </a:lnTo>
                  <a:lnTo>
                    <a:pt x="714" y="464"/>
                  </a:lnTo>
                  <a:lnTo>
                    <a:pt x="714" y="464"/>
                  </a:lnTo>
                  <a:lnTo>
                    <a:pt x="744" y="504"/>
                  </a:lnTo>
                  <a:lnTo>
                    <a:pt x="744" y="504"/>
                  </a:lnTo>
                  <a:lnTo>
                    <a:pt x="754" y="508"/>
                  </a:lnTo>
                  <a:lnTo>
                    <a:pt x="772" y="514"/>
                  </a:lnTo>
                  <a:lnTo>
                    <a:pt x="780" y="514"/>
                  </a:lnTo>
                  <a:lnTo>
                    <a:pt x="788" y="514"/>
                  </a:lnTo>
                  <a:lnTo>
                    <a:pt x="796" y="510"/>
                  </a:lnTo>
                  <a:lnTo>
                    <a:pt x="802" y="504"/>
                  </a:lnTo>
                  <a:lnTo>
                    <a:pt x="802" y="504"/>
                  </a:lnTo>
                  <a:lnTo>
                    <a:pt x="802" y="476"/>
                  </a:lnTo>
                  <a:lnTo>
                    <a:pt x="802" y="468"/>
                  </a:lnTo>
                  <a:lnTo>
                    <a:pt x="804" y="460"/>
                  </a:lnTo>
                  <a:lnTo>
                    <a:pt x="808" y="456"/>
                  </a:lnTo>
                  <a:lnTo>
                    <a:pt x="812" y="452"/>
                  </a:lnTo>
                  <a:lnTo>
                    <a:pt x="822" y="448"/>
                  </a:lnTo>
                  <a:lnTo>
                    <a:pt x="834" y="446"/>
                  </a:lnTo>
                  <a:lnTo>
                    <a:pt x="834" y="446"/>
                  </a:lnTo>
                  <a:lnTo>
                    <a:pt x="846" y="446"/>
                  </a:lnTo>
                  <a:lnTo>
                    <a:pt x="856" y="446"/>
                  </a:lnTo>
                  <a:lnTo>
                    <a:pt x="862" y="448"/>
                  </a:lnTo>
                  <a:lnTo>
                    <a:pt x="868" y="450"/>
                  </a:lnTo>
                  <a:lnTo>
                    <a:pt x="876" y="454"/>
                  </a:lnTo>
                  <a:lnTo>
                    <a:pt x="882" y="460"/>
                  </a:lnTo>
                  <a:lnTo>
                    <a:pt x="882" y="460"/>
                  </a:lnTo>
                  <a:lnTo>
                    <a:pt x="898" y="462"/>
                  </a:lnTo>
                  <a:lnTo>
                    <a:pt x="898" y="462"/>
                  </a:lnTo>
                  <a:lnTo>
                    <a:pt x="912" y="454"/>
                  </a:lnTo>
                  <a:lnTo>
                    <a:pt x="926" y="446"/>
                  </a:lnTo>
                  <a:lnTo>
                    <a:pt x="938" y="438"/>
                  </a:lnTo>
                  <a:lnTo>
                    <a:pt x="950" y="430"/>
                  </a:lnTo>
                  <a:lnTo>
                    <a:pt x="950" y="430"/>
                  </a:lnTo>
                  <a:lnTo>
                    <a:pt x="956" y="424"/>
                  </a:lnTo>
                  <a:lnTo>
                    <a:pt x="964" y="422"/>
                  </a:lnTo>
                  <a:lnTo>
                    <a:pt x="988" y="420"/>
                  </a:lnTo>
                  <a:lnTo>
                    <a:pt x="988" y="420"/>
                  </a:lnTo>
                  <a:lnTo>
                    <a:pt x="1002" y="440"/>
                  </a:lnTo>
                  <a:lnTo>
                    <a:pt x="1002" y="440"/>
                  </a:lnTo>
                  <a:lnTo>
                    <a:pt x="1000" y="448"/>
                  </a:lnTo>
                  <a:lnTo>
                    <a:pt x="996" y="456"/>
                  </a:lnTo>
                  <a:lnTo>
                    <a:pt x="990" y="464"/>
                  </a:lnTo>
                  <a:lnTo>
                    <a:pt x="984" y="472"/>
                  </a:lnTo>
                  <a:lnTo>
                    <a:pt x="968" y="484"/>
                  </a:lnTo>
                  <a:lnTo>
                    <a:pt x="952" y="496"/>
                  </a:lnTo>
                  <a:lnTo>
                    <a:pt x="952" y="496"/>
                  </a:lnTo>
                  <a:lnTo>
                    <a:pt x="940" y="512"/>
                  </a:lnTo>
                  <a:lnTo>
                    <a:pt x="934" y="530"/>
                  </a:lnTo>
                  <a:lnTo>
                    <a:pt x="932" y="550"/>
                  </a:lnTo>
                  <a:lnTo>
                    <a:pt x="930" y="574"/>
                  </a:lnTo>
                  <a:lnTo>
                    <a:pt x="930" y="574"/>
                  </a:lnTo>
                  <a:lnTo>
                    <a:pt x="954" y="618"/>
                  </a:lnTo>
                  <a:lnTo>
                    <a:pt x="954" y="618"/>
                  </a:lnTo>
                  <a:lnTo>
                    <a:pt x="962" y="630"/>
                  </a:lnTo>
                  <a:lnTo>
                    <a:pt x="974" y="642"/>
                  </a:lnTo>
                  <a:lnTo>
                    <a:pt x="982" y="648"/>
                  </a:lnTo>
                  <a:lnTo>
                    <a:pt x="990" y="652"/>
                  </a:lnTo>
                  <a:lnTo>
                    <a:pt x="1000" y="656"/>
                  </a:lnTo>
                  <a:lnTo>
                    <a:pt x="1010" y="656"/>
                  </a:lnTo>
                  <a:lnTo>
                    <a:pt x="1010" y="656"/>
                  </a:lnTo>
                  <a:lnTo>
                    <a:pt x="1012" y="652"/>
                  </a:lnTo>
                  <a:lnTo>
                    <a:pt x="1012" y="652"/>
                  </a:lnTo>
                  <a:lnTo>
                    <a:pt x="1024" y="652"/>
                  </a:lnTo>
                  <a:lnTo>
                    <a:pt x="1024" y="652"/>
                  </a:lnTo>
                  <a:lnTo>
                    <a:pt x="1032" y="656"/>
                  </a:lnTo>
                  <a:lnTo>
                    <a:pt x="1040" y="662"/>
                  </a:lnTo>
                  <a:lnTo>
                    <a:pt x="1060" y="680"/>
                  </a:lnTo>
                  <a:lnTo>
                    <a:pt x="1082" y="704"/>
                  </a:lnTo>
                  <a:lnTo>
                    <a:pt x="1098" y="726"/>
                  </a:lnTo>
                  <a:lnTo>
                    <a:pt x="1098" y="726"/>
                  </a:lnTo>
                  <a:lnTo>
                    <a:pt x="1106" y="762"/>
                  </a:lnTo>
                  <a:lnTo>
                    <a:pt x="1108" y="784"/>
                  </a:lnTo>
                  <a:lnTo>
                    <a:pt x="1112" y="810"/>
                  </a:lnTo>
                  <a:lnTo>
                    <a:pt x="1112" y="810"/>
                  </a:lnTo>
                  <a:lnTo>
                    <a:pt x="1118" y="840"/>
                  </a:lnTo>
                  <a:lnTo>
                    <a:pt x="1118" y="840"/>
                  </a:lnTo>
                  <a:lnTo>
                    <a:pt x="1130" y="852"/>
                  </a:lnTo>
                  <a:lnTo>
                    <a:pt x="1140" y="860"/>
                  </a:lnTo>
                  <a:lnTo>
                    <a:pt x="1152" y="868"/>
                  </a:lnTo>
                  <a:lnTo>
                    <a:pt x="1172" y="882"/>
                  </a:lnTo>
                  <a:lnTo>
                    <a:pt x="1172" y="882"/>
                  </a:lnTo>
                  <a:lnTo>
                    <a:pt x="1188" y="876"/>
                  </a:lnTo>
                  <a:lnTo>
                    <a:pt x="1214" y="866"/>
                  </a:lnTo>
                  <a:lnTo>
                    <a:pt x="1214" y="866"/>
                  </a:lnTo>
                  <a:lnTo>
                    <a:pt x="1216" y="858"/>
                  </a:lnTo>
                  <a:lnTo>
                    <a:pt x="1220" y="854"/>
                  </a:lnTo>
                  <a:lnTo>
                    <a:pt x="1230" y="850"/>
                  </a:lnTo>
                  <a:lnTo>
                    <a:pt x="1246" y="846"/>
                  </a:lnTo>
                  <a:lnTo>
                    <a:pt x="1246" y="846"/>
                  </a:lnTo>
                  <a:lnTo>
                    <a:pt x="1252" y="836"/>
                  </a:lnTo>
                  <a:lnTo>
                    <a:pt x="1258" y="826"/>
                  </a:lnTo>
                  <a:lnTo>
                    <a:pt x="1258" y="818"/>
                  </a:lnTo>
                  <a:lnTo>
                    <a:pt x="1258" y="808"/>
                  </a:lnTo>
                  <a:lnTo>
                    <a:pt x="1254" y="800"/>
                  </a:lnTo>
                  <a:lnTo>
                    <a:pt x="1250" y="792"/>
                  </a:lnTo>
                  <a:lnTo>
                    <a:pt x="1240" y="780"/>
                  </a:lnTo>
                  <a:lnTo>
                    <a:pt x="1240" y="780"/>
                  </a:lnTo>
                  <a:lnTo>
                    <a:pt x="1222" y="774"/>
                  </a:lnTo>
                  <a:lnTo>
                    <a:pt x="1216" y="770"/>
                  </a:lnTo>
                  <a:lnTo>
                    <a:pt x="1214" y="766"/>
                  </a:lnTo>
                  <a:lnTo>
                    <a:pt x="1212" y="762"/>
                  </a:lnTo>
                  <a:lnTo>
                    <a:pt x="1212" y="756"/>
                  </a:lnTo>
                  <a:lnTo>
                    <a:pt x="1214" y="742"/>
                  </a:lnTo>
                  <a:lnTo>
                    <a:pt x="1214" y="742"/>
                  </a:lnTo>
                  <a:lnTo>
                    <a:pt x="1234" y="712"/>
                  </a:lnTo>
                  <a:lnTo>
                    <a:pt x="1234" y="712"/>
                  </a:lnTo>
                  <a:lnTo>
                    <a:pt x="1234" y="682"/>
                  </a:lnTo>
                  <a:lnTo>
                    <a:pt x="1234" y="682"/>
                  </a:lnTo>
                  <a:lnTo>
                    <a:pt x="1240" y="678"/>
                  </a:lnTo>
                  <a:lnTo>
                    <a:pt x="1244" y="678"/>
                  </a:lnTo>
                  <a:lnTo>
                    <a:pt x="1258" y="678"/>
                  </a:lnTo>
                  <a:lnTo>
                    <a:pt x="1258" y="678"/>
                  </a:lnTo>
                  <a:lnTo>
                    <a:pt x="1270" y="664"/>
                  </a:lnTo>
                  <a:lnTo>
                    <a:pt x="1284" y="656"/>
                  </a:lnTo>
                  <a:lnTo>
                    <a:pt x="1284" y="656"/>
                  </a:lnTo>
                  <a:lnTo>
                    <a:pt x="1286" y="670"/>
                  </a:lnTo>
                  <a:lnTo>
                    <a:pt x="1284" y="678"/>
                  </a:lnTo>
                  <a:lnTo>
                    <a:pt x="1280" y="684"/>
                  </a:lnTo>
                  <a:lnTo>
                    <a:pt x="1278" y="688"/>
                  </a:lnTo>
                  <a:lnTo>
                    <a:pt x="1278" y="688"/>
                  </a:lnTo>
                  <a:lnTo>
                    <a:pt x="1276" y="708"/>
                  </a:lnTo>
                  <a:lnTo>
                    <a:pt x="1276" y="708"/>
                  </a:lnTo>
                  <a:lnTo>
                    <a:pt x="1280" y="714"/>
                  </a:lnTo>
                  <a:lnTo>
                    <a:pt x="1288" y="718"/>
                  </a:lnTo>
                  <a:lnTo>
                    <a:pt x="1304" y="726"/>
                  </a:lnTo>
                  <a:lnTo>
                    <a:pt x="1344" y="736"/>
                  </a:lnTo>
                  <a:lnTo>
                    <a:pt x="1344" y="736"/>
                  </a:lnTo>
                  <a:lnTo>
                    <a:pt x="1394" y="770"/>
                  </a:lnTo>
                  <a:lnTo>
                    <a:pt x="1394" y="770"/>
                  </a:lnTo>
                  <a:lnTo>
                    <a:pt x="1410" y="770"/>
                  </a:lnTo>
                  <a:lnTo>
                    <a:pt x="1410" y="770"/>
                  </a:lnTo>
                  <a:lnTo>
                    <a:pt x="1404" y="784"/>
                  </a:lnTo>
                  <a:lnTo>
                    <a:pt x="1396" y="800"/>
                  </a:lnTo>
                  <a:lnTo>
                    <a:pt x="1396" y="800"/>
                  </a:lnTo>
                  <a:lnTo>
                    <a:pt x="1404" y="860"/>
                  </a:lnTo>
                  <a:lnTo>
                    <a:pt x="1404" y="860"/>
                  </a:lnTo>
                  <a:lnTo>
                    <a:pt x="1394" y="888"/>
                  </a:lnTo>
                  <a:lnTo>
                    <a:pt x="1394" y="888"/>
                  </a:lnTo>
                  <a:lnTo>
                    <a:pt x="1386" y="888"/>
                  </a:lnTo>
                  <a:lnTo>
                    <a:pt x="1382" y="886"/>
                  </a:lnTo>
                  <a:lnTo>
                    <a:pt x="1376" y="884"/>
                  </a:lnTo>
                  <a:lnTo>
                    <a:pt x="1376" y="884"/>
                  </a:lnTo>
                  <a:lnTo>
                    <a:pt x="1360" y="880"/>
                  </a:lnTo>
                  <a:lnTo>
                    <a:pt x="1346" y="882"/>
                  </a:lnTo>
                  <a:lnTo>
                    <a:pt x="1340" y="884"/>
                  </a:lnTo>
                  <a:lnTo>
                    <a:pt x="1334" y="886"/>
                  </a:lnTo>
                  <a:lnTo>
                    <a:pt x="1328" y="892"/>
                  </a:lnTo>
                  <a:lnTo>
                    <a:pt x="1324" y="898"/>
                  </a:lnTo>
                  <a:lnTo>
                    <a:pt x="1324" y="898"/>
                  </a:lnTo>
                  <a:lnTo>
                    <a:pt x="1324" y="938"/>
                  </a:lnTo>
                  <a:lnTo>
                    <a:pt x="1324" y="938"/>
                  </a:lnTo>
                  <a:lnTo>
                    <a:pt x="1314" y="940"/>
                  </a:lnTo>
                  <a:lnTo>
                    <a:pt x="1314" y="940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>
                <a:defRPr/>
              </a:pPr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83" name="未知"/>
            <p:cNvSpPr>
              <a:spLocks/>
            </p:cNvSpPr>
            <p:nvPr/>
          </p:nvSpPr>
          <p:spPr bwMode="auto">
            <a:xfrm>
              <a:off x="3743215" y="2617872"/>
              <a:ext cx="36808" cy="36610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84" name="未知"/>
            <p:cNvSpPr>
              <a:spLocks/>
            </p:cNvSpPr>
            <p:nvPr/>
          </p:nvSpPr>
          <p:spPr bwMode="auto">
            <a:xfrm>
              <a:off x="3359930" y="2045246"/>
              <a:ext cx="36808" cy="36610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85" name="未知"/>
            <p:cNvSpPr>
              <a:spLocks/>
            </p:cNvSpPr>
            <p:nvPr/>
          </p:nvSpPr>
          <p:spPr bwMode="auto">
            <a:xfrm>
              <a:off x="2868697" y="3343376"/>
              <a:ext cx="196314" cy="152447"/>
            </a:xfrm>
            <a:custGeom>
              <a:avLst/>
              <a:gdLst>
                <a:gd name="T0" fmla="*/ 2147483647 w 266"/>
                <a:gd name="T1" fmla="*/ 2147483647 h 222"/>
                <a:gd name="T2" fmla="*/ 2147483647 w 266"/>
                <a:gd name="T3" fmla="*/ 2147483647 h 222"/>
                <a:gd name="T4" fmla="*/ 2147483647 w 266"/>
                <a:gd name="T5" fmla="*/ 2147483647 h 222"/>
                <a:gd name="T6" fmla="*/ 2147483647 w 266"/>
                <a:gd name="T7" fmla="*/ 2147483647 h 222"/>
                <a:gd name="T8" fmla="*/ 2147483647 w 266"/>
                <a:gd name="T9" fmla="*/ 2147483647 h 222"/>
                <a:gd name="T10" fmla="*/ 2147483647 w 266"/>
                <a:gd name="T11" fmla="*/ 2147483647 h 222"/>
                <a:gd name="T12" fmla="*/ 2147483647 w 266"/>
                <a:gd name="T13" fmla="*/ 2147483647 h 222"/>
                <a:gd name="T14" fmla="*/ 2147483647 w 266"/>
                <a:gd name="T15" fmla="*/ 2147483647 h 222"/>
                <a:gd name="T16" fmla="*/ 2147483647 w 266"/>
                <a:gd name="T17" fmla="*/ 2147483647 h 222"/>
                <a:gd name="T18" fmla="*/ 0 w 266"/>
                <a:gd name="T19" fmla="*/ 2147483647 h 222"/>
                <a:gd name="T20" fmla="*/ 2147483647 w 266"/>
                <a:gd name="T21" fmla="*/ 2147483647 h 222"/>
                <a:gd name="T22" fmla="*/ 2147483647 w 266"/>
                <a:gd name="T23" fmla="*/ 2147483647 h 222"/>
                <a:gd name="T24" fmla="*/ 2147483647 w 266"/>
                <a:gd name="T25" fmla="*/ 2147483647 h 222"/>
                <a:gd name="T26" fmla="*/ 2147483647 w 266"/>
                <a:gd name="T27" fmla="*/ 2147483647 h 222"/>
                <a:gd name="T28" fmla="*/ 2147483647 w 266"/>
                <a:gd name="T29" fmla="*/ 2147483647 h 222"/>
                <a:gd name="T30" fmla="*/ 2147483647 w 266"/>
                <a:gd name="T31" fmla="*/ 2147483647 h 222"/>
                <a:gd name="T32" fmla="*/ 2147483647 w 266"/>
                <a:gd name="T33" fmla="*/ 2147483647 h 222"/>
                <a:gd name="T34" fmla="*/ 2147483647 w 266"/>
                <a:gd name="T35" fmla="*/ 2147483647 h 222"/>
                <a:gd name="T36" fmla="*/ 2147483647 w 266"/>
                <a:gd name="T37" fmla="*/ 2147483647 h 222"/>
                <a:gd name="T38" fmla="*/ 2147483647 w 266"/>
                <a:gd name="T39" fmla="*/ 2147483647 h 222"/>
                <a:gd name="T40" fmla="*/ 2147483647 w 266"/>
                <a:gd name="T41" fmla="*/ 2147483647 h 222"/>
                <a:gd name="T42" fmla="*/ 2147483647 w 266"/>
                <a:gd name="T43" fmla="*/ 2147483647 h 222"/>
                <a:gd name="T44" fmla="*/ 2147483647 w 266"/>
                <a:gd name="T45" fmla="*/ 2147483647 h 222"/>
                <a:gd name="T46" fmla="*/ 2147483647 w 266"/>
                <a:gd name="T47" fmla="*/ 2147483647 h 222"/>
                <a:gd name="T48" fmla="*/ 2147483647 w 266"/>
                <a:gd name="T49" fmla="*/ 2147483647 h 222"/>
                <a:gd name="T50" fmla="*/ 2147483647 w 266"/>
                <a:gd name="T51" fmla="*/ 2147483647 h 222"/>
                <a:gd name="T52" fmla="*/ 2147483647 w 266"/>
                <a:gd name="T53" fmla="*/ 2147483647 h 222"/>
                <a:gd name="T54" fmla="*/ 2147483647 w 266"/>
                <a:gd name="T55" fmla="*/ 2147483647 h 222"/>
                <a:gd name="T56" fmla="*/ 2147483647 w 266"/>
                <a:gd name="T57" fmla="*/ 2147483647 h 222"/>
                <a:gd name="T58" fmla="*/ 2147483647 w 266"/>
                <a:gd name="T59" fmla="*/ 0 h 222"/>
                <a:gd name="T60" fmla="*/ 2147483647 w 266"/>
                <a:gd name="T61" fmla="*/ 0 h 222"/>
                <a:gd name="T62" fmla="*/ 2147483647 w 266"/>
                <a:gd name="T63" fmla="*/ 2147483647 h 222"/>
                <a:gd name="T64" fmla="*/ 2147483647 w 266"/>
                <a:gd name="T65" fmla="*/ 2147483647 h 222"/>
                <a:gd name="T66" fmla="*/ 2147483647 w 266"/>
                <a:gd name="T67" fmla="*/ 2147483647 h 222"/>
                <a:gd name="T68" fmla="*/ 2147483647 w 266"/>
                <a:gd name="T69" fmla="*/ 2147483647 h 222"/>
                <a:gd name="T70" fmla="*/ 2147483647 w 266"/>
                <a:gd name="T71" fmla="*/ 2147483647 h 222"/>
                <a:gd name="T72" fmla="*/ 2147483647 w 266"/>
                <a:gd name="T73" fmla="*/ 2147483647 h 222"/>
                <a:gd name="T74" fmla="*/ 2147483647 w 266"/>
                <a:gd name="T75" fmla="*/ 2147483647 h 222"/>
                <a:gd name="T76" fmla="*/ 2147483647 w 266"/>
                <a:gd name="T77" fmla="*/ 2147483647 h 222"/>
                <a:gd name="T78" fmla="*/ 2147483647 w 266"/>
                <a:gd name="T79" fmla="*/ 2147483647 h 222"/>
                <a:gd name="T80" fmla="*/ 2147483647 w 266"/>
                <a:gd name="T81" fmla="*/ 2147483647 h 222"/>
                <a:gd name="T82" fmla="*/ 2147483647 w 266"/>
                <a:gd name="T83" fmla="*/ 2147483647 h 222"/>
                <a:gd name="T84" fmla="*/ 2147483647 w 266"/>
                <a:gd name="T85" fmla="*/ 2147483647 h 222"/>
                <a:gd name="T86" fmla="*/ 2147483647 w 266"/>
                <a:gd name="T87" fmla="*/ 2147483647 h 222"/>
                <a:gd name="T88" fmla="*/ 2147483647 w 266"/>
                <a:gd name="T89" fmla="*/ 2147483647 h 222"/>
                <a:gd name="T90" fmla="*/ 2147483647 w 266"/>
                <a:gd name="T91" fmla="*/ 2147483647 h 222"/>
                <a:gd name="T92" fmla="*/ 2147483647 w 266"/>
                <a:gd name="T93" fmla="*/ 2147483647 h 222"/>
                <a:gd name="T94" fmla="*/ 2147483647 w 266"/>
                <a:gd name="T95" fmla="*/ 2147483647 h 222"/>
                <a:gd name="T96" fmla="*/ 2147483647 w 266"/>
                <a:gd name="T97" fmla="*/ 2147483647 h 222"/>
                <a:gd name="T98" fmla="*/ 2147483647 w 266"/>
                <a:gd name="T99" fmla="*/ 2147483647 h 222"/>
                <a:gd name="T100" fmla="*/ 2147483647 w 266"/>
                <a:gd name="T101" fmla="*/ 2147483647 h 222"/>
                <a:gd name="T102" fmla="*/ 2147483647 w 266"/>
                <a:gd name="T103" fmla="*/ 2147483647 h 222"/>
                <a:gd name="T104" fmla="*/ 2147483647 w 266"/>
                <a:gd name="T105" fmla="*/ 2147483647 h 222"/>
                <a:gd name="T106" fmla="*/ 2147483647 w 266"/>
                <a:gd name="T107" fmla="*/ 2147483647 h 222"/>
                <a:gd name="T108" fmla="*/ 2147483647 w 266"/>
                <a:gd name="T109" fmla="*/ 2147483647 h 22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66" h="222">
                  <a:moveTo>
                    <a:pt x="88" y="222"/>
                  </a:moveTo>
                  <a:lnTo>
                    <a:pt x="88" y="222"/>
                  </a:lnTo>
                  <a:lnTo>
                    <a:pt x="62" y="212"/>
                  </a:lnTo>
                  <a:lnTo>
                    <a:pt x="40" y="206"/>
                  </a:lnTo>
                  <a:lnTo>
                    <a:pt x="20" y="196"/>
                  </a:lnTo>
                  <a:lnTo>
                    <a:pt x="12" y="190"/>
                  </a:lnTo>
                  <a:lnTo>
                    <a:pt x="6" y="184"/>
                  </a:lnTo>
                  <a:lnTo>
                    <a:pt x="2" y="160"/>
                  </a:lnTo>
                  <a:lnTo>
                    <a:pt x="0" y="132"/>
                  </a:lnTo>
                  <a:lnTo>
                    <a:pt x="2" y="108"/>
                  </a:lnTo>
                  <a:lnTo>
                    <a:pt x="4" y="98"/>
                  </a:lnTo>
                  <a:lnTo>
                    <a:pt x="8" y="88"/>
                  </a:lnTo>
                  <a:lnTo>
                    <a:pt x="26" y="82"/>
                  </a:lnTo>
                  <a:lnTo>
                    <a:pt x="36" y="78"/>
                  </a:lnTo>
                  <a:lnTo>
                    <a:pt x="44" y="74"/>
                  </a:lnTo>
                  <a:lnTo>
                    <a:pt x="46" y="36"/>
                  </a:lnTo>
                  <a:lnTo>
                    <a:pt x="52" y="32"/>
                  </a:lnTo>
                  <a:lnTo>
                    <a:pt x="56" y="30"/>
                  </a:lnTo>
                  <a:lnTo>
                    <a:pt x="66" y="32"/>
                  </a:lnTo>
                  <a:lnTo>
                    <a:pt x="76" y="34"/>
                  </a:lnTo>
                  <a:lnTo>
                    <a:pt x="84" y="34"/>
                  </a:lnTo>
                  <a:lnTo>
                    <a:pt x="90" y="34"/>
                  </a:lnTo>
                  <a:lnTo>
                    <a:pt x="142" y="6"/>
                  </a:lnTo>
                  <a:lnTo>
                    <a:pt x="234" y="0"/>
                  </a:lnTo>
                  <a:lnTo>
                    <a:pt x="242" y="4"/>
                  </a:lnTo>
                  <a:lnTo>
                    <a:pt x="250" y="10"/>
                  </a:lnTo>
                  <a:lnTo>
                    <a:pt x="258" y="20"/>
                  </a:lnTo>
                  <a:lnTo>
                    <a:pt x="266" y="32"/>
                  </a:lnTo>
                  <a:lnTo>
                    <a:pt x="266" y="52"/>
                  </a:lnTo>
                  <a:lnTo>
                    <a:pt x="262" y="60"/>
                  </a:lnTo>
                  <a:lnTo>
                    <a:pt x="258" y="68"/>
                  </a:lnTo>
                  <a:lnTo>
                    <a:pt x="236" y="100"/>
                  </a:lnTo>
                  <a:lnTo>
                    <a:pt x="226" y="116"/>
                  </a:lnTo>
                  <a:lnTo>
                    <a:pt x="218" y="134"/>
                  </a:lnTo>
                  <a:lnTo>
                    <a:pt x="212" y="148"/>
                  </a:lnTo>
                  <a:lnTo>
                    <a:pt x="208" y="158"/>
                  </a:lnTo>
                  <a:lnTo>
                    <a:pt x="202" y="166"/>
                  </a:lnTo>
                  <a:lnTo>
                    <a:pt x="178" y="178"/>
                  </a:lnTo>
                  <a:lnTo>
                    <a:pt x="156" y="192"/>
                  </a:lnTo>
                  <a:lnTo>
                    <a:pt x="116" y="218"/>
                  </a:lnTo>
                  <a:lnTo>
                    <a:pt x="88" y="222"/>
                  </a:lnTo>
                  <a:close/>
                </a:path>
              </a:pathLst>
            </a:custGeom>
            <a:solidFill>
              <a:srgbClr val="C6C5C6"/>
            </a:solidFill>
            <a:ln>
              <a:noFill/>
            </a:ln>
            <a:extLst/>
          </p:spPr>
          <p:txBody>
            <a:bodyPr/>
            <a:lstStyle/>
            <a:p>
              <a:pPr defTabSz="914354"/>
              <a:endParaRPr lang="zh-CN" altLang="en-US" sz="1500" kern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1986" name="椭圆 1985"/>
            <p:cNvSpPr/>
            <p:nvPr/>
          </p:nvSpPr>
          <p:spPr>
            <a:xfrm>
              <a:off x="1478872" y="1315520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987" name="未知"/>
            <p:cNvSpPr>
              <a:spLocks/>
            </p:cNvSpPr>
            <p:nvPr/>
          </p:nvSpPr>
          <p:spPr bwMode="auto">
            <a:xfrm>
              <a:off x="1521567" y="1358101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88" name="椭圆 1987"/>
            <p:cNvSpPr/>
            <p:nvPr/>
          </p:nvSpPr>
          <p:spPr>
            <a:xfrm>
              <a:off x="2615946" y="1825736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989" name="未知"/>
            <p:cNvSpPr>
              <a:spLocks/>
            </p:cNvSpPr>
            <p:nvPr/>
          </p:nvSpPr>
          <p:spPr bwMode="auto">
            <a:xfrm>
              <a:off x="2658641" y="1868317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90" name="椭圆 1989"/>
            <p:cNvSpPr/>
            <p:nvPr/>
          </p:nvSpPr>
          <p:spPr>
            <a:xfrm>
              <a:off x="3820978" y="1148374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991" name="未知"/>
            <p:cNvSpPr>
              <a:spLocks/>
            </p:cNvSpPr>
            <p:nvPr/>
          </p:nvSpPr>
          <p:spPr bwMode="auto">
            <a:xfrm>
              <a:off x="3863673" y="1190955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92" name="椭圆 1991"/>
            <p:cNvSpPr/>
            <p:nvPr/>
          </p:nvSpPr>
          <p:spPr>
            <a:xfrm>
              <a:off x="3784919" y="1302013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993" name="未知"/>
            <p:cNvSpPr>
              <a:spLocks/>
            </p:cNvSpPr>
            <p:nvPr/>
          </p:nvSpPr>
          <p:spPr bwMode="auto">
            <a:xfrm>
              <a:off x="3827614" y="1344594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94" name="椭圆 1993"/>
            <p:cNvSpPr/>
            <p:nvPr/>
          </p:nvSpPr>
          <p:spPr>
            <a:xfrm>
              <a:off x="3624052" y="1708522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995" name="未知"/>
            <p:cNvSpPr>
              <a:spLocks/>
            </p:cNvSpPr>
            <p:nvPr/>
          </p:nvSpPr>
          <p:spPr bwMode="auto">
            <a:xfrm>
              <a:off x="3666747" y="1751103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96" name="椭圆 1995"/>
            <p:cNvSpPr/>
            <p:nvPr/>
          </p:nvSpPr>
          <p:spPr>
            <a:xfrm>
              <a:off x="3558468" y="1933775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997" name="未知"/>
            <p:cNvSpPr>
              <a:spLocks/>
            </p:cNvSpPr>
            <p:nvPr/>
          </p:nvSpPr>
          <p:spPr bwMode="auto">
            <a:xfrm>
              <a:off x="3601163" y="1976356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998" name="椭圆 1997"/>
            <p:cNvSpPr/>
            <p:nvPr/>
          </p:nvSpPr>
          <p:spPr>
            <a:xfrm>
              <a:off x="3375724" y="1935961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999" name="未知"/>
            <p:cNvSpPr>
              <a:spLocks/>
            </p:cNvSpPr>
            <p:nvPr/>
          </p:nvSpPr>
          <p:spPr bwMode="auto">
            <a:xfrm>
              <a:off x="3418419" y="1978542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00" name="椭圆 1999"/>
            <p:cNvSpPr/>
            <p:nvPr/>
          </p:nvSpPr>
          <p:spPr>
            <a:xfrm>
              <a:off x="3192981" y="1938146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01" name="未知"/>
            <p:cNvSpPr>
              <a:spLocks/>
            </p:cNvSpPr>
            <p:nvPr/>
          </p:nvSpPr>
          <p:spPr bwMode="auto">
            <a:xfrm>
              <a:off x="3235676" y="1980727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02" name="椭圆 2001"/>
            <p:cNvSpPr/>
            <p:nvPr/>
          </p:nvSpPr>
          <p:spPr>
            <a:xfrm>
              <a:off x="3181342" y="1826311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03" name="未知"/>
            <p:cNvSpPr>
              <a:spLocks/>
            </p:cNvSpPr>
            <p:nvPr/>
          </p:nvSpPr>
          <p:spPr bwMode="auto">
            <a:xfrm>
              <a:off x="3224037" y="1868892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04" name="椭圆 2003"/>
            <p:cNvSpPr/>
            <p:nvPr/>
          </p:nvSpPr>
          <p:spPr>
            <a:xfrm>
              <a:off x="2968549" y="1630530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05" name="未知"/>
            <p:cNvSpPr>
              <a:spLocks/>
            </p:cNvSpPr>
            <p:nvPr/>
          </p:nvSpPr>
          <p:spPr bwMode="auto">
            <a:xfrm>
              <a:off x="3011244" y="1673111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06" name="椭圆 2005"/>
            <p:cNvSpPr/>
            <p:nvPr/>
          </p:nvSpPr>
          <p:spPr>
            <a:xfrm>
              <a:off x="3047114" y="1861400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07" name="未知"/>
            <p:cNvSpPr>
              <a:spLocks/>
            </p:cNvSpPr>
            <p:nvPr/>
          </p:nvSpPr>
          <p:spPr bwMode="auto">
            <a:xfrm>
              <a:off x="3089809" y="1903981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08" name="椭圆 2007"/>
            <p:cNvSpPr/>
            <p:nvPr/>
          </p:nvSpPr>
          <p:spPr>
            <a:xfrm>
              <a:off x="2454912" y="2044920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09" name="未知"/>
            <p:cNvSpPr>
              <a:spLocks/>
            </p:cNvSpPr>
            <p:nvPr/>
          </p:nvSpPr>
          <p:spPr bwMode="auto">
            <a:xfrm>
              <a:off x="2497607" y="2087501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10" name="椭圆 2009"/>
            <p:cNvSpPr/>
            <p:nvPr/>
          </p:nvSpPr>
          <p:spPr>
            <a:xfrm>
              <a:off x="2661251" y="2518345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11" name="未知"/>
            <p:cNvSpPr>
              <a:spLocks/>
            </p:cNvSpPr>
            <p:nvPr/>
          </p:nvSpPr>
          <p:spPr bwMode="auto">
            <a:xfrm>
              <a:off x="2703946" y="2560926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12" name="椭圆 2011"/>
            <p:cNvSpPr/>
            <p:nvPr/>
          </p:nvSpPr>
          <p:spPr>
            <a:xfrm>
              <a:off x="2675725" y="2780975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13" name="未知"/>
            <p:cNvSpPr>
              <a:spLocks/>
            </p:cNvSpPr>
            <p:nvPr/>
          </p:nvSpPr>
          <p:spPr bwMode="auto">
            <a:xfrm>
              <a:off x="2718420" y="2823556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14" name="椭圆 2013"/>
            <p:cNvSpPr/>
            <p:nvPr/>
          </p:nvSpPr>
          <p:spPr>
            <a:xfrm>
              <a:off x="2368104" y="2904400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15" name="未知"/>
            <p:cNvSpPr>
              <a:spLocks/>
            </p:cNvSpPr>
            <p:nvPr/>
          </p:nvSpPr>
          <p:spPr bwMode="auto">
            <a:xfrm>
              <a:off x="2410799" y="2946981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16" name="椭圆 2015"/>
            <p:cNvSpPr/>
            <p:nvPr/>
          </p:nvSpPr>
          <p:spPr>
            <a:xfrm>
              <a:off x="2804171" y="3085027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17" name="未知"/>
            <p:cNvSpPr>
              <a:spLocks/>
            </p:cNvSpPr>
            <p:nvPr/>
          </p:nvSpPr>
          <p:spPr bwMode="auto">
            <a:xfrm>
              <a:off x="2846866" y="3127608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18" name="椭圆 2017"/>
            <p:cNvSpPr/>
            <p:nvPr/>
          </p:nvSpPr>
          <p:spPr>
            <a:xfrm>
              <a:off x="2998357" y="3130030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19" name="未知"/>
            <p:cNvSpPr>
              <a:spLocks/>
            </p:cNvSpPr>
            <p:nvPr/>
          </p:nvSpPr>
          <p:spPr bwMode="auto">
            <a:xfrm>
              <a:off x="3041052" y="3172611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20" name="椭圆 2019"/>
            <p:cNvSpPr/>
            <p:nvPr/>
          </p:nvSpPr>
          <p:spPr>
            <a:xfrm>
              <a:off x="2944922" y="3316887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21" name="未知"/>
            <p:cNvSpPr>
              <a:spLocks/>
            </p:cNvSpPr>
            <p:nvPr/>
          </p:nvSpPr>
          <p:spPr bwMode="auto">
            <a:xfrm>
              <a:off x="2987617" y="3359468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22" name="椭圆 2021"/>
            <p:cNvSpPr/>
            <p:nvPr/>
          </p:nvSpPr>
          <p:spPr>
            <a:xfrm>
              <a:off x="2910066" y="2897537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23" name="未知"/>
            <p:cNvSpPr>
              <a:spLocks/>
            </p:cNvSpPr>
            <p:nvPr/>
          </p:nvSpPr>
          <p:spPr bwMode="auto">
            <a:xfrm>
              <a:off x="2952761" y="2940118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24" name="椭圆 2023"/>
            <p:cNvSpPr/>
            <p:nvPr/>
          </p:nvSpPr>
          <p:spPr>
            <a:xfrm>
              <a:off x="3135447" y="2633145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25" name="未知"/>
            <p:cNvSpPr>
              <a:spLocks/>
            </p:cNvSpPr>
            <p:nvPr/>
          </p:nvSpPr>
          <p:spPr bwMode="auto">
            <a:xfrm>
              <a:off x="3178142" y="2675726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26" name="椭圆 2025"/>
            <p:cNvSpPr/>
            <p:nvPr/>
          </p:nvSpPr>
          <p:spPr>
            <a:xfrm>
              <a:off x="3362892" y="2588190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27" name="未知"/>
            <p:cNvSpPr>
              <a:spLocks/>
            </p:cNvSpPr>
            <p:nvPr/>
          </p:nvSpPr>
          <p:spPr bwMode="auto">
            <a:xfrm>
              <a:off x="3405587" y="2630771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28" name="椭圆 2027"/>
            <p:cNvSpPr/>
            <p:nvPr/>
          </p:nvSpPr>
          <p:spPr>
            <a:xfrm>
              <a:off x="3131598" y="2109743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29" name="未知"/>
            <p:cNvSpPr>
              <a:spLocks/>
            </p:cNvSpPr>
            <p:nvPr/>
          </p:nvSpPr>
          <p:spPr bwMode="auto">
            <a:xfrm>
              <a:off x="3174293" y="2152324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30" name="椭圆 2029"/>
            <p:cNvSpPr/>
            <p:nvPr/>
          </p:nvSpPr>
          <p:spPr>
            <a:xfrm>
              <a:off x="3434426" y="2298349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31" name="未知"/>
            <p:cNvSpPr>
              <a:spLocks/>
            </p:cNvSpPr>
            <p:nvPr/>
          </p:nvSpPr>
          <p:spPr bwMode="auto">
            <a:xfrm>
              <a:off x="3477121" y="2340930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32" name="椭圆 2031"/>
            <p:cNvSpPr/>
            <p:nvPr/>
          </p:nvSpPr>
          <p:spPr>
            <a:xfrm>
              <a:off x="3537746" y="2296199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33" name="未知"/>
            <p:cNvSpPr>
              <a:spLocks/>
            </p:cNvSpPr>
            <p:nvPr/>
          </p:nvSpPr>
          <p:spPr bwMode="auto">
            <a:xfrm>
              <a:off x="3580441" y="2338780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34" name="椭圆 2033"/>
            <p:cNvSpPr/>
            <p:nvPr/>
          </p:nvSpPr>
          <p:spPr>
            <a:xfrm>
              <a:off x="3623178" y="2471890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35" name="未知"/>
            <p:cNvSpPr>
              <a:spLocks/>
            </p:cNvSpPr>
            <p:nvPr/>
          </p:nvSpPr>
          <p:spPr bwMode="auto">
            <a:xfrm>
              <a:off x="3665873" y="2514471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36" name="椭圆 2035"/>
            <p:cNvSpPr/>
            <p:nvPr/>
          </p:nvSpPr>
          <p:spPr>
            <a:xfrm>
              <a:off x="3621701" y="2759236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37" name="未知"/>
            <p:cNvSpPr>
              <a:spLocks/>
            </p:cNvSpPr>
            <p:nvPr/>
          </p:nvSpPr>
          <p:spPr bwMode="auto">
            <a:xfrm>
              <a:off x="3664396" y="2801817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38" name="椭圆 2037"/>
            <p:cNvSpPr/>
            <p:nvPr/>
          </p:nvSpPr>
          <p:spPr>
            <a:xfrm>
              <a:off x="3550600" y="2885362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39" name="未知"/>
            <p:cNvSpPr>
              <a:spLocks/>
            </p:cNvSpPr>
            <p:nvPr/>
          </p:nvSpPr>
          <p:spPr bwMode="auto">
            <a:xfrm>
              <a:off x="3593295" y="2927943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40" name="椭圆 2039"/>
            <p:cNvSpPr/>
            <p:nvPr/>
          </p:nvSpPr>
          <p:spPr>
            <a:xfrm>
              <a:off x="1612726" y="2467714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41" name="未知"/>
            <p:cNvSpPr>
              <a:spLocks/>
            </p:cNvSpPr>
            <p:nvPr/>
          </p:nvSpPr>
          <p:spPr bwMode="auto">
            <a:xfrm>
              <a:off x="1655421" y="2510295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42" name="椭圆 2041"/>
            <p:cNvSpPr/>
            <p:nvPr/>
          </p:nvSpPr>
          <p:spPr>
            <a:xfrm>
              <a:off x="2193097" y="1965744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43" name="未知"/>
            <p:cNvSpPr>
              <a:spLocks/>
            </p:cNvSpPr>
            <p:nvPr/>
          </p:nvSpPr>
          <p:spPr bwMode="auto">
            <a:xfrm>
              <a:off x="2235792" y="2008325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44" name="椭圆 2043"/>
            <p:cNvSpPr/>
            <p:nvPr/>
          </p:nvSpPr>
          <p:spPr>
            <a:xfrm>
              <a:off x="2453160" y="2465475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45" name="未知"/>
            <p:cNvSpPr>
              <a:spLocks/>
            </p:cNvSpPr>
            <p:nvPr/>
          </p:nvSpPr>
          <p:spPr bwMode="auto">
            <a:xfrm>
              <a:off x="2495855" y="2508056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46" name="椭圆 2045"/>
            <p:cNvSpPr/>
            <p:nvPr/>
          </p:nvSpPr>
          <p:spPr>
            <a:xfrm>
              <a:off x="2816767" y="2147845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47" name="未知"/>
            <p:cNvSpPr>
              <a:spLocks/>
            </p:cNvSpPr>
            <p:nvPr/>
          </p:nvSpPr>
          <p:spPr bwMode="auto">
            <a:xfrm>
              <a:off x="2859462" y="2190426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48" name="椭圆 2047"/>
            <p:cNvSpPr/>
            <p:nvPr/>
          </p:nvSpPr>
          <p:spPr>
            <a:xfrm>
              <a:off x="3229708" y="2430275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49" name="未知"/>
            <p:cNvSpPr>
              <a:spLocks/>
            </p:cNvSpPr>
            <p:nvPr/>
          </p:nvSpPr>
          <p:spPr bwMode="auto">
            <a:xfrm>
              <a:off x="3272403" y="2472856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50" name="椭圆 2049"/>
            <p:cNvSpPr/>
            <p:nvPr/>
          </p:nvSpPr>
          <p:spPr>
            <a:xfrm>
              <a:off x="3314382" y="3072870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51" name="未知"/>
            <p:cNvSpPr>
              <a:spLocks/>
            </p:cNvSpPr>
            <p:nvPr/>
          </p:nvSpPr>
          <p:spPr bwMode="auto">
            <a:xfrm>
              <a:off x="3357077" y="3115451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52" name="椭圆 2051"/>
            <p:cNvSpPr/>
            <p:nvPr/>
          </p:nvSpPr>
          <p:spPr>
            <a:xfrm>
              <a:off x="3168707" y="2989043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53" name="未知"/>
            <p:cNvSpPr>
              <a:spLocks/>
            </p:cNvSpPr>
            <p:nvPr/>
          </p:nvSpPr>
          <p:spPr bwMode="auto">
            <a:xfrm>
              <a:off x="3211402" y="3031624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54" name="椭圆 2053"/>
            <p:cNvSpPr/>
            <p:nvPr/>
          </p:nvSpPr>
          <p:spPr>
            <a:xfrm>
              <a:off x="3675041" y="2356421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55" name="未知"/>
            <p:cNvSpPr>
              <a:spLocks/>
            </p:cNvSpPr>
            <p:nvPr/>
          </p:nvSpPr>
          <p:spPr bwMode="auto">
            <a:xfrm>
              <a:off x="3717736" y="2399002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56" name="椭圆 2055"/>
            <p:cNvSpPr/>
            <p:nvPr/>
          </p:nvSpPr>
          <p:spPr>
            <a:xfrm>
              <a:off x="3257448" y="1667329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57" name="未知"/>
            <p:cNvSpPr>
              <a:spLocks/>
            </p:cNvSpPr>
            <p:nvPr/>
          </p:nvSpPr>
          <p:spPr bwMode="auto">
            <a:xfrm>
              <a:off x="3300143" y="1709910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58" name="椭圆 2057"/>
            <p:cNvSpPr/>
            <p:nvPr/>
          </p:nvSpPr>
          <p:spPr>
            <a:xfrm>
              <a:off x="3713805" y="1473087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59" name="未知"/>
            <p:cNvSpPr>
              <a:spLocks/>
            </p:cNvSpPr>
            <p:nvPr/>
          </p:nvSpPr>
          <p:spPr bwMode="auto">
            <a:xfrm>
              <a:off x="3756500" y="1515668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60" name="椭圆 2059"/>
            <p:cNvSpPr/>
            <p:nvPr/>
          </p:nvSpPr>
          <p:spPr>
            <a:xfrm>
              <a:off x="2357923" y="2612262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61" name="未知"/>
            <p:cNvSpPr>
              <a:spLocks/>
            </p:cNvSpPr>
            <p:nvPr/>
          </p:nvSpPr>
          <p:spPr bwMode="auto">
            <a:xfrm>
              <a:off x="2400618" y="2654843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62" name="椭圆 2061"/>
            <p:cNvSpPr/>
            <p:nvPr/>
          </p:nvSpPr>
          <p:spPr>
            <a:xfrm>
              <a:off x="2194787" y="2376859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63" name="未知"/>
            <p:cNvSpPr>
              <a:spLocks/>
            </p:cNvSpPr>
            <p:nvPr/>
          </p:nvSpPr>
          <p:spPr bwMode="auto">
            <a:xfrm>
              <a:off x="2237482" y="2419440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64" name="椭圆 2063"/>
            <p:cNvSpPr/>
            <p:nvPr/>
          </p:nvSpPr>
          <p:spPr>
            <a:xfrm>
              <a:off x="3577416" y="2575789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65" name="未知"/>
            <p:cNvSpPr>
              <a:spLocks/>
            </p:cNvSpPr>
            <p:nvPr/>
          </p:nvSpPr>
          <p:spPr bwMode="auto">
            <a:xfrm>
              <a:off x="3620111" y="2618370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66" name="椭圆 2065"/>
            <p:cNvSpPr/>
            <p:nvPr/>
          </p:nvSpPr>
          <p:spPr>
            <a:xfrm>
              <a:off x="3018875" y="2367754"/>
              <a:ext cx="39600" cy="3960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kumimoji="1" lang="zh-CN" altLang="en-US" sz="11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067" name="未知"/>
            <p:cNvSpPr>
              <a:spLocks/>
            </p:cNvSpPr>
            <p:nvPr/>
          </p:nvSpPr>
          <p:spPr bwMode="auto">
            <a:xfrm>
              <a:off x="3061570" y="2410335"/>
              <a:ext cx="36612" cy="36596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500">
                <a:solidFill>
                  <a:srgbClr val="000000"/>
                </a:solidFill>
                <a:latin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68" name="未知"/>
            <p:cNvSpPr>
              <a:spLocks/>
            </p:cNvSpPr>
            <p:nvPr/>
          </p:nvSpPr>
          <p:spPr bwMode="auto">
            <a:xfrm>
              <a:off x="1523128" y="1363848"/>
              <a:ext cx="36610" cy="36610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69" name="未知"/>
            <p:cNvSpPr>
              <a:spLocks/>
            </p:cNvSpPr>
            <p:nvPr/>
          </p:nvSpPr>
          <p:spPr bwMode="auto">
            <a:xfrm>
              <a:off x="2406542" y="2942439"/>
              <a:ext cx="36610" cy="36610"/>
            </a:xfrm>
            <a:custGeom>
              <a:avLst/>
              <a:gdLst>
                <a:gd name="T0" fmla="*/ 2147483647 w 42"/>
                <a:gd name="T1" fmla="*/ 0 h 40"/>
                <a:gd name="T2" fmla="*/ 2147483647 w 42"/>
                <a:gd name="T3" fmla="*/ 0 h 40"/>
                <a:gd name="T4" fmla="*/ 2147483647 w 42"/>
                <a:gd name="T5" fmla="*/ 2147483647 h 40"/>
                <a:gd name="T6" fmla="*/ 2147483647 w 42"/>
                <a:gd name="T7" fmla="*/ 2147483647 h 40"/>
                <a:gd name="T8" fmla="*/ 2147483647 w 42"/>
                <a:gd name="T9" fmla="*/ 2147483647 h 40"/>
                <a:gd name="T10" fmla="*/ 2147483647 w 42"/>
                <a:gd name="T11" fmla="*/ 2147483647 h 40"/>
                <a:gd name="T12" fmla="*/ 2147483647 w 42"/>
                <a:gd name="T13" fmla="*/ 2147483647 h 40"/>
                <a:gd name="T14" fmla="*/ 2147483647 w 42"/>
                <a:gd name="T15" fmla="*/ 2147483647 h 40"/>
                <a:gd name="T16" fmla="*/ 2147483647 w 42"/>
                <a:gd name="T17" fmla="*/ 2147483647 h 40"/>
                <a:gd name="T18" fmla="*/ 2147483647 w 42"/>
                <a:gd name="T19" fmla="*/ 2147483647 h 40"/>
                <a:gd name="T20" fmla="*/ 2147483647 w 42"/>
                <a:gd name="T21" fmla="*/ 2147483647 h 40"/>
                <a:gd name="T22" fmla="*/ 2147483647 w 42"/>
                <a:gd name="T23" fmla="*/ 2147483647 h 40"/>
                <a:gd name="T24" fmla="*/ 2147483647 w 42"/>
                <a:gd name="T25" fmla="*/ 2147483647 h 40"/>
                <a:gd name="T26" fmla="*/ 2147483647 w 42"/>
                <a:gd name="T27" fmla="*/ 2147483647 h 40"/>
                <a:gd name="T28" fmla="*/ 2147483647 w 42"/>
                <a:gd name="T29" fmla="*/ 2147483647 h 40"/>
                <a:gd name="T30" fmla="*/ 0 w 42"/>
                <a:gd name="T31" fmla="*/ 2147483647 h 40"/>
                <a:gd name="T32" fmla="*/ 0 w 42"/>
                <a:gd name="T33" fmla="*/ 2147483647 h 40"/>
                <a:gd name="T34" fmla="*/ 2147483647 w 42"/>
                <a:gd name="T35" fmla="*/ 2147483647 h 40"/>
                <a:gd name="T36" fmla="*/ 2147483647 w 42"/>
                <a:gd name="T37" fmla="*/ 2147483647 h 40"/>
                <a:gd name="T38" fmla="*/ 2147483647 w 42"/>
                <a:gd name="T39" fmla="*/ 2147483647 h 40"/>
                <a:gd name="T40" fmla="*/ 2147483647 w 42"/>
                <a:gd name="T41" fmla="*/ 0 h 40"/>
                <a:gd name="T42" fmla="*/ 2147483647 w 42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2" h="40">
                  <a:moveTo>
                    <a:pt x="22" y="0"/>
                  </a:moveTo>
                  <a:lnTo>
                    <a:pt x="22" y="0"/>
                  </a:lnTo>
                  <a:lnTo>
                    <a:pt x="30" y="2"/>
                  </a:lnTo>
                  <a:lnTo>
                    <a:pt x="36" y="6"/>
                  </a:lnTo>
                  <a:lnTo>
                    <a:pt x="40" y="12"/>
                  </a:lnTo>
                  <a:lnTo>
                    <a:pt x="42" y="20"/>
                  </a:lnTo>
                  <a:lnTo>
                    <a:pt x="40" y="28"/>
                  </a:lnTo>
                  <a:lnTo>
                    <a:pt x="36" y="34"/>
                  </a:lnTo>
                  <a:lnTo>
                    <a:pt x="30" y="38"/>
                  </a:lnTo>
                  <a:lnTo>
                    <a:pt x="22" y="40"/>
                  </a:lnTo>
                  <a:lnTo>
                    <a:pt x="14" y="38"/>
                  </a:lnTo>
                  <a:lnTo>
                    <a:pt x="6" y="34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4" y="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70" name="未知"/>
            <p:cNvSpPr>
              <a:spLocks/>
            </p:cNvSpPr>
            <p:nvPr/>
          </p:nvSpPr>
          <p:spPr bwMode="auto">
            <a:xfrm>
              <a:off x="2850701" y="3114704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0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0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40"/>
                  </a:lnTo>
                  <a:lnTo>
                    <a:pt x="20" y="40"/>
                  </a:lnTo>
                  <a:lnTo>
                    <a:pt x="12" y="40"/>
                  </a:lnTo>
                  <a:lnTo>
                    <a:pt x="6" y="34"/>
                  </a:lnTo>
                  <a:lnTo>
                    <a:pt x="0" y="28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71" name="未知"/>
            <p:cNvSpPr>
              <a:spLocks/>
            </p:cNvSpPr>
            <p:nvPr/>
          </p:nvSpPr>
          <p:spPr bwMode="auto">
            <a:xfrm>
              <a:off x="2725551" y="2821244"/>
              <a:ext cx="36610" cy="36610"/>
            </a:xfrm>
            <a:custGeom>
              <a:avLst/>
              <a:gdLst>
                <a:gd name="T0" fmla="*/ 2147483647 w 42"/>
                <a:gd name="T1" fmla="*/ 0 h 42"/>
                <a:gd name="T2" fmla="*/ 2147483647 w 42"/>
                <a:gd name="T3" fmla="*/ 0 h 42"/>
                <a:gd name="T4" fmla="*/ 2147483647 w 42"/>
                <a:gd name="T5" fmla="*/ 2147483647 h 42"/>
                <a:gd name="T6" fmla="*/ 2147483647 w 42"/>
                <a:gd name="T7" fmla="*/ 2147483647 h 42"/>
                <a:gd name="T8" fmla="*/ 2147483647 w 42"/>
                <a:gd name="T9" fmla="*/ 2147483647 h 42"/>
                <a:gd name="T10" fmla="*/ 2147483647 w 42"/>
                <a:gd name="T11" fmla="*/ 2147483647 h 42"/>
                <a:gd name="T12" fmla="*/ 2147483647 w 42"/>
                <a:gd name="T13" fmla="*/ 2147483647 h 42"/>
                <a:gd name="T14" fmla="*/ 2147483647 w 42"/>
                <a:gd name="T15" fmla="*/ 2147483647 h 42"/>
                <a:gd name="T16" fmla="*/ 2147483647 w 42"/>
                <a:gd name="T17" fmla="*/ 2147483647 h 42"/>
                <a:gd name="T18" fmla="*/ 2147483647 w 42"/>
                <a:gd name="T19" fmla="*/ 2147483647 h 42"/>
                <a:gd name="T20" fmla="*/ 2147483647 w 42"/>
                <a:gd name="T21" fmla="*/ 2147483647 h 42"/>
                <a:gd name="T22" fmla="*/ 2147483647 w 42"/>
                <a:gd name="T23" fmla="*/ 2147483647 h 42"/>
                <a:gd name="T24" fmla="*/ 2147483647 w 42"/>
                <a:gd name="T25" fmla="*/ 2147483647 h 42"/>
                <a:gd name="T26" fmla="*/ 2147483647 w 42"/>
                <a:gd name="T27" fmla="*/ 2147483647 h 42"/>
                <a:gd name="T28" fmla="*/ 2147483647 w 42"/>
                <a:gd name="T29" fmla="*/ 2147483647 h 42"/>
                <a:gd name="T30" fmla="*/ 0 w 42"/>
                <a:gd name="T31" fmla="*/ 2147483647 h 42"/>
                <a:gd name="T32" fmla="*/ 0 w 42"/>
                <a:gd name="T33" fmla="*/ 2147483647 h 42"/>
                <a:gd name="T34" fmla="*/ 2147483647 w 42"/>
                <a:gd name="T35" fmla="*/ 2147483647 h 42"/>
                <a:gd name="T36" fmla="*/ 2147483647 w 42"/>
                <a:gd name="T37" fmla="*/ 2147483647 h 42"/>
                <a:gd name="T38" fmla="*/ 2147483647 w 42"/>
                <a:gd name="T39" fmla="*/ 2147483647 h 42"/>
                <a:gd name="T40" fmla="*/ 2147483647 w 42"/>
                <a:gd name="T41" fmla="*/ 0 h 42"/>
                <a:gd name="T42" fmla="*/ 2147483647 w 42"/>
                <a:gd name="T43" fmla="*/ 0 h 4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2" h="42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6" y="6"/>
                  </a:lnTo>
                  <a:lnTo>
                    <a:pt x="40" y="14"/>
                  </a:lnTo>
                  <a:lnTo>
                    <a:pt x="42" y="22"/>
                  </a:lnTo>
                  <a:lnTo>
                    <a:pt x="40" y="30"/>
                  </a:lnTo>
                  <a:lnTo>
                    <a:pt x="36" y="36"/>
                  </a:lnTo>
                  <a:lnTo>
                    <a:pt x="28" y="40"/>
                  </a:lnTo>
                  <a:lnTo>
                    <a:pt x="20" y="42"/>
                  </a:lnTo>
                  <a:lnTo>
                    <a:pt x="12" y="40"/>
                  </a:lnTo>
                  <a:lnTo>
                    <a:pt x="6" y="36"/>
                  </a:lnTo>
                  <a:lnTo>
                    <a:pt x="2" y="30"/>
                  </a:lnTo>
                  <a:lnTo>
                    <a:pt x="0" y="22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72" name="未知"/>
            <p:cNvSpPr>
              <a:spLocks/>
            </p:cNvSpPr>
            <p:nvPr/>
          </p:nvSpPr>
          <p:spPr bwMode="auto">
            <a:xfrm>
              <a:off x="3174619" y="2671083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0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0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40"/>
                  </a:lnTo>
                  <a:lnTo>
                    <a:pt x="20" y="40"/>
                  </a:lnTo>
                  <a:lnTo>
                    <a:pt x="12" y="40"/>
                  </a:lnTo>
                  <a:lnTo>
                    <a:pt x="4" y="34"/>
                  </a:lnTo>
                  <a:lnTo>
                    <a:pt x="0" y="28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4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73" name="未知"/>
            <p:cNvSpPr>
              <a:spLocks/>
            </p:cNvSpPr>
            <p:nvPr/>
          </p:nvSpPr>
          <p:spPr bwMode="auto">
            <a:xfrm>
              <a:off x="3404471" y="2626110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2147483647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2147483647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6"/>
                  </a:lnTo>
                  <a:lnTo>
                    <a:pt x="28" y="40"/>
                  </a:lnTo>
                  <a:lnTo>
                    <a:pt x="20" y="40"/>
                  </a:lnTo>
                  <a:lnTo>
                    <a:pt x="12" y="40"/>
                  </a:lnTo>
                  <a:lnTo>
                    <a:pt x="6" y="36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74" name="未知"/>
            <p:cNvSpPr>
              <a:spLocks/>
            </p:cNvSpPr>
            <p:nvPr/>
          </p:nvSpPr>
          <p:spPr bwMode="auto">
            <a:xfrm>
              <a:off x="3670311" y="2800663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0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0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38"/>
                  </a:lnTo>
                  <a:lnTo>
                    <a:pt x="20" y="40"/>
                  </a:lnTo>
                  <a:lnTo>
                    <a:pt x="12" y="38"/>
                  </a:lnTo>
                  <a:lnTo>
                    <a:pt x="6" y="34"/>
                  </a:lnTo>
                  <a:lnTo>
                    <a:pt x="0" y="28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75" name="未知"/>
            <p:cNvSpPr>
              <a:spLocks/>
            </p:cNvSpPr>
            <p:nvPr/>
          </p:nvSpPr>
          <p:spPr bwMode="auto">
            <a:xfrm>
              <a:off x="3671948" y="2462231"/>
              <a:ext cx="61017" cy="61017"/>
            </a:xfrm>
            <a:custGeom>
              <a:avLst/>
              <a:gdLst>
                <a:gd name="T0" fmla="*/ 2147483647 w 42"/>
                <a:gd name="T1" fmla="*/ 0 h 42"/>
                <a:gd name="T2" fmla="*/ 2147483647 w 42"/>
                <a:gd name="T3" fmla="*/ 0 h 42"/>
                <a:gd name="T4" fmla="*/ 2147483647 w 42"/>
                <a:gd name="T5" fmla="*/ 2147483647 h 42"/>
                <a:gd name="T6" fmla="*/ 2147483647 w 42"/>
                <a:gd name="T7" fmla="*/ 2147483647 h 42"/>
                <a:gd name="T8" fmla="*/ 2147483647 w 42"/>
                <a:gd name="T9" fmla="*/ 2147483647 h 42"/>
                <a:gd name="T10" fmla="*/ 2147483647 w 42"/>
                <a:gd name="T11" fmla="*/ 2147483647 h 42"/>
                <a:gd name="T12" fmla="*/ 2147483647 w 42"/>
                <a:gd name="T13" fmla="*/ 2147483647 h 42"/>
                <a:gd name="T14" fmla="*/ 2147483647 w 42"/>
                <a:gd name="T15" fmla="*/ 2147483647 h 42"/>
                <a:gd name="T16" fmla="*/ 2147483647 w 42"/>
                <a:gd name="T17" fmla="*/ 2147483647 h 42"/>
                <a:gd name="T18" fmla="*/ 2147483647 w 42"/>
                <a:gd name="T19" fmla="*/ 2147483647 h 42"/>
                <a:gd name="T20" fmla="*/ 2147483647 w 42"/>
                <a:gd name="T21" fmla="*/ 2147483647 h 42"/>
                <a:gd name="T22" fmla="*/ 2147483647 w 42"/>
                <a:gd name="T23" fmla="*/ 2147483647 h 42"/>
                <a:gd name="T24" fmla="*/ 2147483647 w 42"/>
                <a:gd name="T25" fmla="*/ 2147483647 h 42"/>
                <a:gd name="T26" fmla="*/ 2147483647 w 42"/>
                <a:gd name="T27" fmla="*/ 2147483647 h 42"/>
                <a:gd name="T28" fmla="*/ 2147483647 w 42"/>
                <a:gd name="T29" fmla="*/ 2147483647 h 42"/>
                <a:gd name="T30" fmla="*/ 0 w 42"/>
                <a:gd name="T31" fmla="*/ 2147483647 h 42"/>
                <a:gd name="T32" fmla="*/ 0 w 42"/>
                <a:gd name="T33" fmla="*/ 2147483647 h 42"/>
                <a:gd name="T34" fmla="*/ 2147483647 w 42"/>
                <a:gd name="T35" fmla="*/ 2147483647 h 42"/>
                <a:gd name="T36" fmla="*/ 2147483647 w 42"/>
                <a:gd name="T37" fmla="*/ 2147483647 h 42"/>
                <a:gd name="T38" fmla="*/ 2147483647 w 42"/>
                <a:gd name="T39" fmla="*/ 2147483647 h 42"/>
                <a:gd name="T40" fmla="*/ 2147483647 w 42"/>
                <a:gd name="T41" fmla="*/ 0 h 42"/>
                <a:gd name="T42" fmla="*/ 2147483647 w 42"/>
                <a:gd name="T43" fmla="*/ 0 h 4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2" h="42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6" y="6"/>
                  </a:lnTo>
                  <a:lnTo>
                    <a:pt x="40" y="14"/>
                  </a:lnTo>
                  <a:lnTo>
                    <a:pt x="42" y="22"/>
                  </a:lnTo>
                  <a:lnTo>
                    <a:pt x="40" y="28"/>
                  </a:lnTo>
                  <a:lnTo>
                    <a:pt x="36" y="36"/>
                  </a:lnTo>
                  <a:lnTo>
                    <a:pt x="28" y="40"/>
                  </a:lnTo>
                  <a:lnTo>
                    <a:pt x="20" y="42"/>
                  </a:lnTo>
                  <a:lnTo>
                    <a:pt x="12" y="40"/>
                  </a:lnTo>
                  <a:lnTo>
                    <a:pt x="6" y="36"/>
                  </a:lnTo>
                  <a:lnTo>
                    <a:pt x="2" y="28"/>
                  </a:lnTo>
                  <a:lnTo>
                    <a:pt x="0" y="22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8841D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76" name="未知"/>
            <p:cNvSpPr>
              <a:spLocks/>
            </p:cNvSpPr>
            <p:nvPr/>
          </p:nvSpPr>
          <p:spPr bwMode="auto">
            <a:xfrm>
              <a:off x="3473998" y="2346370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2147483647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2147483647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38"/>
                  </a:lnTo>
                  <a:lnTo>
                    <a:pt x="20" y="40"/>
                  </a:lnTo>
                  <a:lnTo>
                    <a:pt x="12" y="38"/>
                  </a:lnTo>
                  <a:lnTo>
                    <a:pt x="6" y="34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77" name="未知"/>
            <p:cNvSpPr>
              <a:spLocks/>
            </p:cNvSpPr>
            <p:nvPr/>
          </p:nvSpPr>
          <p:spPr bwMode="auto">
            <a:xfrm>
              <a:off x="3605691" y="2346370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2147483647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2147483647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38"/>
                  </a:lnTo>
                  <a:lnTo>
                    <a:pt x="20" y="40"/>
                  </a:lnTo>
                  <a:lnTo>
                    <a:pt x="12" y="38"/>
                  </a:lnTo>
                  <a:lnTo>
                    <a:pt x="6" y="34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78" name="未知"/>
            <p:cNvSpPr>
              <a:spLocks/>
            </p:cNvSpPr>
            <p:nvPr/>
          </p:nvSpPr>
          <p:spPr bwMode="auto">
            <a:xfrm>
              <a:off x="3183616" y="2152763"/>
              <a:ext cx="36610" cy="36610"/>
            </a:xfrm>
            <a:custGeom>
              <a:avLst/>
              <a:gdLst>
                <a:gd name="T0" fmla="*/ 2147483647 w 40"/>
                <a:gd name="T1" fmla="*/ 0 h 42"/>
                <a:gd name="T2" fmla="*/ 2147483647 w 40"/>
                <a:gd name="T3" fmla="*/ 0 h 42"/>
                <a:gd name="T4" fmla="*/ 2147483647 w 40"/>
                <a:gd name="T5" fmla="*/ 2147483647 h 42"/>
                <a:gd name="T6" fmla="*/ 2147483647 w 40"/>
                <a:gd name="T7" fmla="*/ 2147483647 h 42"/>
                <a:gd name="T8" fmla="*/ 2147483647 w 40"/>
                <a:gd name="T9" fmla="*/ 2147483647 h 42"/>
                <a:gd name="T10" fmla="*/ 2147483647 w 40"/>
                <a:gd name="T11" fmla="*/ 2147483647 h 42"/>
                <a:gd name="T12" fmla="*/ 2147483647 w 40"/>
                <a:gd name="T13" fmla="*/ 2147483647 h 42"/>
                <a:gd name="T14" fmla="*/ 2147483647 w 40"/>
                <a:gd name="T15" fmla="*/ 2147483647 h 42"/>
                <a:gd name="T16" fmla="*/ 2147483647 w 40"/>
                <a:gd name="T17" fmla="*/ 2147483647 h 42"/>
                <a:gd name="T18" fmla="*/ 2147483647 w 40"/>
                <a:gd name="T19" fmla="*/ 2147483647 h 42"/>
                <a:gd name="T20" fmla="*/ 2147483647 w 40"/>
                <a:gd name="T21" fmla="*/ 2147483647 h 42"/>
                <a:gd name="T22" fmla="*/ 2147483647 w 40"/>
                <a:gd name="T23" fmla="*/ 2147483647 h 42"/>
                <a:gd name="T24" fmla="*/ 2147483647 w 40"/>
                <a:gd name="T25" fmla="*/ 2147483647 h 42"/>
                <a:gd name="T26" fmla="*/ 2147483647 w 40"/>
                <a:gd name="T27" fmla="*/ 2147483647 h 42"/>
                <a:gd name="T28" fmla="*/ 2147483647 w 40"/>
                <a:gd name="T29" fmla="*/ 2147483647 h 42"/>
                <a:gd name="T30" fmla="*/ 0 w 40"/>
                <a:gd name="T31" fmla="*/ 2147483647 h 42"/>
                <a:gd name="T32" fmla="*/ 0 w 40"/>
                <a:gd name="T33" fmla="*/ 2147483647 h 42"/>
                <a:gd name="T34" fmla="*/ 2147483647 w 40"/>
                <a:gd name="T35" fmla="*/ 2147483647 h 42"/>
                <a:gd name="T36" fmla="*/ 2147483647 w 40"/>
                <a:gd name="T37" fmla="*/ 2147483647 h 42"/>
                <a:gd name="T38" fmla="*/ 2147483647 w 40"/>
                <a:gd name="T39" fmla="*/ 2147483647 h 42"/>
                <a:gd name="T40" fmla="*/ 2147483647 w 40"/>
                <a:gd name="T41" fmla="*/ 0 h 42"/>
                <a:gd name="T42" fmla="*/ 2147483647 w 40"/>
                <a:gd name="T43" fmla="*/ 0 h 4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2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6"/>
                  </a:lnTo>
                  <a:lnTo>
                    <a:pt x="28" y="40"/>
                  </a:lnTo>
                  <a:lnTo>
                    <a:pt x="20" y="42"/>
                  </a:lnTo>
                  <a:lnTo>
                    <a:pt x="12" y="40"/>
                  </a:lnTo>
                  <a:lnTo>
                    <a:pt x="6" y="36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FF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79" name="未知"/>
            <p:cNvSpPr>
              <a:spLocks/>
            </p:cNvSpPr>
            <p:nvPr/>
          </p:nvSpPr>
          <p:spPr bwMode="auto">
            <a:xfrm>
              <a:off x="3092822" y="1903510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2147483647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2147483647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38"/>
                  </a:lnTo>
                  <a:lnTo>
                    <a:pt x="20" y="40"/>
                  </a:lnTo>
                  <a:lnTo>
                    <a:pt x="12" y="38"/>
                  </a:lnTo>
                  <a:lnTo>
                    <a:pt x="6" y="34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80" name="未知"/>
            <p:cNvSpPr>
              <a:spLocks/>
            </p:cNvSpPr>
            <p:nvPr/>
          </p:nvSpPr>
          <p:spPr bwMode="auto">
            <a:xfrm>
              <a:off x="3224515" y="1862351"/>
              <a:ext cx="36610" cy="36610"/>
            </a:xfrm>
            <a:custGeom>
              <a:avLst/>
              <a:gdLst>
                <a:gd name="T0" fmla="*/ 2147483647 w 40"/>
                <a:gd name="T1" fmla="*/ 0 h 42"/>
                <a:gd name="T2" fmla="*/ 2147483647 w 40"/>
                <a:gd name="T3" fmla="*/ 0 h 42"/>
                <a:gd name="T4" fmla="*/ 2147483647 w 40"/>
                <a:gd name="T5" fmla="*/ 2147483647 h 42"/>
                <a:gd name="T6" fmla="*/ 2147483647 w 40"/>
                <a:gd name="T7" fmla="*/ 2147483647 h 42"/>
                <a:gd name="T8" fmla="*/ 2147483647 w 40"/>
                <a:gd name="T9" fmla="*/ 2147483647 h 42"/>
                <a:gd name="T10" fmla="*/ 2147483647 w 40"/>
                <a:gd name="T11" fmla="*/ 2147483647 h 42"/>
                <a:gd name="T12" fmla="*/ 2147483647 w 40"/>
                <a:gd name="T13" fmla="*/ 2147483647 h 42"/>
                <a:gd name="T14" fmla="*/ 2147483647 w 40"/>
                <a:gd name="T15" fmla="*/ 2147483647 h 42"/>
                <a:gd name="T16" fmla="*/ 2147483647 w 40"/>
                <a:gd name="T17" fmla="*/ 2147483647 h 42"/>
                <a:gd name="T18" fmla="*/ 2147483647 w 40"/>
                <a:gd name="T19" fmla="*/ 2147483647 h 42"/>
                <a:gd name="T20" fmla="*/ 2147483647 w 40"/>
                <a:gd name="T21" fmla="*/ 2147483647 h 42"/>
                <a:gd name="T22" fmla="*/ 2147483647 w 40"/>
                <a:gd name="T23" fmla="*/ 2147483647 h 42"/>
                <a:gd name="T24" fmla="*/ 2147483647 w 40"/>
                <a:gd name="T25" fmla="*/ 2147483647 h 42"/>
                <a:gd name="T26" fmla="*/ 2147483647 w 40"/>
                <a:gd name="T27" fmla="*/ 2147483647 h 42"/>
                <a:gd name="T28" fmla="*/ 2147483647 w 40"/>
                <a:gd name="T29" fmla="*/ 2147483647 h 42"/>
                <a:gd name="T30" fmla="*/ 0 w 40"/>
                <a:gd name="T31" fmla="*/ 2147483647 h 42"/>
                <a:gd name="T32" fmla="*/ 0 w 40"/>
                <a:gd name="T33" fmla="*/ 2147483647 h 42"/>
                <a:gd name="T34" fmla="*/ 2147483647 w 40"/>
                <a:gd name="T35" fmla="*/ 2147483647 h 42"/>
                <a:gd name="T36" fmla="*/ 2147483647 w 40"/>
                <a:gd name="T37" fmla="*/ 2147483647 h 42"/>
                <a:gd name="T38" fmla="*/ 2147483647 w 40"/>
                <a:gd name="T39" fmla="*/ 2147483647 h 42"/>
                <a:gd name="T40" fmla="*/ 2147483647 w 40"/>
                <a:gd name="T41" fmla="*/ 0 h 42"/>
                <a:gd name="T42" fmla="*/ 2147483647 w 40"/>
                <a:gd name="T43" fmla="*/ 0 h 4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2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6"/>
                  </a:lnTo>
                  <a:lnTo>
                    <a:pt x="28" y="40"/>
                  </a:lnTo>
                  <a:lnTo>
                    <a:pt x="20" y="42"/>
                  </a:lnTo>
                  <a:lnTo>
                    <a:pt x="12" y="40"/>
                  </a:lnTo>
                  <a:lnTo>
                    <a:pt x="6" y="36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81" name="未知"/>
            <p:cNvSpPr>
              <a:spLocks/>
            </p:cNvSpPr>
            <p:nvPr/>
          </p:nvSpPr>
          <p:spPr bwMode="auto">
            <a:xfrm>
              <a:off x="3416739" y="1973637"/>
              <a:ext cx="36610" cy="36610"/>
            </a:xfrm>
            <a:custGeom>
              <a:avLst/>
              <a:gdLst>
                <a:gd name="T0" fmla="*/ 2147483647 w 40"/>
                <a:gd name="T1" fmla="*/ 0 h 42"/>
                <a:gd name="T2" fmla="*/ 2147483647 w 40"/>
                <a:gd name="T3" fmla="*/ 0 h 42"/>
                <a:gd name="T4" fmla="*/ 2147483647 w 40"/>
                <a:gd name="T5" fmla="*/ 2147483647 h 42"/>
                <a:gd name="T6" fmla="*/ 2147483647 w 40"/>
                <a:gd name="T7" fmla="*/ 2147483647 h 42"/>
                <a:gd name="T8" fmla="*/ 2147483647 w 40"/>
                <a:gd name="T9" fmla="*/ 2147483647 h 42"/>
                <a:gd name="T10" fmla="*/ 2147483647 w 40"/>
                <a:gd name="T11" fmla="*/ 2147483647 h 42"/>
                <a:gd name="T12" fmla="*/ 2147483647 w 40"/>
                <a:gd name="T13" fmla="*/ 2147483647 h 42"/>
                <a:gd name="T14" fmla="*/ 2147483647 w 40"/>
                <a:gd name="T15" fmla="*/ 2147483647 h 42"/>
                <a:gd name="T16" fmla="*/ 2147483647 w 40"/>
                <a:gd name="T17" fmla="*/ 2147483647 h 42"/>
                <a:gd name="T18" fmla="*/ 2147483647 w 40"/>
                <a:gd name="T19" fmla="*/ 2147483647 h 42"/>
                <a:gd name="T20" fmla="*/ 2147483647 w 40"/>
                <a:gd name="T21" fmla="*/ 2147483647 h 42"/>
                <a:gd name="T22" fmla="*/ 2147483647 w 40"/>
                <a:gd name="T23" fmla="*/ 2147483647 h 42"/>
                <a:gd name="T24" fmla="*/ 2147483647 w 40"/>
                <a:gd name="T25" fmla="*/ 2147483647 h 42"/>
                <a:gd name="T26" fmla="*/ 2147483647 w 40"/>
                <a:gd name="T27" fmla="*/ 2147483647 h 42"/>
                <a:gd name="T28" fmla="*/ 0 w 40"/>
                <a:gd name="T29" fmla="*/ 2147483647 h 42"/>
                <a:gd name="T30" fmla="*/ 0 w 40"/>
                <a:gd name="T31" fmla="*/ 2147483647 h 42"/>
                <a:gd name="T32" fmla="*/ 0 w 40"/>
                <a:gd name="T33" fmla="*/ 2147483647 h 42"/>
                <a:gd name="T34" fmla="*/ 0 w 40"/>
                <a:gd name="T35" fmla="*/ 2147483647 h 42"/>
                <a:gd name="T36" fmla="*/ 2147483647 w 40"/>
                <a:gd name="T37" fmla="*/ 2147483647 h 42"/>
                <a:gd name="T38" fmla="*/ 2147483647 w 40"/>
                <a:gd name="T39" fmla="*/ 2147483647 h 42"/>
                <a:gd name="T40" fmla="*/ 2147483647 w 40"/>
                <a:gd name="T41" fmla="*/ 0 h 42"/>
                <a:gd name="T42" fmla="*/ 2147483647 w 40"/>
                <a:gd name="T43" fmla="*/ 0 h 4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2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4"/>
                  </a:lnTo>
                  <a:lnTo>
                    <a:pt x="40" y="22"/>
                  </a:lnTo>
                  <a:lnTo>
                    <a:pt x="38" y="30"/>
                  </a:lnTo>
                  <a:lnTo>
                    <a:pt x="34" y="36"/>
                  </a:lnTo>
                  <a:lnTo>
                    <a:pt x="28" y="40"/>
                  </a:lnTo>
                  <a:lnTo>
                    <a:pt x="20" y="42"/>
                  </a:lnTo>
                  <a:lnTo>
                    <a:pt x="12" y="40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2"/>
                  </a:lnTo>
                  <a:lnTo>
                    <a:pt x="0" y="14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FF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82" name="未知"/>
            <p:cNvSpPr>
              <a:spLocks/>
            </p:cNvSpPr>
            <p:nvPr/>
          </p:nvSpPr>
          <p:spPr bwMode="auto">
            <a:xfrm>
              <a:off x="2666656" y="1857776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0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0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40"/>
                  </a:lnTo>
                  <a:lnTo>
                    <a:pt x="20" y="40"/>
                  </a:lnTo>
                  <a:lnTo>
                    <a:pt x="12" y="40"/>
                  </a:lnTo>
                  <a:lnTo>
                    <a:pt x="6" y="34"/>
                  </a:lnTo>
                  <a:lnTo>
                    <a:pt x="0" y="28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83" name="未知"/>
            <p:cNvSpPr>
              <a:spLocks/>
            </p:cNvSpPr>
            <p:nvPr/>
          </p:nvSpPr>
          <p:spPr bwMode="auto">
            <a:xfrm>
              <a:off x="3015114" y="1673316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0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0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0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0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0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38"/>
                  </a:lnTo>
                  <a:lnTo>
                    <a:pt x="20" y="40"/>
                  </a:lnTo>
                  <a:lnTo>
                    <a:pt x="12" y="38"/>
                  </a:lnTo>
                  <a:lnTo>
                    <a:pt x="6" y="34"/>
                  </a:lnTo>
                  <a:lnTo>
                    <a:pt x="0" y="28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84" name="未知"/>
            <p:cNvSpPr>
              <a:spLocks/>
            </p:cNvSpPr>
            <p:nvPr/>
          </p:nvSpPr>
          <p:spPr bwMode="auto">
            <a:xfrm>
              <a:off x="3831452" y="1437148"/>
              <a:ext cx="36610" cy="36610"/>
            </a:xfrm>
            <a:custGeom>
              <a:avLst/>
              <a:gdLst>
                <a:gd name="T0" fmla="*/ 2147483647 w 40"/>
                <a:gd name="T1" fmla="*/ 0 h 42"/>
                <a:gd name="T2" fmla="*/ 2147483647 w 40"/>
                <a:gd name="T3" fmla="*/ 0 h 42"/>
                <a:gd name="T4" fmla="*/ 2147483647 w 40"/>
                <a:gd name="T5" fmla="*/ 2147483647 h 42"/>
                <a:gd name="T6" fmla="*/ 2147483647 w 40"/>
                <a:gd name="T7" fmla="*/ 2147483647 h 42"/>
                <a:gd name="T8" fmla="*/ 2147483647 w 40"/>
                <a:gd name="T9" fmla="*/ 2147483647 h 42"/>
                <a:gd name="T10" fmla="*/ 2147483647 w 40"/>
                <a:gd name="T11" fmla="*/ 2147483647 h 42"/>
                <a:gd name="T12" fmla="*/ 2147483647 w 40"/>
                <a:gd name="T13" fmla="*/ 2147483647 h 42"/>
                <a:gd name="T14" fmla="*/ 2147483647 w 40"/>
                <a:gd name="T15" fmla="*/ 2147483647 h 42"/>
                <a:gd name="T16" fmla="*/ 2147483647 w 40"/>
                <a:gd name="T17" fmla="*/ 2147483647 h 42"/>
                <a:gd name="T18" fmla="*/ 2147483647 w 40"/>
                <a:gd name="T19" fmla="*/ 2147483647 h 42"/>
                <a:gd name="T20" fmla="*/ 2147483647 w 40"/>
                <a:gd name="T21" fmla="*/ 2147483647 h 42"/>
                <a:gd name="T22" fmla="*/ 2147483647 w 40"/>
                <a:gd name="T23" fmla="*/ 2147483647 h 42"/>
                <a:gd name="T24" fmla="*/ 2147483647 w 40"/>
                <a:gd name="T25" fmla="*/ 2147483647 h 42"/>
                <a:gd name="T26" fmla="*/ 2147483647 w 40"/>
                <a:gd name="T27" fmla="*/ 2147483647 h 42"/>
                <a:gd name="T28" fmla="*/ 2147483647 w 40"/>
                <a:gd name="T29" fmla="*/ 2147483647 h 42"/>
                <a:gd name="T30" fmla="*/ 0 w 40"/>
                <a:gd name="T31" fmla="*/ 2147483647 h 42"/>
                <a:gd name="T32" fmla="*/ 0 w 40"/>
                <a:gd name="T33" fmla="*/ 2147483647 h 42"/>
                <a:gd name="T34" fmla="*/ 2147483647 w 40"/>
                <a:gd name="T35" fmla="*/ 2147483647 h 42"/>
                <a:gd name="T36" fmla="*/ 2147483647 w 40"/>
                <a:gd name="T37" fmla="*/ 2147483647 h 42"/>
                <a:gd name="T38" fmla="*/ 2147483647 w 40"/>
                <a:gd name="T39" fmla="*/ 2147483647 h 42"/>
                <a:gd name="T40" fmla="*/ 2147483647 w 40"/>
                <a:gd name="T41" fmla="*/ 0 h 42"/>
                <a:gd name="T42" fmla="*/ 2147483647 w 40"/>
                <a:gd name="T43" fmla="*/ 0 h 4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2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40" y="14"/>
                  </a:lnTo>
                  <a:lnTo>
                    <a:pt x="40" y="20"/>
                  </a:lnTo>
                  <a:lnTo>
                    <a:pt x="40" y="28"/>
                  </a:lnTo>
                  <a:lnTo>
                    <a:pt x="34" y="36"/>
                  </a:lnTo>
                  <a:lnTo>
                    <a:pt x="28" y="40"/>
                  </a:lnTo>
                  <a:lnTo>
                    <a:pt x="20" y="42"/>
                  </a:lnTo>
                  <a:lnTo>
                    <a:pt x="12" y="40"/>
                  </a:lnTo>
                  <a:lnTo>
                    <a:pt x="6" y="36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85" name="未知"/>
            <p:cNvSpPr>
              <a:spLocks/>
            </p:cNvSpPr>
            <p:nvPr/>
          </p:nvSpPr>
          <p:spPr bwMode="auto">
            <a:xfrm>
              <a:off x="3871533" y="1288512"/>
              <a:ext cx="36610" cy="36610"/>
            </a:xfrm>
            <a:custGeom>
              <a:avLst/>
              <a:gdLst>
                <a:gd name="T0" fmla="*/ 2147483647 w 40"/>
                <a:gd name="T1" fmla="*/ 0 h 42"/>
                <a:gd name="T2" fmla="*/ 2147483647 w 40"/>
                <a:gd name="T3" fmla="*/ 0 h 42"/>
                <a:gd name="T4" fmla="*/ 2147483647 w 40"/>
                <a:gd name="T5" fmla="*/ 2147483647 h 42"/>
                <a:gd name="T6" fmla="*/ 2147483647 w 40"/>
                <a:gd name="T7" fmla="*/ 2147483647 h 42"/>
                <a:gd name="T8" fmla="*/ 2147483647 w 40"/>
                <a:gd name="T9" fmla="*/ 2147483647 h 42"/>
                <a:gd name="T10" fmla="*/ 2147483647 w 40"/>
                <a:gd name="T11" fmla="*/ 2147483647 h 42"/>
                <a:gd name="T12" fmla="*/ 2147483647 w 40"/>
                <a:gd name="T13" fmla="*/ 2147483647 h 42"/>
                <a:gd name="T14" fmla="*/ 2147483647 w 40"/>
                <a:gd name="T15" fmla="*/ 2147483647 h 42"/>
                <a:gd name="T16" fmla="*/ 2147483647 w 40"/>
                <a:gd name="T17" fmla="*/ 2147483647 h 42"/>
                <a:gd name="T18" fmla="*/ 2147483647 w 40"/>
                <a:gd name="T19" fmla="*/ 2147483647 h 42"/>
                <a:gd name="T20" fmla="*/ 2147483647 w 40"/>
                <a:gd name="T21" fmla="*/ 2147483647 h 42"/>
                <a:gd name="T22" fmla="*/ 2147483647 w 40"/>
                <a:gd name="T23" fmla="*/ 2147483647 h 42"/>
                <a:gd name="T24" fmla="*/ 2147483647 w 40"/>
                <a:gd name="T25" fmla="*/ 2147483647 h 42"/>
                <a:gd name="T26" fmla="*/ 2147483647 w 40"/>
                <a:gd name="T27" fmla="*/ 2147483647 h 42"/>
                <a:gd name="T28" fmla="*/ 0 w 40"/>
                <a:gd name="T29" fmla="*/ 2147483647 h 42"/>
                <a:gd name="T30" fmla="*/ 0 w 40"/>
                <a:gd name="T31" fmla="*/ 2147483647 h 42"/>
                <a:gd name="T32" fmla="*/ 0 w 40"/>
                <a:gd name="T33" fmla="*/ 2147483647 h 42"/>
                <a:gd name="T34" fmla="*/ 0 w 40"/>
                <a:gd name="T35" fmla="*/ 2147483647 h 42"/>
                <a:gd name="T36" fmla="*/ 2147483647 w 40"/>
                <a:gd name="T37" fmla="*/ 2147483647 h 42"/>
                <a:gd name="T38" fmla="*/ 2147483647 w 40"/>
                <a:gd name="T39" fmla="*/ 2147483647 h 42"/>
                <a:gd name="T40" fmla="*/ 2147483647 w 40"/>
                <a:gd name="T41" fmla="*/ 0 h 42"/>
                <a:gd name="T42" fmla="*/ 2147483647 w 40"/>
                <a:gd name="T43" fmla="*/ 0 h 4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2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4"/>
                  </a:lnTo>
                  <a:lnTo>
                    <a:pt x="40" y="22"/>
                  </a:lnTo>
                  <a:lnTo>
                    <a:pt x="38" y="30"/>
                  </a:lnTo>
                  <a:lnTo>
                    <a:pt x="34" y="36"/>
                  </a:lnTo>
                  <a:lnTo>
                    <a:pt x="28" y="40"/>
                  </a:lnTo>
                  <a:lnTo>
                    <a:pt x="20" y="42"/>
                  </a:lnTo>
                  <a:lnTo>
                    <a:pt x="12" y="40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2"/>
                  </a:lnTo>
                  <a:lnTo>
                    <a:pt x="0" y="14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86" name="未知"/>
            <p:cNvSpPr>
              <a:spLocks/>
            </p:cNvSpPr>
            <p:nvPr/>
          </p:nvSpPr>
          <p:spPr bwMode="auto">
            <a:xfrm>
              <a:off x="2505516" y="2082637"/>
              <a:ext cx="36610" cy="36610"/>
            </a:xfrm>
            <a:custGeom>
              <a:avLst/>
              <a:gdLst>
                <a:gd name="T0" fmla="*/ 2147483647 w 52"/>
                <a:gd name="T1" fmla="*/ 0 h 52"/>
                <a:gd name="T2" fmla="*/ 2147483647 w 52"/>
                <a:gd name="T3" fmla="*/ 0 h 52"/>
                <a:gd name="T4" fmla="*/ 2147483647 w 52"/>
                <a:gd name="T5" fmla="*/ 2147483647 h 52"/>
                <a:gd name="T6" fmla="*/ 2147483647 w 52"/>
                <a:gd name="T7" fmla="*/ 2147483647 h 52"/>
                <a:gd name="T8" fmla="*/ 2147483647 w 52"/>
                <a:gd name="T9" fmla="*/ 2147483647 h 52"/>
                <a:gd name="T10" fmla="*/ 2147483647 w 52"/>
                <a:gd name="T11" fmla="*/ 2147483647 h 52"/>
                <a:gd name="T12" fmla="*/ 2147483647 w 52"/>
                <a:gd name="T13" fmla="*/ 2147483647 h 52"/>
                <a:gd name="T14" fmla="*/ 2147483647 w 52"/>
                <a:gd name="T15" fmla="*/ 2147483647 h 52"/>
                <a:gd name="T16" fmla="*/ 2147483647 w 52"/>
                <a:gd name="T17" fmla="*/ 2147483647 h 52"/>
                <a:gd name="T18" fmla="*/ 2147483647 w 52"/>
                <a:gd name="T19" fmla="*/ 2147483647 h 52"/>
                <a:gd name="T20" fmla="*/ 2147483647 w 52"/>
                <a:gd name="T21" fmla="*/ 2147483647 h 52"/>
                <a:gd name="T22" fmla="*/ 2147483647 w 52"/>
                <a:gd name="T23" fmla="*/ 2147483647 h 52"/>
                <a:gd name="T24" fmla="*/ 2147483647 w 52"/>
                <a:gd name="T25" fmla="*/ 2147483647 h 52"/>
                <a:gd name="T26" fmla="*/ 2147483647 w 52"/>
                <a:gd name="T27" fmla="*/ 2147483647 h 52"/>
                <a:gd name="T28" fmla="*/ 2147483647 w 52"/>
                <a:gd name="T29" fmla="*/ 2147483647 h 52"/>
                <a:gd name="T30" fmla="*/ 0 w 52"/>
                <a:gd name="T31" fmla="*/ 2147483647 h 52"/>
                <a:gd name="T32" fmla="*/ 0 w 52"/>
                <a:gd name="T33" fmla="*/ 2147483647 h 52"/>
                <a:gd name="T34" fmla="*/ 2147483647 w 52"/>
                <a:gd name="T35" fmla="*/ 2147483647 h 52"/>
                <a:gd name="T36" fmla="*/ 2147483647 w 52"/>
                <a:gd name="T37" fmla="*/ 2147483647 h 52"/>
                <a:gd name="T38" fmla="*/ 2147483647 w 52"/>
                <a:gd name="T39" fmla="*/ 2147483647 h 52"/>
                <a:gd name="T40" fmla="*/ 2147483647 w 52"/>
                <a:gd name="T41" fmla="*/ 0 h 52"/>
                <a:gd name="T42" fmla="*/ 2147483647 w 52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lnTo>
                    <a:pt x="26" y="0"/>
                  </a:lnTo>
                  <a:lnTo>
                    <a:pt x="36" y="4"/>
                  </a:lnTo>
                  <a:lnTo>
                    <a:pt x="44" y="8"/>
                  </a:lnTo>
                  <a:lnTo>
                    <a:pt x="50" y="16"/>
                  </a:lnTo>
                  <a:lnTo>
                    <a:pt x="52" y="26"/>
                  </a:lnTo>
                  <a:lnTo>
                    <a:pt x="50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8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6" y="4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87" name="未知"/>
            <p:cNvSpPr>
              <a:spLocks/>
            </p:cNvSpPr>
            <p:nvPr/>
          </p:nvSpPr>
          <p:spPr bwMode="auto">
            <a:xfrm>
              <a:off x="3670595" y="1746021"/>
              <a:ext cx="36610" cy="36610"/>
            </a:xfrm>
            <a:custGeom>
              <a:avLst/>
              <a:gdLst>
                <a:gd name="T0" fmla="*/ 2147483647 w 40"/>
                <a:gd name="T1" fmla="*/ 0 h 42"/>
                <a:gd name="T2" fmla="*/ 2147483647 w 40"/>
                <a:gd name="T3" fmla="*/ 0 h 42"/>
                <a:gd name="T4" fmla="*/ 2147483647 w 40"/>
                <a:gd name="T5" fmla="*/ 2147483647 h 42"/>
                <a:gd name="T6" fmla="*/ 2147483647 w 40"/>
                <a:gd name="T7" fmla="*/ 2147483647 h 42"/>
                <a:gd name="T8" fmla="*/ 2147483647 w 40"/>
                <a:gd name="T9" fmla="*/ 2147483647 h 42"/>
                <a:gd name="T10" fmla="*/ 2147483647 w 40"/>
                <a:gd name="T11" fmla="*/ 2147483647 h 42"/>
                <a:gd name="T12" fmla="*/ 2147483647 w 40"/>
                <a:gd name="T13" fmla="*/ 2147483647 h 42"/>
                <a:gd name="T14" fmla="*/ 2147483647 w 40"/>
                <a:gd name="T15" fmla="*/ 2147483647 h 42"/>
                <a:gd name="T16" fmla="*/ 2147483647 w 40"/>
                <a:gd name="T17" fmla="*/ 2147483647 h 42"/>
                <a:gd name="T18" fmla="*/ 2147483647 w 40"/>
                <a:gd name="T19" fmla="*/ 2147483647 h 42"/>
                <a:gd name="T20" fmla="*/ 2147483647 w 40"/>
                <a:gd name="T21" fmla="*/ 2147483647 h 42"/>
                <a:gd name="T22" fmla="*/ 2147483647 w 40"/>
                <a:gd name="T23" fmla="*/ 2147483647 h 42"/>
                <a:gd name="T24" fmla="*/ 2147483647 w 40"/>
                <a:gd name="T25" fmla="*/ 2147483647 h 42"/>
                <a:gd name="T26" fmla="*/ 2147483647 w 40"/>
                <a:gd name="T27" fmla="*/ 2147483647 h 42"/>
                <a:gd name="T28" fmla="*/ 2147483647 w 40"/>
                <a:gd name="T29" fmla="*/ 2147483647 h 42"/>
                <a:gd name="T30" fmla="*/ 0 w 40"/>
                <a:gd name="T31" fmla="*/ 2147483647 h 42"/>
                <a:gd name="T32" fmla="*/ 0 w 40"/>
                <a:gd name="T33" fmla="*/ 2147483647 h 42"/>
                <a:gd name="T34" fmla="*/ 2147483647 w 40"/>
                <a:gd name="T35" fmla="*/ 2147483647 h 42"/>
                <a:gd name="T36" fmla="*/ 2147483647 w 40"/>
                <a:gd name="T37" fmla="*/ 2147483647 h 42"/>
                <a:gd name="T38" fmla="*/ 2147483647 w 40"/>
                <a:gd name="T39" fmla="*/ 2147483647 h 42"/>
                <a:gd name="T40" fmla="*/ 2147483647 w 40"/>
                <a:gd name="T41" fmla="*/ 0 h 42"/>
                <a:gd name="T42" fmla="*/ 2147483647 w 40"/>
                <a:gd name="T43" fmla="*/ 0 h 4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2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40" y="14"/>
                  </a:lnTo>
                  <a:lnTo>
                    <a:pt x="40" y="20"/>
                  </a:lnTo>
                  <a:lnTo>
                    <a:pt x="40" y="28"/>
                  </a:lnTo>
                  <a:lnTo>
                    <a:pt x="34" y="36"/>
                  </a:lnTo>
                  <a:lnTo>
                    <a:pt x="28" y="40"/>
                  </a:lnTo>
                  <a:lnTo>
                    <a:pt x="20" y="42"/>
                  </a:lnTo>
                  <a:lnTo>
                    <a:pt x="12" y="40"/>
                  </a:lnTo>
                  <a:lnTo>
                    <a:pt x="6" y="36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88" name="未知"/>
            <p:cNvSpPr>
              <a:spLocks/>
            </p:cNvSpPr>
            <p:nvPr/>
          </p:nvSpPr>
          <p:spPr bwMode="auto">
            <a:xfrm>
              <a:off x="3606308" y="1971450"/>
              <a:ext cx="36610" cy="36610"/>
            </a:xfrm>
            <a:custGeom>
              <a:avLst/>
              <a:gdLst>
                <a:gd name="T0" fmla="*/ 2147483647 w 40"/>
                <a:gd name="T1" fmla="*/ 0 h 42"/>
                <a:gd name="T2" fmla="*/ 2147483647 w 40"/>
                <a:gd name="T3" fmla="*/ 0 h 42"/>
                <a:gd name="T4" fmla="*/ 2147483647 w 40"/>
                <a:gd name="T5" fmla="*/ 2147483647 h 42"/>
                <a:gd name="T6" fmla="*/ 2147483647 w 40"/>
                <a:gd name="T7" fmla="*/ 2147483647 h 42"/>
                <a:gd name="T8" fmla="*/ 2147483647 w 40"/>
                <a:gd name="T9" fmla="*/ 2147483647 h 42"/>
                <a:gd name="T10" fmla="*/ 2147483647 w 40"/>
                <a:gd name="T11" fmla="*/ 2147483647 h 42"/>
                <a:gd name="T12" fmla="*/ 2147483647 w 40"/>
                <a:gd name="T13" fmla="*/ 2147483647 h 42"/>
                <a:gd name="T14" fmla="*/ 2147483647 w 40"/>
                <a:gd name="T15" fmla="*/ 2147483647 h 42"/>
                <a:gd name="T16" fmla="*/ 2147483647 w 40"/>
                <a:gd name="T17" fmla="*/ 2147483647 h 42"/>
                <a:gd name="T18" fmla="*/ 2147483647 w 40"/>
                <a:gd name="T19" fmla="*/ 2147483647 h 42"/>
                <a:gd name="T20" fmla="*/ 2147483647 w 40"/>
                <a:gd name="T21" fmla="*/ 2147483647 h 42"/>
                <a:gd name="T22" fmla="*/ 2147483647 w 40"/>
                <a:gd name="T23" fmla="*/ 2147483647 h 42"/>
                <a:gd name="T24" fmla="*/ 2147483647 w 40"/>
                <a:gd name="T25" fmla="*/ 2147483647 h 42"/>
                <a:gd name="T26" fmla="*/ 2147483647 w 40"/>
                <a:gd name="T27" fmla="*/ 2147483647 h 42"/>
                <a:gd name="T28" fmla="*/ 0 w 40"/>
                <a:gd name="T29" fmla="*/ 2147483647 h 42"/>
                <a:gd name="T30" fmla="*/ 0 w 40"/>
                <a:gd name="T31" fmla="*/ 2147483647 h 42"/>
                <a:gd name="T32" fmla="*/ 0 w 40"/>
                <a:gd name="T33" fmla="*/ 2147483647 h 42"/>
                <a:gd name="T34" fmla="*/ 0 w 40"/>
                <a:gd name="T35" fmla="*/ 2147483647 h 42"/>
                <a:gd name="T36" fmla="*/ 2147483647 w 40"/>
                <a:gd name="T37" fmla="*/ 2147483647 h 42"/>
                <a:gd name="T38" fmla="*/ 2147483647 w 40"/>
                <a:gd name="T39" fmla="*/ 2147483647 h 42"/>
                <a:gd name="T40" fmla="*/ 2147483647 w 40"/>
                <a:gd name="T41" fmla="*/ 0 h 42"/>
                <a:gd name="T42" fmla="*/ 2147483647 w 40"/>
                <a:gd name="T43" fmla="*/ 0 h 4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2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4"/>
                  </a:lnTo>
                  <a:lnTo>
                    <a:pt x="40" y="22"/>
                  </a:lnTo>
                  <a:lnTo>
                    <a:pt x="38" y="30"/>
                  </a:lnTo>
                  <a:lnTo>
                    <a:pt x="34" y="36"/>
                  </a:lnTo>
                  <a:lnTo>
                    <a:pt x="28" y="40"/>
                  </a:lnTo>
                  <a:lnTo>
                    <a:pt x="20" y="42"/>
                  </a:lnTo>
                  <a:lnTo>
                    <a:pt x="12" y="40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0" y="22"/>
                  </a:lnTo>
                  <a:lnTo>
                    <a:pt x="0" y="14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FF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89" name="未知"/>
            <p:cNvSpPr>
              <a:spLocks/>
            </p:cNvSpPr>
            <p:nvPr/>
          </p:nvSpPr>
          <p:spPr bwMode="auto">
            <a:xfrm>
              <a:off x="3533219" y="2182489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2147483647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2147483647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38"/>
                  </a:lnTo>
                  <a:lnTo>
                    <a:pt x="20" y="40"/>
                  </a:lnTo>
                  <a:lnTo>
                    <a:pt x="12" y="38"/>
                  </a:lnTo>
                  <a:lnTo>
                    <a:pt x="6" y="34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90" name="未知"/>
            <p:cNvSpPr>
              <a:spLocks/>
            </p:cNvSpPr>
            <p:nvPr/>
          </p:nvSpPr>
          <p:spPr bwMode="auto">
            <a:xfrm>
              <a:off x="3597254" y="2919349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0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0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38"/>
                  </a:lnTo>
                  <a:lnTo>
                    <a:pt x="20" y="40"/>
                  </a:lnTo>
                  <a:lnTo>
                    <a:pt x="12" y="38"/>
                  </a:lnTo>
                  <a:lnTo>
                    <a:pt x="6" y="34"/>
                  </a:lnTo>
                  <a:lnTo>
                    <a:pt x="0" y="28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91" name="未知"/>
            <p:cNvSpPr>
              <a:spLocks/>
            </p:cNvSpPr>
            <p:nvPr/>
          </p:nvSpPr>
          <p:spPr bwMode="auto">
            <a:xfrm>
              <a:off x="3037803" y="3177157"/>
              <a:ext cx="36610" cy="36610"/>
            </a:xfrm>
            <a:custGeom>
              <a:avLst/>
              <a:gdLst>
                <a:gd name="T0" fmla="*/ 2147483647 w 42"/>
                <a:gd name="T1" fmla="*/ 0 h 40"/>
                <a:gd name="T2" fmla="*/ 2147483647 w 42"/>
                <a:gd name="T3" fmla="*/ 0 h 40"/>
                <a:gd name="T4" fmla="*/ 2147483647 w 42"/>
                <a:gd name="T5" fmla="*/ 2147483647 h 40"/>
                <a:gd name="T6" fmla="*/ 2147483647 w 42"/>
                <a:gd name="T7" fmla="*/ 2147483647 h 40"/>
                <a:gd name="T8" fmla="*/ 2147483647 w 42"/>
                <a:gd name="T9" fmla="*/ 2147483647 h 40"/>
                <a:gd name="T10" fmla="*/ 2147483647 w 42"/>
                <a:gd name="T11" fmla="*/ 2147483647 h 40"/>
                <a:gd name="T12" fmla="*/ 2147483647 w 42"/>
                <a:gd name="T13" fmla="*/ 2147483647 h 40"/>
                <a:gd name="T14" fmla="*/ 2147483647 w 42"/>
                <a:gd name="T15" fmla="*/ 2147483647 h 40"/>
                <a:gd name="T16" fmla="*/ 2147483647 w 42"/>
                <a:gd name="T17" fmla="*/ 2147483647 h 40"/>
                <a:gd name="T18" fmla="*/ 2147483647 w 42"/>
                <a:gd name="T19" fmla="*/ 2147483647 h 40"/>
                <a:gd name="T20" fmla="*/ 2147483647 w 42"/>
                <a:gd name="T21" fmla="*/ 2147483647 h 40"/>
                <a:gd name="T22" fmla="*/ 2147483647 w 42"/>
                <a:gd name="T23" fmla="*/ 2147483647 h 40"/>
                <a:gd name="T24" fmla="*/ 2147483647 w 42"/>
                <a:gd name="T25" fmla="*/ 2147483647 h 40"/>
                <a:gd name="T26" fmla="*/ 2147483647 w 42"/>
                <a:gd name="T27" fmla="*/ 2147483647 h 40"/>
                <a:gd name="T28" fmla="*/ 2147483647 w 42"/>
                <a:gd name="T29" fmla="*/ 2147483647 h 40"/>
                <a:gd name="T30" fmla="*/ 0 w 42"/>
                <a:gd name="T31" fmla="*/ 2147483647 h 40"/>
                <a:gd name="T32" fmla="*/ 0 w 42"/>
                <a:gd name="T33" fmla="*/ 2147483647 h 40"/>
                <a:gd name="T34" fmla="*/ 2147483647 w 42"/>
                <a:gd name="T35" fmla="*/ 2147483647 h 40"/>
                <a:gd name="T36" fmla="*/ 2147483647 w 42"/>
                <a:gd name="T37" fmla="*/ 2147483647 h 40"/>
                <a:gd name="T38" fmla="*/ 2147483647 w 42"/>
                <a:gd name="T39" fmla="*/ 2147483647 h 40"/>
                <a:gd name="T40" fmla="*/ 2147483647 w 42"/>
                <a:gd name="T41" fmla="*/ 0 h 40"/>
                <a:gd name="T42" fmla="*/ 2147483647 w 42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2" h="40">
                  <a:moveTo>
                    <a:pt x="22" y="0"/>
                  </a:moveTo>
                  <a:lnTo>
                    <a:pt x="22" y="0"/>
                  </a:lnTo>
                  <a:lnTo>
                    <a:pt x="30" y="2"/>
                  </a:lnTo>
                  <a:lnTo>
                    <a:pt x="36" y="6"/>
                  </a:lnTo>
                  <a:lnTo>
                    <a:pt x="40" y="12"/>
                  </a:lnTo>
                  <a:lnTo>
                    <a:pt x="42" y="20"/>
                  </a:lnTo>
                  <a:lnTo>
                    <a:pt x="40" y="28"/>
                  </a:lnTo>
                  <a:lnTo>
                    <a:pt x="36" y="34"/>
                  </a:lnTo>
                  <a:lnTo>
                    <a:pt x="30" y="40"/>
                  </a:lnTo>
                  <a:lnTo>
                    <a:pt x="22" y="40"/>
                  </a:lnTo>
                  <a:lnTo>
                    <a:pt x="14" y="40"/>
                  </a:lnTo>
                  <a:lnTo>
                    <a:pt x="6" y="34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4" y="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92" name="未知"/>
            <p:cNvSpPr>
              <a:spLocks/>
            </p:cNvSpPr>
            <p:nvPr/>
          </p:nvSpPr>
          <p:spPr bwMode="auto">
            <a:xfrm>
              <a:off x="2956174" y="2943581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0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0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40"/>
                  </a:lnTo>
                  <a:lnTo>
                    <a:pt x="20" y="40"/>
                  </a:lnTo>
                  <a:lnTo>
                    <a:pt x="12" y="40"/>
                  </a:lnTo>
                  <a:lnTo>
                    <a:pt x="6" y="34"/>
                  </a:lnTo>
                  <a:lnTo>
                    <a:pt x="0" y="28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93" name="未知"/>
            <p:cNvSpPr>
              <a:spLocks/>
            </p:cNvSpPr>
            <p:nvPr/>
          </p:nvSpPr>
          <p:spPr bwMode="auto">
            <a:xfrm>
              <a:off x="3301379" y="3110404"/>
              <a:ext cx="61017" cy="61017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8841D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94" name="椭圆 2093"/>
            <p:cNvSpPr/>
            <p:nvPr/>
          </p:nvSpPr>
          <p:spPr>
            <a:xfrm>
              <a:off x="3279341" y="3069874"/>
              <a:ext cx="36610" cy="36610"/>
            </a:xfrm>
            <a:prstGeom prst="ellipse">
              <a:avLst/>
            </a:prstGeom>
            <a:solidFill>
              <a:srgbClr val="7030A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95" name="未知"/>
            <p:cNvSpPr>
              <a:spLocks/>
            </p:cNvSpPr>
            <p:nvPr/>
          </p:nvSpPr>
          <p:spPr bwMode="auto">
            <a:xfrm>
              <a:off x="2701829" y="2558272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0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2147483647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2147483647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0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0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38"/>
                  </a:lnTo>
                  <a:lnTo>
                    <a:pt x="20" y="40"/>
                  </a:lnTo>
                  <a:lnTo>
                    <a:pt x="12" y="38"/>
                  </a:lnTo>
                  <a:lnTo>
                    <a:pt x="6" y="34"/>
                  </a:lnTo>
                  <a:lnTo>
                    <a:pt x="2" y="28"/>
                  </a:lnTo>
                  <a:lnTo>
                    <a:pt x="0" y="20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96" name="等腰三角形 2095"/>
            <p:cNvSpPr/>
            <p:nvPr/>
          </p:nvSpPr>
          <p:spPr>
            <a:xfrm>
              <a:off x="3910664" y="1267131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97" name="等腰三角形 2096"/>
            <p:cNvSpPr/>
            <p:nvPr/>
          </p:nvSpPr>
          <p:spPr>
            <a:xfrm>
              <a:off x="3877851" y="1427864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98" name="等腰三角形 2097"/>
            <p:cNvSpPr/>
            <p:nvPr/>
          </p:nvSpPr>
          <p:spPr>
            <a:xfrm>
              <a:off x="3703329" y="1718363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099" name="等腰三角形 2098"/>
            <p:cNvSpPr/>
            <p:nvPr/>
          </p:nvSpPr>
          <p:spPr>
            <a:xfrm>
              <a:off x="3504767" y="1910437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00" name="等腰三角形 2099"/>
            <p:cNvSpPr/>
            <p:nvPr/>
          </p:nvSpPr>
          <p:spPr>
            <a:xfrm>
              <a:off x="3125720" y="1878149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01" name="等腰三角形 2100"/>
            <p:cNvSpPr/>
            <p:nvPr/>
          </p:nvSpPr>
          <p:spPr>
            <a:xfrm>
              <a:off x="1564853" y="1353001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02" name="等腰三角形 2101"/>
            <p:cNvSpPr/>
            <p:nvPr/>
          </p:nvSpPr>
          <p:spPr>
            <a:xfrm>
              <a:off x="2535416" y="2067865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03" name="等腰三角形 2102"/>
            <p:cNvSpPr/>
            <p:nvPr/>
          </p:nvSpPr>
          <p:spPr>
            <a:xfrm>
              <a:off x="2641253" y="1879172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04" name="等腰三角形 2103"/>
            <p:cNvSpPr/>
            <p:nvPr/>
          </p:nvSpPr>
          <p:spPr>
            <a:xfrm>
              <a:off x="2967767" y="1658504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05" name="等腰三角形 2104"/>
            <p:cNvSpPr/>
            <p:nvPr/>
          </p:nvSpPr>
          <p:spPr>
            <a:xfrm>
              <a:off x="3049842" y="2336941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06" name="等腰三角形 2105"/>
            <p:cNvSpPr/>
            <p:nvPr/>
          </p:nvSpPr>
          <p:spPr>
            <a:xfrm>
              <a:off x="2423089" y="2594881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07" name="等腰三角形 2106"/>
            <p:cNvSpPr/>
            <p:nvPr/>
          </p:nvSpPr>
          <p:spPr>
            <a:xfrm>
              <a:off x="2287569" y="2557872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08" name="等腰三角形 2107"/>
            <p:cNvSpPr/>
            <p:nvPr/>
          </p:nvSpPr>
          <p:spPr>
            <a:xfrm>
              <a:off x="2327058" y="2401409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09" name="等腰三角形 2108"/>
            <p:cNvSpPr/>
            <p:nvPr/>
          </p:nvSpPr>
          <p:spPr>
            <a:xfrm>
              <a:off x="2441656" y="2930939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10" name="等腰三角形 2109"/>
            <p:cNvSpPr/>
            <p:nvPr/>
          </p:nvSpPr>
          <p:spPr>
            <a:xfrm>
              <a:off x="2765375" y="2795827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11" name="等腰三角形 2110"/>
            <p:cNvSpPr/>
            <p:nvPr/>
          </p:nvSpPr>
          <p:spPr>
            <a:xfrm>
              <a:off x="2990586" y="2932640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12" name="未知"/>
            <p:cNvSpPr>
              <a:spLocks/>
            </p:cNvSpPr>
            <p:nvPr/>
          </p:nvSpPr>
          <p:spPr bwMode="auto">
            <a:xfrm>
              <a:off x="2993847" y="3357095"/>
              <a:ext cx="36610" cy="36610"/>
            </a:xfrm>
            <a:custGeom>
              <a:avLst/>
              <a:gdLst>
                <a:gd name="T0" fmla="*/ 2147483647 w 40"/>
                <a:gd name="T1" fmla="*/ 0 h 40"/>
                <a:gd name="T2" fmla="*/ 2147483647 w 40"/>
                <a:gd name="T3" fmla="*/ 0 h 40"/>
                <a:gd name="T4" fmla="*/ 2147483647 w 40"/>
                <a:gd name="T5" fmla="*/ 2147483647 h 40"/>
                <a:gd name="T6" fmla="*/ 2147483647 w 40"/>
                <a:gd name="T7" fmla="*/ 2147483647 h 40"/>
                <a:gd name="T8" fmla="*/ 2147483647 w 40"/>
                <a:gd name="T9" fmla="*/ 2147483647 h 40"/>
                <a:gd name="T10" fmla="*/ 2147483647 w 40"/>
                <a:gd name="T11" fmla="*/ 2147483647 h 40"/>
                <a:gd name="T12" fmla="*/ 2147483647 w 40"/>
                <a:gd name="T13" fmla="*/ 2147483647 h 40"/>
                <a:gd name="T14" fmla="*/ 2147483647 w 40"/>
                <a:gd name="T15" fmla="*/ 2147483647 h 40"/>
                <a:gd name="T16" fmla="*/ 2147483647 w 40"/>
                <a:gd name="T17" fmla="*/ 2147483647 h 40"/>
                <a:gd name="T18" fmla="*/ 2147483647 w 40"/>
                <a:gd name="T19" fmla="*/ 2147483647 h 40"/>
                <a:gd name="T20" fmla="*/ 2147483647 w 40"/>
                <a:gd name="T21" fmla="*/ 2147483647 h 40"/>
                <a:gd name="T22" fmla="*/ 2147483647 w 40"/>
                <a:gd name="T23" fmla="*/ 2147483647 h 40"/>
                <a:gd name="T24" fmla="*/ 2147483647 w 40"/>
                <a:gd name="T25" fmla="*/ 2147483647 h 40"/>
                <a:gd name="T26" fmla="*/ 2147483647 w 40"/>
                <a:gd name="T27" fmla="*/ 2147483647 h 40"/>
                <a:gd name="T28" fmla="*/ 0 w 40"/>
                <a:gd name="T29" fmla="*/ 2147483647 h 40"/>
                <a:gd name="T30" fmla="*/ 0 w 40"/>
                <a:gd name="T31" fmla="*/ 2147483647 h 40"/>
                <a:gd name="T32" fmla="*/ 0 w 40"/>
                <a:gd name="T33" fmla="*/ 2147483647 h 40"/>
                <a:gd name="T34" fmla="*/ 0 w 40"/>
                <a:gd name="T35" fmla="*/ 2147483647 h 40"/>
                <a:gd name="T36" fmla="*/ 2147483647 w 40"/>
                <a:gd name="T37" fmla="*/ 2147483647 h 40"/>
                <a:gd name="T38" fmla="*/ 2147483647 w 40"/>
                <a:gd name="T39" fmla="*/ 2147483647 h 40"/>
                <a:gd name="T40" fmla="*/ 2147483647 w 40"/>
                <a:gd name="T41" fmla="*/ 0 h 40"/>
                <a:gd name="T42" fmla="*/ 2147483647 w 40"/>
                <a:gd name="T43" fmla="*/ 0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lnTo>
                    <a:pt x="20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20"/>
                  </a:lnTo>
                  <a:lnTo>
                    <a:pt x="38" y="28"/>
                  </a:lnTo>
                  <a:lnTo>
                    <a:pt x="34" y="34"/>
                  </a:lnTo>
                  <a:lnTo>
                    <a:pt x="28" y="38"/>
                  </a:lnTo>
                  <a:lnTo>
                    <a:pt x="20" y="40"/>
                  </a:lnTo>
                  <a:lnTo>
                    <a:pt x="12" y="38"/>
                  </a:lnTo>
                  <a:lnTo>
                    <a:pt x="6" y="34"/>
                  </a:lnTo>
                  <a:lnTo>
                    <a:pt x="0" y="28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150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13" name="等腰三角形 2112"/>
            <p:cNvSpPr/>
            <p:nvPr/>
          </p:nvSpPr>
          <p:spPr>
            <a:xfrm>
              <a:off x="2951198" y="3370846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14" name="等腰三角形 2113"/>
            <p:cNvSpPr/>
            <p:nvPr/>
          </p:nvSpPr>
          <p:spPr>
            <a:xfrm>
              <a:off x="3577299" y="2161179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15" name="等腰三角形 2114"/>
            <p:cNvSpPr/>
            <p:nvPr/>
          </p:nvSpPr>
          <p:spPr>
            <a:xfrm>
              <a:off x="3403085" y="2329093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16" name="等腰三角形 2115"/>
            <p:cNvSpPr/>
            <p:nvPr/>
          </p:nvSpPr>
          <p:spPr>
            <a:xfrm>
              <a:off x="3654846" y="2367748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17" name="等腰三角形 2116"/>
            <p:cNvSpPr/>
            <p:nvPr/>
          </p:nvSpPr>
          <p:spPr>
            <a:xfrm>
              <a:off x="3667706" y="2283873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18" name="等腰三角形 2117"/>
            <p:cNvSpPr/>
            <p:nvPr/>
          </p:nvSpPr>
          <p:spPr>
            <a:xfrm>
              <a:off x="3738787" y="2439555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19" name="等腰三角形 2118"/>
            <p:cNvSpPr/>
            <p:nvPr/>
          </p:nvSpPr>
          <p:spPr>
            <a:xfrm>
              <a:off x="3610437" y="2577450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20" name="等腰三角形 2119"/>
            <p:cNvSpPr/>
            <p:nvPr/>
          </p:nvSpPr>
          <p:spPr>
            <a:xfrm>
              <a:off x="3446927" y="2595774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21" name="等腰三角形 2120"/>
            <p:cNvSpPr/>
            <p:nvPr/>
          </p:nvSpPr>
          <p:spPr>
            <a:xfrm>
              <a:off x="3621198" y="2783404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22" name="等腰三角形 2121"/>
            <p:cNvSpPr/>
            <p:nvPr/>
          </p:nvSpPr>
          <p:spPr>
            <a:xfrm>
              <a:off x="3433814" y="2958982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23" name="等腰三角形 2122"/>
            <p:cNvSpPr/>
            <p:nvPr/>
          </p:nvSpPr>
          <p:spPr>
            <a:xfrm>
              <a:off x="3433232" y="1677871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124" name="文本框 2744"/>
            <p:cNvSpPr txBox="1"/>
            <p:nvPr/>
          </p:nvSpPr>
          <p:spPr>
            <a:xfrm>
              <a:off x="3766745" y="1100084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哈尔滨</a:t>
              </a:r>
            </a:p>
          </p:txBody>
        </p:sp>
        <p:sp>
          <p:nvSpPr>
            <p:cNvPr id="2125" name="文本框 2745"/>
            <p:cNvSpPr txBox="1"/>
            <p:nvPr/>
          </p:nvSpPr>
          <p:spPr>
            <a:xfrm>
              <a:off x="3739515" y="1254086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长春</a:t>
              </a:r>
            </a:p>
          </p:txBody>
        </p:sp>
        <p:sp>
          <p:nvSpPr>
            <p:cNvPr id="2126" name="文本框 2746"/>
            <p:cNvSpPr txBox="1"/>
            <p:nvPr/>
          </p:nvSpPr>
          <p:spPr>
            <a:xfrm>
              <a:off x="1362024" y="1223391"/>
              <a:ext cx="366480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乌鲁木齐</a:t>
              </a:r>
            </a:p>
          </p:txBody>
        </p:sp>
        <p:sp>
          <p:nvSpPr>
            <p:cNvPr id="2127" name="文本框 2747"/>
            <p:cNvSpPr txBox="1"/>
            <p:nvPr/>
          </p:nvSpPr>
          <p:spPr>
            <a:xfrm>
              <a:off x="2878081" y="1570414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呼和浩特</a:t>
              </a:r>
            </a:p>
          </p:txBody>
        </p:sp>
        <p:sp>
          <p:nvSpPr>
            <p:cNvPr id="2128" name="文本框 2748"/>
            <p:cNvSpPr txBox="1"/>
            <p:nvPr/>
          </p:nvSpPr>
          <p:spPr>
            <a:xfrm>
              <a:off x="2533533" y="1758604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银川</a:t>
              </a:r>
            </a:p>
          </p:txBody>
        </p:sp>
        <p:sp>
          <p:nvSpPr>
            <p:cNvPr id="2129" name="文本框 2749"/>
            <p:cNvSpPr txBox="1"/>
            <p:nvPr/>
          </p:nvSpPr>
          <p:spPr>
            <a:xfrm>
              <a:off x="2382820" y="1985392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兰州</a:t>
              </a:r>
            </a:p>
          </p:txBody>
        </p:sp>
        <p:sp>
          <p:nvSpPr>
            <p:cNvPr id="2130" name="文本框 2750"/>
            <p:cNvSpPr txBox="1"/>
            <p:nvPr/>
          </p:nvSpPr>
          <p:spPr>
            <a:xfrm>
              <a:off x="3219058" y="1820258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石家庄</a:t>
              </a:r>
            </a:p>
          </p:txBody>
        </p:sp>
        <p:sp>
          <p:nvSpPr>
            <p:cNvPr id="2131" name="文本框 2751"/>
            <p:cNvSpPr txBox="1"/>
            <p:nvPr/>
          </p:nvSpPr>
          <p:spPr>
            <a:xfrm>
              <a:off x="2956162" y="1796684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太原</a:t>
              </a:r>
            </a:p>
          </p:txBody>
        </p:sp>
        <p:sp>
          <p:nvSpPr>
            <p:cNvPr id="2132" name="文本框 2752"/>
            <p:cNvSpPr txBox="1"/>
            <p:nvPr/>
          </p:nvSpPr>
          <p:spPr>
            <a:xfrm>
              <a:off x="3544915" y="1654570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大连</a:t>
              </a:r>
            </a:p>
          </p:txBody>
        </p:sp>
        <p:sp>
          <p:nvSpPr>
            <p:cNvPr id="2133" name="文本框 2753"/>
            <p:cNvSpPr txBox="1"/>
            <p:nvPr/>
          </p:nvSpPr>
          <p:spPr>
            <a:xfrm>
              <a:off x="3309463" y="1891292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济南</a:t>
              </a:r>
            </a:p>
          </p:txBody>
        </p:sp>
        <p:sp>
          <p:nvSpPr>
            <p:cNvPr id="2134" name="文本框 2754"/>
            <p:cNvSpPr txBox="1"/>
            <p:nvPr/>
          </p:nvSpPr>
          <p:spPr>
            <a:xfrm>
              <a:off x="3476166" y="1891593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青岛</a:t>
              </a:r>
            </a:p>
          </p:txBody>
        </p:sp>
        <p:sp>
          <p:nvSpPr>
            <p:cNvPr id="2135" name="文本框 2755"/>
            <p:cNvSpPr txBox="1"/>
            <p:nvPr/>
          </p:nvSpPr>
          <p:spPr>
            <a:xfrm>
              <a:off x="3056321" y="2066921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郑州</a:t>
              </a:r>
            </a:p>
          </p:txBody>
        </p:sp>
        <p:sp>
          <p:nvSpPr>
            <p:cNvPr id="2136" name="文本框 2756"/>
            <p:cNvSpPr txBox="1"/>
            <p:nvPr/>
          </p:nvSpPr>
          <p:spPr>
            <a:xfrm>
              <a:off x="3211008" y="1957026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济宁</a:t>
              </a:r>
            </a:p>
          </p:txBody>
        </p:sp>
        <p:sp>
          <p:nvSpPr>
            <p:cNvPr id="2137" name="文本框 2757"/>
            <p:cNvSpPr txBox="1"/>
            <p:nvPr/>
          </p:nvSpPr>
          <p:spPr>
            <a:xfrm>
              <a:off x="3417104" y="2098438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宿迁</a:t>
              </a:r>
            </a:p>
          </p:txBody>
        </p:sp>
        <p:sp>
          <p:nvSpPr>
            <p:cNvPr id="2138" name="文本框 2758"/>
            <p:cNvSpPr txBox="1"/>
            <p:nvPr/>
          </p:nvSpPr>
          <p:spPr>
            <a:xfrm>
              <a:off x="3495152" y="2259415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南京</a:t>
              </a:r>
            </a:p>
          </p:txBody>
        </p:sp>
        <p:sp>
          <p:nvSpPr>
            <p:cNvPr id="2139" name="文本框 2759"/>
            <p:cNvSpPr txBox="1"/>
            <p:nvPr/>
          </p:nvSpPr>
          <p:spPr>
            <a:xfrm>
              <a:off x="3327210" y="2252981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合肥</a:t>
              </a:r>
            </a:p>
          </p:txBody>
        </p:sp>
        <p:sp>
          <p:nvSpPr>
            <p:cNvPr id="2140" name="文本框 2760"/>
            <p:cNvSpPr txBox="1"/>
            <p:nvPr/>
          </p:nvSpPr>
          <p:spPr>
            <a:xfrm>
              <a:off x="3455949" y="2432800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杭州</a:t>
              </a:r>
            </a:p>
          </p:txBody>
        </p:sp>
        <p:sp>
          <p:nvSpPr>
            <p:cNvPr id="2141" name="文本框 2761"/>
            <p:cNvSpPr txBox="1"/>
            <p:nvPr/>
          </p:nvSpPr>
          <p:spPr>
            <a:xfrm>
              <a:off x="3579463" y="2524778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台州</a:t>
              </a:r>
            </a:p>
          </p:txBody>
        </p:sp>
        <p:sp>
          <p:nvSpPr>
            <p:cNvPr id="2142" name="文本框 2762"/>
            <p:cNvSpPr txBox="1"/>
            <p:nvPr/>
          </p:nvSpPr>
          <p:spPr>
            <a:xfrm>
              <a:off x="3276029" y="2532042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南昌</a:t>
              </a:r>
            </a:p>
          </p:txBody>
        </p:sp>
        <p:sp>
          <p:nvSpPr>
            <p:cNvPr id="2143" name="文本框 2763"/>
            <p:cNvSpPr txBox="1"/>
            <p:nvPr/>
          </p:nvSpPr>
          <p:spPr>
            <a:xfrm>
              <a:off x="3024113" y="2570883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长沙</a:t>
              </a:r>
            </a:p>
          </p:txBody>
        </p:sp>
        <p:sp>
          <p:nvSpPr>
            <p:cNvPr id="2144" name="文本框 2764"/>
            <p:cNvSpPr txBox="1"/>
            <p:nvPr/>
          </p:nvSpPr>
          <p:spPr>
            <a:xfrm>
              <a:off x="2585202" y="2720177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贵阳</a:t>
              </a:r>
            </a:p>
          </p:txBody>
        </p:sp>
        <p:sp>
          <p:nvSpPr>
            <p:cNvPr id="2145" name="文本框 2765"/>
            <p:cNvSpPr txBox="1"/>
            <p:nvPr/>
          </p:nvSpPr>
          <p:spPr>
            <a:xfrm>
              <a:off x="2268879" y="2835727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昆明</a:t>
              </a:r>
            </a:p>
          </p:txBody>
        </p:sp>
        <p:sp>
          <p:nvSpPr>
            <p:cNvPr id="2146" name="文本框 2766"/>
            <p:cNvSpPr txBox="1"/>
            <p:nvPr/>
          </p:nvSpPr>
          <p:spPr>
            <a:xfrm>
              <a:off x="2694929" y="3022103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南宁</a:t>
              </a:r>
            </a:p>
          </p:txBody>
        </p:sp>
        <p:sp>
          <p:nvSpPr>
            <p:cNvPr id="2147" name="文本框 2767"/>
            <p:cNvSpPr txBox="1"/>
            <p:nvPr/>
          </p:nvSpPr>
          <p:spPr>
            <a:xfrm>
              <a:off x="2850702" y="2828083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柳州</a:t>
              </a:r>
            </a:p>
          </p:txBody>
        </p:sp>
        <p:sp>
          <p:nvSpPr>
            <p:cNvPr id="2148" name="文本框 2768"/>
            <p:cNvSpPr txBox="1"/>
            <p:nvPr/>
          </p:nvSpPr>
          <p:spPr>
            <a:xfrm>
              <a:off x="2834406" y="3188120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茂名</a:t>
              </a:r>
            </a:p>
          </p:txBody>
        </p:sp>
        <p:sp>
          <p:nvSpPr>
            <p:cNvPr id="2149" name="文本框 2769"/>
            <p:cNvSpPr txBox="1"/>
            <p:nvPr/>
          </p:nvSpPr>
          <p:spPr>
            <a:xfrm>
              <a:off x="3457273" y="2822971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厦门</a:t>
              </a:r>
            </a:p>
          </p:txBody>
        </p:sp>
        <p:sp>
          <p:nvSpPr>
            <p:cNvPr id="2150" name="文本框 2770"/>
            <p:cNvSpPr txBox="1"/>
            <p:nvPr/>
          </p:nvSpPr>
          <p:spPr>
            <a:xfrm>
              <a:off x="3241822" y="3022303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深圳</a:t>
              </a:r>
            </a:p>
          </p:txBody>
        </p:sp>
        <p:sp>
          <p:nvSpPr>
            <p:cNvPr id="2151" name="文本框 2771"/>
            <p:cNvSpPr txBox="1"/>
            <p:nvPr/>
          </p:nvSpPr>
          <p:spPr>
            <a:xfrm>
              <a:off x="2566646" y="2464301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重庆</a:t>
              </a:r>
            </a:p>
          </p:txBody>
        </p:sp>
        <p:sp>
          <p:nvSpPr>
            <p:cNvPr id="2152" name="文本框 2772"/>
            <p:cNvSpPr txBox="1"/>
            <p:nvPr/>
          </p:nvSpPr>
          <p:spPr>
            <a:xfrm>
              <a:off x="3345818" y="1725828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天津</a:t>
              </a:r>
            </a:p>
          </p:txBody>
        </p:sp>
        <p:sp>
          <p:nvSpPr>
            <p:cNvPr id="2153" name="文本框 2773"/>
            <p:cNvSpPr txBox="1"/>
            <p:nvPr/>
          </p:nvSpPr>
          <p:spPr>
            <a:xfrm>
              <a:off x="3403742" y="1830743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潍坊</a:t>
              </a:r>
            </a:p>
          </p:txBody>
        </p:sp>
        <p:sp>
          <p:nvSpPr>
            <p:cNvPr id="2154" name="文本框 2774"/>
            <p:cNvSpPr txBox="1"/>
            <p:nvPr/>
          </p:nvSpPr>
          <p:spPr>
            <a:xfrm>
              <a:off x="2930223" y="2267024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襄阳</a:t>
              </a:r>
            </a:p>
          </p:txBody>
        </p:sp>
        <p:sp>
          <p:nvSpPr>
            <p:cNvPr id="2155" name="文本框 2776"/>
            <p:cNvSpPr txBox="1"/>
            <p:nvPr/>
          </p:nvSpPr>
          <p:spPr>
            <a:xfrm>
              <a:off x="2166147" y="2477362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绵阳</a:t>
              </a:r>
            </a:p>
          </p:txBody>
        </p:sp>
        <p:sp>
          <p:nvSpPr>
            <p:cNvPr id="2156" name="文本框 2778"/>
            <p:cNvSpPr txBox="1"/>
            <p:nvPr/>
          </p:nvSpPr>
          <p:spPr>
            <a:xfrm>
              <a:off x="2763006" y="3330629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海口</a:t>
              </a:r>
            </a:p>
          </p:txBody>
        </p:sp>
        <p:sp>
          <p:nvSpPr>
            <p:cNvPr id="2157" name="文本框 2779"/>
            <p:cNvSpPr txBox="1"/>
            <p:nvPr/>
          </p:nvSpPr>
          <p:spPr>
            <a:xfrm>
              <a:off x="3558905" y="2349224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苏州</a:t>
              </a:r>
            </a:p>
          </p:txBody>
        </p:sp>
        <p:sp>
          <p:nvSpPr>
            <p:cNvPr id="2158" name="文本框 2780"/>
            <p:cNvSpPr txBox="1"/>
            <p:nvPr/>
          </p:nvSpPr>
          <p:spPr>
            <a:xfrm>
              <a:off x="3578654" y="2181958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南通</a:t>
              </a:r>
            </a:p>
          </p:txBody>
        </p:sp>
        <p:sp>
          <p:nvSpPr>
            <p:cNvPr id="2159" name="文本框 2781"/>
            <p:cNvSpPr txBox="1"/>
            <p:nvPr/>
          </p:nvSpPr>
          <p:spPr>
            <a:xfrm>
              <a:off x="3733887" y="2406436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宁波</a:t>
              </a:r>
            </a:p>
          </p:txBody>
        </p:sp>
        <p:sp>
          <p:nvSpPr>
            <p:cNvPr id="2160" name="文本框 2782"/>
            <p:cNvSpPr txBox="1"/>
            <p:nvPr/>
          </p:nvSpPr>
          <p:spPr>
            <a:xfrm>
              <a:off x="3448688" y="2510161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金华</a:t>
              </a:r>
            </a:p>
          </p:txBody>
        </p:sp>
        <p:sp>
          <p:nvSpPr>
            <p:cNvPr id="2161" name="文本框 2783"/>
            <p:cNvSpPr txBox="1"/>
            <p:nvPr/>
          </p:nvSpPr>
          <p:spPr>
            <a:xfrm>
              <a:off x="3310231" y="2885785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汕头</a:t>
              </a:r>
            </a:p>
          </p:txBody>
        </p:sp>
        <p:sp>
          <p:nvSpPr>
            <p:cNvPr id="2162" name="文本框 2784"/>
            <p:cNvSpPr txBox="1"/>
            <p:nvPr/>
          </p:nvSpPr>
          <p:spPr>
            <a:xfrm>
              <a:off x="2969112" y="3001437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佛山</a:t>
              </a:r>
            </a:p>
          </p:txBody>
        </p:sp>
        <p:sp>
          <p:nvSpPr>
            <p:cNvPr id="2163" name="文本框 2785"/>
            <p:cNvSpPr txBox="1"/>
            <p:nvPr/>
          </p:nvSpPr>
          <p:spPr>
            <a:xfrm>
              <a:off x="3364983" y="1608903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唐山</a:t>
              </a:r>
            </a:p>
          </p:txBody>
        </p:sp>
        <p:sp>
          <p:nvSpPr>
            <p:cNvPr id="2164" name="文本框 2786"/>
            <p:cNvSpPr txBox="1"/>
            <p:nvPr/>
          </p:nvSpPr>
          <p:spPr>
            <a:xfrm>
              <a:off x="3105737" y="1719011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固安</a:t>
              </a:r>
            </a:p>
          </p:txBody>
        </p:sp>
        <p:sp>
          <p:nvSpPr>
            <p:cNvPr id="2165" name="文本框 2787"/>
            <p:cNvSpPr txBox="1"/>
            <p:nvPr/>
          </p:nvSpPr>
          <p:spPr>
            <a:xfrm>
              <a:off x="3495152" y="2700330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福州</a:t>
              </a:r>
            </a:p>
          </p:txBody>
        </p:sp>
        <p:sp>
          <p:nvSpPr>
            <p:cNvPr id="2166" name="等腰三角形 2165"/>
            <p:cNvSpPr/>
            <p:nvPr/>
          </p:nvSpPr>
          <p:spPr>
            <a:xfrm>
              <a:off x="3254222" y="1876725"/>
              <a:ext cx="48813" cy="48813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pic>
          <p:nvPicPr>
            <p:cNvPr id="2167" name="图片 216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14064" y="1644711"/>
              <a:ext cx="82779" cy="97590"/>
            </a:xfrm>
            <a:prstGeom prst="rect">
              <a:avLst/>
            </a:prstGeom>
          </p:spPr>
        </p:pic>
        <p:pic>
          <p:nvPicPr>
            <p:cNvPr id="2168" name="图片 216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66757" y="1714138"/>
              <a:ext cx="82779" cy="97590"/>
            </a:xfrm>
            <a:prstGeom prst="rect">
              <a:avLst/>
            </a:prstGeom>
          </p:spPr>
        </p:pic>
        <p:pic>
          <p:nvPicPr>
            <p:cNvPr id="2169" name="图片 216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6039" y="2328883"/>
              <a:ext cx="82779" cy="97590"/>
            </a:xfrm>
            <a:prstGeom prst="rect">
              <a:avLst/>
            </a:prstGeom>
          </p:spPr>
        </p:pic>
        <p:pic>
          <p:nvPicPr>
            <p:cNvPr id="2170" name="图片 216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47945" y="2475323"/>
              <a:ext cx="68901" cy="97590"/>
            </a:xfrm>
            <a:prstGeom prst="rect">
              <a:avLst/>
            </a:prstGeom>
          </p:spPr>
        </p:pic>
        <p:pic>
          <p:nvPicPr>
            <p:cNvPr id="2171" name="图片 2170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3505" y="2963860"/>
              <a:ext cx="82779" cy="97590"/>
            </a:xfrm>
            <a:prstGeom prst="rect">
              <a:avLst/>
            </a:prstGeom>
          </p:spPr>
        </p:pic>
        <p:pic>
          <p:nvPicPr>
            <p:cNvPr id="2172" name="图片 217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02786" y="2167962"/>
              <a:ext cx="82779" cy="97590"/>
            </a:xfrm>
            <a:prstGeom prst="rect">
              <a:avLst/>
            </a:prstGeom>
          </p:spPr>
        </p:pic>
        <p:pic>
          <p:nvPicPr>
            <p:cNvPr id="2173" name="图片 217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51060" y="2421982"/>
              <a:ext cx="82779" cy="97590"/>
            </a:xfrm>
            <a:prstGeom prst="rect">
              <a:avLst/>
            </a:prstGeom>
          </p:spPr>
        </p:pic>
        <p:pic>
          <p:nvPicPr>
            <p:cNvPr id="2174" name="图片 217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2197" y="1509320"/>
              <a:ext cx="82779" cy="97590"/>
            </a:xfrm>
            <a:prstGeom prst="rect">
              <a:avLst/>
            </a:prstGeom>
          </p:spPr>
        </p:pic>
        <p:pic>
          <p:nvPicPr>
            <p:cNvPr id="2175" name="图片 2174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2359" y="1898088"/>
              <a:ext cx="82779" cy="97590"/>
            </a:xfrm>
            <a:prstGeom prst="rect">
              <a:avLst/>
            </a:prstGeom>
          </p:spPr>
        </p:pic>
        <p:pic>
          <p:nvPicPr>
            <p:cNvPr id="2176" name="图片 217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96773" y="2944842"/>
              <a:ext cx="100017" cy="99974"/>
            </a:xfrm>
            <a:prstGeom prst="rect">
              <a:avLst/>
            </a:prstGeom>
          </p:spPr>
        </p:pic>
        <p:pic>
          <p:nvPicPr>
            <p:cNvPr id="2177" name="图片 2176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99267" y="2760684"/>
              <a:ext cx="100017" cy="99974"/>
            </a:xfrm>
            <a:prstGeom prst="rect">
              <a:avLst/>
            </a:prstGeom>
          </p:spPr>
        </p:pic>
        <p:pic>
          <p:nvPicPr>
            <p:cNvPr id="2178" name="图片 2177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94912" y="2248780"/>
              <a:ext cx="100017" cy="99974"/>
            </a:xfrm>
            <a:prstGeom prst="rect">
              <a:avLst/>
            </a:prstGeom>
          </p:spPr>
        </p:pic>
        <p:pic>
          <p:nvPicPr>
            <p:cNvPr id="2179" name="图片 2178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2867" y="1959477"/>
              <a:ext cx="100017" cy="99974"/>
            </a:xfrm>
            <a:prstGeom prst="rect">
              <a:avLst/>
            </a:prstGeom>
          </p:spPr>
        </p:pic>
        <p:pic>
          <p:nvPicPr>
            <p:cNvPr id="2180" name="图片 217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61518" y="2158857"/>
              <a:ext cx="100017" cy="99974"/>
            </a:xfrm>
            <a:prstGeom prst="rect">
              <a:avLst/>
            </a:prstGeom>
          </p:spPr>
        </p:pic>
        <p:pic>
          <p:nvPicPr>
            <p:cNvPr id="2181" name="图片 2180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40604" y="2417108"/>
              <a:ext cx="100017" cy="99974"/>
            </a:xfrm>
            <a:prstGeom prst="rect">
              <a:avLst/>
            </a:prstGeom>
          </p:spPr>
        </p:pic>
        <p:pic>
          <p:nvPicPr>
            <p:cNvPr id="2182" name="图片 218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64203" y="2409674"/>
              <a:ext cx="100017" cy="99974"/>
            </a:xfrm>
            <a:prstGeom prst="rect">
              <a:avLst/>
            </a:prstGeom>
          </p:spPr>
        </p:pic>
        <p:pic>
          <p:nvPicPr>
            <p:cNvPr id="2183" name="图片 2182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49448" y="2329201"/>
              <a:ext cx="100017" cy="99974"/>
            </a:xfrm>
            <a:prstGeom prst="rect">
              <a:avLst/>
            </a:prstGeom>
          </p:spPr>
        </p:pic>
        <p:pic>
          <p:nvPicPr>
            <p:cNvPr id="2184" name="图片 2183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5750" y="2272558"/>
              <a:ext cx="100017" cy="99974"/>
            </a:xfrm>
            <a:prstGeom prst="rect">
              <a:avLst/>
            </a:prstGeom>
          </p:spPr>
        </p:pic>
        <p:pic>
          <p:nvPicPr>
            <p:cNvPr id="2185" name="图片 218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17862" y="2152307"/>
              <a:ext cx="100017" cy="99974"/>
            </a:xfrm>
            <a:prstGeom prst="rect">
              <a:avLst/>
            </a:prstGeom>
          </p:spPr>
        </p:pic>
        <p:pic>
          <p:nvPicPr>
            <p:cNvPr id="2186" name="图片 218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4815" y="2111655"/>
              <a:ext cx="100017" cy="99974"/>
            </a:xfrm>
            <a:prstGeom prst="rect">
              <a:avLst/>
            </a:prstGeom>
          </p:spPr>
        </p:pic>
        <p:pic>
          <p:nvPicPr>
            <p:cNvPr id="2187" name="图片 2186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42934" y="1861135"/>
              <a:ext cx="100017" cy="99974"/>
            </a:xfrm>
            <a:prstGeom prst="rect">
              <a:avLst/>
            </a:prstGeom>
          </p:spPr>
        </p:pic>
        <p:pic>
          <p:nvPicPr>
            <p:cNvPr id="2188" name="图片 2187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6337" y="1481980"/>
              <a:ext cx="100017" cy="99974"/>
            </a:xfrm>
            <a:prstGeom prst="rect">
              <a:avLst/>
            </a:prstGeom>
          </p:spPr>
        </p:pic>
        <p:pic>
          <p:nvPicPr>
            <p:cNvPr id="2189" name="图片 2188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3038" y="1633375"/>
              <a:ext cx="100017" cy="99974"/>
            </a:xfrm>
            <a:prstGeom prst="rect">
              <a:avLst/>
            </a:prstGeom>
          </p:spPr>
        </p:pic>
        <p:pic>
          <p:nvPicPr>
            <p:cNvPr id="2190" name="图片 218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1147" y="1829284"/>
              <a:ext cx="100017" cy="99974"/>
            </a:xfrm>
            <a:prstGeom prst="rect">
              <a:avLst/>
            </a:prstGeom>
          </p:spPr>
        </p:pic>
        <p:pic>
          <p:nvPicPr>
            <p:cNvPr id="2191" name="图片 2190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4407" y="2503655"/>
              <a:ext cx="100017" cy="99974"/>
            </a:xfrm>
            <a:prstGeom prst="rect">
              <a:avLst/>
            </a:prstGeom>
          </p:spPr>
        </p:pic>
        <p:pic>
          <p:nvPicPr>
            <p:cNvPr id="2192" name="图片 219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7862" y="2848567"/>
              <a:ext cx="100017" cy="99974"/>
            </a:xfrm>
            <a:prstGeom prst="rect">
              <a:avLst/>
            </a:prstGeom>
          </p:spPr>
        </p:pic>
        <p:pic>
          <p:nvPicPr>
            <p:cNvPr id="2193" name="图片 2192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2089" y="1850892"/>
              <a:ext cx="100017" cy="99974"/>
            </a:xfrm>
            <a:prstGeom prst="rect">
              <a:avLst/>
            </a:prstGeom>
          </p:spPr>
        </p:pic>
        <p:pic>
          <p:nvPicPr>
            <p:cNvPr id="2194" name="图片 2193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7785" y="2895874"/>
              <a:ext cx="100017" cy="99974"/>
            </a:xfrm>
            <a:prstGeom prst="rect">
              <a:avLst/>
            </a:prstGeom>
          </p:spPr>
        </p:pic>
        <p:pic>
          <p:nvPicPr>
            <p:cNvPr id="2195" name="图片 219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4440" y="2874932"/>
              <a:ext cx="100017" cy="99974"/>
            </a:xfrm>
            <a:prstGeom prst="rect">
              <a:avLst/>
            </a:prstGeom>
          </p:spPr>
        </p:pic>
        <p:pic>
          <p:nvPicPr>
            <p:cNvPr id="2196" name="图片 219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93753" y="2554203"/>
              <a:ext cx="100017" cy="99974"/>
            </a:xfrm>
            <a:prstGeom prst="rect">
              <a:avLst/>
            </a:prstGeom>
          </p:spPr>
        </p:pic>
        <p:pic>
          <p:nvPicPr>
            <p:cNvPr id="2197" name="图片 2196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07057" y="2611352"/>
              <a:ext cx="100017" cy="99974"/>
            </a:xfrm>
            <a:prstGeom prst="rect">
              <a:avLst/>
            </a:prstGeom>
          </p:spPr>
        </p:pic>
        <p:pic>
          <p:nvPicPr>
            <p:cNvPr id="2198" name="图片 2197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9933" y="2886837"/>
              <a:ext cx="68901" cy="97590"/>
            </a:xfrm>
            <a:prstGeom prst="rect">
              <a:avLst/>
            </a:prstGeom>
          </p:spPr>
        </p:pic>
        <p:pic>
          <p:nvPicPr>
            <p:cNvPr id="2199" name="图片 2198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7119" y="1274417"/>
              <a:ext cx="100017" cy="99974"/>
            </a:xfrm>
            <a:prstGeom prst="rect">
              <a:avLst/>
            </a:prstGeom>
          </p:spPr>
        </p:pic>
        <p:pic>
          <p:nvPicPr>
            <p:cNvPr id="2200" name="图片 219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31416" y="1087441"/>
              <a:ext cx="100017" cy="99974"/>
            </a:xfrm>
            <a:prstGeom prst="rect">
              <a:avLst/>
            </a:prstGeom>
          </p:spPr>
        </p:pic>
        <p:pic>
          <p:nvPicPr>
            <p:cNvPr id="2201" name="图片 2200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43885" y="1662834"/>
              <a:ext cx="100017" cy="99974"/>
            </a:xfrm>
            <a:prstGeom prst="rect">
              <a:avLst/>
            </a:prstGeom>
          </p:spPr>
        </p:pic>
        <p:pic>
          <p:nvPicPr>
            <p:cNvPr id="2202" name="图片 220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7847" y="2306795"/>
              <a:ext cx="100017" cy="99974"/>
            </a:xfrm>
            <a:prstGeom prst="rect">
              <a:avLst/>
            </a:prstGeom>
          </p:spPr>
        </p:pic>
        <p:pic>
          <p:nvPicPr>
            <p:cNvPr id="2203" name="图片 220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8127" y="1544502"/>
              <a:ext cx="82779" cy="97590"/>
            </a:xfrm>
            <a:prstGeom prst="rect">
              <a:avLst/>
            </a:prstGeom>
          </p:spPr>
        </p:pic>
        <p:pic>
          <p:nvPicPr>
            <p:cNvPr id="2204" name="图片 220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10174" y="2080994"/>
              <a:ext cx="82779" cy="97590"/>
            </a:xfrm>
            <a:prstGeom prst="rect">
              <a:avLst/>
            </a:prstGeom>
          </p:spPr>
        </p:pic>
        <p:pic>
          <p:nvPicPr>
            <p:cNvPr id="2205" name="图片 220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6579" y="2070916"/>
              <a:ext cx="100017" cy="99974"/>
            </a:xfrm>
            <a:prstGeom prst="rect">
              <a:avLst/>
            </a:prstGeom>
          </p:spPr>
        </p:pic>
        <p:pic>
          <p:nvPicPr>
            <p:cNvPr id="2206" name="图片 220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2693" y="1903897"/>
              <a:ext cx="100017" cy="99974"/>
            </a:xfrm>
            <a:prstGeom prst="rect">
              <a:avLst/>
            </a:prstGeom>
          </p:spPr>
        </p:pic>
        <p:pic>
          <p:nvPicPr>
            <p:cNvPr id="2207" name="图片 2206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9994" y="1540052"/>
              <a:ext cx="100017" cy="99974"/>
            </a:xfrm>
            <a:prstGeom prst="rect">
              <a:avLst/>
            </a:prstGeom>
          </p:spPr>
        </p:pic>
        <p:pic>
          <p:nvPicPr>
            <p:cNvPr id="2208" name="图片 220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0364" y="1908287"/>
              <a:ext cx="82779" cy="97590"/>
            </a:xfrm>
            <a:prstGeom prst="rect">
              <a:avLst/>
            </a:prstGeom>
          </p:spPr>
        </p:pic>
        <p:pic>
          <p:nvPicPr>
            <p:cNvPr id="2209" name="图片 220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1983" y="1977050"/>
              <a:ext cx="82779" cy="97590"/>
            </a:xfrm>
            <a:prstGeom prst="rect">
              <a:avLst/>
            </a:prstGeom>
          </p:spPr>
        </p:pic>
        <p:pic>
          <p:nvPicPr>
            <p:cNvPr id="2210" name="图片 2209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0753" y="2119090"/>
              <a:ext cx="82779" cy="97590"/>
            </a:xfrm>
            <a:prstGeom prst="rect">
              <a:avLst/>
            </a:prstGeom>
          </p:spPr>
        </p:pic>
        <p:pic>
          <p:nvPicPr>
            <p:cNvPr id="2211" name="图片 2210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9203" y="2330144"/>
              <a:ext cx="82779" cy="97590"/>
            </a:xfrm>
            <a:prstGeom prst="rect">
              <a:avLst/>
            </a:prstGeom>
          </p:spPr>
        </p:pic>
        <p:pic>
          <p:nvPicPr>
            <p:cNvPr id="2212" name="图片 221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94850" y="2317942"/>
              <a:ext cx="82779" cy="97590"/>
            </a:xfrm>
            <a:prstGeom prst="rect">
              <a:avLst/>
            </a:prstGeom>
          </p:spPr>
        </p:pic>
        <p:pic>
          <p:nvPicPr>
            <p:cNvPr id="2213" name="图片 221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2695" y="2173457"/>
              <a:ext cx="82779" cy="97590"/>
            </a:xfrm>
            <a:prstGeom prst="rect">
              <a:avLst/>
            </a:prstGeom>
          </p:spPr>
        </p:pic>
        <p:pic>
          <p:nvPicPr>
            <p:cNvPr id="2214" name="图片 221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5957" y="2282082"/>
              <a:ext cx="82779" cy="97590"/>
            </a:xfrm>
            <a:prstGeom prst="rect">
              <a:avLst/>
            </a:prstGeom>
          </p:spPr>
        </p:pic>
        <p:pic>
          <p:nvPicPr>
            <p:cNvPr id="2215" name="图片 2214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4100" y="2619567"/>
              <a:ext cx="82779" cy="97590"/>
            </a:xfrm>
            <a:prstGeom prst="rect">
              <a:avLst/>
            </a:prstGeom>
          </p:spPr>
        </p:pic>
        <p:pic>
          <p:nvPicPr>
            <p:cNvPr id="2216" name="图片 2215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1838" y="2565861"/>
              <a:ext cx="82779" cy="97590"/>
            </a:xfrm>
            <a:prstGeom prst="rect">
              <a:avLst/>
            </a:prstGeom>
          </p:spPr>
        </p:pic>
        <p:pic>
          <p:nvPicPr>
            <p:cNvPr id="2217" name="图片 221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2457" y="2785883"/>
              <a:ext cx="82779" cy="97590"/>
            </a:xfrm>
            <a:prstGeom prst="rect">
              <a:avLst/>
            </a:prstGeom>
          </p:spPr>
        </p:pic>
        <p:pic>
          <p:nvPicPr>
            <p:cNvPr id="2218" name="图片 221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95366" y="2884584"/>
              <a:ext cx="82779" cy="97590"/>
            </a:xfrm>
            <a:prstGeom prst="rect">
              <a:avLst/>
            </a:prstGeom>
          </p:spPr>
        </p:pic>
        <p:pic>
          <p:nvPicPr>
            <p:cNvPr id="2219" name="图片 22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5175" y="2910544"/>
              <a:ext cx="82779" cy="97590"/>
            </a:xfrm>
            <a:prstGeom prst="rect">
              <a:avLst/>
            </a:prstGeom>
          </p:spPr>
        </p:pic>
        <p:pic>
          <p:nvPicPr>
            <p:cNvPr id="2220" name="图片 2219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9873" y="2512852"/>
              <a:ext cx="82779" cy="97590"/>
            </a:xfrm>
            <a:prstGeom prst="rect">
              <a:avLst/>
            </a:prstGeom>
          </p:spPr>
        </p:pic>
        <p:pic>
          <p:nvPicPr>
            <p:cNvPr id="2221" name="图片 2220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0390" y="1697811"/>
              <a:ext cx="82779" cy="97590"/>
            </a:xfrm>
            <a:prstGeom prst="rect">
              <a:avLst/>
            </a:prstGeom>
          </p:spPr>
        </p:pic>
        <p:pic>
          <p:nvPicPr>
            <p:cNvPr id="2222" name="图片 222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0027" y="1331346"/>
              <a:ext cx="82779" cy="97590"/>
            </a:xfrm>
            <a:prstGeom prst="rect">
              <a:avLst/>
            </a:prstGeom>
          </p:spPr>
        </p:pic>
        <p:pic>
          <p:nvPicPr>
            <p:cNvPr id="2223" name="图片 222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75369" y="1142567"/>
              <a:ext cx="82779" cy="97590"/>
            </a:xfrm>
            <a:prstGeom prst="rect">
              <a:avLst/>
            </a:prstGeom>
          </p:spPr>
        </p:pic>
        <p:pic>
          <p:nvPicPr>
            <p:cNvPr id="2224" name="图片 222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34970" y="1884962"/>
              <a:ext cx="82779" cy="97590"/>
            </a:xfrm>
            <a:prstGeom prst="rect">
              <a:avLst/>
            </a:prstGeom>
          </p:spPr>
        </p:pic>
        <p:pic>
          <p:nvPicPr>
            <p:cNvPr id="2225" name="图片 2224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34696" y="1879921"/>
              <a:ext cx="82779" cy="97590"/>
            </a:xfrm>
            <a:prstGeom prst="rect">
              <a:avLst/>
            </a:prstGeom>
          </p:spPr>
        </p:pic>
        <p:sp>
          <p:nvSpPr>
            <p:cNvPr id="2226" name="泪滴形 2225"/>
            <p:cNvSpPr/>
            <p:nvPr/>
          </p:nvSpPr>
          <p:spPr>
            <a:xfrm rot="13392341" flipV="1">
              <a:off x="3659171" y="1505912"/>
              <a:ext cx="73224" cy="73192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27" name="Shape 10525"/>
            <p:cNvSpPr/>
            <p:nvPr/>
          </p:nvSpPr>
          <p:spPr>
            <a:xfrm flipV="1">
              <a:off x="3671375" y="1518111"/>
              <a:ext cx="48816" cy="48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28" name="泪滴形 2227"/>
            <p:cNvSpPr/>
            <p:nvPr/>
          </p:nvSpPr>
          <p:spPr>
            <a:xfrm rot="13392341" flipV="1">
              <a:off x="3435398" y="1756053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29" name="Shape 10525"/>
            <p:cNvSpPr/>
            <p:nvPr/>
          </p:nvSpPr>
          <p:spPr>
            <a:xfrm flipV="1">
              <a:off x="3443534" y="1764186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30" name="泪滴形 2229"/>
            <p:cNvSpPr/>
            <p:nvPr/>
          </p:nvSpPr>
          <p:spPr>
            <a:xfrm rot="13392341" flipV="1">
              <a:off x="3352101" y="1681433"/>
              <a:ext cx="73224" cy="73192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31" name="Shape 10525"/>
            <p:cNvSpPr/>
            <p:nvPr/>
          </p:nvSpPr>
          <p:spPr>
            <a:xfrm flipV="1">
              <a:off x="3364305" y="1693632"/>
              <a:ext cx="48816" cy="48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32" name="泪滴形 2231"/>
            <p:cNvSpPr/>
            <p:nvPr/>
          </p:nvSpPr>
          <p:spPr>
            <a:xfrm rot="13392341" flipV="1">
              <a:off x="2912707" y="2188801"/>
              <a:ext cx="73224" cy="73192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33" name="Shape 10525"/>
            <p:cNvSpPr/>
            <p:nvPr/>
          </p:nvSpPr>
          <p:spPr>
            <a:xfrm flipV="1">
              <a:off x="2924911" y="2201000"/>
              <a:ext cx="48816" cy="48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34" name="泪滴形 2233"/>
            <p:cNvSpPr/>
            <p:nvPr/>
          </p:nvSpPr>
          <p:spPr>
            <a:xfrm rot="13392341" flipV="1">
              <a:off x="3760618" y="2346684"/>
              <a:ext cx="73224" cy="73192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35" name="Shape 10525"/>
            <p:cNvSpPr/>
            <p:nvPr/>
          </p:nvSpPr>
          <p:spPr>
            <a:xfrm flipV="1">
              <a:off x="3772822" y="2358883"/>
              <a:ext cx="48816" cy="48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36" name="泪滴形 2235"/>
            <p:cNvSpPr/>
            <p:nvPr/>
          </p:nvSpPr>
          <p:spPr>
            <a:xfrm rot="13392341" flipV="1">
              <a:off x="3589750" y="2328747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37" name="Shape 10525"/>
            <p:cNvSpPr/>
            <p:nvPr/>
          </p:nvSpPr>
          <p:spPr>
            <a:xfrm flipV="1">
              <a:off x="3597886" y="2336880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38" name="泪滴形 2237"/>
            <p:cNvSpPr/>
            <p:nvPr/>
          </p:nvSpPr>
          <p:spPr>
            <a:xfrm rot="13392341" flipV="1">
              <a:off x="3314766" y="2455782"/>
              <a:ext cx="73224" cy="73192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39" name="Shape 10525"/>
            <p:cNvSpPr/>
            <p:nvPr/>
          </p:nvSpPr>
          <p:spPr>
            <a:xfrm flipV="1">
              <a:off x="3326970" y="2467981"/>
              <a:ext cx="48816" cy="48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40" name="泪滴形 2239"/>
            <p:cNvSpPr/>
            <p:nvPr/>
          </p:nvSpPr>
          <p:spPr>
            <a:xfrm rot="13392341" flipV="1">
              <a:off x="2478859" y="2499540"/>
              <a:ext cx="73224" cy="73192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41" name="Shape 10525"/>
            <p:cNvSpPr/>
            <p:nvPr/>
          </p:nvSpPr>
          <p:spPr>
            <a:xfrm flipV="1">
              <a:off x="2491063" y="2511739"/>
              <a:ext cx="48816" cy="48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42" name="泪滴形 2241"/>
            <p:cNvSpPr/>
            <p:nvPr/>
          </p:nvSpPr>
          <p:spPr>
            <a:xfrm rot="13392341" flipV="1">
              <a:off x="3199178" y="3060752"/>
              <a:ext cx="73224" cy="73192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43" name="Shape 10525"/>
            <p:cNvSpPr/>
            <p:nvPr/>
          </p:nvSpPr>
          <p:spPr>
            <a:xfrm flipV="1">
              <a:off x="3211382" y="3072951"/>
              <a:ext cx="48816" cy="487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44" name="泪滴形 2243"/>
            <p:cNvSpPr/>
            <p:nvPr/>
          </p:nvSpPr>
          <p:spPr>
            <a:xfrm rot="13392341" flipV="1">
              <a:off x="3321224" y="3060752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45" name="Shape 10525"/>
            <p:cNvSpPr/>
            <p:nvPr/>
          </p:nvSpPr>
          <p:spPr>
            <a:xfrm flipV="1">
              <a:off x="3329360" y="3068885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46" name="泪滴形 2245"/>
            <p:cNvSpPr/>
            <p:nvPr/>
          </p:nvSpPr>
          <p:spPr>
            <a:xfrm rot="13392341" flipV="1">
              <a:off x="2741186" y="2530145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47" name="Shape 10525"/>
            <p:cNvSpPr/>
            <p:nvPr/>
          </p:nvSpPr>
          <p:spPr>
            <a:xfrm flipV="1">
              <a:off x="2749322" y="2538278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48" name="泪滴形 2247"/>
            <p:cNvSpPr/>
            <p:nvPr/>
          </p:nvSpPr>
          <p:spPr>
            <a:xfrm rot="13392341" flipV="1">
              <a:off x="3131663" y="2671962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49" name="Shape 10525"/>
            <p:cNvSpPr/>
            <p:nvPr/>
          </p:nvSpPr>
          <p:spPr>
            <a:xfrm flipV="1">
              <a:off x="3139799" y="2680095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50" name="泪滴形 2249"/>
            <p:cNvSpPr/>
            <p:nvPr/>
          </p:nvSpPr>
          <p:spPr>
            <a:xfrm rot="13392341" flipV="1">
              <a:off x="3564030" y="2930257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51" name="Shape 10525"/>
            <p:cNvSpPr/>
            <p:nvPr/>
          </p:nvSpPr>
          <p:spPr>
            <a:xfrm flipV="1">
              <a:off x="3572166" y="2938390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52" name="泪滴形 2251"/>
            <p:cNvSpPr/>
            <p:nvPr/>
          </p:nvSpPr>
          <p:spPr>
            <a:xfrm rot="13392341" flipV="1">
              <a:off x="3437420" y="2356949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53" name="Shape 10525"/>
            <p:cNvSpPr/>
            <p:nvPr/>
          </p:nvSpPr>
          <p:spPr>
            <a:xfrm flipV="1">
              <a:off x="3445556" y="2365082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54" name="泪滴形 2253"/>
            <p:cNvSpPr/>
            <p:nvPr/>
          </p:nvSpPr>
          <p:spPr>
            <a:xfrm rot="13392341" flipV="1">
              <a:off x="3528086" y="2189367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55" name="Shape 10525"/>
            <p:cNvSpPr/>
            <p:nvPr/>
          </p:nvSpPr>
          <p:spPr>
            <a:xfrm flipV="1">
              <a:off x="3536222" y="2197500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56" name="泪滴形 2255"/>
            <p:cNvSpPr/>
            <p:nvPr/>
          </p:nvSpPr>
          <p:spPr>
            <a:xfrm rot="13392341" flipV="1">
              <a:off x="3658762" y="2481407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57" name="Shape 10525"/>
            <p:cNvSpPr/>
            <p:nvPr/>
          </p:nvSpPr>
          <p:spPr>
            <a:xfrm flipV="1">
              <a:off x="3666898" y="2489540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58" name="泪滴形 2257"/>
            <p:cNvSpPr/>
            <p:nvPr/>
          </p:nvSpPr>
          <p:spPr>
            <a:xfrm rot="13392341" flipV="1">
              <a:off x="3422213" y="1985343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59" name="Shape 10525"/>
            <p:cNvSpPr/>
            <p:nvPr/>
          </p:nvSpPr>
          <p:spPr>
            <a:xfrm flipV="1">
              <a:off x="3430349" y="1993476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60" name="泪滴形 2259"/>
            <p:cNvSpPr/>
            <p:nvPr/>
          </p:nvSpPr>
          <p:spPr>
            <a:xfrm rot="13392341" flipV="1">
              <a:off x="3582008" y="1983092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61" name="Shape 10525"/>
            <p:cNvSpPr/>
            <p:nvPr/>
          </p:nvSpPr>
          <p:spPr>
            <a:xfrm flipV="1">
              <a:off x="3590144" y="1991225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62" name="泪滴形 2261"/>
            <p:cNvSpPr/>
            <p:nvPr/>
          </p:nvSpPr>
          <p:spPr>
            <a:xfrm rot="13392341" flipV="1">
              <a:off x="3227985" y="1901899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63" name="Shape 10525"/>
            <p:cNvSpPr/>
            <p:nvPr/>
          </p:nvSpPr>
          <p:spPr>
            <a:xfrm flipV="1">
              <a:off x="3236121" y="1910032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64" name="泪滴形 2263"/>
            <p:cNvSpPr/>
            <p:nvPr/>
          </p:nvSpPr>
          <p:spPr>
            <a:xfrm rot="13392341" flipV="1">
              <a:off x="3064617" y="1886916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65" name="Shape 10525"/>
            <p:cNvSpPr/>
            <p:nvPr/>
          </p:nvSpPr>
          <p:spPr>
            <a:xfrm flipV="1">
              <a:off x="3072753" y="1895049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66" name="泪滴形 2265"/>
            <p:cNvSpPr/>
            <p:nvPr/>
          </p:nvSpPr>
          <p:spPr>
            <a:xfrm rot="13392341" flipV="1">
              <a:off x="3656912" y="1727339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67" name="Shape 10525"/>
            <p:cNvSpPr/>
            <p:nvPr/>
          </p:nvSpPr>
          <p:spPr>
            <a:xfrm flipV="1">
              <a:off x="3665048" y="1735472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68" name="泪滴形 2267"/>
            <p:cNvSpPr/>
            <p:nvPr/>
          </p:nvSpPr>
          <p:spPr>
            <a:xfrm rot="13392341" flipV="1">
              <a:off x="3173206" y="2157925"/>
              <a:ext cx="48816" cy="48795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69" name="Shape 10525"/>
            <p:cNvSpPr/>
            <p:nvPr/>
          </p:nvSpPr>
          <p:spPr>
            <a:xfrm flipV="1">
              <a:off x="3181342" y="2166058"/>
              <a:ext cx="32544" cy="32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11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70" name="未知"/>
            <p:cNvSpPr>
              <a:spLocks/>
            </p:cNvSpPr>
            <p:nvPr/>
          </p:nvSpPr>
          <p:spPr bwMode="auto">
            <a:xfrm>
              <a:off x="3299769" y="1677127"/>
              <a:ext cx="73220" cy="7322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/>
            <a:lstStyle/>
            <a:p>
              <a:pPr defTabSz="914354">
                <a:defRPr/>
              </a:pPr>
              <a:endParaRPr lang="zh-CN" altLang="en-US" sz="1500">
                <a:solidFill>
                  <a:srgbClr val="000000"/>
                </a:solidFill>
                <a:effectLst>
                  <a:glow rad="228600">
                    <a:srgbClr val="333399">
                      <a:satMod val="175000"/>
                      <a:alpha val="40000"/>
                    </a:srgbClr>
                  </a:glow>
                </a:effectLst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71" name="未知"/>
            <p:cNvSpPr>
              <a:spLocks/>
            </p:cNvSpPr>
            <p:nvPr/>
          </p:nvSpPr>
          <p:spPr bwMode="auto">
            <a:xfrm>
              <a:off x="3770100" y="2342619"/>
              <a:ext cx="73220" cy="7322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/>
            <a:lstStyle/>
            <a:p>
              <a:pPr defTabSz="914354">
                <a:defRPr/>
              </a:pPr>
              <a:endParaRPr lang="zh-CN" altLang="en-US" sz="1500">
                <a:solidFill>
                  <a:srgbClr val="000000"/>
                </a:solidFill>
                <a:effectLst>
                  <a:glow rad="228600">
                    <a:srgbClr val="333399">
                      <a:satMod val="175000"/>
                      <a:alpha val="40000"/>
                    </a:srgbClr>
                  </a:glow>
                </a:effectLst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72" name="未知"/>
            <p:cNvSpPr>
              <a:spLocks/>
            </p:cNvSpPr>
            <p:nvPr/>
          </p:nvSpPr>
          <p:spPr bwMode="auto">
            <a:xfrm>
              <a:off x="3303076" y="1732098"/>
              <a:ext cx="73220" cy="7322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/>
            <a:lstStyle/>
            <a:p>
              <a:pPr defTabSz="914354">
                <a:defRPr/>
              </a:pPr>
              <a:endParaRPr lang="zh-CN" altLang="en-US" sz="1500">
                <a:solidFill>
                  <a:srgbClr val="000000"/>
                </a:solidFill>
                <a:effectLst>
                  <a:glow rad="228600">
                    <a:srgbClr val="333399">
                      <a:satMod val="175000"/>
                      <a:alpha val="40000"/>
                    </a:srgbClr>
                  </a:glow>
                </a:effectLst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73" name="未知"/>
            <p:cNvSpPr>
              <a:spLocks/>
            </p:cNvSpPr>
            <p:nvPr/>
          </p:nvSpPr>
          <p:spPr bwMode="auto">
            <a:xfrm>
              <a:off x="3725903" y="1476925"/>
              <a:ext cx="73220" cy="7322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/>
            <a:lstStyle/>
            <a:p>
              <a:pPr defTabSz="914354">
                <a:defRPr/>
              </a:pPr>
              <a:endParaRPr lang="zh-CN" altLang="en-US" sz="1500">
                <a:solidFill>
                  <a:srgbClr val="000000"/>
                </a:solidFill>
                <a:effectLst>
                  <a:glow rad="228600">
                    <a:srgbClr val="333399">
                      <a:satMod val="175000"/>
                      <a:alpha val="40000"/>
                    </a:srgbClr>
                  </a:glow>
                </a:effectLst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74" name="未知"/>
            <p:cNvSpPr>
              <a:spLocks/>
            </p:cNvSpPr>
            <p:nvPr/>
          </p:nvSpPr>
          <p:spPr bwMode="auto">
            <a:xfrm>
              <a:off x="2850928" y="2171862"/>
              <a:ext cx="73220" cy="7322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/>
            <a:lstStyle/>
            <a:p>
              <a:pPr defTabSz="914354">
                <a:defRPr/>
              </a:pPr>
              <a:endParaRPr lang="zh-CN" altLang="en-US" sz="1500">
                <a:solidFill>
                  <a:srgbClr val="000000"/>
                </a:solidFill>
                <a:effectLst>
                  <a:glow rad="228600">
                    <a:srgbClr val="333399">
                      <a:satMod val="175000"/>
                      <a:alpha val="40000"/>
                    </a:srgbClr>
                  </a:glow>
                </a:effectLst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75" name="未知"/>
            <p:cNvSpPr>
              <a:spLocks/>
            </p:cNvSpPr>
            <p:nvPr/>
          </p:nvSpPr>
          <p:spPr bwMode="auto">
            <a:xfrm>
              <a:off x="2483175" y="2463021"/>
              <a:ext cx="73220" cy="7322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/>
            <a:lstStyle/>
            <a:p>
              <a:pPr defTabSz="914354">
                <a:defRPr/>
              </a:pPr>
              <a:endParaRPr lang="zh-CN" altLang="en-US" sz="1500">
                <a:solidFill>
                  <a:srgbClr val="000000"/>
                </a:solidFill>
                <a:effectLst>
                  <a:glow rad="228600">
                    <a:srgbClr val="333399">
                      <a:satMod val="175000"/>
                      <a:alpha val="40000"/>
                    </a:srgbClr>
                  </a:glow>
                </a:effectLst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76" name="未知"/>
            <p:cNvSpPr>
              <a:spLocks/>
            </p:cNvSpPr>
            <p:nvPr/>
          </p:nvSpPr>
          <p:spPr bwMode="auto">
            <a:xfrm>
              <a:off x="3240466" y="2443175"/>
              <a:ext cx="73220" cy="7322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/>
            <a:lstStyle/>
            <a:p>
              <a:pPr defTabSz="914354">
                <a:defRPr/>
              </a:pPr>
              <a:endParaRPr lang="zh-CN" altLang="en-US" sz="1500">
                <a:solidFill>
                  <a:srgbClr val="000000"/>
                </a:solidFill>
                <a:effectLst>
                  <a:glow rad="228600">
                    <a:srgbClr val="333399">
                      <a:satMod val="175000"/>
                      <a:alpha val="40000"/>
                    </a:srgbClr>
                  </a:glow>
                </a:effectLst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77" name="等腰三角形 2276"/>
            <p:cNvSpPr/>
            <p:nvPr/>
          </p:nvSpPr>
          <p:spPr>
            <a:xfrm>
              <a:off x="3787361" y="1484758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78" name="等腰三角形 2277"/>
            <p:cNvSpPr/>
            <p:nvPr/>
          </p:nvSpPr>
          <p:spPr>
            <a:xfrm>
              <a:off x="3372194" y="1731432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79" name="等腰三角形 2278"/>
            <p:cNvSpPr/>
            <p:nvPr/>
          </p:nvSpPr>
          <p:spPr>
            <a:xfrm>
              <a:off x="3553586" y="1957826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80" name="等腰三角形 2279"/>
            <p:cNvSpPr/>
            <p:nvPr/>
          </p:nvSpPr>
          <p:spPr>
            <a:xfrm>
              <a:off x="3444462" y="1951368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81" name="等腰三角形 2280"/>
            <p:cNvSpPr/>
            <p:nvPr/>
          </p:nvSpPr>
          <p:spPr>
            <a:xfrm>
              <a:off x="3249188" y="1744608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82" name="等腰三角形 2281"/>
            <p:cNvSpPr/>
            <p:nvPr/>
          </p:nvSpPr>
          <p:spPr>
            <a:xfrm>
              <a:off x="3229816" y="1669959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83" name="等腰三角形 2282"/>
            <p:cNvSpPr/>
            <p:nvPr/>
          </p:nvSpPr>
          <p:spPr>
            <a:xfrm>
              <a:off x="3210198" y="2128960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84" name="等腰三角形 2283"/>
            <p:cNvSpPr/>
            <p:nvPr/>
          </p:nvSpPr>
          <p:spPr>
            <a:xfrm>
              <a:off x="2785102" y="2168539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85" name="等腰三角形 2284"/>
            <p:cNvSpPr/>
            <p:nvPr/>
          </p:nvSpPr>
          <p:spPr>
            <a:xfrm>
              <a:off x="3185289" y="2446667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86" name="等腰三角形 2285"/>
            <p:cNvSpPr/>
            <p:nvPr/>
          </p:nvSpPr>
          <p:spPr>
            <a:xfrm>
              <a:off x="2423175" y="2466039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87" name="等腰三角形 2286"/>
            <p:cNvSpPr/>
            <p:nvPr/>
          </p:nvSpPr>
          <p:spPr>
            <a:xfrm>
              <a:off x="2739584" y="2536241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88" name="等腰三角形 2287"/>
            <p:cNvSpPr/>
            <p:nvPr/>
          </p:nvSpPr>
          <p:spPr>
            <a:xfrm>
              <a:off x="3107760" y="2647432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89" name="等腰三角形 2288"/>
            <p:cNvSpPr/>
            <p:nvPr/>
          </p:nvSpPr>
          <p:spPr>
            <a:xfrm>
              <a:off x="2887538" y="3094119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90" name="等腰三角形 2289"/>
            <p:cNvSpPr/>
            <p:nvPr/>
          </p:nvSpPr>
          <p:spPr>
            <a:xfrm>
              <a:off x="3551524" y="2322785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91" name="等腰三角形 2290"/>
            <p:cNvSpPr/>
            <p:nvPr/>
          </p:nvSpPr>
          <p:spPr>
            <a:xfrm>
              <a:off x="3537217" y="2901044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92" name="等腰三角形 2291"/>
            <p:cNvSpPr/>
            <p:nvPr/>
          </p:nvSpPr>
          <p:spPr>
            <a:xfrm>
              <a:off x="3091385" y="3075046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93" name="等腰三角形 2292"/>
            <p:cNvSpPr/>
            <p:nvPr/>
          </p:nvSpPr>
          <p:spPr>
            <a:xfrm>
              <a:off x="3266843" y="2997668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94" name="未知"/>
            <p:cNvSpPr>
              <a:spLocks/>
            </p:cNvSpPr>
            <p:nvPr/>
          </p:nvSpPr>
          <p:spPr bwMode="auto">
            <a:xfrm>
              <a:off x="3217735" y="3043338"/>
              <a:ext cx="73220" cy="7322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/>
            <a:lstStyle/>
            <a:p>
              <a:pPr defTabSz="914354">
                <a:defRPr/>
              </a:pPr>
              <a:endParaRPr lang="zh-CN" altLang="en-US" sz="1500">
                <a:solidFill>
                  <a:srgbClr val="000000"/>
                </a:solidFill>
                <a:effectLst>
                  <a:glow rad="228600">
                    <a:srgbClr val="333399">
                      <a:satMod val="175000"/>
                      <a:alpha val="40000"/>
                    </a:srgbClr>
                  </a:glow>
                </a:effectLst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95" name="等腰三角形 2294"/>
            <p:cNvSpPr/>
            <p:nvPr/>
          </p:nvSpPr>
          <p:spPr>
            <a:xfrm>
              <a:off x="3352144" y="3094736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96" name="等腰三角形 2295"/>
            <p:cNvSpPr/>
            <p:nvPr/>
          </p:nvSpPr>
          <p:spPr>
            <a:xfrm>
              <a:off x="3712957" y="2341917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97" name="等腰三角形 2296"/>
            <p:cNvSpPr/>
            <p:nvPr/>
          </p:nvSpPr>
          <p:spPr>
            <a:xfrm>
              <a:off x="3628824" y="2471075"/>
              <a:ext cx="73220" cy="73220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3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298" name="形状 281"/>
            <p:cNvSpPr/>
            <p:nvPr/>
          </p:nvSpPr>
          <p:spPr>
            <a:xfrm rot="9441086" flipV="1">
              <a:off x="2557827" y="1950817"/>
              <a:ext cx="279413" cy="340100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299" name="形状 281"/>
            <p:cNvSpPr/>
            <p:nvPr/>
          </p:nvSpPr>
          <p:spPr>
            <a:xfrm rot="9441086" flipH="1" flipV="1">
              <a:off x="2807237" y="1867406"/>
              <a:ext cx="187456" cy="307567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00" name="形状 281"/>
            <p:cNvSpPr/>
            <p:nvPr/>
          </p:nvSpPr>
          <p:spPr>
            <a:xfrm rot="9441086" flipV="1">
              <a:off x="2267868" y="2112046"/>
              <a:ext cx="601394" cy="236858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01" name="形状 281"/>
            <p:cNvSpPr/>
            <p:nvPr/>
          </p:nvSpPr>
          <p:spPr>
            <a:xfrm rot="9441086" flipH="1" flipV="1">
              <a:off x="3635392" y="1131998"/>
              <a:ext cx="214923" cy="378856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defTabSz="914354"/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02" name="形状 281"/>
            <p:cNvSpPr/>
            <p:nvPr/>
          </p:nvSpPr>
          <p:spPr>
            <a:xfrm rot="11148608" flipH="1" flipV="1">
              <a:off x="3778436" y="1263312"/>
              <a:ext cx="311103" cy="262023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defTabSz="914354"/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03" name="形状 281"/>
            <p:cNvSpPr/>
            <p:nvPr/>
          </p:nvSpPr>
          <p:spPr>
            <a:xfrm rot="19576570" flipH="1" flipV="1">
              <a:off x="3645105" y="1528295"/>
              <a:ext cx="205856" cy="255637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defTabSz="914354"/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04" name="形状 281"/>
            <p:cNvSpPr/>
            <p:nvPr/>
          </p:nvSpPr>
          <p:spPr>
            <a:xfrm rot="9441086" flipV="1">
              <a:off x="3012562" y="1468164"/>
              <a:ext cx="289057" cy="345804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defTabSz="914354"/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05" name="形状 281"/>
            <p:cNvSpPr/>
            <p:nvPr/>
          </p:nvSpPr>
          <p:spPr>
            <a:xfrm rot="19576570" flipH="1" flipV="1">
              <a:off x="3340654" y="2000972"/>
              <a:ext cx="148980" cy="106707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06" name="形状 281"/>
            <p:cNvSpPr/>
            <p:nvPr/>
          </p:nvSpPr>
          <p:spPr>
            <a:xfrm rot="20340311" flipH="1" flipV="1">
              <a:off x="3100304" y="1737313"/>
              <a:ext cx="311103" cy="262023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07" name="形状 281"/>
            <p:cNvSpPr/>
            <p:nvPr/>
          </p:nvSpPr>
          <p:spPr>
            <a:xfrm rot="13062009" flipH="1" flipV="1">
              <a:off x="3313926" y="1673093"/>
              <a:ext cx="136261" cy="131393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08" name="形状 281"/>
            <p:cNvSpPr/>
            <p:nvPr/>
          </p:nvSpPr>
          <p:spPr>
            <a:xfrm rot="12515798" flipH="1" flipV="1">
              <a:off x="2537901" y="2413296"/>
              <a:ext cx="184239" cy="149070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09" name="形状 281"/>
            <p:cNvSpPr/>
            <p:nvPr/>
          </p:nvSpPr>
          <p:spPr>
            <a:xfrm rot="18008875" flipH="1" flipV="1">
              <a:off x="2220903" y="2641210"/>
              <a:ext cx="534744" cy="254125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10" name="形状 281"/>
            <p:cNvSpPr/>
            <p:nvPr/>
          </p:nvSpPr>
          <p:spPr>
            <a:xfrm rot="13062009" flipV="1">
              <a:off x="2366253" y="2251442"/>
              <a:ext cx="223077" cy="197447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11" name="形状 281"/>
            <p:cNvSpPr/>
            <p:nvPr/>
          </p:nvSpPr>
          <p:spPr>
            <a:xfrm rot="18249163" flipH="1" flipV="1">
              <a:off x="2491019" y="2529988"/>
              <a:ext cx="245075" cy="366814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12" name="形状 281"/>
            <p:cNvSpPr/>
            <p:nvPr/>
          </p:nvSpPr>
          <p:spPr>
            <a:xfrm rot="9441086" flipV="1">
              <a:off x="3021610" y="2879775"/>
              <a:ext cx="166740" cy="210198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13" name="形状 281"/>
            <p:cNvSpPr/>
            <p:nvPr/>
          </p:nvSpPr>
          <p:spPr>
            <a:xfrm rot="12186894" flipH="1" flipV="1">
              <a:off x="3280947" y="2832950"/>
              <a:ext cx="250187" cy="328832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14" name="形状 281"/>
            <p:cNvSpPr/>
            <p:nvPr/>
          </p:nvSpPr>
          <p:spPr>
            <a:xfrm rot="17472201" flipH="1" flipV="1">
              <a:off x="3256793" y="2499804"/>
              <a:ext cx="212497" cy="246075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15" name="形状 281"/>
            <p:cNvSpPr/>
            <p:nvPr/>
          </p:nvSpPr>
          <p:spPr>
            <a:xfrm rot="19967761" flipH="1">
              <a:off x="3115672" y="2324674"/>
              <a:ext cx="137065" cy="182109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16" name="形状 281"/>
            <p:cNvSpPr/>
            <p:nvPr/>
          </p:nvSpPr>
          <p:spPr>
            <a:xfrm rot="11204631" flipV="1">
              <a:off x="3585071" y="2134232"/>
              <a:ext cx="220377" cy="269398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17" name="形状 281"/>
            <p:cNvSpPr/>
            <p:nvPr/>
          </p:nvSpPr>
          <p:spPr>
            <a:xfrm rot="20199738" flipH="1" flipV="1">
              <a:off x="3648683" y="2390863"/>
              <a:ext cx="205856" cy="254016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18" name="形状 281"/>
            <p:cNvSpPr/>
            <p:nvPr/>
          </p:nvSpPr>
          <p:spPr>
            <a:xfrm rot="573986" flipH="1" flipV="1">
              <a:off x="3463568" y="2347377"/>
              <a:ext cx="329001" cy="161707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19" name="形状 281"/>
            <p:cNvSpPr/>
            <p:nvPr/>
          </p:nvSpPr>
          <p:spPr>
            <a:xfrm rot="8703193" flipV="1">
              <a:off x="3517817" y="2264398"/>
              <a:ext cx="223077" cy="197447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20" name="形状 281"/>
            <p:cNvSpPr/>
            <p:nvPr/>
          </p:nvSpPr>
          <p:spPr>
            <a:xfrm rot="11071640" flipV="1">
              <a:off x="2739574" y="1842936"/>
              <a:ext cx="186204" cy="353047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21" name="形状 281"/>
            <p:cNvSpPr/>
            <p:nvPr/>
          </p:nvSpPr>
          <p:spPr>
            <a:xfrm rot="20688906" flipH="1" flipV="1">
              <a:off x="2401819" y="2616133"/>
              <a:ext cx="360911" cy="246525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22" name="形状 281"/>
            <p:cNvSpPr/>
            <p:nvPr/>
          </p:nvSpPr>
          <p:spPr>
            <a:xfrm rot="18249163" flipH="1" flipV="1">
              <a:off x="2712577" y="2644297"/>
              <a:ext cx="147464" cy="105935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23" name="形状 281"/>
            <p:cNvSpPr/>
            <p:nvPr/>
          </p:nvSpPr>
          <p:spPr>
            <a:xfrm rot="9459469" flipH="1" flipV="1">
              <a:off x="3494154" y="2798764"/>
              <a:ext cx="134241" cy="140909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24" name="形状 281"/>
            <p:cNvSpPr/>
            <p:nvPr/>
          </p:nvSpPr>
          <p:spPr>
            <a:xfrm rot="1165849" flipH="1" flipV="1">
              <a:off x="2947684" y="2643341"/>
              <a:ext cx="147715" cy="184487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25" name="形状 281"/>
            <p:cNvSpPr/>
            <p:nvPr/>
          </p:nvSpPr>
          <p:spPr>
            <a:xfrm rot="17472201" flipH="1" flipV="1">
              <a:off x="3290246" y="2482534"/>
              <a:ext cx="119793" cy="173779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26" name="形状 281"/>
            <p:cNvSpPr/>
            <p:nvPr/>
          </p:nvSpPr>
          <p:spPr>
            <a:xfrm rot="19967761" flipH="1">
              <a:off x="3119702" y="2327539"/>
              <a:ext cx="137065" cy="182109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27" name="形状 281"/>
            <p:cNvSpPr/>
            <p:nvPr/>
          </p:nvSpPr>
          <p:spPr>
            <a:xfrm rot="14981877" flipV="1">
              <a:off x="3443035" y="1600988"/>
              <a:ext cx="49370" cy="237729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28" name="形状 281"/>
            <p:cNvSpPr/>
            <p:nvPr/>
          </p:nvSpPr>
          <p:spPr>
            <a:xfrm rot="6669107" flipV="1">
              <a:off x="3633943" y="1421798"/>
              <a:ext cx="107280" cy="177550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defTabSz="914354"/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29" name="形状 281"/>
            <p:cNvSpPr/>
            <p:nvPr/>
          </p:nvSpPr>
          <p:spPr>
            <a:xfrm rot="19576570" flipH="1" flipV="1">
              <a:off x="3233462" y="1796634"/>
              <a:ext cx="205856" cy="255637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30" name="形状 281"/>
            <p:cNvSpPr/>
            <p:nvPr/>
          </p:nvSpPr>
          <p:spPr>
            <a:xfrm rot="8878532">
              <a:off x="2482711" y="2454995"/>
              <a:ext cx="56116" cy="170857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31" name="形状 281"/>
            <p:cNvSpPr/>
            <p:nvPr/>
          </p:nvSpPr>
          <p:spPr>
            <a:xfrm rot="1582893" flipH="1" flipV="1">
              <a:off x="3009892" y="2378460"/>
              <a:ext cx="193391" cy="167507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32" name="形状 281"/>
            <p:cNvSpPr/>
            <p:nvPr/>
          </p:nvSpPr>
          <p:spPr>
            <a:xfrm rot="9459469" flipH="1" flipV="1">
              <a:off x="3311285" y="2930889"/>
              <a:ext cx="192680" cy="236813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33" name="形状 281"/>
            <p:cNvSpPr/>
            <p:nvPr/>
          </p:nvSpPr>
          <p:spPr>
            <a:xfrm rot="6903246" flipV="1">
              <a:off x="3040366" y="2108548"/>
              <a:ext cx="182205" cy="126802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34" name="形状 281"/>
            <p:cNvSpPr/>
            <p:nvPr/>
          </p:nvSpPr>
          <p:spPr>
            <a:xfrm rot="9676657" flipH="1" flipV="1">
              <a:off x="3375776" y="2147884"/>
              <a:ext cx="184045" cy="216012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35" name="形状 281"/>
            <p:cNvSpPr/>
            <p:nvPr/>
          </p:nvSpPr>
          <p:spPr>
            <a:xfrm rot="20191262" flipH="1" flipV="1">
              <a:off x="2941004" y="3110818"/>
              <a:ext cx="353022" cy="254016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defTabSz="914354"/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36" name="形状 281"/>
            <p:cNvSpPr/>
            <p:nvPr/>
          </p:nvSpPr>
          <p:spPr>
            <a:xfrm rot="8755602" flipV="1">
              <a:off x="2817109" y="2972036"/>
              <a:ext cx="379359" cy="217873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defTabSz="914354"/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37" name="形状 281"/>
            <p:cNvSpPr/>
            <p:nvPr/>
          </p:nvSpPr>
          <p:spPr>
            <a:xfrm rot="11709949" flipV="1">
              <a:off x="1756996" y="1664697"/>
              <a:ext cx="1157747" cy="350761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54">
                <a:defRPr/>
              </a:pPr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38" name="形状 281"/>
            <p:cNvSpPr/>
            <p:nvPr/>
          </p:nvSpPr>
          <p:spPr>
            <a:xfrm rot="9441086" flipV="1">
              <a:off x="1814923" y="2334717"/>
              <a:ext cx="680987" cy="352999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defTabSz="914354"/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39" name="文本框 3018"/>
            <p:cNvSpPr txBox="1"/>
            <p:nvPr/>
          </p:nvSpPr>
          <p:spPr>
            <a:xfrm>
              <a:off x="3196273" y="1577204"/>
              <a:ext cx="292879" cy="97626"/>
            </a:xfrm>
            <a:prstGeom prst="ellipse">
              <a:avLst/>
            </a:prstGeom>
            <a:solidFill>
              <a:srgbClr val="FFFFFF">
                <a:alpha val="80000"/>
              </a:srgb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500" b="1" dirty="0">
                  <a:solidFill>
                    <a:srgbClr val="777777"/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北京</a:t>
              </a:r>
            </a:p>
          </p:txBody>
        </p:sp>
        <p:sp>
          <p:nvSpPr>
            <p:cNvPr id="2340" name="文本框 3019"/>
            <p:cNvSpPr txBox="1"/>
            <p:nvPr/>
          </p:nvSpPr>
          <p:spPr>
            <a:xfrm>
              <a:off x="3635139" y="1395801"/>
              <a:ext cx="292879" cy="97626"/>
            </a:xfrm>
            <a:prstGeom prst="ellipse">
              <a:avLst/>
            </a:prstGeom>
            <a:solidFill>
              <a:srgbClr val="FFFFFF">
                <a:alpha val="80000"/>
              </a:srgbClr>
            </a:solidFill>
          </p:spPr>
          <p:txBody>
            <a:bodyPr wrap="square" lIns="0" tIns="0" rIns="0" bIns="0" rtlCol="0" anchor="ctr">
              <a:noAutofit/>
            </a:bodyPr>
            <a:lstStyle>
              <a:defPPr>
                <a:defRPr lang="zh-CN"/>
              </a:defPPr>
              <a:lvl1pPr algn="ctr" defTabSz="914400" fontAlgn="base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rgbClr val="C00000"/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+mn-ea"/>
                </a:defRPr>
              </a:lvl1pPr>
            </a:lstStyle>
            <a:p>
              <a:r>
                <a:rPr lang="zh-CN" altLang="en-US" sz="500" dirty="0">
                  <a:solidFill>
                    <a:srgbClr val="77777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楷体" panose="02010609060101010101" pitchFamily="49" charset="-122"/>
                </a:rPr>
                <a:t>沈阳</a:t>
              </a:r>
            </a:p>
          </p:txBody>
        </p:sp>
        <p:sp>
          <p:nvSpPr>
            <p:cNvPr id="2341" name="文本框 3020"/>
            <p:cNvSpPr txBox="1"/>
            <p:nvPr/>
          </p:nvSpPr>
          <p:spPr>
            <a:xfrm>
              <a:off x="3133721" y="2369408"/>
              <a:ext cx="292879" cy="97626"/>
            </a:xfrm>
            <a:prstGeom prst="ellipse">
              <a:avLst/>
            </a:prstGeom>
            <a:solidFill>
              <a:srgbClr val="FFFFFF">
                <a:alpha val="80000"/>
              </a:srgb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500" b="1" dirty="0">
                  <a:solidFill>
                    <a:srgbClr val="777777"/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武汉</a:t>
              </a:r>
            </a:p>
          </p:txBody>
        </p:sp>
        <p:sp>
          <p:nvSpPr>
            <p:cNvPr id="2342" name="文本框 3021"/>
            <p:cNvSpPr txBox="1"/>
            <p:nvPr/>
          </p:nvSpPr>
          <p:spPr>
            <a:xfrm>
              <a:off x="2761111" y="2089645"/>
              <a:ext cx="292879" cy="97626"/>
            </a:xfrm>
            <a:prstGeom prst="ellipse">
              <a:avLst/>
            </a:prstGeom>
            <a:solidFill>
              <a:srgbClr val="FFFFFF">
                <a:alpha val="80000"/>
              </a:srgb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500" b="1" dirty="0">
                  <a:solidFill>
                    <a:srgbClr val="777777"/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西安</a:t>
              </a:r>
            </a:p>
          </p:txBody>
        </p:sp>
        <p:sp>
          <p:nvSpPr>
            <p:cNvPr id="2343" name="文本框 3022"/>
            <p:cNvSpPr txBox="1"/>
            <p:nvPr/>
          </p:nvSpPr>
          <p:spPr>
            <a:xfrm>
              <a:off x="2367089" y="2386768"/>
              <a:ext cx="292879" cy="97626"/>
            </a:xfrm>
            <a:prstGeom prst="ellipse">
              <a:avLst/>
            </a:prstGeom>
            <a:solidFill>
              <a:srgbClr val="FFFFFF">
                <a:alpha val="80000"/>
              </a:srgb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500" b="1" dirty="0">
                  <a:solidFill>
                    <a:srgbClr val="777777"/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成都</a:t>
              </a:r>
            </a:p>
          </p:txBody>
        </p:sp>
        <p:sp>
          <p:nvSpPr>
            <p:cNvPr id="2344" name="文本框 3023"/>
            <p:cNvSpPr txBox="1"/>
            <p:nvPr/>
          </p:nvSpPr>
          <p:spPr>
            <a:xfrm>
              <a:off x="3662929" y="2259377"/>
              <a:ext cx="292879" cy="97626"/>
            </a:xfrm>
            <a:prstGeom prst="ellipse">
              <a:avLst/>
            </a:prstGeom>
            <a:solidFill>
              <a:srgbClr val="FFFFFF">
                <a:alpha val="80000"/>
              </a:srgb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500" b="1" dirty="0">
                  <a:solidFill>
                    <a:srgbClr val="777777"/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上海</a:t>
              </a:r>
            </a:p>
          </p:txBody>
        </p:sp>
        <p:sp>
          <p:nvSpPr>
            <p:cNvPr id="2345" name="文本框 3024"/>
            <p:cNvSpPr txBox="1"/>
            <p:nvPr/>
          </p:nvSpPr>
          <p:spPr>
            <a:xfrm>
              <a:off x="3123087" y="2950243"/>
              <a:ext cx="292879" cy="97626"/>
            </a:xfrm>
            <a:prstGeom prst="ellipse">
              <a:avLst/>
            </a:prstGeom>
            <a:solidFill>
              <a:srgbClr val="FFFFFF">
                <a:alpha val="80000"/>
              </a:srgb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500" b="1" dirty="0">
                  <a:solidFill>
                    <a:srgbClr val="777777"/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广州</a:t>
              </a:r>
            </a:p>
          </p:txBody>
        </p:sp>
        <p:sp>
          <p:nvSpPr>
            <p:cNvPr id="2346" name="形状 281"/>
            <p:cNvSpPr/>
            <p:nvPr/>
          </p:nvSpPr>
          <p:spPr>
            <a:xfrm rot="1165849" flipH="1" flipV="1">
              <a:off x="3033530" y="2445146"/>
              <a:ext cx="236024" cy="278362"/>
            </a:xfrm>
            <a:custGeom>
              <a:avLst/>
              <a:gdLst>
                <a:gd name="connsiteX0" fmla="*/ 0 w 1754358"/>
                <a:gd name="connsiteY0" fmla="*/ 2445050 h 2445050"/>
                <a:gd name="connsiteX1" fmla="*/ 1358399 w 1754358"/>
                <a:gd name="connsiteY1" fmla="*/ 219295 h 2445050"/>
                <a:gd name="connsiteX2" fmla="*/ 1333691 w 1754358"/>
                <a:gd name="connsiteY2" fmla="*/ 0 h 2445050"/>
                <a:gd name="connsiteX3" fmla="*/ 1754358 w 1754358"/>
                <a:gd name="connsiteY3" fmla="*/ 257584 h 2445050"/>
                <a:gd name="connsiteX4" fmla="*/ 1419285 w 1754358"/>
                <a:gd name="connsiteY4" fmla="*/ 759673 h 2445050"/>
                <a:gd name="connsiteX5" fmla="*/ 1394577 w 1754358"/>
                <a:gd name="connsiteY5" fmla="*/ 540379 h 2445050"/>
                <a:gd name="connsiteX6" fmla="*/ 0 w 1754358"/>
                <a:gd name="connsiteY6" fmla="*/ 2445050 h 2445050"/>
                <a:gd name="connsiteX0" fmla="*/ 0 w 1596115"/>
                <a:gd name="connsiteY0" fmla="*/ 2445050 h 2445050"/>
                <a:gd name="connsiteX1" fmla="*/ 1358399 w 1596115"/>
                <a:gd name="connsiteY1" fmla="*/ 219295 h 2445050"/>
                <a:gd name="connsiteX2" fmla="*/ 1333691 w 1596115"/>
                <a:gd name="connsiteY2" fmla="*/ 0 h 2445050"/>
                <a:gd name="connsiteX3" fmla="*/ 1596115 w 1596115"/>
                <a:gd name="connsiteY3" fmla="*/ 296089 h 2445050"/>
                <a:gd name="connsiteX4" fmla="*/ 1419285 w 1596115"/>
                <a:gd name="connsiteY4" fmla="*/ 759673 h 2445050"/>
                <a:gd name="connsiteX5" fmla="*/ 1394577 w 1596115"/>
                <a:gd name="connsiteY5" fmla="*/ 540379 h 2445050"/>
                <a:gd name="connsiteX6" fmla="*/ 0 w 1596115"/>
                <a:gd name="connsiteY6" fmla="*/ 2445050 h 244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96115" h="2445050">
                  <a:moveTo>
                    <a:pt x="0" y="2445050"/>
                  </a:moveTo>
                  <a:cubicBezTo>
                    <a:pt x="194929" y="1358361"/>
                    <a:pt x="647728" y="616443"/>
                    <a:pt x="1358399" y="219295"/>
                  </a:cubicBezTo>
                  <a:lnTo>
                    <a:pt x="1333691" y="0"/>
                  </a:lnTo>
                  <a:lnTo>
                    <a:pt x="1596115" y="296089"/>
                  </a:lnTo>
                  <a:lnTo>
                    <a:pt x="1419285" y="759673"/>
                  </a:lnTo>
                  <a:lnTo>
                    <a:pt x="1394577" y="540379"/>
                  </a:lnTo>
                  <a:cubicBezTo>
                    <a:pt x="757252" y="676215"/>
                    <a:pt x="292393" y="1311105"/>
                    <a:pt x="0" y="2445050"/>
                  </a:cubicBezTo>
                  <a:close/>
                </a:path>
              </a:pathLst>
            </a:cu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defTabSz="914354"/>
              <a:endParaRPr lang="zh-CN" altLang="en-US" sz="800" kern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47" name="文本框 4150"/>
            <p:cNvSpPr txBox="1"/>
            <p:nvPr/>
          </p:nvSpPr>
          <p:spPr>
            <a:xfrm>
              <a:off x="2206037" y="2322218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南充</a:t>
              </a:r>
            </a:p>
          </p:txBody>
        </p:sp>
        <p:sp>
          <p:nvSpPr>
            <p:cNvPr id="2348" name="文本框 4151"/>
            <p:cNvSpPr txBox="1"/>
            <p:nvPr/>
          </p:nvSpPr>
          <p:spPr>
            <a:xfrm>
              <a:off x="2308080" y="2522703"/>
              <a:ext cx="292879" cy="9762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 defTabSz="914354"/>
              <a:r>
                <a:rPr lang="zh-CN" altLang="en-US" sz="4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自贡</a:t>
              </a:r>
            </a:p>
          </p:txBody>
        </p:sp>
      </p:grpSp>
      <p:grpSp>
        <p:nvGrpSpPr>
          <p:cNvPr id="2349" name="组合 2348"/>
          <p:cNvGrpSpPr>
            <a:grpSpLocks noChangeAspect="1"/>
          </p:cNvGrpSpPr>
          <p:nvPr/>
        </p:nvGrpSpPr>
        <p:grpSpPr>
          <a:xfrm>
            <a:off x="855661" y="4131055"/>
            <a:ext cx="2027643" cy="1123918"/>
            <a:chOff x="475040" y="2752029"/>
            <a:chExt cx="1322556" cy="733091"/>
          </a:xfrm>
        </p:grpSpPr>
        <p:sp>
          <p:nvSpPr>
            <p:cNvPr id="2350" name="文本框 4112"/>
            <p:cNvSpPr txBox="1"/>
            <p:nvPr/>
          </p:nvSpPr>
          <p:spPr>
            <a:xfrm>
              <a:off x="477611" y="2752029"/>
              <a:ext cx="471424" cy="989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zh-CN" altLang="en-US" sz="700" u="sng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中小件网</a:t>
              </a:r>
            </a:p>
          </p:txBody>
        </p:sp>
        <p:sp>
          <p:nvSpPr>
            <p:cNvPr id="2351" name="等腰三角形 2350"/>
            <p:cNvSpPr/>
            <p:nvPr/>
          </p:nvSpPr>
          <p:spPr>
            <a:xfrm>
              <a:off x="899679" y="2983945"/>
              <a:ext cx="51312" cy="51312"/>
            </a:xfrm>
            <a:prstGeom prst="triangle">
              <a:avLst/>
            </a:prstGeom>
            <a:solidFill>
              <a:srgbClr val="F07878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52" name="文本框 4114"/>
            <p:cNvSpPr txBox="1"/>
            <p:nvPr/>
          </p:nvSpPr>
          <p:spPr>
            <a:xfrm>
              <a:off x="899104" y="2752029"/>
              <a:ext cx="359182" cy="989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zh-CN" altLang="en-US" sz="700" u="sng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大件网</a:t>
              </a:r>
            </a:p>
          </p:txBody>
        </p:sp>
        <p:sp>
          <p:nvSpPr>
            <p:cNvPr id="2353" name="文本框 4115"/>
            <p:cNvSpPr txBox="1"/>
            <p:nvPr/>
          </p:nvSpPr>
          <p:spPr>
            <a:xfrm>
              <a:off x="995961" y="2845381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zh-CN" altLang="en-US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中心仓</a:t>
              </a:r>
            </a:p>
          </p:txBody>
        </p:sp>
        <p:sp>
          <p:nvSpPr>
            <p:cNvPr id="2354" name="文本框 4116"/>
            <p:cNvSpPr txBox="1"/>
            <p:nvPr/>
          </p:nvSpPr>
          <p:spPr>
            <a:xfrm>
              <a:off x="989143" y="2974066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zh-CN" altLang="en-US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卫星仓</a:t>
              </a:r>
            </a:p>
          </p:txBody>
        </p:sp>
        <p:sp>
          <p:nvSpPr>
            <p:cNvPr id="2355" name="泪滴形 2354"/>
            <p:cNvSpPr/>
            <p:nvPr/>
          </p:nvSpPr>
          <p:spPr>
            <a:xfrm rot="13392341" flipV="1">
              <a:off x="1350429" y="2869407"/>
              <a:ext cx="76968" cy="76968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56" name="Shape 10525"/>
            <p:cNvSpPr/>
            <p:nvPr/>
          </p:nvSpPr>
          <p:spPr>
            <a:xfrm flipV="1">
              <a:off x="1363257" y="2875447"/>
              <a:ext cx="51312" cy="513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7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57" name="文本框 4119"/>
            <p:cNvSpPr txBox="1"/>
            <p:nvPr/>
          </p:nvSpPr>
          <p:spPr>
            <a:xfrm>
              <a:off x="1347103" y="2752029"/>
              <a:ext cx="359182" cy="989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zh-CN" altLang="en-US" sz="700" u="sng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冷链网</a:t>
              </a:r>
            </a:p>
          </p:txBody>
        </p:sp>
        <p:sp>
          <p:nvSpPr>
            <p:cNvPr id="2358" name="文本框 4120"/>
            <p:cNvSpPr txBox="1"/>
            <p:nvPr/>
          </p:nvSpPr>
          <p:spPr>
            <a:xfrm>
              <a:off x="920824" y="3353138"/>
              <a:ext cx="696503" cy="1304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F7F7F"/>
                  </a:solidFill>
                  <a:latin typeface="微软雅黑" panose="020B0503020204020204" pitchFamily="34" charset="-122"/>
                </a:rPr>
                <a:t>城配中心</a:t>
              </a:r>
            </a:p>
          </p:txBody>
        </p:sp>
        <p:pic>
          <p:nvPicPr>
            <p:cNvPr id="2359" name="图片 2358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4065" y="3217228"/>
              <a:ext cx="77379" cy="114382"/>
            </a:xfrm>
            <a:prstGeom prst="rect">
              <a:avLst/>
            </a:prstGeom>
          </p:spPr>
        </p:pic>
        <p:sp>
          <p:nvSpPr>
            <p:cNvPr id="2360" name="文本框 4122"/>
            <p:cNvSpPr txBox="1"/>
            <p:nvPr/>
          </p:nvSpPr>
          <p:spPr>
            <a:xfrm>
              <a:off x="929449" y="3217496"/>
              <a:ext cx="696503" cy="1304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F7F7F"/>
                  </a:solidFill>
                  <a:latin typeface="微软雅黑" panose="020B0503020204020204" pitchFamily="34" charset="-122"/>
                </a:rPr>
                <a:t>城配仓库</a:t>
              </a:r>
            </a:p>
          </p:txBody>
        </p:sp>
        <p:pic>
          <p:nvPicPr>
            <p:cNvPr id="2361" name="图片 2360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861" y="3367943"/>
              <a:ext cx="117177" cy="117177"/>
            </a:xfrm>
            <a:prstGeom prst="rect">
              <a:avLst/>
            </a:prstGeom>
          </p:spPr>
        </p:pic>
        <p:sp>
          <p:nvSpPr>
            <p:cNvPr id="2362" name="文本框 4124"/>
            <p:cNvSpPr txBox="1"/>
            <p:nvPr/>
          </p:nvSpPr>
          <p:spPr>
            <a:xfrm>
              <a:off x="915968" y="3114931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en-US" altLang="zh-CN" sz="700" u="sng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B2B</a:t>
              </a:r>
              <a:r>
                <a:rPr lang="zh-CN" altLang="en-US" sz="700" u="sng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网</a:t>
              </a:r>
            </a:p>
          </p:txBody>
        </p:sp>
        <p:sp>
          <p:nvSpPr>
            <p:cNvPr id="2363" name="文本框 4125"/>
            <p:cNvSpPr txBox="1"/>
            <p:nvPr/>
          </p:nvSpPr>
          <p:spPr>
            <a:xfrm>
              <a:off x="1338361" y="3114931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zh-CN" altLang="en-US" sz="700" u="sng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众包网</a:t>
              </a:r>
            </a:p>
          </p:txBody>
        </p:sp>
        <p:sp>
          <p:nvSpPr>
            <p:cNvPr id="2364" name="未知"/>
            <p:cNvSpPr>
              <a:spLocks/>
            </p:cNvSpPr>
            <p:nvPr/>
          </p:nvSpPr>
          <p:spPr bwMode="auto">
            <a:xfrm>
              <a:off x="1351354" y="3344806"/>
              <a:ext cx="38486" cy="38469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B050"/>
            </a:solidFill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4"/>
              <a:endParaRPr kumimoji="1" lang="zh-CN" altLang="en-US" sz="200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365" name="泪滴形 2364"/>
            <p:cNvSpPr/>
            <p:nvPr/>
          </p:nvSpPr>
          <p:spPr>
            <a:xfrm rot="13392341" flipV="1">
              <a:off x="1363877" y="3016641"/>
              <a:ext cx="51315" cy="51293"/>
            </a:xfrm>
            <a:prstGeom prst="teardrop">
              <a:avLst/>
            </a:prstGeom>
            <a:solidFill>
              <a:srgbClr val="00B0F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700" dirty="0">
                <a:solidFill>
                  <a:srgbClr val="000000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66" name="Shape 10525"/>
            <p:cNvSpPr/>
            <p:nvPr/>
          </p:nvSpPr>
          <p:spPr>
            <a:xfrm flipV="1">
              <a:off x="1372429" y="3025190"/>
              <a:ext cx="34210" cy="341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3" h="21600" extrusionOk="0">
                  <a:moveTo>
                    <a:pt x="21287" y="12447"/>
                  </a:moveTo>
                  <a:cubicBezTo>
                    <a:pt x="21287" y="12447"/>
                    <a:pt x="21287" y="12447"/>
                    <a:pt x="21287" y="12447"/>
                  </a:cubicBezTo>
                  <a:cubicBezTo>
                    <a:pt x="21093" y="12081"/>
                    <a:pt x="20704" y="12081"/>
                    <a:pt x="20314" y="12081"/>
                  </a:cubicBezTo>
                  <a:cubicBezTo>
                    <a:pt x="20120" y="12081"/>
                    <a:pt x="20120" y="12081"/>
                    <a:pt x="20120" y="12081"/>
                  </a:cubicBezTo>
                  <a:cubicBezTo>
                    <a:pt x="17396" y="13729"/>
                    <a:pt x="17396" y="13729"/>
                    <a:pt x="17396" y="13729"/>
                  </a:cubicBezTo>
                  <a:cubicBezTo>
                    <a:pt x="15644" y="12814"/>
                    <a:pt x="15644" y="12814"/>
                    <a:pt x="15644" y="12814"/>
                  </a:cubicBezTo>
                  <a:cubicBezTo>
                    <a:pt x="17396" y="11715"/>
                    <a:pt x="17396" y="11715"/>
                    <a:pt x="17396" y="11715"/>
                  </a:cubicBezTo>
                  <a:cubicBezTo>
                    <a:pt x="18368" y="12264"/>
                    <a:pt x="18368" y="12264"/>
                    <a:pt x="18368" y="12264"/>
                  </a:cubicBezTo>
                  <a:cubicBezTo>
                    <a:pt x="18563" y="12447"/>
                    <a:pt x="18952" y="12447"/>
                    <a:pt x="19147" y="12264"/>
                  </a:cubicBezTo>
                  <a:cubicBezTo>
                    <a:pt x="19341" y="12264"/>
                    <a:pt x="19341" y="12264"/>
                    <a:pt x="19536" y="12081"/>
                  </a:cubicBezTo>
                  <a:cubicBezTo>
                    <a:pt x="19731" y="11715"/>
                    <a:pt x="19536" y="11166"/>
                    <a:pt x="19147" y="10983"/>
                  </a:cubicBezTo>
                  <a:cubicBezTo>
                    <a:pt x="18952" y="10983"/>
                    <a:pt x="18952" y="10983"/>
                    <a:pt x="18952" y="10983"/>
                  </a:cubicBezTo>
                  <a:cubicBezTo>
                    <a:pt x="19147" y="10800"/>
                    <a:pt x="19147" y="10800"/>
                    <a:pt x="19147" y="10800"/>
                  </a:cubicBezTo>
                  <a:cubicBezTo>
                    <a:pt x="19341" y="10617"/>
                    <a:pt x="19536" y="10617"/>
                    <a:pt x="19536" y="10434"/>
                  </a:cubicBezTo>
                  <a:cubicBezTo>
                    <a:pt x="19536" y="10251"/>
                    <a:pt x="19536" y="9885"/>
                    <a:pt x="19536" y="9702"/>
                  </a:cubicBezTo>
                  <a:cubicBezTo>
                    <a:pt x="19341" y="9519"/>
                    <a:pt x="18952" y="9336"/>
                    <a:pt x="18563" y="9519"/>
                  </a:cubicBezTo>
                  <a:cubicBezTo>
                    <a:pt x="18368" y="9519"/>
                    <a:pt x="18368" y="9519"/>
                    <a:pt x="18368" y="9519"/>
                  </a:cubicBezTo>
                  <a:cubicBezTo>
                    <a:pt x="17396" y="10068"/>
                    <a:pt x="17396" y="10068"/>
                    <a:pt x="17396" y="10068"/>
                  </a:cubicBezTo>
                  <a:cubicBezTo>
                    <a:pt x="15644" y="9153"/>
                    <a:pt x="15644" y="9153"/>
                    <a:pt x="15644" y="9153"/>
                  </a:cubicBezTo>
                  <a:cubicBezTo>
                    <a:pt x="17396" y="8054"/>
                    <a:pt x="17396" y="8054"/>
                    <a:pt x="17396" y="8054"/>
                  </a:cubicBezTo>
                  <a:cubicBezTo>
                    <a:pt x="20120" y="9519"/>
                    <a:pt x="20120" y="9519"/>
                    <a:pt x="20120" y="9519"/>
                  </a:cubicBezTo>
                  <a:cubicBezTo>
                    <a:pt x="20314" y="9702"/>
                    <a:pt x="20704" y="9702"/>
                    <a:pt x="20898" y="9519"/>
                  </a:cubicBezTo>
                  <a:cubicBezTo>
                    <a:pt x="21093" y="9519"/>
                    <a:pt x="21093" y="9336"/>
                    <a:pt x="21287" y="9336"/>
                  </a:cubicBezTo>
                  <a:cubicBezTo>
                    <a:pt x="21287" y="9153"/>
                    <a:pt x="21287" y="8969"/>
                    <a:pt x="21287" y="8786"/>
                  </a:cubicBezTo>
                  <a:cubicBezTo>
                    <a:pt x="21287" y="8603"/>
                    <a:pt x="21093" y="8420"/>
                    <a:pt x="20898" y="8237"/>
                  </a:cubicBezTo>
                  <a:cubicBezTo>
                    <a:pt x="19147" y="7322"/>
                    <a:pt x="19147" y="7322"/>
                    <a:pt x="19147" y="7322"/>
                  </a:cubicBezTo>
                  <a:cubicBezTo>
                    <a:pt x="20314" y="6590"/>
                    <a:pt x="20314" y="6590"/>
                    <a:pt x="20314" y="6590"/>
                  </a:cubicBezTo>
                  <a:cubicBezTo>
                    <a:pt x="20704" y="6407"/>
                    <a:pt x="20898" y="5858"/>
                    <a:pt x="20704" y="5492"/>
                  </a:cubicBezTo>
                  <a:cubicBezTo>
                    <a:pt x="20509" y="5125"/>
                    <a:pt x="20120" y="5125"/>
                    <a:pt x="19731" y="5125"/>
                  </a:cubicBezTo>
                  <a:cubicBezTo>
                    <a:pt x="19536" y="5308"/>
                    <a:pt x="19536" y="5308"/>
                    <a:pt x="19536" y="5308"/>
                  </a:cubicBezTo>
                  <a:cubicBezTo>
                    <a:pt x="18174" y="6041"/>
                    <a:pt x="18174" y="6041"/>
                    <a:pt x="18174" y="6041"/>
                  </a:cubicBezTo>
                  <a:cubicBezTo>
                    <a:pt x="18174" y="3844"/>
                    <a:pt x="18174" y="3844"/>
                    <a:pt x="18174" y="3844"/>
                  </a:cubicBezTo>
                  <a:cubicBezTo>
                    <a:pt x="18174" y="3661"/>
                    <a:pt x="18174" y="3478"/>
                    <a:pt x="17979" y="3295"/>
                  </a:cubicBezTo>
                  <a:cubicBezTo>
                    <a:pt x="17785" y="3112"/>
                    <a:pt x="17590" y="3112"/>
                    <a:pt x="17396" y="3112"/>
                  </a:cubicBezTo>
                  <a:cubicBezTo>
                    <a:pt x="17396" y="3112"/>
                    <a:pt x="17201" y="3112"/>
                    <a:pt x="17201" y="3112"/>
                  </a:cubicBezTo>
                  <a:cubicBezTo>
                    <a:pt x="16812" y="3295"/>
                    <a:pt x="16617" y="3478"/>
                    <a:pt x="16617" y="3844"/>
                  </a:cubicBezTo>
                  <a:cubicBezTo>
                    <a:pt x="16617" y="6773"/>
                    <a:pt x="16617" y="6773"/>
                    <a:pt x="16617" y="6773"/>
                  </a:cubicBezTo>
                  <a:cubicBezTo>
                    <a:pt x="14866" y="7871"/>
                    <a:pt x="14866" y="7871"/>
                    <a:pt x="14866" y="7871"/>
                  </a:cubicBezTo>
                  <a:cubicBezTo>
                    <a:pt x="14866" y="5858"/>
                    <a:pt x="14866" y="5858"/>
                    <a:pt x="14866" y="5858"/>
                  </a:cubicBezTo>
                  <a:cubicBezTo>
                    <a:pt x="15839" y="5308"/>
                    <a:pt x="15839" y="5308"/>
                    <a:pt x="15839" y="5308"/>
                  </a:cubicBezTo>
                  <a:cubicBezTo>
                    <a:pt x="16228" y="5125"/>
                    <a:pt x="16423" y="4759"/>
                    <a:pt x="16228" y="4393"/>
                  </a:cubicBezTo>
                  <a:cubicBezTo>
                    <a:pt x="16228" y="4393"/>
                    <a:pt x="16228" y="4393"/>
                    <a:pt x="16228" y="4393"/>
                  </a:cubicBezTo>
                  <a:cubicBezTo>
                    <a:pt x="16033" y="4027"/>
                    <a:pt x="15450" y="3844"/>
                    <a:pt x="15255" y="4027"/>
                  </a:cubicBezTo>
                  <a:cubicBezTo>
                    <a:pt x="15060" y="4027"/>
                    <a:pt x="15060" y="4027"/>
                    <a:pt x="15060" y="4027"/>
                  </a:cubicBezTo>
                  <a:cubicBezTo>
                    <a:pt x="14866" y="4210"/>
                    <a:pt x="14866" y="4210"/>
                    <a:pt x="14866" y="4210"/>
                  </a:cubicBezTo>
                  <a:cubicBezTo>
                    <a:pt x="14866" y="3844"/>
                    <a:pt x="14866" y="3844"/>
                    <a:pt x="14866" y="3844"/>
                  </a:cubicBezTo>
                  <a:cubicBezTo>
                    <a:pt x="14866" y="3478"/>
                    <a:pt x="14477" y="3112"/>
                    <a:pt x="14087" y="3112"/>
                  </a:cubicBezTo>
                  <a:cubicBezTo>
                    <a:pt x="14087" y="3112"/>
                    <a:pt x="14087" y="3112"/>
                    <a:pt x="14087" y="3112"/>
                  </a:cubicBezTo>
                  <a:cubicBezTo>
                    <a:pt x="13893" y="3112"/>
                    <a:pt x="13893" y="3295"/>
                    <a:pt x="13698" y="3295"/>
                  </a:cubicBezTo>
                  <a:cubicBezTo>
                    <a:pt x="13504" y="3295"/>
                    <a:pt x="13309" y="3661"/>
                    <a:pt x="13309" y="3844"/>
                  </a:cubicBezTo>
                  <a:cubicBezTo>
                    <a:pt x="13309" y="4942"/>
                    <a:pt x="13309" y="4942"/>
                    <a:pt x="13309" y="4942"/>
                  </a:cubicBezTo>
                  <a:cubicBezTo>
                    <a:pt x="11558" y="6041"/>
                    <a:pt x="11558" y="6041"/>
                    <a:pt x="11558" y="6041"/>
                  </a:cubicBezTo>
                  <a:cubicBezTo>
                    <a:pt x="11558" y="4027"/>
                    <a:pt x="11558" y="4027"/>
                    <a:pt x="11558" y="4027"/>
                  </a:cubicBezTo>
                  <a:cubicBezTo>
                    <a:pt x="14282" y="2563"/>
                    <a:pt x="14282" y="2563"/>
                    <a:pt x="14282" y="2563"/>
                  </a:cubicBezTo>
                  <a:cubicBezTo>
                    <a:pt x="14477" y="2380"/>
                    <a:pt x="14671" y="1831"/>
                    <a:pt x="14477" y="1464"/>
                  </a:cubicBezTo>
                  <a:cubicBezTo>
                    <a:pt x="14477" y="1464"/>
                    <a:pt x="14477" y="1464"/>
                    <a:pt x="14477" y="1464"/>
                  </a:cubicBezTo>
                  <a:cubicBezTo>
                    <a:pt x="14282" y="1281"/>
                    <a:pt x="13893" y="1098"/>
                    <a:pt x="13504" y="1281"/>
                  </a:cubicBezTo>
                  <a:cubicBezTo>
                    <a:pt x="13504" y="1281"/>
                    <a:pt x="13504" y="1281"/>
                    <a:pt x="13504" y="1281"/>
                  </a:cubicBezTo>
                  <a:cubicBezTo>
                    <a:pt x="11558" y="2197"/>
                    <a:pt x="11558" y="2197"/>
                    <a:pt x="11558" y="2197"/>
                  </a:cubicBezTo>
                  <a:cubicBezTo>
                    <a:pt x="11558" y="915"/>
                    <a:pt x="11558" y="915"/>
                    <a:pt x="11558" y="915"/>
                  </a:cubicBezTo>
                  <a:cubicBezTo>
                    <a:pt x="11558" y="366"/>
                    <a:pt x="11168" y="0"/>
                    <a:pt x="10779" y="0"/>
                  </a:cubicBezTo>
                  <a:cubicBezTo>
                    <a:pt x="10585" y="0"/>
                    <a:pt x="10585" y="183"/>
                    <a:pt x="10390" y="183"/>
                  </a:cubicBezTo>
                  <a:cubicBezTo>
                    <a:pt x="10196" y="183"/>
                    <a:pt x="10001" y="549"/>
                    <a:pt x="10001" y="732"/>
                  </a:cubicBezTo>
                  <a:cubicBezTo>
                    <a:pt x="10001" y="2380"/>
                    <a:pt x="10001" y="2380"/>
                    <a:pt x="10001" y="2380"/>
                  </a:cubicBezTo>
                  <a:cubicBezTo>
                    <a:pt x="7860" y="1281"/>
                    <a:pt x="7860" y="1281"/>
                    <a:pt x="7860" y="1281"/>
                  </a:cubicBezTo>
                  <a:cubicBezTo>
                    <a:pt x="7666" y="1098"/>
                    <a:pt x="7471" y="1098"/>
                    <a:pt x="7277" y="1098"/>
                  </a:cubicBezTo>
                  <a:cubicBezTo>
                    <a:pt x="7082" y="1281"/>
                    <a:pt x="6887" y="1281"/>
                    <a:pt x="6887" y="1464"/>
                  </a:cubicBezTo>
                  <a:cubicBezTo>
                    <a:pt x="6693" y="1831"/>
                    <a:pt x="6693" y="2380"/>
                    <a:pt x="7082" y="2563"/>
                  </a:cubicBezTo>
                  <a:cubicBezTo>
                    <a:pt x="10001" y="4027"/>
                    <a:pt x="10001" y="4027"/>
                    <a:pt x="10001" y="4027"/>
                  </a:cubicBezTo>
                  <a:cubicBezTo>
                    <a:pt x="10001" y="6041"/>
                    <a:pt x="10001" y="6041"/>
                    <a:pt x="10001" y="6041"/>
                  </a:cubicBezTo>
                  <a:cubicBezTo>
                    <a:pt x="8250" y="4942"/>
                    <a:pt x="8250" y="4942"/>
                    <a:pt x="8250" y="4942"/>
                  </a:cubicBezTo>
                  <a:cubicBezTo>
                    <a:pt x="8250" y="3844"/>
                    <a:pt x="8250" y="3844"/>
                    <a:pt x="8250" y="3844"/>
                  </a:cubicBezTo>
                  <a:cubicBezTo>
                    <a:pt x="8250" y="3661"/>
                    <a:pt x="8055" y="3478"/>
                    <a:pt x="7860" y="3295"/>
                  </a:cubicBezTo>
                  <a:cubicBezTo>
                    <a:pt x="7860" y="3295"/>
                    <a:pt x="7666" y="3112"/>
                    <a:pt x="7471" y="3112"/>
                  </a:cubicBezTo>
                  <a:cubicBezTo>
                    <a:pt x="7277" y="3112"/>
                    <a:pt x="7082" y="3112"/>
                    <a:pt x="7082" y="3295"/>
                  </a:cubicBezTo>
                  <a:cubicBezTo>
                    <a:pt x="6887" y="3295"/>
                    <a:pt x="6693" y="3661"/>
                    <a:pt x="6693" y="3844"/>
                  </a:cubicBezTo>
                  <a:cubicBezTo>
                    <a:pt x="6693" y="4210"/>
                    <a:pt x="6693" y="4210"/>
                    <a:pt x="6693" y="4210"/>
                  </a:cubicBezTo>
                  <a:cubicBezTo>
                    <a:pt x="6304" y="4027"/>
                    <a:pt x="6304" y="4027"/>
                    <a:pt x="6304" y="4027"/>
                  </a:cubicBezTo>
                  <a:cubicBezTo>
                    <a:pt x="6109" y="3844"/>
                    <a:pt x="5914" y="3844"/>
                    <a:pt x="5720" y="4027"/>
                  </a:cubicBezTo>
                  <a:cubicBezTo>
                    <a:pt x="5525" y="4027"/>
                    <a:pt x="5331" y="4210"/>
                    <a:pt x="5331" y="4210"/>
                  </a:cubicBezTo>
                  <a:cubicBezTo>
                    <a:pt x="5136" y="4393"/>
                    <a:pt x="5136" y="4576"/>
                    <a:pt x="5136" y="4759"/>
                  </a:cubicBezTo>
                  <a:cubicBezTo>
                    <a:pt x="5331" y="4942"/>
                    <a:pt x="5331" y="5125"/>
                    <a:pt x="5525" y="5308"/>
                  </a:cubicBezTo>
                  <a:cubicBezTo>
                    <a:pt x="6498" y="5858"/>
                    <a:pt x="6498" y="5858"/>
                    <a:pt x="6498" y="5858"/>
                  </a:cubicBezTo>
                  <a:cubicBezTo>
                    <a:pt x="6498" y="7688"/>
                    <a:pt x="6498" y="7688"/>
                    <a:pt x="6498" y="7688"/>
                  </a:cubicBezTo>
                  <a:cubicBezTo>
                    <a:pt x="4747" y="6773"/>
                    <a:pt x="4747" y="6773"/>
                    <a:pt x="4747" y="6773"/>
                  </a:cubicBezTo>
                  <a:cubicBezTo>
                    <a:pt x="4747" y="3844"/>
                    <a:pt x="4747" y="3844"/>
                    <a:pt x="4747" y="3844"/>
                  </a:cubicBezTo>
                  <a:cubicBezTo>
                    <a:pt x="4747" y="3661"/>
                    <a:pt x="4747" y="3478"/>
                    <a:pt x="4552" y="3295"/>
                  </a:cubicBezTo>
                  <a:cubicBezTo>
                    <a:pt x="4358" y="3112"/>
                    <a:pt x="4163" y="3112"/>
                    <a:pt x="3968" y="3112"/>
                  </a:cubicBezTo>
                  <a:cubicBezTo>
                    <a:pt x="3774" y="3112"/>
                    <a:pt x="3774" y="3112"/>
                    <a:pt x="3579" y="3112"/>
                  </a:cubicBezTo>
                  <a:cubicBezTo>
                    <a:pt x="3385" y="3295"/>
                    <a:pt x="3190" y="3478"/>
                    <a:pt x="3190" y="3844"/>
                  </a:cubicBezTo>
                  <a:cubicBezTo>
                    <a:pt x="3190" y="5858"/>
                    <a:pt x="3190" y="5858"/>
                    <a:pt x="3190" y="5858"/>
                  </a:cubicBezTo>
                  <a:cubicBezTo>
                    <a:pt x="1828" y="5125"/>
                    <a:pt x="1828" y="5125"/>
                    <a:pt x="1828" y="5125"/>
                  </a:cubicBezTo>
                  <a:cubicBezTo>
                    <a:pt x="1633" y="5125"/>
                    <a:pt x="1439" y="5125"/>
                    <a:pt x="1244" y="5125"/>
                  </a:cubicBezTo>
                  <a:cubicBezTo>
                    <a:pt x="1050" y="5125"/>
                    <a:pt x="855" y="5308"/>
                    <a:pt x="855" y="5492"/>
                  </a:cubicBezTo>
                  <a:cubicBezTo>
                    <a:pt x="660" y="5858"/>
                    <a:pt x="660" y="6224"/>
                    <a:pt x="1050" y="6407"/>
                  </a:cubicBezTo>
                  <a:cubicBezTo>
                    <a:pt x="2412" y="7139"/>
                    <a:pt x="2412" y="7139"/>
                    <a:pt x="2412" y="7139"/>
                  </a:cubicBezTo>
                  <a:cubicBezTo>
                    <a:pt x="466" y="8237"/>
                    <a:pt x="466" y="8237"/>
                    <a:pt x="466" y="8237"/>
                  </a:cubicBezTo>
                  <a:cubicBezTo>
                    <a:pt x="77" y="8603"/>
                    <a:pt x="-118" y="8969"/>
                    <a:pt x="77" y="9336"/>
                  </a:cubicBezTo>
                  <a:cubicBezTo>
                    <a:pt x="77" y="9336"/>
                    <a:pt x="77" y="9336"/>
                    <a:pt x="77" y="9336"/>
                  </a:cubicBezTo>
                  <a:cubicBezTo>
                    <a:pt x="271" y="9702"/>
                    <a:pt x="660" y="9702"/>
                    <a:pt x="1050" y="9702"/>
                  </a:cubicBezTo>
                  <a:cubicBezTo>
                    <a:pt x="1244" y="9519"/>
                    <a:pt x="1244" y="9519"/>
                    <a:pt x="1244" y="9519"/>
                  </a:cubicBezTo>
                  <a:cubicBezTo>
                    <a:pt x="3968" y="8054"/>
                    <a:pt x="3968" y="8054"/>
                    <a:pt x="3968" y="8054"/>
                  </a:cubicBezTo>
                  <a:cubicBezTo>
                    <a:pt x="5720" y="8969"/>
                    <a:pt x="5720" y="8969"/>
                    <a:pt x="5720" y="8969"/>
                  </a:cubicBezTo>
                  <a:cubicBezTo>
                    <a:pt x="3968" y="10068"/>
                    <a:pt x="3968" y="10068"/>
                    <a:pt x="3968" y="10068"/>
                  </a:cubicBezTo>
                  <a:cubicBezTo>
                    <a:pt x="2996" y="9519"/>
                    <a:pt x="2996" y="9519"/>
                    <a:pt x="2996" y="9519"/>
                  </a:cubicBezTo>
                  <a:cubicBezTo>
                    <a:pt x="2801" y="9336"/>
                    <a:pt x="2606" y="9336"/>
                    <a:pt x="2217" y="9336"/>
                  </a:cubicBezTo>
                  <a:cubicBezTo>
                    <a:pt x="2217" y="9519"/>
                    <a:pt x="2023" y="9519"/>
                    <a:pt x="2023" y="9702"/>
                  </a:cubicBezTo>
                  <a:cubicBezTo>
                    <a:pt x="1633" y="10068"/>
                    <a:pt x="1828" y="10617"/>
                    <a:pt x="2217" y="10800"/>
                  </a:cubicBezTo>
                  <a:cubicBezTo>
                    <a:pt x="2412" y="10800"/>
                    <a:pt x="2412" y="10800"/>
                    <a:pt x="2412" y="10800"/>
                  </a:cubicBezTo>
                  <a:cubicBezTo>
                    <a:pt x="2217" y="10983"/>
                    <a:pt x="2217" y="10983"/>
                    <a:pt x="2217" y="10983"/>
                  </a:cubicBezTo>
                  <a:cubicBezTo>
                    <a:pt x="2023" y="11166"/>
                    <a:pt x="1828" y="11166"/>
                    <a:pt x="1828" y="11349"/>
                  </a:cubicBezTo>
                  <a:cubicBezTo>
                    <a:pt x="1828" y="11532"/>
                    <a:pt x="1828" y="11898"/>
                    <a:pt x="2023" y="11898"/>
                  </a:cubicBezTo>
                  <a:cubicBezTo>
                    <a:pt x="2217" y="12264"/>
                    <a:pt x="2606" y="12447"/>
                    <a:pt x="2996" y="12264"/>
                  </a:cubicBezTo>
                  <a:cubicBezTo>
                    <a:pt x="2996" y="12264"/>
                    <a:pt x="2996" y="12264"/>
                    <a:pt x="2996" y="12264"/>
                  </a:cubicBezTo>
                  <a:cubicBezTo>
                    <a:pt x="3968" y="11715"/>
                    <a:pt x="3968" y="11715"/>
                    <a:pt x="3968" y="11715"/>
                  </a:cubicBezTo>
                  <a:cubicBezTo>
                    <a:pt x="5720" y="12631"/>
                    <a:pt x="5720" y="12631"/>
                    <a:pt x="5720" y="12631"/>
                  </a:cubicBezTo>
                  <a:cubicBezTo>
                    <a:pt x="3968" y="13729"/>
                    <a:pt x="3968" y="13729"/>
                    <a:pt x="3968" y="13729"/>
                  </a:cubicBezTo>
                  <a:cubicBezTo>
                    <a:pt x="1244" y="12264"/>
                    <a:pt x="1244" y="12264"/>
                    <a:pt x="1244" y="12264"/>
                  </a:cubicBezTo>
                  <a:cubicBezTo>
                    <a:pt x="1050" y="12081"/>
                    <a:pt x="855" y="12081"/>
                    <a:pt x="660" y="12264"/>
                  </a:cubicBezTo>
                  <a:cubicBezTo>
                    <a:pt x="466" y="12264"/>
                    <a:pt x="271" y="12264"/>
                    <a:pt x="271" y="12447"/>
                  </a:cubicBezTo>
                  <a:cubicBezTo>
                    <a:pt x="-118" y="12814"/>
                    <a:pt x="77" y="13363"/>
                    <a:pt x="466" y="13546"/>
                  </a:cubicBezTo>
                  <a:cubicBezTo>
                    <a:pt x="2412" y="14461"/>
                    <a:pt x="2412" y="14461"/>
                    <a:pt x="2412" y="14461"/>
                  </a:cubicBezTo>
                  <a:cubicBezTo>
                    <a:pt x="1050" y="15193"/>
                    <a:pt x="1050" y="15193"/>
                    <a:pt x="1050" y="15193"/>
                  </a:cubicBezTo>
                  <a:cubicBezTo>
                    <a:pt x="855" y="15376"/>
                    <a:pt x="660" y="15559"/>
                    <a:pt x="660" y="15742"/>
                  </a:cubicBezTo>
                  <a:cubicBezTo>
                    <a:pt x="660" y="15925"/>
                    <a:pt x="660" y="16108"/>
                    <a:pt x="660" y="16292"/>
                  </a:cubicBezTo>
                  <a:cubicBezTo>
                    <a:pt x="855" y="16658"/>
                    <a:pt x="1439" y="16658"/>
                    <a:pt x="1633" y="16475"/>
                  </a:cubicBezTo>
                  <a:cubicBezTo>
                    <a:pt x="1828" y="16475"/>
                    <a:pt x="1828" y="16475"/>
                    <a:pt x="1828" y="16475"/>
                  </a:cubicBezTo>
                  <a:cubicBezTo>
                    <a:pt x="3190" y="15742"/>
                    <a:pt x="3190" y="15742"/>
                    <a:pt x="3190" y="15742"/>
                  </a:cubicBezTo>
                  <a:cubicBezTo>
                    <a:pt x="3190" y="17939"/>
                    <a:pt x="3190" y="17939"/>
                    <a:pt x="3190" y="17939"/>
                  </a:cubicBezTo>
                  <a:cubicBezTo>
                    <a:pt x="3190" y="18122"/>
                    <a:pt x="3190" y="18305"/>
                    <a:pt x="3385" y="18488"/>
                  </a:cubicBezTo>
                  <a:cubicBezTo>
                    <a:pt x="3579" y="18671"/>
                    <a:pt x="3774" y="18671"/>
                    <a:pt x="3968" y="18671"/>
                  </a:cubicBezTo>
                  <a:cubicBezTo>
                    <a:pt x="4163" y="18671"/>
                    <a:pt x="4163" y="18671"/>
                    <a:pt x="4358" y="18671"/>
                  </a:cubicBezTo>
                  <a:cubicBezTo>
                    <a:pt x="4552" y="18488"/>
                    <a:pt x="4747" y="18305"/>
                    <a:pt x="4747" y="17939"/>
                  </a:cubicBezTo>
                  <a:cubicBezTo>
                    <a:pt x="4747" y="15010"/>
                    <a:pt x="4747" y="15010"/>
                    <a:pt x="4747" y="15010"/>
                  </a:cubicBezTo>
                  <a:cubicBezTo>
                    <a:pt x="6498" y="13912"/>
                    <a:pt x="6498" y="13912"/>
                    <a:pt x="6498" y="13912"/>
                  </a:cubicBezTo>
                  <a:cubicBezTo>
                    <a:pt x="6498" y="15925"/>
                    <a:pt x="6498" y="15925"/>
                    <a:pt x="6498" y="15925"/>
                  </a:cubicBezTo>
                  <a:cubicBezTo>
                    <a:pt x="5525" y="16475"/>
                    <a:pt x="5525" y="16475"/>
                    <a:pt x="5525" y="16475"/>
                  </a:cubicBezTo>
                  <a:cubicBezTo>
                    <a:pt x="5136" y="16658"/>
                    <a:pt x="5136" y="17024"/>
                    <a:pt x="5331" y="17390"/>
                  </a:cubicBezTo>
                  <a:cubicBezTo>
                    <a:pt x="5331" y="17390"/>
                    <a:pt x="5331" y="17390"/>
                    <a:pt x="5331" y="17390"/>
                  </a:cubicBezTo>
                  <a:cubicBezTo>
                    <a:pt x="5525" y="17756"/>
                    <a:pt x="5914" y="17939"/>
                    <a:pt x="6304" y="17756"/>
                  </a:cubicBezTo>
                  <a:cubicBezTo>
                    <a:pt x="6304" y="17756"/>
                    <a:pt x="6304" y="17756"/>
                    <a:pt x="6304" y="17756"/>
                  </a:cubicBezTo>
                  <a:cubicBezTo>
                    <a:pt x="6498" y="17573"/>
                    <a:pt x="6498" y="17573"/>
                    <a:pt x="6498" y="17573"/>
                  </a:cubicBezTo>
                  <a:cubicBezTo>
                    <a:pt x="6498" y="17756"/>
                    <a:pt x="6498" y="17756"/>
                    <a:pt x="6498" y="17756"/>
                  </a:cubicBezTo>
                  <a:cubicBezTo>
                    <a:pt x="6498" y="18122"/>
                    <a:pt x="6693" y="18305"/>
                    <a:pt x="6693" y="18305"/>
                  </a:cubicBezTo>
                  <a:cubicBezTo>
                    <a:pt x="6887" y="18488"/>
                    <a:pt x="7082" y="18671"/>
                    <a:pt x="7277" y="18671"/>
                  </a:cubicBezTo>
                  <a:cubicBezTo>
                    <a:pt x="7471" y="18671"/>
                    <a:pt x="7471" y="18488"/>
                    <a:pt x="7666" y="18488"/>
                  </a:cubicBezTo>
                  <a:cubicBezTo>
                    <a:pt x="7860" y="18488"/>
                    <a:pt x="8055" y="18122"/>
                    <a:pt x="8055" y="17939"/>
                  </a:cubicBezTo>
                  <a:cubicBezTo>
                    <a:pt x="8055" y="16841"/>
                    <a:pt x="8055" y="16841"/>
                    <a:pt x="8055" y="16841"/>
                  </a:cubicBezTo>
                  <a:cubicBezTo>
                    <a:pt x="10001" y="15742"/>
                    <a:pt x="10001" y="15742"/>
                    <a:pt x="10001" y="15742"/>
                  </a:cubicBezTo>
                  <a:cubicBezTo>
                    <a:pt x="9806" y="17756"/>
                    <a:pt x="9806" y="17756"/>
                    <a:pt x="9806" y="17756"/>
                  </a:cubicBezTo>
                  <a:cubicBezTo>
                    <a:pt x="7277" y="19220"/>
                    <a:pt x="7277" y="19220"/>
                    <a:pt x="7277" y="19220"/>
                  </a:cubicBezTo>
                  <a:cubicBezTo>
                    <a:pt x="6887" y="19403"/>
                    <a:pt x="6693" y="19953"/>
                    <a:pt x="6887" y="20319"/>
                  </a:cubicBezTo>
                  <a:cubicBezTo>
                    <a:pt x="6887" y="20319"/>
                    <a:pt x="6887" y="20319"/>
                    <a:pt x="6887" y="20319"/>
                  </a:cubicBezTo>
                  <a:cubicBezTo>
                    <a:pt x="7082" y="20502"/>
                    <a:pt x="7471" y="20685"/>
                    <a:pt x="7860" y="20502"/>
                  </a:cubicBezTo>
                  <a:cubicBezTo>
                    <a:pt x="8055" y="20502"/>
                    <a:pt x="8055" y="20502"/>
                    <a:pt x="8055" y="20502"/>
                  </a:cubicBezTo>
                  <a:cubicBezTo>
                    <a:pt x="9806" y="19586"/>
                    <a:pt x="9806" y="19586"/>
                    <a:pt x="9806" y="19586"/>
                  </a:cubicBezTo>
                  <a:cubicBezTo>
                    <a:pt x="9806" y="20868"/>
                    <a:pt x="9806" y="20868"/>
                    <a:pt x="9806" y="20868"/>
                  </a:cubicBezTo>
                  <a:cubicBezTo>
                    <a:pt x="9806" y="21234"/>
                    <a:pt x="10001" y="21417"/>
                    <a:pt x="10196" y="21417"/>
                  </a:cubicBezTo>
                  <a:cubicBezTo>
                    <a:pt x="10196" y="21600"/>
                    <a:pt x="10390" y="21600"/>
                    <a:pt x="10585" y="21600"/>
                  </a:cubicBezTo>
                  <a:cubicBezTo>
                    <a:pt x="10779" y="21600"/>
                    <a:pt x="10974" y="21600"/>
                    <a:pt x="10974" y="21600"/>
                  </a:cubicBezTo>
                  <a:cubicBezTo>
                    <a:pt x="11168" y="21600"/>
                    <a:pt x="11363" y="21234"/>
                    <a:pt x="11363" y="20868"/>
                  </a:cubicBezTo>
                  <a:cubicBezTo>
                    <a:pt x="11363" y="19403"/>
                    <a:pt x="11363" y="19403"/>
                    <a:pt x="11363" y="19403"/>
                  </a:cubicBezTo>
                  <a:cubicBezTo>
                    <a:pt x="13504" y="20502"/>
                    <a:pt x="13504" y="20502"/>
                    <a:pt x="13504" y="20502"/>
                  </a:cubicBezTo>
                  <a:cubicBezTo>
                    <a:pt x="13698" y="20685"/>
                    <a:pt x="13893" y="20685"/>
                    <a:pt x="14282" y="20502"/>
                  </a:cubicBezTo>
                  <a:cubicBezTo>
                    <a:pt x="14282" y="20502"/>
                    <a:pt x="14477" y="20502"/>
                    <a:pt x="14477" y="20319"/>
                  </a:cubicBezTo>
                  <a:cubicBezTo>
                    <a:pt x="14671" y="20136"/>
                    <a:pt x="14671" y="19953"/>
                    <a:pt x="14671" y="19769"/>
                  </a:cubicBezTo>
                  <a:cubicBezTo>
                    <a:pt x="14671" y="19586"/>
                    <a:pt x="14477" y="19403"/>
                    <a:pt x="14282" y="19220"/>
                  </a:cubicBezTo>
                  <a:cubicBezTo>
                    <a:pt x="11558" y="17756"/>
                    <a:pt x="11558" y="17756"/>
                    <a:pt x="11558" y="17756"/>
                  </a:cubicBezTo>
                  <a:cubicBezTo>
                    <a:pt x="11558" y="15742"/>
                    <a:pt x="11558" y="15742"/>
                    <a:pt x="11558" y="15742"/>
                  </a:cubicBezTo>
                  <a:cubicBezTo>
                    <a:pt x="13309" y="16841"/>
                    <a:pt x="13309" y="16841"/>
                    <a:pt x="13309" y="16841"/>
                  </a:cubicBezTo>
                  <a:cubicBezTo>
                    <a:pt x="13309" y="17939"/>
                    <a:pt x="13309" y="17939"/>
                    <a:pt x="13309" y="17939"/>
                  </a:cubicBezTo>
                  <a:cubicBezTo>
                    <a:pt x="13309" y="18305"/>
                    <a:pt x="13504" y="18671"/>
                    <a:pt x="14087" y="18671"/>
                  </a:cubicBezTo>
                  <a:cubicBezTo>
                    <a:pt x="14087" y="18671"/>
                    <a:pt x="14282" y="18671"/>
                    <a:pt x="14282" y="18488"/>
                  </a:cubicBezTo>
                  <a:cubicBezTo>
                    <a:pt x="14671" y="18488"/>
                    <a:pt x="14866" y="18122"/>
                    <a:pt x="14866" y="17939"/>
                  </a:cubicBezTo>
                  <a:cubicBezTo>
                    <a:pt x="14866" y="17573"/>
                    <a:pt x="14866" y="17573"/>
                    <a:pt x="14866" y="17573"/>
                  </a:cubicBezTo>
                  <a:cubicBezTo>
                    <a:pt x="15060" y="17756"/>
                    <a:pt x="15060" y="17756"/>
                    <a:pt x="15060" y="17756"/>
                  </a:cubicBezTo>
                  <a:cubicBezTo>
                    <a:pt x="15255" y="17939"/>
                    <a:pt x="15450" y="17939"/>
                    <a:pt x="15644" y="17756"/>
                  </a:cubicBezTo>
                  <a:cubicBezTo>
                    <a:pt x="15839" y="17756"/>
                    <a:pt x="16033" y="17573"/>
                    <a:pt x="16033" y="17573"/>
                  </a:cubicBezTo>
                  <a:cubicBezTo>
                    <a:pt x="16228" y="17207"/>
                    <a:pt x="16228" y="16658"/>
                    <a:pt x="15839" y="16475"/>
                  </a:cubicBezTo>
                  <a:cubicBezTo>
                    <a:pt x="14866" y="15925"/>
                    <a:pt x="14866" y="15925"/>
                    <a:pt x="14866" y="15925"/>
                  </a:cubicBezTo>
                  <a:cubicBezTo>
                    <a:pt x="14866" y="13912"/>
                    <a:pt x="14866" y="13912"/>
                    <a:pt x="14866" y="13912"/>
                  </a:cubicBezTo>
                  <a:cubicBezTo>
                    <a:pt x="16617" y="15010"/>
                    <a:pt x="16617" y="15010"/>
                    <a:pt x="16617" y="15010"/>
                  </a:cubicBezTo>
                  <a:cubicBezTo>
                    <a:pt x="16617" y="17939"/>
                    <a:pt x="16617" y="17939"/>
                    <a:pt x="16617" y="17939"/>
                  </a:cubicBezTo>
                  <a:cubicBezTo>
                    <a:pt x="16617" y="18122"/>
                    <a:pt x="16812" y="18305"/>
                    <a:pt x="16812" y="18488"/>
                  </a:cubicBezTo>
                  <a:cubicBezTo>
                    <a:pt x="17006" y="18488"/>
                    <a:pt x="17201" y="18671"/>
                    <a:pt x="17396" y="18671"/>
                  </a:cubicBezTo>
                  <a:cubicBezTo>
                    <a:pt x="17590" y="18671"/>
                    <a:pt x="17590" y="18671"/>
                    <a:pt x="17785" y="18671"/>
                  </a:cubicBezTo>
                  <a:cubicBezTo>
                    <a:pt x="17979" y="18488"/>
                    <a:pt x="18174" y="18122"/>
                    <a:pt x="18174" y="17939"/>
                  </a:cubicBezTo>
                  <a:cubicBezTo>
                    <a:pt x="18174" y="15925"/>
                    <a:pt x="18174" y="15925"/>
                    <a:pt x="18174" y="15925"/>
                  </a:cubicBezTo>
                  <a:cubicBezTo>
                    <a:pt x="19536" y="16658"/>
                    <a:pt x="19536" y="16658"/>
                    <a:pt x="19536" y="16658"/>
                  </a:cubicBezTo>
                  <a:cubicBezTo>
                    <a:pt x="19731" y="16658"/>
                    <a:pt x="20120" y="16658"/>
                    <a:pt x="20314" y="16658"/>
                  </a:cubicBezTo>
                  <a:cubicBezTo>
                    <a:pt x="20509" y="16475"/>
                    <a:pt x="20509" y="16475"/>
                    <a:pt x="20704" y="16292"/>
                  </a:cubicBezTo>
                  <a:cubicBezTo>
                    <a:pt x="20704" y="16108"/>
                    <a:pt x="20704" y="15925"/>
                    <a:pt x="20704" y="15742"/>
                  </a:cubicBezTo>
                  <a:cubicBezTo>
                    <a:pt x="20704" y="15559"/>
                    <a:pt x="20509" y="15376"/>
                    <a:pt x="20314" y="15376"/>
                  </a:cubicBezTo>
                  <a:cubicBezTo>
                    <a:pt x="18952" y="14461"/>
                    <a:pt x="18952" y="14461"/>
                    <a:pt x="18952" y="14461"/>
                  </a:cubicBezTo>
                  <a:cubicBezTo>
                    <a:pt x="20898" y="13363"/>
                    <a:pt x="20898" y="13363"/>
                    <a:pt x="20898" y="13363"/>
                  </a:cubicBezTo>
                  <a:cubicBezTo>
                    <a:pt x="21287" y="13180"/>
                    <a:pt x="21482" y="12814"/>
                    <a:pt x="21287" y="12447"/>
                  </a:cubicBezTo>
                  <a:close/>
                  <a:moveTo>
                    <a:pt x="7277" y="11898"/>
                  </a:moveTo>
                  <a:cubicBezTo>
                    <a:pt x="5525" y="10800"/>
                    <a:pt x="5525" y="10800"/>
                    <a:pt x="5525" y="10800"/>
                  </a:cubicBezTo>
                  <a:cubicBezTo>
                    <a:pt x="7277" y="9885"/>
                    <a:pt x="7277" y="9885"/>
                    <a:pt x="7277" y="9885"/>
                  </a:cubicBezTo>
                  <a:cubicBezTo>
                    <a:pt x="9223" y="10800"/>
                    <a:pt x="9223" y="10800"/>
                    <a:pt x="9223" y="10800"/>
                  </a:cubicBezTo>
                  <a:lnTo>
                    <a:pt x="7277" y="11898"/>
                  </a:lnTo>
                  <a:close/>
                  <a:moveTo>
                    <a:pt x="10001" y="14095"/>
                  </a:moveTo>
                  <a:cubicBezTo>
                    <a:pt x="8055" y="15010"/>
                    <a:pt x="8055" y="15010"/>
                    <a:pt x="8055" y="15010"/>
                  </a:cubicBezTo>
                  <a:cubicBezTo>
                    <a:pt x="8055" y="13180"/>
                    <a:pt x="8055" y="13180"/>
                    <a:pt x="8055" y="13180"/>
                  </a:cubicBezTo>
                  <a:cubicBezTo>
                    <a:pt x="10001" y="12081"/>
                    <a:pt x="10001" y="12081"/>
                    <a:pt x="10001" y="12081"/>
                  </a:cubicBezTo>
                  <a:lnTo>
                    <a:pt x="10001" y="14095"/>
                  </a:lnTo>
                  <a:close/>
                  <a:moveTo>
                    <a:pt x="10001" y="9519"/>
                  </a:moveTo>
                  <a:cubicBezTo>
                    <a:pt x="8055" y="8603"/>
                    <a:pt x="8055" y="8603"/>
                    <a:pt x="8055" y="8603"/>
                  </a:cubicBezTo>
                  <a:cubicBezTo>
                    <a:pt x="8250" y="6773"/>
                    <a:pt x="8250" y="6773"/>
                    <a:pt x="8250" y="6773"/>
                  </a:cubicBezTo>
                  <a:cubicBezTo>
                    <a:pt x="10001" y="7688"/>
                    <a:pt x="10001" y="7688"/>
                    <a:pt x="10001" y="7688"/>
                  </a:cubicBezTo>
                  <a:lnTo>
                    <a:pt x="10001" y="9519"/>
                  </a:lnTo>
                  <a:close/>
                  <a:moveTo>
                    <a:pt x="11558" y="7688"/>
                  </a:moveTo>
                  <a:cubicBezTo>
                    <a:pt x="13309" y="6773"/>
                    <a:pt x="13309" y="6773"/>
                    <a:pt x="13309" y="6773"/>
                  </a:cubicBezTo>
                  <a:cubicBezTo>
                    <a:pt x="13309" y="8603"/>
                    <a:pt x="13309" y="8603"/>
                    <a:pt x="13309" y="8603"/>
                  </a:cubicBezTo>
                  <a:cubicBezTo>
                    <a:pt x="11558" y="9702"/>
                    <a:pt x="11558" y="9702"/>
                    <a:pt x="11558" y="9702"/>
                  </a:cubicBezTo>
                  <a:lnTo>
                    <a:pt x="11558" y="7688"/>
                  </a:lnTo>
                  <a:close/>
                  <a:moveTo>
                    <a:pt x="13309" y="15010"/>
                  </a:moveTo>
                  <a:cubicBezTo>
                    <a:pt x="11558" y="14095"/>
                    <a:pt x="11558" y="14095"/>
                    <a:pt x="11558" y="14095"/>
                  </a:cubicBezTo>
                  <a:cubicBezTo>
                    <a:pt x="11558" y="12081"/>
                    <a:pt x="11558" y="12081"/>
                    <a:pt x="11558" y="12081"/>
                  </a:cubicBezTo>
                  <a:cubicBezTo>
                    <a:pt x="13309" y="13180"/>
                    <a:pt x="13309" y="13180"/>
                    <a:pt x="13309" y="13180"/>
                  </a:cubicBezTo>
                  <a:lnTo>
                    <a:pt x="13309" y="15010"/>
                  </a:lnTo>
                  <a:close/>
                  <a:moveTo>
                    <a:pt x="14087" y="11898"/>
                  </a:moveTo>
                  <a:cubicBezTo>
                    <a:pt x="12336" y="10983"/>
                    <a:pt x="12336" y="10983"/>
                    <a:pt x="12336" y="10983"/>
                  </a:cubicBezTo>
                  <a:cubicBezTo>
                    <a:pt x="14087" y="9885"/>
                    <a:pt x="14087" y="9885"/>
                    <a:pt x="14087" y="9885"/>
                  </a:cubicBezTo>
                  <a:cubicBezTo>
                    <a:pt x="15839" y="10983"/>
                    <a:pt x="15839" y="10983"/>
                    <a:pt x="15839" y="10983"/>
                  </a:cubicBezTo>
                  <a:lnTo>
                    <a:pt x="14087" y="1189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 sz="700" dirty="0">
                <a:solidFill>
                  <a:srgbClr val="FFFFFF"/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67" name="文本框 4130"/>
            <p:cNvSpPr txBox="1"/>
            <p:nvPr/>
          </p:nvSpPr>
          <p:spPr>
            <a:xfrm>
              <a:off x="1432625" y="2845194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en-US" altLang="zh-CN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RDC</a:t>
              </a:r>
              <a:r>
                <a:rPr lang="zh-CN" altLang="en-US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冷仓</a:t>
              </a:r>
            </a:p>
          </p:txBody>
        </p:sp>
        <p:sp>
          <p:nvSpPr>
            <p:cNvPr id="2368" name="文本框 4131"/>
            <p:cNvSpPr txBox="1"/>
            <p:nvPr/>
          </p:nvSpPr>
          <p:spPr>
            <a:xfrm>
              <a:off x="1438414" y="3312729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zh-CN" altLang="en-US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覆盖城市</a:t>
              </a:r>
            </a:p>
          </p:txBody>
        </p:sp>
        <p:sp>
          <p:nvSpPr>
            <p:cNvPr id="2369" name="文本框 4132"/>
            <p:cNvSpPr txBox="1"/>
            <p:nvPr/>
          </p:nvSpPr>
          <p:spPr>
            <a:xfrm>
              <a:off x="1432625" y="2988947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en-US" altLang="zh-CN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FDC</a:t>
              </a:r>
              <a:r>
                <a:rPr lang="zh-CN" altLang="en-US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冷仓</a:t>
              </a:r>
            </a:p>
          </p:txBody>
        </p:sp>
        <p:sp>
          <p:nvSpPr>
            <p:cNvPr id="2370" name="未知"/>
            <p:cNvSpPr>
              <a:spLocks/>
            </p:cNvSpPr>
            <p:nvPr/>
          </p:nvSpPr>
          <p:spPr bwMode="auto">
            <a:xfrm>
              <a:off x="481453" y="3011402"/>
              <a:ext cx="64140" cy="64140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8841D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70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71" name="未知"/>
            <p:cNvSpPr>
              <a:spLocks/>
            </p:cNvSpPr>
            <p:nvPr/>
          </p:nvSpPr>
          <p:spPr bwMode="auto">
            <a:xfrm>
              <a:off x="494282" y="3152373"/>
              <a:ext cx="38484" cy="38484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07878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70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72" name="未知"/>
            <p:cNvSpPr>
              <a:spLocks/>
            </p:cNvSpPr>
            <p:nvPr/>
          </p:nvSpPr>
          <p:spPr bwMode="auto">
            <a:xfrm>
              <a:off x="494177" y="3280516"/>
              <a:ext cx="38693" cy="38484"/>
            </a:xfrm>
            <a:custGeom>
              <a:avLst/>
              <a:gdLst>
                <a:gd name="T0" fmla="*/ 2147483647 w 50"/>
                <a:gd name="T1" fmla="*/ 0 h 52"/>
                <a:gd name="T2" fmla="*/ 2147483647 w 50"/>
                <a:gd name="T3" fmla="*/ 0 h 52"/>
                <a:gd name="T4" fmla="*/ 2147483647 w 50"/>
                <a:gd name="T5" fmla="*/ 2147483647 h 52"/>
                <a:gd name="T6" fmla="*/ 2147483647 w 50"/>
                <a:gd name="T7" fmla="*/ 2147483647 h 52"/>
                <a:gd name="T8" fmla="*/ 2147483647 w 50"/>
                <a:gd name="T9" fmla="*/ 2147483647 h 52"/>
                <a:gd name="T10" fmla="*/ 2147483647 w 50"/>
                <a:gd name="T11" fmla="*/ 2147483647 h 52"/>
                <a:gd name="T12" fmla="*/ 2147483647 w 50"/>
                <a:gd name="T13" fmla="*/ 2147483647 h 52"/>
                <a:gd name="T14" fmla="*/ 2147483647 w 50"/>
                <a:gd name="T15" fmla="*/ 2147483647 h 52"/>
                <a:gd name="T16" fmla="*/ 2147483647 w 50"/>
                <a:gd name="T17" fmla="*/ 2147483647 h 52"/>
                <a:gd name="T18" fmla="*/ 2147483647 w 50"/>
                <a:gd name="T19" fmla="*/ 2147483647 h 52"/>
                <a:gd name="T20" fmla="*/ 2147483647 w 50"/>
                <a:gd name="T21" fmla="*/ 2147483647 h 52"/>
                <a:gd name="T22" fmla="*/ 2147483647 w 50"/>
                <a:gd name="T23" fmla="*/ 2147483647 h 52"/>
                <a:gd name="T24" fmla="*/ 2147483647 w 50"/>
                <a:gd name="T25" fmla="*/ 2147483647 h 52"/>
                <a:gd name="T26" fmla="*/ 2147483647 w 50"/>
                <a:gd name="T27" fmla="*/ 2147483647 h 52"/>
                <a:gd name="T28" fmla="*/ 2147483647 w 50"/>
                <a:gd name="T29" fmla="*/ 2147483647 h 52"/>
                <a:gd name="T30" fmla="*/ 0 w 50"/>
                <a:gd name="T31" fmla="*/ 2147483647 h 52"/>
                <a:gd name="T32" fmla="*/ 0 w 50"/>
                <a:gd name="T33" fmla="*/ 2147483647 h 52"/>
                <a:gd name="T34" fmla="*/ 2147483647 w 50"/>
                <a:gd name="T35" fmla="*/ 2147483647 h 52"/>
                <a:gd name="T36" fmla="*/ 2147483647 w 50"/>
                <a:gd name="T37" fmla="*/ 2147483647 h 52"/>
                <a:gd name="T38" fmla="*/ 2147483647 w 50"/>
                <a:gd name="T39" fmla="*/ 2147483647 h 52"/>
                <a:gd name="T40" fmla="*/ 2147483647 w 50"/>
                <a:gd name="T41" fmla="*/ 0 h 52"/>
                <a:gd name="T42" fmla="*/ 2147483647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6" y="0"/>
                  </a:moveTo>
                  <a:lnTo>
                    <a:pt x="26" y="0"/>
                  </a:lnTo>
                  <a:lnTo>
                    <a:pt x="36" y="2"/>
                  </a:lnTo>
                  <a:lnTo>
                    <a:pt x="44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4" y="44"/>
                  </a:lnTo>
                  <a:lnTo>
                    <a:pt x="36" y="50"/>
                  </a:lnTo>
                  <a:lnTo>
                    <a:pt x="26" y="52"/>
                  </a:lnTo>
                  <a:lnTo>
                    <a:pt x="16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6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/>
            <a:lstStyle/>
            <a:p>
              <a:pPr defTabSz="914354"/>
              <a:endParaRPr lang="zh-CN" altLang="en-US" sz="70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73" name="椭圆 2372"/>
            <p:cNvSpPr/>
            <p:nvPr/>
          </p:nvSpPr>
          <p:spPr>
            <a:xfrm>
              <a:off x="494282" y="3408659"/>
              <a:ext cx="38484" cy="38484"/>
            </a:xfrm>
            <a:prstGeom prst="ellipse">
              <a:avLst/>
            </a:prstGeom>
            <a:solidFill>
              <a:srgbClr val="7030A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74" name="文本框 4137"/>
            <p:cNvSpPr txBox="1"/>
            <p:nvPr/>
          </p:nvSpPr>
          <p:spPr>
            <a:xfrm>
              <a:off x="592423" y="2864017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en-US" altLang="zh-CN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RDC</a:t>
              </a:r>
              <a:endParaRPr lang="zh-CN" altLang="en-US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75" name="文本框 4138"/>
            <p:cNvSpPr txBox="1"/>
            <p:nvPr/>
          </p:nvSpPr>
          <p:spPr>
            <a:xfrm>
              <a:off x="592423" y="2992160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en-US" altLang="zh-CN" sz="700" dirty="0" err="1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MiniRDC</a:t>
              </a:r>
              <a:endParaRPr lang="zh-CN" altLang="en-US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76" name="文本框 4139"/>
            <p:cNvSpPr txBox="1"/>
            <p:nvPr/>
          </p:nvSpPr>
          <p:spPr>
            <a:xfrm>
              <a:off x="592423" y="3120303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en-US" altLang="zh-CN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FDC</a:t>
              </a:r>
              <a:endParaRPr lang="zh-CN" altLang="en-US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77" name="文本框 4140"/>
            <p:cNvSpPr txBox="1"/>
            <p:nvPr/>
          </p:nvSpPr>
          <p:spPr>
            <a:xfrm>
              <a:off x="592423" y="3248446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en-US" altLang="zh-CN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TDC</a:t>
              </a:r>
              <a:endParaRPr lang="zh-CN" altLang="en-US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78" name="文本框 4141"/>
            <p:cNvSpPr txBox="1"/>
            <p:nvPr/>
          </p:nvSpPr>
          <p:spPr>
            <a:xfrm>
              <a:off x="592423" y="3376589"/>
              <a:ext cx="359182" cy="10262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914354"/>
              <a:r>
                <a:rPr lang="en-US" altLang="zh-CN" sz="700" dirty="0">
                  <a:solidFill>
                    <a:srgbClr val="FFFFFF">
                      <a:lumMod val="50000"/>
                    </a:srgbClr>
                  </a:solidFill>
                  <a:latin typeface="微软雅黑" panose="020B0503020204020204" pitchFamily="34" charset="-122"/>
                  <a:cs typeface="+mn-ea"/>
                  <a:sym typeface="楷体" panose="02010609060101010101" pitchFamily="49" charset="-122"/>
                </a:rPr>
                <a:t>CDC</a:t>
              </a:r>
              <a:endParaRPr lang="zh-CN" altLang="en-US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79" name="未知"/>
            <p:cNvSpPr>
              <a:spLocks/>
            </p:cNvSpPr>
            <p:nvPr/>
          </p:nvSpPr>
          <p:spPr bwMode="auto">
            <a:xfrm>
              <a:off x="475040" y="2876845"/>
              <a:ext cx="76968" cy="7696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/>
            <a:lstStyle/>
            <a:p>
              <a:pPr defTabSz="914354">
                <a:defRPr/>
              </a:pPr>
              <a:endParaRPr lang="zh-CN" altLang="en-US" sz="700">
                <a:solidFill>
                  <a:srgbClr val="FFFFFF">
                    <a:lumMod val="50000"/>
                  </a:srgbClr>
                </a:solidFill>
                <a:effectLst>
                  <a:glow rad="228600">
                    <a:srgbClr val="333399">
                      <a:satMod val="175000"/>
                      <a:alpha val="40000"/>
                    </a:srgbClr>
                  </a:glow>
                </a:effectLst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  <p:sp>
          <p:nvSpPr>
            <p:cNvPr id="2380" name="等腰三角形 2379"/>
            <p:cNvSpPr/>
            <p:nvPr/>
          </p:nvSpPr>
          <p:spPr>
            <a:xfrm>
              <a:off x="893475" y="2852602"/>
              <a:ext cx="76968" cy="76968"/>
            </a:xfrm>
            <a:prstGeom prst="triangle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/>
            <a:p>
              <a:pPr algn="ctr" defTabSz="914354"/>
              <a:endParaRPr lang="zh-CN" altLang="en-US" sz="7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cs typeface="+mn-ea"/>
                <a:sym typeface="楷体" panose="02010609060101010101" pitchFamily="49" charset="-122"/>
              </a:endParaRPr>
            </a:p>
          </p:txBody>
        </p:sp>
      </p:grpSp>
      <p:sp>
        <p:nvSpPr>
          <p:cNvPr id="2381" name="Text Box 10"/>
          <p:cNvSpPr txBox="1">
            <a:spLocks noChangeArrowheads="1"/>
          </p:cNvSpPr>
          <p:nvPr/>
        </p:nvSpPr>
        <p:spPr bwMode="auto">
          <a:xfrm>
            <a:off x="2538067" y="1125656"/>
            <a:ext cx="916197" cy="3129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81277" tIns="40638" rIns="81277" bIns="40638" anchor="ctr">
            <a:spAutoFit/>
          </a:bodyPr>
          <a:lstStyle/>
          <a:p>
            <a:pPr algn="ctr" defTabSz="193359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>
                <a:solidFill>
                  <a:srgbClr val="DA0B1C"/>
                </a:solidFill>
                <a:latin typeface="Microsoft YaHei" charset="-122"/>
                <a:cs typeface="Microsoft YaHei" charset="-122"/>
              </a:rPr>
              <a:t>冷链</a:t>
            </a:r>
            <a:endParaRPr lang="en-US" sz="1500" dirty="0">
              <a:solidFill>
                <a:srgbClr val="DA0B1C"/>
              </a:solidFill>
              <a:latin typeface="Microsoft YaHei" charset="-122"/>
              <a:cs typeface="Microsoft YaHei" charset="-122"/>
            </a:endParaRPr>
          </a:p>
        </p:txBody>
      </p:sp>
      <p:sp>
        <p:nvSpPr>
          <p:cNvPr id="2382" name="Text Box 10"/>
          <p:cNvSpPr txBox="1">
            <a:spLocks noChangeArrowheads="1"/>
          </p:cNvSpPr>
          <p:nvPr/>
        </p:nvSpPr>
        <p:spPr bwMode="auto">
          <a:xfrm>
            <a:off x="791425" y="1125656"/>
            <a:ext cx="1051587" cy="3129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81277" tIns="40638" rIns="81277" bIns="40638" anchor="ctr">
            <a:spAutoFit/>
          </a:bodyPr>
          <a:lstStyle/>
          <a:p>
            <a:pPr algn="ctr" defTabSz="193359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>
                <a:solidFill>
                  <a:srgbClr val="DA0B1C"/>
                </a:solidFill>
                <a:latin typeface="微软雅黑"/>
                <a:cs typeface="Open Sans" pitchFamily="34" charset="0"/>
              </a:rPr>
              <a:t>中小件</a:t>
            </a:r>
            <a:endParaRPr lang="en-US" sz="1500" dirty="0">
              <a:solidFill>
                <a:srgbClr val="DA0B1C"/>
              </a:solidFill>
              <a:latin typeface="微软雅黑"/>
              <a:cs typeface="Open Sans" pitchFamily="34" charset="0"/>
            </a:endParaRPr>
          </a:p>
        </p:txBody>
      </p:sp>
      <p:sp>
        <p:nvSpPr>
          <p:cNvPr id="2383" name="Text Box 10"/>
          <p:cNvSpPr txBox="1">
            <a:spLocks noChangeArrowheads="1"/>
          </p:cNvSpPr>
          <p:nvPr/>
        </p:nvSpPr>
        <p:spPr bwMode="auto">
          <a:xfrm>
            <a:off x="1708653" y="1125656"/>
            <a:ext cx="927559" cy="3129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81277" tIns="40638" rIns="81277" bIns="40638" anchor="ctr">
            <a:spAutoFit/>
          </a:bodyPr>
          <a:lstStyle/>
          <a:p>
            <a:pPr algn="ctr" defTabSz="193359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>
                <a:solidFill>
                  <a:srgbClr val="DA0B1C"/>
                </a:solidFill>
                <a:latin typeface="微软雅黑"/>
                <a:cs typeface="Open Sans" pitchFamily="34" charset="0"/>
              </a:rPr>
              <a:t>大件</a:t>
            </a:r>
            <a:endParaRPr lang="en-US" sz="1500" dirty="0">
              <a:solidFill>
                <a:srgbClr val="DA0B1C"/>
              </a:solidFill>
              <a:latin typeface="微软雅黑"/>
              <a:cs typeface="Open Sans" pitchFamily="34" charset="0"/>
            </a:endParaRPr>
          </a:p>
        </p:txBody>
      </p:sp>
      <p:sp>
        <p:nvSpPr>
          <p:cNvPr id="2384" name="Text Box 10"/>
          <p:cNvSpPr txBox="1">
            <a:spLocks noChangeArrowheads="1"/>
          </p:cNvSpPr>
          <p:nvPr/>
        </p:nvSpPr>
        <p:spPr bwMode="auto">
          <a:xfrm>
            <a:off x="3114363" y="1125656"/>
            <a:ext cx="1272420" cy="3129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81277" tIns="40638" rIns="81277" bIns="40638" anchor="ctr">
            <a:spAutoFit/>
          </a:bodyPr>
          <a:lstStyle/>
          <a:p>
            <a:pPr algn="ctr" defTabSz="193359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500" dirty="0">
                <a:solidFill>
                  <a:srgbClr val="DA0B1C"/>
                </a:solidFill>
                <a:latin typeface="微软雅黑"/>
                <a:cs typeface="Open Sans" pitchFamily="34" charset="0"/>
              </a:rPr>
              <a:t>B2B</a:t>
            </a:r>
            <a:endParaRPr lang="en-US" sz="1500" dirty="0">
              <a:solidFill>
                <a:srgbClr val="DA0B1C"/>
              </a:solidFill>
              <a:latin typeface="微软雅黑"/>
              <a:cs typeface="Open Sans" pitchFamily="34" charset="0"/>
            </a:endParaRPr>
          </a:p>
        </p:txBody>
      </p:sp>
      <p:sp>
        <p:nvSpPr>
          <p:cNvPr id="2385" name="Text Box 10"/>
          <p:cNvSpPr txBox="1">
            <a:spLocks noChangeArrowheads="1"/>
          </p:cNvSpPr>
          <p:nvPr/>
        </p:nvSpPr>
        <p:spPr bwMode="auto">
          <a:xfrm>
            <a:off x="4886558" y="1125656"/>
            <a:ext cx="942689" cy="3129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81277" tIns="40638" rIns="81277" bIns="40638" anchor="ctr">
            <a:spAutoFit/>
          </a:bodyPr>
          <a:lstStyle/>
          <a:p>
            <a:pPr algn="ctr" defTabSz="193359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>
                <a:solidFill>
                  <a:srgbClr val="DA0B1C"/>
                </a:solidFill>
                <a:latin typeface="微软雅黑"/>
                <a:cs typeface="Open Sans" pitchFamily="34" charset="0"/>
              </a:rPr>
              <a:t>众包</a:t>
            </a:r>
            <a:endParaRPr lang="en-US" sz="1500" dirty="0">
              <a:solidFill>
                <a:srgbClr val="DA0B1C"/>
              </a:solidFill>
              <a:latin typeface="微软雅黑"/>
              <a:cs typeface="Open Sans" pitchFamily="34" charset="0"/>
            </a:endParaRPr>
          </a:p>
        </p:txBody>
      </p:sp>
      <p:sp>
        <p:nvSpPr>
          <p:cNvPr id="2386" name="Text Box 10"/>
          <p:cNvSpPr txBox="1">
            <a:spLocks noChangeArrowheads="1"/>
          </p:cNvSpPr>
          <p:nvPr/>
        </p:nvSpPr>
        <p:spPr bwMode="auto">
          <a:xfrm>
            <a:off x="4022729" y="1125656"/>
            <a:ext cx="942689" cy="31290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81277" tIns="40638" rIns="81277" bIns="40638" anchor="ctr">
            <a:spAutoFit/>
          </a:bodyPr>
          <a:lstStyle/>
          <a:p>
            <a:pPr algn="ctr" defTabSz="193359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>
                <a:solidFill>
                  <a:srgbClr val="DA0B1C"/>
                </a:solidFill>
                <a:latin typeface="Microsoft YaHei" charset="-122"/>
                <a:cs typeface="Microsoft YaHei" charset="-122"/>
              </a:rPr>
              <a:t>跨境</a:t>
            </a:r>
            <a:endParaRPr lang="en-US" sz="1500" dirty="0">
              <a:solidFill>
                <a:srgbClr val="DA0B1C"/>
              </a:solidFill>
              <a:latin typeface="Microsoft YaHei" charset="-122"/>
              <a:cs typeface="Microsoft YaHei" charset="-122"/>
            </a:endParaRPr>
          </a:p>
        </p:txBody>
      </p:sp>
      <p:pic>
        <p:nvPicPr>
          <p:cNvPr id="2387" name="图片 246"/>
          <p:cNvPicPr>
            <a:picLocks noChangeAspect="1"/>
          </p:cNvPicPr>
          <p:nvPr/>
        </p:nvPicPr>
        <p:blipFill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62" y="1109559"/>
            <a:ext cx="336369" cy="345100"/>
          </a:xfrm>
          <a:prstGeom prst="rect">
            <a:avLst/>
          </a:prstGeom>
        </p:spPr>
      </p:pic>
      <p:pic>
        <p:nvPicPr>
          <p:cNvPr id="2388" name="图片 24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6862" y="1164255"/>
            <a:ext cx="244679" cy="235708"/>
          </a:xfrm>
          <a:prstGeom prst="rect">
            <a:avLst/>
          </a:prstGeom>
        </p:spPr>
      </p:pic>
      <p:pic>
        <p:nvPicPr>
          <p:cNvPr id="2389" name="图片 248"/>
          <p:cNvPicPr>
            <a:picLocks noChangeAspect="1"/>
          </p:cNvPicPr>
          <p:nvPr/>
        </p:nvPicPr>
        <p:blipFill>
          <a:blip r:embed="rId1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3247" y="1125247"/>
            <a:ext cx="305791" cy="313727"/>
          </a:xfrm>
          <a:prstGeom prst="rect">
            <a:avLst/>
          </a:prstGeom>
        </p:spPr>
      </p:pic>
      <p:pic>
        <p:nvPicPr>
          <p:cNvPr id="2390" name="图片 249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763" y="1139507"/>
            <a:ext cx="277992" cy="285207"/>
          </a:xfrm>
          <a:prstGeom prst="rect">
            <a:avLst/>
          </a:prstGeom>
        </p:spPr>
      </p:pic>
      <p:pic>
        <p:nvPicPr>
          <p:cNvPr id="2391" name="图片 250"/>
          <p:cNvPicPr>
            <a:picLocks noChangeAspect="1"/>
          </p:cNvPicPr>
          <p:nvPr/>
        </p:nvPicPr>
        <p:blipFill>
          <a:blip r:embed="rId2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8058" y="1109559"/>
            <a:ext cx="336369" cy="345100"/>
          </a:xfrm>
          <a:prstGeom prst="rect">
            <a:avLst/>
          </a:prstGeom>
        </p:spPr>
      </p:pic>
      <p:pic>
        <p:nvPicPr>
          <p:cNvPr id="2392" name="图片 25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8088" y="1139506"/>
            <a:ext cx="277992" cy="285207"/>
          </a:xfrm>
          <a:prstGeom prst="rect">
            <a:avLst/>
          </a:prstGeom>
        </p:spPr>
      </p:pic>
      <p:sp>
        <p:nvSpPr>
          <p:cNvPr id="2393" name="文本框 218"/>
          <p:cNvSpPr txBox="1"/>
          <p:nvPr/>
        </p:nvSpPr>
        <p:spPr>
          <a:xfrm>
            <a:off x="8055299" y="4617575"/>
            <a:ext cx="1069711" cy="507831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rgbClr val="C00000"/>
                </a:solidFill>
                <a:cs typeface="Arial" panose="020B0604020202020204" pitchFamily="34" charset="0"/>
              </a:rPr>
              <a:t>224</a:t>
            </a:r>
            <a:r>
              <a:rPr lang="zh-CN" altLang="en-US" sz="1600" b="1" dirty="0">
                <a:solidFill>
                  <a:srgbClr val="C00000"/>
                </a:solidFill>
                <a:cs typeface="Arial" panose="020B0604020202020204" pitchFamily="34" charset="0"/>
              </a:rPr>
              <a:t>个</a:t>
            </a:r>
            <a:endParaRPr lang="en-US" altLang="zh-CN" sz="1600" b="1" dirty="0">
              <a:solidFill>
                <a:srgbClr val="C00000"/>
              </a:solidFill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FFFFFF">
                    <a:lumMod val="50000"/>
                  </a:srgbClr>
                </a:solidFill>
              </a:rPr>
              <a:t>覆盖国家</a:t>
            </a:r>
          </a:p>
        </p:txBody>
      </p:sp>
      <p:pic>
        <p:nvPicPr>
          <p:cNvPr id="1445" name="图片 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7103" y="4576062"/>
            <a:ext cx="261205" cy="384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6232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矩形 92"/>
          <p:cNvSpPr/>
          <p:nvPr/>
        </p:nvSpPr>
        <p:spPr>
          <a:xfrm>
            <a:off x="625760" y="949587"/>
            <a:ext cx="5416965" cy="2865600"/>
          </a:xfrm>
          <a:prstGeom prst="rect">
            <a:avLst/>
          </a:prstGeom>
          <a:solidFill>
            <a:srgbClr val="F2F2F2">
              <a:alpha val="23922"/>
            </a:srgbClr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33" name="矩形 132"/>
          <p:cNvSpPr/>
          <p:nvPr/>
        </p:nvSpPr>
        <p:spPr>
          <a:xfrm>
            <a:off x="6230749" y="949589"/>
            <a:ext cx="5475351" cy="2866251"/>
          </a:xfrm>
          <a:prstGeom prst="rect">
            <a:avLst/>
          </a:prstGeom>
          <a:solidFill>
            <a:srgbClr val="F2F2F2">
              <a:alpha val="23922"/>
            </a:srgbClr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9408" y="35201"/>
            <a:ext cx="9849063" cy="816000"/>
          </a:xfrm>
        </p:spPr>
        <p:txBody>
          <a:bodyPr wrap="square" lIns="0" tIns="45718" rIns="91430" bIns="45718" anchor="ctr" anchorCtr="0">
            <a:noAutofit/>
          </a:bodyPr>
          <a:lstStyle/>
          <a:p>
            <a:r>
              <a:rPr lang="zh-CN" altLang="en-US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持续塑造全球最佳的客户体验</a:t>
            </a:r>
            <a:endParaRPr lang="zh-CN" altLang="en-US" dirty="0">
              <a:solidFill>
                <a:srgbClr val="DA0B1C"/>
              </a:solidFill>
              <a:latin typeface="微软雅黑" panose="020B0503020204020204" pitchFamily="34" charset="-122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411153" y="1995541"/>
            <a:ext cx="3489051" cy="1926043"/>
            <a:chOff x="411153" y="1568821"/>
            <a:chExt cx="3489051" cy="1926043"/>
          </a:xfrm>
        </p:grpSpPr>
        <p:graphicFrame>
          <p:nvGraphicFramePr>
            <p:cNvPr id="82" name="图表 81"/>
            <p:cNvGraphicFramePr/>
            <p:nvPr>
              <p:extLst/>
            </p:nvPr>
          </p:nvGraphicFramePr>
          <p:xfrm>
            <a:off x="411153" y="1568821"/>
            <a:ext cx="3489051" cy="192604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95" name="文本框 94"/>
            <p:cNvSpPr txBox="1"/>
            <p:nvPr/>
          </p:nvSpPr>
          <p:spPr>
            <a:xfrm>
              <a:off x="1939586" y="2228925"/>
              <a:ext cx="580596" cy="323161"/>
            </a:xfrm>
            <a:prstGeom prst="rect">
              <a:avLst/>
            </a:prstGeom>
            <a:noFill/>
          </p:spPr>
          <p:txBody>
            <a:bodyPr wrap="none" lIns="91434" tIns="45718" rIns="91434" bIns="45718" rtlCol="0">
              <a:spAutoFit/>
            </a:bodyPr>
            <a:lstStyle/>
            <a:p>
              <a:pPr defTabSz="91435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500" dirty="0">
                  <a:solidFill>
                    <a:srgbClr val="DA0B1C"/>
                  </a:solidFill>
                  <a:latin typeface="微软雅黑" panose="020B0503020204020204" pitchFamily="34" charset="-122"/>
                </a:rPr>
                <a:t>56%</a:t>
              </a:r>
              <a:endParaRPr lang="zh-CN" altLang="en-US" sz="1500" dirty="0">
                <a:solidFill>
                  <a:srgbClr val="DA0B1C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2832513" y="2053299"/>
            <a:ext cx="3491539" cy="1810524"/>
            <a:chOff x="2655089" y="1568819"/>
            <a:chExt cx="3491539" cy="1810524"/>
          </a:xfrm>
        </p:grpSpPr>
        <p:graphicFrame>
          <p:nvGraphicFramePr>
            <p:cNvPr id="98" name="图表 97"/>
            <p:cNvGraphicFramePr/>
            <p:nvPr>
              <p:extLst/>
            </p:nvPr>
          </p:nvGraphicFramePr>
          <p:xfrm>
            <a:off x="2655089" y="1568819"/>
            <a:ext cx="3491539" cy="181052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99" name="文本框 98"/>
            <p:cNvSpPr txBox="1"/>
            <p:nvPr/>
          </p:nvSpPr>
          <p:spPr>
            <a:xfrm>
              <a:off x="4198898" y="2187362"/>
              <a:ext cx="580596" cy="323161"/>
            </a:xfrm>
            <a:prstGeom prst="rect">
              <a:avLst/>
            </a:prstGeom>
            <a:noFill/>
          </p:spPr>
          <p:txBody>
            <a:bodyPr wrap="none" lIns="91434" tIns="45718" rIns="91434" bIns="45718" rtlCol="0">
              <a:spAutoFit/>
            </a:bodyPr>
            <a:lstStyle/>
            <a:p>
              <a:pPr defTabSz="91435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500" dirty="0">
                  <a:solidFill>
                    <a:srgbClr val="DA0B1C"/>
                  </a:solidFill>
                  <a:latin typeface="微软雅黑" panose="020B0503020204020204" pitchFamily="34" charset="-122"/>
                </a:rPr>
                <a:t>90%</a:t>
              </a:r>
              <a:endParaRPr lang="zh-CN" altLang="en-US" sz="1500" dirty="0">
                <a:solidFill>
                  <a:srgbClr val="DA0B1C"/>
                </a:solidFill>
                <a:latin typeface="微软雅黑" panose="020B0503020204020204" pitchFamily="34" charset="-122"/>
              </a:endParaRPr>
            </a:p>
          </p:txBody>
        </p:sp>
      </p:grpSp>
      <p:sp>
        <p:nvSpPr>
          <p:cNvPr id="100" name="文本框 99"/>
          <p:cNvSpPr txBox="1"/>
          <p:nvPr/>
        </p:nvSpPr>
        <p:spPr>
          <a:xfrm>
            <a:off x="1300323" y="1549789"/>
            <a:ext cx="1710713" cy="276995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京东当日达完成订单**</a:t>
            </a:r>
          </a:p>
        </p:txBody>
      </p:sp>
      <p:sp>
        <p:nvSpPr>
          <p:cNvPr id="102" name="文本框 101"/>
          <p:cNvSpPr txBox="1"/>
          <p:nvPr/>
        </p:nvSpPr>
        <p:spPr>
          <a:xfrm>
            <a:off x="3415149" y="1549789"/>
            <a:ext cx="2326267" cy="276995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京东当日达及次日达完成订单**</a:t>
            </a:r>
          </a:p>
        </p:txBody>
      </p:sp>
      <p:sp>
        <p:nvSpPr>
          <p:cNvPr id="103" name="圆角矩形 102"/>
          <p:cNvSpPr/>
          <p:nvPr/>
        </p:nvSpPr>
        <p:spPr>
          <a:xfrm>
            <a:off x="2460402" y="1024517"/>
            <a:ext cx="1861463" cy="374571"/>
          </a:xfrm>
          <a:prstGeom prst="roundRect">
            <a:avLst/>
          </a:prstGeom>
          <a:noFill/>
        </p:spPr>
        <p:txBody>
          <a:bodyPr wrap="none" lIns="91430" tIns="45718" rIns="91430" bIns="45718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DA0B1C"/>
                </a:solidFill>
                <a:latin typeface="微软雅黑" panose="020B0503020204020204" pitchFamily="34" charset="-122"/>
              </a:rPr>
              <a:t>运营效率优势显著</a:t>
            </a:r>
          </a:p>
        </p:txBody>
      </p:sp>
      <p:pic>
        <p:nvPicPr>
          <p:cNvPr id="104" name="图片 10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547" y="1004511"/>
            <a:ext cx="414583" cy="414583"/>
          </a:xfrm>
          <a:prstGeom prst="rect">
            <a:avLst/>
          </a:prstGeom>
        </p:spPr>
      </p:pic>
      <p:sp>
        <p:nvSpPr>
          <p:cNvPr id="105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2270625" y="3433131"/>
            <a:ext cx="2127241" cy="303199"/>
          </a:xfrm>
        </p:spPr>
        <p:txBody>
          <a:bodyPr lIns="119986" anchor="ctr"/>
          <a:lstStyle/>
          <a:p>
            <a:pPr algn="ctr"/>
            <a:r>
              <a:rPr lang="zh-CN" altLang="en-US" sz="900" i="1" dirty="0"/>
              <a:t>**京东配送时效数据：截止</a:t>
            </a:r>
            <a:r>
              <a:rPr lang="en-US" altLang="zh-CN" sz="900" i="1" dirty="0"/>
              <a:t>2018</a:t>
            </a:r>
            <a:r>
              <a:rPr lang="zh-CN" altLang="en-US" sz="900" i="1" dirty="0"/>
              <a:t>年</a:t>
            </a:r>
            <a:r>
              <a:rPr lang="en-US" altLang="zh-CN" sz="900" i="1" dirty="0"/>
              <a:t>6</a:t>
            </a:r>
            <a:r>
              <a:rPr lang="zh-CN" altLang="en-US" sz="900" i="1" dirty="0"/>
              <a:t>月</a:t>
            </a:r>
          </a:p>
        </p:txBody>
      </p:sp>
      <p:sp>
        <p:nvSpPr>
          <p:cNvPr id="121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6318560" y="3293803"/>
            <a:ext cx="2656424" cy="581855"/>
          </a:xfrm>
        </p:spPr>
        <p:txBody>
          <a:bodyPr lIns="119986" anchor="ctr"/>
          <a:lstStyle/>
          <a:p>
            <a:pPr algn="l"/>
            <a:r>
              <a:rPr lang="zh-CN" altLang="en-US" sz="900" i="1" dirty="0"/>
              <a:t>*数据来源：国家邮政局邮政业消费者申诉情况的通告</a:t>
            </a:r>
            <a:r>
              <a:rPr lang="en-US" altLang="zh-CN" sz="900" i="1" dirty="0"/>
              <a:t>(2018</a:t>
            </a:r>
            <a:r>
              <a:rPr lang="zh-CN" altLang="en-US" sz="900" i="1" dirty="0"/>
              <a:t>年</a:t>
            </a:r>
            <a:r>
              <a:rPr lang="en-US" altLang="zh-CN" sz="900" i="1" dirty="0"/>
              <a:t>1-6</a:t>
            </a:r>
            <a:r>
              <a:rPr lang="zh-CN" altLang="en-US" sz="900" i="1" dirty="0"/>
              <a:t>月</a:t>
            </a:r>
            <a:r>
              <a:rPr lang="en-US" altLang="zh-CN" sz="900" i="1" dirty="0"/>
              <a:t>)</a:t>
            </a:r>
            <a:r>
              <a:rPr lang="zh-CN" altLang="en-US" sz="900" i="1" dirty="0"/>
              <a:t>，取中位数</a:t>
            </a:r>
          </a:p>
        </p:txBody>
      </p:sp>
      <p:sp>
        <p:nvSpPr>
          <p:cNvPr id="125" name="文本框 124"/>
          <p:cNvSpPr txBox="1"/>
          <p:nvPr/>
        </p:nvSpPr>
        <p:spPr>
          <a:xfrm>
            <a:off x="6452654" y="1457454"/>
            <a:ext cx="2485865" cy="461665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有效申诉率</a:t>
            </a:r>
            <a:r>
              <a:rPr lang="zh-CN" altLang="en-US" sz="1200" baseline="30000" dirty="0">
                <a:solidFill>
                  <a:srgbClr val="777777"/>
                </a:solidFill>
                <a:latin typeface="微软雅黑" panose="020B0503020204020204" pitchFamily="34" charset="-122"/>
              </a:rPr>
              <a:t>*</a:t>
            </a:r>
            <a:endParaRPr lang="en-US" altLang="zh-CN" sz="1200" baseline="30000" dirty="0">
              <a:solidFill>
                <a:srgbClr val="777777"/>
              </a:solidFill>
              <a:latin typeface="微软雅黑" panose="020B0503020204020204" pitchFamily="34" charset="-122"/>
            </a:endParaRPr>
          </a:p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（件有效申诉</a:t>
            </a:r>
            <a:r>
              <a:rPr lang="en-US" altLang="zh-CN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/</a:t>
            </a: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百万件快件）</a:t>
            </a:r>
          </a:p>
        </p:txBody>
      </p:sp>
      <p:sp>
        <p:nvSpPr>
          <p:cNvPr id="127" name="文本框 126"/>
          <p:cNvSpPr txBox="1"/>
          <p:nvPr/>
        </p:nvSpPr>
        <p:spPr>
          <a:xfrm>
            <a:off x="9182004" y="1549789"/>
            <a:ext cx="2485865" cy="276995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用户满意度行业排名*</a:t>
            </a:r>
          </a:p>
        </p:txBody>
      </p:sp>
      <p:grpSp>
        <p:nvGrpSpPr>
          <p:cNvPr id="12" name="组合 11"/>
          <p:cNvGrpSpPr/>
          <p:nvPr/>
        </p:nvGrpSpPr>
        <p:grpSpPr>
          <a:xfrm>
            <a:off x="6428332" y="1925753"/>
            <a:ext cx="2656424" cy="1553555"/>
            <a:chOff x="6484907" y="1931202"/>
            <a:chExt cx="2656424" cy="1553554"/>
          </a:xfrm>
        </p:grpSpPr>
        <p:graphicFrame>
          <p:nvGraphicFramePr>
            <p:cNvPr id="126" name="图表 125"/>
            <p:cNvGraphicFramePr/>
            <p:nvPr>
              <p:extLst/>
            </p:nvPr>
          </p:nvGraphicFramePr>
          <p:xfrm>
            <a:off x="6484907" y="1935444"/>
            <a:ext cx="2656424" cy="15493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129" name="Freeform 1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4431245" flipV="1">
              <a:off x="7525957" y="2035044"/>
              <a:ext cx="881195" cy="673511"/>
            </a:xfrm>
            <a:custGeom>
              <a:avLst/>
              <a:gdLst>
                <a:gd name="T0" fmla="*/ 0 w 509"/>
                <a:gd name="T1" fmla="*/ 0 h 134"/>
                <a:gd name="T2" fmla="*/ 2147483647 w 509"/>
                <a:gd name="T3" fmla="*/ 2147483647 h 134"/>
                <a:gd name="T4" fmla="*/ 2147483647 w 509"/>
                <a:gd name="T5" fmla="*/ 2147483647 h 134"/>
                <a:gd name="T6" fmla="*/ 2147483647 w 509"/>
                <a:gd name="T7" fmla="*/ 2147483647 h 134"/>
                <a:gd name="T8" fmla="*/ 2147483647 w 509"/>
                <a:gd name="T9" fmla="*/ 2147483647 h 134"/>
                <a:gd name="T10" fmla="*/ 2147483647 w 509"/>
                <a:gd name="T11" fmla="*/ 2147483647 h 134"/>
                <a:gd name="T12" fmla="*/ 0 w 509"/>
                <a:gd name="T13" fmla="*/ 0 h 1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9"/>
                <a:gd name="T22" fmla="*/ 0 h 134"/>
                <a:gd name="T23" fmla="*/ 509 w 509"/>
                <a:gd name="T24" fmla="*/ 134 h 1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9" h="134">
                  <a:moveTo>
                    <a:pt x="0" y="0"/>
                  </a:moveTo>
                  <a:cubicBezTo>
                    <a:pt x="100" y="45"/>
                    <a:pt x="250" y="92"/>
                    <a:pt x="469" y="119"/>
                  </a:cubicBezTo>
                  <a:lnTo>
                    <a:pt x="469" y="134"/>
                  </a:lnTo>
                  <a:lnTo>
                    <a:pt x="509" y="110"/>
                  </a:lnTo>
                  <a:lnTo>
                    <a:pt x="469" y="84"/>
                  </a:lnTo>
                  <a:lnTo>
                    <a:pt x="469" y="100"/>
                  </a:lnTo>
                  <a:cubicBezTo>
                    <a:pt x="207" y="80"/>
                    <a:pt x="108" y="36"/>
                    <a:pt x="0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vert="eaVert" wrap="none" lIns="102943" tIns="51471" rIns="102943" bIns="51471" anchor="ctr"/>
            <a:lstStyle/>
            <a:p>
              <a:pPr defTabSz="914354"/>
              <a:endParaRPr sz="2500" dirty="0">
                <a:solidFill>
                  <a:srgbClr val="608BC4"/>
                </a:solidFill>
                <a:latin typeface="微软雅黑" panose="020B0503020204020204" pitchFamily="34" charset="-122"/>
                <a:cs typeface="Arial" charset="0"/>
              </a:endParaRPr>
            </a:p>
          </p:txBody>
        </p:sp>
      </p:grpSp>
      <p:sp>
        <p:nvSpPr>
          <p:cNvPr id="130" name="圆角矩形 129"/>
          <p:cNvSpPr/>
          <p:nvPr/>
        </p:nvSpPr>
        <p:spPr>
          <a:xfrm>
            <a:off x="8025184" y="1024517"/>
            <a:ext cx="1861464" cy="374571"/>
          </a:xfrm>
          <a:prstGeom prst="roundRect">
            <a:avLst/>
          </a:prstGeom>
          <a:noFill/>
        </p:spPr>
        <p:txBody>
          <a:bodyPr wrap="none" lIns="91430" tIns="45718" rIns="91430" bIns="45718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DA0B1C"/>
                </a:solidFill>
                <a:latin typeface="微软雅黑" panose="020B0503020204020204" pitchFamily="34" charset="-122"/>
              </a:rPr>
              <a:t>用户口碑远超行业</a:t>
            </a:r>
          </a:p>
        </p:txBody>
      </p:sp>
      <p:pic>
        <p:nvPicPr>
          <p:cNvPr id="131" name="图片 13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0782" y="1004147"/>
            <a:ext cx="415311" cy="415311"/>
          </a:xfrm>
          <a:prstGeom prst="rect">
            <a:avLst/>
          </a:prstGeom>
        </p:spPr>
      </p:pic>
      <p:sp>
        <p:nvSpPr>
          <p:cNvPr id="132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8980993" y="3293803"/>
            <a:ext cx="2656424" cy="581855"/>
          </a:xfrm>
        </p:spPr>
        <p:txBody>
          <a:bodyPr lIns="119986" anchor="ctr"/>
          <a:lstStyle/>
          <a:p>
            <a:pPr algn="l"/>
            <a:r>
              <a:rPr lang="zh-CN" altLang="en-US" sz="900" i="1" dirty="0"/>
              <a:t>*数据来源：</a:t>
            </a:r>
            <a:r>
              <a:rPr lang="en-US" altLang="zh-CN" sz="900" i="1" dirty="0"/>
              <a:t>2018</a:t>
            </a:r>
            <a:r>
              <a:rPr lang="zh-CN" altLang="en-US" sz="900" i="1" dirty="0"/>
              <a:t>年第二季度国家邮政总局快递服务满意度调查</a:t>
            </a:r>
          </a:p>
        </p:txBody>
      </p:sp>
      <p:grpSp>
        <p:nvGrpSpPr>
          <p:cNvPr id="14" name="组合 13"/>
          <p:cNvGrpSpPr/>
          <p:nvPr/>
        </p:nvGrpSpPr>
        <p:grpSpPr>
          <a:xfrm>
            <a:off x="10107252" y="2191965"/>
            <a:ext cx="635369" cy="1021131"/>
            <a:chOff x="10094367" y="2191964"/>
            <a:chExt cx="635369" cy="1021130"/>
          </a:xfrm>
        </p:grpSpPr>
        <p:sp>
          <p:nvSpPr>
            <p:cNvPr id="201" name="Shape 16858"/>
            <p:cNvSpPr/>
            <p:nvPr/>
          </p:nvSpPr>
          <p:spPr>
            <a:xfrm>
              <a:off x="10094367" y="2191964"/>
              <a:ext cx="635369" cy="10211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932" y="11944"/>
                  </a:moveTo>
                  <a:cubicBezTo>
                    <a:pt x="16098" y="12833"/>
                    <a:pt x="13857" y="13468"/>
                    <a:pt x="11208" y="13595"/>
                  </a:cubicBezTo>
                  <a:cubicBezTo>
                    <a:pt x="14672" y="21600"/>
                    <a:pt x="14672" y="21600"/>
                    <a:pt x="14672" y="21600"/>
                  </a:cubicBezTo>
                  <a:cubicBezTo>
                    <a:pt x="17117" y="18932"/>
                    <a:pt x="17117" y="18932"/>
                    <a:pt x="17117" y="18932"/>
                  </a:cubicBezTo>
                  <a:cubicBezTo>
                    <a:pt x="21600" y="20456"/>
                    <a:pt x="21600" y="20456"/>
                    <a:pt x="21600" y="20456"/>
                  </a:cubicBezTo>
                  <a:lnTo>
                    <a:pt x="17932" y="11944"/>
                  </a:lnTo>
                  <a:close/>
                  <a:moveTo>
                    <a:pt x="10596" y="2668"/>
                  </a:moveTo>
                  <a:cubicBezTo>
                    <a:pt x="7336" y="2668"/>
                    <a:pt x="4687" y="4320"/>
                    <a:pt x="4687" y="6353"/>
                  </a:cubicBezTo>
                  <a:cubicBezTo>
                    <a:pt x="4687" y="8259"/>
                    <a:pt x="7336" y="9911"/>
                    <a:pt x="10596" y="9911"/>
                  </a:cubicBezTo>
                  <a:cubicBezTo>
                    <a:pt x="13857" y="9911"/>
                    <a:pt x="16506" y="8259"/>
                    <a:pt x="16506" y="6353"/>
                  </a:cubicBezTo>
                  <a:cubicBezTo>
                    <a:pt x="16506" y="4320"/>
                    <a:pt x="13857" y="2668"/>
                    <a:pt x="10596" y="2668"/>
                  </a:cubicBezTo>
                  <a:close/>
                  <a:moveTo>
                    <a:pt x="20581" y="6353"/>
                  </a:moveTo>
                  <a:cubicBezTo>
                    <a:pt x="20581" y="2795"/>
                    <a:pt x="16098" y="0"/>
                    <a:pt x="10596" y="0"/>
                  </a:cubicBezTo>
                  <a:cubicBezTo>
                    <a:pt x="4891" y="0"/>
                    <a:pt x="408" y="2795"/>
                    <a:pt x="408" y="6353"/>
                  </a:cubicBezTo>
                  <a:cubicBezTo>
                    <a:pt x="408" y="9784"/>
                    <a:pt x="4891" y="12579"/>
                    <a:pt x="10596" y="12579"/>
                  </a:cubicBezTo>
                  <a:cubicBezTo>
                    <a:pt x="16098" y="12579"/>
                    <a:pt x="20581" y="9784"/>
                    <a:pt x="20581" y="6353"/>
                  </a:cubicBezTo>
                  <a:close/>
                  <a:moveTo>
                    <a:pt x="10596" y="11054"/>
                  </a:moveTo>
                  <a:cubicBezTo>
                    <a:pt x="6317" y="11054"/>
                    <a:pt x="3057" y="8894"/>
                    <a:pt x="3057" y="6353"/>
                  </a:cubicBezTo>
                  <a:cubicBezTo>
                    <a:pt x="3057" y="3685"/>
                    <a:pt x="6317" y="1652"/>
                    <a:pt x="10596" y="1652"/>
                  </a:cubicBezTo>
                  <a:cubicBezTo>
                    <a:pt x="14672" y="1652"/>
                    <a:pt x="18136" y="3685"/>
                    <a:pt x="18136" y="6353"/>
                  </a:cubicBezTo>
                  <a:cubicBezTo>
                    <a:pt x="18136" y="8894"/>
                    <a:pt x="14672" y="11054"/>
                    <a:pt x="10596" y="11054"/>
                  </a:cubicBezTo>
                  <a:close/>
                  <a:moveTo>
                    <a:pt x="0" y="18805"/>
                  </a:moveTo>
                  <a:cubicBezTo>
                    <a:pt x="4279" y="17153"/>
                    <a:pt x="4279" y="17153"/>
                    <a:pt x="4279" y="17153"/>
                  </a:cubicBezTo>
                  <a:cubicBezTo>
                    <a:pt x="6928" y="19948"/>
                    <a:pt x="6928" y="19948"/>
                    <a:pt x="6928" y="19948"/>
                  </a:cubicBezTo>
                  <a:cubicBezTo>
                    <a:pt x="9577" y="13595"/>
                    <a:pt x="9577" y="13595"/>
                    <a:pt x="9577" y="13595"/>
                  </a:cubicBezTo>
                  <a:cubicBezTo>
                    <a:pt x="7132" y="13468"/>
                    <a:pt x="4687" y="12833"/>
                    <a:pt x="2853" y="11816"/>
                  </a:cubicBezTo>
                  <a:lnTo>
                    <a:pt x="0" y="18805"/>
                  </a:lnTo>
                  <a:close/>
                </a:path>
              </a:pathLst>
            </a:custGeom>
            <a:solidFill>
              <a:srgbClr val="C00000"/>
            </a:solidFill>
            <a:ln w="12700">
              <a:miter lim="400000"/>
            </a:ln>
          </p:spPr>
          <p:txBody>
            <a:bodyPr lIns="0" tIns="0" rIns="0" bIns="0"/>
            <a:lstStyle/>
            <a:p>
              <a:pPr defTabSz="914354"/>
              <a:endParaRPr dirty="0">
                <a:solidFill>
                  <a:srgbClr val="777777"/>
                </a:solidFill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10241284" y="2294435"/>
              <a:ext cx="32733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/>
              <a:r>
                <a:rPr lang="en-US" altLang="zh-CN" sz="2000" b="1" dirty="0">
                  <a:solidFill>
                    <a:srgbClr val="FFFFFF"/>
                  </a:solidFill>
                </a:rPr>
                <a:t>1</a:t>
              </a:r>
              <a:endParaRPr lang="zh-CN" altLang="en-US" sz="2000" b="1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96" name="Straight Connector 34"/>
          <p:cNvCxnSpPr/>
          <p:nvPr/>
        </p:nvCxnSpPr>
        <p:spPr>
          <a:xfrm rot="5400000">
            <a:off x="2715225" y="5657987"/>
            <a:ext cx="439651" cy="42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34"/>
          <p:cNvCxnSpPr/>
          <p:nvPr/>
        </p:nvCxnSpPr>
        <p:spPr>
          <a:xfrm rot="5400000">
            <a:off x="6086378" y="5617717"/>
            <a:ext cx="439651" cy="91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34"/>
          <p:cNvCxnSpPr/>
          <p:nvPr/>
        </p:nvCxnSpPr>
        <p:spPr>
          <a:xfrm rot="5400000">
            <a:off x="4952125" y="5656407"/>
            <a:ext cx="439651" cy="42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矩形 107"/>
          <p:cNvSpPr/>
          <p:nvPr/>
        </p:nvSpPr>
        <p:spPr>
          <a:xfrm>
            <a:off x="625760" y="3992087"/>
            <a:ext cx="11080333" cy="2544047"/>
          </a:xfrm>
          <a:prstGeom prst="rect">
            <a:avLst/>
          </a:prstGeom>
          <a:solidFill>
            <a:srgbClr val="FFB8B8">
              <a:alpha val="10196"/>
            </a:srgbClr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09" name="菱形 108"/>
          <p:cNvSpPr/>
          <p:nvPr/>
        </p:nvSpPr>
        <p:spPr>
          <a:xfrm>
            <a:off x="9012132" y="4793223"/>
            <a:ext cx="352541" cy="352541"/>
          </a:xfrm>
          <a:prstGeom prst="diamond">
            <a:avLst/>
          </a:prstGeom>
          <a:solidFill>
            <a:schemeClr val="accent1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10" name="菱形 109"/>
          <p:cNvSpPr/>
          <p:nvPr/>
        </p:nvSpPr>
        <p:spPr>
          <a:xfrm>
            <a:off x="5039348" y="4668800"/>
            <a:ext cx="352541" cy="352541"/>
          </a:xfrm>
          <a:prstGeom prst="diamond">
            <a:avLst/>
          </a:prstGeom>
          <a:solidFill>
            <a:schemeClr val="accent1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11" name="菱形 110"/>
          <p:cNvSpPr/>
          <p:nvPr/>
        </p:nvSpPr>
        <p:spPr>
          <a:xfrm>
            <a:off x="3888392" y="4250848"/>
            <a:ext cx="352541" cy="352541"/>
          </a:xfrm>
          <a:prstGeom prst="diamond">
            <a:avLst/>
          </a:prstGeom>
          <a:solidFill>
            <a:schemeClr val="accent1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12" name="文本框 111"/>
          <p:cNvSpPr txBox="1"/>
          <p:nvPr/>
        </p:nvSpPr>
        <p:spPr>
          <a:xfrm>
            <a:off x="2268301" y="5829325"/>
            <a:ext cx="1745872" cy="446272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公司</a:t>
            </a:r>
            <a:r>
              <a:rPr lang="en-US" altLang="zh-CN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A</a:t>
            </a: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推出隔日达</a:t>
            </a:r>
            <a:endParaRPr lang="en-US" altLang="zh-CN" sz="1200" dirty="0">
              <a:solidFill>
                <a:srgbClr val="777777"/>
              </a:solidFill>
              <a:latin typeface="微软雅黑" panose="020B0503020204020204" pitchFamily="34" charset="-122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777777"/>
                </a:solidFill>
                <a:latin typeface="微软雅黑" panose="020B0503020204020204" pitchFamily="34" charset="-122"/>
              </a:rPr>
              <a:t>（仅针对美国优选会员）</a:t>
            </a:r>
          </a:p>
        </p:txBody>
      </p:sp>
      <p:sp>
        <p:nvSpPr>
          <p:cNvPr id="113" name="文本框 112"/>
          <p:cNvSpPr txBox="1"/>
          <p:nvPr/>
        </p:nvSpPr>
        <p:spPr>
          <a:xfrm>
            <a:off x="7591957" y="4628647"/>
            <a:ext cx="2295927" cy="646327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DA0B1C"/>
                </a:solidFill>
                <a:latin typeface="微软雅黑" panose="020B0503020204020204" pitchFamily="34" charset="-122"/>
              </a:rPr>
              <a:t>京准达</a:t>
            </a:r>
            <a:endParaRPr lang="en-US" altLang="zh-CN" sz="1200" dirty="0">
              <a:solidFill>
                <a:srgbClr val="DA0B1C"/>
              </a:solidFill>
              <a:latin typeface="微软雅黑" panose="020B0503020204020204" pitchFamily="34" charset="-122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配送时间可选，</a:t>
            </a: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时间窗最短</a:t>
            </a:r>
            <a:r>
              <a:rPr lang="en-US" altLang="zh-CN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30</a:t>
            </a:r>
            <a:r>
              <a:rPr lang="zh-CN" altLang="en-US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分钟</a:t>
            </a:r>
          </a:p>
        </p:txBody>
      </p:sp>
      <p:sp>
        <p:nvSpPr>
          <p:cNvPr id="119" name="文本框 118"/>
          <p:cNvSpPr txBox="1"/>
          <p:nvPr/>
        </p:nvSpPr>
        <p:spPr>
          <a:xfrm>
            <a:off x="9329953" y="4793206"/>
            <a:ext cx="1983931" cy="461665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DA0B1C"/>
                </a:solidFill>
                <a:latin typeface="微软雅黑" panose="020B0503020204020204" pitchFamily="34" charset="-122"/>
              </a:rPr>
              <a:t>京尊达</a:t>
            </a:r>
            <a:endParaRPr lang="en-US" altLang="zh-CN" sz="1200" dirty="0">
              <a:solidFill>
                <a:srgbClr val="DA0B1C"/>
              </a:solidFill>
              <a:latin typeface="微软雅黑" panose="020B0503020204020204" pitchFamily="34" charset="-122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尊贵配送服务</a:t>
            </a:r>
          </a:p>
        </p:txBody>
      </p:sp>
      <p:cxnSp>
        <p:nvCxnSpPr>
          <p:cNvPr id="120" name="Straight Connector 26"/>
          <p:cNvCxnSpPr/>
          <p:nvPr/>
        </p:nvCxnSpPr>
        <p:spPr>
          <a:xfrm rot="16200000" flipH="1">
            <a:off x="1031243" y="4940075"/>
            <a:ext cx="758895" cy="2616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文本框 123"/>
          <p:cNvSpPr txBox="1"/>
          <p:nvPr/>
        </p:nvSpPr>
        <p:spPr>
          <a:xfrm>
            <a:off x="1594982" y="4166003"/>
            <a:ext cx="1715217" cy="646327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solidFill>
                  <a:srgbClr val="DA0B1C"/>
                </a:solidFill>
                <a:latin typeface="微软雅黑" panose="020B0503020204020204" pitchFamily="34" charset="-122"/>
              </a:rPr>
              <a:t>211 </a:t>
            </a:r>
            <a:r>
              <a:rPr lang="zh-CN" altLang="en-US" sz="1200" dirty="0">
                <a:solidFill>
                  <a:srgbClr val="DA0B1C"/>
                </a:solidFill>
                <a:latin typeface="微软雅黑" panose="020B0503020204020204" pitchFamily="34" charset="-122"/>
              </a:rPr>
              <a:t>限时达</a:t>
            </a:r>
            <a:endParaRPr lang="en-US" altLang="zh-CN" sz="1200" dirty="0">
              <a:solidFill>
                <a:srgbClr val="DA0B1C"/>
              </a:solidFill>
              <a:latin typeface="微软雅黑" panose="020B0503020204020204" pitchFamily="34" charset="-122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配送时间</a:t>
            </a:r>
            <a:endParaRPr lang="en-US" altLang="zh-CN" sz="1200" i="1" dirty="0">
              <a:solidFill>
                <a:srgbClr val="777777"/>
              </a:solidFill>
              <a:latin typeface="微软雅黑" panose="020B0503020204020204" pitchFamily="34" charset="-122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&lt;12</a:t>
            </a:r>
            <a:r>
              <a:rPr lang="zh-CN" altLang="en-US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小时</a:t>
            </a:r>
          </a:p>
        </p:txBody>
      </p:sp>
      <p:cxnSp>
        <p:nvCxnSpPr>
          <p:cNvPr id="128" name="Straight Connector 26"/>
          <p:cNvCxnSpPr/>
          <p:nvPr/>
        </p:nvCxnSpPr>
        <p:spPr>
          <a:xfrm rot="16200000" flipH="1">
            <a:off x="3677829" y="4948713"/>
            <a:ext cx="758895" cy="259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文本框 133"/>
          <p:cNvSpPr txBox="1"/>
          <p:nvPr/>
        </p:nvSpPr>
        <p:spPr>
          <a:xfrm>
            <a:off x="4201692" y="4167151"/>
            <a:ext cx="2008229" cy="646327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DA0B1C"/>
                </a:solidFill>
                <a:latin typeface="微软雅黑" panose="020B0503020204020204" pitchFamily="34" charset="-122"/>
              </a:rPr>
              <a:t>极速达</a:t>
            </a:r>
            <a:endParaRPr lang="en-US" altLang="zh-CN" sz="1200" dirty="0">
              <a:solidFill>
                <a:srgbClr val="DA0B1C"/>
              </a:solidFill>
              <a:latin typeface="微软雅黑" panose="020B0503020204020204" pitchFamily="34" charset="-122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配送时间</a:t>
            </a:r>
            <a:r>
              <a:rPr lang="en-US" altLang="zh-CN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 </a:t>
            </a: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2-3</a:t>
            </a:r>
            <a:r>
              <a:rPr lang="zh-CN" altLang="en-US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小时</a:t>
            </a:r>
          </a:p>
        </p:txBody>
      </p:sp>
      <p:cxnSp>
        <p:nvCxnSpPr>
          <p:cNvPr id="135" name="Straight Connector 26"/>
          <p:cNvCxnSpPr/>
          <p:nvPr/>
        </p:nvCxnSpPr>
        <p:spPr>
          <a:xfrm rot="16200000" flipH="1">
            <a:off x="7238392" y="5146893"/>
            <a:ext cx="471215" cy="235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文本框 135"/>
          <p:cNvSpPr txBox="1"/>
          <p:nvPr/>
        </p:nvSpPr>
        <p:spPr>
          <a:xfrm>
            <a:off x="688968" y="4525481"/>
            <a:ext cx="569383" cy="323163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>
                <a:solidFill>
                  <a:srgbClr val="DA0B1C"/>
                </a:solidFill>
                <a:latin typeface="微软雅黑" panose="020B0503020204020204" pitchFamily="34" charset="-122"/>
              </a:rPr>
              <a:t>京东</a:t>
            </a:r>
          </a:p>
        </p:txBody>
      </p:sp>
      <p:sp>
        <p:nvSpPr>
          <p:cNvPr id="137" name="文本框 136"/>
          <p:cNvSpPr txBox="1"/>
          <p:nvPr/>
        </p:nvSpPr>
        <p:spPr>
          <a:xfrm>
            <a:off x="669941" y="5768237"/>
            <a:ext cx="1338824" cy="323163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500" dirty="0">
                <a:solidFill>
                  <a:srgbClr val="777777"/>
                </a:solidFill>
                <a:latin typeface="微软雅黑" panose="020B0503020204020204" pitchFamily="34" charset="-122"/>
              </a:rPr>
              <a:t>其他物流企业</a:t>
            </a:r>
          </a:p>
        </p:txBody>
      </p:sp>
      <p:sp>
        <p:nvSpPr>
          <p:cNvPr id="138" name="文本框 137"/>
          <p:cNvSpPr txBox="1"/>
          <p:nvPr/>
        </p:nvSpPr>
        <p:spPr>
          <a:xfrm>
            <a:off x="6005199" y="5829327"/>
            <a:ext cx="1819352" cy="276999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公司</a:t>
            </a:r>
            <a:r>
              <a:rPr lang="en-US" altLang="zh-CN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B</a:t>
            </a: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推出次日达</a:t>
            </a:r>
          </a:p>
        </p:txBody>
      </p:sp>
      <p:sp>
        <p:nvSpPr>
          <p:cNvPr id="139" name="文本框 138"/>
          <p:cNvSpPr txBox="1"/>
          <p:nvPr/>
        </p:nvSpPr>
        <p:spPr>
          <a:xfrm>
            <a:off x="6349579" y="6024813"/>
            <a:ext cx="2719967" cy="446275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公司</a:t>
            </a:r>
            <a:r>
              <a:rPr lang="en-US" altLang="zh-CN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B</a:t>
            </a: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推出当日达</a:t>
            </a:r>
            <a:endParaRPr lang="en-US" altLang="zh-CN" sz="1200" dirty="0">
              <a:solidFill>
                <a:srgbClr val="777777"/>
              </a:solidFill>
              <a:latin typeface="微软雅黑" panose="020B0503020204020204" pitchFamily="34" charset="-122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>
                <a:solidFill>
                  <a:srgbClr val="777777"/>
                </a:solidFill>
                <a:latin typeface="微软雅黑" panose="020B0503020204020204" pitchFamily="34" charset="-122"/>
              </a:rPr>
              <a:t>（仅限</a:t>
            </a:r>
            <a:r>
              <a:rPr lang="en-US" altLang="zh-CN" sz="1100" dirty="0">
                <a:solidFill>
                  <a:srgbClr val="777777"/>
                </a:solidFill>
                <a:latin typeface="微软雅黑" panose="020B0503020204020204" pitchFamily="34" charset="-122"/>
              </a:rPr>
              <a:t>10</a:t>
            </a:r>
            <a:r>
              <a:rPr lang="zh-CN" altLang="en-US" sz="1100" dirty="0">
                <a:solidFill>
                  <a:srgbClr val="777777"/>
                </a:solidFill>
                <a:latin typeface="微软雅黑" panose="020B0503020204020204" pitchFamily="34" charset="-122"/>
              </a:rPr>
              <a:t>城市，类似京东</a:t>
            </a:r>
            <a:r>
              <a:rPr lang="en-US" altLang="zh-CN" sz="1100" dirty="0">
                <a:solidFill>
                  <a:srgbClr val="777777"/>
                </a:solidFill>
                <a:latin typeface="微软雅黑" panose="020B0503020204020204" pitchFamily="34" charset="-122"/>
              </a:rPr>
              <a:t>211</a:t>
            </a:r>
            <a:r>
              <a:rPr lang="zh-CN" altLang="en-US" sz="1100" dirty="0">
                <a:solidFill>
                  <a:srgbClr val="777777"/>
                </a:solidFill>
                <a:latin typeface="微软雅黑" panose="020B0503020204020204" pitchFamily="34" charset="-122"/>
              </a:rPr>
              <a:t>）</a:t>
            </a:r>
          </a:p>
        </p:txBody>
      </p:sp>
      <p:sp>
        <p:nvSpPr>
          <p:cNvPr id="140" name="菱形 139"/>
          <p:cNvSpPr/>
          <p:nvPr/>
        </p:nvSpPr>
        <p:spPr>
          <a:xfrm>
            <a:off x="1247268" y="4210744"/>
            <a:ext cx="352541" cy="352541"/>
          </a:xfrm>
          <a:prstGeom prst="diamond">
            <a:avLst/>
          </a:prstGeom>
          <a:solidFill>
            <a:schemeClr val="accent1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cxnSp>
        <p:nvCxnSpPr>
          <p:cNvPr id="141" name="Straight Connector 7"/>
          <p:cNvCxnSpPr/>
          <p:nvPr/>
        </p:nvCxnSpPr>
        <p:spPr>
          <a:xfrm>
            <a:off x="1219859" y="5381817"/>
            <a:ext cx="10260000" cy="911"/>
          </a:xfrm>
          <a:prstGeom prst="line">
            <a:avLst/>
          </a:prstGeom>
          <a:ln w="12700" cap="flat">
            <a:solidFill>
              <a:schemeClr val="accent1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Isosceles Triangle 40"/>
          <p:cNvSpPr/>
          <p:nvPr/>
        </p:nvSpPr>
        <p:spPr>
          <a:xfrm rot="5400000">
            <a:off x="1089449" y="5318689"/>
            <a:ext cx="160075" cy="13799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rtlCol="0" anchor="ctr"/>
          <a:lstStyle/>
          <a:p>
            <a:pPr algn="ctr" defTabSz="914354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43" name="Oval 12"/>
          <p:cNvSpPr/>
          <p:nvPr/>
        </p:nvSpPr>
        <p:spPr>
          <a:xfrm>
            <a:off x="1357726" y="5322186"/>
            <a:ext cx="119265" cy="11926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rtlCol="0" anchor="ctr"/>
          <a:lstStyle/>
          <a:p>
            <a:pPr algn="ctr" defTabSz="914354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44" name="Oval 14"/>
          <p:cNvSpPr/>
          <p:nvPr/>
        </p:nvSpPr>
        <p:spPr>
          <a:xfrm>
            <a:off x="2879593" y="5341236"/>
            <a:ext cx="119265" cy="11926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rtlCol="0" anchor="ctr"/>
          <a:lstStyle/>
          <a:p>
            <a:pPr algn="ctr" defTabSz="914354"/>
            <a:endParaRPr lang="en-US" sz="1600" dirty="0">
              <a:solidFill>
                <a:srgbClr val="FFFFFF"/>
              </a:solidFill>
            </a:endParaRPr>
          </a:p>
        </p:txBody>
      </p:sp>
      <p:cxnSp>
        <p:nvCxnSpPr>
          <p:cNvPr id="145" name="Straight Connector 34"/>
          <p:cNvCxnSpPr/>
          <p:nvPr/>
        </p:nvCxnSpPr>
        <p:spPr>
          <a:xfrm rot="5400000">
            <a:off x="2739349" y="5211217"/>
            <a:ext cx="399683" cy="623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文本框 145"/>
          <p:cNvSpPr txBox="1"/>
          <p:nvPr/>
        </p:nvSpPr>
        <p:spPr>
          <a:xfrm>
            <a:off x="1149385" y="5477233"/>
            <a:ext cx="466795" cy="235963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/>
            <a:r>
              <a:rPr lang="en-US" altLang="zh-CN" sz="900" dirty="0">
                <a:solidFill>
                  <a:srgbClr val="777777"/>
                </a:solidFill>
                <a:latin typeface="微软雅黑" panose="020B0503020204020204" pitchFamily="34" charset="-122"/>
              </a:rPr>
              <a:t>2010</a:t>
            </a:r>
            <a:endParaRPr lang="zh-CN" altLang="en-US" sz="9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sp>
        <p:nvSpPr>
          <p:cNvPr id="147" name="文本框 146"/>
          <p:cNvSpPr txBox="1"/>
          <p:nvPr/>
        </p:nvSpPr>
        <p:spPr>
          <a:xfrm>
            <a:off x="2699537" y="5477233"/>
            <a:ext cx="466795" cy="235963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/>
            <a:r>
              <a:rPr lang="en-US" altLang="zh-CN" sz="900" dirty="0">
                <a:solidFill>
                  <a:srgbClr val="777777"/>
                </a:solidFill>
                <a:latin typeface="微软雅黑" panose="020B0503020204020204" pitchFamily="34" charset="-122"/>
              </a:rPr>
              <a:t>2012</a:t>
            </a:r>
            <a:endParaRPr lang="zh-CN" altLang="en-US" sz="9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sp>
        <p:nvSpPr>
          <p:cNvPr id="148" name="文本框 147"/>
          <p:cNvSpPr txBox="1"/>
          <p:nvPr/>
        </p:nvSpPr>
        <p:spPr>
          <a:xfrm>
            <a:off x="3058416" y="4725387"/>
            <a:ext cx="2008229" cy="276999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DA0B1C"/>
                </a:solidFill>
                <a:latin typeface="微软雅黑" panose="020B0503020204020204" pitchFamily="34" charset="-122"/>
              </a:rPr>
              <a:t>夜间送</a:t>
            </a:r>
            <a:endParaRPr lang="en-US" altLang="zh-CN" sz="1200" dirty="0">
              <a:solidFill>
                <a:srgbClr val="DA0B1C"/>
              </a:solidFill>
              <a:latin typeface="微软雅黑" panose="020B0503020204020204" pitchFamily="34" charset="-122"/>
            </a:endParaRPr>
          </a:p>
        </p:txBody>
      </p:sp>
      <p:sp>
        <p:nvSpPr>
          <p:cNvPr id="149" name="Oval 12"/>
          <p:cNvSpPr/>
          <p:nvPr/>
        </p:nvSpPr>
        <p:spPr>
          <a:xfrm>
            <a:off x="4004307" y="5318773"/>
            <a:ext cx="119265" cy="11926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rtlCol="0" anchor="ctr"/>
          <a:lstStyle/>
          <a:p>
            <a:pPr algn="ctr" defTabSz="914354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50" name="Oval 14"/>
          <p:cNvSpPr/>
          <p:nvPr/>
        </p:nvSpPr>
        <p:spPr>
          <a:xfrm>
            <a:off x="5127838" y="5341236"/>
            <a:ext cx="119265" cy="11926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rtlCol="0" anchor="ctr"/>
          <a:lstStyle/>
          <a:p>
            <a:pPr algn="ctr" defTabSz="914354"/>
            <a:endParaRPr lang="en-US" sz="1600" dirty="0">
              <a:solidFill>
                <a:srgbClr val="FFFFFF"/>
              </a:solidFill>
            </a:endParaRPr>
          </a:p>
        </p:txBody>
      </p:sp>
      <p:cxnSp>
        <p:nvCxnSpPr>
          <p:cNvPr id="151" name="Straight Connector 34"/>
          <p:cNvCxnSpPr/>
          <p:nvPr/>
        </p:nvCxnSpPr>
        <p:spPr>
          <a:xfrm rot="5400000">
            <a:off x="4995545" y="5211217"/>
            <a:ext cx="399683" cy="623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文本框 151"/>
          <p:cNvSpPr txBox="1"/>
          <p:nvPr/>
        </p:nvSpPr>
        <p:spPr>
          <a:xfrm>
            <a:off x="5356956" y="4713751"/>
            <a:ext cx="2008229" cy="276999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DA0B1C"/>
                </a:solidFill>
                <a:latin typeface="微软雅黑" panose="020B0503020204020204" pitchFamily="34" charset="-122"/>
              </a:rPr>
              <a:t>京鲜达</a:t>
            </a:r>
            <a:endParaRPr lang="en-US" altLang="zh-CN" sz="1200" dirty="0">
              <a:solidFill>
                <a:srgbClr val="DA0B1C"/>
              </a:solidFill>
              <a:latin typeface="微软雅黑" panose="020B0503020204020204" pitchFamily="34" charset="-122"/>
            </a:endParaRPr>
          </a:p>
        </p:txBody>
      </p:sp>
      <p:sp>
        <p:nvSpPr>
          <p:cNvPr id="153" name="Oval 12"/>
          <p:cNvSpPr/>
          <p:nvPr/>
        </p:nvSpPr>
        <p:spPr>
          <a:xfrm>
            <a:off x="7421040" y="5337938"/>
            <a:ext cx="119265" cy="11926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rtlCol="0" anchor="ctr"/>
          <a:lstStyle/>
          <a:p>
            <a:pPr algn="ctr" defTabSz="914354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54" name="Oval 14"/>
          <p:cNvSpPr/>
          <p:nvPr/>
        </p:nvSpPr>
        <p:spPr>
          <a:xfrm>
            <a:off x="9128774" y="5320666"/>
            <a:ext cx="119265" cy="11926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rtlCol="0" anchor="ctr"/>
          <a:lstStyle/>
          <a:p>
            <a:pPr algn="ctr" defTabSz="914354"/>
            <a:endParaRPr lang="en-US" sz="1600" dirty="0">
              <a:solidFill>
                <a:srgbClr val="FFFFFF"/>
              </a:solidFill>
            </a:endParaRPr>
          </a:p>
        </p:txBody>
      </p:sp>
      <p:cxnSp>
        <p:nvCxnSpPr>
          <p:cNvPr id="155" name="Straight Connector 34"/>
          <p:cNvCxnSpPr/>
          <p:nvPr/>
        </p:nvCxnSpPr>
        <p:spPr>
          <a:xfrm rot="5400000">
            <a:off x="9080399" y="5255974"/>
            <a:ext cx="216000" cy="623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文本框 155"/>
          <p:cNvSpPr txBox="1"/>
          <p:nvPr/>
        </p:nvSpPr>
        <p:spPr>
          <a:xfrm>
            <a:off x="3838161" y="5477233"/>
            <a:ext cx="466795" cy="235963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/>
            <a:r>
              <a:rPr lang="en-US" altLang="zh-CN" sz="900" dirty="0">
                <a:solidFill>
                  <a:srgbClr val="777777"/>
                </a:solidFill>
                <a:latin typeface="微软雅黑" panose="020B0503020204020204" pitchFamily="34" charset="-122"/>
              </a:rPr>
              <a:t>2013</a:t>
            </a:r>
            <a:endParaRPr lang="zh-CN" altLang="en-US" sz="9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sp>
        <p:nvSpPr>
          <p:cNvPr id="157" name="文本框 156"/>
          <p:cNvSpPr txBox="1"/>
          <p:nvPr/>
        </p:nvSpPr>
        <p:spPr>
          <a:xfrm>
            <a:off x="4968877" y="5477233"/>
            <a:ext cx="466795" cy="235963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/>
            <a:r>
              <a:rPr lang="en-US" altLang="zh-CN" sz="900" dirty="0">
                <a:solidFill>
                  <a:srgbClr val="777777"/>
                </a:solidFill>
                <a:latin typeface="微软雅黑" panose="020B0503020204020204" pitchFamily="34" charset="-122"/>
              </a:rPr>
              <a:t>2014</a:t>
            </a:r>
            <a:endParaRPr lang="zh-CN" altLang="en-US" sz="9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sp>
        <p:nvSpPr>
          <p:cNvPr id="158" name="Oval 14"/>
          <p:cNvSpPr/>
          <p:nvPr/>
        </p:nvSpPr>
        <p:spPr>
          <a:xfrm>
            <a:off x="6241474" y="5332848"/>
            <a:ext cx="119265" cy="11926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rtlCol="0" anchor="ctr"/>
          <a:lstStyle/>
          <a:p>
            <a:pPr algn="ctr" defTabSz="914354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59" name="文本框 158"/>
          <p:cNvSpPr txBox="1"/>
          <p:nvPr/>
        </p:nvSpPr>
        <p:spPr>
          <a:xfrm>
            <a:off x="6052297" y="5477233"/>
            <a:ext cx="466795" cy="235963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/>
            <a:r>
              <a:rPr lang="en-US" altLang="zh-CN" sz="900" dirty="0">
                <a:solidFill>
                  <a:srgbClr val="777777"/>
                </a:solidFill>
                <a:latin typeface="微软雅黑" panose="020B0503020204020204" pitchFamily="34" charset="-122"/>
              </a:rPr>
              <a:t>2015</a:t>
            </a:r>
            <a:endParaRPr lang="zh-CN" altLang="en-US" sz="9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sp>
        <p:nvSpPr>
          <p:cNvPr id="160" name="文本框 159"/>
          <p:cNvSpPr txBox="1"/>
          <p:nvPr/>
        </p:nvSpPr>
        <p:spPr>
          <a:xfrm>
            <a:off x="7266433" y="5477233"/>
            <a:ext cx="466795" cy="235963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/>
            <a:r>
              <a:rPr lang="en-US" altLang="zh-CN" sz="900" dirty="0">
                <a:solidFill>
                  <a:srgbClr val="777777"/>
                </a:solidFill>
                <a:latin typeface="微软雅黑" panose="020B0503020204020204" pitchFamily="34" charset="-122"/>
              </a:rPr>
              <a:t>2016</a:t>
            </a:r>
            <a:endParaRPr lang="zh-CN" altLang="en-US" sz="9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sp>
        <p:nvSpPr>
          <p:cNvPr id="161" name="文本框 160"/>
          <p:cNvSpPr txBox="1"/>
          <p:nvPr/>
        </p:nvSpPr>
        <p:spPr>
          <a:xfrm>
            <a:off x="8961413" y="5477233"/>
            <a:ext cx="466795" cy="235963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/>
            <a:r>
              <a:rPr lang="en-US" altLang="zh-CN" sz="900" dirty="0">
                <a:solidFill>
                  <a:srgbClr val="777777"/>
                </a:solidFill>
                <a:latin typeface="微软雅黑" panose="020B0503020204020204" pitchFamily="34" charset="-122"/>
              </a:rPr>
              <a:t>2017</a:t>
            </a:r>
            <a:endParaRPr lang="zh-CN" altLang="en-US" sz="9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pic>
        <p:nvPicPr>
          <p:cNvPr id="162" name="图片 16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6535" y="4270042"/>
            <a:ext cx="193407" cy="193407"/>
          </a:xfrm>
          <a:prstGeom prst="rect">
            <a:avLst/>
          </a:prstGeom>
        </p:spPr>
      </p:pic>
      <p:sp>
        <p:nvSpPr>
          <p:cNvPr id="163" name="菱形 162"/>
          <p:cNvSpPr/>
          <p:nvPr/>
        </p:nvSpPr>
        <p:spPr>
          <a:xfrm>
            <a:off x="2775908" y="4675976"/>
            <a:ext cx="352541" cy="352541"/>
          </a:xfrm>
          <a:prstGeom prst="diamond">
            <a:avLst/>
          </a:prstGeom>
          <a:solidFill>
            <a:schemeClr val="accent1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164" name="图片 16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8565" y="4724245"/>
            <a:ext cx="212747" cy="212747"/>
          </a:xfrm>
          <a:prstGeom prst="rect">
            <a:avLst/>
          </a:prstGeom>
        </p:spPr>
      </p:pic>
      <p:pic>
        <p:nvPicPr>
          <p:cNvPr id="165" name="图片 16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434" y="4303887"/>
            <a:ext cx="234023" cy="234023"/>
          </a:xfrm>
          <a:prstGeom prst="rect">
            <a:avLst/>
          </a:prstGeom>
        </p:spPr>
      </p:pic>
      <p:pic>
        <p:nvPicPr>
          <p:cNvPr id="166" name="图片 16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9795" y="4715115"/>
            <a:ext cx="234023" cy="234023"/>
          </a:xfrm>
          <a:prstGeom prst="rect">
            <a:avLst/>
          </a:prstGeom>
        </p:spPr>
      </p:pic>
      <p:sp>
        <p:nvSpPr>
          <p:cNvPr id="167" name="菱形 166"/>
          <p:cNvSpPr/>
          <p:nvPr/>
        </p:nvSpPr>
        <p:spPr>
          <a:xfrm>
            <a:off x="7302284" y="4641696"/>
            <a:ext cx="352541" cy="352541"/>
          </a:xfrm>
          <a:prstGeom prst="diamond">
            <a:avLst/>
          </a:prstGeom>
          <a:solidFill>
            <a:schemeClr val="accent1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168" name="图片 16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3718" y="4711646"/>
            <a:ext cx="193407" cy="193407"/>
          </a:xfrm>
          <a:prstGeom prst="rect">
            <a:avLst/>
          </a:prstGeom>
        </p:spPr>
      </p:pic>
      <p:pic>
        <p:nvPicPr>
          <p:cNvPr id="169" name="图片 168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2029" y="4888957"/>
            <a:ext cx="212747" cy="212747"/>
          </a:xfrm>
          <a:prstGeom prst="rect">
            <a:avLst/>
          </a:prstGeom>
        </p:spPr>
      </p:pic>
      <p:sp>
        <p:nvSpPr>
          <p:cNvPr id="170" name="文本框 169"/>
          <p:cNvSpPr txBox="1"/>
          <p:nvPr/>
        </p:nvSpPr>
        <p:spPr>
          <a:xfrm>
            <a:off x="4431501" y="5829324"/>
            <a:ext cx="1612811" cy="630939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公司</a:t>
            </a:r>
            <a:r>
              <a:rPr lang="en-US" altLang="zh-CN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A</a:t>
            </a: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推出优选会员送达服务</a:t>
            </a:r>
            <a:r>
              <a:rPr lang="zh-CN" altLang="en-US" sz="1100" dirty="0">
                <a:solidFill>
                  <a:srgbClr val="777777"/>
                </a:solidFill>
                <a:latin typeface="微软雅黑" panose="020B0503020204020204" pitchFamily="34" charset="-122"/>
              </a:rPr>
              <a:t>（类似京东极速达）</a:t>
            </a:r>
            <a:endParaRPr lang="zh-CN" altLang="en-US" sz="12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sp>
        <p:nvSpPr>
          <p:cNvPr id="171" name="菱形 170"/>
          <p:cNvSpPr/>
          <p:nvPr/>
        </p:nvSpPr>
        <p:spPr>
          <a:xfrm>
            <a:off x="6129107" y="4263096"/>
            <a:ext cx="352541" cy="352541"/>
          </a:xfrm>
          <a:prstGeom prst="diamond">
            <a:avLst/>
          </a:prstGeom>
          <a:solidFill>
            <a:schemeClr val="accent1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grpSp>
        <p:nvGrpSpPr>
          <p:cNvPr id="172" name="组合 171"/>
          <p:cNvGrpSpPr/>
          <p:nvPr/>
        </p:nvGrpSpPr>
        <p:grpSpPr>
          <a:xfrm>
            <a:off x="6238674" y="4582804"/>
            <a:ext cx="119265" cy="867477"/>
            <a:chOff x="6689923" y="4697104"/>
            <a:chExt cx="119265" cy="867477"/>
          </a:xfrm>
        </p:grpSpPr>
        <p:cxnSp>
          <p:nvCxnSpPr>
            <p:cNvPr id="173" name="Straight Connector 26"/>
            <p:cNvCxnSpPr/>
            <p:nvPr/>
          </p:nvCxnSpPr>
          <p:spPr>
            <a:xfrm rot="16200000" flipH="1">
              <a:off x="6378499" y="5075257"/>
              <a:ext cx="758895" cy="259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4" name="Oval 12"/>
            <p:cNvSpPr/>
            <p:nvPr/>
          </p:nvSpPr>
          <p:spPr>
            <a:xfrm>
              <a:off x="6689923" y="5445316"/>
              <a:ext cx="119265" cy="11926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76" name="store_313828"/>
          <p:cNvSpPr>
            <a:spLocks noChangeAspect="1"/>
          </p:cNvSpPr>
          <p:nvPr/>
        </p:nvSpPr>
        <p:spPr bwMode="auto">
          <a:xfrm>
            <a:off x="6237133" y="4367356"/>
            <a:ext cx="134819" cy="143605"/>
          </a:xfrm>
          <a:custGeom>
            <a:avLst/>
            <a:gdLst>
              <a:gd name="connsiteX0" fmla="*/ 180402 w 569604"/>
              <a:gd name="connsiteY0" fmla="*/ 328412 h 606722"/>
              <a:gd name="connsiteX1" fmla="*/ 284793 w 569604"/>
              <a:gd name="connsiteY1" fmla="*/ 379240 h 606722"/>
              <a:gd name="connsiteX2" fmla="*/ 389274 w 569604"/>
              <a:gd name="connsiteY2" fmla="*/ 328412 h 606722"/>
              <a:gd name="connsiteX3" fmla="*/ 493665 w 569604"/>
              <a:gd name="connsiteY3" fmla="*/ 379240 h 606722"/>
              <a:gd name="connsiteX4" fmla="*/ 550622 w 569604"/>
              <a:gd name="connsiteY4" fmla="*/ 366355 h 606722"/>
              <a:gd name="connsiteX5" fmla="*/ 550622 w 569604"/>
              <a:gd name="connsiteY5" fmla="*/ 606722 h 606722"/>
              <a:gd name="connsiteX6" fmla="*/ 341750 w 569604"/>
              <a:gd name="connsiteY6" fmla="*/ 606722 h 606722"/>
              <a:gd name="connsiteX7" fmla="*/ 341750 w 569604"/>
              <a:gd name="connsiteY7" fmla="*/ 455038 h 606722"/>
              <a:gd name="connsiteX8" fmla="*/ 227836 w 569604"/>
              <a:gd name="connsiteY8" fmla="*/ 455038 h 606722"/>
              <a:gd name="connsiteX9" fmla="*/ 227836 w 569604"/>
              <a:gd name="connsiteY9" fmla="*/ 606722 h 606722"/>
              <a:gd name="connsiteX10" fmla="*/ 19053 w 569604"/>
              <a:gd name="connsiteY10" fmla="*/ 606722 h 606722"/>
              <a:gd name="connsiteX11" fmla="*/ 19053 w 569604"/>
              <a:gd name="connsiteY11" fmla="*/ 366355 h 606722"/>
              <a:gd name="connsiteX12" fmla="*/ 76010 w 569604"/>
              <a:gd name="connsiteY12" fmla="*/ 379240 h 606722"/>
              <a:gd name="connsiteX13" fmla="*/ 180402 w 569604"/>
              <a:gd name="connsiteY13" fmla="*/ 328412 h 606722"/>
              <a:gd name="connsiteX14" fmla="*/ 417747 w 569604"/>
              <a:gd name="connsiteY14" fmla="*/ 0 h 606722"/>
              <a:gd name="connsiteX15" fmla="*/ 569604 w 569604"/>
              <a:gd name="connsiteY15" fmla="*/ 0 h 606722"/>
              <a:gd name="connsiteX16" fmla="*/ 569604 w 569604"/>
              <a:gd name="connsiteY16" fmla="*/ 246445 h 606722"/>
              <a:gd name="connsiteX17" fmla="*/ 493676 w 569604"/>
              <a:gd name="connsiteY17" fmla="*/ 322343 h 606722"/>
              <a:gd name="connsiteX18" fmla="*/ 417747 w 569604"/>
              <a:gd name="connsiteY18" fmla="*/ 246445 h 606722"/>
              <a:gd name="connsiteX19" fmla="*/ 208874 w 569604"/>
              <a:gd name="connsiteY19" fmla="*/ 0 h 606722"/>
              <a:gd name="connsiteX20" fmla="*/ 360801 w 569604"/>
              <a:gd name="connsiteY20" fmla="*/ 0 h 606722"/>
              <a:gd name="connsiteX21" fmla="*/ 360801 w 569604"/>
              <a:gd name="connsiteY21" fmla="*/ 246445 h 606722"/>
              <a:gd name="connsiteX22" fmla="*/ 284793 w 569604"/>
              <a:gd name="connsiteY22" fmla="*/ 322343 h 606722"/>
              <a:gd name="connsiteX23" fmla="*/ 208874 w 569604"/>
              <a:gd name="connsiteY23" fmla="*/ 246445 h 606722"/>
              <a:gd name="connsiteX24" fmla="*/ 0 w 569604"/>
              <a:gd name="connsiteY24" fmla="*/ 0 h 606722"/>
              <a:gd name="connsiteX25" fmla="*/ 151927 w 569604"/>
              <a:gd name="connsiteY25" fmla="*/ 0 h 606722"/>
              <a:gd name="connsiteX26" fmla="*/ 151927 w 569604"/>
              <a:gd name="connsiteY26" fmla="*/ 246445 h 606722"/>
              <a:gd name="connsiteX27" fmla="*/ 76008 w 569604"/>
              <a:gd name="connsiteY27" fmla="*/ 322343 h 606722"/>
              <a:gd name="connsiteX28" fmla="*/ 0 w 569604"/>
              <a:gd name="connsiteY28" fmla="*/ 246445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69604" h="606722">
                <a:moveTo>
                  <a:pt x="180402" y="328412"/>
                </a:moveTo>
                <a:cubicBezTo>
                  <a:pt x="204786" y="359335"/>
                  <a:pt x="242520" y="379240"/>
                  <a:pt x="284793" y="379240"/>
                </a:cubicBezTo>
                <a:cubicBezTo>
                  <a:pt x="327155" y="379240"/>
                  <a:pt x="364889" y="359335"/>
                  <a:pt x="389274" y="328412"/>
                </a:cubicBezTo>
                <a:cubicBezTo>
                  <a:pt x="413569" y="359335"/>
                  <a:pt x="451303" y="379240"/>
                  <a:pt x="493665" y="379240"/>
                </a:cubicBezTo>
                <a:cubicBezTo>
                  <a:pt x="514045" y="379240"/>
                  <a:pt x="533357" y="374619"/>
                  <a:pt x="550622" y="366355"/>
                </a:cubicBezTo>
                <a:lnTo>
                  <a:pt x="550622" y="606722"/>
                </a:lnTo>
                <a:lnTo>
                  <a:pt x="341750" y="606722"/>
                </a:lnTo>
                <a:lnTo>
                  <a:pt x="341750" y="455038"/>
                </a:lnTo>
                <a:lnTo>
                  <a:pt x="227836" y="455038"/>
                </a:lnTo>
                <a:lnTo>
                  <a:pt x="227836" y="606722"/>
                </a:lnTo>
                <a:lnTo>
                  <a:pt x="19053" y="606722"/>
                </a:lnTo>
                <a:lnTo>
                  <a:pt x="19053" y="366355"/>
                </a:lnTo>
                <a:cubicBezTo>
                  <a:pt x="36318" y="374619"/>
                  <a:pt x="55630" y="379240"/>
                  <a:pt x="76010" y="379240"/>
                </a:cubicBezTo>
                <a:cubicBezTo>
                  <a:pt x="118283" y="379240"/>
                  <a:pt x="156017" y="359335"/>
                  <a:pt x="180402" y="328412"/>
                </a:cubicBezTo>
                <a:close/>
                <a:moveTo>
                  <a:pt x="417747" y="0"/>
                </a:moveTo>
                <a:lnTo>
                  <a:pt x="569604" y="0"/>
                </a:lnTo>
                <a:lnTo>
                  <a:pt x="569604" y="246445"/>
                </a:lnTo>
                <a:cubicBezTo>
                  <a:pt x="569604" y="288393"/>
                  <a:pt x="535601" y="322343"/>
                  <a:pt x="493676" y="322343"/>
                </a:cubicBezTo>
                <a:cubicBezTo>
                  <a:pt x="451750" y="322343"/>
                  <a:pt x="417747" y="288393"/>
                  <a:pt x="417747" y="246445"/>
                </a:cubicBezTo>
                <a:close/>
                <a:moveTo>
                  <a:pt x="208874" y="0"/>
                </a:moveTo>
                <a:lnTo>
                  <a:pt x="360801" y="0"/>
                </a:lnTo>
                <a:lnTo>
                  <a:pt x="360801" y="246445"/>
                </a:lnTo>
                <a:cubicBezTo>
                  <a:pt x="360801" y="288393"/>
                  <a:pt x="326802" y="322343"/>
                  <a:pt x="284793" y="322343"/>
                </a:cubicBezTo>
                <a:cubicBezTo>
                  <a:pt x="242873" y="322343"/>
                  <a:pt x="208874" y="288393"/>
                  <a:pt x="208874" y="246445"/>
                </a:cubicBezTo>
                <a:close/>
                <a:moveTo>
                  <a:pt x="0" y="0"/>
                </a:moveTo>
                <a:lnTo>
                  <a:pt x="151927" y="0"/>
                </a:lnTo>
                <a:lnTo>
                  <a:pt x="151927" y="246445"/>
                </a:lnTo>
                <a:cubicBezTo>
                  <a:pt x="151927" y="288393"/>
                  <a:pt x="117928" y="322343"/>
                  <a:pt x="76008" y="322343"/>
                </a:cubicBezTo>
                <a:cubicBezTo>
                  <a:pt x="33999" y="322343"/>
                  <a:pt x="0" y="288393"/>
                  <a:pt x="0" y="2464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91430" tIns="45718" rIns="91430" bIns="45718"/>
          <a:lstStyle/>
          <a:p>
            <a:pPr defTabSz="914354"/>
            <a:endParaRPr lang="zh-CN" altLang="en-US">
              <a:solidFill>
                <a:srgbClr val="777777"/>
              </a:solidFill>
            </a:endParaRPr>
          </a:p>
        </p:txBody>
      </p:sp>
      <p:sp>
        <p:nvSpPr>
          <p:cNvPr id="177" name="文本框 176"/>
          <p:cNvSpPr txBox="1"/>
          <p:nvPr/>
        </p:nvSpPr>
        <p:spPr>
          <a:xfrm>
            <a:off x="6483949" y="4309621"/>
            <a:ext cx="751704" cy="276999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DA0B1C"/>
                </a:solidFill>
                <a:latin typeface="微软雅黑" panose="020B0503020204020204" pitchFamily="34" charset="-122"/>
              </a:rPr>
              <a:t>移动仓</a:t>
            </a:r>
            <a:endParaRPr lang="en-US" altLang="zh-CN" sz="1200" dirty="0">
              <a:solidFill>
                <a:srgbClr val="DA0B1C"/>
              </a:solidFill>
              <a:latin typeface="微软雅黑" panose="020B0503020204020204" pitchFamily="34" charset="-122"/>
            </a:endParaRPr>
          </a:p>
        </p:txBody>
      </p:sp>
      <p:grpSp>
        <p:nvGrpSpPr>
          <p:cNvPr id="179" name="组合 178"/>
          <p:cNvGrpSpPr/>
          <p:nvPr/>
        </p:nvGrpSpPr>
        <p:grpSpPr>
          <a:xfrm>
            <a:off x="10523077" y="4582804"/>
            <a:ext cx="119265" cy="867477"/>
            <a:chOff x="6689923" y="4697104"/>
            <a:chExt cx="119265" cy="867477"/>
          </a:xfrm>
        </p:grpSpPr>
        <p:cxnSp>
          <p:nvCxnSpPr>
            <p:cNvPr id="180" name="Straight Connector 26"/>
            <p:cNvCxnSpPr/>
            <p:nvPr/>
          </p:nvCxnSpPr>
          <p:spPr>
            <a:xfrm rot="16200000" flipH="1">
              <a:off x="6378499" y="5075257"/>
              <a:ext cx="758895" cy="259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Oval 12"/>
            <p:cNvSpPr/>
            <p:nvPr/>
          </p:nvSpPr>
          <p:spPr>
            <a:xfrm>
              <a:off x="6689923" y="5445316"/>
              <a:ext cx="119265" cy="11926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4"/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82" name="菱形 181"/>
          <p:cNvSpPr/>
          <p:nvPr/>
        </p:nvSpPr>
        <p:spPr>
          <a:xfrm>
            <a:off x="10430184" y="4263096"/>
            <a:ext cx="352541" cy="352541"/>
          </a:xfrm>
          <a:prstGeom prst="diamond">
            <a:avLst/>
          </a:prstGeom>
          <a:solidFill>
            <a:schemeClr val="accent1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183" name="文本框 182"/>
          <p:cNvSpPr txBox="1"/>
          <p:nvPr/>
        </p:nvSpPr>
        <p:spPr>
          <a:xfrm>
            <a:off x="10752005" y="4302899"/>
            <a:ext cx="1188000" cy="646327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DA0B1C"/>
                </a:solidFill>
                <a:latin typeface="微软雅黑" panose="020B0503020204020204" pitchFamily="34" charset="-122"/>
              </a:rPr>
              <a:t>京瞬达</a:t>
            </a:r>
            <a:endParaRPr lang="en-US" altLang="zh-CN" sz="1200" dirty="0">
              <a:solidFill>
                <a:srgbClr val="DA0B1C"/>
              </a:solidFill>
              <a:latin typeface="微软雅黑" panose="020B0503020204020204" pitchFamily="34" charset="-122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配送时间</a:t>
            </a:r>
            <a:endParaRPr lang="en-US" altLang="zh-CN" sz="1200" i="1" dirty="0">
              <a:solidFill>
                <a:srgbClr val="777777"/>
              </a:solidFill>
              <a:latin typeface="微软雅黑" panose="020B0503020204020204" pitchFamily="34" charset="-122"/>
            </a:endParaRPr>
          </a:p>
          <a:p>
            <a:pPr defTabSz="914354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&lt;1</a:t>
            </a:r>
            <a:r>
              <a:rPr lang="zh-CN" altLang="en-US" sz="1200" i="1" dirty="0">
                <a:solidFill>
                  <a:srgbClr val="777777"/>
                </a:solidFill>
                <a:latin typeface="微软雅黑" panose="020B0503020204020204" pitchFamily="34" charset="-122"/>
              </a:rPr>
              <a:t>小时</a:t>
            </a:r>
          </a:p>
        </p:txBody>
      </p:sp>
      <p:sp>
        <p:nvSpPr>
          <p:cNvPr id="184" name="文本框 183"/>
          <p:cNvSpPr txBox="1"/>
          <p:nvPr/>
        </p:nvSpPr>
        <p:spPr>
          <a:xfrm>
            <a:off x="10367593" y="5477233"/>
            <a:ext cx="466795" cy="235963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defTabSz="914354"/>
            <a:r>
              <a:rPr lang="en-US" altLang="zh-CN" sz="900" dirty="0">
                <a:solidFill>
                  <a:srgbClr val="777777"/>
                </a:solidFill>
                <a:latin typeface="微软雅黑" panose="020B0503020204020204" pitchFamily="34" charset="-122"/>
              </a:rPr>
              <a:t>2018</a:t>
            </a:r>
            <a:endParaRPr lang="zh-CN" altLang="en-US" sz="9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sp>
        <p:nvSpPr>
          <p:cNvPr id="185" name="KSO_Shape"/>
          <p:cNvSpPr/>
          <p:nvPr/>
        </p:nvSpPr>
        <p:spPr>
          <a:xfrm>
            <a:off x="10523713" y="4338847"/>
            <a:ext cx="146519" cy="219231"/>
          </a:xfrm>
          <a:custGeom>
            <a:avLst/>
            <a:gdLst>
              <a:gd name="connsiteX0" fmla="*/ 1491342 w 1491342"/>
              <a:gd name="connsiteY0" fmla="*/ 0 h 2231572"/>
              <a:gd name="connsiteX1" fmla="*/ 32657 w 1491342"/>
              <a:gd name="connsiteY1" fmla="*/ 1143000 h 2231572"/>
              <a:gd name="connsiteX2" fmla="*/ 685800 w 1491342"/>
              <a:gd name="connsiteY2" fmla="*/ 1284515 h 2231572"/>
              <a:gd name="connsiteX3" fmla="*/ 0 w 1491342"/>
              <a:gd name="connsiteY3" fmla="*/ 2231572 h 2231572"/>
              <a:gd name="connsiteX4" fmla="*/ 1404257 w 1491342"/>
              <a:gd name="connsiteY4" fmla="*/ 1143000 h 2231572"/>
              <a:gd name="connsiteX5" fmla="*/ 794657 w 1491342"/>
              <a:gd name="connsiteY5" fmla="*/ 990600 h 2231572"/>
              <a:gd name="connsiteX6" fmla="*/ 1491342 w 1491342"/>
              <a:gd name="connsiteY6" fmla="*/ 0 h 2231572"/>
              <a:gd name="connsiteX0" fmla="*/ 1491342 w 1491342"/>
              <a:gd name="connsiteY0" fmla="*/ 0 h 2231572"/>
              <a:gd name="connsiteX1" fmla="*/ 32657 w 1491342"/>
              <a:gd name="connsiteY1" fmla="*/ 1143000 h 2231572"/>
              <a:gd name="connsiteX2" fmla="*/ 685800 w 1491342"/>
              <a:gd name="connsiteY2" fmla="*/ 1284515 h 2231572"/>
              <a:gd name="connsiteX3" fmla="*/ 0 w 1491342"/>
              <a:gd name="connsiteY3" fmla="*/ 2231572 h 2231572"/>
              <a:gd name="connsiteX4" fmla="*/ 1404257 w 1491342"/>
              <a:gd name="connsiteY4" fmla="*/ 1143000 h 2231572"/>
              <a:gd name="connsiteX5" fmla="*/ 794657 w 1491342"/>
              <a:gd name="connsiteY5" fmla="*/ 990600 h 2231572"/>
              <a:gd name="connsiteX6" fmla="*/ 1491342 w 1491342"/>
              <a:gd name="connsiteY6" fmla="*/ 0 h 2231572"/>
              <a:gd name="connsiteX0" fmla="*/ 1491342 w 1491342"/>
              <a:gd name="connsiteY0" fmla="*/ 0 h 2231572"/>
              <a:gd name="connsiteX1" fmla="*/ 32657 w 1491342"/>
              <a:gd name="connsiteY1" fmla="*/ 1143000 h 2231572"/>
              <a:gd name="connsiteX2" fmla="*/ 685800 w 1491342"/>
              <a:gd name="connsiteY2" fmla="*/ 1284515 h 2231572"/>
              <a:gd name="connsiteX3" fmla="*/ 0 w 1491342"/>
              <a:gd name="connsiteY3" fmla="*/ 2231572 h 2231572"/>
              <a:gd name="connsiteX4" fmla="*/ 1404257 w 1491342"/>
              <a:gd name="connsiteY4" fmla="*/ 1143000 h 2231572"/>
              <a:gd name="connsiteX5" fmla="*/ 794657 w 1491342"/>
              <a:gd name="connsiteY5" fmla="*/ 990600 h 2231572"/>
              <a:gd name="connsiteX6" fmla="*/ 1491342 w 1491342"/>
              <a:gd name="connsiteY6" fmla="*/ 0 h 2231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1342" h="2231572">
                <a:moveTo>
                  <a:pt x="1491342" y="0"/>
                </a:moveTo>
                <a:cubicBezTo>
                  <a:pt x="1364342" y="25400"/>
                  <a:pt x="166914" y="928914"/>
                  <a:pt x="32657" y="1143000"/>
                </a:cubicBezTo>
                <a:cubicBezTo>
                  <a:pt x="-101600" y="1357086"/>
                  <a:pt x="691243" y="1103086"/>
                  <a:pt x="685800" y="1284515"/>
                </a:cubicBezTo>
                <a:lnTo>
                  <a:pt x="0" y="2231572"/>
                </a:lnTo>
                <a:cubicBezTo>
                  <a:pt x="119743" y="2207986"/>
                  <a:pt x="1271814" y="1349829"/>
                  <a:pt x="1404257" y="1143000"/>
                </a:cubicBezTo>
                <a:cubicBezTo>
                  <a:pt x="1536700" y="936171"/>
                  <a:pt x="780143" y="1181100"/>
                  <a:pt x="794657" y="990600"/>
                </a:cubicBezTo>
                <a:lnTo>
                  <a:pt x="1491342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338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9408" y="35201"/>
            <a:ext cx="9849063" cy="816000"/>
          </a:xfrm>
        </p:spPr>
        <p:txBody>
          <a:bodyPr wrap="square" lIns="0" tIns="45718" rIns="91430" bIns="45718" anchor="ctr" anchorCtr="0">
            <a:noAutofit/>
          </a:bodyPr>
          <a:lstStyle/>
          <a:p>
            <a:r>
              <a:rPr lang="zh-CN" altLang="en-US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基于全球领先的供应链能力，为客户提供最丰富的产品组合</a:t>
            </a:r>
            <a:endParaRPr lang="zh-CN" altLang="en-US" dirty="0">
              <a:solidFill>
                <a:srgbClr val="DA0B1C"/>
              </a:solidFill>
              <a:latin typeface="微软雅黑" panose="020B0503020204020204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670171" y="1006298"/>
            <a:ext cx="5760000" cy="353913"/>
            <a:chOff x="680303" y="1006294"/>
            <a:chExt cx="5760000" cy="353913"/>
          </a:xfrm>
        </p:grpSpPr>
        <p:cxnSp>
          <p:nvCxnSpPr>
            <p:cNvPr id="57" name="直接连接符 56"/>
            <p:cNvCxnSpPr/>
            <p:nvPr/>
          </p:nvCxnSpPr>
          <p:spPr bwMode="auto">
            <a:xfrm>
              <a:off x="680303" y="1175556"/>
              <a:ext cx="5760000" cy="0"/>
            </a:xfrm>
            <a:prstGeom prst="line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8" name="文本框 57"/>
            <p:cNvSpPr txBox="1"/>
            <p:nvPr/>
          </p:nvSpPr>
          <p:spPr>
            <a:xfrm>
              <a:off x="1929746" y="1006294"/>
              <a:ext cx="3516287" cy="353913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121890" tIns="60945" rIns="121890" bIns="60945" rtlCol="0">
              <a:spAutoFit/>
            </a:bodyPr>
            <a:lstStyle/>
            <a:p>
              <a:pPr defTabSz="914354"/>
              <a:r>
                <a:rPr lang="zh-CN" altLang="en-US" sz="1500" b="1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以供应链为核心的高品质综合物流服务</a:t>
              </a:r>
            </a:p>
          </p:txBody>
        </p:sp>
      </p:grpSp>
      <p:cxnSp>
        <p:nvCxnSpPr>
          <p:cNvPr id="60" name="直接箭头连接符 59"/>
          <p:cNvCxnSpPr/>
          <p:nvPr/>
        </p:nvCxnSpPr>
        <p:spPr bwMode="auto">
          <a:xfrm flipH="1" flipV="1">
            <a:off x="1430964" y="1775804"/>
            <a:ext cx="1" cy="3428523"/>
          </a:xfrm>
          <a:prstGeom prst="straightConnector1">
            <a:avLst/>
          </a:prstGeom>
          <a:noFill/>
          <a:ln w="22225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矩形 60"/>
          <p:cNvSpPr/>
          <p:nvPr/>
        </p:nvSpPr>
        <p:spPr>
          <a:xfrm>
            <a:off x="5525737" y="4815884"/>
            <a:ext cx="1146465" cy="323163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marL="179992" indent="-179992" algn="ctr" defTabSz="914354" eaLnBrk="0" fontAlgn="base" hangingPunct="0">
              <a:spcBef>
                <a:spcPts val="100"/>
              </a:spcBef>
              <a:spcAft>
                <a:spcPts val="100"/>
              </a:spcAft>
              <a:buClr>
                <a:prstClr val="black"/>
              </a:buClr>
              <a:defRPr/>
            </a:pPr>
            <a:r>
              <a:rPr lang="zh-CN" altLang="en-US" sz="1500" kern="0" dirty="0">
                <a:solidFill>
                  <a:srgbClr val="C00000"/>
                </a:solidFill>
                <a:latin typeface="微软雅黑"/>
                <a:cs typeface="Arial" charset="0"/>
              </a:rPr>
              <a:t>供应链能力</a:t>
            </a:r>
            <a:endParaRPr lang="en-US" altLang="zh-CN" sz="1500" kern="0" dirty="0">
              <a:solidFill>
                <a:srgbClr val="C00000"/>
              </a:solidFill>
              <a:latin typeface="微软雅黑"/>
              <a:cs typeface="Arial" charset="0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979557" y="1465085"/>
            <a:ext cx="954103" cy="323163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marL="179992" indent="-179992" defTabSz="914354" eaLnBrk="0" fontAlgn="base" hangingPunct="0">
              <a:spcBef>
                <a:spcPts val="100"/>
              </a:spcBef>
              <a:spcAft>
                <a:spcPts val="100"/>
              </a:spcAft>
              <a:buClr>
                <a:prstClr val="black"/>
              </a:buClr>
              <a:defRPr/>
            </a:pPr>
            <a:r>
              <a:rPr lang="zh-CN" altLang="en-US" sz="1500" kern="0" dirty="0">
                <a:solidFill>
                  <a:srgbClr val="C00000"/>
                </a:solidFill>
                <a:latin typeface="微软雅黑"/>
                <a:cs typeface="Arial" charset="0"/>
              </a:rPr>
              <a:t>品质定位</a:t>
            </a:r>
            <a:endParaRPr lang="en-US" altLang="zh-CN" sz="1500" kern="0" dirty="0">
              <a:solidFill>
                <a:srgbClr val="C00000"/>
              </a:solidFill>
              <a:latin typeface="微软雅黑"/>
              <a:cs typeface="Arial" charset="0"/>
            </a:endParaRPr>
          </a:p>
        </p:txBody>
      </p:sp>
      <p:sp>
        <p:nvSpPr>
          <p:cNvPr id="63" name="矩形 62"/>
          <p:cNvSpPr/>
          <p:nvPr/>
        </p:nvSpPr>
        <p:spPr>
          <a:xfrm>
            <a:off x="5234602" y="4908288"/>
            <a:ext cx="377023" cy="323163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marL="179992" indent="-179992" defTabSz="914354" eaLnBrk="0" fontAlgn="base" hangingPunct="0">
              <a:spcBef>
                <a:spcPts val="100"/>
              </a:spcBef>
              <a:spcAft>
                <a:spcPts val="100"/>
              </a:spcAft>
              <a:buClr>
                <a:prstClr val="black"/>
              </a:buClr>
              <a:defRPr/>
            </a:pPr>
            <a:r>
              <a:rPr lang="zh-CN" altLang="en-US" sz="1500" kern="0" dirty="0">
                <a:solidFill>
                  <a:srgbClr val="777777"/>
                </a:solidFill>
                <a:latin typeface="微软雅黑"/>
                <a:cs typeface="Arial" charset="0"/>
              </a:rPr>
              <a:t>强</a:t>
            </a:r>
            <a:endParaRPr lang="en-US" altLang="zh-CN" sz="1500" kern="0" dirty="0">
              <a:solidFill>
                <a:srgbClr val="777777"/>
              </a:solidFill>
              <a:latin typeface="微软雅黑"/>
              <a:cs typeface="Arial" charset="0"/>
            </a:endParaRPr>
          </a:p>
        </p:txBody>
      </p:sp>
      <p:sp>
        <p:nvSpPr>
          <p:cNvPr id="64" name="矩形 63"/>
          <p:cNvSpPr/>
          <p:nvPr/>
        </p:nvSpPr>
        <p:spPr>
          <a:xfrm>
            <a:off x="1070638" y="1960060"/>
            <a:ext cx="377023" cy="323163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marL="179992" indent="-179992" defTabSz="914354" eaLnBrk="0" fontAlgn="base" hangingPunct="0">
              <a:spcBef>
                <a:spcPts val="100"/>
              </a:spcBef>
              <a:spcAft>
                <a:spcPts val="100"/>
              </a:spcAft>
              <a:buClr>
                <a:prstClr val="black"/>
              </a:buClr>
              <a:defRPr/>
            </a:pPr>
            <a:r>
              <a:rPr lang="zh-CN" altLang="en-US" sz="1500" kern="0" dirty="0">
                <a:solidFill>
                  <a:srgbClr val="777777"/>
                </a:solidFill>
                <a:latin typeface="微软雅黑"/>
                <a:cs typeface="Arial" charset="0"/>
              </a:rPr>
              <a:t>高</a:t>
            </a:r>
            <a:endParaRPr lang="en-US" altLang="zh-CN" sz="1500" kern="0" dirty="0">
              <a:solidFill>
                <a:srgbClr val="777777"/>
              </a:solidFill>
              <a:latin typeface="微软雅黑"/>
              <a:cs typeface="Arial" charset="0"/>
            </a:endParaRPr>
          </a:p>
        </p:txBody>
      </p:sp>
      <p:cxnSp>
        <p:nvCxnSpPr>
          <p:cNvPr id="59" name="直接箭头连接符 58"/>
          <p:cNvCxnSpPr/>
          <p:nvPr/>
        </p:nvCxnSpPr>
        <p:spPr bwMode="auto">
          <a:xfrm>
            <a:off x="1430961" y="5204327"/>
            <a:ext cx="4716000" cy="0"/>
          </a:xfrm>
          <a:prstGeom prst="straightConnector1">
            <a:avLst/>
          </a:prstGeom>
          <a:noFill/>
          <a:ln w="22225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5" name="矩形 74"/>
          <p:cNvSpPr/>
          <p:nvPr/>
        </p:nvSpPr>
        <p:spPr>
          <a:xfrm>
            <a:off x="711553" y="5463569"/>
            <a:ext cx="5677235" cy="87638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76" name="圆角矩形 6"/>
          <p:cNvSpPr/>
          <p:nvPr/>
        </p:nvSpPr>
        <p:spPr>
          <a:xfrm>
            <a:off x="2690637" y="5264693"/>
            <a:ext cx="1719071" cy="424211"/>
          </a:xfrm>
          <a:prstGeom prst="rect">
            <a:avLst/>
          </a:prstGeom>
          <a:solidFill>
            <a:schemeClr val="bg1"/>
          </a:solidFill>
          <a:ln w="12700">
            <a:noFill/>
            <a:prstDash val="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zh-CN" altLang="en-US" sz="1500" b="1" dirty="0">
                <a:solidFill>
                  <a:srgbClr val="DB0B1C"/>
                </a:solidFill>
                <a:latin typeface="微软雅黑"/>
              </a:rPr>
              <a:t>供应链服务涉及行业</a:t>
            </a:r>
          </a:p>
        </p:txBody>
      </p:sp>
      <p:sp>
        <p:nvSpPr>
          <p:cNvPr id="77" name="矩形: 圆角 114">
            <a:extLst>
              <a:ext uri="{FF2B5EF4-FFF2-40B4-BE49-F238E27FC236}">
                <a16:creationId xmlns:a16="http://schemas.microsoft.com/office/drawing/2014/main" id="{0525D494-E522-9743-882F-51C5026FF9D4}"/>
              </a:ext>
            </a:extLst>
          </p:cNvPr>
          <p:cNvSpPr/>
          <p:nvPr/>
        </p:nvSpPr>
        <p:spPr>
          <a:xfrm>
            <a:off x="863024" y="5620891"/>
            <a:ext cx="1219077" cy="272904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noFill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服装</a:t>
            </a:r>
            <a:endParaRPr lang="en-US" altLang="zh-CN" sz="1200" dirty="0">
              <a:solidFill>
                <a:srgbClr val="777777">
                  <a:lumMod val="95000"/>
                  <a:lumOff val="5000"/>
                </a:srgbClr>
              </a:solidFill>
              <a:cs typeface="+mn-ea"/>
            </a:endParaRPr>
          </a:p>
        </p:txBody>
      </p:sp>
      <p:sp>
        <p:nvSpPr>
          <p:cNvPr id="78" name="矩形: 圆角 114">
            <a:extLst>
              <a:ext uri="{FF2B5EF4-FFF2-40B4-BE49-F238E27FC236}">
                <a16:creationId xmlns:a16="http://schemas.microsoft.com/office/drawing/2014/main" id="{0525D494-E522-9743-882F-51C5026FF9D4}"/>
              </a:ext>
            </a:extLst>
          </p:cNvPr>
          <p:cNvSpPr/>
          <p:nvPr/>
        </p:nvSpPr>
        <p:spPr>
          <a:xfrm>
            <a:off x="2233572" y="5620891"/>
            <a:ext cx="1219077" cy="272904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noFill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快消</a:t>
            </a:r>
            <a:endParaRPr lang="en-US" altLang="zh-CN" sz="1200" dirty="0">
              <a:solidFill>
                <a:srgbClr val="777777">
                  <a:lumMod val="95000"/>
                  <a:lumOff val="5000"/>
                </a:srgbClr>
              </a:solidFill>
              <a:cs typeface="+mn-ea"/>
            </a:endParaRPr>
          </a:p>
        </p:txBody>
      </p:sp>
      <p:sp>
        <p:nvSpPr>
          <p:cNvPr id="79" name="矩形: 圆角 114">
            <a:extLst>
              <a:ext uri="{FF2B5EF4-FFF2-40B4-BE49-F238E27FC236}">
                <a16:creationId xmlns:a16="http://schemas.microsoft.com/office/drawing/2014/main" id="{0525D494-E522-9743-882F-51C5026FF9D4}"/>
              </a:ext>
            </a:extLst>
          </p:cNvPr>
          <p:cNvSpPr/>
          <p:nvPr/>
        </p:nvSpPr>
        <p:spPr>
          <a:xfrm>
            <a:off x="5010020" y="5620891"/>
            <a:ext cx="1219077" cy="272904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noFill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家电</a:t>
            </a:r>
            <a:endParaRPr lang="en-US" altLang="zh-CN" sz="1200" dirty="0">
              <a:solidFill>
                <a:srgbClr val="777777">
                  <a:lumMod val="95000"/>
                  <a:lumOff val="5000"/>
                </a:srgbClr>
              </a:solidFill>
              <a:cs typeface="+mn-ea"/>
            </a:endParaRPr>
          </a:p>
        </p:txBody>
      </p:sp>
      <p:sp>
        <p:nvSpPr>
          <p:cNvPr id="80" name="矩形: 圆角 114">
            <a:extLst>
              <a:ext uri="{FF2B5EF4-FFF2-40B4-BE49-F238E27FC236}">
                <a16:creationId xmlns:a16="http://schemas.microsoft.com/office/drawing/2014/main" id="{0525D494-E522-9743-882F-51C5026FF9D4}"/>
              </a:ext>
            </a:extLst>
          </p:cNvPr>
          <p:cNvSpPr/>
          <p:nvPr/>
        </p:nvSpPr>
        <p:spPr>
          <a:xfrm>
            <a:off x="3613496" y="5620891"/>
            <a:ext cx="1219077" cy="272904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noFill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en-US" altLang="zh-CN" sz="1200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3C</a:t>
            </a:r>
          </a:p>
        </p:txBody>
      </p:sp>
      <p:sp>
        <p:nvSpPr>
          <p:cNvPr id="81" name="矩形: 圆角 114">
            <a:extLst>
              <a:ext uri="{FF2B5EF4-FFF2-40B4-BE49-F238E27FC236}">
                <a16:creationId xmlns:a16="http://schemas.microsoft.com/office/drawing/2014/main" id="{0525D494-E522-9743-882F-51C5026FF9D4}"/>
              </a:ext>
            </a:extLst>
          </p:cNvPr>
          <p:cNvSpPr/>
          <p:nvPr/>
        </p:nvSpPr>
        <p:spPr>
          <a:xfrm>
            <a:off x="863024" y="5986385"/>
            <a:ext cx="1219077" cy="272904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noFill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家居</a:t>
            </a:r>
            <a:endParaRPr lang="en-US" altLang="zh-CN" sz="1200" dirty="0">
              <a:solidFill>
                <a:srgbClr val="777777">
                  <a:lumMod val="95000"/>
                  <a:lumOff val="5000"/>
                </a:srgbClr>
              </a:solidFill>
              <a:cs typeface="+mn-ea"/>
            </a:endParaRPr>
          </a:p>
        </p:txBody>
      </p:sp>
      <p:sp>
        <p:nvSpPr>
          <p:cNvPr id="82" name="矩形: 圆角 114">
            <a:extLst>
              <a:ext uri="{FF2B5EF4-FFF2-40B4-BE49-F238E27FC236}">
                <a16:creationId xmlns:a16="http://schemas.microsoft.com/office/drawing/2014/main" id="{0525D494-E522-9743-882F-51C5026FF9D4}"/>
              </a:ext>
            </a:extLst>
          </p:cNvPr>
          <p:cNvSpPr/>
          <p:nvPr/>
        </p:nvSpPr>
        <p:spPr>
          <a:xfrm>
            <a:off x="2233572" y="5986385"/>
            <a:ext cx="1219077" cy="272904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noFill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生鲜</a:t>
            </a:r>
            <a:endParaRPr lang="en-US" altLang="zh-CN" sz="1200" dirty="0">
              <a:solidFill>
                <a:srgbClr val="777777">
                  <a:lumMod val="95000"/>
                  <a:lumOff val="5000"/>
                </a:srgbClr>
              </a:solidFill>
              <a:cs typeface="+mn-ea"/>
            </a:endParaRPr>
          </a:p>
        </p:txBody>
      </p:sp>
      <p:sp>
        <p:nvSpPr>
          <p:cNvPr id="83" name="矩形: 圆角 114">
            <a:extLst>
              <a:ext uri="{FF2B5EF4-FFF2-40B4-BE49-F238E27FC236}">
                <a16:creationId xmlns:a16="http://schemas.microsoft.com/office/drawing/2014/main" id="{0525D494-E522-9743-882F-51C5026FF9D4}"/>
              </a:ext>
            </a:extLst>
          </p:cNvPr>
          <p:cNvSpPr/>
          <p:nvPr/>
        </p:nvSpPr>
        <p:spPr>
          <a:xfrm>
            <a:off x="5010020" y="5986385"/>
            <a:ext cx="1219077" cy="272904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noFill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en-US" altLang="zh-CN" sz="1200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...</a:t>
            </a:r>
          </a:p>
        </p:txBody>
      </p:sp>
      <p:sp>
        <p:nvSpPr>
          <p:cNvPr id="84" name="矩形: 圆角 114">
            <a:extLst>
              <a:ext uri="{FF2B5EF4-FFF2-40B4-BE49-F238E27FC236}">
                <a16:creationId xmlns:a16="http://schemas.microsoft.com/office/drawing/2014/main" id="{0525D494-E522-9743-882F-51C5026FF9D4}"/>
              </a:ext>
            </a:extLst>
          </p:cNvPr>
          <p:cNvSpPr/>
          <p:nvPr/>
        </p:nvSpPr>
        <p:spPr>
          <a:xfrm>
            <a:off x="3613496" y="5986385"/>
            <a:ext cx="1219077" cy="272904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noFill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汽后</a:t>
            </a:r>
            <a:endParaRPr lang="en-US" altLang="zh-CN" sz="1200" dirty="0">
              <a:solidFill>
                <a:srgbClr val="777777">
                  <a:lumMod val="95000"/>
                  <a:lumOff val="5000"/>
                </a:srgbClr>
              </a:solidFill>
              <a:cs typeface="+mn-ea"/>
            </a:endParaRPr>
          </a:p>
        </p:txBody>
      </p:sp>
      <p:sp>
        <p:nvSpPr>
          <p:cNvPr id="48" name="椭圆 47"/>
          <p:cNvSpPr/>
          <p:nvPr/>
        </p:nvSpPr>
        <p:spPr>
          <a:xfrm>
            <a:off x="4710996" y="1593271"/>
            <a:ext cx="1400225" cy="740655"/>
          </a:xfrm>
          <a:prstGeom prst="ellipse">
            <a:avLst/>
          </a:prstGeom>
          <a:solidFill>
            <a:srgbClr val="FFB8B8">
              <a:alpha val="20000"/>
            </a:srgbClr>
          </a:solidFill>
          <a:ln w="22225">
            <a:solidFill>
              <a:srgbClr val="C00000"/>
            </a:solidFill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/>
            <a:endParaRPr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49" name="图片 48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6" t="16699" r="6227" b="17601"/>
          <a:stretch/>
        </p:blipFill>
        <p:spPr>
          <a:xfrm>
            <a:off x="4817075" y="1846115"/>
            <a:ext cx="1106005" cy="294383"/>
          </a:xfrm>
          <a:prstGeom prst="rect">
            <a:avLst/>
          </a:prstGeom>
        </p:spPr>
      </p:pic>
      <p:sp>
        <p:nvSpPr>
          <p:cNvPr id="50" name="文本框 49"/>
          <p:cNvSpPr txBox="1"/>
          <p:nvPr/>
        </p:nvSpPr>
        <p:spPr>
          <a:xfrm>
            <a:off x="3786689" y="1839417"/>
            <a:ext cx="761743" cy="323163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algn="ctr"/>
            <a:r>
              <a:rPr lang="zh-CN" altLang="en-US" sz="1500" dirty="0">
                <a:ea typeface="微软雅黑" panose="020B0503020204020204" pitchFamily="34" charset="-122"/>
              </a:rPr>
              <a:t>公司</a:t>
            </a:r>
            <a:r>
              <a:rPr lang="en-US" altLang="zh-CN" sz="1500" dirty="0">
                <a:ea typeface="微软雅黑" panose="020B0503020204020204" pitchFamily="34" charset="-122"/>
              </a:rPr>
              <a:t> C</a:t>
            </a:r>
            <a:endParaRPr lang="zh-CN" altLang="en-US" sz="1500" dirty="0">
              <a:ea typeface="微软雅黑" panose="020B0503020204020204" pitchFamily="34" charset="-122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3096607" y="2683325"/>
            <a:ext cx="761743" cy="323163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algn="ctr"/>
            <a:r>
              <a:rPr lang="zh-CN" altLang="en-US" sz="1500" dirty="0">
                <a:ea typeface="微软雅黑" panose="020B0503020204020204" pitchFamily="34" charset="-122"/>
              </a:rPr>
              <a:t>公司</a:t>
            </a:r>
            <a:r>
              <a:rPr lang="en-US" altLang="zh-CN" sz="1500" dirty="0">
                <a:ea typeface="微软雅黑" panose="020B0503020204020204" pitchFamily="34" charset="-122"/>
              </a:rPr>
              <a:t> D</a:t>
            </a:r>
            <a:endParaRPr lang="zh-CN" altLang="en-US" sz="1500" dirty="0">
              <a:ea typeface="微软雅黑" panose="020B0503020204020204" pitchFamily="34" charset="-122"/>
            </a:endParaRPr>
          </a:p>
        </p:txBody>
      </p:sp>
      <p:sp>
        <p:nvSpPr>
          <p:cNvPr id="52" name="文本框 51"/>
          <p:cNvSpPr txBox="1"/>
          <p:nvPr/>
        </p:nvSpPr>
        <p:spPr>
          <a:xfrm>
            <a:off x="1958319" y="3639667"/>
            <a:ext cx="877159" cy="553996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algn="ctr"/>
            <a:r>
              <a:rPr lang="zh-CN" altLang="en-US" sz="1500" dirty="0">
                <a:ea typeface="微软雅黑" panose="020B0503020204020204" pitchFamily="34" charset="-122"/>
              </a:rPr>
              <a:t>公司</a:t>
            </a:r>
            <a:endParaRPr lang="en-US" altLang="zh-CN" sz="1500" dirty="0">
              <a:ea typeface="微软雅黑" panose="020B0503020204020204" pitchFamily="34" charset="-122"/>
            </a:endParaRPr>
          </a:p>
          <a:p>
            <a:pPr algn="ctr"/>
            <a:r>
              <a:rPr lang="en-US" altLang="zh-CN" sz="1500" dirty="0">
                <a:ea typeface="微软雅黑" panose="020B0503020204020204" pitchFamily="34" charset="-122"/>
              </a:rPr>
              <a:t>E F G H</a:t>
            </a:r>
            <a:endParaRPr lang="zh-CN" altLang="en-US" sz="1500" dirty="0">
              <a:ea typeface="微软雅黑" panose="020B0503020204020204" pitchFamily="34" charset="-122"/>
            </a:endParaRPr>
          </a:p>
        </p:txBody>
      </p:sp>
      <p:grpSp>
        <p:nvGrpSpPr>
          <p:cNvPr id="44" name="组合 43"/>
          <p:cNvGrpSpPr/>
          <p:nvPr/>
        </p:nvGrpSpPr>
        <p:grpSpPr>
          <a:xfrm>
            <a:off x="7174515" y="1006298"/>
            <a:ext cx="4327575" cy="353913"/>
            <a:chOff x="1506899" y="1278398"/>
            <a:chExt cx="4327574" cy="353913"/>
          </a:xfrm>
        </p:grpSpPr>
        <p:cxnSp>
          <p:nvCxnSpPr>
            <p:cNvPr id="45" name="直接连接符 44"/>
            <p:cNvCxnSpPr/>
            <p:nvPr/>
          </p:nvCxnSpPr>
          <p:spPr bwMode="auto">
            <a:xfrm>
              <a:off x="1506899" y="1447660"/>
              <a:ext cx="4327574" cy="0"/>
            </a:xfrm>
            <a:prstGeom prst="line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6" name="文本框 45"/>
            <p:cNvSpPr txBox="1"/>
            <p:nvPr/>
          </p:nvSpPr>
          <p:spPr>
            <a:xfrm>
              <a:off x="2560156" y="1278398"/>
              <a:ext cx="2554484" cy="353913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121890" tIns="60945" rIns="121890" bIns="60945" rtlCol="0">
              <a:spAutoFit/>
            </a:bodyPr>
            <a:lstStyle/>
            <a:p>
              <a:r>
                <a:rPr lang="zh-CN" altLang="en-US" sz="1500" b="1" dirty="0">
                  <a:solidFill>
                    <a:srgbClr val="77777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库存周转天数保持领先水平</a:t>
              </a:r>
            </a:p>
          </p:txBody>
        </p:sp>
      </p:grpSp>
      <p:graphicFrame>
        <p:nvGraphicFramePr>
          <p:cNvPr id="47" name="Object 13"/>
          <p:cNvGraphicFramePr>
            <a:graphicFrameLocks/>
          </p:cNvGraphicFramePr>
          <p:nvPr>
            <p:extLst/>
          </p:nvPr>
        </p:nvGraphicFramePr>
        <p:xfrm>
          <a:off x="7145729" y="1866345"/>
          <a:ext cx="4331283" cy="1648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3" name="TextBox 27"/>
          <p:cNvSpPr txBox="1"/>
          <p:nvPr/>
        </p:nvSpPr>
        <p:spPr>
          <a:xfrm>
            <a:off x="7051681" y="1700655"/>
            <a:ext cx="4407979" cy="38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1" kern="1200" dirty="0">
                <a:solidFill>
                  <a:schemeClr val="tx2"/>
                </a:solidFill>
                <a:latin typeface="Calibri" panose="020F0502020204030204" pitchFamily="34" charset="0"/>
                <a:ea typeface="宋体" pitchFamily="2" charset="-122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zh-CN" altLang="en-US" sz="1200" b="0" dirty="0">
                <a:solidFill>
                  <a:srgbClr val="77777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/>
              </a:rPr>
              <a:t>日均销售额增加</a:t>
            </a:r>
            <a:r>
              <a:rPr lang="en-US" altLang="zh-CN" sz="1200" b="0" dirty="0">
                <a:solidFill>
                  <a:srgbClr val="77777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/>
              </a:rPr>
              <a:t>8</a:t>
            </a:r>
            <a:r>
              <a:rPr lang="zh-CN" altLang="en-US" sz="1200" b="0" dirty="0">
                <a:solidFill>
                  <a:srgbClr val="77777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/>
              </a:rPr>
              <a:t>倍</a:t>
            </a:r>
            <a:r>
              <a:rPr lang="en-US" altLang="zh-CN" sz="1200" b="0" dirty="0">
                <a:solidFill>
                  <a:srgbClr val="77777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/>
              </a:rPr>
              <a:t>*</a:t>
            </a:r>
            <a:r>
              <a:rPr lang="zh-CN" altLang="en-US" sz="1200" b="0" dirty="0">
                <a:solidFill>
                  <a:srgbClr val="77777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/>
              </a:rPr>
              <a:t>的同时，库存周转始终维持在同一水平</a:t>
            </a:r>
          </a:p>
        </p:txBody>
      </p:sp>
      <p:cxnSp>
        <p:nvCxnSpPr>
          <p:cNvPr id="54" name="Straight Connector 42">
            <a:extLst>
              <a:ext uri="{FF2B5EF4-FFF2-40B4-BE49-F238E27FC236}">
                <a16:creationId xmlns:a16="http://schemas.microsoft.com/office/drawing/2014/main" id="{1AD11624-B750-40E8-89F7-81307C2BD73E}"/>
              </a:ext>
            </a:extLst>
          </p:cNvPr>
          <p:cNvCxnSpPr>
            <a:cxnSpLocks/>
          </p:cNvCxnSpPr>
          <p:nvPr/>
        </p:nvCxnSpPr>
        <p:spPr>
          <a:xfrm>
            <a:off x="10828407" y="2061427"/>
            <a:ext cx="0" cy="1184656"/>
          </a:xfrm>
          <a:prstGeom prst="line">
            <a:avLst/>
          </a:prstGeom>
          <a:noFill/>
          <a:ln w="38100" cap="rnd" cmpd="sng" algn="ctr">
            <a:solidFill>
              <a:srgbClr val="E86F1A"/>
            </a:solidFill>
            <a:prstDash val="sysDot"/>
          </a:ln>
          <a:effectLst/>
        </p:spPr>
      </p:cxnSp>
      <p:sp>
        <p:nvSpPr>
          <p:cNvPr id="55" name="文本占位符 2"/>
          <p:cNvSpPr txBox="1">
            <a:spLocks/>
          </p:cNvSpPr>
          <p:nvPr/>
        </p:nvSpPr>
        <p:spPr>
          <a:xfrm>
            <a:off x="7236834" y="5747560"/>
            <a:ext cx="4287273" cy="540000"/>
          </a:xfrm>
          <a:prstGeom prst="rect">
            <a:avLst/>
          </a:prstGeom>
          <a:noFill/>
        </p:spPr>
        <p:txBody>
          <a:bodyPr lIns="0" tIns="45718" rIns="91430" bIns="45718"/>
          <a:lstStyle>
            <a:lvl1pPr marL="0" indent="0" algn="l" defTabSz="1068864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333" b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  <a:lvl2pPr marL="869908" indent="-334417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itchFamily="2" charset="2"/>
              <a:buChar char="p"/>
              <a:defRPr sz="3200">
                <a:solidFill>
                  <a:srgbClr val="777777"/>
                </a:solidFill>
                <a:latin typeface="+mn-lt"/>
                <a:ea typeface="+mn-ea"/>
              </a:defRPr>
            </a:lvl2pPr>
            <a:lvl3pPr marL="1337667" indent="-268804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itchFamily="2" charset="2"/>
              <a:buChar char="n"/>
              <a:defRPr sz="2933">
                <a:solidFill>
                  <a:srgbClr val="777777"/>
                </a:solidFill>
                <a:latin typeface="+mn-lt"/>
                <a:ea typeface="+mn-ea"/>
              </a:defRPr>
            </a:lvl3pPr>
            <a:lvl4pPr marL="1868924" indent="-266687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2667">
                <a:solidFill>
                  <a:srgbClr val="777777"/>
                </a:solidFill>
                <a:latin typeface="+mn-lt"/>
                <a:ea typeface="+mn-ea"/>
              </a:defRPr>
            </a:lvl4pPr>
            <a:lvl5pPr marL="2404413" indent="-268804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5pPr>
            <a:lvl6pPr marL="3013983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6pPr>
            <a:lvl7pPr marL="3623552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7pPr>
            <a:lvl8pPr marL="4233122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8pPr>
            <a:lvl9pPr marL="4842691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9pPr>
          </a:lstStyle>
          <a:p>
            <a:pPr algn="just">
              <a:lnSpc>
                <a:spcPts val="1200"/>
              </a:lnSpc>
            </a:pPr>
            <a:r>
              <a:rPr lang="en-US" altLang="zh-CN" sz="800" i="1" kern="0" dirty="0">
                <a:solidFill>
                  <a:schemeClr val="tx1"/>
                </a:solidFill>
              </a:rPr>
              <a:t>**</a:t>
            </a:r>
            <a:r>
              <a:rPr lang="zh-CN" altLang="en-US" sz="800" i="1" kern="0" dirty="0">
                <a:solidFill>
                  <a:schemeClr val="tx1"/>
                </a:solidFill>
              </a:rPr>
              <a:t>数据来源：各家公司公告，</a:t>
            </a:r>
            <a:r>
              <a:rPr lang="en-US" altLang="zh-CN" sz="800" i="1" kern="0" dirty="0" err="1">
                <a:solidFill>
                  <a:schemeClr val="tx1"/>
                </a:solidFill>
              </a:rPr>
              <a:t>Gome</a:t>
            </a:r>
            <a:r>
              <a:rPr lang="zh-CN" altLang="en-US" sz="800" i="1" kern="0" dirty="0">
                <a:solidFill>
                  <a:schemeClr val="tx1"/>
                </a:solidFill>
              </a:rPr>
              <a:t>和</a:t>
            </a:r>
            <a:r>
              <a:rPr lang="en-US" altLang="zh-CN" sz="800" i="1" kern="0" dirty="0">
                <a:solidFill>
                  <a:schemeClr val="tx1"/>
                </a:solidFill>
              </a:rPr>
              <a:t>Sun Art</a:t>
            </a:r>
            <a:r>
              <a:rPr lang="zh-CN" altLang="en-US" sz="800" i="1" kern="0" dirty="0">
                <a:solidFill>
                  <a:schemeClr val="tx1"/>
                </a:solidFill>
              </a:rPr>
              <a:t>数据为截至</a:t>
            </a:r>
            <a:r>
              <a:rPr lang="en-US" altLang="zh-CN" sz="800" i="1" kern="0" dirty="0">
                <a:solidFill>
                  <a:schemeClr val="tx1"/>
                </a:solidFill>
              </a:rPr>
              <a:t>2017</a:t>
            </a:r>
            <a:r>
              <a:rPr lang="zh-CN" altLang="en-US" sz="800" i="1" kern="0" dirty="0">
                <a:solidFill>
                  <a:schemeClr val="tx1"/>
                </a:solidFill>
              </a:rPr>
              <a:t>年</a:t>
            </a:r>
            <a:r>
              <a:rPr lang="en-US" altLang="zh-CN" sz="800" i="1" kern="0" dirty="0">
                <a:solidFill>
                  <a:schemeClr val="tx1"/>
                </a:solidFill>
              </a:rPr>
              <a:t>12</a:t>
            </a:r>
            <a:r>
              <a:rPr lang="zh-CN" altLang="en-US" sz="800" i="1" kern="0" dirty="0">
                <a:solidFill>
                  <a:schemeClr val="tx1"/>
                </a:solidFill>
              </a:rPr>
              <a:t>月</a:t>
            </a:r>
            <a:r>
              <a:rPr lang="en-US" altLang="zh-CN" sz="800" i="1" kern="0" dirty="0">
                <a:solidFill>
                  <a:schemeClr val="tx1"/>
                </a:solidFill>
              </a:rPr>
              <a:t>31</a:t>
            </a:r>
            <a:r>
              <a:rPr lang="zh-CN" altLang="en-US" sz="800" i="1" kern="0" dirty="0">
                <a:solidFill>
                  <a:schemeClr val="tx1"/>
                </a:solidFill>
              </a:rPr>
              <a:t>日的</a:t>
            </a:r>
            <a:r>
              <a:rPr lang="en-US" altLang="zh-CN" sz="800" i="1" kern="0" dirty="0">
                <a:solidFill>
                  <a:schemeClr val="tx1"/>
                </a:solidFill>
              </a:rPr>
              <a:t>TTM</a:t>
            </a:r>
            <a:r>
              <a:rPr lang="zh-CN" altLang="en-US" sz="800" i="1" kern="0" dirty="0">
                <a:solidFill>
                  <a:schemeClr val="tx1"/>
                </a:solidFill>
              </a:rPr>
              <a:t>数据；</a:t>
            </a:r>
            <a:r>
              <a:rPr lang="en-US" altLang="zh-CN" sz="800" i="1" kern="0" dirty="0">
                <a:solidFill>
                  <a:schemeClr val="tx1"/>
                </a:solidFill>
              </a:rPr>
              <a:t>Walmart</a:t>
            </a:r>
            <a:r>
              <a:rPr lang="zh-CN" altLang="en-US" sz="800" i="1" kern="0" dirty="0">
                <a:solidFill>
                  <a:schemeClr val="tx1"/>
                </a:solidFill>
              </a:rPr>
              <a:t>为截至</a:t>
            </a:r>
            <a:r>
              <a:rPr lang="en-US" altLang="zh-CN" sz="800" i="1" kern="0" dirty="0">
                <a:solidFill>
                  <a:schemeClr val="tx1"/>
                </a:solidFill>
              </a:rPr>
              <a:t>2018</a:t>
            </a:r>
            <a:r>
              <a:rPr lang="zh-CN" altLang="en-US" sz="800" i="1" kern="0" dirty="0">
                <a:solidFill>
                  <a:schemeClr val="tx1"/>
                </a:solidFill>
              </a:rPr>
              <a:t>年</a:t>
            </a:r>
            <a:r>
              <a:rPr lang="en-US" altLang="zh-CN" sz="800" i="1" kern="0" dirty="0">
                <a:solidFill>
                  <a:schemeClr val="tx1"/>
                </a:solidFill>
              </a:rPr>
              <a:t>1</a:t>
            </a:r>
            <a:r>
              <a:rPr lang="zh-CN" altLang="en-US" sz="800" i="1" kern="0" dirty="0">
                <a:solidFill>
                  <a:schemeClr val="tx1"/>
                </a:solidFill>
              </a:rPr>
              <a:t>月</a:t>
            </a:r>
            <a:r>
              <a:rPr lang="en-US" altLang="zh-CN" sz="800" i="1" kern="0" dirty="0">
                <a:solidFill>
                  <a:schemeClr val="tx1"/>
                </a:solidFill>
              </a:rPr>
              <a:t>31</a:t>
            </a:r>
            <a:r>
              <a:rPr lang="zh-CN" altLang="en-US" sz="800" i="1" kern="0" dirty="0">
                <a:solidFill>
                  <a:schemeClr val="tx1"/>
                </a:solidFill>
              </a:rPr>
              <a:t>日的</a:t>
            </a:r>
            <a:r>
              <a:rPr lang="en-US" altLang="zh-CN" sz="800" i="1" kern="0" dirty="0">
                <a:solidFill>
                  <a:schemeClr val="tx1"/>
                </a:solidFill>
              </a:rPr>
              <a:t>TTM</a:t>
            </a:r>
            <a:r>
              <a:rPr lang="zh-CN" altLang="en-US" sz="800" i="1" kern="0" dirty="0">
                <a:solidFill>
                  <a:schemeClr val="tx1"/>
                </a:solidFill>
              </a:rPr>
              <a:t>数据；</a:t>
            </a:r>
            <a:r>
              <a:rPr lang="en-US" altLang="zh-CN" sz="800" i="1" kern="0" dirty="0" err="1">
                <a:solidFill>
                  <a:schemeClr val="tx1"/>
                </a:solidFill>
              </a:rPr>
              <a:t>Suning</a:t>
            </a:r>
            <a:r>
              <a:rPr lang="zh-CN" altLang="en-US" sz="800" i="1" kern="0" dirty="0">
                <a:solidFill>
                  <a:schemeClr val="tx1"/>
                </a:solidFill>
              </a:rPr>
              <a:t>、</a:t>
            </a:r>
            <a:r>
              <a:rPr lang="en-US" altLang="zh-CN" sz="800" i="1" kern="0" dirty="0">
                <a:solidFill>
                  <a:schemeClr val="tx1"/>
                </a:solidFill>
              </a:rPr>
              <a:t>Amazon</a:t>
            </a:r>
            <a:r>
              <a:rPr lang="zh-CN" altLang="en-US" sz="800" i="1" kern="0" dirty="0">
                <a:solidFill>
                  <a:schemeClr val="tx1"/>
                </a:solidFill>
              </a:rPr>
              <a:t>为截至</a:t>
            </a:r>
            <a:r>
              <a:rPr lang="en-US" altLang="zh-CN" sz="800" i="1" kern="0" dirty="0">
                <a:solidFill>
                  <a:schemeClr val="tx1"/>
                </a:solidFill>
              </a:rPr>
              <a:t>2018</a:t>
            </a:r>
            <a:r>
              <a:rPr lang="zh-CN" altLang="en-US" sz="800" i="1" kern="0" dirty="0">
                <a:solidFill>
                  <a:schemeClr val="tx1"/>
                </a:solidFill>
              </a:rPr>
              <a:t>年</a:t>
            </a:r>
            <a:r>
              <a:rPr lang="en-US" altLang="zh-CN" sz="800" i="1" kern="0" dirty="0">
                <a:solidFill>
                  <a:schemeClr val="tx1"/>
                </a:solidFill>
              </a:rPr>
              <a:t>3</a:t>
            </a:r>
            <a:r>
              <a:rPr lang="zh-CN" altLang="en-US" sz="800" i="1" kern="0" dirty="0">
                <a:solidFill>
                  <a:schemeClr val="tx1"/>
                </a:solidFill>
              </a:rPr>
              <a:t>月</a:t>
            </a:r>
            <a:r>
              <a:rPr lang="en-US" altLang="zh-CN" sz="800" i="1" kern="0" dirty="0">
                <a:solidFill>
                  <a:schemeClr val="tx1"/>
                </a:solidFill>
              </a:rPr>
              <a:t>31</a:t>
            </a:r>
            <a:r>
              <a:rPr lang="zh-CN" altLang="en-US" sz="800" i="1" kern="0" dirty="0">
                <a:solidFill>
                  <a:schemeClr val="tx1"/>
                </a:solidFill>
              </a:rPr>
              <a:t>日的</a:t>
            </a:r>
            <a:r>
              <a:rPr lang="en-US" altLang="zh-CN" sz="800" i="1" kern="0" dirty="0">
                <a:solidFill>
                  <a:schemeClr val="tx1"/>
                </a:solidFill>
              </a:rPr>
              <a:t>TTM</a:t>
            </a:r>
            <a:r>
              <a:rPr lang="zh-CN" altLang="en-US" sz="800" i="1" kern="0" dirty="0">
                <a:solidFill>
                  <a:schemeClr val="tx1"/>
                </a:solidFill>
              </a:rPr>
              <a:t>数据；京东为截至</a:t>
            </a:r>
            <a:r>
              <a:rPr lang="en-US" altLang="zh-CN" sz="800" i="1" kern="0" dirty="0">
                <a:solidFill>
                  <a:schemeClr val="tx1"/>
                </a:solidFill>
              </a:rPr>
              <a:t>2018</a:t>
            </a:r>
            <a:r>
              <a:rPr lang="zh-CN" altLang="en-US" sz="800" i="1" kern="0" dirty="0">
                <a:solidFill>
                  <a:schemeClr val="tx1"/>
                </a:solidFill>
              </a:rPr>
              <a:t>年</a:t>
            </a:r>
            <a:r>
              <a:rPr lang="en-US" altLang="zh-CN" sz="800" i="1" kern="0" dirty="0">
                <a:solidFill>
                  <a:schemeClr val="tx1"/>
                </a:solidFill>
              </a:rPr>
              <a:t>6</a:t>
            </a:r>
            <a:r>
              <a:rPr lang="zh-CN" altLang="en-US" sz="800" i="1" kern="0" dirty="0">
                <a:solidFill>
                  <a:schemeClr val="tx1"/>
                </a:solidFill>
              </a:rPr>
              <a:t>月</a:t>
            </a:r>
            <a:r>
              <a:rPr lang="en-US" altLang="zh-CN" sz="800" i="1" kern="0" dirty="0">
                <a:solidFill>
                  <a:schemeClr val="tx1"/>
                </a:solidFill>
              </a:rPr>
              <a:t>30</a:t>
            </a:r>
            <a:r>
              <a:rPr lang="zh-CN" altLang="en-US" sz="800" i="1" kern="0" dirty="0">
                <a:solidFill>
                  <a:schemeClr val="tx1"/>
                </a:solidFill>
              </a:rPr>
              <a:t>日的</a:t>
            </a:r>
            <a:r>
              <a:rPr lang="en-US" altLang="zh-CN" sz="800" i="1" kern="0" dirty="0">
                <a:solidFill>
                  <a:schemeClr val="tx1"/>
                </a:solidFill>
              </a:rPr>
              <a:t>TTM</a:t>
            </a:r>
            <a:r>
              <a:rPr lang="zh-CN" altLang="en-US" sz="800" i="1" kern="0" dirty="0">
                <a:solidFill>
                  <a:schemeClr val="tx1"/>
                </a:solidFill>
              </a:rPr>
              <a:t>数据</a:t>
            </a:r>
          </a:p>
        </p:txBody>
      </p:sp>
      <p:graphicFrame>
        <p:nvGraphicFramePr>
          <p:cNvPr id="56" name="Object 13">
            <a:extLst>
              <a:ext uri="{FF2B5EF4-FFF2-40B4-BE49-F238E27FC236}">
                <a16:creationId xmlns:a16="http://schemas.microsoft.com/office/drawing/2014/main" id="{EE3C19DD-44EC-4C7B-B0B8-ED0F8D4368F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7257664" y="4188287"/>
          <a:ext cx="4269227" cy="14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65" name="Straight Connector 42">
            <a:extLst>
              <a:ext uri="{FF2B5EF4-FFF2-40B4-BE49-F238E27FC236}">
                <a16:creationId xmlns:a16="http://schemas.microsoft.com/office/drawing/2014/main" id="{1AD11624-B750-40E8-89F7-81307C2BD73E}"/>
              </a:ext>
            </a:extLst>
          </p:cNvPr>
          <p:cNvCxnSpPr>
            <a:cxnSpLocks/>
          </p:cNvCxnSpPr>
          <p:nvPr/>
        </p:nvCxnSpPr>
        <p:spPr>
          <a:xfrm>
            <a:off x="8034823" y="4349620"/>
            <a:ext cx="0" cy="1260000"/>
          </a:xfrm>
          <a:prstGeom prst="line">
            <a:avLst/>
          </a:prstGeom>
          <a:noFill/>
          <a:ln w="38100" cap="rnd" cmpd="sng" algn="ctr">
            <a:solidFill>
              <a:srgbClr val="E86F1A"/>
            </a:solidFill>
            <a:prstDash val="sysDot"/>
          </a:ln>
          <a:effectLst/>
        </p:spPr>
      </p:cxnSp>
      <p:pic>
        <p:nvPicPr>
          <p:cNvPr id="66" name="Picture 3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809" y="5461300"/>
            <a:ext cx="530921" cy="174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TextBox 27"/>
          <p:cNvSpPr txBox="1"/>
          <p:nvPr/>
        </p:nvSpPr>
        <p:spPr>
          <a:xfrm>
            <a:off x="7176480" y="4024834"/>
            <a:ext cx="4407979" cy="38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1" kern="1200" dirty="0">
                <a:solidFill>
                  <a:schemeClr val="tx2"/>
                </a:solidFill>
                <a:latin typeface="Calibri" panose="020F0502020204030204" pitchFamily="34" charset="0"/>
                <a:ea typeface="宋体" pitchFamily="2" charset="-122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zh-CN" altLang="en-US" sz="1200" b="0" dirty="0">
                <a:solidFill>
                  <a:srgbClr val="77777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/>
              </a:rPr>
              <a:t>同业间库存周转天数对比</a:t>
            </a:r>
            <a:r>
              <a:rPr lang="en-US" altLang="zh-CN" sz="1200" b="0" dirty="0">
                <a:solidFill>
                  <a:srgbClr val="777777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/>
              </a:rPr>
              <a:t>**</a:t>
            </a:r>
            <a:endParaRPr lang="zh-CN" altLang="en-US" sz="1200" b="0" dirty="0">
              <a:solidFill>
                <a:srgbClr val="777777"/>
              </a:solidFill>
              <a:latin typeface="Arial" panose="020B0604020202020204" pitchFamily="34" charset="0"/>
              <a:ea typeface="微软雅黑" panose="020B0503020204020204" pitchFamily="34" charset="-122"/>
              <a:cs typeface="Arial"/>
            </a:endParaRPr>
          </a:p>
        </p:txBody>
      </p:sp>
      <p:sp>
        <p:nvSpPr>
          <p:cNvPr id="68" name="文本占位符 2"/>
          <p:cNvSpPr txBox="1">
            <a:spLocks/>
          </p:cNvSpPr>
          <p:nvPr/>
        </p:nvSpPr>
        <p:spPr>
          <a:xfrm>
            <a:off x="7322024" y="3441417"/>
            <a:ext cx="4287273" cy="291935"/>
          </a:xfrm>
          <a:prstGeom prst="rect">
            <a:avLst/>
          </a:prstGeom>
          <a:noFill/>
        </p:spPr>
        <p:txBody>
          <a:bodyPr lIns="0" tIns="45718" rIns="91430" bIns="45718"/>
          <a:lstStyle>
            <a:lvl1pPr marL="0" indent="0" algn="l" defTabSz="1068864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333" b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  <a:lvl2pPr marL="869908" indent="-334417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itchFamily="2" charset="2"/>
              <a:buChar char="p"/>
              <a:defRPr sz="3200">
                <a:solidFill>
                  <a:srgbClr val="777777"/>
                </a:solidFill>
                <a:latin typeface="+mn-lt"/>
                <a:ea typeface="+mn-ea"/>
              </a:defRPr>
            </a:lvl2pPr>
            <a:lvl3pPr marL="1337667" indent="-268804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itchFamily="2" charset="2"/>
              <a:buChar char="n"/>
              <a:defRPr sz="2933">
                <a:solidFill>
                  <a:srgbClr val="777777"/>
                </a:solidFill>
                <a:latin typeface="+mn-lt"/>
                <a:ea typeface="+mn-ea"/>
              </a:defRPr>
            </a:lvl3pPr>
            <a:lvl4pPr marL="1868924" indent="-266687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2667">
                <a:solidFill>
                  <a:srgbClr val="777777"/>
                </a:solidFill>
                <a:latin typeface="+mn-lt"/>
                <a:ea typeface="+mn-ea"/>
              </a:defRPr>
            </a:lvl4pPr>
            <a:lvl5pPr marL="2404413" indent="-268804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5pPr>
            <a:lvl6pPr marL="3013983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6pPr>
            <a:lvl7pPr marL="3623552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7pPr>
            <a:lvl8pPr marL="4233122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8pPr>
            <a:lvl9pPr marL="4842691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9pPr>
          </a:lstStyle>
          <a:p>
            <a:pPr algn="just">
              <a:lnSpc>
                <a:spcPts val="1200"/>
              </a:lnSpc>
            </a:pPr>
            <a:r>
              <a:rPr lang="en-US" altLang="zh-CN" sz="800" i="1" kern="0" dirty="0">
                <a:solidFill>
                  <a:schemeClr val="tx1"/>
                </a:solidFill>
              </a:rPr>
              <a:t>*</a:t>
            </a:r>
            <a:r>
              <a:rPr lang="zh-CN" altLang="en-US" sz="800" i="1" kern="0" dirty="0">
                <a:solidFill>
                  <a:schemeClr val="tx1"/>
                </a:solidFill>
              </a:rPr>
              <a:t>数据来源：京东年报，</a:t>
            </a:r>
            <a:r>
              <a:rPr lang="en-US" altLang="zh-CN" sz="800" i="1" kern="0" dirty="0">
                <a:solidFill>
                  <a:schemeClr val="tx1"/>
                </a:solidFill>
              </a:rPr>
              <a:t>2017 vs 2012</a:t>
            </a:r>
          </a:p>
        </p:txBody>
      </p:sp>
      <p:pic>
        <p:nvPicPr>
          <p:cNvPr id="69" name="Picture 7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9527545" y="5454695"/>
            <a:ext cx="675475" cy="187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" name="图片 64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834227" y="5459909"/>
            <a:ext cx="518221" cy="177027"/>
          </a:xfrm>
          <a:prstGeom prst="rect">
            <a:avLst/>
          </a:prstGeom>
          <a:noFill/>
          <a:ln>
            <a:noFill/>
          </a:ln>
        </p:spPr>
      </p:pic>
      <p:pic>
        <p:nvPicPr>
          <p:cNvPr id="71" name="Picture 56" descr="http://www.gome.com.hk/img/logo.gif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781" t="14992" r="6419" b="5321"/>
          <a:stretch>
            <a:fillRect/>
          </a:stretch>
        </p:blipFill>
        <p:spPr bwMode="auto">
          <a:xfrm>
            <a:off x="8167458" y="5438124"/>
            <a:ext cx="494196" cy="220597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Picture 57" descr="logo_suning.gif"/>
          <p:cNvPicPr>
            <a:picLocks noChangeAspect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6092" t="4167" r="47479" b="4832"/>
          <a:stretch>
            <a:fillRect/>
          </a:stretch>
        </p:blipFill>
        <p:spPr>
          <a:xfrm>
            <a:off x="10215721" y="5421800"/>
            <a:ext cx="523771" cy="253245"/>
          </a:xfrm>
          <a:prstGeom prst="rect">
            <a:avLst/>
          </a:prstGeom>
        </p:spPr>
      </p:pic>
      <p:pic>
        <p:nvPicPr>
          <p:cNvPr id="73" name="Picture 32" descr="amazon_logo.jpg"/>
          <p:cNvPicPr>
            <a:picLocks noChangeAspect="1"/>
          </p:cNvPicPr>
          <p:nvPr/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t="19452" b="22193"/>
          <a:stretch>
            <a:fillRect/>
          </a:stretch>
        </p:blipFill>
        <p:spPr>
          <a:xfrm>
            <a:off x="10836216" y="5430421"/>
            <a:ext cx="682857" cy="23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994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标题 1"/>
          <p:cNvSpPr txBox="1">
            <a:spLocks/>
          </p:cNvSpPr>
          <p:nvPr/>
        </p:nvSpPr>
        <p:spPr>
          <a:xfrm>
            <a:off x="719408" y="35201"/>
            <a:ext cx="9849063" cy="8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5718" rIns="91430" bIns="45718" anchor="ctr" anchorCtr="0">
            <a:noAutofit/>
          </a:bodyPr>
          <a:lstStyle>
            <a:lvl1pPr algn="l" defTabSz="1068864" rtl="0" eaLnBrk="0" fontAlgn="base" hangingPunct="0">
              <a:spcBef>
                <a:spcPct val="0"/>
              </a:spcBef>
              <a:spcAft>
                <a:spcPct val="0"/>
              </a:spcAft>
              <a:defRPr lang="zh-CN" altLang="en-US" sz="2400" b="0" kern="1200" dirty="0">
                <a:solidFill>
                  <a:schemeClr val="accent1"/>
                </a:solidFill>
                <a:latin typeface="+mn-ea"/>
                <a:ea typeface="+mn-ea"/>
                <a:cs typeface="+mn-cs"/>
              </a:defRPr>
            </a:lvl1pPr>
            <a:lvl2pPr algn="l" defTabSz="1068864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CC0000"/>
                </a:solidFill>
                <a:latin typeface="FrutigerNext LT Medium" pitchFamily="34" charset="0"/>
                <a:ea typeface="黑体" pitchFamily="49" charset="-122"/>
              </a:defRPr>
            </a:lvl2pPr>
            <a:lvl3pPr algn="l" defTabSz="1068864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CC0000"/>
                </a:solidFill>
                <a:latin typeface="FrutigerNext LT Medium" pitchFamily="34" charset="0"/>
                <a:ea typeface="黑体" pitchFamily="49" charset="-122"/>
              </a:defRPr>
            </a:lvl3pPr>
            <a:lvl4pPr algn="l" defTabSz="1068864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CC0000"/>
                </a:solidFill>
                <a:latin typeface="FrutigerNext LT Medium" pitchFamily="34" charset="0"/>
                <a:ea typeface="黑体" pitchFamily="49" charset="-122"/>
              </a:defRPr>
            </a:lvl4pPr>
            <a:lvl5pPr algn="l" defTabSz="1068864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CC0000"/>
                </a:solidFill>
                <a:latin typeface="FrutigerNext LT Medium" pitchFamily="34" charset="0"/>
                <a:ea typeface="黑体" pitchFamily="49" charset="-122"/>
              </a:defRPr>
            </a:lvl5pPr>
            <a:lvl6pPr marL="609570" algn="l" defTabSz="1068864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CC0000"/>
                </a:solidFill>
                <a:latin typeface="FrutigerNext LT Medium" pitchFamily="34" charset="0"/>
                <a:ea typeface="黑体" pitchFamily="49" charset="-122"/>
              </a:defRPr>
            </a:lvl6pPr>
            <a:lvl7pPr marL="1219140" algn="l" defTabSz="1068864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CC0000"/>
                </a:solidFill>
                <a:latin typeface="FrutigerNext LT Medium" pitchFamily="34" charset="0"/>
                <a:ea typeface="黑体" pitchFamily="49" charset="-122"/>
              </a:defRPr>
            </a:lvl7pPr>
            <a:lvl8pPr marL="1828709" algn="l" defTabSz="1068864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CC0000"/>
                </a:solidFill>
                <a:latin typeface="FrutigerNext LT Medium" pitchFamily="34" charset="0"/>
                <a:ea typeface="黑体" pitchFamily="49" charset="-122"/>
              </a:defRPr>
            </a:lvl8pPr>
            <a:lvl9pPr marL="2438278" algn="l" defTabSz="1068864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CC0000"/>
                </a:solidFill>
                <a:latin typeface="FrutigerNext LT Medium" pitchFamily="34" charset="0"/>
                <a:ea typeface="黑体" pitchFamily="49" charset="-122"/>
              </a:defRPr>
            </a:lvl9pPr>
          </a:lstStyle>
          <a:p>
            <a:r>
              <a:rPr>
                <a:solidFill>
                  <a:srgbClr val="DA0B1C"/>
                </a:solidFill>
              </a:rPr>
              <a:t>高品质的物流服务，极大</a:t>
            </a:r>
            <a:r>
              <a:rPr smtClean="0">
                <a:solidFill>
                  <a:srgbClr val="DA0B1C"/>
                </a:solidFill>
              </a:rPr>
              <a:t>提升</a:t>
            </a:r>
            <a:r>
              <a:rPr>
                <a:solidFill>
                  <a:srgbClr val="DA0B1C"/>
                </a:solidFill>
              </a:rPr>
              <a:t>商家</a:t>
            </a:r>
            <a:r>
              <a:rPr smtClean="0">
                <a:solidFill>
                  <a:srgbClr val="DA0B1C"/>
                </a:solidFill>
              </a:rPr>
              <a:t>的</a:t>
            </a:r>
            <a:r>
              <a:rPr>
                <a:solidFill>
                  <a:srgbClr val="DA0B1C"/>
                </a:solidFill>
              </a:rPr>
              <a:t>体验、成本和效率</a:t>
            </a:r>
          </a:p>
        </p:txBody>
      </p:sp>
      <p:sp>
        <p:nvSpPr>
          <p:cNvPr id="120" name="文本占位符 3"/>
          <p:cNvSpPr txBox="1">
            <a:spLocks/>
          </p:cNvSpPr>
          <p:nvPr/>
        </p:nvSpPr>
        <p:spPr>
          <a:xfrm>
            <a:off x="709328" y="6385091"/>
            <a:ext cx="4512501" cy="336000"/>
          </a:xfrm>
          <a:prstGeom prst="rect">
            <a:avLst/>
          </a:prstGeom>
        </p:spPr>
        <p:txBody>
          <a:bodyPr lIns="0" tIns="60938" rIns="121877" bIns="60938"/>
          <a:lstStyle>
            <a:lvl1pPr marL="0" indent="0" algn="r" defTabSz="80166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  <a:lvl2pPr marL="652447" indent="-250819" algn="l" defTabSz="801668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itchFamily="2" charset="2"/>
              <a:buChar char="p"/>
              <a:defRPr sz="2400">
                <a:solidFill>
                  <a:srgbClr val="777777"/>
                </a:solidFill>
                <a:latin typeface="+mn-lt"/>
                <a:ea typeface="+mn-ea"/>
              </a:defRPr>
            </a:lvl2pPr>
            <a:lvl3pPr marL="1003275" indent="-201608" algn="l" defTabSz="801668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itchFamily="2" charset="2"/>
              <a:buChar char="n"/>
              <a:defRPr sz="2200">
                <a:solidFill>
                  <a:srgbClr val="777777"/>
                </a:solidFill>
                <a:latin typeface="+mn-lt"/>
                <a:ea typeface="+mn-ea"/>
              </a:defRPr>
            </a:lvl3pPr>
            <a:lvl4pPr marL="1401728" indent="-200020" algn="l" defTabSz="801668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2000">
                <a:solidFill>
                  <a:srgbClr val="777777"/>
                </a:solidFill>
                <a:latin typeface="+mn-lt"/>
                <a:ea typeface="+mn-ea"/>
              </a:defRPr>
            </a:lvl4pPr>
            <a:lvl5pPr marL="1803355" indent="-201608" algn="l" defTabSz="801668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5pPr>
            <a:lvl6pPr marL="2260544" indent="-201608" algn="l" defTabSz="801668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6pPr>
            <a:lvl7pPr marL="2717732" indent="-201608" algn="l" defTabSz="801668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7pPr>
            <a:lvl8pPr marL="3174921" indent="-201608" algn="l" defTabSz="801668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8pPr>
            <a:lvl9pPr marL="3632109" indent="-201608" algn="l" defTabSz="801668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9pPr>
          </a:lstStyle>
          <a:p>
            <a:pPr algn="l"/>
            <a:r>
              <a:rPr lang="zh-CN" altLang="en-US" sz="1100" i="1" kern="0" dirty="0"/>
              <a:t>数据来源：京东物流内部统计数据</a:t>
            </a:r>
          </a:p>
        </p:txBody>
      </p:sp>
      <p:cxnSp>
        <p:nvCxnSpPr>
          <p:cNvPr id="135" name="直接连接符 134"/>
          <p:cNvCxnSpPr/>
          <p:nvPr/>
        </p:nvCxnSpPr>
        <p:spPr bwMode="auto">
          <a:xfrm>
            <a:off x="716399" y="1249040"/>
            <a:ext cx="5760000" cy="0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6" name="文本框 135"/>
          <p:cNvSpPr txBox="1"/>
          <p:nvPr/>
        </p:nvSpPr>
        <p:spPr>
          <a:xfrm>
            <a:off x="1729223" y="1064375"/>
            <a:ext cx="3734356" cy="369332"/>
          </a:xfrm>
          <a:prstGeom prst="rect">
            <a:avLst/>
          </a:prstGeom>
          <a:solidFill>
            <a:schemeClr val="bg1"/>
          </a:solidFill>
        </p:spPr>
        <p:txBody>
          <a:bodyPr wrap="none" lIns="121877" tIns="60938" rIns="121877" bIns="60938" rtlCol="0">
            <a:spAutoFit/>
          </a:bodyPr>
          <a:lstStyle/>
          <a:p>
            <a:pPr defTabSz="914354"/>
            <a:r>
              <a:rPr lang="zh-CN" altLang="en-US" sz="1600" dirty="0">
                <a:solidFill>
                  <a:srgbClr val="DA0B1C"/>
                </a:solidFill>
                <a:latin typeface="微软雅黑" panose="020B0503020204020204" pitchFamily="34" charset="-122"/>
              </a:rPr>
              <a:t>使用京东仓配一体服务后效率大幅提升</a:t>
            </a:r>
          </a:p>
        </p:txBody>
      </p:sp>
      <p:sp>
        <p:nvSpPr>
          <p:cNvPr id="211" name="文本框 6"/>
          <p:cNvSpPr txBox="1"/>
          <p:nvPr/>
        </p:nvSpPr>
        <p:spPr>
          <a:xfrm>
            <a:off x="7044608" y="1387035"/>
            <a:ext cx="4623947" cy="292349"/>
          </a:xfrm>
          <a:prstGeom prst="rect">
            <a:avLst/>
          </a:prstGeom>
          <a:noFill/>
        </p:spPr>
        <p:txBody>
          <a:bodyPr wrap="none" lIns="121877" tIns="60938" rIns="121877" bIns="60938" rtlCol="0">
            <a:spAutoFit/>
          </a:bodyPr>
          <a:lstStyle/>
          <a:p>
            <a:pPr defTabSz="914354"/>
            <a:r>
              <a:rPr lang="zh-CN" altLang="en-US" sz="1100" dirty="0">
                <a:solidFill>
                  <a:srgbClr val="777777"/>
                </a:solidFill>
                <a:latin typeface="微软雅黑" panose="020B0503020204020204" pitchFamily="34" charset="-122"/>
              </a:rPr>
              <a:t>商家使用京东物流仓配服务，同比订单增长率（</a:t>
            </a:r>
            <a:r>
              <a:rPr lang="en-US" altLang="zh-CN" sz="1100" dirty="0">
                <a:solidFill>
                  <a:srgbClr val="777777"/>
                </a:solidFill>
                <a:latin typeface="微软雅黑" panose="020B0503020204020204" pitchFamily="34" charset="-122"/>
              </a:rPr>
              <a:t>20181H vs 20171H</a:t>
            </a:r>
            <a:r>
              <a:rPr lang="zh-CN" altLang="en-US" sz="1100" dirty="0">
                <a:solidFill>
                  <a:srgbClr val="777777"/>
                </a:solidFill>
                <a:latin typeface="微软雅黑" panose="020B0503020204020204" pitchFamily="34" charset="-122"/>
              </a:rPr>
              <a:t>）</a:t>
            </a:r>
          </a:p>
        </p:txBody>
      </p:sp>
      <p:sp>
        <p:nvSpPr>
          <p:cNvPr id="62" name="矩形 61"/>
          <p:cNvSpPr/>
          <p:nvPr/>
        </p:nvSpPr>
        <p:spPr>
          <a:xfrm>
            <a:off x="3890967" y="1920665"/>
            <a:ext cx="2520000" cy="1800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202952" y="1776825"/>
            <a:ext cx="1896035" cy="338555"/>
          </a:xfrm>
          <a:prstGeom prst="rect">
            <a:avLst/>
          </a:prstGeom>
          <a:solidFill>
            <a:schemeClr val="bg1"/>
          </a:solidFill>
        </p:spPr>
        <p:txBody>
          <a:bodyPr wrap="square" lIns="91436" tIns="45718" rIns="91436" bIns="45718" rtlCol="0">
            <a:spAutoFit/>
          </a:bodyPr>
          <a:lstStyle/>
          <a:p>
            <a:pPr algn="ctr" defTabSz="914354"/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</a:rPr>
              <a:t>某知名鞋服品牌商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3890967" y="4278812"/>
            <a:ext cx="2520000" cy="1800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245604" y="4134973"/>
            <a:ext cx="1810731" cy="338555"/>
          </a:xfrm>
          <a:prstGeom prst="rect">
            <a:avLst/>
          </a:prstGeom>
          <a:solidFill>
            <a:schemeClr val="bg1"/>
          </a:solidFill>
        </p:spPr>
        <p:txBody>
          <a:bodyPr wrap="square" lIns="91436" tIns="45718" rIns="91436" bIns="45718" rtlCol="0">
            <a:spAutoFit/>
          </a:bodyPr>
          <a:lstStyle/>
          <a:p>
            <a:pPr algn="ctr" defTabSz="914354"/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</a:rPr>
              <a:t>某知名快消品牌商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3937416" y="4634723"/>
            <a:ext cx="2438400" cy="1268209"/>
            <a:chOff x="3843617" y="4593552"/>
            <a:chExt cx="2438400" cy="1268209"/>
          </a:xfrm>
        </p:grpSpPr>
        <p:sp>
          <p:nvSpPr>
            <p:cNvPr id="67" name="文本框 127"/>
            <p:cNvSpPr txBox="1"/>
            <p:nvPr/>
          </p:nvSpPr>
          <p:spPr>
            <a:xfrm>
              <a:off x="3843617" y="5046183"/>
              <a:ext cx="2438400" cy="815578"/>
            </a:xfrm>
            <a:prstGeom prst="rect">
              <a:avLst/>
            </a:prstGeom>
            <a:noFill/>
          </p:spPr>
          <p:txBody>
            <a:bodyPr wrap="square" lIns="121890" tIns="60945" rIns="121890" bIns="60945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1800"/>
                </a:lnSpc>
                <a:defRPr sz="1100"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defTabSz="914354"/>
              <a:r>
                <a:rPr lang="zh-CN" altLang="en-US" sz="1200" dirty="0">
                  <a:solidFill>
                    <a:srgbClr val="777777"/>
                  </a:solidFill>
                </a:rPr>
                <a:t>大促期间，出库效率由自建物流的</a:t>
              </a:r>
              <a:r>
                <a:rPr lang="en-US" altLang="zh-CN" sz="1200" dirty="0">
                  <a:solidFill>
                    <a:srgbClr val="777777"/>
                  </a:solidFill>
                </a:rPr>
                <a:t>20</a:t>
              </a:r>
              <a:r>
                <a:rPr lang="zh-CN" altLang="en-US" sz="1200" dirty="0">
                  <a:solidFill>
                    <a:srgbClr val="777777"/>
                  </a:solidFill>
                </a:rPr>
                <a:t>天，大幅降低为京东物流承接的</a:t>
              </a:r>
              <a:r>
                <a:rPr lang="en-US" altLang="zh-CN" sz="1200" dirty="0">
                  <a:solidFill>
                    <a:srgbClr val="777777"/>
                  </a:solidFill>
                </a:rPr>
                <a:t>4</a:t>
              </a:r>
              <a:r>
                <a:rPr lang="zh-CN" altLang="en-US" sz="1200" dirty="0">
                  <a:solidFill>
                    <a:srgbClr val="777777"/>
                  </a:solidFill>
                </a:rPr>
                <a:t>天</a:t>
              </a:r>
              <a:endParaRPr lang="en-US" altLang="zh-CN" sz="1200" dirty="0">
                <a:solidFill>
                  <a:srgbClr val="777777"/>
                </a:solidFill>
              </a:endParaRPr>
            </a:p>
          </p:txBody>
        </p:sp>
        <p:sp>
          <p:nvSpPr>
            <p:cNvPr id="44" name="文本框 185"/>
            <p:cNvSpPr txBox="1"/>
            <p:nvPr/>
          </p:nvSpPr>
          <p:spPr>
            <a:xfrm>
              <a:off x="4077896" y="4593552"/>
              <a:ext cx="729687" cy="384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b="1" dirty="0">
                  <a:solidFill>
                    <a:srgbClr val="DA0B1C"/>
                  </a:solidFill>
                  <a:latin typeface="微软雅黑" panose="020B0503020204020204" pitchFamily="34" charset="-122"/>
                </a:rPr>
                <a:t>20</a:t>
              </a:r>
              <a:r>
                <a:rPr lang="zh-CN" altLang="en-US" b="1" dirty="0">
                  <a:solidFill>
                    <a:srgbClr val="DA0B1C"/>
                  </a:solidFill>
                  <a:latin typeface="微软雅黑" panose="020B0503020204020204" pitchFamily="34" charset="-122"/>
                </a:rPr>
                <a:t>天</a:t>
              </a:r>
              <a:endParaRPr lang="zh-CN" altLang="en-US" sz="1100" b="1" dirty="0">
                <a:solidFill>
                  <a:srgbClr val="DA0B1C"/>
                </a:solidFill>
                <a:latin typeface="微软雅黑" panose="020B0503020204020204" pitchFamily="34" charset="-122"/>
              </a:endParaRPr>
            </a:p>
          </p:txBody>
        </p:sp>
        <p:cxnSp>
          <p:nvCxnSpPr>
            <p:cNvPr id="8" name="直接箭头连接符 7"/>
            <p:cNvCxnSpPr/>
            <p:nvPr/>
          </p:nvCxnSpPr>
          <p:spPr bwMode="auto">
            <a:xfrm>
              <a:off x="4879739" y="4778218"/>
              <a:ext cx="430306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文本框 185"/>
            <p:cNvSpPr txBox="1"/>
            <p:nvPr/>
          </p:nvSpPr>
          <p:spPr>
            <a:xfrm>
              <a:off x="5427084" y="4593552"/>
              <a:ext cx="579005" cy="384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b="1" dirty="0">
                  <a:solidFill>
                    <a:srgbClr val="DA0B1C"/>
                  </a:solidFill>
                  <a:latin typeface="微软雅黑" panose="020B0503020204020204" pitchFamily="34" charset="-122"/>
                </a:rPr>
                <a:t>4</a:t>
              </a:r>
              <a:r>
                <a:rPr lang="zh-CN" altLang="en-US" b="1" dirty="0">
                  <a:solidFill>
                    <a:srgbClr val="DA0B1C"/>
                  </a:solidFill>
                  <a:latin typeface="微软雅黑" panose="020B0503020204020204" pitchFamily="34" charset="-122"/>
                </a:rPr>
                <a:t>天</a:t>
              </a:r>
              <a:endParaRPr lang="zh-CN" altLang="en-US" sz="1100" b="1" dirty="0">
                <a:solidFill>
                  <a:srgbClr val="DA0B1C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4592918" y="2512496"/>
            <a:ext cx="1116105" cy="739532"/>
            <a:chOff x="4499116" y="2600025"/>
            <a:chExt cx="1116105" cy="739531"/>
          </a:xfrm>
        </p:grpSpPr>
        <p:sp>
          <p:nvSpPr>
            <p:cNvPr id="64" name="文本框 127"/>
            <p:cNvSpPr txBox="1"/>
            <p:nvPr/>
          </p:nvSpPr>
          <p:spPr>
            <a:xfrm>
              <a:off x="4499116" y="2939478"/>
              <a:ext cx="1116105" cy="400078"/>
            </a:xfrm>
            <a:prstGeom prst="rect">
              <a:avLst/>
            </a:prstGeom>
            <a:noFill/>
          </p:spPr>
          <p:txBody>
            <a:bodyPr wrap="square" lIns="121890" tIns="60945" rIns="121890" bIns="60945" rtlCol="0">
              <a:spAutoFit/>
            </a:bodyPr>
            <a:lstStyle/>
            <a:p>
              <a:pPr algn="ctr" defTabSz="914354">
                <a:lnSpc>
                  <a:spcPct val="150000"/>
                </a:lnSpc>
              </a:pPr>
              <a:r>
                <a:rPr lang="zh-CN" altLang="en-US" sz="12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库存成本</a:t>
              </a:r>
              <a:endParaRPr lang="en-US" altLang="zh-CN" sz="1200" b="1" dirty="0">
                <a:solidFill>
                  <a:srgbClr val="C00000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48" name="文本框 185"/>
            <p:cNvSpPr txBox="1"/>
            <p:nvPr/>
          </p:nvSpPr>
          <p:spPr>
            <a:xfrm>
              <a:off x="4603359" y="2600025"/>
              <a:ext cx="907620" cy="3847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54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dirty="0">
                  <a:solidFill>
                    <a:srgbClr val="DA0B1C"/>
                  </a:solidFill>
                  <a:latin typeface="微软雅黑" panose="020B0503020204020204" pitchFamily="34" charset="-122"/>
                </a:rPr>
                <a:t>↓ </a:t>
              </a:r>
              <a:r>
                <a:rPr lang="en-US" altLang="zh-CN" b="1" dirty="0">
                  <a:solidFill>
                    <a:srgbClr val="DA0B1C"/>
                  </a:solidFill>
                  <a:latin typeface="微软雅黑" panose="020B0503020204020204" pitchFamily="34" charset="-122"/>
                </a:rPr>
                <a:t>18%</a:t>
              </a:r>
              <a:endParaRPr lang="zh-CN" altLang="en-US" sz="1100" b="1" dirty="0">
                <a:solidFill>
                  <a:srgbClr val="DA0B1C"/>
                </a:solidFill>
                <a:latin typeface="微软雅黑" panose="020B0503020204020204" pitchFamily="34" charset="-122"/>
              </a:endParaRPr>
            </a:p>
          </p:txBody>
        </p:sp>
      </p:grpSp>
      <p:cxnSp>
        <p:nvCxnSpPr>
          <p:cNvPr id="53" name="直接连接符 52"/>
          <p:cNvCxnSpPr/>
          <p:nvPr/>
        </p:nvCxnSpPr>
        <p:spPr bwMode="auto">
          <a:xfrm>
            <a:off x="7106580" y="1249040"/>
            <a:ext cx="4500000" cy="0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9" name="TextBox 5">
            <a:extLst>
              <a:ext uri="{FF2B5EF4-FFF2-40B4-BE49-F238E27FC236}">
                <a16:creationId xmlns:a16="http://schemas.microsoft.com/office/drawing/2014/main" id="{15431174-FBDD-44B5-BDD2-C025D9DFB4FE}"/>
              </a:ext>
            </a:extLst>
          </p:cNvPr>
          <p:cNvSpPr txBox="1"/>
          <p:nvPr/>
        </p:nvSpPr>
        <p:spPr>
          <a:xfrm>
            <a:off x="8014185" y="1051849"/>
            <a:ext cx="2684795" cy="3943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08" tIns="45718" rIns="91408" bIns="45718" numCol="1" anchor="ctr" anchorCtr="0" compatLnSpc="1">
            <a:prstTxWarp prst="textNoShape">
              <a:avLst/>
            </a:prstTxWarp>
          </a:bodyPr>
          <a:lstStyle>
            <a:defPPr>
              <a:defRPr lang="zh-HK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latin typeface="Arial" panose="020B0604020202020204" pitchFamily="34" charset="0"/>
                <a:ea typeface="楷体" panose="02010609060101010101" pitchFamily="49" charset="-122"/>
                <a:cs typeface="Arial"/>
              </a:defRPr>
            </a:lvl1pPr>
            <a:lvl2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2pPr>
            <a:lvl3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3pPr>
            <a:lvl4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4pPr>
            <a:lvl5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defTabSz="914354" eaLnBrk="1" hangingPunct="1">
              <a:defRPr/>
            </a:pPr>
            <a:r>
              <a:rPr lang="zh-CN" altLang="en-US" sz="1500" dirty="0">
                <a:solidFill>
                  <a:srgbClr val="DA0B1C"/>
                </a:solidFill>
                <a:latin typeface="微软雅黑" panose="020B0503020204020204" pitchFamily="34" charset="-122"/>
                <a:ea typeface="微软雅黑"/>
              </a:rPr>
              <a:t>物流拉动商流，销量提升显著</a:t>
            </a:r>
          </a:p>
        </p:txBody>
      </p:sp>
      <p:cxnSp>
        <p:nvCxnSpPr>
          <p:cNvPr id="54" name="直接连接符 53"/>
          <p:cNvCxnSpPr/>
          <p:nvPr/>
        </p:nvCxnSpPr>
        <p:spPr bwMode="auto">
          <a:xfrm>
            <a:off x="7125724" y="3951388"/>
            <a:ext cx="4500000" cy="0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0" name="矩形 26">
            <a:extLst>
              <a:ext uri="{FF2B5EF4-FFF2-40B4-BE49-F238E27FC236}">
                <a16:creationId xmlns:a16="http://schemas.microsoft.com/office/drawing/2014/main" id="{F86EC890-1EAB-46C3-9D93-4873839DF707}"/>
              </a:ext>
            </a:extLst>
          </p:cNvPr>
          <p:cNvSpPr/>
          <p:nvPr/>
        </p:nvSpPr>
        <p:spPr>
          <a:xfrm>
            <a:off x="7713736" y="3774426"/>
            <a:ext cx="3323976" cy="353937"/>
          </a:xfrm>
          <a:prstGeom prst="rect">
            <a:avLst/>
          </a:prstGeom>
          <a:solidFill>
            <a:schemeClr val="bg1"/>
          </a:solidFill>
        </p:spPr>
        <p:txBody>
          <a:bodyPr wrap="none" lIns="121877" tIns="60938" rIns="121877" bIns="60938">
            <a:spAutoFit/>
          </a:bodyPr>
          <a:lstStyle/>
          <a:p>
            <a:pPr algn="ctr" defTabSz="914354">
              <a:defRPr/>
            </a:pPr>
            <a:r>
              <a:rPr lang="zh-CN" altLang="en-US" sz="1500" dirty="0">
                <a:solidFill>
                  <a:srgbClr val="DA0B1C"/>
                </a:solidFill>
                <a:latin typeface="微软雅黑" panose="020B0503020204020204" pitchFamily="34" charset="-122"/>
              </a:rPr>
              <a:t>已成功服务众多一线品牌商和渠道商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7083003" y="4269845"/>
            <a:ext cx="4585447" cy="1800000"/>
            <a:chOff x="7083001" y="4269845"/>
            <a:chExt cx="4585447" cy="1800000"/>
          </a:xfrm>
        </p:grpSpPr>
        <p:pic>
          <p:nvPicPr>
            <p:cNvPr id="177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066"/>
            <a:stretch/>
          </p:blipFill>
          <p:spPr bwMode="auto">
            <a:xfrm>
              <a:off x="9379730" y="4967138"/>
              <a:ext cx="1626344" cy="39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7" name="Picture 2">
              <a:extLst>
                <a:ext uri="{FF2B5EF4-FFF2-40B4-BE49-F238E27FC236}">
                  <a16:creationId xmlns:a16="http://schemas.microsoft.com/office/drawing/2014/main" id="{681ED958-94DC-4289-AEF7-9E3CD1BFA9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6416" y="4967138"/>
              <a:ext cx="1012440" cy="39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0" name="Picture 5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430"/>
            <a:stretch/>
          </p:blipFill>
          <p:spPr bwMode="auto">
            <a:xfrm>
              <a:off x="8237949" y="5530507"/>
              <a:ext cx="937077" cy="46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2" name="Picture 9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5" t="4682"/>
            <a:stretch/>
          </p:blipFill>
          <p:spPr bwMode="auto">
            <a:xfrm>
              <a:off x="9398355" y="5530507"/>
              <a:ext cx="731265" cy="46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" name="Picture 13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9229" y="5530507"/>
              <a:ext cx="685391" cy="46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2" name="矩形 71"/>
            <p:cNvSpPr/>
            <p:nvPr/>
          </p:nvSpPr>
          <p:spPr>
            <a:xfrm>
              <a:off x="7083001" y="4269845"/>
              <a:ext cx="4585447" cy="1800000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  <a:prstDash val="sys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777777">
                    <a:lumMod val="95000"/>
                    <a:lumOff val="5000"/>
                  </a:srgbClr>
                </a:solidFill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  <p:pic>
          <p:nvPicPr>
            <p:cNvPr id="29699" name="Picture 3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38775" y="4390549"/>
              <a:ext cx="1490400" cy="3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700" name="Picture 4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90650" y="4426549"/>
              <a:ext cx="599606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701" name="Picture 5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96948" y="4967138"/>
              <a:ext cx="389054" cy="39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328965" y="4858483"/>
              <a:ext cx="856577" cy="613310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151731" y="4421037"/>
              <a:ext cx="1186749" cy="299024"/>
            </a:xfrm>
            <a:prstGeom prst="rect">
              <a:avLst/>
            </a:prstGeom>
          </p:spPr>
        </p:pic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352948" y="5560087"/>
              <a:ext cx="1128705" cy="408841"/>
            </a:xfrm>
            <a:prstGeom prst="rect">
              <a:avLst/>
            </a:prstGeom>
          </p:spPr>
        </p:pic>
      </p:grpSp>
      <p:grpSp>
        <p:nvGrpSpPr>
          <p:cNvPr id="17" name="组合 16"/>
          <p:cNvGrpSpPr/>
          <p:nvPr/>
        </p:nvGrpSpPr>
        <p:grpSpPr>
          <a:xfrm>
            <a:off x="7348616" y="1326440"/>
            <a:ext cx="4015931" cy="2373100"/>
            <a:chOff x="7338775" y="1326440"/>
            <a:chExt cx="4015930" cy="2373100"/>
          </a:xfrm>
        </p:grpSpPr>
        <p:graphicFrame>
          <p:nvGraphicFramePr>
            <p:cNvPr id="71" name="图表 70"/>
            <p:cNvGraphicFramePr/>
            <p:nvPr>
              <p:extLst/>
            </p:nvPr>
          </p:nvGraphicFramePr>
          <p:xfrm>
            <a:off x="7338775" y="1326440"/>
            <a:ext cx="4015930" cy="217370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4"/>
            </a:graphicData>
          </a:graphic>
        </p:graphicFrame>
        <p:cxnSp>
          <p:nvCxnSpPr>
            <p:cNvPr id="61" name="直接连接符 60"/>
            <p:cNvCxnSpPr/>
            <p:nvPr/>
          </p:nvCxnSpPr>
          <p:spPr bwMode="auto">
            <a:xfrm>
              <a:off x="9010826" y="1733728"/>
              <a:ext cx="556220" cy="0"/>
            </a:xfrm>
            <a:prstGeom prst="line">
              <a:avLst/>
            </a:prstGeom>
            <a:noFill/>
            <a:ln w="9525" cap="flat" cmpd="sng" algn="ctr">
              <a:solidFill>
                <a:srgbClr val="DA0B1C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直接连接符 67"/>
            <p:cNvCxnSpPr/>
            <p:nvPr/>
          </p:nvCxnSpPr>
          <p:spPr bwMode="auto">
            <a:xfrm flipH="1">
              <a:off x="9527234" y="1733727"/>
              <a:ext cx="0" cy="1008000"/>
            </a:xfrm>
            <a:prstGeom prst="line">
              <a:avLst/>
            </a:prstGeom>
            <a:noFill/>
            <a:ln w="9525" cap="flat" cmpd="sng" algn="ctr">
              <a:solidFill>
                <a:srgbClr val="DA0B1C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直接连接符 68"/>
            <p:cNvCxnSpPr/>
            <p:nvPr/>
          </p:nvCxnSpPr>
          <p:spPr bwMode="auto">
            <a:xfrm>
              <a:off x="9461744" y="2759557"/>
              <a:ext cx="173246" cy="0"/>
            </a:xfrm>
            <a:prstGeom prst="line">
              <a:avLst/>
            </a:prstGeom>
            <a:noFill/>
            <a:ln w="9525" cap="flat" cmpd="sng" algn="ctr">
              <a:solidFill>
                <a:srgbClr val="DA0B1C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0" name="文本框 69"/>
            <p:cNvSpPr txBox="1"/>
            <p:nvPr/>
          </p:nvSpPr>
          <p:spPr>
            <a:xfrm>
              <a:off x="9062609" y="2015388"/>
              <a:ext cx="847037" cy="45443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DA0B1C"/>
              </a:solidFill>
            </a:ln>
          </p:spPr>
          <p:txBody>
            <a:bodyPr wrap="square" rtlCol="0" anchor="ctr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500" b="1" dirty="0">
                  <a:solidFill>
                    <a:srgbClr val="DA0B1C"/>
                  </a:solidFill>
                  <a:latin typeface="微软雅黑" panose="020B0503020204020204" pitchFamily="34" charset="-122"/>
                </a:rPr>
                <a:t>2.7x</a:t>
              </a:r>
              <a:endParaRPr lang="zh-CN" altLang="en-US" sz="1500" b="1" dirty="0">
                <a:solidFill>
                  <a:srgbClr val="DA0B1C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3" name="文本框 6"/>
            <p:cNvSpPr txBox="1"/>
            <p:nvPr/>
          </p:nvSpPr>
          <p:spPr>
            <a:xfrm>
              <a:off x="7914666" y="3407191"/>
              <a:ext cx="1629537" cy="292349"/>
            </a:xfrm>
            <a:prstGeom prst="rect">
              <a:avLst/>
            </a:prstGeom>
            <a:noFill/>
          </p:spPr>
          <p:txBody>
            <a:bodyPr wrap="none" lIns="121882" tIns="60941" rIns="121882" bIns="60941" rtlCol="0">
              <a:spAutoFit/>
            </a:bodyPr>
            <a:lstStyle/>
            <a:p>
              <a:pPr defTabSz="914354"/>
              <a:r>
                <a:rPr lang="zh-CN" altLang="en-US" sz="11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仓配一体渗透率</a:t>
              </a:r>
              <a:r>
                <a:rPr lang="en-US" altLang="zh-CN" sz="11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50%+</a:t>
              </a:r>
              <a:endParaRPr lang="zh-CN" altLang="en-US" sz="1100" dirty="0">
                <a:solidFill>
                  <a:srgbClr val="777777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5" name="文本框 6"/>
            <p:cNvSpPr txBox="1"/>
            <p:nvPr/>
          </p:nvSpPr>
          <p:spPr>
            <a:xfrm>
              <a:off x="9387144" y="3407191"/>
              <a:ext cx="1374659" cy="292349"/>
            </a:xfrm>
            <a:prstGeom prst="rect">
              <a:avLst/>
            </a:prstGeom>
            <a:noFill/>
          </p:spPr>
          <p:txBody>
            <a:bodyPr wrap="none" lIns="121882" tIns="60941" rIns="121882" bIns="60941" rtlCol="0">
              <a:spAutoFit/>
            </a:bodyPr>
            <a:lstStyle/>
            <a:p>
              <a:pPr defTabSz="914354"/>
              <a:r>
                <a:rPr lang="zh-CN" altLang="en-US" sz="11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仓配一体商家平均</a:t>
              </a:r>
            </a:p>
          </p:txBody>
        </p:sp>
      </p:grpSp>
      <p:sp>
        <p:nvSpPr>
          <p:cNvPr id="74" name="矩形 73"/>
          <p:cNvSpPr/>
          <p:nvPr/>
        </p:nvSpPr>
        <p:spPr>
          <a:xfrm>
            <a:off x="784697" y="1920665"/>
            <a:ext cx="2520000" cy="1800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/>
            <a:endParaRPr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76" name="TextBox 1"/>
          <p:cNvSpPr txBox="1"/>
          <p:nvPr/>
        </p:nvSpPr>
        <p:spPr>
          <a:xfrm>
            <a:off x="1144912" y="1776825"/>
            <a:ext cx="1815353" cy="338555"/>
          </a:xfrm>
          <a:prstGeom prst="rect">
            <a:avLst/>
          </a:prstGeom>
          <a:solidFill>
            <a:schemeClr val="bg1"/>
          </a:solidFill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某知名家居品牌商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文本框 127"/>
          <p:cNvSpPr txBox="1"/>
          <p:nvPr/>
        </p:nvSpPr>
        <p:spPr>
          <a:xfrm>
            <a:off x="781842" y="2320154"/>
            <a:ext cx="2501153" cy="1107967"/>
          </a:xfrm>
          <a:prstGeom prst="rect">
            <a:avLst/>
          </a:prstGeom>
          <a:noFill/>
        </p:spPr>
        <p:txBody>
          <a:bodyPr wrap="square" lIns="121885" tIns="60942" rIns="121885" bIns="60942" rtlCol="0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solidFill>
                  <a:srgbClr val="DA0B1C"/>
                </a:solidFill>
                <a:latin typeface="微软雅黑" panose="020B0503020204020204" pitchFamily="34" charset="-122"/>
              </a:rPr>
              <a:t>↓ </a:t>
            </a:r>
            <a:r>
              <a:rPr lang="en-US" altLang="zh-CN" b="1" dirty="0">
                <a:solidFill>
                  <a:srgbClr val="DA0B1C"/>
                </a:solidFill>
                <a:latin typeface="微软雅黑" panose="020B0503020204020204" pitchFamily="34" charset="-122"/>
              </a:rPr>
              <a:t>5%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2B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B2C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线上线下一盘货管理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整体供应链成本下降</a:t>
            </a:r>
          </a:p>
        </p:txBody>
      </p:sp>
      <p:sp>
        <p:nvSpPr>
          <p:cNvPr id="55" name="矩形 54"/>
          <p:cNvSpPr/>
          <p:nvPr/>
        </p:nvSpPr>
        <p:spPr>
          <a:xfrm>
            <a:off x="783268" y="4278812"/>
            <a:ext cx="2520000" cy="1800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/>
            <a:endParaRPr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sp>
        <p:nvSpPr>
          <p:cNvPr id="56" name="TextBox 59"/>
          <p:cNvSpPr txBox="1"/>
          <p:nvPr/>
        </p:nvSpPr>
        <p:spPr>
          <a:xfrm>
            <a:off x="1201823" y="4134973"/>
            <a:ext cx="1721084" cy="338555"/>
          </a:xfrm>
          <a:prstGeom prst="rect">
            <a:avLst/>
          </a:prstGeom>
          <a:solidFill>
            <a:schemeClr val="bg1"/>
          </a:solidFill>
        </p:spPr>
        <p:txBody>
          <a:bodyPr wrap="square" lIns="91436" tIns="45718" rIns="91436" bIns="45718" rtlCol="0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某互联网巨头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文本框 127"/>
          <p:cNvSpPr txBox="1"/>
          <p:nvPr/>
        </p:nvSpPr>
        <p:spPr>
          <a:xfrm>
            <a:off x="889421" y="5260482"/>
            <a:ext cx="1116105" cy="601844"/>
          </a:xfrm>
          <a:prstGeom prst="rect">
            <a:avLst/>
          </a:prstGeom>
          <a:noFill/>
        </p:spPr>
        <p:txBody>
          <a:bodyPr wrap="square" lIns="121885" tIns="60942" rIns="121885" bIns="60942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订单发货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ts val="1800"/>
              </a:lnSpc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差错率</a:t>
            </a:r>
            <a:endParaRPr lang="en-US" altLang="zh-CN" sz="12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文本框 185"/>
          <p:cNvSpPr txBox="1"/>
          <p:nvPr/>
        </p:nvSpPr>
        <p:spPr>
          <a:xfrm>
            <a:off x="995266" y="4646781"/>
            <a:ext cx="904411" cy="384719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b="1" dirty="0" smtClean="0">
                <a:solidFill>
                  <a:srgbClr val="DA0B1C"/>
                </a:solidFill>
              </a:rPr>
              <a:t>0.01‰</a:t>
            </a:r>
            <a:endParaRPr lang="zh-CN" altLang="en-US" sz="1100" b="1" baseline="-25000" dirty="0">
              <a:solidFill>
                <a:srgbClr val="DA0B1C"/>
              </a:solidFill>
            </a:endParaRPr>
          </a:p>
        </p:txBody>
      </p:sp>
      <p:sp>
        <p:nvSpPr>
          <p:cNvPr id="59" name="文本框 127"/>
          <p:cNvSpPr txBox="1"/>
          <p:nvPr/>
        </p:nvSpPr>
        <p:spPr>
          <a:xfrm>
            <a:off x="1974145" y="5145064"/>
            <a:ext cx="1331259" cy="841227"/>
          </a:xfrm>
          <a:prstGeom prst="rect">
            <a:avLst/>
          </a:prstGeom>
          <a:noFill/>
        </p:spPr>
        <p:txBody>
          <a:bodyPr wrap="square" lIns="121885" tIns="60942" rIns="121885" bIns="60942" rtlCol="0">
            <a:spAutoFit/>
          </a:bodyPr>
          <a:lstStyle/>
          <a:p>
            <a:pPr algn="just">
              <a:lnSpc>
                <a:spcPts val="1800"/>
              </a:lnSpc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库存周转从最高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天，降低至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5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天</a:t>
            </a:r>
          </a:p>
        </p:txBody>
      </p:sp>
      <p:sp>
        <p:nvSpPr>
          <p:cNvPr id="60" name="文本框 185"/>
          <p:cNvSpPr txBox="1"/>
          <p:nvPr/>
        </p:nvSpPr>
        <p:spPr>
          <a:xfrm>
            <a:off x="2177954" y="4646781"/>
            <a:ext cx="923647" cy="384719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b="1" dirty="0">
                <a:solidFill>
                  <a:srgbClr val="DA0B1C"/>
                </a:solidFill>
                <a:latin typeface="微软雅黑" panose="020B0503020204020204" pitchFamily="34" charset="-122"/>
              </a:rPr>
              <a:t>↓</a:t>
            </a:r>
            <a:r>
              <a:rPr lang="en-US" altLang="zh-CN" b="1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 35</a:t>
            </a:r>
            <a:r>
              <a:rPr lang="zh-CN" altLang="en-US" b="1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天</a:t>
            </a:r>
            <a:endParaRPr lang="zh-CN" altLang="en-US" sz="1100" b="1" dirty="0">
              <a:solidFill>
                <a:srgbClr val="DA0B1C"/>
              </a:solidFill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44067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/>
        </p:nvSpPr>
        <p:spPr>
          <a:xfrm>
            <a:off x="752765" y="1061975"/>
            <a:ext cx="5886263" cy="4689652"/>
          </a:xfrm>
          <a:prstGeom prst="rect">
            <a:avLst/>
          </a:prstGeom>
          <a:noFill/>
          <a:ln w="9525">
            <a:solidFill>
              <a:srgbClr val="DBDBDB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990" tIns="143980" rIns="89990" bIns="46793" numCol="1" spcCol="1271" anchor="t" anchorCtr="0">
            <a:noAutofit/>
          </a:bodyPr>
          <a:lstStyle/>
          <a:p>
            <a:pPr algn="ctr" defTabSz="1600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zh-CN" altLang="en-US" b="1" dirty="0">
              <a:solidFill>
                <a:srgbClr val="6E6568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9408" y="35201"/>
            <a:ext cx="9849063" cy="816000"/>
          </a:xfrm>
        </p:spPr>
        <p:txBody>
          <a:bodyPr wrap="square" lIns="0" tIns="45718" rIns="91430" bIns="45718" anchor="ctr" anchorCtr="0">
            <a:noAutofit/>
          </a:bodyPr>
          <a:lstStyle/>
          <a:p>
            <a:r>
              <a:rPr lang="zh-CN" altLang="en-US" dirty="0">
                <a:solidFill>
                  <a:srgbClr val="DA0B1C"/>
                </a:solidFill>
                <a:latin typeface="+mn-lt"/>
              </a:rPr>
              <a:t>通过成熟技术输出，致力于打造最全商业场景的智能履约平台</a:t>
            </a:r>
          </a:p>
        </p:txBody>
      </p:sp>
      <p:sp>
        <p:nvSpPr>
          <p:cNvPr id="88" name="等腰三角形 87"/>
          <p:cNvSpPr/>
          <p:nvPr/>
        </p:nvSpPr>
        <p:spPr>
          <a:xfrm rot="16200000" flipV="1">
            <a:off x="6383156" y="3340109"/>
            <a:ext cx="989509" cy="133387"/>
          </a:xfrm>
          <a:prstGeom prst="triangle">
            <a:avLst/>
          </a:prstGeom>
          <a:solidFill>
            <a:srgbClr val="ECECEC"/>
          </a:solidFill>
          <a:ln w="952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990" tIns="143980" rIns="89990" bIns="46793" numCol="1" spcCol="1271" anchor="t" anchorCtr="0">
            <a:noAutofit/>
          </a:bodyPr>
          <a:lstStyle/>
          <a:p>
            <a:pPr algn="ctr" defTabSz="1600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zh-CN" altLang="en-US" b="1" dirty="0">
              <a:solidFill>
                <a:srgbClr val="6E6568"/>
              </a:solidFill>
            </a:endParaRPr>
          </a:p>
        </p:txBody>
      </p:sp>
      <p:sp>
        <p:nvSpPr>
          <p:cNvPr id="99" name="矩形 98">
            <a:extLst>
              <a:ext uri="{FF2B5EF4-FFF2-40B4-BE49-F238E27FC236}">
                <a16:creationId xmlns:a16="http://schemas.microsoft.com/office/drawing/2014/main" id="{79BB9620-725F-4BE8-9295-EA1FA988113A}"/>
              </a:ext>
            </a:extLst>
          </p:cNvPr>
          <p:cNvSpPr/>
          <p:nvPr/>
        </p:nvSpPr>
        <p:spPr>
          <a:xfrm>
            <a:off x="863457" y="3820527"/>
            <a:ext cx="5607811" cy="1674568"/>
          </a:xfrm>
          <a:prstGeom prst="rect">
            <a:avLst/>
          </a:prstGeom>
          <a:noFill/>
          <a:ln w="9525">
            <a:solidFill>
              <a:schemeClr val="bg1">
                <a:lumMod val="50000"/>
                <a:alpha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t"/>
          <a:lstStyle/>
          <a:p>
            <a:pPr algn="ctr" defTabSz="914354"/>
            <a:endParaRPr lang="zh-CN" altLang="en-US" sz="1200" b="1" dirty="0">
              <a:solidFill>
                <a:srgbClr val="777777"/>
              </a:solidFill>
              <a:cs typeface="+mn-ea"/>
              <a:sym typeface="+mn-lt"/>
            </a:endParaRPr>
          </a:p>
        </p:txBody>
      </p:sp>
      <p:sp>
        <p:nvSpPr>
          <p:cNvPr id="215" name="矩形: 圆角 107">
            <a:extLst>
              <a:ext uri="{FF2B5EF4-FFF2-40B4-BE49-F238E27FC236}">
                <a16:creationId xmlns:a16="http://schemas.microsoft.com/office/drawing/2014/main" id="{17D1FB4E-6FFB-EB4E-8018-E4388850B105}"/>
              </a:ext>
            </a:extLst>
          </p:cNvPr>
          <p:cNvSpPr/>
          <p:nvPr/>
        </p:nvSpPr>
        <p:spPr>
          <a:xfrm>
            <a:off x="4707901" y="4754846"/>
            <a:ext cx="1481587" cy="515679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en-US" altLang="zh-CN" sz="1500" b="1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…</a:t>
            </a:r>
          </a:p>
        </p:txBody>
      </p:sp>
      <p:sp>
        <p:nvSpPr>
          <p:cNvPr id="216" name="矩形: 圆角 114">
            <a:extLst>
              <a:ext uri="{FF2B5EF4-FFF2-40B4-BE49-F238E27FC236}">
                <a16:creationId xmlns:a16="http://schemas.microsoft.com/office/drawing/2014/main" id="{E9C96E0C-8879-4548-8DAE-E39FE49D1864}"/>
              </a:ext>
            </a:extLst>
          </p:cNvPr>
          <p:cNvSpPr/>
          <p:nvPr/>
        </p:nvSpPr>
        <p:spPr>
          <a:xfrm>
            <a:off x="1196789" y="4785357"/>
            <a:ext cx="1481587" cy="515679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en-US" altLang="zh-CN" sz="1500" b="1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WMS</a:t>
            </a:r>
          </a:p>
        </p:txBody>
      </p:sp>
      <p:sp>
        <p:nvSpPr>
          <p:cNvPr id="217" name="矩形: 圆角 107">
            <a:extLst>
              <a:ext uri="{FF2B5EF4-FFF2-40B4-BE49-F238E27FC236}">
                <a16:creationId xmlns:a16="http://schemas.microsoft.com/office/drawing/2014/main" id="{C7ECC9EA-559F-8543-84CD-1B00568A86B7}"/>
              </a:ext>
            </a:extLst>
          </p:cNvPr>
          <p:cNvSpPr/>
          <p:nvPr/>
        </p:nvSpPr>
        <p:spPr>
          <a:xfrm>
            <a:off x="2995705" y="4775677"/>
            <a:ext cx="1481587" cy="515679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en-US" altLang="zh-CN" sz="1500" b="1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TMS</a:t>
            </a:r>
          </a:p>
        </p:txBody>
      </p:sp>
      <p:sp>
        <p:nvSpPr>
          <p:cNvPr id="218" name="矩形: 圆角 114">
            <a:extLst>
              <a:ext uri="{FF2B5EF4-FFF2-40B4-BE49-F238E27FC236}">
                <a16:creationId xmlns:a16="http://schemas.microsoft.com/office/drawing/2014/main" id="{0525D494-E522-9743-882F-51C5026FF9D4}"/>
              </a:ext>
            </a:extLst>
          </p:cNvPr>
          <p:cNvSpPr/>
          <p:nvPr/>
        </p:nvSpPr>
        <p:spPr>
          <a:xfrm>
            <a:off x="1196789" y="4043295"/>
            <a:ext cx="2391643" cy="515679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en-US" altLang="zh-CN" sz="1500" b="1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OMS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807680" y="1478922"/>
            <a:ext cx="5776429" cy="2167103"/>
            <a:chOff x="796863" y="1393575"/>
            <a:chExt cx="5776429" cy="2167103"/>
          </a:xfrm>
        </p:grpSpPr>
        <p:sp>
          <p:nvSpPr>
            <p:cNvPr id="98" name="箭头: 上 1">
              <a:extLst>
                <a:ext uri="{FF2B5EF4-FFF2-40B4-BE49-F238E27FC236}">
                  <a16:creationId xmlns:a16="http://schemas.microsoft.com/office/drawing/2014/main" id="{84F34706-F88E-46F1-9324-5306EC53824A}"/>
                </a:ext>
              </a:extLst>
            </p:cNvPr>
            <p:cNvSpPr/>
            <p:nvPr/>
          </p:nvSpPr>
          <p:spPr>
            <a:xfrm>
              <a:off x="2078311" y="3275546"/>
              <a:ext cx="178158" cy="232261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  <a:sym typeface="+mn-lt"/>
              </a:endParaRPr>
            </a:p>
          </p:txBody>
        </p:sp>
        <p:sp>
          <p:nvSpPr>
            <p:cNvPr id="100" name="Cloud Callout 75">
              <a:extLst>
                <a:ext uri="{FF2B5EF4-FFF2-40B4-BE49-F238E27FC236}">
                  <a16:creationId xmlns:a16="http://schemas.microsoft.com/office/drawing/2014/main" id="{CB1D6710-FD78-4008-9856-EA37489B3080}"/>
                </a:ext>
              </a:extLst>
            </p:cNvPr>
            <p:cNvSpPr/>
            <p:nvPr/>
          </p:nvSpPr>
          <p:spPr>
            <a:xfrm>
              <a:off x="796863" y="1393575"/>
              <a:ext cx="5776429" cy="1909858"/>
            </a:xfrm>
            <a:custGeom>
              <a:avLst/>
              <a:gdLst>
                <a:gd name="connsiteX0" fmla="*/ 3900 w 43200"/>
                <a:gd name="connsiteY0" fmla="*/ 14370 h 43200"/>
                <a:gd name="connsiteX1" fmla="*/ 5623 w 43200"/>
                <a:gd name="connsiteY1" fmla="*/ 6907 h 43200"/>
                <a:gd name="connsiteX2" fmla="*/ 14005 w 43200"/>
                <a:gd name="connsiteY2" fmla="*/ 5202 h 43200"/>
                <a:gd name="connsiteX3" fmla="*/ 22456 w 43200"/>
                <a:gd name="connsiteY3" fmla="*/ 3432 h 43200"/>
                <a:gd name="connsiteX4" fmla="*/ 25749 w 43200"/>
                <a:gd name="connsiteY4" fmla="*/ 200 h 43200"/>
                <a:gd name="connsiteX5" fmla="*/ 29833 w 43200"/>
                <a:gd name="connsiteY5" fmla="*/ 2481 h 43200"/>
                <a:gd name="connsiteX6" fmla="*/ 35463 w 43200"/>
                <a:gd name="connsiteY6" fmla="*/ 690 h 43200"/>
                <a:gd name="connsiteX7" fmla="*/ 38318 w 43200"/>
                <a:gd name="connsiteY7" fmla="*/ 5576 h 43200"/>
                <a:gd name="connsiteX8" fmla="*/ 41982 w 43200"/>
                <a:gd name="connsiteY8" fmla="*/ 10318 h 43200"/>
                <a:gd name="connsiteX9" fmla="*/ 41818 w 43200"/>
                <a:gd name="connsiteY9" fmla="*/ 15460 h 43200"/>
                <a:gd name="connsiteX10" fmla="*/ 43016 w 43200"/>
                <a:gd name="connsiteY10" fmla="*/ 23322 h 43200"/>
                <a:gd name="connsiteX11" fmla="*/ 37404 w 43200"/>
                <a:gd name="connsiteY11" fmla="*/ 30204 h 43200"/>
                <a:gd name="connsiteX12" fmla="*/ 35395 w 43200"/>
                <a:gd name="connsiteY12" fmla="*/ 36101 h 43200"/>
                <a:gd name="connsiteX13" fmla="*/ 28555 w 43200"/>
                <a:gd name="connsiteY13" fmla="*/ 36815 h 43200"/>
                <a:gd name="connsiteX14" fmla="*/ 23667 w 43200"/>
                <a:gd name="connsiteY14" fmla="*/ 43106 h 43200"/>
                <a:gd name="connsiteX15" fmla="*/ 16480 w 43200"/>
                <a:gd name="connsiteY15" fmla="*/ 39266 h 43200"/>
                <a:gd name="connsiteX16" fmla="*/ 5804 w 43200"/>
                <a:gd name="connsiteY16" fmla="*/ 35472 h 43200"/>
                <a:gd name="connsiteX17" fmla="*/ 1110 w 43200"/>
                <a:gd name="connsiteY17" fmla="*/ 31250 h 43200"/>
                <a:gd name="connsiteX18" fmla="*/ 2113 w 43200"/>
                <a:gd name="connsiteY18" fmla="*/ 25551 h 43200"/>
                <a:gd name="connsiteX19" fmla="*/ -5 w 43200"/>
                <a:gd name="connsiteY19" fmla="*/ 19704 h 43200"/>
                <a:gd name="connsiteX20" fmla="*/ 3863 w 43200"/>
                <a:gd name="connsiteY20" fmla="*/ 14507 h 43200"/>
                <a:gd name="connsiteX21" fmla="*/ 3900 w 43200"/>
                <a:gd name="connsiteY21" fmla="*/ 14370 h 43200"/>
                <a:gd name="connsiteX0" fmla="*/ 996812 w 6984776"/>
                <a:gd name="connsiteY0" fmla="*/ 1345401 h 1597238"/>
                <a:gd name="connsiteX1" fmla="*/ 952444 w 6984776"/>
                <a:gd name="connsiteY1" fmla="*/ 1389769 h 1597238"/>
                <a:gd name="connsiteX2" fmla="*/ 908076 w 6984776"/>
                <a:gd name="connsiteY2" fmla="*/ 1345401 h 1597238"/>
                <a:gd name="connsiteX3" fmla="*/ 952444 w 6984776"/>
                <a:gd name="connsiteY3" fmla="*/ 1301033 h 1597238"/>
                <a:gd name="connsiteX4" fmla="*/ 996812 w 6984776"/>
                <a:gd name="connsiteY4" fmla="*/ 1345401 h 1597238"/>
                <a:gd name="connsiteX0" fmla="*/ 1069118 w 6984776"/>
                <a:gd name="connsiteY0" fmla="*/ 1339387 h 1597238"/>
                <a:gd name="connsiteX1" fmla="*/ 980383 w 6984776"/>
                <a:gd name="connsiteY1" fmla="*/ 1428122 h 1597238"/>
                <a:gd name="connsiteX2" fmla="*/ 891648 w 6984776"/>
                <a:gd name="connsiteY2" fmla="*/ 1339387 h 1597238"/>
                <a:gd name="connsiteX3" fmla="*/ 980383 w 6984776"/>
                <a:gd name="connsiteY3" fmla="*/ 1250652 h 1597238"/>
                <a:gd name="connsiteX4" fmla="*/ 1069118 w 6984776"/>
                <a:gd name="connsiteY4" fmla="*/ 1339387 h 1597238"/>
                <a:gd name="connsiteX0" fmla="*/ 1054677 w 6984776"/>
                <a:gd name="connsiteY0" fmla="*/ 1352047 h 1597238"/>
                <a:gd name="connsiteX1" fmla="*/ 921574 w 6984776"/>
                <a:gd name="connsiteY1" fmla="*/ 1485150 h 1597238"/>
                <a:gd name="connsiteX2" fmla="*/ 788471 w 6984776"/>
                <a:gd name="connsiteY2" fmla="*/ 1352047 h 1597238"/>
                <a:gd name="connsiteX3" fmla="*/ 921574 w 6984776"/>
                <a:gd name="connsiteY3" fmla="*/ 1218944 h 1597238"/>
                <a:gd name="connsiteX4" fmla="*/ 1054677 w 6984776"/>
                <a:gd name="connsiteY4" fmla="*/ 1352047 h 1597238"/>
                <a:gd name="connsiteX0" fmla="*/ 4693 w 43200"/>
                <a:gd name="connsiteY0" fmla="*/ 26177 h 43200"/>
                <a:gd name="connsiteX1" fmla="*/ 2160 w 43200"/>
                <a:gd name="connsiteY1" fmla="*/ 25380 h 43200"/>
                <a:gd name="connsiteX2" fmla="*/ 6928 w 43200"/>
                <a:gd name="connsiteY2" fmla="*/ 34899 h 43200"/>
                <a:gd name="connsiteX3" fmla="*/ 5820 w 43200"/>
                <a:gd name="connsiteY3" fmla="*/ 35280 h 43200"/>
                <a:gd name="connsiteX4" fmla="*/ 16478 w 43200"/>
                <a:gd name="connsiteY4" fmla="*/ 39090 h 43200"/>
                <a:gd name="connsiteX5" fmla="*/ 15810 w 43200"/>
                <a:gd name="connsiteY5" fmla="*/ 37350 h 43200"/>
                <a:gd name="connsiteX6" fmla="*/ 28827 w 43200"/>
                <a:gd name="connsiteY6" fmla="*/ 34751 h 43200"/>
                <a:gd name="connsiteX7" fmla="*/ 28560 w 43200"/>
                <a:gd name="connsiteY7" fmla="*/ 36660 h 43200"/>
                <a:gd name="connsiteX8" fmla="*/ 34129 w 43200"/>
                <a:gd name="connsiteY8" fmla="*/ 22954 h 43200"/>
                <a:gd name="connsiteX9" fmla="*/ 37380 w 43200"/>
                <a:gd name="connsiteY9" fmla="*/ 30090 h 43200"/>
                <a:gd name="connsiteX10" fmla="*/ 41798 w 43200"/>
                <a:gd name="connsiteY10" fmla="*/ 15354 h 43200"/>
                <a:gd name="connsiteX11" fmla="*/ 40350 w 43200"/>
                <a:gd name="connsiteY11" fmla="*/ 18030 h 43200"/>
                <a:gd name="connsiteX12" fmla="*/ 38324 w 43200"/>
                <a:gd name="connsiteY12" fmla="*/ 5426 h 43200"/>
                <a:gd name="connsiteX13" fmla="*/ 38400 w 43200"/>
                <a:gd name="connsiteY13" fmla="*/ 6690 h 43200"/>
                <a:gd name="connsiteX14" fmla="*/ 29078 w 43200"/>
                <a:gd name="connsiteY14" fmla="*/ 3952 h 43200"/>
                <a:gd name="connsiteX15" fmla="*/ 29820 w 43200"/>
                <a:gd name="connsiteY15" fmla="*/ 2340 h 43200"/>
                <a:gd name="connsiteX16" fmla="*/ 22141 w 43200"/>
                <a:gd name="connsiteY16" fmla="*/ 4720 h 43200"/>
                <a:gd name="connsiteX17" fmla="*/ 22500 w 43200"/>
                <a:gd name="connsiteY17" fmla="*/ 3330 h 43200"/>
                <a:gd name="connsiteX18" fmla="*/ 14000 w 43200"/>
                <a:gd name="connsiteY18" fmla="*/ 5192 h 43200"/>
                <a:gd name="connsiteX19" fmla="*/ 15300 w 43200"/>
                <a:gd name="connsiteY19" fmla="*/ 6540 h 43200"/>
                <a:gd name="connsiteX20" fmla="*/ 4127 w 43200"/>
                <a:gd name="connsiteY20" fmla="*/ 15789 h 43200"/>
                <a:gd name="connsiteX21" fmla="*/ 3900 w 43200"/>
                <a:gd name="connsiteY21" fmla="*/ 14370 h 43200"/>
                <a:gd name="connsiteX0" fmla="*/ 3936 w 43256"/>
                <a:gd name="connsiteY0" fmla="*/ 14229 h 43219"/>
                <a:gd name="connsiteX1" fmla="*/ 5659 w 43256"/>
                <a:gd name="connsiteY1" fmla="*/ 6766 h 43219"/>
                <a:gd name="connsiteX2" fmla="*/ 14041 w 43256"/>
                <a:gd name="connsiteY2" fmla="*/ 5061 h 43219"/>
                <a:gd name="connsiteX3" fmla="*/ 22492 w 43256"/>
                <a:gd name="connsiteY3" fmla="*/ 3291 h 43219"/>
                <a:gd name="connsiteX4" fmla="*/ 25785 w 43256"/>
                <a:gd name="connsiteY4" fmla="*/ 59 h 43219"/>
                <a:gd name="connsiteX5" fmla="*/ 29869 w 43256"/>
                <a:gd name="connsiteY5" fmla="*/ 2340 h 43219"/>
                <a:gd name="connsiteX6" fmla="*/ 35499 w 43256"/>
                <a:gd name="connsiteY6" fmla="*/ 549 h 43219"/>
                <a:gd name="connsiteX7" fmla="*/ 38354 w 43256"/>
                <a:gd name="connsiteY7" fmla="*/ 5435 h 43219"/>
                <a:gd name="connsiteX8" fmla="*/ 42018 w 43256"/>
                <a:gd name="connsiteY8" fmla="*/ 10177 h 43219"/>
                <a:gd name="connsiteX9" fmla="*/ 41854 w 43256"/>
                <a:gd name="connsiteY9" fmla="*/ 15319 h 43219"/>
                <a:gd name="connsiteX10" fmla="*/ 43052 w 43256"/>
                <a:gd name="connsiteY10" fmla="*/ 23181 h 43219"/>
                <a:gd name="connsiteX11" fmla="*/ 37440 w 43256"/>
                <a:gd name="connsiteY11" fmla="*/ 30063 h 43219"/>
                <a:gd name="connsiteX12" fmla="*/ 35431 w 43256"/>
                <a:gd name="connsiteY12" fmla="*/ 35960 h 43219"/>
                <a:gd name="connsiteX13" fmla="*/ 28591 w 43256"/>
                <a:gd name="connsiteY13" fmla="*/ 36674 h 43219"/>
                <a:gd name="connsiteX14" fmla="*/ 23703 w 43256"/>
                <a:gd name="connsiteY14" fmla="*/ 42965 h 43219"/>
                <a:gd name="connsiteX15" fmla="*/ 16516 w 43256"/>
                <a:gd name="connsiteY15" fmla="*/ 39125 h 43219"/>
                <a:gd name="connsiteX16" fmla="*/ 5840 w 43256"/>
                <a:gd name="connsiteY16" fmla="*/ 35331 h 43219"/>
                <a:gd name="connsiteX17" fmla="*/ 1146 w 43256"/>
                <a:gd name="connsiteY17" fmla="*/ 31109 h 43219"/>
                <a:gd name="connsiteX18" fmla="*/ 2149 w 43256"/>
                <a:gd name="connsiteY18" fmla="*/ 25410 h 43219"/>
                <a:gd name="connsiteX19" fmla="*/ 31 w 43256"/>
                <a:gd name="connsiteY19" fmla="*/ 19563 h 43219"/>
                <a:gd name="connsiteX20" fmla="*/ 3899 w 43256"/>
                <a:gd name="connsiteY20" fmla="*/ 14366 h 43219"/>
                <a:gd name="connsiteX21" fmla="*/ 3936 w 43256"/>
                <a:gd name="connsiteY21" fmla="*/ 14229 h 43219"/>
                <a:gd name="connsiteX0" fmla="*/ 1002633 w 6993831"/>
                <a:gd name="connsiteY0" fmla="*/ 1340188 h 1597941"/>
                <a:gd name="connsiteX1" fmla="*/ 958265 w 6993831"/>
                <a:gd name="connsiteY1" fmla="*/ 1384556 h 1597941"/>
                <a:gd name="connsiteX2" fmla="*/ 913897 w 6993831"/>
                <a:gd name="connsiteY2" fmla="*/ 1340188 h 1597941"/>
                <a:gd name="connsiteX3" fmla="*/ 958265 w 6993831"/>
                <a:gd name="connsiteY3" fmla="*/ 1295820 h 1597941"/>
                <a:gd name="connsiteX4" fmla="*/ 1002633 w 6993831"/>
                <a:gd name="connsiteY4" fmla="*/ 1340188 h 1597941"/>
                <a:gd name="connsiteX0" fmla="*/ 1074939 w 6993831"/>
                <a:gd name="connsiteY0" fmla="*/ 1334174 h 1597941"/>
                <a:gd name="connsiteX1" fmla="*/ 986204 w 6993831"/>
                <a:gd name="connsiteY1" fmla="*/ 1422909 h 1597941"/>
                <a:gd name="connsiteX2" fmla="*/ 897469 w 6993831"/>
                <a:gd name="connsiteY2" fmla="*/ 1334174 h 1597941"/>
                <a:gd name="connsiteX3" fmla="*/ 986204 w 6993831"/>
                <a:gd name="connsiteY3" fmla="*/ 1245439 h 1597941"/>
                <a:gd name="connsiteX4" fmla="*/ 1074939 w 6993831"/>
                <a:gd name="connsiteY4" fmla="*/ 1334174 h 1597941"/>
                <a:gd name="connsiteX0" fmla="*/ 1060498 w 6993831"/>
                <a:gd name="connsiteY0" fmla="*/ 1346834 h 1597941"/>
                <a:gd name="connsiteX1" fmla="*/ 927395 w 6993831"/>
                <a:gd name="connsiteY1" fmla="*/ 1479937 h 1597941"/>
                <a:gd name="connsiteX2" fmla="*/ 794292 w 6993831"/>
                <a:gd name="connsiteY2" fmla="*/ 1346834 h 1597941"/>
                <a:gd name="connsiteX3" fmla="*/ 927395 w 6993831"/>
                <a:gd name="connsiteY3" fmla="*/ 1213731 h 1597941"/>
                <a:gd name="connsiteX4" fmla="*/ 1060498 w 6993831"/>
                <a:gd name="connsiteY4" fmla="*/ 1346834 h 1597941"/>
                <a:gd name="connsiteX0" fmla="*/ 4729 w 43256"/>
                <a:gd name="connsiteY0" fmla="*/ 26036 h 43219"/>
                <a:gd name="connsiteX1" fmla="*/ 2196 w 43256"/>
                <a:gd name="connsiteY1" fmla="*/ 25239 h 43219"/>
                <a:gd name="connsiteX2" fmla="*/ 6964 w 43256"/>
                <a:gd name="connsiteY2" fmla="*/ 34758 h 43219"/>
                <a:gd name="connsiteX3" fmla="*/ 5856 w 43256"/>
                <a:gd name="connsiteY3" fmla="*/ 35139 h 43219"/>
                <a:gd name="connsiteX4" fmla="*/ 16514 w 43256"/>
                <a:gd name="connsiteY4" fmla="*/ 38949 h 43219"/>
                <a:gd name="connsiteX5" fmla="*/ 15846 w 43256"/>
                <a:gd name="connsiteY5" fmla="*/ 37209 h 43219"/>
                <a:gd name="connsiteX6" fmla="*/ 28863 w 43256"/>
                <a:gd name="connsiteY6" fmla="*/ 34610 h 43219"/>
                <a:gd name="connsiteX7" fmla="*/ 28596 w 43256"/>
                <a:gd name="connsiteY7" fmla="*/ 36519 h 43219"/>
                <a:gd name="connsiteX8" fmla="*/ 38205 w 43256"/>
                <a:gd name="connsiteY8" fmla="*/ 35532 h 43219"/>
                <a:gd name="connsiteX9" fmla="*/ 37416 w 43256"/>
                <a:gd name="connsiteY9" fmla="*/ 29949 h 43219"/>
                <a:gd name="connsiteX10" fmla="*/ 41834 w 43256"/>
                <a:gd name="connsiteY10" fmla="*/ 15213 h 43219"/>
                <a:gd name="connsiteX11" fmla="*/ 40386 w 43256"/>
                <a:gd name="connsiteY11" fmla="*/ 17889 h 43219"/>
                <a:gd name="connsiteX12" fmla="*/ 38360 w 43256"/>
                <a:gd name="connsiteY12" fmla="*/ 5285 h 43219"/>
                <a:gd name="connsiteX13" fmla="*/ 38436 w 43256"/>
                <a:gd name="connsiteY13" fmla="*/ 6549 h 43219"/>
                <a:gd name="connsiteX14" fmla="*/ 29114 w 43256"/>
                <a:gd name="connsiteY14" fmla="*/ 3811 h 43219"/>
                <a:gd name="connsiteX15" fmla="*/ 29856 w 43256"/>
                <a:gd name="connsiteY15" fmla="*/ 2199 h 43219"/>
                <a:gd name="connsiteX16" fmla="*/ 22177 w 43256"/>
                <a:gd name="connsiteY16" fmla="*/ 4579 h 43219"/>
                <a:gd name="connsiteX17" fmla="*/ 22536 w 43256"/>
                <a:gd name="connsiteY17" fmla="*/ 3189 h 43219"/>
                <a:gd name="connsiteX18" fmla="*/ 14036 w 43256"/>
                <a:gd name="connsiteY18" fmla="*/ 5051 h 43219"/>
                <a:gd name="connsiteX19" fmla="*/ 15336 w 43256"/>
                <a:gd name="connsiteY19" fmla="*/ 6399 h 43219"/>
                <a:gd name="connsiteX20" fmla="*/ 4163 w 43256"/>
                <a:gd name="connsiteY20" fmla="*/ 15648 h 43219"/>
                <a:gd name="connsiteX21" fmla="*/ 3936 w 43256"/>
                <a:gd name="connsiteY21" fmla="*/ 14229 h 43219"/>
                <a:gd name="connsiteX0" fmla="*/ 3936 w 43256"/>
                <a:gd name="connsiteY0" fmla="*/ 14229 h 43219"/>
                <a:gd name="connsiteX1" fmla="*/ 5659 w 43256"/>
                <a:gd name="connsiteY1" fmla="*/ 6766 h 43219"/>
                <a:gd name="connsiteX2" fmla="*/ 14041 w 43256"/>
                <a:gd name="connsiteY2" fmla="*/ 5061 h 43219"/>
                <a:gd name="connsiteX3" fmla="*/ 22492 w 43256"/>
                <a:gd name="connsiteY3" fmla="*/ 3291 h 43219"/>
                <a:gd name="connsiteX4" fmla="*/ 25785 w 43256"/>
                <a:gd name="connsiteY4" fmla="*/ 59 h 43219"/>
                <a:gd name="connsiteX5" fmla="*/ 29869 w 43256"/>
                <a:gd name="connsiteY5" fmla="*/ 2340 h 43219"/>
                <a:gd name="connsiteX6" fmla="*/ 35499 w 43256"/>
                <a:gd name="connsiteY6" fmla="*/ 549 h 43219"/>
                <a:gd name="connsiteX7" fmla="*/ 38354 w 43256"/>
                <a:gd name="connsiteY7" fmla="*/ 5435 h 43219"/>
                <a:gd name="connsiteX8" fmla="*/ 42018 w 43256"/>
                <a:gd name="connsiteY8" fmla="*/ 10177 h 43219"/>
                <a:gd name="connsiteX9" fmla="*/ 41854 w 43256"/>
                <a:gd name="connsiteY9" fmla="*/ 15319 h 43219"/>
                <a:gd name="connsiteX10" fmla="*/ 43052 w 43256"/>
                <a:gd name="connsiteY10" fmla="*/ 23181 h 43219"/>
                <a:gd name="connsiteX11" fmla="*/ 37440 w 43256"/>
                <a:gd name="connsiteY11" fmla="*/ 30063 h 43219"/>
                <a:gd name="connsiteX12" fmla="*/ 35431 w 43256"/>
                <a:gd name="connsiteY12" fmla="*/ 35960 h 43219"/>
                <a:gd name="connsiteX13" fmla="*/ 28591 w 43256"/>
                <a:gd name="connsiteY13" fmla="*/ 36674 h 43219"/>
                <a:gd name="connsiteX14" fmla="*/ 23703 w 43256"/>
                <a:gd name="connsiteY14" fmla="*/ 42965 h 43219"/>
                <a:gd name="connsiteX15" fmla="*/ 16516 w 43256"/>
                <a:gd name="connsiteY15" fmla="*/ 39125 h 43219"/>
                <a:gd name="connsiteX16" fmla="*/ 5840 w 43256"/>
                <a:gd name="connsiteY16" fmla="*/ 35331 h 43219"/>
                <a:gd name="connsiteX17" fmla="*/ 1146 w 43256"/>
                <a:gd name="connsiteY17" fmla="*/ 31109 h 43219"/>
                <a:gd name="connsiteX18" fmla="*/ 2149 w 43256"/>
                <a:gd name="connsiteY18" fmla="*/ 25410 h 43219"/>
                <a:gd name="connsiteX19" fmla="*/ 31 w 43256"/>
                <a:gd name="connsiteY19" fmla="*/ 19563 h 43219"/>
                <a:gd name="connsiteX20" fmla="*/ 3899 w 43256"/>
                <a:gd name="connsiteY20" fmla="*/ 14366 h 43219"/>
                <a:gd name="connsiteX21" fmla="*/ 3936 w 43256"/>
                <a:gd name="connsiteY21" fmla="*/ 14229 h 43219"/>
                <a:gd name="connsiteX0" fmla="*/ 1002633 w 6993831"/>
                <a:gd name="connsiteY0" fmla="*/ 1340188 h 1597941"/>
                <a:gd name="connsiteX1" fmla="*/ 958265 w 6993831"/>
                <a:gd name="connsiteY1" fmla="*/ 1384556 h 1597941"/>
                <a:gd name="connsiteX2" fmla="*/ 913897 w 6993831"/>
                <a:gd name="connsiteY2" fmla="*/ 1340188 h 1597941"/>
                <a:gd name="connsiteX3" fmla="*/ 958265 w 6993831"/>
                <a:gd name="connsiteY3" fmla="*/ 1295820 h 1597941"/>
                <a:gd name="connsiteX4" fmla="*/ 1002633 w 6993831"/>
                <a:gd name="connsiteY4" fmla="*/ 1340188 h 1597941"/>
                <a:gd name="connsiteX0" fmla="*/ 1074939 w 6993831"/>
                <a:gd name="connsiteY0" fmla="*/ 1334174 h 1597941"/>
                <a:gd name="connsiteX1" fmla="*/ 986204 w 6993831"/>
                <a:gd name="connsiteY1" fmla="*/ 1422909 h 1597941"/>
                <a:gd name="connsiteX2" fmla="*/ 897469 w 6993831"/>
                <a:gd name="connsiteY2" fmla="*/ 1334174 h 1597941"/>
                <a:gd name="connsiteX3" fmla="*/ 986204 w 6993831"/>
                <a:gd name="connsiteY3" fmla="*/ 1245439 h 1597941"/>
                <a:gd name="connsiteX4" fmla="*/ 1074939 w 6993831"/>
                <a:gd name="connsiteY4" fmla="*/ 1334174 h 1597941"/>
                <a:gd name="connsiteX0" fmla="*/ 1060498 w 6993831"/>
                <a:gd name="connsiteY0" fmla="*/ 1346834 h 1597941"/>
                <a:gd name="connsiteX1" fmla="*/ 927395 w 6993831"/>
                <a:gd name="connsiteY1" fmla="*/ 1479937 h 1597941"/>
                <a:gd name="connsiteX2" fmla="*/ 794292 w 6993831"/>
                <a:gd name="connsiteY2" fmla="*/ 1346834 h 1597941"/>
                <a:gd name="connsiteX3" fmla="*/ 927395 w 6993831"/>
                <a:gd name="connsiteY3" fmla="*/ 1213731 h 1597941"/>
                <a:gd name="connsiteX4" fmla="*/ 1060498 w 6993831"/>
                <a:gd name="connsiteY4" fmla="*/ 1346834 h 1597941"/>
                <a:gd name="connsiteX0" fmla="*/ 4729 w 43256"/>
                <a:gd name="connsiteY0" fmla="*/ 26036 h 43219"/>
                <a:gd name="connsiteX1" fmla="*/ 2196 w 43256"/>
                <a:gd name="connsiteY1" fmla="*/ 25239 h 43219"/>
                <a:gd name="connsiteX2" fmla="*/ 6964 w 43256"/>
                <a:gd name="connsiteY2" fmla="*/ 34758 h 43219"/>
                <a:gd name="connsiteX3" fmla="*/ 5856 w 43256"/>
                <a:gd name="connsiteY3" fmla="*/ 35139 h 43219"/>
                <a:gd name="connsiteX4" fmla="*/ 16514 w 43256"/>
                <a:gd name="connsiteY4" fmla="*/ 38949 h 43219"/>
                <a:gd name="connsiteX5" fmla="*/ 15846 w 43256"/>
                <a:gd name="connsiteY5" fmla="*/ 37209 h 43219"/>
                <a:gd name="connsiteX6" fmla="*/ 28863 w 43256"/>
                <a:gd name="connsiteY6" fmla="*/ 34610 h 43219"/>
                <a:gd name="connsiteX7" fmla="*/ 28596 w 43256"/>
                <a:gd name="connsiteY7" fmla="*/ 36519 h 43219"/>
                <a:gd name="connsiteX8" fmla="*/ 38205 w 43256"/>
                <a:gd name="connsiteY8" fmla="*/ 35532 h 43219"/>
                <a:gd name="connsiteX9" fmla="*/ 39678 w 43256"/>
                <a:gd name="connsiteY9" fmla="*/ 32775 h 43219"/>
                <a:gd name="connsiteX10" fmla="*/ 41834 w 43256"/>
                <a:gd name="connsiteY10" fmla="*/ 15213 h 43219"/>
                <a:gd name="connsiteX11" fmla="*/ 40386 w 43256"/>
                <a:gd name="connsiteY11" fmla="*/ 17889 h 43219"/>
                <a:gd name="connsiteX12" fmla="*/ 38360 w 43256"/>
                <a:gd name="connsiteY12" fmla="*/ 5285 h 43219"/>
                <a:gd name="connsiteX13" fmla="*/ 38436 w 43256"/>
                <a:gd name="connsiteY13" fmla="*/ 6549 h 43219"/>
                <a:gd name="connsiteX14" fmla="*/ 29114 w 43256"/>
                <a:gd name="connsiteY14" fmla="*/ 3811 h 43219"/>
                <a:gd name="connsiteX15" fmla="*/ 29856 w 43256"/>
                <a:gd name="connsiteY15" fmla="*/ 2199 h 43219"/>
                <a:gd name="connsiteX16" fmla="*/ 22177 w 43256"/>
                <a:gd name="connsiteY16" fmla="*/ 4579 h 43219"/>
                <a:gd name="connsiteX17" fmla="*/ 22536 w 43256"/>
                <a:gd name="connsiteY17" fmla="*/ 3189 h 43219"/>
                <a:gd name="connsiteX18" fmla="*/ 14036 w 43256"/>
                <a:gd name="connsiteY18" fmla="*/ 5051 h 43219"/>
                <a:gd name="connsiteX19" fmla="*/ 15336 w 43256"/>
                <a:gd name="connsiteY19" fmla="*/ 6399 h 43219"/>
                <a:gd name="connsiteX20" fmla="*/ 4163 w 43256"/>
                <a:gd name="connsiteY20" fmla="*/ 15648 h 43219"/>
                <a:gd name="connsiteX21" fmla="*/ 3936 w 43256"/>
                <a:gd name="connsiteY21" fmla="*/ 14229 h 43219"/>
                <a:gd name="connsiteX0" fmla="*/ 3936 w 43315"/>
                <a:gd name="connsiteY0" fmla="*/ 14229 h 43219"/>
                <a:gd name="connsiteX1" fmla="*/ 5659 w 43315"/>
                <a:gd name="connsiteY1" fmla="*/ 6766 h 43219"/>
                <a:gd name="connsiteX2" fmla="*/ 14041 w 43315"/>
                <a:gd name="connsiteY2" fmla="*/ 5061 h 43219"/>
                <a:gd name="connsiteX3" fmla="*/ 22492 w 43315"/>
                <a:gd name="connsiteY3" fmla="*/ 3291 h 43219"/>
                <a:gd name="connsiteX4" fmla="*/ 25785 w 43315"/>
                <a:gd name="connsiteY4" fmla="*/ 59 h 43219"/>
                <a:gd name="connsiteX5" fmla="*/ 29869 w 43315"/>
                <a:gd name="connsiteY5" fmla="*/ 2340 h 43219"/>
                <a:gd name="connsiteX6" fmla="*/ 35499 w 43315"/>
                <a:gd name="connsiteY6" fmla="*/ 549 h 43219"/>
                <a:gd name="connsiteX7" fmla="*/ 38354 w 43315"/>
                <a:gd name="connsiteY7" fmla="*/ 5435 h 43219"/>
                <a:gd name="connsiteX8" fmla="*/ 42018 w 43315"/>
                <a:gd name="connsiteY8" fmla="*/ 10177 h 43219"/>
                <a:gd name="connsiteX9" fmla="*/ 41854 w 43315"/>
                <a:gd name="connsiteY9" fmla="*/ 15319 h 43219"/>
                <a:gd name="connsiteX10" fmla="*/ 43052 w 43315"/>
                <a:gd name="connsiteY10" fmla="*/ 23181 h 43219"/>
                <a:gd name="connsiteX11" fmla="*/ 38006 w 43315"/>
                <a:gd name="connsiteY11" fmla="*/ 32889 h 43219"/>
                <a:gd name="connsiteX12" fmla="*/ 35431 w 43315"/>
                <a:gd name="connsiteY12" fmla="*/ 35960 h 43219"/>
                <a:gd name="connsiteX13" fmla="*/ 28591 w 43315"/>
                <a:gd name="connsiteY13" fmla="*/ 36674 h 43219"/>
                <a:gd name="connsiteX14" fmla="*/ 23703 w 43315"/>
                <a:gd name="connsiteY14" fmla="*/ 42965 h 43219"/>
                <a:gd name="connsiteX15" fmla="*/ 16516 w 43315"/>
                <a:gd name="connsiteY15" fmla="*/ 39125 h 43219"/>
                <a:gd name="connsiteX16" fmla="*/ 5840 w 43315"/>
                <a:gd name="connsiteY16" fmla="*/ 35331 h 43219"/>
                <a:gd name="connsiteX17" fmla="*/ 1146 w 43315"/>
                <a:gd name="connsiteY17" fmla="*/ 31109 h 43219"/>
                <a:gd name="connsiteX18" fmla="*/ 2149 w 43315"/>
                <a:gd name="connsiteY18" fmla="*/ 25410 h 43219"/>
                <a:gd name="connsiteX19" fmla="*/ 31 w 43315"/>
                <a:gd name="connsiteY19" fmla="*/ 19563 h 43219"/>
                <a:gd name="connsiteX20" fmla="*/ 3899 w 43315"/>
                <a:gd name="connsiteY20" fmla="*/ 14366 h 43219"/>
                <a:gd name="connsiteX21" fmla="*/ 3936 w 43315"/>
                <a:gd name="connsiteY21" fmla="*/ 14229 h 43219"/>
                <a:gd name="connsiteX0" fmla="*/ 1002633 w 7003370"/>
                <a:gd name="connsiteY0" fmla="*/ 1340188 h 1597941"/>
                <a:gd name="connsiteX1" fmla="*/ 958265 w 7003370"/>
                <a:gd name="connsiteY1" fmla="*/ 1384556 h 1597941"/>
                <a:gd name="connsiteX2" fmla="*/ 913897 w 7003370"/>
                <a:gd name="connsiteY2" fmla="*/ 1340188 h 1597941"/>
                <a:gd name="connsiteX3" fmla="*/ 958265 w 7003370"/>
                <a:gd name="connsiteY3" fmla="*/ 1295820 h 1597941"/>
                <a:gd name="connsiteX4" fmla="*/ 1002633 w 7003370"/>
                <a:gd name="connsiteY4" fmla="*/ 1340188 h 1597941"/>
                <a:gd name="connsiteX0" fmla="*/ 1074939 w 7003370"/>
                <a:gd name="connsiteY0" fmla="*/ 1334174 h 1597941"/>
                <a:gd name="connsiteX1" fmla="*/ 986204 w 7003370"/>
                <a:gd name="connsiteY1" fmla="*/ 1422909 h 1597941"/>
                <a:gd name="connsiteX2" fmla="*/ 897469 w 7003370"/>
                <a:gd name="connsiteY2" fmla="*/ 1334174 h 1597941"/>
                <a:gd name="connsiteX3" fmla="*/ 986204 w 7003370"/>
                <a:gd name="connsiteY3" fmla="*/ 1245439 h 1597941"/>
                <a:gd name="connsiteX4" fmla="*/ 1074939 w 7003370"/>
                <a:gd name="connsiteY4" fmla="*/ 1334174 h 1597941"/>
                <a:gd name="connsiteX0" fmla="*/ 1060498 w 7003370"/>
                <a:gd name="connsiteY0" fmla="*/ 1346834 h 1597941"/>
                <a:gd name="connsiteX1" fmla="*/ 927395 w 7003370"/>
                <a:gd name="connsiteY1" fmla="*/ 1479937 h 1597941"/>
                <a:gd name="connsiteX2" fmla="*/ 794292 w 7003370"/>
                <a:gd name="connsiteY2" fmla="*/ 1346834 h 1597941"/>
                <a:gd name="connsiteX3" fmla="*/ 927395 w 7003370"/>
                <a:gd name="connsiteY3" fmla="*/ 1213731 h 1597941"/>
                <a:gd name="connsiteX4" fmla="*/ 1060498 w 7003370"/>
                <a:gd name="connsiteY4" fmla="*/ 1346834 h 1597941"/>
                <a:gd name="connsiteX0" fmla="*/ 4729 w 43315"/>
                <a:gd name="connsiteY0" fmla="*/ 26036 h 43219"/>
                <a:gd name="connsiteX1" fmla="*/ 2196 w 43315"/>
                <a:gd name="connsiteY1" fmla="*/ 25239 h 43219"/>
                <a:gd name="connsiteX2" fmla="*/ 6964 w 43315"/>
                <a:gd name="connsiteY2" fmla="*/ 34758 h 43219"/>
                <a:gd name="connsiteX3" fmla="*/ 5856 w 43315"/>
                <a:gd name="connsiteY3" fmla="*/ 35139 h 43219"/>
                <a:gd name="connsiteX4" fmla="*/ 16514 w 43315"/>
                <a:gd name="connsiteY4" fmla="*/ 38949 h 43219"/>
                <a:gd name="connsiteX5" fmla="*/ 15846 w 43315"/>
                <a:gd name="connsiteY5" fmla="*/ 37209 h 43219"/>
                <a:gd name="connsiteX6" fmla="*/ 28863 w 43315"/>
                <a:gd name="connsiteY6" fmla="*/ 34610 h 43219"/>
                <a:gd name="connsiteX7" fmla="*/ 28596 w 43315"/>
                <a:gd name="connsiteY7" fmla="*/ 36519 h 43219"/>
                <a:gd name="connsiteX8" fmla="*/ 38205 w 43315"/>
                <a:gd name="connsiteY8" fmla="*/ 35532 h 43219"/>
                <a:gd name="connsiteX9" fmla="*/ 39678 w 43315"/>
                <a:gd name="connsiteY9" fmla="*/ 32775 h 43219"/>
                <a:gd name="connsiteX10" fmla="*/ 41834 w 43315"/>
                <a:gd name="connsiteY10" fmla="*/ 15213 h 43219"/>
                <a:gd name="connsiteX11" fmla="*/ 40386 w 43315"/>
                <a:gd name="connsiteY11" fmla="*/ 17889 h 43219"/>
                <a:gd name="connsiteX12" fmla="*/ 38360 w 43315"/>
                <a:gd name="connsiteY12" fmla="*/ 5285 h 43219"/>
                <a:gd name="connsiteX13" fmla="*/ 38436 w 43315"/>
                <a:gd name="connsiteY13" fmla="*/ 6549 h 43219"/>
                <a:gd name="connsiteX14" fmla="*/ 29114 w 43315"/>
                <a:gd name="connsiteY14" fmla="*/ 3811 h 43219"/>
                <a:gd name="connsiteX15" fmla="*/ 29856 w 43315"/>
                <a:gd name="connsiteY15" fmla="*/ 2199 h 43219"/>
                <a:gd name="connsiteX16" fmla="*/ 22177 w 43315"/>
                <a:gd name="connsiteY16" fmla="*/ 4579 h 43219"/>
                <a:gd name="connsiteX17" fmla="*/ 22536 w 43315"/>
                <a:gd name="connsiteY17" fmla="*/ 3189 h 43219"/>
                <a:gd name="connsiteX18" fmla="*/ 14036 w 43315"/>
                <a:gd name="connsiteY18" fmla="*/ 5051 h 43219"/>
                <a:gd name="connsiteX19" fmla="*/ 15336 w 43315"/>
                <a:gd name="connsiteY19" fmla="*/ 6399 h 43219"/>
                <a:gd name="connsiteX20" fmla="*/ 4163 w 43315"/>
                <a:gd name="connsiteY20" fmla="*/ 15648 h 43219"/>
                <a:gd name="connsiteX21" fmla="*/ 3936 w 43315"/>
                <a:gd name="connsiteY21" fmla="*/ 14229 h 43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3315" h="43219">
                  <a:moveTo>
                    <a:pt x="3936" y="14229"/>
                  </a:moveTo>
                  <a:cubicBezTo>
                    <a:pt x="3665" y="11516"/>
                    <a:pt x="4297" y="8780"/>
                    <a:pt x="5659" y="6766"/>
                  </a:cubicBezTo>
                  <a:cubicBezTo>
                    <a:pt x="7811" y="3585"/>
                    <a:pt x="11300" y="2876"/>
                    <a:pt x="14041" y="5061"/>
                  </a:cubicBezTo>
                  <a:cubicBezTo>
                    <a:pt x="15714" y="768"/>
                    <a:pt x="19950" y="-119"/>
                    <a:pt x="22492" y="3291"/>
                  </a:cubicBezTo>
                  <a:cubicBezTo>
                    <a:pt x="23133" y="1542"/>
                    <a:pt x="24364" y="333"/>
                    <a:pt x="25785" y="59"/>
                  </a:cubicBezTo>
                  <a:cubicBezTo>
                    <a:pt x="27349" y="-243"/>
                    <a:pt x="28911" y="629"/>
                    <a:pt x="29869" y="2340"/>
                  </a:cubicBezTo>
                  <a:cubicBezTo>
                    <a:pt x="31251" y="126"/>
                    <a:pt x="33537" y="-601"/>
                    <a:pt x="35499" y="549"/>
                  </a:cubicBezTo>
                  <a:cubicBezTo>
                    <a:pt x="36994" y="1425"/>
                    <a:pt x="38066" y="3259"/>
                    <a:pt x="38354" y="5435"/>
                  </a:cubicBezTo>
                  <a:cubicBezTo>
                    <a:pt x="40082" y="6077"/>
                    <a:pt x="41458" y="7857"/>
                    <a:pt x="42018" y="10177"/>
                  </a:cubicBezTo>
                  <a:cubicBezTo>
                    <a:pt x="42425" y="11861"/>
                    <a:pt x="42367" y="13690"/>
                    <a:pt x="41854" y="15319"/>
                  </a:cubicBezTo>
                  <a:cubicBezTo>
                    <a:pt x="43115" y="17553"/>
                    <a:pt x="43693" y="20253"/>
                    <a:pt x="43052" y="23181"/>
                  </a:cubicBezTo>
                  <a:cubicBezTo>
                    <a:pt x="42411" y="26109"/>
                    <a:pt x="40730" y="32359"/>
                    <a:pt x="38006" y="32889"/>
                  </a:cubicBezTo>
                  <a:cubicBezTo>
                    <a:pt x="37993" y="35156"/>
                    <a:pt x="37000" y="35329"/>
                    <a:pt x="35431" y="35960"/>
                  </a:cubicBezTo>
                  <a:cubicBezTo>
                    <a:pt x="33862" y="36591"/>
                    <a:pt x="30740" y="38498"/>
                    <a:pt x="28591" y="36674"/>
                  </a:cubicBezTo>
                  <a:cubicBezTo>
                    <a:pt x="27896" y="39807"/>
                    <a:pt x="26035" y="42202"/>
                    <a:pt x="23703" y="42965"/>
                  </a:cubicBezTo>
                  <a:cubicBezTo>
                    <a:pt x="20955" y="43864"/>
                    <a:pt x="18087" y="42332"/>
                    <a:pt x="16516" y="39125"/>
                  </a:cubicBezTo>
                  <a:cubicBezTo>
                    <a:pt x="12808" y="42169"/>
                    <a:pt x="7992" y="40458"/>
                    <a:pt x="5840" y="35331"/>
                  </a:cubicBezTo>
                  <a:cubicBezTo>
                    <a:pt x="3726" y="35668"/>
                    <a:pt x="1741" y="33883"/>
                    <a:pt x="1146" y="31109"/>
                  </a:cubicBezTo>
                  <a:cubicBezTo>
                    <a:pt x="715" y="29102"/>
                    <a:pt x="1096" y="26936"/>
                    <a:pt x="2149" y="25410"/>
                  </a:cubicBezTo>
                  <a:cubicBezTo>
                    <a:pt x="655" y="24213"/>
                    <a:pt x="-177" y="21916"/>
                    <a:pt x="31" y="19563"/>
                  </a:cubicBezTo>
                  <a:cubicBezTo>
                    <a:pt x="275" y="16808"/>
                    <a:pt x="1881" y="14650"/>
                    <a:pt x="3899" y="14366"/>
                  </a:cubicBezTo>
                  <a:cubicBezTo>
                    <a:pt x="3911" y="14320"/>
                    <a:pt x="3924" y="14275"/>
                    <a:pt x="3936" y="14229"/>
                  </a:cubicBezTo>
                  <a:close/>
                </a:path>
                <a:path w="7003370" h="1597941">
                  <a:moveTo>
                    <a:pt x="1002633" y="1340188"/>
                  </a:moveTo>
                  <a:cubicBezTo>
                    <a:pt x="1002633" y="1364692"/>
                    <a:pt x="982769" y="1384556"/>
                    <a:pt x="958265" y="1384556"/>
                  </a:cubicBezTo>
                  <a:cubicBezTo>
                    <a:pt x="933761" y="1384556"/>
                    <a:pt x="913897" y="1364692"/>
                    <a:pt x="913897" y="1340188"/>
                  </a:cubicBezTo>
                  <a:cubicBezTo>
                    <a:pt x="913897" y="1315684"/>
                    <a:pt x="933761" y="1295820"/>
                    <a:pt x="958265" y="1295820"/>
                  </a:cubicBezTo>
                  <a:cubicBezTo>
                    <a:pt x="982769" y="1295820"/>
                    <a:pt x="1002633" y="1315684"/>
                    <a:pt x="1002633" y="1340188"/>
                  </a:cubicBezTo>
                  <a:close/>
                </a:path>
                <a:path w="7003370" h="1597941">
                  <a:moveTo>
                    <a:pt x="1074939" y="1334174"/>
                  </a:moveTo>
                  <a:cubicBezTo>
                    <a:pt x="1074939" y="1383181"/>
                    <a:pt x="1035211" y="1422909"/>
                    <a:pt x="986204" y="1422909"/>
                  </a:cubicBezTo>
                  <a:cubicBezTo>
                    <a:pt x="937197" y="1422909"/>
                    <a:pt x="897469" y="1383181"/>
                    <a:pt x="897469" y="1334174"/>
                  </a:cubicBezTo>
                  <a:cubicBezTo>
                    <a:pt x="897469" y="1285167"/>
                    <a:pt x="937197" y="1245439"/>
                    <a:pt x="986204" y="1245439"/>
                  </a:cubicBezTo>
                  <a:cubicBezTo>
                    <a:pt x="1035211" y="1245439"/>
                    <a:pt x="1074939" y="1285167"/>
                    <a:pt x="1074939" y="1334174"/>
                  </a:cubicBezTo>
                  <a:close/>
                </a:path>
                <a:path w="7003370" h="1597941">
                  <a:moveTo>
                    <a:pt x="1060498" y="1346834"/>
                  </a:moveTo>
                  <a:cubicBezTo>
                    <a:pt x="1060498" y="1420345"/>
                    <a:pt x="1000906" y="1479937"/>
                    <a:pt x="927395" y="1479937"/>
                  </a:cubicBezTo>
                  <a:cubicBezTo>
                    <a:pt x="853884" y="1479937"/>
                    <a:pt x="794292" y="1420345"/>
                    <a:pt x="794292" y="1346834"/>
                  </a:cubicBezTo>
                  <a:cubicBezTo>
                    <a:pt x="794292" y="1273323"/>
                    <a:pt x="853884" y="1213731"/>
                    <a:pt x="927395" y="1213731"/>
                  </a:cubicBezTo>
                  <a:cubicBezTo>
                    <a:pt x="1000906" y="1213731"/>
                    <a:pt x="1060498" y="1273323"/>
                    <a:pt x="1060498" y="1346834"/>
                  </a:cubicBezTo>
                  <a:close/>
                </a:path>
                <a:path w="43315" h="43219" fill="none" extrusionOk="0">
                  <a:moveTo>
                    <a:pt x="4729" y="26036"/>
                  </a:moveTo>
                  <a:cubicBezTo>
                    <a:pt x="3845" y="26130"/>
                    <a:pt x="2961" y="25852"/>
                    <a:pt x="2196" y="25239"/>
                  </a:cubicBezTo>
                  <a:moveTo>
                    <a:pt x="6964" y="34758"/>
                  </a:moveTo>
                  <a:cubicBezTo>
                    <a:pt x="6609" y="34951"/>
                    <a:pt x="6236" y="35079"/>
                    <a:pt x="5856" y="35139"/>
                  </a:cubicBezTo>
                  <a:moveTo>
                    <a:pt x="16514" y="38949"/>
                  </a:moveTo>
                  <a:cubicBezTo>
                    <a:pt x="16247" y="38403"/>
                    <a:pt x="16023" y="37820"/>
                    <a:pt x="15846" y="37209"/>
                  </a:cubicBezTo>
                  <a:moveTo>
                    <a:pt x="28863" y="34610"/>
                  </a:moveTo>
                  <a:cubicBezTo>
                    <a:pt x="28824" y="35257"/>
                    <a:pt x="28734" y="35897"/>
                    <a:pt x="28596" y="36519"/>
                  </a:cubicBezTo>
                  <a:moveTo>
                    <a:pt x="38205" y="35532"/>
                  </a:moveTo>
                  <a:cubicBezTo>
                    <a:pt x="40209" y="36860"/>
                    <a:pt x="39696" y="29743"/>
                    <a:pt x="39678" y="32775"/>
                  </a:cubicBezTo>
                  <a:moveTo>
                    <a:pt x="41834" y="15213"/>
                  </a:moveTo>
                  <a:cubicBezTo>
                    <a:pt x="41509" y="16245"/>
                    <a:pt x="41014" y="17161"/>
                    <a:pt x="40386" y="17889"/>
                  </a:cubicBezTo>
                  <a:moveTo>
                    <a:pt x="38360" y="5285"/>
                  </a:moveTo>
                  <a:cubicBezTo>
                    <a:pt x="38415" y="5702"/>
                    <a:pt x="38441" y="6125"/>
                    <a:pt x="38436" y="6549"/>
                  </a:cubicBezTo>
                  <a:moveTo>
                    <a:pt x="29114" y="3811"/>
                  </a:moveTo>
                  <a:cubicBezTo>
                    <a:pt x="29303" y="3228"/>
                    <a:pt x="29552" y="2685"/>
                    <a:pt x="29856" y="2199"/>
                  </a:cubicBezTo>
                  <a:moveTo>
                    <a:pt x="22177" y="4579"/>
                  </a:moveTo>
                  <a:cubicBezTo>
                    <a:pt x="22254" y="4097"/>
                    <a:pt x="22375" y="3630"/>
                    <a:pt x="22536" y="3189"/>
                  </a:cubicBezTo>
                  <a:moveTo>
                    <a:pt x="14036" y="5051"/>
                  </a:moveTo>
                  <a:cubicBezTo>
                    <a:pt x="14508" y="5427"/>
                    <a:pt x="14944" y="5880"/>
                    <a:pt x="15336" y="6399"/>
                  </a:cubicBezTo>
                  <a:moveTo>
                    <a:pt x="4163" y="15648"/>
                  </a:moveTo>
                  <a:cubicBezTo>
                    <a:pt x="4060" y="15184"/>
                    <a:pt x="3984" y="14710"/>
                    <a:pt x="3936" y="14229"/>
                  </a:cubicBezTo>
                </a:path>
              </a:pathLst>
            </a:cu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anchor="t"/>
            <a:lstStyle/>
            <a:p>
              <a:pPr algn="ctr" defTabSz="914354">
                <a:defRPr/>
              </a:pPr>
              <a:r>
                <a:rPr lang="zh-CN" altLang="en-US" sz="1600" b="1" dirty="0">
                  <a:solidFill>
                    <a:srgbClr val="777777"/>
                  </a:solidFill>
                  <a:cs typeface="+mn-ea"/>
                  <a:sym typeface="+mn-lt"/>
                </a:rPr>
                <a:t>智能履约平台</a:t>
              </a:r>
              <a:r>
                <a:rPr lang="en-US" altLang="zh-CN" sz="1600" b="1" dirty="0">
                  <a:solidFill>
                    <a:srgbClr val="777777"/>
                  </a:solidFill>
                  <a:cs typeface="+mn-ea"/>
                  <a:sym typeface="+mn-lt"/>
                </a:rPr>
                <a:t/>
              </a:r>
              <a:br>
                <a:rPr lang="en-US" altLang="zh-CN" sz="1600" b="1" dirty="0">
                  <a:solidFill>
                    <a:srgbClr val="777777"/>
                  </a:solidFill>
                  <a:cs typeface="+mn-ea"/>
                  <a:sym typeface="+mn-lt"/>
                </a:rPr>
              </a:br>
              <a:r>
                <a:rPr lang="en-US" altLang="zh-CN" sz="1600" b="1" dirty="0">
                  <a:solidFill>
                    <a:srgbClr val="777777"/>
                  </a:solidFill>
                  <a:cs typeface="+mn-ea"/>
                  <a:sym typeface="+mn-lt"/>
                </a:rPr>
                <a:t>Smart Fulfillment Platform</a:t>
              </a:r>
              <a:endParaRPr lang="en-US" sz="1600" b="1" dirty="0">
                <a:solidFill>
                  <a:srgbClr val="777777"/>
                </a:solidFill>
                <a:cs typeface="+mn-ea"/>
                <a:sym typeface="+mn-lt"/>
              </a:endParaRPr>
            </a:p>
          </p:txBody>
        </p:sp>
        <p:grpSp>
          <p:nvGrpSpPr>
            <p:cNvPr id="106" name="组合 105">
              <a:extLst>
                <a:ext uri="{FF2B5EF4-FFF2-40B4-BE49-F238E27FC236}">
                  <a16:creationId xmlns:a16="http://schemas.microsoft.com/office/drawing/2014/main" id="{AFA4987B-7CAB-41D6-80DA-F5C66486A577}"/>
                </a:ext>
              </a:extLst>
            </p:cNvPr>
            <p:cNvGrpSpPr/>
            <p:nvPr/>
          </p:nvGrpSpPr>
          <p:grpSpPr>
            <a:xfrm>
              <a:off x="4700364" y="2103354"/>
              <a:ext cx="237685" cy="278879"/>
              <a:chOff x="1382713" y="4749801"/>
              <a:chExt cx="381000" cy="342900"/>
            </a:xfrm>
          </p:grpSpPr>
          <p:sp>
            <p:nvSpPr>
              <p:cNvPr id="108" name="Freeform 104">
                <a:extLst>
                  <a:ext uri="{FF2B5EF4-FFF2-40B4-BE49-F238E27FC236}">
                    <a16:creationId xmlns:a16="http://schemas.microsoft.com/office/drawing/2014/main" id="{DAC8920F-004E-4ADA-AD9D-18E64FDA5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2713" y="4749801"/>
                <a:ext cx="381000" cy="223838"/>
              </a:xfrm>
              <a:custGeom>
                <a:avLst/>
                <a:gdLst>
                  <a:gd name="T0" fmla="*/ 204 w 240"/>
                  <a:gd name="T1" fmla="*/ 84 h 141"/>
                  <a:gd name="T2" fmla="*/ 204 w 240"/>
                  <a:gd name="T3" fmla="*/ 30 h 141"/>
                  <a:gd name="T4" fmla="*/ 175 w 240"/>
                  <a:gd name="T5" fmla="*/ 30 h 141"/>
                  <a:gd name="T6" fmla="*/ 175 w 240"/>
                  <a:gd name="T7" fmla="*/ 57 h 141"/>
                  <a:gd name="T8" fmla="*/ 123 w 240"/>
                  <a:gd name="T9" fmla="*/ 3 h 141"/>
                  <a:gd name="T10" fmla="*/ 120 w 240"/>
                  <a:gd name="T11" fmla="*/ 0 h 141"/>
                  <a:gd name="T12" fmla="*/ 117 w 240"/>
                  <a:gd name="T13" fmla="*/ 3 h 141"/>
                  <a:gd name="T14" fmla="*/ 0 w 240"/>
                  <a:gd name="T15" fmla="*/ 121 h 141"/>
                  <a:gd name="T16" fmla="*/ 20 w 240"/>
                  <a:gd name="T17" fmla="*/ 141 h 141"/>
                  <a:gd name="T18" fmla="*/ 120 w 240"/>
                  <a:gd name="T19" fmla="*/ 40 h 141"/>
                  <a:gd name="T20" fmla="*/ 220 w 240"/>
                  <a:gd name="T21" fmla="*/ 140 h 141"/>
                  <a:gd name="T22" fmla="*/ 240 w 240"/>
                  <a:gd name="T23" fmla="*/ 121 h 141"/>
                  <a:gd name="T24" fmla="*/ 204 w 240"/>
                  <a:gd name="T25" fmla="*/ 84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0" h="141">
                    <a:moveTo>
                      <a:pt x="204" y="84"/>
                    </a:moveTo>
                    <a:lnTo>
                      <a:pt x="204" y="30"/>
                    </a:lnTo>
                    <a:lnTo>
                      <a:pt x="175" y="30"/>
                    </a:lnTo>
                    <a:lnTo>
                      <a:pt x="175" y="57"/>
                    </a:lnTo>
                    <a:lnTo>
                      <a:pt x="123" y="3"/>
                    </a:lnTo>
                    <a:lnTo>
                      <a:pt x="120" y="0"/>
                    </a:lnTo>
                    <a:lnTo>
                      <a:pt x="117" y="3"/>
                    </a:lnTo>
                    <a:lnTo>
                      <a:pt x="0" y="121"/>
                    </a:lnTo>
                    <a:lnTo>
                      <a:pt x="20" y="141"/>
                    </a:lnTo>
                    <a:lnTo>
                      <a:pt x="120" y="40"/>
                    </a:lnTo>
                    <a:lnTo>
                      <a:pt x="220" y="140"/>
                    </a:lnTo>
                    <a:lnTo>
                      <a:pt x="240" y="121"/>
                    </a:lnTo>
                    <a:lnTo>
                      <a:pt x="204" y="84"/>
                    </a:lnTo>
                    <a:close/>
                  </a:path>
                </a:pathLst>
              </a:custGeom>
              <a:solidFill>
                <a:srgbClr val="DE6E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/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105">
                <a:extLst>
                  <a:ext uri="{FF2B5EF4-FFF2-40B4-BE49-F238E27FC236}">
                    <a16:creationId xmlns:a16="http://schemas.microsoft.com/office/drawing/2014/main" id="{5132DF6E-D9FB-429F-8207-7A1505CBB2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9863" y="4813301"/>
                <a:ext cx="266700" cy="279400"/>
              </a:xfrm>
              <a:custGeom>
                <a:avLst/>
                <a:gdLst>
                  <a:gd name="T0" fmla="*/ 84 w 168"/>
                  <a:gd name="T1" fmla="*/ 0 h 176"/>
                  <a:gd name="T2" fmla="*/ 84 w 168"/>
                  <a:gd name="T3" fmla="*/ 0 h 176"/>
                  <a:gd name="T4" fmla="*/ 0 w 168"/>
                  <a:gd name="T5" fmla="*/ 84 h 176"/>
                  <a:gd name="T6" fmla="*/ 0 w 168"/>
                  <a:gd name="T7" fmla="*/ 176 h 176"/>
                  <a:gd name="T8" fmla="*/ 168 w 168"/>
                  <a:gd name="T9" fmla="*/ 176 h 176"/>
                  <a:gd name="T10" fmla="*/ 168 w 168"/>
                  <a:gd name="T11" fmla="*/ 84 h 176"/>
                  <a:gd name="T12" fmla="*/ 84 w 168"/>
                  <a:gd name="T13" fmla="*/ 0 h 176"/>
                  <a:gd name="T14" fmla="*/ 84 w 168"/>
                  <a:gd name="T15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8" h="176">
                    <a:moveTo>
                      <a:pt x="84" y="0"/>
                    </a:moveTo>
                    <a:lnTo>
                      <a:pt x="84" y="0"/>
                    </a:lnTo>
                    <a:lnTo>
                      <a:pt x="0" y="84"/>
                    </a:lnTo>
                    <a:lnTo>
                      <a:pt x="0" y="176"/>
                    </a:lnTo>
                    <a:lnTo>
                      <a:pt x="168" y="176"/>
                    </a:lnTo>
                    <a:lnTo>
                      <a:pt x="168" y="84"/>
                    </a:lnTo>
                    <a:lnTo>
                      <a:pt x="84" y="0"/>
                    </a:lnTo>
                    <a:lnTo>
                      <a:pt x="84" y="0"/>
                    </a:lnTo>
                    <a:close/>
                  </a:path>
                </a:pathLst>
              </a:custGeom>
              <a:solidFill>
                <a:srgbClr val="CC58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/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Rectangle 106">
                <a:extLst>
                  <a:ext uri="{FF2B5EF4-FFF2-40B4-BE49-F238E27FC236}">
                    <a16:creationId xmlns:a16="http://schemas.microsoft.com/office/drawing/2014/main" id="{F9C30809-C067-4178-B498-C043FF7E31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0351" y="4973638"/>
                <a:ext cx="85725" cy="119063"/>
              </a:xfrm>
              <a:prstGeom prst="rect">
                <a:avLst/>
              </a:prstGeom>
              <a:solidFill>
                <a:srgbClr val="DE6E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/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11" name="圓角矩形 70">
              <a:extLst>
                <a:ext uri="{FF2B5EF4-FFF2-40B4-BE49-F238E27FC236}">
                  <a16:creationId xmlns:a16="http://schemas.microsoft.com/office/drawing/2014/main" id="{F5AEAC10-4C1F-4553-AF54-4E5AD4194D05}"/>
                </a:ext>
              </a:extLst>
            </p:cNvPr>
            <p:cNvSpPr/>
            <p:nvPr/>
          </p:nvSpPr>
          <p:spPr>
            <a:xfrm>
              <a:off x="1187718" y="2121147"/>
              <a:ext cx="832766" cy="766697"/>
            </a:xfrm>
            <a:prstGeom prst="roundRect">
              <a:avLst/>
            </a:prstGeom>
            <a:noFill/>
            <a:ln w="12700" cap="flat" cmpd="sng" algn="ctr">
              <a:solidFill>
                <a:srgbClr val="002266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914354">
                <a:defRPr/>
              </a:pPr>
              <a:endParaRPr lang="en-US" altLang="zh-TW" sz="1500" b="1" kern="0" dirty="0">
                <a:solidFill>
                  <a:prstClr val="black"/>
                </a:solidFill>
              </a:endParaRPr>
            </a:p>
          </p:txBody>
        </p:sp>
        <p:cxnSp>
          <p:nvCxnSpPr>
            <p:cNvPr id="157" name="直接箭头连接符 156">
              <a:extLst>
                <a:ext uri="{FF2B5EF4-FFF2-40B4-BE49-F238E27FC236}">
                  <a16:creationId xmlns:a16="http://schemas.microsoft.com/office/drawing/2014/main" id="{BEAA2EC7-2A9A-4418-A14E-B4B8AB77195A}"/>
                </a:ext>
              </a:extLst>
            </p:cNvPr>
            <p:cNvCxnSpPr/>
            <p:nvPr/>
          </p:nvCxnSpPr>
          <p:spPr bwMode="auto">
            <a:xfrm>
              <a:off x="2049051" y="2534645"/>
              <a:ext cx="178158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0" name="矩形 179">
              <a:extLst>
                <a:ext uri="{FF2B5EF4-FFF2-40B4-BE49-F238E27FC236}">
                  <a16:creationId xmlns:a16="http://schemas.microsoft.com/office/drawing/2014/main" id="{E902E399-A396-4ECF-9817-B93FB840426A}"/>
                </a:ext>
              </a:extLst>
            </p:cNvPr>
            <p:cNvSpPr/>
            <p:nvPr/>
          </p:nvSpPr>
          <p:spPr>
            <a:xfrm>
              <a:off x="1424207" y="2643255"/>
              <a:ext cx="46679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1100" dirty="0">
                  <a:solidFill>
                    <a:srgbClr val="777777"/>
                  </a:solidFill>
                  <a:cs typeface="+mn-ea"/>
                  <a:sym typeface="+mn-lt"/>
                </a:rPr>
                <a:t>云仓</a:t>
              </a:r>
              <a:endParaRPr lang="zh-CN" altLang="en-US" sz="1100" dirty="0">
                <a:solidFill>
                  <a:srgbClr val="777777"/>
                </a:solidFill>
              </a:endParaRPr>
            </a:p>
          </p:txBody>
        </p:sp>
        <p:sp>
          <p:nvSpPr>
            <p:cNvPr id="181" name="圓角矩形 70">
              <a:extLst>
                <a:ext uri="{FF2B5EF4-FFF2-40B4-BE49-F238E27FC236}">
                  <a16:creationId xmlns:a16="http://schemas.microsoft.com/office/drawing/2014/main" id="{DBABAE4A-0924-48FE-98D1-828497AD73C6}"/>
                </a:ext>
              </a:extLst>
            </p:cNvPr>
            <p:cNvSpPr/>
            <p:nvPr/>
          </p:nvSpPr>
          <p:spPr>
            <a:xfrm>
              <a:off x="3325222" y="2114166"/>
              <a:ext cx="832766" cy="766697"/>
            </a:xfrm>
            <a:prstGeom prst="roundRect">
              <a:avLst/>
            </a:prstGeom>
            <a:noFill/>
            <a:ln w="12700" cap="flat" cmpd="sng" algn="ctr">
              <a:solidFill>
                <a:srgbClr val="002266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914354">
                <a:defRPr/>
              </a:pPr>
              <a:endParaRPr lang="en-US" altLang="zh-TW" sz="1500" b="1" kern="0" dirty="0">
                <a:solidFill>
                  <a:prstClr val="black"/>
                </a:solidFill>
              </a:endParaRPr>
            </a:p>
          </p:txBody>
        </p:sp>
        <p:grpSp>
          <p:nvGrpSpPr>
            <p:cNvPr id="182" name="组合 181">
              <a:extLst>
                <a:ext uri="{FF2B5EF4-FFF2-40B4-BE49-F238E27FC236}">
                  <a16:creationId xmlns:a16="http://schemas.microsoft.com/office/drawing/2014/main" id="{1D067120-B2FF-48B6-B5F4-AA6508173286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3590618" y="2174492"/>
              <a:ext cx="240260" cy="164855"/>
              <a:chOff x="4767263" y="2185988"/>
              <a:chExt cx="1266825" cy="666750"/>
            </a:xfrm>
            <a:solidFill>
              <a:srgbClr val="C91423"/>
            </a:solidFill>
          </p:grpSpPr>
          <p:sp>
            <p:nvSpPr>
              <p:cNvPr id="183" name="Freeform 217">
                <a:extLst>
                  <a:ext uri="{FF2B5EF4-FFF2-40B4-BE49-F238E27FC236}">
                    <a16:creationId xmlns:a16="http://schemas.microsoft.com/office/drawing/2014/main" id="{6D38913F-63BC-4F9A-A5C9-D7E02EDCF4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49813" y="2643188"/>
                <a:ext cx="212725" cy="209550"/>
              </a:xfrm>
              <a:custGeom>
                <a:avLst/>
                <a:gdLst>
                  <a:gd name="T0" fmla="*/ 28 w 56"/>
                  <a:gd name="T1" fmla="*/ 0 h 55"/>
                  <a:gd name="T2" fmla="*/ 0 w 56"/>
                  <a:gd name="T3" fmla="*/ 27 h 55"/>
                  <a:gd name="T4" fmla="*/ 0 w 56"/>
                  <a:gd name="T5" fmla="*/ 29 h 55"/>
                  <a:gd name="T6" fmla="*/ 28 w 56"/>
                  <a:gd name="T7" fmla="*/ 55 h 55"/>
                  <a:gd name="T8" fmla="*/ 56 w 56"/>
                  <a:gd name="T9" fmla="*/ 28 h 55"/>
                  <a:gd name="T10" fmla="*/ 56 w 56"/>
                  <a:gd name="T11" fmla="*/ 27 h 55"/>
                  <a:gd name="T12" fmla="*/ 28 w 56"/>
                  <a:gd name="T13" fmla="*/ 0 h 55"/>
                  <a:gd name="T14" fmla="*/ 28 w 56"/>
                  <a:gd name="T15" fmla="*/ 36 h 55"/>
                  <a:gd name="T16" fmla="*/ 20 w 56"/>
                  <a:gd name="T17" fmla="*/ 28 h 55"/>
                  <a:gd name="T18" fmla="*/ 19 w 56"/>
                  <a:gd name="T19" fmla="*/ 27 h 55"/>
                  <a:gd name="T20" fmla="*/ 28 w 56"/>
                  <a:gd name="T21" fmla="*/ 19 h 55"/>
                  <a:gd name="T22" fmla="*/ 37 w 56"/>
                  <a:gd name="T23" fmla="*/ 27 h 55"/>
                  <a:gd name="T24" fmla="*/ 36 w 56"/>
                  <a:gd name="T25" fmla="*/ 28 h 55"/>
                  <a:gd name="T26" fmla="*/ 28 w 56"/>
                  <a:gd name="T27" fmla="*/ 3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6" h="55">
                    <a:moveTo>
                      <a:pt x="28" y="0"/>
                    </a:moveTo>
                    <a:cubicBezTo>
                      <a:pt x="13" y="0"/>
                      <a:pt x="0" y="12"/>
                      <a:pt x="0" y="27"/>
                    </a:cubicBezTo>
                    <a:cubicBezTo>
                      <a:pt x="0" y="28"/>
                      <a:pt x="0" y="28"/>
                      <a:pt x="0" y="29"/>
                    </a:cubicBezTo>
                    <a:cubicBezTo>
                      <a:pt x="1" y="43"/>
                      <a:pt x="13" y="55"/>
                      <a:pt x="28" y="55"/>
                    </a:cubicBezTo>
                    <a:cubicBezTo>
                      <a:pt x="43" y="55"/>
                      <a:pt x="55" y="43"/>
                      <a:pt x="56" y="28"/>
                    </a:cubicBezTo>
                    <a:cubicBezTo>
                      <a:pt x="56" y="28"/>
                      <a:pt x="56" y="27"/>
                      <a:pt x="56" y="27"/>
                    </a:cubicBezTo>
                    <a:cubicBezTo>
                      <a:pt x="56" y="12"/>
                      <a:pt x="43" y="0"/>
                      <a:pt x="28" y="0"/>
                    </a:cubicBezTo>
                    <a:close/>
                    <a:moveTo>
                      <a:pt x="28" y="36"/>
                    </a:moveTo>
                    <a:cubicBezTo>
                      <a:pt x="24" y="36"/>
                      <a:pt x="20" y="33"/>
                      <a:pt x="20" y="28"/>
                    </a:cubicBezTo>
                    <a:cubicBezTo>
                      <a:pt x="20" y="28"/>
                      <a:pt x="19" y="28"/>
                      <a:pt x="19" y="27"/>
                    </a:cubicBezTo>
                    <a:cubicBezTo>
                      <a:pt x="19" y="22"/>
                      <a:pt x="23" y="19"/>
                      <a:pt x="28" y="19"/>
                    </a:cubicBezTo>
                    <a:cubicBezTo>
                      <a:pt x="33" y="19"/>
                      <a:pt x="37" y="22"/>
                      <a:pt x="37" y="27"/>
                    </a:cubicBezTo>
                    <a:cubicBezTo>
                      <a:pt x="37" y="28"/>
                      <a:pt x="37" y="28"/>
                      <a:pt x="36" y="28"/>
                    </a:cubicBezTo>
                    <a:cubicBezTo>
                      <a:pt x="36" y="32"/>
                      <a:pt x="32" y="36"/>
                      <a:pt x="28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/>
                <a:endParaRPr lang="zh-CN" altLang="en-US">
                  <a:solidFill>
                    <a:srgbClr val="777777"/>
                  </a:solidFill>
                </a:endParaRPr>
              </a:p>
            </p:txBody>
          </p:sp>
          <p:sp>
            <p:nvSpPr>
              <p:cNvPr id="184" name="Freeform 218">
                <a:extLst>
                  <a:ext uri="{FF2B5EF4-FFF2-40B4-BE49-F238E27FC236}">
                    <a16:creationId xmlns:a16="http://schemas.microsoft.com/office/drawing/2014/main" id="{F1A5A50C-523B-49F7-BD36-E072FE97D4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1938" y="2643188"/>
                <a:ext cx="207963" cy="209550"/>
              </a:xfrm>
              <a:custGeom>
                <a:avLst/>
                <a:gdLst>
                  <a:gd name="T0" fmla="*/ 55 w 55"/>
                  <a:gd name="T1" fmla="*/ 27 h 55"/>
                  <a:gd name="T2" fmla="*/ 27 w 55"/>
                  <a:gd name="T3" fmla="*/ 0 h 55"/>
                  <a:gd name="T4" fmla="*/ 0 w 55"/>
                  <a:gd name="T5" fmla="*/ 27 h 55"/>
                  <a:gd name="T6" fmla="*/ 0 w 55"/>
                  <a:gd name="T7" fmla="*/ 27 h 55"/>
                  <a:gd name="T8" fmla="*/ 27 w 55"/>
                  <a:gd name="T9" fmla="*/ 55 h 55"/>
                  <a:gd name="T10" fmla="*/ 55 w 55"/>
                  <a:gd name="T11" fmla="*/ 27 h 55"/>
                  <a:gd name="T12" fmla="*/ 55 w 55"/>
                  <a:gd name="T13" fmla="*/ 27 h 55"/>
                  <a:gd name="T14" fmla="*/ 27 w 55"/>
                  <a:gd name="T15" fmla="*/ 36 h 55"/>
                  <a:gd name="T16" fmla="*/ 19 w 55"/>
                  <a:gd name="T17" fmla="*/ 27 h 55"/>
                  <a:gd name="T18" fmla="*/ 19 w 55"/>
                  <a:gd name="T19" fmla="*/ 27 h 55"/>
                  <a:gd name="T20" fmla="*/ 27 w 55"/>
                  <a:gd name="T21" fmla="*/ 19 h 55"/>
                  <a:gd name="T22" fmla="*/ 36 w 55"/>
                  <a:gd name="T23" fmla="*/ 27 h 55"/>
                  <a:gd name="T24" fmla="*/ 36 w 55"/>
                  <a:gd name="T25" fmla="*/ 27 h 55"/>
                  <a:gd name="T26" fmla="*/ 27 w 55"/>
                  <a:gd name="T27" fmla="*/ 3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5" h="55">
                    <a:moveTo>
                      <a:pt x="55" y="27"/>
                    </a:moveTo>
                    <a:cubicBezTo>
                      <a:pt x="54" y="12"/>
                      <a:pt x="42" y="0"/>
                      <a:pt x="27" y="0"/>
                    </a:cubicBezTo>
                    <a:cubicBezTo>
                      <a:pt x="12" y="0"/>
                      <a:pt x="0" y="12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2"/>
                      <a:pt x="12" y="55"/>
                      <a:pt x="27" y="55"/>
                    </a:cubicBezTo>
                    <a:cubicBezTo>
                      <a:pt x="42" y="55"/>
                      <a:pt x="55" y="42"/>
                      <a:pt x="55" y="27"/>
                    </a:cubicBezTo>
                    <a:cubicBezTo>
                      <a:pt x="55" y="27"/>
                      <a:pt x="55" y="27"/>
                      <a:pt x="55" y="27"/>
                    </a:cubicBezTo>
                    <a:close/>
                    <a:moveTo>
                      <a:pt x="27" y="36"/>
                    </a:moveTo>
                    <a:cubicBezTo>
                      <a:pt x="22" y="36"/>
                      <a:pt x="19" y="32"/>
                      <a:pt x="19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9" y="22"/>
                      <a:pt x="23" y="19"/>
                      <a:pt x="27" y="19"/>
                    </a:cubicBezTo>
                    <a:cubicBezTo>
                      <a:pt x="32" y="19"/>
                      <a:pt x="35" y="22"/>
                      <a:pt x="36" y="27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36" y="32"/>
                      <a:pt x="32" y="36"/>
                      <a:pt x="27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/>
                <a:endParaRPr lang="zh-CN" altLang="en-US">
                  <a:solidFill>
                    <a:srgbClr val="777777"/>
                  </a:solidFill>
                </a:endParaRPr>
              </a:p>
            </p:txBody>
          </p:sp>
          <p:sp>
            <p:nvSpPr>
              <p:cNvPr id="185" name="Freeform 219">
                <a:extLst>
                  <a:ext uri="{FF2B5EF4-FFF2-40B4-BE49-F238E27FC236}">
                    <a16:creationId xmlns:a16="http://schemas.microsoft.com/office/drawing/2014/main" id="{361C8242-2F78-4A09-B138-F62F0131CE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0226" y="2643188"/>
                <a:ext cx="212725" cy="209550"/>
              </a:xfrm>
              <a:custGeom>
                <a:avLst/>
                <a:gdLst>
                  <a:gd name="T0" fmla="*/ 56 w 56"/>
                  <a:gd name="T1" fmla="*/ 26 h 55"/>
                  <a:gd name="T2" fmla="*/ 28 w 56"/>
                  <a:gd name="T3" fmla="*/ 0 h 55"/>
                  <a:gd name="T4" fmla="*/ 0 w 56"/>
                  <a:gd name="T5" fmla="*/ 26 h 55"/>
                  <a:gd name="T6" fmla="*/ 0 w 56"/>
                  <a:gd name="T7" fmla="*/ 27 h 55"/>
                  <a:gd name="T8" fmla="*/ 28 w 56"/>
                  <a:gd name="T9" fmla="*/ 55 h 55"/>
                  <a:gd name="T10" fmla="*/ 56 w 56"/>
                  <a:gd name="T11" fmla="*/ 27 h 55"/>
                  <a:gd name="T12" fmla="*/ 56 w 56"/>
                  <a:gd name="T13" fmla="*/ 26 h 55"/>
                  <a:gd name="T14" fmla="*/ 28 w 56"/>
                  <a:gd name="T15" fmla="*/ 36 h 55"/>
                  <a:gd name="T16" fmla="*/ 19 w 56"/>
                  <a:gd name="T17" fmla="*/ 27 h 55"/>
                  <a:gd name="T18" fmla="*/ 20 w 56"/>
                  <a:gd name="T19" fmla="*/ 26 h 55"/>
                  <a:gd name="T20" fmla="*/ 28 w 56"/>
                  <a:gd name="T21" fmla="*/ 19 h 55"/>
                  <a:gd name="T22" fmla="*/ 36 w 56"/>
                  <a:gd name="T23" fmla="*/ 26 h 55"/>
                  <a:gd name="T24" fmla="*/ 37 w 56"/>
                  <a:gd name="T25" fmla="*/ 27 h 55"/>
                  <a:gd name="T26" fmla="*/ 28 w 56"/>
                  <a:gd name="T27" fmla="*/ 3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6" h="55">
                    <a:moveTo>
                      <a:pt x="56" y="26"/>
                    </a:moveTo>
                    <a:cubicBezTo>
                      <a:pt x="55" y="11"/>
                      <a:pt x="43" y="0"/>
                      <a:pt x="28" y="0"/>
                    </a:cubicBezTo>
                    <a:cubicBezTo>
                      <a:pt x="13" y="0"/>
                      <a:pt x="1" y="12"/>
                      <a:pt x="0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42"/>
                      <a:pt x="13" y="55"/>
                      <a:pt x="28" y="55"/>
                    </a:cubicBezTo>
                    <a:cubicBezTo>
                      <a:pt x="43" y="55"/>
                      <a:pt x="56" y="42"/>
                      <a:pt x="56" y="27"/>
                    </a:cubicBezTo>
                    <a:cubicBezTo>
                      <a:pt x="56" y="27"/>
                      <a:pt x="56" y="26"/>
                      <a:pt x="56" y="26"/>
                    </a:cubicBezTo>
                    <a:close/>
                    <a:moveTo>
                      <a:pt x="28" y="36"/>
                    </a:moveTo>
                    <a:cubicBezTo>
                      <a:pt x="23" y="36"/>
                      <a:pt x="19" y="32"/>
                      <a:pt x="19" y="27"/>
                    </a:cubicBezTo>
                    <a:cubicBezTo>
                      <a:pt x="19" y="27"/>
                      <a:pt x="20" y="27"/>
                      <a:pt x="20" y="26"/>
                    </a:cubicBezTo>
                    <a:cubicBezTo>
                      <a:pt x="20" y="22"/>
                      <a:pt x="24" y="19"/>
                      <a:pt x="28" y="19"/>
                    </a:cubicBezTo>
                    <a:cubicBezTo>
                      <a:pt x="32" y="19"/>
                      <a:pt x="36" y="22"/>
                      <a:pt x="36" y="26"/>
                    </a:cubicBezTo>
                    <a:cubicBezTo>
                      <a:pt x="36" y="26"/>
                      <a:pt x="37" y="27"/>
                      <a:pt x="37" y="27"/>
                    </a:cubicBezTo>
                    <a:cubicBezTo>
                      <a:pt x="37" y="32"/>
                      <a:pt x="33" y="36"/>
                      <a:pt x="28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/>
                <a:endParaRPr lang="zh-CN" altLang="en-US">
                  <a:solidFill>
                    <a:srgbClr val="777777"/>
                  </a:solidFill>
                </a:endParaRPr>
              </a:p>
            </p:txBody>
          </p:sp>
          <p:sp>
            <p:nvSpPr>
              <p:cNvPr id="186" name="Freeform 220">
                <a:extLst>
                  <a:ext uri="{FF2B5EF4-FFF2-40B4-BE49-F238E27FC236}">
                    <a16:creationId xmlns:a16="http://schemas.microsoft.com/office/drawing/2014/main" id="{9A4ADA49-0AA6-4442-B144-681B323646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7263" y="2262188"/>
                <a:ext cx="1112838" cy="492125"/>
              </a:xfrm>
              <a:custGeom>
                <a:avLst/>
                <a:gdLst>
                  <a:gd name="T0" fmla="*/ 110 w 294"/>
                  <a:gd name="T1" fmla="*/ 82 h 129"/>
                  <a:gd name="T2" fmla="*/ 110 w 294"/>
                  <a:gd name="T3" fmla="*/ 0 h 129"/>
                  <a:gd name="T4" fmla="*/ 41 w 294"/>
                  <a:gd name="T5" fmla="*/ 0 h 129"/>
                  <a:gd name="T6" fmla="*/ 0 w 294"/>
                  <a:gd name="T7" fmla="*/ 65 h 129"/>
                  <a:gd name="T8" fmla="*/ 0 w 294"/>
                  <a:gd name="T9" fmla="*/ 129 h 129"/>
                  <a:gd name="T10" fmla="*/ 16 w 294"/>
                  <a:gd name="T11" fmla="*/ 129 h 129"/>
                  <a:gd name="T12" fmla="*/ 16 w 294"/>
                  <a:gd name="T13" fmla="*/ 127 h 129"/>
                  <a:gd name="T14" fmla="*/ 50 w 294"/>
                  <a:gd name="T15" fmla="*/ 93 h 129"/>
                  <a:gd name="T16" fmla="*/ 84 w 294"/>
                  <a:gd name="T17" fmla="*/ 127 h 129"/>
                  <a:gd name="T18" fmla="*/ 84 w 294"/>
                  <a:gd name="T19" fmla="*/ 128 h 129"/>
                  <a:gd name="T20" fmla="*/ 145 w 294"/>
                  <a:gd name="T21" fmla="*/ 127 h 129"/>
                  <a:gd name="T22" fmla="*/ 145 w 294"/>
                  <a:gd name="T23" fmla="*/ 127 h 129"/>
                  <a:gd name="T24" fmla="*/ 179 w 294"/>
                  <a:gd name="T25" fmla="*/ 93 h 129"/>
                  <a:gd name="T26" fmla="*/ 213 w 294"/>
                  <a:gd name="T27" fmla="*/ 127 h 129"/>
                  <a:gd name="T28" fmla="*/ 217 w 294"/>
                  <a:gd name="T29" fmla="*/ 126 h 129"/>
                  <a:gd name="T30" fmla="*/ 251 w 294"/>
                  <a:gd name="T31" fmla="*/ 93 h 129"/>
                  <a:gd name="T32" fmla="*/ 285 w 294"/>
                  <a:gd name="T33" fmla="*/ 126 h 129"/>
                  <a:gd name="T34" fmla="*/ 294 w 294"/>
                  <a:gd name="T35" fmla="*/ 126 h 129"/>
                  <a:gd name="T36" fmla="*/ 294 w 294"/>
                  <a:gd name="T37" fmla="*/ 82 h 129"/>
                  <a:gd name="T38" fmla="*/ 110 w 294"/>
                  <a:gd name="T39" fmla="*/ 82 h 129"/>
                  <a:gd name="T40" fmla="*/ 91 w 294"/>
                  <a:gd name="T41" fmla="*/ 65 h 129"/>
                  <a:gd name="T42" fmla="*/ 23 w 294"/>
                  <a:gd name="T43" fmla="*/ 65 h 129"/>
                  <a:gd name="T44" fmla="*/ 50 w 294"/>
                  <a:gd name="T45" fmla="*/ 23 h 129"/>
                  <a:gd name="T46" fmla="*/ 91 w 294"/>
                  <a:gd name="T47" fmla="*/ 23 h 129"/>
                  <a:gd name="T48" fmla="*/ 91 w 294"/>
                  <a:gd name="T49" fmla="*/ 6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94" h="129">
                    <a:moveTo>
                      <a:pt x="110" y="82"/>
                    </a:moveTo>
                    <a:cubicBezTo>
                      <a:pt x="110" y="0"/>
                      <a:pt x="110" y="0"/>
                      <a:pt x="110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129"/>
                      <a:pt x="0" y="129"/>
                      <a:pt x="0" y="129"/>
                    </a:cubicBezTo>
                    <a:cubicBezTo>
                      <a:pt x="16" y="129"/>
                      <a:pt x="16" y="129"/>
                      <a:pt x="16" y="129"/>
                    </a:cubicBezTo>
                    <a:cubicBezTo>
                      <a:pt x="16" y="128"/>
                      <a:pt x="16" y="128"/>
                      <a:pt x="16" y="127"/>
                    </a:cubicBezTo>
                    <a:cubicBezTo>
                      <a:pt x="16" y="108"/>
                      <a:pt x="31" y="93"/>
                      <a:pt x="50" y="93"/>
                    </a:cubicBezTo>
                    <a:cubicBezTo>
                      <a:pt x="69" y="93"/>
                      <a:pt x="84" y="108"/>
                      <a:pt x="84" y="127"/>
                    </a:cubicBezTo>
                    <a:cubicBezTo>
                      <a:pt x="84" y="127"/>
                      <a:pt x="84" y="128"/>
                      <a:pt x="84" y="128"/>
                    </a:cubicBezTo>
                    <a:cubicBezTo>
                      <a:pt x="145" y="127"/>
                      <a:pt x="145" y="127"/>
                      <a:pt x="145" y="127"/>
                    </a:cubicBezTo>
                    <a:cubicBezTo>
                      <a:pt x="145" y="127"/>
                      <a:pt x="145" y="127"/>
                      <a:pt x="145" y="127"/>
                    </a:cubicBezTo>
                    <a:cubicBezTo>
                      <a:pt x="145" y="108"/>
                      <a:pt x="160" y="93"/>
                      <a:pt x="179" y="93"/>
                    </a:cubicBezTo>
                    <a:cubicBezTo>
                      <a:pt x="198" y="93"/>
                      <a:pt x="213" y="108"/>
                      <a:pt x="213" y="127"/>
                    </a:cubicBezTo>
                    <a:cubicBezTo>
                      <a:pt x="217" y="126"/>
                      <a:pt x="217" y="126"/>
                      <a:pt x="217" y="126"/>
                    </a:cubicBezTo>
                    <a:cubicBezTo>
                      <a:pt x="217" y="108"/>
                      <a:pt x="233" y="93"/>
                      <a:pt x="251" y="93"/>
                    </a:cubicBezTo>
                    <a:cubicBezTo>
                      <a:pt x="269" y="93"/>
                      <a:pt x="284" y="108"/>
                      <a:pt x="285" y="126"/>
                    </a:cubicBezTo>
                    <a:cubicBezTo>
                      <a:pt x="294" y="126"/>
                      <a:pt x="294" y="126"/>
                      <a:pt x="294" y="126"/>
                    </a:cubicBezTo>
                    <a:cubicBezTo>
                      <a:pt x="294" y="82"/>
                      <a:pt x="294" y="82"/>
                      <a:pt x="294" y="82"/>
                    </a:cubicBezTo>
                    <a:lnTo>
                      <a:pt x="110" y="82"/>
                    </a:lnTo>
                    <a:close/>
                    <a:moveTo>
                      <a:pt x="91" y="65"/>
                    </a:moveTo>
                    <a:cubicBezTo>
                      <a:pt x="23" y="65"/>
                      <a:pt x="23" y="65"/>
                      <a:pt x="23" y="65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91" y="23"/>
                      <a:pt x="91" y="23"/>
                      <a:pt x="91" y="23"/>
                    </a:cubicBezTo>
                    <a:lnTo>
                      <a:pt x="91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/>
                <a:endParaRPr lang="zh-CN" altLang="en-US">
                  <a:solidFill>
                    <a:srgbClr val="777777"/>
                  </a:solidFill>
                </a:endParaRPr>
              </a:p>
            </p:txBody>
          </p:sp>
          <p:sp>
            <p:nvSpPr>
              <p:cNvPr id="187" name="Freeform 221">
                <a:extLst>
                  <a:ext uri="{FF2B5EF4-FFF2-40B4-BE49-F238E27FC236}">
                    <a16:creationId xmlns:a16="http://schemas.microsoft.com/office/drawing/2014/main" id="{F2DD9366-841C-4ACB-8EB6-9E23D7E26C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24463" y="2185988"/>
                <a:ext cx="809625" cy="557212"/>
              </a:xfrm>
              <a:custGeom>
                <a:avLst/>
                <a:gdLst>
                  <a:gd name="T0" fmla="*/ 197 w 214"/>
                  <a:gd name="T1" fmla="*/ 51 h 146"/>
                  <a:gd name="T2" fmla="*/ 196 w 214"/>
                  <a:gd name="T3" fmla="*/ 15 h 146"/>
                  <a:gd name="T4" fmla="*/ 201 w 214"/>
                  <a:gd name="T5" fmla="*/ 0 h 146"/>
                  <a:gd name="T6" fmla="*/ 25 w 214"/>
                  <a:gd name="T7" fmla="*/ 0 h 146"/>
                  <a:gd name="T8" fmla="*/ 0 w 214"/>
                  <a:gd name="T9" fmla="*/ 15 h 146"/>
                  <a:gd name="T10" fmla="*/ 5 w 214"/>
                  <a:gd name="T11" fmla="*/ 20 h 146"/>
                  <a:gd name="T12" fmla="*/ 5 w 214"/>
                  <a:gd name="T13" fmla="*/ 82 h 146"/>
                  <a:gd name="T14" fmla="*/ 38 w 214"/>
                  <a:gd name="T15" fmla="*/ 105 h 146"/>
                  <a:gd name="T16" fmla="*/ 152 w 214"/>
                  <a:gd name="T17" fmla="*/ 102 h 146"/>
                  <a:gd name="T18" fmla="*/ 158 w 214"/>
                  <a:gd name="T19" fmla="*/ 120 h 146"/>
                  <a:gd name="T20" fmla="*/ 173 w 214"/>
                  <a:gd name="T21" fmla="*/ 146 h 146"/>
                  <a:gd name="T22" fmla="*/ 214 w 214"/>
                  <a:gd name="T23" fmla="*/ 76 h 146"/>
                  <a:gd name="T24" fmla="*/ 31 w 214"/>
                  <a:gd name="T25" fmla="*/ 89 h 146"/>
                  <a:gd name="T26" fmla="*/ 22 w 214"/>
                  <a:gd name="T27" fmla="*/ 15 h 146"/>
                  <a:gd name="T28" fmla="*/ 31 w 214"/>
                  <a:gd name="T29" fmla="*/ 89 h 146"/>
                  <a:gd name="T30" fmla="*/ 43 w 214"/>
                  <a:gd name="T31" fmla="*/ 89 h 146"/>
                  <a:gd name="T32" fmla="*/ 52 w 214"/>
                  <a:gd name="T33" fmla="*/ 15 h 146"/>
                  <a:gd name="T34" fmla="*/ 74 w 214"/>
                  <a:gd name="T35" fmla="*/ 89 h 146"/>
                  <a:gd name="T36" fmla="*/ 64 w 214"/>
                  <a:gd name="T37" fmla="*/ 15 h 146"/>
                  <a:gd name="T38" fmla="*/ 74 w 214"/>
                  <a:gd name="T39" fmla="*/ 89 h 146"/>
                  <a:gd name="T40" fmla="*/ 85 w 214"/>
                  <a:gd name="T41" fmla="*/ 89 h 146"/>
                  <a:gd name="T42" fmla="*/ 95 w 214"/>
                  <a:gd name="T43" fmla="*/ 15 h 146"/>
                  <a:gd name="T44" fmla="*/ 116 w 214"/>
                  <a:gd name="T45" fmla="*/ 89 h 146"/>
                  <a:gd name="T46" fmla="*/ 106 w 214"/>
                  <a:gd name="T47" fmla="*/ 15 h 146"/>
                  <a:gd name="T48" fmla="*/ 116 w 214"/>
                  <a:gd name="T49" fmla="*/ 89 h 146"/>
                  <a:gd name="T50" fmla="*/ 128 w 214"/>
                  <a:gd name="T51" fmla="*/ 89 h 146"/>
                  <a:gd name="T52" fmla="*/ 137 w 214"/>
                  <a:gd name="T53" fmla="*/ 15 h 146"/>
                  <a:gd name="T54" fmla="*/ 158 w 214"/>
                  <a:gd name="T55" fmla="*/ 89 h 146"/>
                  <a:gd name="T56" fmla="*/ 149 w 214"/>
                  <a:gd name="T57" fmla="*/ 15 h 146"/>
                  <a:gd name="T58" fmla="*/ 158 w 214"/>
                  <a:gd name="T59" fmla="*/ 89 h 146"/>
                  <a:gd name="T60" fmla="*/ 170 w 214"/>
                  <a:gd name="T61" fmla="*/ 89 h 146"/>
                  <a:gd name="T62" fmla="*/ 180 w 214"/>
                  <a:gd name="T63" fmla="*/ 15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4" h="146">
                    <a:moveTo>
                      <a:pt x="197" y="64"/>
                    </a:moveTo>
                    <a:cubicBezTo>
                      <a:pt x="197" y="51"/>
                      <a:pt x="197" y="51"/>
                      <a:pt x="197" y="51"/>
                    </a:cubicBezTo>
                    <a:cubicBezTo>
                      <a:pt x="197" y="20"/>
                      <a:pt x="197" y="20"/>
                      <a:pt x="197" y="20"/>
                    </a:cubicBezTo>
                    <a:cubicBezTo>
                      <a:pt x="197" y="18"/>
                      <a:pt x="196" y="16"/>
                      <a:pt x="196" y="15"/>
                    </a:cubicBezTo>
                    <a:cubicBezTo>
                      <a:pt x="201" y="15"/>
                      <a:pt x="201" y="15"/>
                      <a:pt x="201" y="15"/>
                    </a:cubicBezTo>
                    <a:cubicBezTo>
                      <a:pt x="201" y="0"/>
                      <a:pt x="201" y="0"/>
                      <a:pt x="201" y="0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6"/>
                      <a:pt x="5" y="18"/>
                      <a:pt x="5" y="20"/>
                    </a:cubicBezTo>
                    <a:cubicBezTo>
                      <a:pt x="5" y="64"/>
                      <a:pt x="5" y="64"/>
                      <a:pt x="5" y="64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5" y="115"/>
                      <a:pt x="5" y="115"/>
                      <a:pt x="5" y="115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35" y="102"/>
                      <a:pt x="35" y="102"/>
                      <a:pt x="35" y="102"/>
                    </a:cubicBezTo>
                    <a:cubicBezTo>
                      <a:pt x="152" y="102"/>
                      <a:pt x="152" y="102"/>
                      <a:pt x="152" y="102"/>
                    </a:cubicBezTo>
                    <a:cubicBezTo>
                      <a:pt x="158" y="114"/>
                      <a:pt x="158" y="114"/>
                      <a:pt x="158" y="114"/>
                    </a:cubicBezTo>
                    <a:cubicBezTo>
                      <a:pt x="158" y="120"/>
                      <a:pt x="158" y="120"/>
                      <a:pt x="158" y="120"/>
                    </a:cubicBezTo>
                    <a:cubicBezTo>
                      <a:pt x="161" y="120"/>
                      <a:pt x="161" y="120"/>
                      <a:pt x="161" y="120"/>
                    </a:cubicBezTo>
                    <a:cubicBezTo>
                      <a:pt x="173" y="146"/>
                      <a:pt x="173" y="146"/>
                      <a:pt x="173" y="146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4" y="76"/>
                      <a:pt x="214" y="76"/>
                      <a:pt x="214" y="76"/>
                    </a:cubicBezTo>
                    <a:lnTo>
                      <a:pt x="197" y="64"/>
                    </a:lnTo>
                    <a:close/>
                    <a:moveTo>
                      <a:pt x="31" y="89"/>
                    </a:moveTo>
                    <a:cubicBezTo>
                      <a:pt x="22" y="89"/>
                      <a:pt x="22" y="89"/>
                      <a:pt x="22" y="89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31" y="15"/>
                      <a:pt x="31" y="15"/>
                      <a:pt x="31" y="15"/>
                    </a:cubicBezTo>
                    <a:lnTo>
                      <a:pt x="31" y="89"/>
                    </a:lnTo>
                    <a:close/>
                    <a:moveTo>
                      <a:pt x="52" y="89"/>
                    </a:moveTo>
                    <a:cubicBezTo>
                      <a:pt x="43" y="89"/>
                      <a:pt x="43" y="89"/>
                      <a:pt x="43" y="89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52" y="15"/>
                      <a:pt x="52" y="15"/>
                      <a:pt x="52" y="15"/>
                    </a:cubicBezTo>
                    <a:lnTo>
                      <a:pt x="52" y="89"/>
                    </a:lnTo>
                    <a:close/>
                    <a:moveTo>
                      <a:pt x="74" y="89"/>
                    </a:moveTo>
                    <a:cubicBezTo>
                      <a:pt x="64" y="89"/>
                      <a:pt x="64" y="89"/>
                      <a:pt x="64" y="89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74" y="15"/>
                      <a:pt x="74" y="15"/>
                      <a:pt x="74" y="15"/>
                    </a:cubicBezTo>
                    <a:lnTo>
                      <a:pt x="74" y="89"/>
                    </a:lnTo>
                    <a:close/>
                    <a:moveTo>
                      <a:pt x="95" y="89"/>
                    </a:moveTo>
                    <a:cubicBezTo>
                      <a:pt x="85" y="89"/>
                      <a:pt x="85" y="89"/>
                      <a:pt x="85" y="89"/>
                    </a:cubicBezTo>
                    <a:cubicBezTo>
                      <a:pt x="85" y="15"/>
                      <a:pt x="85" y="15"/>
                      <a:pt x="85" y="15"/>
                    </a:cubicBezTo>
                    <a:cubicBezTo>
                      <a:pt x="95" y="15"/>
                      <a:pt x="95" y="15"/>
                      <a:pt x="95" y="15"/>
                    </a:cubicBezTo>
                    <a:lnTo>
                      <a:pt x="95" y="89"/>
                    </a:lnTo>
                    <a:close/>
                    <a:moveTo>
                      <a:pt x="116" y="89"/>
                    </a:moveTo>
                    <a:cubicBezTo>
                      <a:pt x="106" y="89"/>
                      <a:pt x="106" y="89"/>
                      <a:pt x="106" y="89"/>
                    </a:cubicBezTo>
                    <a:cubicBezTo>
                      <a:pt x="106" y="15"/>
                      <a:pt x="106" y="15"/>
                      <a:pt x="106" y="15"/>
                    </a:cubicBezTo>
                    <a:cubicBezTo>
                      <a:pt x="116" y="15"/>
                      <a:pt x="116" y="15"/>
                      <a:pt x="116" y="15"/>
                    </a:cubicBezTo>
                    <a:lnTo>
                      <a:pt x="116" y="89"/>
                    </a:lnTo>
                    <a:close/>
                    <a:moveTo>
                      <a:pt x="137" y="89"/>
                    </a:moveTo>
                    <a:cubicBezTo>
                      <a:pt x="128" y="89"/>
                      <a:pt x="128" y="89"/>
                      <a:pt x="128" y="89"/>
                    </a:cubicBezTo>
                    <a:cubicBezTo>
                      <a:pt x="128" y="15"/>
                      <a:pt x="128" y="15"/>
                      <a:pt x="128" y="15"/>
                    </a:cubicBezTo>
                    <a:cubicBezTo>
                      <a:pt x="137" y="15"/>
                      <a:pt x="137" y="15"/>
                      <a:pt x="137" y="15"/>
                    </a:cubicBezTo>
                    <a:lnTo>
                      <a:pt x="137" y="89"/>
                    </a:lnTo>
                    <a:close/>
                    <a:moveTo>
                      <a:pt x="158" y="89"/>
                    </a:moveTo>
                    <a:cubicBezTo>
                      <a:pt x="149" y="89"/>
                      <a:pt x="149" y="89"/>
                      <a:pt x="149" y="89"/>
                    </a:cubicBezTo>
                    <a:cubicBezTo>
                      <a:pt x="149" y="15"/>
                      <a:pt x="149" y="15"/>
                      <a:pt x="149" y="15"/>
                    </a:cubicBezTo>
                    <a:cubicBezTo>
                      <a:pt x="158" y="15"/>
                      <a:pt x="158" y="15"/>
                      <a:pt x="158" y="15"/>
                    </a:cubicBezTo>
                    <a:lnTo>
                      <a:pt x="158" y="89"/>
                    </a:lnTo>
                    <a:close/>
                    <a:moveTo>
                      <a:pt x="180" y="89"/>
                    </a:moveTo>
                    <a:cubicBezTo>
                      <a:pt x="170" y="89"/>
                      <a:pt x="170" y="89"/>
                      <a:pt x="170" y="89"/>
                    </a:cubicBezTo>
                    <a:cubicBezTo>
                      <a:pt x="170" y="15"/>
                      <a:pt x="170" y="15"/>
                      <a:pt x="170" y="15"/>
                    </a:cubicBezTo>
                    <a:cubicBezTo>
                      <a:pt x="180" y="15"/>
                      <a:pt x="180" y="15"/>
                      <a:pt x="180" y="15"/>
                    </a:cubicBezTo>
                    <a:lnTo>
                      <a:pt x="180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/>
                <a:endParaRPr lang="zh-CN" altLang="en-US">
                  <a:solidFill>
                    <a:srgbClr val="777777"/>
                  </a:solidFill>
                </a:endParaRPr>
              </a:p>
            </p:txBody>
          </p:sp>
        </p:grpSp>
        <p:sp>
          <p:nvSpPr>
            <p:cNvPr id="188" name="圓角矩形 70">
              <a:extLst>
                <a:ext uri="{FF2B5EF4-FFF2-40B4-BE49-F238E27FC236}">
                  <a16:creationId xmlns:a16="http://schemas.microsoft.com/office/drawing/2014/main" id="{4DB9B54F-2743-4285-AEF5-384735EB613A}"/>
                </a:ext>
              </a:extLst>
            </p:cNvPr>
            <p:cNvSpPr/>
            <p:nvPr/>
          </p:nvSpPr>
          <p:spPr>
            <a:xfrm>
              <a:off x="4393974" y="2096900"/>
              <a:ext cx="832766" cy="766697"/>
            </a:xfrm>
            <a:prstGeom prst="roundRect">
              <a:avLst/>
            </a:prstGeom>
            <a:noFill/>
            <a:ln w="12700" cap="flat" cmpd="sng" algn="ctr">
              <a:solidFill>
                <a:srgbClr val="002266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914354">
                <a:defRPr/>
              </a:pPr>
              <a:endParaRPr lang="en-US" altLang="zh-TW" sz="1500" b="1" kern="0" dirty="0">
                <a:solidFill>
                  <a:prstClr val="black"/>
                </a:solidFill>
              </a:endParaRPr>
            </a:p>
          </p:txBody>
        </p:sp>
        <p:sp>
          <p:nvSpPr>
            <p:cNvPr id="189" name="圓角矩形 70">
              <a:extLst>
                <a:ext uri="{FF2B5EF4-FFF2-40B4-BE49-F238E27FC236}">
                  <a16:creationId xmlns:a16="http://schemas.microsoft.com/office/drawing/2014/main" id="{1FC6341C-999B-4077-B80D-45BDBCE77540}"/>
                </a:ext>
              </a:extLst>
            </p:cNvPr>
            <p:cNvSpPr/>
            <p:nvPr/>
          </p:nvSpPr>
          <p:spPr>
            <a:xfrm>
              <a:off x="5462724" y="2057688"/>
              <a:ext cx="832766" cy="766697"/>
            </a:xfrm>
            <a:prstGeom prst="roundRect">
              <a:avLst/>
            </a:prstGeom>
            <a:noFill/>
            <a:ln w="12700" cap="flat" cmpd="sng" algn="ctr">
              <a:solidFill>
                <a:srgbClr val="002266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914354">
                <a:defRPr/>
              </a:pPr>
              <a:endParaRPr lang="en-US" altLang="zh-TW" sz="1500" b="1" kern="0" dirty="0">
                <a:solidFill>
                  <a:prstClr val="black"/>
                </a:solidFill>
              </a:endParaRPr>
            </a:p>
          </p:txBody>
        </p:sp>
        <p:sp>
          <p:nvSpPr>
            <p:cNvPr id="190" name="矩形 189">
              <a:extLst>
                <a:ext uri="{FF2B5EF4-FFF2-40B4-BE49-F238E27FC236}">
                  <a16:creationId xmlns:a16="http://schemas.microsoft.com/office/drawing/2014/main" id="{4D651D85-E4DD-439C-BA8E-F7A8BE4C5AA6}"/>
                </a:ext>
              </a:extLst>
            </p:cNvPr>
            <p:cNvSpPr/>
            <p:nvPr/>
          </p:nvSpPr>
          <p:spPr>
            <a:xfrm>
              <a:off x="3445460" y="2643255"/>
              <a:ext cx="748923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1100" dirty="0">
                  <a:solidFill>
                    <a:srgbClr val="777777"/>
                  </a:solidFill>
                </a:rPr>
                <a:t>多式联运</a:t>
              </a:r>
            </a:p>
          </p:txBody>
        </p:sp>
        <p:sp>
          <p:nvSpPr>
            <p:cNvPr id="191" name="矩形 190">
              <a:extLst>
                <a:ext uri="{FF2B5EF4-FFF2-40B4-BE49-F238E27FC236}">
                  <a16:creationId xmlns:a16="http://schemas.microsoft.com/office/drawing/2014/main" id="{C5BD3D2F-0D64-498D-8878-9AFEEABC5A4B}"/>
                </a:ext>
              </a:extLst>
            </p:cNvPr>
            <p:cNvSpPr/>
            <p:nvPr/>
          </p:nvSpPr>
          <p:spPr>
            <a:xfrm>
              <a:off x="1233850" y="2416788"/>
              <a:ext cx="319452" cy="2174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自有仓</a:t>
              </a:r>
            </a:p>
          </p:txBody>
        </p:sp>
        <p:sp>
          <p:nvSpPr>
            <p:cNvPr id="192" name="矩形 191">
              <a:extLst>
                <a:ext uri="{FF2B5EF4-FFF2-40B4-BE49-F238E27FC236}">
                  <a16:creationId xmlns:a16="http://schemas.microsoft.com/office/drawing/2014/main" id="{084F14EC-28CA-4E44-A116-28C9C7230DF3}"/>
                </a:ext>
              </a:extLst>
            </p:cNvPr>
            <p:cNvSpPr/>
            <p:nvPr/>
          </p:nvSpPr>
          <p:spPr>
            <a:xfrm>
              <a:off x="1652094" y="2428371"/>
              <a:ext cx="319452" cy="2174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商家</a:t>
              </a:r>
              <a:r>
                <a:rPr lang="en-US" altLang="zh-CN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/</a:t>
              </a:r>
            </a:p>
            <a:p>
              <a:pPr algn="ctr" defTabSz="914354"/>
              <a:r>
                <a:rPr lang="en-US" altLang="zh-CN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3PL</a:t>
              </a:r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仓</a:t>
              </a:r>
            </a:p>
          </p:txBody>
        </p:sp>
        <p:sp>
          <p:nvSpPr>
            <p:cNvPr id="193" name="矩形 192">
              <a:extLst>
                <a:ext uri="{FF2B5EF4-FFF2-40B4-BE49-F238E27FC236}">
                  <a16:creationId xmlns:a16="http://schemas.microsoft.com/office/drawing/2014/main" id="{EC9FFB0A-8ECA-4C17-8EB2-E25A1E7E2377}"/>
                </a:ext>
              </a:extLst>
            </p:cNvPr>
            <p:cNvSpPr/>
            <p:nvPr/>
          </p:nvSpPr>
          <p:spPr>
            <a:xfrm>
              <a:off x="3438576" y="2356130"/>
              <a:ext cx="248121" cy="1548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航空</a:t>
              </a:r>
            </a:p>
          </p:txBody>
        </p:sp>
        <p:sp>
          <p:nvSpPr>
            <p:cNvPr id="194" name="矩形 193">
              <a:extLst>
                <a:ext uri="{FF2B5EF4-FFF2-40B4-BE49-F238E27FC236}">
                  <a16:creationId xmlns:a16="http://schemas.microsoft.com/office/drawing/2014/main" id="{4F4A5C8D-1751-4C9C-BB1E-1F04A339FA5E}"/>
                </a:ext>
              </a:extLst>
            </p:cNvPr>
            <p:cNvSpPr/>
            <p:nvPr/>
          </p:nvSpPr>
          <p:spPr>
            <a:xfrm>
              <a:off x="3747618" y="2339347"/>
              <a:ext cx="255819" cy="1548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公路</a:t>
              </a:r>
            </a:p>
          </p:txBody>
        </p:sp>
        <p:sp>
          <p:nvSpPr>
            <p:cNvPr id="195" name="矩形 194">
              <a:extLst>
                <a:ext uri="{FF2B5EF4-FFF2-40B4-BE49-F238E27FC236}">
                  <a16:creationId xmlns:a16="http://schemas.microsoft.com/office/drawing/2014/main" id="{10FB348B-D57C-452D-9630-D724448A520A}"/>
                </a:ext>
              </a:extLst>
            </p:cNvPr>
            <p:cNvSpPr/>
            <p:nvPr/>
          </p:nvSpPr>
          <p:spPr>
            <a:xfrm>
              <a:off x="3438576" y="2552090"/>
              <a:ext cx="255819" cy="1548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铁路</a:t>
              </a:r>
            </a:p>
          </p:txBody>
        </p:sp>
        <p:sp>
          <p:nvSpPr>
            <p:cNvPr id="196" name="矩形 195">
              <a:extLst>
                <a:ext uri="{FF2B5EF4-FFF2-40B4-BE49-F238E27FC236}">
                  <a16:creationId xmlns:a16="http://schemas.microsoft.com/office/drawing/2014/main" id="{3284E6BE-E9E7-4103-8EBD-57B7826DCEA3}"/>
                </a:ext>
              </a:extLst>
            </p:cNvPr>
            <p:cNvSpPr/>
            <p:nvPr/>
          </p:nvSpPr>
          <p:spPr>
            <a:xfrm>
              <a:off x="4552872" y="2643255"/>
              <a:ext cx="607859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1100" dirty="0">
                  <a:solidFill>
                    <a:srgbClr val="777777"/>
                  </a:solidFill>
                  <a:cs typeface="+mn-ea"/>
                  <a:sym typeface="+mn-lt"/>
                </a:rPr>
                <a:t>云终端</a:t>
              </a:r>
              <a:endParaRPr lang="zh-CN" altLang="en-US" sz="1100" dirty="0">
                <a:solidFill>
                  <a:srgbClr val="777777"/>
                </a:solidFill>
              </a:endParaRPr>
            </a:p>
          </p:txBody>
        </p:sp>
        <p:sp>
          <p:nvSpPr>
            <p:cNvPr id="197" name="矩形 196">
              <a:extLst>
                <a:ext uri="{FF2B5EF4-FFF2-40B4-BE49-F238E27FC236}">
                  <a16:creationId xmlns:a16="http://schemas.microsoft.com/office/drawing/2014/main" id="{42DD8BBF-5153-4D36-AE3C-0D0A275790F8}"/>
                </a:ext>
              </a:extLst>
            </p:cNvPr>
            <p:cNvSpPr/>
            <p:nvPr/>
          </p:nvSpPr>
          <p:spPr>
            <a:xfrm>
              <a:off x="5732927" y="2622187"/>
              <a:ext cx="46679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1100" dirty="0">
                  <a:solidFill>
                    <a:srgbClr val="777777"/>
                  </a:solidFill>
                </a:rPr>
                <a:t>众配</a:t>
              </a:r>
            </a:p>
          </p:txBody>
        </p:sp>
        <p:pic>
          <p:nvPicPr>
            <p:cNvPr id="198" name="图片 197">
              <a:extLst>
                <a:ext uri="{FF2B5EF4-FFF2-40B4-BE49-F238E27FC236}">
                  <a16:creationId xmlns:a16="http://schemas.microsoft.com/office/drawing/2014/main" id="{34F2737A-6A7A-4B2B-9358-6F8E6AE42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4207" y="2138740"/>
              <a:ext cx="319453" cy="242970"/>
            </a:xfrm>
            <a:prstGeom prst="rect">
              <a:avLst/>
            </a:prstGeom>
          </p:spPr>
        </p:pic>
        <p:sp>
          <p:nvSpPr>
            <p:cNvPr id="199" name="矩形 198">
              <a:extLst>
                <a:ext uri="{FF2B5EF4-FFF2-40B4-BE49-F238E27FC236}">
                  <a16:creationId xmlns:a16="http://schemas.microsoft.com/office/drawing/2014/main" id="{009E7AFF-6143-475F-9E14-C4C2C434E967}"/>
                </a:ext>
              </a:extLst>
            </p:cNvPr>
            <p:cNvSpPr/>
            <p:nvPr/>
          </p:nvSpPr>
          <p:spPr>
            <a:xfrm>
              <a:off x="5578305" y="2371686"/>
              <a:ext cx="270429" cy="2358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自有</a:t>
              </a:r>
              <a:endParaRPr lang="en-US" altLang="zh-CN" sz="800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  <a:sym typeface="+mn-lt"/>
              </a:endParaRPr>
            </a:p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人员</a:t>
              </a:r>
            </a:p>
          </p:txBody>
        </p:sp>
        <p:sp>
          <p:nvSpPr>
            <p:cNvPr id="200" name="矩形 199">
              <a:extLst>
                <a:ext uri="{FF2B5EF4-FFF2-40B4-BE49-F238E27FC236}">
                  <a16:creationId xmlns:a16="http://schemas.microsoft.com/office/drawing/2014/main" id="{550EBE9C-8A99-46BF-8C66-7AB54E221EBB}"/>
                </a:ext>
              </a:extLst>
            </p:cNvPr>
            <p:cNvSpPr/>
            <p:nvPr/>
          </p:nvSpPr>
          <p:spPr>
            <a:xfrm>
              <a:off x="5964539" y="2376673"/>
              <a:ext cx="255819" cy="2227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社会</a:t>
              </a:r>
              <a:endParaRPr lang="en-US" altLang="zh-CN" sz="800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  <a:sym typeface="+mn-lt"/>
              </a:endParaRPr>
            </a:p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众包</a:t>
              </a:r>
            </a:p>
          </p:txBody>
        </p:sp>
        <p:pic>
          <p:nvPicPr>
            <p:cNvPr id="201" name="Picture 65">
              <a:extLst>
                <a:ext uri="{FF2B5EF4-FFF2-40B4-BE49-F238E27FC236}">
                  <a16:creationId xmlns:a16="http://schemas.microsoft.com/office/drawing/2014/main" id="{3BC14222-AE6F-46DC-9FB3-F636DA1F7A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4753" y="2064078"/>
              <a:ext cx="220267" cy="260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2" name="矩形 201">
              <a:extLst>
                <a:ext uri="{FF2B5EF4-FFF2-40B4-BE49-F238E27FC236}">
                  <a16:creationId xmlns:a16="http://schemas.microsoft.com/office/drawing/2014/main" id="{5ACECB64-0A6F-4B69-85F5-9D091F721AAB}"/>
                </a:ext>
              </a:extLst>
            </p:cNvPr>
            <p:cNvSpPr/>
            <p:nvPr/>
          </p:nvSpPr>
          <p:spPr>
            <a:xfrm>
              <a:off x="4424371" y="2421813"/>
              <a:ext cx="248121" cy="2209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配送站</a:t>
              </a:r>
            </a:p>
          </p:txBody>
        </p:sp>
        <p:sp>
          <p:nvSpPr>
            <p:cNvPr id="203" name="矩形 202">
              <a:extLst>
                <a:ext uri="{FF2B5EF4-FFF2-40B4-BE49-F238E27FC236}">
                  <a16:creationId xmlns:a16="http://schemas.microsoft.com/office/drawing/2014/main" id="{201E2254-6653-48AE-81CB-BCFD904E7630}"/>
                </a:ext>
              </a:extLst>
            </p:cNvPr>
            <p:cNvSpPr/>
            <p:nvPr/>
          </p:nvSpPr>
          <p:spPr>
            <a:xfrm>
              <a:off x="4687285" y="2426800"/>
              <a:ext cx="255819" cy="2227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自提柜</a:t>
              </a:r>
            </a:p>
          </p:txBody>
        </p:sp>
        <p:sp>
          <p:nvSpPr>
            <p:cNvPr id="204" name="矩形 203">
              <a:extLst>
                <a:ext uri="{FF2B5EF4-FFF2-40B4-BE49-F238E27FC236}">
                  <a16:creationId xmlns:a16="http://schemas.microsoft.com/office/drawing/2014/main" id="{22D8D42E-9EB3-4F19-A9BC-B5EEBF1E1BB4}"/>
                </a:ext>
              </a:extLst>
            </p:cNvPr>
            <p:cNvSpPr/>
            <p:nvPr/>
          </p:nvSpPr>
          <p:spPr>
            <a:xfrm>
              <a:off x="4957897" y="2433775"/>
              <a:ext cx="255819" cy="2227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便利店</a:t>
              </a:r>
            </a:p>
          </p:txBody>
        </p:sp>
        <p:sp>
          <p:nvSpPr>
            <p:cNvPr id="205" name="矩形 204">
              <a:extLst>
                <a:ext uri="{FF2B5EF4-FFF2-40B4-BE49-F238E27FC236}">
                  <a16:creationId xmlns:a16="http://schemas.microsoft.com/office/drawing/2014/main" id="{8E730A47-5B38-4DCE-AB5D-1BAEC7AF6CB9}"/>
                </a:ext>
              </a:extLst>
            </p:cNvPr>
            <p:cNvSpPr/>
            <p:nvPr/>
          </p:nvSpPr>
          <p:spPr>
            <a:xfrm>
              <a:off x="3747618" y="2551152"/>
              <a:ext cx="255819" cy="1548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海运</a:t>
              </a:r>
            </a:p>
          </p:txBody>
        </p:sp>
        <p:sp>
          <p:nvSpPr>
            <p:cNvPr id="206" name="圓角矩形 70">
              <a:extLst>
                <a:ext uri="{FF2B5EF4-FFF2-40B4-BE49-F238E27FC236}">
                  <a16:creationId xmlns:a16="http://schemas.microsoft.com/office/drawing/2014/main" id="{C405A8BD-EFB5-428C-B658-A00F388F069B}"/>
                </a:ext>
              </a:extLst>
            </p:cNvPr>
            <p:cNvSpPr/>
            <p:nvPr/>
          </p:nvSpPr>
          <p:spPr>
            <a:xfrm>
              <a:off x="2256470" y="2128805"/>
              <a:ext cx="832766" cy="766697"/>
            </a:xfrm>
            <a:prstGeom prst="roundRect">
              <a:avLst/>
            </a:prstGeom>
            <a:noFill/>
            <a:ln w="12700" cap="flat" cmpd="sng" algn="ctr">
              <a:solidFill>
                <a:srgbClr val="002266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914354">
                <a:defRPr/>
              </a:pPr>
              <a:endParaRPr lang="en-US" altLang="zh-TW" sz="1500" b="1" kern="0" dirty="0">
                <a:solidFill>
                  <a:prstClr val="black"/>
                </a:solidFill>
              </a:endParaRPr>
            </a:p>
          </p:txBody>
        </p:sp>
        <p:cxnSp>
          <p:nvCxnSpPr>
            <p:cNvPr id="207" name="直接箭头连接符 206">
              <a:extLst>
                <a:ext uri="{FF2B5EF4-FFF2-40B4-BE49-F238E27FC236}">
                  <a16:creationId xmlns:a16="http://schemas.microsoft.com/office/drawing/2014/main" id="{2C3954D2-9CE9-4AFB-9BEA-37697B94F74A}"/>
                </a:ext>
              </a:extLst>
            </p:cNvPr>
            <p:cNvCxnSpPr/>
            <p:nvPr/>
          </p:nvCxnSpPr>
          <p:spPr bwMode="auto">
            <a:xfrm>
              <a:off x="3106376" y="2537715"/>
              <a:ext cx="178158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208" name="Picture 1266">
              <a:extLst>
                <a:ext uri="{FF2B5EF4-FFF2-40B4-BE49-F238E27FC236}">
                  <a16:creationId xmlns:a16="http://schemas.microsoft.com/office/drawing/2014/main" id="{631067FC-F2EF-461A-8A52-59B3000043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6587" y="2166436"/>
              <a:ext cx="400198" cy="3376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9" name="矩形 208">
              <a:extLst>
                <a:ext uri="{FF2B5EF4-FFF2-40B4-BE49-F238E27FC236}">
                  <a16:creationId xmlns:a16="http://schemas.microsoft.com/office/drawing/2014/main" id="{C326920B-E6D9-4917-8E86-6D028271439F}"/>
                </a:ext>
              </a:extLst>
            </p:cNvPr>
            <p:cNvSpPr/>
            <p:nvPr/>
          </p:nvSpPr>
          <p:spPr>
            <a:xfrm>
              <a:off x="2453935" y="2643255"/>
              <a:ext cx="607859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54"/>
              <a:r>
                <a:rPr lang="zh-CN" altLang="en-US" sz="1100" dirty="0">
                  <a:solidFill>
                    <a:srgbClr val="777777"/>
                  </a:solidFill>
                  <a:cs typeface="+mn-ea"/>
                  <a:sym typeface="+mn-lt"/>
                </a:rPr>
                <a:t>云枢纽</a:t>
              </a:r>
              <a:endParaRPr lang="zh-CN" altLang="en-US" sz="1100" dirty="0">
                <a:solidFill>
                  <a:srgbClr val="777777"/>
                </a:solidFill>
              </a:endParaRPr>
            </a:p>
          </p:txBody>
        </p:sp>
        <p:cxnSp>
          <p:nvCxnSpPr>
            <p:cNvPr id="210" name="直接箭头连接符 209">
              <a:extLst>
                <a:ext uri="{FF2B5EF4-FFF2-40B4-BE49-F238E27FC236}">
                  <a16:creationId xmlns:a16="http://schemas.microsoft.com/office/drawing/2014/main" id="{DF635ECC-0842-457C-A1BE-CCA209AE0225}"/>
                </a:ext>
              </a:extLst>
            </p:cNvPr>
            <p:cNvCxnSpPr/>
            <p:nvPr/>
          </p:nvCxnSpPr>
          <p:spPr bwMode="auto">
            <a:xfrm>
              <a:off x="4197784" y="2523173"/>
              <a:ext cx="178158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1" name="直接箭头连接符 210">
              <a:extLst>
                <a:ext uri="{FF2B5EF4-FFF2-40B4-BE49-F238E27FC236}">
                  <a16:creationId xmlns:a16="http://schemas.microsoft.com/office/drawing/2014/main" id="{F79B7B14-2D96-404E-B243-2AD201A38407}"/>
                </a:ext>
              </a:extLst>
            </p:cNvPr>
            <p:cNvCxnSpPr/>
            <p:nvPr/>
          </p:nvCxnSpPr>
          <p:spPr bwMode="auto">
            <a:xfrm>
              <a:off x="5289192" y="2508631"/>
              <a:ext cx="178158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2" name="矩形 211">
              <a:extLst>
                <a:ext uri="{FF2B5EF4-FFF2-40B4-BE49-F238E27FC236}">
                  <a16:creationId xmlns:a16="http://schemas.microsoft.com/office/drawing/2014/main" id="{4003FA00-4758-4389-A35F-5E91FA6CC605}"/>
                </a:ext>
              </a:extLst>
            </p:cNvPr>
            <p:cNvSpPr/>
            <p:nvPr/>
          </p:nvSpPr>
          <p:spPr>
            <a:xfrm>
              <a:off x="2338997" y="2447242"/>
              <a:ext cx="270429" cy="23584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自有</a:t>
              </a:r>
              <a:endParaRPr lang="en-US" altLang="zh-CN" sz="800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  <a:sym typeface="+mn-lt"/>
              </a:endParaRPr>
            </a:p>
          </p:txBody>
        </p:sp>
        <p:sp>
          <p:nvSpPr>
            <p:cNvPr id="213" name="矩形 212">
              <a:extLst>
                <a:ext uri="{FF2B5EF4-FFF2-40B4-BE49-F238E27FC236}">
                  <a16:creationId xmlns:a16="http://schemas.microsoft.com/office/drawing/2014/main" id="{0DA16816-B909-4A6C-AD62-6A5663078EAF}"/>
                </a:ext>
              </a:extLst>
            </p:cNvPr>
            <p:cNvSpPr/>
            <p:nvPr/>
          </p:nvSpPr>
          <p:spPr>
            <a:xfrm>
              <a:off x="2725231" y="2452229"/>
              <a:ext cx="255819" cy="2227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en-US" altLang="zh-CN" sz="800" dirty="0">
                  <a:solidFill>
                    <a:srgbClr val="777777">
                      <a:lumMod val="95000"/>
                      <a:lumOff val="5000"/>
                    </a:srgbClr>
                  </a:solidFill>
                  <a:cs typeface="+mn-ea"/>
                  <a:sym typeface="+mn-lt"/>
                </a:rPr>
                <a:t>3PL</a:t>
              </a:r>
            </a:p>
          </p:txBody>
        </p:sp>
        <p:sp>
          <p:nvSpPr>
            <p:cNvPr id="223" name="箭头: 上 1">
              <a:extLst>
                <a:ext uri="{FF2B5EF4-FFF2-40B4-BE49-F238E27FC236}">
                  <a16:creationId xmlns:a16="http://schemas.microsoft.com/office/drawing/2014/main" id="{84F34706-F88E-46F1-9324-5306EC53824A}"/>
                </a:ext>
              </a:extLst>
            </p:cNvPr>
            <p:cNvSpPr/>
            <p:nvPr/>
          </p:nvSpPr>
          <p:spPr>
            <a:xfrm>
              <a:off x="4534272" y="3328417"/>
              <a:ext cx="178158" cy="232261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85" name="梯形 84"/>
          <p:cNvSpPr/>
          <p:nvPr/>
        </p:nvSpPr>
        <p:spPr>
          <a:xfrm>
            <a:off x="556028" y="5859823"/>
            <a:ext cx="6273003" cy="410404"/>
          </a:xfrm>
          <a:prstGeom prst="trapezoid">
            <a:avLst>
              <a:gd name="adj" fmla="val 47441"/>
            </a:avLst>
          </a:prstGeom>
          <a:solidFill>
            <a:schemeClr val="bg1">
              <a:lumMod val="75000"/>
              <a:alpha val="56000"/>
            </a:schemeClr>
          </a:solidFill>
          <a:ln>
            <a:noFill/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sp>
        <p:nvSpPr>
          <p:cNvPr id="86" name="文本框 337"/>
          <p:cNvSpPr txBox="1"/>
          <p:nvPr/>
        </p:nvSpPr>
        <p:spPr>
          <a:xfrm>
            <a:off x="3588434" y="5911137"/>
            <a:ext cx="761743" cy="323163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defTabSz="914354"/>
            <a:r>
              <a:rPr lang="zh-CN" altLang="en-US" sz="1500" b="1" dirty="0">
                <a:solidFill>
                  <a:srgbClr val="DA0B1C"/>
                </a:solidFill>
              </a:rPr>
              <a:t>大数据</a:t>
            </a:r>
          </a:p>
        </p:txBody>
      </p:sp>
      <p:sp>
        <p:nvSpPr>
          <p:cNvPr id="87" name="文本框 338"/>
          <p:cNvSpPr txBox="1"/>
          <p:nvPr/>
        </p:nvSpPr>
        <p:spPr>
          <a:xfrm>
            <a:off x="1378382" y="5911137"/>
            <a:ext cx="954103" cy="323163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defTabSz="914354"/>
            <a:r>
              <a:rPr lang="zh-CN" altLang="en-US" sz="1500" b="1" dirty="0">
                <a:solidFill>
                  <a:srgbClr val="DA0B1C"/>
                </a:solidFill>
              </a:rPr>
              <a:t>人工智能</a:t>
            </a:r>
          </a:p>
        </p:txBody>
      </p:sp>
      <p:sp>
        <p:nvSpPr>
          <p:cNvPr id="89" name="big-data_155133">
            <a:extLst>
              <a:ext uri="{FF2B5EF4-FFF2-40B4-BE49-F238E27FC236}">
                <a16:creationId xmlns:a16="http://schemas.microsoft.com/office/drawing/2014/main" id="{949007D2-B648-48DA-BE31-7351314246BB}"/>
              </a:ext>
            </a:extLst>
          </p:cNvPr>
          <p:cNvSpPr>
            <a:spLocks noChangeAspect="1"/>
          </p:cNvSpPr>
          <p:nvPr/>
        </p:nvSpPr>
        <p:spPr bwMode="auto">
          <a:xfrm>
            <a:off x="3234881" y="5903023"/>
            <a:ext cx="294963" cy="324000"/>
          </a:xfrm>
          <a:custGeom>
            <a:avLst/>
            <a:gdLst>
              <a:gd name="connsiteX0" fmla="*/ 91177 w 607614"/>
              <a:gd name="connsiteY0" fmla="*/ 495271 h 606761"/>
              <a:gd name="connsiteX1" fmla="*/ 70673 w 607614"/>
              <a:gd name="connsiteY1" fmla="*/ 515749 h 606761"/>
              <a:gd name="connsiteX2" fmla="*/ 91177 w 607614"/>
              <a:gd name="connsiteY2" fmla="*/ 536227 h 606761"/>
              <a:gd name="connsiteX3" fmla="*/ 111680 w 607614"/>
              <a:gd name="connsiteY3" fmla="*/ 515749 h 606761"/>
              <a:gd name="connsiteX4" fmla="*/ 91177 w 607614"/>
              <a:gd name="connsiteY4" fmla="*/ 495271 h 606761"/>
              <a:gd name="connsiteX5" fmla="*/ 516437 w 607614"/>
              <a:gd name="connsiteY5" fmla="*/ 414877 h 606761"/>
              <a:gd name="connsiteX6" fmla="*/ 495934 w 607614"/>
              <a:gd name="connsiteY6" fmla="*/ 434596 h 606761"/>
              <a:gd name="connsiteX7" fmla="*/ 516437 w 607614"/>
              <a:gd name="connsiteY7" fmla="*/ 455074 h 606761"/>
              <a:gd name="connsiteX8" fmla="*/ 536941 w 607614"/>
              <a:gd name="connsiteY8" fmla="*/ 434596 h 606761"/>
              <a:gd name="connsiteX9" fmla="*/ 516437 w 607614"/>
              <a:gd name="connsiteY9" fmla="*/ 414877 h 606761"/>
              <a:gd name="connsiteX10" fmla="*/ 172432 w 607614"/>
              <a:gd name="connsiteY10" fmla="*/ 313247 h 606761"/>
              <a:gd name="connsiteX11" fmla="*/ 151928 w 607614"/>
              <a:gd name="connsiteY11" fmla="*/ 333724 h 606761"/>
              <a:gd name="connsiteX12" fmla="*/ 172432 w 607614"/>
              <a:gd name="connsiteY12" fmla="*/ 354202 h 606761"/>
              <a:gd name="connsiteX13" fmla="*/ 192176 w 607614"/>
              <a:gd name="connsiteY13" fmla="*/ 333724 h 606761"/>
              <a:gd name="connsiteX14" fmla="*/ 172432 w 607614"/>
              <a:gd name="connsiteY14" fmla="*/ 313247 h 606761"/>
              <a:gd name="connsiteX15" fmla="*/ 303807 w 607614"/>
              <a:gd name="connsiteY15" fmla="*/ 293527 h 606761"/>
              <a:gd name="connsiteX16" fmla="*/ 283303 w 607614"/>
              <a:gd name="connsiteY16" fmla="*/ 313247 h 606761"/>
              <a:gd name="connsiteX17" fmla="*/ 303807 w 607614"/>
              <a:gd name="connsiteY17" fmla="*/ 333724 h 606761"/>
              <a:gd name="connsiteX18" fmla="*/ 324311 w 607614"/>
              <a:gd name="connsiteY18" fmla="*/ 313247 h 606761"/>
              <a:gd name="connsiteX19" fmla="*/ 303807 w 607614"/>
              <a:gd name="connsiteY19" fmla="*/ 293527 h 606761"/>
              <a:gd name="connsiteX20" fmla="*/ 415438 w 607614"/>
              <a:gd name="connsiteY20" fmla="*/ 212375 h 606761"/>
              <a:gd name="connsiteX21" fmla="*/ 394934 w 607614"/>
              <a:gd name="connsiteY21" fmla="*/ 232852 h 606761"/>
              <a:gd name="connsiteX22" fmla="*/ 415438 w 607614"/>
              <a:gd name="connsiteY22" fmla="*/ 252572 h 606761"/>
              <a:gd name="connsiteX23" fmla="*/ 435182 w 607614"/>
              <a:gd name="connsiteY23" fmla="*/ 232852 h 606761"/>
              <a:gd name="connsiteX24" fmla="*/ 415438 w 607614"/>
              <a:gd name="connsiteY24" fmla="*/ 212375 h 606761"/>
              <a:gd name="connsiteX25" fmla="*/ 415438 w 607614"/>
              <a:gd name="connsiteY25" fmla="*/ 191897 h 606761"/>
              <a:gd name="connsiteX26" fmla="*/ 455686 w 607614"/>
              <a:gd name="connsiteY26" fmla="*/ 232852 h 606761"/>
              <a:gd name="connsiteX27" fmla="*/ 425310 w 607614"/>
              <a:gd name="connsiteY27" fmla="*/ 272291 h 606761"/>
              <a:gd name="connsiteX28" fmla="*/ 425310 w 607614"/>
              <a:gd name="connsiteY28" fmla="*/ 424737 h 606761"/>
              <a:gd name="connsiteX29" fmla="*/ 476949 w 607614"/>
              <a:gd name="connsiteY29" fmla="*/ 424737 h 606761"/>
              <a:gd name="connsiteX30" fmla="*/ 516437 w 607614"/>
              <a:gd name="connsiteY30" fmla="*/ 394399 h 606761"/>
              <a:gd name="connsiteX31" fmla="*/ 556685 w 607614"/>
              <a:gd name="connsiteY31" fmla="*/ 434596 h 606761"/>
              <a:gd name="connsiteX32" fmla="*/ 516437 w 607614"/>
              <a:gd name="connsiteY32" fmla="*/ 475552 h 606761"/>
              <a:gd name="connsiteX33" fmla="*/ 476949 w 607614"/>
              <a:gd name="connsiteY33" fmla="*/ 445214 h 606761"/>
              <a:gd name="connsiteX34" fmla="*/ 313679 w 607614"/>
              <a:gd name="connsiteY34" fmla="*/ 445214 h 606761"/>
              <a:gd name="connsiteX35" fmla="*/ 313679 w 607614"/>
              <a:gd name="connsiteY35" fmla="*/ 606761 h 606761"/>
              <a:gd name="connsiteX36" fmla="*/ 293935 w 607614"/>
              <a:gd name="connsiteY36" fmla="*/ 606761 h 606761"/>
              <a:gd name="connsiteX37" fmla="*/ 293935 w 607614"/>
              <a:gd name="connsiteY37" fmla="*/ 525608 h 606761"/>
              <a:gd name="connsiteX38" fmla="*/ 130665 w 607614"/>
              <a:gd name="connsiteY38" fmla="*/ 525608 h 606761"/>
              <a:gd name="connsiteX39" fmla="*/ 91177 w 607614"/>
              <a:gd name="connsiteY39" fmla="*/ 555946 h 606761"/>
              <a:gd name="connsiteX40" fmla="*/ 50929 w 607614"/>
              <a:gd name="connsiteY40" fmla="*/ 515749 h 606761"/>
              <a:gd name="connsiteX41" fmla="*/ 91177 w 607614"/>
              <a:gd name="connsiteY41" fmla="*/ 475552 h 606761"/>
              <a:gd name="connsiteX42" fmla="*/ 130665 w 607614"/>
              <a:gd name="connsiteY42" fmla="*/ 505889 h 606761"/>
              <a:gd name="connsiteX43" fmla="*/ 161800 w 607614"/>
              <a:gd name="connsiteY43" fmla="*/ 505889 h 606761"/>
              <a:gd name="connsiteX44" fmla="*/ 161800 w 607614"/>
              <a:gd name="connsiteY44" fmla="*/ 373163 h 606761"/>
              <a:gd name="connsiteX45" fmla="*/ 131425 w 607614"/>
              <a:gd name="connsiteY45" fmla="*/ 333724 h 606761"/>
              <a:gd name="connsiteX46" fmla="*/ 172432 w 607614"/>
              <a:gd name="connsiteY46" fmla="*/ 293527 h 606761"/>
              <a:gd name="connsiteX47" fmla="*/ 212680 w 607614"/>
              <a:gd name="connsiteY47" fmla="*/ 333724 h 606761"/>
              <a:gd name="connsiteX48" fmla="*/ 182304 w 607614"/>
              <a:gd name="connsiteY48" fmla="*/ 373163 h 606761"/>
              <a:gd name="connsiteX49" fmla="*/ 182304 w 607614"/>
              <a:gd name="connsiteY49" fmla="*/ 505889 h 606761"/>
              <a:gd name="connsiteX50" fmla="*/ 293935 w 607614"/>
              <a:gd name="connsiteY50" fmla="*/ 505889 h 606761"/>
              <a:gd name="connsiteX51" fmla="*/ 293935 w 607614"/>
              <a:gd name="connsiteY51" fmla="*/ 352685 h 606761"/>
              <a:gd name="connsiteX52" fmla="*/ 263559 w 607614"/>
              <a:gd name="connsiteY52" fmla="*/ 313247 h 606761"/>
              <a:gd name="connsiteX53" fmla="*/ 303807 w 607614"/>
              <a:gd name="connsiteY53" fmla="*/ 273050 h 606761"/>
              <a:gd name="connsiteX54" fmla="*/ 344055 w 607614"/>
              <a:gd name="connsiteY54" fmla="*/ 313247 h 606761"/>
              <a:gd name="connsiteX55" fmla="*/ 313679 w 607614"/>
              <a:gd name="connsiteY55" fmla="*/ 352685 h 606761"/>
              <a:gd name="connsiteX56" fmla="*/ 313679 w 607614"/>
              <a:gd name="connsiteY56" fmla="*/ 424737 h 606761"/>
              <a:gd name="connsiteX57" fmla="*/ 404806 w 607614"/>
              <a:gd name="connsiteY57" fmla="*/ 424737 h 606761"/>
              <a:gd name="connsiteX58" fmla="*/ 404806 w 607614"/>
              <a:gd name="connsiteY58" fmla="*/ 272291 h 606761"/>
              <a:gd name="connsiteX59" fmla="*/ 374431 w 607614"/>
              <a:gd name="connsiteY59" fmla="*/ 232852 h 606761"/>
              <a:gd name="connsiteX60" fmla="*/ 415438 w 607614"/>
              <a:gd name="connsiteY60" fmla="*/ 191897 h 606761"/>
              <a:gd name="connsiteX61" fmla="*/ 283300 w 607614"/>
              <a:gd name="connsiteY61" fmla="*/ 111492 h 606761"/>
              <a:gd name="connsiteX62" fmla="*/ 283300 w 607614"/>
              <a:gd name="connsiteY62" fmla="*/ 141830 h 606761"/>
              <a:gd name="connsiteX63" fmla="*/ 546853 w 607614"/>
              <a:gd name="connsiteY63" fmla="*/ 141830 h 606761"/>
              <a:gd name="connsiteX64" fmla="*/ 546853 w 607614"/>
              <a:gd name="connsiteY64" fmla="*/ 111492 h 606761"/>
              <a:gd name="connsiteX65" fmla="*/ 9874 w 607614"/>
              <a:gd name="connsiteY65" fmla="*/ 0 h 606761"/>
              <a:gd name="connsiteX66" fmla="*/ 273426 w 607614"/>
              <a:gd name="connsiteY66" fmla="*/ 0 h 606761"/>
              <a:gd name="connsiteX67" fmla="*/ 283300 w 607614"/>
              <a:gd name="connsiteY67" fmla="*/ 9860 h 606761"/>
              <a:gd name="connsiteX68" fmla="*/ 283300 w 607614"/>
              <a:gd name="connsiteY68" fmla="*/ 91014 h 606761"/>
              <a:gd name="connsiteX69" fmla="*/ 556726 w 607614"/>
              <a:gd name="connsiteY69" fmla="*/ 91014 h 606761"/>
              <a:gd name="connsiteX70" fmla="*/ 567360 w 607614"/>
              <a:gd name="connsiteY70" fmla="*/ 100874 h 606761"/>
              <a:gd name="connsiteX71" fmla="*/ 567360 w 607614"/>
              <a:gd name="connsiteY71" fmla="*/ 141830 h 606761"/>
              <a:gd name="connsiteX72" fmla="*/ 597740 w 607614"/>
              <a:gd name="connsiteY72" fmla="*/ 141830 h 606761"/>
              <a:gd name="connsiteX73" fmla="*/ 607614 w 607614"/>
              <a:gd name="connsiteY73" fmla="*/ 151690 h 606761"/>
              <a:gd name="connsiteX74" fmla="*/ 607614 w 607614"/>
              <a:gd name="connsiteY74" fmla="*/ 606761 h 606761"/>
              <a:gd name="connsiteX75" fmla="*/ 587107 w 607614"/>
              <a:gd name="connsiteY75" fmla="*/ 606761 h 606761"/>
              <a:gd name="connsiteX76" fmla="*/ 587107 w 607614"/>
              <a:gd name="connsiteY76" fmla="*/ 161550 h 606761"/>
              <a:gd name="connsiteX77" fmla="*/ 556726 w 607614"/>
              <a:gd name="connsiteY77" fmla="*/ 161550 h 606761"/>
              <a:gd name="connsiteX78" fmla="*/ 273426 w 607614"/>
              <a:gd name="connsiteY78" fmla="*/ 161550 h 606761"/>
              <a:gd name="connsiteX79" fmla="*/ 81268 w 607614"/>
              <a:gd name="connsiteY79" fmla="*/ 161550 h 606761"/>
              <a:gd name="connsiteX80" fmla="*/ 81268 w 607614"/>
              <a:gd name="connsiteY80" fmla="*/ 141830 h 606761"/>
              <a:gd name="connsiteX81" fmla="*/ 263553 w 607614"/>
              <a:gd name="connsiteY81" fmla="*/ 141830 h 606761"/>
              <a:gd name="connsiteX82" fmla="*/ 263553 w 607614"/>
              <a:gd name="connsiteY82" fmla="*/ 100874 h 606761"/>
              <a:gd name="connsiteX83" fmla="*/ 263553 w 607614"/>
              <a:gd name="connsiteY83" fmla="*/ 20478 h 606761"/>
              <a:gd name="connsiteX84" fmla="*/ 20507 w 607614"/>
              <a:gd name="connsiteY84" fmla="*/ 20478 h 606761"/>
              <a:gd name="connsiteX85" fmla="*/ 20507 w 607614"/>
              <a:gd name="connsiteY85" fmla="*/ 606761 h 606761"/>
              <a:gd name="connsiteX86" fmla="*/ 0 w 607614"/>
              <a:gd name="connsiteY86" fmla="*/ 606761 h 606761"/>
              <a:gd name="connsiteX87" fmla="*/ 0 w 607614"/>
              <a:gd name="connsiteY87" fmla="*/ 9860 h 606761"/>
              <a:gd name="connsiteX88" fmla="*/ 9874 w 607614"/>
              <a:gd name="connsiteY88" fmla="*/ 0 h 60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607614" h="606761">
                <a:moveTo>
                  <a:pt x="91177" y="495271"/>
                </a:moveTo>
                <a:cubicBezTo>
                  <a:pt x="79786" y="495271"/>
                  <a:pt x="70673" y="504372"/>
                  <a:pt x="70673" y="515749"/>
                </a:cubicBezTo>
                <a:cubicBezTo>
                  <a:pt x="70673" y="527125"/>
                  <a:pt x="79786" y="536227"/>
                  <a:pt x="91177" y="536227"/>
                </a:cubicBezTo>
                <a:cubicBezTo>
                  <a:pt x="102568" y="536227"/>
                  <a:pt x="111680" y="527125"/>
                  <a:pt x="111680" y="515749"/>
                </a:cubicBezTo>
                <a:cubicBezTo>
                  <a:pt x="111680" y="504372"/>
                  <a:pt x="102568" y="495271"/>
                  <a:pt x="91177" y="495271"/>
                </a:cubicBezTo>
                <a:close/>
                <a:moveTo>
                  <a:pt x="516437" y="414877"/>
                </a:moveTo>
                <a:cubicBezTo>
                  <a:pt x="505046" y="414877"/>
                  <a:pt x="495934" y="423978"/>
                  <a:pt x="495934" y="434596"/>
                </a:cubicBezTo>
                <a:cubicBezTo>
                  <a:pt x="495934" y="445973"/>
                  <a:pt x="505046" y="455074"/>
                  <a:pt x="516437" y="455074"/>
                </a:cubicBezTo>
                <a:cubicBezTo>
                  <a:pt x="527828" y="455074"/>
                  <a:pt x="536941" y="445973"/>
                  <a:pt x="536941" y="434596"/>
                </a:cubicBezTo>
                <a:cubicBezTo>
                  <a:pt x="536941" y="423978"/>
                  <a:pt x="527828" y="414877"/>
                  <a:pt x="516437" y="414877"/>
                </a:cubicBezTo>
                <a:close/>
                <a:moveTo>
                  <a:pt x="172432" y="313247"/>
                </a:moveTo>
                <a:cubicBezTo>
                  <a:pt x="161041" y="313247"/>
                  <a:pt x="151928" y="322348"/>
                  <a:pt x="151928" y="333724"/>
                </a:cubicBezTo>
                <a:cubicBezTo>
                  <a:pt x="151928" y="345101"/>
                  <a:pt x="161041" y="354202"/>
                  <a:pt x="172432" y="354202"/>
                </a:cubicBezTo>
                <a:cubicBezTo>
                  <a:pt x="183063" y="354202"/>
                  <a:pt x="192176" y="345101"/>
                  <a:pt x="192176" y="333724"/>
                </a:cubicBezTo>
                <a:cubicBezTo>
                  <a:pt x="192176" y="322348"/>
                  <a:pt x="183063" y="313247"/>
                  <a:pt x="172432" y="313247"/>
                </a:cubicBezTo>
                <a:close/>
                <a:moveTo>
                  <a:pt x="303807" y="293527"/>
                </a:moveTo>
                <a:cubicBezTo>
                  <a:pt x="292416" y="293527"/>
                  <a:pt x="283303" y="302629"/>
                  <a:pt x="283303" y="313247"/>
                </a:cubicBezTo>
                <a:cubicBezTo>
                  <a:pt x="283303" y="324623"/>
                  <a:pt x="292416" y="333724"/>
                  <a:pt x="303807" y="333724"/>
                </a:cubicBezTo>
                <a:cubicBezTo>
                  <a:pt x="315198" y="333724"/>
                  <a:pt x="324311" y="324623"/>
                  <a:pt x="324311" y="313247"/>
                </a:cubicBezTo>
                <a:cubicBezTo>
                  <a:pt x="324311" y="302629"/>
                  <a:pt x="315198" y="293527"/>
                  <a:pt x="303807" y="293527"/>
                </a:cubicBezTo>
                <a:close/>
                <a:moveTo>
                  <a:pt x="415438" y="212375"/>
                </a:moveTo>
                <a:cubicBezTo>
                  <a:pt x="404047" y="212375"/>
                  <a:pt x="394934" y="221476"/>
                  <a:pt x="394934" y="232852"/>
                </a:cubicBezTo>
                <a:cubicBezTo>
                  <a:pt x="394934" y="243471"/>
                  <a:pt x="404047" y="252572"/>
                  <a:pt x="415438" y="252572"/>
                </a:cubicBezTo>
                <a:cubicBezTo>
                  <a:pt x="426069" y="252572"/>
                  <a:pt x="435182" y="243471"/>
                  <a:pt x="435182" y="232852"/>
                </a:cubicBezTo>
                <a:cubicBezTo>
                  <a:pt x="435182" y="221476"/>
                  <a:pt x="426069" y="212375"/>
                  <a:pt x="415438" y="212375"/>
                </a:cubicBezTo>
                <a:close/>
                <a:moveTo>
                  <a:pt x="415438" y="191897"/>
                </a:moveTo>
                <a:cubicBezTo>
                  <a:pt x="437460" y="191897"/>
                  <a:pt x="455686" y="210099"/>
                  <a:pt x="455686" y="232852"/>
                </a:cubicBezTo>
                <a:cubicBezTo>
                  <a:pt x="455686" y="251813"/>
                  <a:pt x="442776" y="267741"/>
                  <a:pt x="425310" y="272291"/>
                </a:cubicBezTo>
                <a:lnTo>
                  <a:pt x="425310" y="424737"/>
                </a:lnTo>
                <a:lnTo>
                  <a:pt x="476949" y="424737"/>
                </a:lnTo>
                <a:cubicBezTo>
                  <a:pt x="482264" y="407293"/>
                  <a:pt x="497452" y="394399"/>
                  <a:pt x="516437" y="394399"/>
                </a:cubicBezTo>
                <a:cubicBezTo>
                  <a:pt x="538460" y="394399"/>
                  <a:pt x="556685" y="412602"/>
                  <a:pt x="556685" y="434596"/>
                </a:cubicBezTo>
                <a:cubicBezTo>
                  <a:pt x="556685" y="457349"/>
                  <a:pt x="538460" y="475552"/>
                  <a:pt x="516437" y="475552"/>
                </a:cubicBezTo>
                <a:cubicBezTo>
                  <a:pt x="497452" y="475552"/>
                  <a:pt x="480746" y="461900"/>
                  <a:pt x="476949" y="445214"/>
                </a:cubicBezTo>
                <a:lnTo>
                  <a:pt x="313679" y="445214"/>
                </a:lnTo>
                <a:lnTo>
                  <a:pt x="313679" y="606761"/>
                </a:lnTo>
                <a:lnTo>
                  <a:pt x="293935" y="606761"/>
                </a:lnTo>
                <a:lnTo>
                  <a:pt x="293935" y="525608"/>
                </a:lnTo>
                <a:lnTo>
                  <a:pt x="130665" y="525608"/>
                </a:lnTo>
                <a:cubicBezTo>
                  <a:pt x="125350" y="543052"/>
                  <a:pt x="110162" y="555946"/>
                  <a:pt x="91177" y="555946"/>
                </a:cubicBezTo>
                <a:cubicBezTo>
                  <a:pt x="69154" y="555946"/>
                  <a:pt x="50929" y="537743"/>
                  <a:pt x="50929" y="515749"/>
                </a:cubicBezTo>
                <a:cubicBezTo>
                  <a:pt x="50929" y="493754"/>
                  <a:pt x="69154" y="475552"/>
                  <a:pt x="91177" y="475552"/>
                </a:cubicBezTo>
                <a:cubicBezTo>
                  <a:pt x="110162" y="475552"/>
                  <a:pt x="126868" y="488445"/>
                  <a:pt x="130665" y="505889"/>
                </a:cubicBezTo>
                <a:lnTo>
                  <a:pt x="161800" y="505889"/>
                </a:lnTo>
                <a:lnTo>
                  <a:pt x="161800" y="373163"/>
                </a:lnTo>
                <a:cubicBezTo>
                  <a:pt x="145094" y="367854"/>
                  <a:pt x="131425" y="352685"/>
                  <a:pt x="131425" y="333724"/>
                </a:cubicBezTo>
                <a:cubicBezTo>
                  <a:pt x="131425" y="311730"/>
                  <a:pt x="149650" y="293527"/>
                  <a:pt x="172432" y="293527"/>
                </a:cubicBezTo>
                <a:cubicBezTo>
                  <a:pt x="194454" y="293527"/>
                  <a:pt x="212680" y="311730"/>
                  <a:pt x="212680" y="333724"/>
                </a:cubicBezTo>
                <a:cubicBezTo>
                  <a:pt x="212680" y="352685"/>
                  <a:pt x="199770" y="369371"/>
                  <a:pt x="182304" y="373163"/>
                </a:cubicBezTo>
                <a:lnTo>
                  <a:pt x="182304" y="505889"/>
                </a:lnTo>
                <a:lnTo>
                  <a:pt x="293935" y="505889"/>
                </a:lnTo>
                <a:lnTo>
                  <a:pt x="293935" y="352685"/>
                </a:lnTo>
                <a:cubicBezTo>
                  <a:pt x="276469" y="348135"/>
                  <a:pt x="263559" y="332966"/>
                  <a:pt x="263559" y="313247"/>
                </a:cubicBezTo>
                <a:cubicBezTo>
                  <a:pt x="263559" y="291252"/>
                  <a:pt x="281785" y="273050"/>
                  <a:pt x="303807" y="273050"/>
                </a:cubicBezTo>
                <a:cubicBezTo>
                  <a:pt x="325829" y="273050"/>
                  <a:pt x="344055" y="291252"/>
                  <a:pt x="344055" y="313247"/>
                </a:cubicBezTo>
                <a:cubicBezTo>
                  <a:pt x="344055" y="332966"/>
                  <a:pt x="331145" y="348893"/>
                  <a:pt x="313679" y="352685"/>
                </a:cubicBezTo>
                <a:lnTo>
                  <a:pt x="313679" y="424737"/>
                </a:lnTo>
                <a:lnTo>
                  <a:pt x="404806" y="424737"/>
                </a:lnTo>
                <a:lnTo>
                  <a:pt x="404806" y="272291"/>
                </a:lnTo>
                <a:cubicBezTo>
                  <a:pt x="388100" y="266982"/>
                  <a:pt x="374431" y="251813"/>
                  <a:pt x="374431" y="232852"/>
                </a:cubicBezTo>
                <a:cubicBezTo>
                  <a:pt x="374431" y="210099"/>
                  <a:pt x="392656" y="191897"/>
                  <a:pt x="415438" y="191897"/>
                </a:cubicBezTo>
                <a:close/>
                <a:moveTo>
                  <a:pt x="283300" y="111492"/>
                </a:moveTo>
                <a:lnTo>
                  <a:pt x="283300" y="141830"/>
                </a:lnTo>
                <a:lnTo>
                  <a:pt x="546853" y="141830"/>
                </a:lnTo>
                <a:lnTo>
                  <a:pt x="546853" y="111492"/>
                </a:lnTo>
                <a:close/>
                <a:moveTo>
                  <a:pt x="9874" y="0"/>
                </a:moveTo>
                <a:lnTo>
                  <a:pt x="273426" y="0"/>
                </a:lnTo>
                <a:cubicBezTo>
                  <a:pt x="279502" y="0"/>
                  <a:pt x="283300" y="3792"/>
                  <a:pt x="283300" y="9860"/>
                </a:cubicBezTo>
                <a:lnTo>
                  <a:pt x="283300" y="91014"/>
                </a:lnTo>
                <a:lnTo>
                  <a:pt x="556726" y="91014"/>
                </a:lnTo>
                <a:cubicBezTo>
                  <a:pt x="562802" y="91014"/>
                  <a:pt x="567360" y="94806"/>
                  <a:pt x="567360" y="100874"/>
                </a:cubicBezTo>
                <a:lnTo>
                  <a:pt x="567360" y="141830"/>
                </a:lnTo>
                <a:lnTo>
                  <a:pt x="597740" y="141830"/>
                </a:lnTo>
                <a:cubicBezTo>
                  <a:pt x="603816" y="141830"/>
                  <a:pt x="607614" y="145623"/>
                  <a:pt x="607614" y="151690"/>
                </a:cubicBezTo>
                <a:lnTo>
                  <a:pt x="607614" y="606761"/>
                </a:lnTo>
                <a:lnTo>
                  <a:pt x="587107" y="606761"/>
                </a:lnTo>
                <a:lnTo>
                  <a:pt x="587107" y="161550"/>
                </a:lnTo>
                <a:lnTo>
                  <a:pt x="556726" y="161550"/>
                </a:lnTo>
                <a:lnTo>
                  <a:pt x="273426" y="161550"/>
                </a:lnTo>
                <a:lnTo>
                  <a:pt x="81268" y="161550"/>
                </a:lnTo>
                <a:lnTo>
                  <a:pt x="81268" y="141830"/>
                </a:lnTo>
                <a:lnTo>
                  <a:pt x="263553" y="141830"/>
                </a:lnTo>
                <a:lnTo>
                  <a:pt x="263553" y="100874"/>
                </a:lnTo>
                <a:lnTo>
                  <a:pt x="263553" y="20478"/>
                </a:lnTo>
                <a:lnTo>
                  <a:pt x="20507" y="20478"/>
                </a:lnTo>
                <a:lnTo>
                  <a:pt x="20507" y="606761"/>
                </a:lnTo>
                <a:lnTo>
                  <a:pt x="0" y="606761"/>
                </a:lnTo>
                <a:lnTo>
                  <a:pt x="0" y="9860"/>
                </a:lnTo>
                <a:cubicBezTo>
                  <a:pt x="0" y="3792"/>
                  <a:pt x="3798" y="0"/>
                  <a:pt x="9874" y="0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</a:ln>
        </p:spPr>
      </p:sp>
      <p:sp>
        <p:nvSpPr>
          <p:cNvPr id="90" name="artificial-intelligence_314583">
            <a:extLst>
              <a:ext uri="{FF2B5EF4-FFF2-40B4-BE49-F238E27FC236}">
                <a16:creationId xmlns:a16="http://schemas.microsoft.com/office/drawing/2014/main" id="{847444F0-AF80-43FE-92E3-79EAE29D33AB}"/>
              </a:ext>
            </a:extLst>
          </p:cNvPr>
          <p:cNvSpPr>
            <a:spLocks/>
          </p:cNvSpPr>
          <p:nvPr/>
        </p:nvSpPr>
        <p:spPr bwMode="auto">
          <a:xfrm>
            <a:off x="1055356" y="5903023"/>
            <a:ext cx="324000" cy="324000"/>
          </a:xfrm>
          <a:custGeom>
            <a:avLst/>
            <a:gdLst>
              <a:gd name="T0" fmla="*/ 6093 w 6456"/>
              <a:gd name="T1" fmla="*/ 1720 h 6827"/>
              <a:gd name="T2" fmla="*/ 5454 w 6456"/>
              <a:gd name="T3" fmla="*/ 1224 h 6827"/>
              <a:gd name="T4" fmla="*/ 3228 w 6456"/>
              <a:gd name="T5" fmla="*/ 522 h 6827"/>
              <a:gd name="T6" fmla="*/ 1002 w 6456"/>
              <a:gd name="T7" fmla="*/ 1224 h 6827"/>
              <a:gd name="T8" fmla="*/ 364 w 6456"/>
              <a:gd name="T9" fmla="*/ 1720 h 6827"/>
              <a:gd name="T10" fmla="*/ 243 w 6456"/>
              <a:gd name="T11" fmla="*/ 3413 h 6827"/>
              <a:gd name="T12" fmla="*/ 1007 w 6456"/>
              <a:gd name="T13" fmla="*/ 5491 h 6827"/>
              <a:gd name="T14" fmla="*/ 2227 w 6456"/>
              <a:gd name="T15" fmla="*/ 6827 h 6827"/>
              <a:gd name="T16" fmla="*/ 4230 w 6456"/>
              <a:gd name="T17" fmla="*/ 6827 h 6827"/>
              <a:gd name="T18" fmla="*/ 5449 w 6456"/>
              <a:gd name="T19" fmla="*/ 5491 h 6827"/>
              <a:gd name="T20" fmla="*/ 6214 w 6456"/>
              <a:gd name="T21" fmla="*/ 3413 h 6827"/>
              <a:gd name="T22" fmla="*/ 3006 w 6456"/>
              <a:gd name="T23" fmla="*/ 4575 h 6827"/>
              <a:gd name="T24" fmla="*/ 2227 w 6456"/>
              <a:gd name="T25" fmla="*/ 6381 h 6827"/>
              <a:gd name="T26" fmla="*/ 1451 w 6456"/>
              <a:gd name="T27" fmla="*/ 5532 h 6827"/>
              <a:gd name="T28" fmla="*/ 2022 w 6456"/>
              <a:gd name="T29" fmla="*/ 4793 h 6827"/>
              <a:gd name="T30" fmla="*/ 446 w 6456"/>
              <a:gd name="T31" fmla="*/ 4185 h 6827"/>
              <a:gd name="T32" fmla="*/ 1351 w 6456"/>
              <a:gd name="T33" fmla="*/ 3992 h 6827"/>
              <a:gd name="T34" fmla="*/ 446 w 6456"/>
              <a:gd name="T35" fmla="*/ 2642 h 6827"/>
              <a:gd name="T36" fmla="*/ 1797 w 6456"/>
              <a:gd name="T37" fmla="*/ 2371 h 6827"/>
              <a:gd name="T38" fmla="*/ 1447 w 6456"/>
              <a:gd name="T39" fmla="*/ 1224 h 6827"/>
              <a:gd name="T40" fmla="*/ 3006 w 6456"/>
              <a:gd name="T41" fmla="*/ 1224 h 6827"/>
              <a:gd name="T42" fmla="*/ 3006 w 6456"/>
              <a:gd name="T43" fmla="*/ 2562 h 6827"/>
              <a:gd name="T44" fmla="*/ 2822 w 6456"/>
              <a:gd name="T45" fmla="*/ 2252 h 6827"/>
              <a:gd name="T46" fmla="*/ 2377 w 6456"/>
              <a:gd name="T47" fmla="*/ 2562 h 6827"/>
              <a:gd name="T48" fmla="*/ 2067 w 6456"/>
              <a:gd name="T49" fmla="*/ 3007 h 6827"/>
              <a:gd name="T50" fmla="*/ 2377 w 6456"/>
              <a:gd name="T51" fmla="*/ 3191 h 6827"/>
              <a:gd name="T52" fmla="*/ 2067 w 6456"/>
              <a:gd name="T53" fmla="*/ 3636 h 6827"/>
              <a:gd name="T54" fmla="*/ 2377 w 6456"/>
              <a:gd name="T55" fmla="*/ 3820 h 6827"/>
              <a:gd name="T56" fmla="*/ 2067 w 6456"/>
              <a:gd name="T57" fmla="*/ 4265 h 6827"/>
              <a:gd name="T58" fmla="*/ 2377 w 6456"/>
              <a:gd name="T59" fmla="*/ 4574 h 6827"/>
              <a:gd name="T60" fmla="*/ 2822 w 6456"/>
              <a:gd name="T61" fmla="*/ 4265 h 6827"/>
              <a:gd name="T62" fmla="*/ 3006 w 6456"/>
              <a:gd name="T63" fmla="*/ 4575 h 6827"/>
              <a:gd name="T64" fmla="*/ 2822 w 6456"/>
              <a:gd name="T65" fmla="*/ 3007 h 6827"/>
              <a:gd name="T66" fmla="*/ 3635 w 6456"/>
              <a:gd name="T67" fmla="*/ 3820 h 6827"/>
              <a:gd name="T68" fmla="*/ 5893 w 6456"/>
              <a:gd name="T69" fmla="*/ 3738 h 6827"/>
              <a:gd name="T70" fmla="*/ 5106 w 6456"/>
              <a:gd name="T71" fmla="*/ 5090 h 6827"/>
              <a:gd name="T72" fmla="*/ 4104 w 6456"/>
              <a:gd name="T73" fmla="*/ 5091 h 6827"/>
              <a:gd name="T74" fmla="*/ 5009 w 6456"/>
              <a:gd name="T75" fmla="*/ 5602 h 6827"/>
              <a:gd name="T76" fmla="*/ 3451 w 6456"/>
              <a:gd name="T77" fmla="*/ 5602 h 6827"/>
              <a:gd name="T78" fmla="*/ 3451 w 6456"/>
              <a:gd name="T79" fmla="*/ 4265 h 6827"/>
              <a:gd name="T80" fmla="*/ 3635 w 6456"/>
              <a:gd name="T81" fmla="*/ 4575 h 6827"/>
              <a:gd name="T82" fmla="*/ 4080 w 6456"/>
              <a:gd name="T83" fmla="*/ 4265 h 6827"/>
              <a:gd name="T84" fmla="*/ 4389 w 6456"/>
              <a:gd name="T85" fmla="*/ 3820 h 6827"/>
              <a:gd name="T86" fmla="*/ 4080 w 6456"/>
              <a:gd name="T87" fmla="*/ 3636 h 6827"/>
              <a:gd name="T88" fmla="*/ 4389 w 6456"/>
              <a:gd name="T89" fmla="*/ 3191 h 6827"/>
              <a:gd name="T90" fmla="*/ 4080 w 6456"/>
              <a:gd name="T91" fmla="*/ 3007 h 6827"/>
              <a:gd name="T92" fmla="*/ 4389 w 6456"/>
              <a:gd name="T93" fmla="*/ 2562 h 6827"/>
              <a:gd name="T94" fmla="*/ 4080 w 6456"/>
              <a:gd name="T95" fmla="*/ 2252 h 6827"/>
              <a:gd name="T96" fmla="*/ 3635 w 6456"/>
              <a:gd name="T97" fmla="*/ 2562 h 6827"/>
              <a:gd name="T98" fmla="*/ 3451 w 6456"/>
              <a:gd name="T99" fmla="*/ 2252 h 6827"/>
              <a:gd name="T100" fmla="*/ 4230 w 6456"/>
              <a:gd name="T101" fmla="*/ 445 h 6827"/>
              <a:gd name="T102" fmla="*/ 4504 w 6456"/>
              <a:gd name="T103" fmla="*/ 1954 h 6827"/>
              <a:gd name="T104" fmla="*/ 5328 w 6456"/>
              <a:gd name="T105" fmla="*/ 1764 h 6827"/>
              <a:gd name="T106" fmla="*/ 5106 w 6456"/>
              <a:gd name="T107" fmla="*/ 3547 h 6827"/>
              <a:gd name="T108" fmla="*/ 5893 w 6456"/>
              <a:gd name="T109" fmla="*/ 3738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6456" h="6827">
                <a:moveTo>
                  <a:pt x="6456" y="2642"/>
                </a:moveTo>
                <a:cubicBezTo>
                  <a:pt x="6456" y="2298"/>
                  <a:pt x="6327" y="1971"/>
                  <a:pt x="6093" y="1720"/>
                </a:cubicBezTo>
                <a:cubicBezTo>
                  <a:pt x="5917" y="1531"/>
                  <a:pt x="5694" y="1399"/>
                  <a:pt x="5449" y="1335"/>
                </a:cubicBezTo>
                <a:cubicBezTo>
                  <a:pt x="5453" y="1299"/>
                  <a:pt x="5454" y="1262"/>
                  <a:pt x="5454" y="1224"/>
                </a:cubicBezTo>
                <a:cubicBezTo>
                  <a:pt x="5454" y="549"/>
                  <a:pt x="4905" y="0"/>
                  <a:pt x="4230" y="0"/>
                </a:cubicBezTo>
                <a:cubicBezTo>
                  <a:pt x="3816" y="0"/>
                  <a:pt x="3450" y="207"/>
                  <a:pt x="3228" y="522"/>
                </a:cubicBezTo>
                <a:cubicBezTo>
                  <a:pt x="3007" y="207"/>
                  <a:pt x="2640" y="0"/>
                  <a:pt x="2227" y="0"/>
                </a:cubicBezTo>
                <a:cubicBezTo>
                  <a:pt x="1551" y="0"/>
                  <a:pt x="1002" y="549"/>
                  <a:pt x="1002" y="1224"/>
                </a:cubicBezTo>
                <a:cubicBezTo>
                  <a:pt x="1002" y="1262"/>
                  <a:pt x="1004" y="1299"/>
                  <a:pt x="1007" y="1335"/>
                </a:cubicBezTo>
                <a:cubicBezTo>
                  <a:pt x="763" y="1399"/>
                  <a:pt x="540" y="1531"/>
                  <a:pt x="364" y="1720"/>
                </a:cubicBezTo>
                <a:cubicBezTo>
                  <a:pt x="129" y="1971"/>
                  <a:pt x="0" y="2298"/>
                  <a:pt x="0" y="2642"/>
                </a:cubicBezTo>
                <a:cubicBezTo>
                  <a:pt x="0" y="2928"/>
                  <a:pt x="90" y="3194"/>
                  <a:pt x="243" y="3413"/>
                </a:cubicBezTo>
                <a:cubicBezTo>
                  <a:pt x="85" y="3638"/>
                  <a:pt x="0" y="3906"/>
                  <a:pt x="0" y="4185"/>
                </a:cubicBezTo>
                <a:cubicBezTo>
                  <a:pt x="0" y="4811"/>
                  <a:pt x="429" y="5339"/>
                  <a:pt x="1007" y="5491"/>
                </a:cubicBezTo>
                <a:cubicBezTo>
                  <a:pt x="1004" y="5528"/>
                  <a:pt x="1002" y="5565"/>
                  <a:pt x="1002" y="5602"/>
                </a:cubicBezTo>
                <a:cubicBezTo>
                  <a:pt x="1002" y="6277"/>
                  <a:pt x="1551" y="6827"/>
                  <a:pt x="2227" y="6827"/>
                </a:cubicBezTo>
                <a:cubicBezTo>
                  <a:pt x="2640" y="6827"/>
                  <a:pt x="3007" y="6620"/>
                  <a:pt x="3228" y="6305"/>
                </a:cubicBezTo>
                <a:cubicBezTo>
                  <a:pt x="3450" y="6620"/>
                  <a:pt x="3816" y="6827"/>
                  <a:pt x="4230" y="6827"/>
                </a:cubicBezTo>
                <a:cubicBezTo>
                  <a:pt x="4905" y="6827"/>
                  <a:pt x="5454" y="6277"/>
                  <a:pt x="5454" y="5602"/>
                </a:cubicBezTo>
                <a:cubicBezTo>
                  <a:pt x="5454" y="5565"/>
                  <a:pt x="5453" y="5528"/>
                  <a:pt x="5449" y="5491"/>
                </a:cubicBezTo>
                <a:cubicBezTo>
                  <a:pt x="6028" y="5339"/>
                  <a:pt x="6456" y="4811"/>
                  <a:pt x="6456" y="4185"/>
                </a:cubicBezTo>
                <a:cubicBezTo>
                  <a:pt x="6456" y="3906"/>
                  <a:pt x="6371" y="3638"/>
                  <a:pt x="6214" y="3413"/>
                </a:cubicBezTo>
                <a:cubicBezTo>
                  <a:pt x="6367" y="3194"/>
                  <a:pt x="6456" y="2928"/>
                  <a:pt x="6456" y="2642"/>
                </a:cubicBezTo>
                <a:close/>
                <a:moveTo>
                  <a:pt x="3006" y="4575"/>
                </a:moveTo>
                <a:lnTo>
                  <a:pt x="3006" y="5602"/>
                </a:lnTo>
                <a:cubicBezTo>
                  <a:pt x="3006" y="6032"/>
                  <a:pt x="2656" y="6381"/>
                  <a:pt x="2227" y="6381"/>
                </a:cubicBezTo>
                <a:cubicBezTo>
                  <a:pt x="1797" y="6381"/>
                  <a:pt x="1447" y="6032"/>
                  <a:pt x="1447" y="5602"/>
                </a:cubicBezTo>
                <a:cubicBezTo>
                  <a:pt x="1447" y="5579"/>
                  <a:pt x="1449" y="5555"/>
                  <a:pt x="1451" y="5532"/>
                </a:cubicBezTo>
                <a:cubicBezTo>
                  <a:pt x="1795" y="5506"/>
                  <a:pt x="2119" y="5349"/>
                  <a:pt x="2352" y="5091"/>
                </a:cubicBezTo>
                <a:lnTo>
                  <a:pt x="2022" y="4793"/>
                </a:lnTo>
                <a:cubicBezTo>
                  <a:pt x="1851" y="4982"/>
                  <a:pt x="1606" y="5090"/>
                  <a:pt x="1351" y="5090"/>
                </a:cubicBezTo>
                <a:cubicBezTo>
                  <a:pt x="852" y="5090"/>
                  <a:pt x="446" y="4684"/>
                  <a:pt x="446" y="4185"/>
                </a:cubicBezTo>
                <a:cubicBezTo>
                  <a:pt x="446" y="4026"/>
                  <a:pt x="487" y="3873"/>
                  <a:pt x="563" y="3738"/>
                </a:cubicBezTo>
                <a:cubicBezTo>
                  <a:pt x="785" y="3898"/>
                  <a:pt x="1057" y="3992"/>
                  <a:pt x="1351" y="3992"/>
                </a:cubicBezTo>
                <a:lnTo>
                  <a:pt x="1351" y="3547"/>
                </a:lnTo>
                <a:cubicBezTo>
                  <a:pt x="852" y="3547"/>
                  <a:pt x="446" y="3141"/>
                  <a:pt x="446" y="2642"/>
                </a:cubicBezTo>
                <a:cubicBezTo>
                  <a:pt x="446" y="2223"/>
                  <a:pt x="735" y="1864"/>
                  <a:pt x="1129" y="1764"/>
                </a:cubicBezTo>
                <a:cubicBezTo>
                  <a:pt x="1264" y="2038"/>
                  <a:pt x="1500" y="2260"/>
                  <a:pt x="1797" y="2371"/>
                </a:cubicBezTo>
                <a:lnTo>
                  <a:pt x="1953" y="1954"/>
                </a:lnTo>
                <a:cubicBezTo>
                  <a:pt x="1651" y="1841"/>
                  <a:pt x="1447" y="1547"/>
                  <a:pt x="1447" y="1224"/>
                </a:cubicBezTo>
                <a:cubicBezTo>
                  <a:pt x="1447" y="795"/>
                  <a:pt x="1797" y="445"/>
                  <a:pt x="2227" y="445"/>
                </a:cubicBezTo>
                <a:cubicBezTo>
                  <a:pt x="2656" y="445"/>
                  <a:pt x="3006" y="795"/>
                  <a:pt x="3006" y="1224"/>
                </a:cubicBezTo>
                <a:lnTo>
                  <a:pt x="3006" y="2252"/>
                </a:lnTo>
                <a:lnTo>
                  <a:pt x="3006" y="2562"/>
                </a:lnTo>
                <a:lnTo>
                  <a:pt x="2822" y="2562"/>
                </a:lnTo>
                <a:lnTo>
                  <a:pt x="2822" y="2252"/>
                </a:lnTo>
                <a:lnTo>
                  <a:pt x="2377" y="2252"/>
                </a:lnTo>
                <a:lnTo>
                  <a:pt x="2377" y="2562"/>
                </a:lnTo>
                <a:lnTo>
                  <a:pt x="2067" y="2562"/>
                </a:lnTo>
                <a:lnTo>
                  <a:pt x="2067" y="3007"/>
                </a:lnTo>
                <a:lnTo>
                  <a:pt x="2377" y="3007"/>
                </a:lnTo>
                <a:lnTo>
                  <a:pt x="2377" y="3191"/>
                </a:lnTo>
                <a:lnTo>
                  <a:pt x="2067" y="3191"/>
                </a:lnTo>
                <a:lnTo>
                  <a:pt x="2067" y="3636"/>
                </a:lnTo>
                <a:lnTo>
                  <a:pt x="2377" y="3636"/>
                </a:lnTo>
                <a:lnTo>
                  <a:pt x="2377" y="3820"/>
                </a:lnTo>
                <a:lnTo>
                  <a:pt x="2067" y="3820"/>
                </a:lnTo>
                <a:lnTo>
                  <a:pt x="2067" y="4265"/>
                </a:lnTo>
                <a:lnTo>
                  <a:pt x="2377" y="4265"/>
                </a:lnTo>
                <a:lnTo>
                  <a:pt x="2377" y="4574"/>
                </a:lnTo>
                <a:lnTo>
                  <a:pt x="2822" y="4574"/>
                </a:lnTo>
                <a:lnTo>
                  <a:pt x="2822" y="4265"/>
                </a:lnTo>
                <a:lnTo>
                  <a:pt x="3006" y="4265"/>
                </a:lnTo>
                <a:lnTo>
                  <a:pt x="3006" y="4575"/>
                </a:lnTo>
                <a:close/>
                <a:moveTo>
                  <a:pt x="2822" y="3820"/>
                </a:moveTo>
                <a:lnTo>
                  <a:pt x="2822" y="3007"/>
                </a:lnTo>
                <a:lnTo>
                  <a:pt x="3635" y="3007"/>
                </a:lnTo>
                <a:lnTo>
                  <a:pt x="3635" y="3820"/>
                </a:lnTo>
                <a:lnTo>
                  <a:pt x="2822" y="3820"/>
                </a:lnTo>
                <a:close/>
                <a:moveTo>
                  <a:pt x="5893" y="3738"/>
                </a:moveTo>
                <a:cubicBezTo>
                  <a:pt x="5970" y="3873"/>
                  <a:pt x="6011" y="4026"/>
                  <a:pt x="6011" y="4185"/>
                </a:cubicBezTo>
                <a:cubicBezTo>
                  <a:pt x="6011" y="4684"/>
                  <a:pt x="5605" y="5090"/>
                  <a:pt x="5106" y="5090"/>
                </a:cubicBezTo>
                <a:cubicBezTo>
                  <a:pt x="4851" y="5090"/>
                  <a:pt x="4606" y="4982"/>
                  <a:pt x="4434" y="4793"/>
                </a:cubicBezTo>
                <a:lnTo>
                  <a:pt x="4104" y="5091"/>
                </a:lnTo>
                <a:cubicBezTo>
                  <a:pt x="4338" y="5349"/>
                  <a:pt x="4662" y="5506"/>
                  <a:pt x="5006" y="5532"/>
                </a:cubicBezTo>
                <a:cubicBezTo>
                  <a:pt x="5008" y="5555"/>
                  <a:pt x="5009" y="5579"/>
                  <a:pt x="5009" y="5602"/>
                </a:cubicBezTo>
                <a:cubicBezTo>
                  <a:pt x="5009" y="6032"/>
                  <a:pt x="4660" y="6381"/>
                  <a:pt x="4230" y="6381"/>
                </a:cubicBezTo>
                <a:cubicBezTo>
                  <a:pt x="3801" y="6381"/>
                  <a:pt x="3451" y="6032"/>
                  <a:pt x="3451" y="5602"/>
                </a:cubicBezTo>
                <a:lnTo>
                  <a:pt x="3451" y="4575"/>
                </a:lnTo>
                <a:lnTo>
                  <a:pt x="3451" y="4265"/>
                </a:lnTo>
                <a:lnTo>
                  <a:pt x="3635" y="4265"/>
                </a:lnTo>
                <a:lnTo>
                  <a:pt x="3635" y="4575"/>
                </a:lnTo>
                <a:lnTo>
                  <a:pt x="4080" y="4575"/>
                </a:lnTo>
                <a:lnTo>
                  <a:pt x="4080" y="4265"/>
                </a:lnTo>
                <a:lnTo>
                  <a:pt x="4389" y="4265"/>
                </a:lnTo>
                <a:lnTo>
                  <a:pt x="4389" y="3820"/>
                </a:lnTo>
                <a:lnTo>
                  <a:pt x="4080" y="3820"/>
                </a:lnTo>
                <a:lnTo>
                  <a:pt x="4080" y="3636"/>
                </a:lnTo>
                <a:lnTo>
                  <a:pt x="4389" y="3636"/>
                </a:lnTo>
                <a:lnTo>
                  <a:pt x="4389" y="3191"/>
                </a:lnTo>
                <a:lnTo>
                  <a:pt x="4080" y="3191"/>
                </a:lnTo>
                <a:lnTo>
                  <a:pt x="4080" y="3007"/>
                </a:lnTo>
                <a:lnTo>
                  <a:pt x="4389" y="3007"/>
                </a:lnTo>
                <a:lnTo>
                  <a:pt x="4389" y="2562"/>
                </a:lnTo>
                <a:lnTo>
                  <a:pt x="4080" y="2562"/>
                </a:lnTo>
                <a:lnTo>
                  <a:pt x="4080" y="2252"/>
                </a:lnTo>
                <a:lnTo>
                  <a:pt x="3635" y="2252"/>
                </a:lnTo>
                <a:lnTo>
                  <a:pt x="3635" y="2562"/>
                </a:lnTo>
                <a:lnTo>
                  <a:pt x="3451" y="2562"/>
                </a:lnTo>
                <a:lnTo>
                  <a:pt x="3451" y="2252"/>
                </a:lnTo>
                <a:lnTo>
                  <a:pt x="3451" y="1224"/>
                </a:lnTo>
                <a:cubicBezTo>
                  <a:pt x="3451" y="795"/>
                  <a:pt x="3800" y="445"/>
                  <a:pt x="4230" y="445"/>
                </a:cubicBezTo>
                <a:cubicBezTo>
                  <a:pt x="4660" y="445"/>
                  <a:pt x="5009" y="795"/>
                  <a:pt x="5009" y="1224"/>
                </a:cubicBezTo>
                <a:cubicBezTo>
                  <a:pt x="5009" y="1547"/>
                  <a:pt x="4806" y="1841"/>
                  <a:pt x="4504" y="1954"/>
                </a:cubicBezTo>
                <a:lnTo>
                  <a:pt x="4660" y="2371"/>
                </a:lnTo>
                <a:cubicBezTo>
                  <a:pt x="4957" y="2260"/>
                  <a:pt x="5193" y="2038"/>
                  <a:pt x="5328" y="1764"/>
                </a:cubicBezTo>
                <a:cubicBezTo>
                  <a:pt x="5721" y="1864"/>
                  <a:pt x="6011" y="2223"/>
                  <a:pt x="6011" y="2642"/>
                </a:cubicBezTo>
                <a:cubicBezTo>
                  <a:pt x="6011" y="3141"/>
                  <a:pt x="5605" y="3547"/>
                  <a:pt x="5106" y="3547"/>
                </a:cubicBezTo>
                <a:lnTo>
                  <a:pt x="5106" y="3992"/>
                </a:lnTo>
                <a:cubicBezTo>
                  <a:pt x="5399" y="3992"/>
                  <a:pt x="5671" y="3898"/>
                  <a:pt x="5893" y="373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91436" tIns="45718" rIns="91436" bIns="45718"/>
          <a:lstStyle/>
          <a:p>
            <a:pPr defTabSz="914354"/>
            <a:endParaRPr lang="en-US" dirty="0">
              <a:solidFill>
                <a:srgbClr val="777777"/>
              </a:solidFill>
            </a:endParaRPr>
          </a:p>
        </p:txBody>
      </p:sp>
      <p:sp>
        <p:nvSpPr>
          <p:cNvPr id="91" name="文本框 101">
            <a:extLst>
              <a:ext uri="{FF2B5EF4-FFF2-40B4-BE49-F238E27FC236}">
                <a16:creationId xmlns:a16="http://schemas.microsoft.com/office/drawing/2014/main" id="{E59477D9-E45D-4DC7-9FC6-C874743D8D54}"/>
              </a:ext>
            </a:extLst>
          </p:cNvPr>
          <p:cNvSpPr txBox="1"/>
          <p:nvPr/>
        </p:nvSpPr>
        <p:spPr>
          <a:xfrm>
            <a:off x="5672395" y="5911137"/>
            <a:ext cx="822124" cy="32316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defTabSz="914354"/>
            <a:r>
              <a:rPr lang="zh-CN" altLang="en-US" sz="1500" b="1" dirty="0">
                <a:solidFill>
                  <a:srgbClr val="DA0B1C"/>
                </a:solidFill>
              </a:rPr>
              <a:t>云计算</a:t>
            </a:r>
          </a:p>
        </p:txBody>
      </p:sp>
      <p:sp>
        <p:nvSpPr>
          <p:cNvPr id="92" name="Freeform 77">
            <a:extLst>
              <a:ext uri="{FF2B5EF4-FFF2-40B4-BE49-F238E27FC236}">
                <a16:creationId xmlns:a16="http://schemas.microsoft.com/office/drawing/2014/main" id="{968D382D-562E-4D90-A6B0-A94BF522FE0F}"/>
              </a:ext>
            </a:extLst>
          </p:cNvPr>
          <p:cNvSpPr>
            <a:spLocks/>
          </p:cNvSpPr>
          <p:nvPr/>
        </p:nvSpPr>
        <p:spPr bwMode="auto">
          <a:xfrm>
            <a:off x="5267453" y="5939023"/>
            <a:ext cx="360000" cy="252000"/>
          </a:xfrm>
          <a:custGeom>
            <a:avLst/>
            <a:gdLst>
              <a:gd name="T0" fmla="*/ 0 w 907"/>
              <a:gd name="T1" fmla="*/ 320 h 457"/>
              <a:gd name="T2" fmla="*/ 194 w 907"/>
              <a:gd name="T3" fmla="*/ 454 h 457"/>
              <a:gd name="T4" fmla="*/ 763 w 907"/>
              <a:gd name="T5" fmla="*/ 454 h 457"/>
              <a:gd name="T6" fmla="*/ 907 w 907"/>
              <a:gd name="T7" fmla="*/ 341 h 457"/>
              <a:gd name="T8" fmla="*/ 773 w 907"/>
              <a:gd name="T9" fmla="*/ 218 h 457"/>
              <a:gd name="T10" fmla="*/ 728 w 907"/>
              <a:gd name="T11" fmla="*/ 140 h 457"/>
              <a:gd name="T12" fmla="*/ 607 w 907"/>
              <a:gd name="T13" fmla="*/ 121 h 457"/>
              <a:gd name="T14" fmla="*/ 443 w 907"/>
              <a:gd name="T15" fmla="*/ 0 h 457"/>
              <a:gd name="T16" fmla="*/ 258 w 907"/>
              <a:gd name="T17" fmla="*/ 142 h 457"/>
              <a:gd name="T18" fmla="*/ 164 w 907"/>
              <a:gd name="T19" fmla="*/ 142 h 457"/>
              <a:gd name="T20" fmla="*/ 104 w 907"/>
              <a:gd name="T21" fmla="*/ 213 h 457"/>
              <a:gd name="T22" fmla="*/ 0 w 907"/>
              <a:gd name="T23" fmla="*/ 320 h 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07" h="457">
                <a:moveTo>
                  <a:pt x="0" y="320"/>
                </a:moveTo>
                <a:cubicBezTo>
                  <a:pt x="0" y="396"/>
                  <a:pt x="53" y="454"/>
                  <a:pt x="194" y="454"/>
                </a:cubicBezTo>
                <a:cubicBezTo>
                  <a:pt x="336" y="454"/>
                  <a:pt x="763" y="454"/>
                  <a:pt x="763" y="454"/>
                </a:cubicBezTo>
                <a:cubicBezTo>
                  <a:pt x="763" y="454"/>
                  <a:pt x="907" y="457"/>
                  <a:pt x="907" y="341"/>
                </a:cubicBezTo>
                <a:cubicBezTo>
                  <a:pt x="907" y="240"/>
                  <a:pt x="823" y="213"/>
                  <a:pt x="773" y="218"/>
                </a:cubicBezTo>
                <a:cubicBezTo>
                  <a:pt x="773" y="218"/>
                  <a:pt x="767" y="177"/>
                  <a:pt x="728" y="140"/>
                </a:cubicBezTo>
                <a:cubicBezTo>
                  <a:pt x="686" y="102"/>
                  <a:pt x="619" y="118"/>
                  <a:pt x="607" y="121"/>
                </a:cubicBezTo>
                <a:cubicBezTo>
                  <a:pt x="607" y="121"/>
                  <a:pt x="593" y="0"/>
                  <a:pt x="443" y="0"/>
                </a:cubicBezTo>
                <a:cubicBezTo>
                  <a:pt x="294" y="0"/>
                  <a:pt x="265" y="116"/>
                  <a:pt x="258" y="142"/>
                </a:cubicBezTo>
                <a:cubicBezTo>
                  <a:pt x="258" y="142"/>
                  <a:pt x="218" y="123"/>
                  <a:pt x="164" y="142"/>
                </a:cubicBezTo>
                <a:cubicBezTo>
                  <a:pt x="109" y="161"/>
                  <a:pt x="104" y="213"/>
                  <a:pt x="104" y="213"/>
                </a:cubicBezTo>
                <a:cubicBezTo>
                  <a:pt x="104" y="213"/>
                  <a:pt x="0" y="222"/>
                  <a:pt x="0" y="320"/>
                </a:cubicBezTo>
                <a:close/>
              </a:path>
            </a:pathLst>
          </a:custGeom>
          <a:noFill/>
          <a:ln>
            <a:solidFill>
              <a:schemeClr val="accent1"/>
            </a:solidFill>
          </a:ln>
          <a:effectLst/>
          <a:extLst/>
        </p:spPr>
        <p:txBody>
          <a:bodyPr lIns="91436" tIns="45718" rIns="91436" bIns="45718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2700" dirty="0">
              <a:solidFill>
                <a:srgbClr val="777777"/>
              </a:solidFill>
            </a:endParaRPr>
          </a:p>
        </p:txBody>
      </p:sp>
      <p:sp>
        <p:nvSpPr>
          <p:cNvPr id="103" name="矩形 102"/>
          <p:cNvSpPr/>
          <p:nvPr/>
        </p:nvSpPr>
        <p:spPr>
          <a:xfrm>
            <a:off x="7189375" y="1620695"/>
            <a:ext cx="4500000" cy="20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sp>
        <p:nvSpPr>
          <p:cNvPr id="104" name="TextBox 59"/>
          <p:cNvSpPr txBox="1"/>
          <p:nvPr/>
        </p:nvSpPr>
        <p:spPr>
          <a:xfrm>
            <a:off x="8398123" y="1449557"/>
            <a:ext cx="2082511" cy="338555"/>
          </a:xfrm>
          <a:prstGeom prst="rect">
            <a:avLst/>
          </a:prstGeom>
          <a:solidFill>
            <a:schemeClr val="bg1"/>
          </a:solidFill>
        </p:spPr>
        <p:txBody>
          <a:bodyPr wrap="square" lIns="91436" tIns="45718" rIns="91436" bIns="45718" rtlCol="0">
            <a:spAutoFit/>
          </a:bodyPr>
          <a:lstStyle/>
          <a:p>
            <a:pPr algn="ctr" defTabSz="914354"/>
            <a:r>
              <a:rPr lang="zh-CN" altLang="en-US" sz="1600" b="1" dirty="0">
                <a:solidFill>
                  <a:srgbClr val="DA0B1C"/>
                </a:solidFill>
              </a:rPr>
              <a:t>某知名文具电商商家</a:t>
            </a:r>
          </a:p>
        </p:txBody>
      </p:sp>
      <p:cxnSp>
        <p:nvCxnSpPr>
          <p:cNvPr id="105" name="直接连接符 104"/>
          <p:cNvCxnSpPr/>
          <p:nvPr/>
        </p:nvCxnSpPr>
        <p:spPr bwMode="auto">
          <a:xfrm>
            <a:off x="7189375" y="1211552"/>
            <a:ext cx="4500000" cy="0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7" name="TextBox 5">
            <a:extLst>
              <a:ext uri="{FF2B5EF4-FFF2-40B4-BE49-F238E27FC236}">
                <a16:creationId xmlns:a16="http://schemas.microsoft.com/office/drawing/2014/main" id="{15431174-FBDD-44B5-BDD2-C025D9DFB4FE}"/>
              </a:ext>
            </a:extLst>
          </p:cNvPr>
          <p:cNvSpPr txBox="1"/>
          <p:nvPr/>
        </p:nvSpPr>
        <p:spPr>
          <a:xfrm>
            <a:off x="7277429" y="1014361"/>
            <a:ext cx="4323891" cy="3943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08" tIns="45718" rIns="91408" bIns="45718" numCol="1" anchor="ctr" anchorCtr="0" compatLnSpc="1">
            <a:prstTxWarp prst="textNoShape">
              <a:avLst/>
            </a:prstTxWarp>
          </a:bodyPr>
          <a:lstStyle>
            <a:defPPr>
              <a:defRPr lang="zh-HK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>
                <a:latin typeface="Arial" panose="020B0604020202020204" pitchFamily="34" charset="0"/>
                <a:ea typeface="楷体" panose="02010609060101010101" pitchFamily="49" charset="-122"/>
                <a:cs typeface="Arial"/>
              </a:defRPr>
            </a:lvl1pPr>
            <a:lvl2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2pPr>
            <a:lvl3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3pPr>
            <a:lvl4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4pPr>
            <a:lvl5pPr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bg1"/>
                </a:solidFill>
                <a:latin typeface="Arial" charset="0"/>
                <a:ea typeface="宋体" pitchFamily="2" charset="-122"/>
                <a:cs typeface="Arial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defTabSz="914354" eaLnBrk="1" hangingPunct="1">
              <a:defRPr/>
            </a:pPr>
            <a:r>
              <a:rPr lang="zh-CN" altLang="en-US" sz="1500" dirty="0">
                <a:solidFill>
                  <a:srgbClr val="DA0B1C"/>
                </a:solidFill>
                <a:latin typeface="Arial"/>
                <a:ea typeface="微软雅黑"/>
              </a:rPr>
              <a:t>已链接</a:t>
            </a:r>
            <a:r>
              <a:rPr lang="en-US" altLang="zh-CN" sz="1500" dirty="0">
                <a:solidFill>
                  <a:srgbClr val="DA0B1C"/>
                </a:solidFill>
                <a:latin typeface="Arial"/>
                <a:ea typeface="微软雅黑"/>
              </a:rPr>
              <a:t>120</a:t>
            </a:r>
            <a:r>
              <a:rPr lang="zh-CN" altLang="en-US" sz="1500" dirty="0">
                <a:solidFill>
                  <a:srgbClr val="DA0B1C"/>
                </a:solidFill>
                <a:latin typeface="Arial"/>
                <a:ea typeface="微软雅黑"/>
              </a:rPr>
              <a:t>个商家</a:t>
            </a:r>
            <a:r>
              <a:rPr lang="en-US" altLang="zh-CN" sz="1500" dirty="0">
                <a:solidFill>
                  <a:srgbClr val="DA0B1C"/>
                </a:solidFill>
                <a:latin typeface="Arial"/>
                <a:ea typeface="微软雅黑"/>
              </a:rPr>
              <a:t>/3PL</a:t>
            </a:r>
            <a:r>
              <a:rPr lang="zh-CN" altLang="en-US" sz="1500" dirty="0">
                <a:solidFill>
                  <a:srgbClr val="DA0B1C"/>
                </a:solidFill>
                <a:latin typeface="Arial"/>
                <a:ea typeface="微软雅黑"/>
              </a:rPr>
              <a:t>的物流设施，并已出海赋能</a:t>
            </a:r>
          </a:p>
        </p:txBody>
      </p:sp>
      <p:graphicFrame>
        <p:nvGraphicFramePr>
          <p:cNvPr id="119" name="表格 118"/>
          <p:cNvGraphicFramePr>
            <a:graphicFrameLocks noGrp="1"/>
          </p:cNvGraphicFramePr>
          <p:nvPr>
            <p:extLst/>
          </p:nvPr>
        </p:nvGraphicFramePr>
        <p:xfrm>
          <a:off x="7395463" y="1808736"/>
          <a:ext cx="4087826" cy="1728000"/>
        </p:xfrm>
        <a:graphic>
          <a:graphicData uri="http://schemas.openxmlformats.org/drawingml/2006/table">
            <a:tbl>
              <a:tblPr/>
              <a:tblGrid>
                <a:gridCol w="14362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97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56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61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8000">
                <a:tc>
                  <a:txBody>
                    <a:bodyPr/>
                    <a:lstStyle>
                      <a:lvl1pPr marL="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7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4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09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27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84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41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6987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557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核心</a:t>
                      </a:r>
                      <a:r>
                        <a:rPr lang="en-US" sz="1200" b="1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KPI</a:t>
                      </a:r>
                    </a:p>
                  </a:txBody>
                  <a:tcPr marL="5639" marR="5639" marT="56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7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4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09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27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84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41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6987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557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 smtClean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上线</a:t>
                      </a:r>
                      <a:r>
                        <a:rPr lang="zh-CN" altLang="en-US" sz="1200" b="1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前</a:t>
                      </a:r>
                    </a:p>
                  </a:txBody>
                  <a:tcPr marL="5639" marR="5639" marT="56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7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4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09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27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84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41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6987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557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上线后</a:t>
                      </a:r>
                    </a:p>
                  </a:txBody>
                  <a:tcPr marL="5639" marR="5639" marT="56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7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40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09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27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84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418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6987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557" algn="l" defTabSz="121914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zh-CN" altLang="en-US" sz="1200" b="1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优化率</a:t>
                      </a:r>
                    </a:p>
                  </a:txBody>
                  <a:tcPr marL="5639" marR="5639" marT="563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生产人效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80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120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i="0" u="none" strike="noStrike" dirty="0">
                          <a:solidFill>
                            <a:srgbClr val="DA0B1C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50</a:t>
                      </a:r>
                      <a:r>
                        <a:rPr lang="en-US" altLang="zh-CN" sz="1200" b="1" i="0" u="none" strike="noStrike" dirty="0" smtClean="0">
                          <a:solidFill>
                            <a:srgbClr val="DA0B1C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% </a:t>
                      </a:r>
                      <a:r>
                        <a:rPr lang="en-US" altLang="zh-CN" sz="1200" b="1" dirty="0" smtClean="0">
                          <a:solidFill>
                            <a:srgbClr val="DA0B1C"/>
                          </a:solidFill>
                          <a:latin typeface="+mn-lt"/>
                        </a:rPr>
                        <a:t>↑</a:t>
                      </a:r>
                      <a:endParaRPr lang="en-US" altLang="zh-CN" sz="1200" b="1" i="0" u="none" strike="noStrike" dirty="0" smtClean="0">
                        <a:solidFill>
                          <a:srgbClr val="DA0B1C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库存准确率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30%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98%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i="0" u="none" strike="noStrike" dirty="0" smtClean="0">
                          <a:solidFill>
                            <a:srgbClr val="DA0B1C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226% </a:t>
                      </a:r>
                      <a:r>
                        <a:rPr lang="en-US" altLang="zh-CN" sz="1200" b="1" dirty="0" smtClean="0">
                          <a:solidFill>
                            <a:srgbClr val="DA0B1C"/>
                          </a:solidFill>
                          <a:latin typeface="+mn-lt"/>
                        </a:rPr>
                        <a:t>↑</a:t>
                      </a:r>
                      <a:endParaRPr lang="en-US" altLang="zh-CN" sz="1200" b="1" i="0" u="none" strike="noStrike" dirty="0" smtClean="0">
                        <a:solidFill>
                          <a:srgbClr val="DA0B1C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仓容利用率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50%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85%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i="0" u="none" strike="noStrike" dirty="0" smtClean="0">
                          <a:solidFill>
                            <a:srgbClr val="DA0B1C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70% </a:t>
                      </a:r>
                      <a:r>
                        <a:rPr lang="en-US" altLang="zh-CN" sz="1200" b="1" dirty="0" smtClean="0">
                          <a:solidFill>
                            <a:srgbClr val="DA0B1C"/>
                          </a:solidFill>
                          <a:latin typeface="+mn-lt"/>
                        </a:rPr>
                        <a:t>↑</a:t>
                      </a:r>
                      <a:endParaRPr lang="en-US" altLang="zh-CN" sz="1200" b="1" i="0" u="none" strike="noStrike" dirty="0" smtClean="0">
                        <a:solidFill>
                          <a:srgbClr val="DA0B1C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工单率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10%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3%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i="0" u="none" strike="noStrike" dirty="0">
                          <a:solidFill>
                            <a:srgbClr val="DA0B1C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70</a:t>
                      </a:r>
                      <a:r>
                        <a:rPr lang="en-US" altLang="zh-CN" sz="1200" b="1" i="0" u="none" strike="noStrike" dirty="0" smtClean="0">
                          <a:solidFill>
                            <a:srgbClr val="DA0B1C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% </a:t>
                      </a:r>
                      <a:r>
                        <a:rPr lang="zh-CN" altLang="en-US" sz="1200" b="1" dirty="0" smtClean="0">
                          <a:solidFill>
                            <a:srgbClr val="DA0B1C"/>
                          </a:solidFill>
                          <a:latin typeface="+mn-lt"/>
                        </a:rPr>
                        <a:t>↓</a:t>
                      </a:r>
                      <a:endParaRPr lang="en-US" altLang="zh-CN" sz="1200" b="1" i="0" u="none" strike="noStrike" dirty="0" smtClean="0">
                        <a:solidFill>
                          <a:srgbClr val="DA0B1C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0" i="0" u="none" strike="noStrike" dirty="0" smtClean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单均仓储</a:t>
                      </a:r>
                      <a:r>
                        <a:rPr lang="zh-CN" altLang="en-US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成本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3.5</a:t>
                      </a:r>
                      <a:r>
                        <a:rPr lang="zh-CN" altLang="en-US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元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3.0</a:t>
                      </a:r>
                      <a:r>
                        <a:rPr lang="zh-CN" altLang="en-US" sz="1200" b="0" i="0" u="none" strike="noStrike" dirty="0">
                          <a:solidFill>
                            <a:srgbClr val="777777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元</a:t>
                      </a: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i="0" u="none" strike="noStrike" dirty="0">
                          <a:solidFill>
                            <a:srgbClr val="DA0B1C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15</a:t>
                      </a:r>
                      <a:r>
                        <a:rPr lang="en-US" altLang="zh-CN" sz="1200" b="1" i="0" u="none" strike="noStrike" dirty="0" smtClean="0">
                          <a:solidFill>
                            <a:srgbClr val="DA0B1C"/>
                          </a:solidFill>
                          <a:effectLst/>
                          <a:latin typeface="+mn-lt"/>
                          <a:ea typeface="微软雅黑" panose="020B0503020204020204" pitchFamily="34" charset="-122"/>
                        </a:rPr>
                        <a:t>% </a:t>
                      </a:r>
                      <a:r>
                        <a:rPr lang="zh-CN" altLang="en-US" sz="1200" b="1" dirty="0" smtClean="0">
                          <a:solidFill>
                            <a:srgbClr val="DA0B1C"/>
                          </a:solidFill>
                          <a:latin typeface="+mn-lt"/>
                        </a:rPr>
                        <a:t>↓</a:t>
                      </a:r>
                      <a:endParaRPr lang="en-US" altLang="zh-CN" sz="1200" b="1" i="0" u="none" strike="noStrike" dirty="0" smtClean="0">
                        <a:solidFill>
                          <a:srgbClr val="DA0B1C"/>
                        </a:solidFill>
                        <a:effectLst/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marL="6351" marR="6351" marT="6351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3" name="文本占位符 3"/>
          <p:cNvSpPr txBox="1">
            <a:spLocks/>
          </p:cNvSpPr>
          <p:nvPr/>
        </p:nvSpPr>
        <p:spPr>
          <a:xfrm>
            <a:off x="7204728" y="6058284"/>
            <a:ext cx="4512501" cy="336000"/>
          </a:xfrm>
          <a:prstGeom prst="rect">
            <a:avLst/>
          </a:prstGeom>
        </p:spPr>
        <p:txBody>
          <a:bodyPr lIns="0" tIns="60938" rIns="121877" bIns="60938"/>
          <a:lstStyle>
            <a:lvl1pPr marL="0" indent="0" algn="r" defTabSz="801668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  <a:lvl2pPr marL="652447" indent="-250819" algn="l" defTabSz="801668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itchFamily="2" charset="2"/>
              <a:buChar char="p"/>
              <a:defRPr sz="2400">
                <a:solidFill>
                  <a:srgbClr val="777777"/>
                </a:solidFill>
                <a:latin typeface="+mn-lt"/>
                <a:ea typeface="+mn-ea"/>
              </a:defRPr>
            </a:lvl2pPr>
            <a:lvl3pPr marL="1003275" indent="-201608" algn="l" defTabSz="801668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itchFamily="2" charset="2"/>
              <a:buChar char="n"/>
              <a:defRPr sz="2200">
                <a:solidFill>
                  <a:srgbClr val="777777"/>
                </a:solidFill>
                <a:latin typeface="+mn-lt"/>
                <a:ea typeface="+mn-ea"/>
              </a:defRPr>
            </a:lvl3pPr>
            <a:lvl4pPr marL="1401728" indent="-200020" algn="l" defTabSz="801668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2000">
                <a:solidFill>
                  <a:srgbClr val="777777"/>
                </a:solidFill>
                <a:latin typeface="+mn-lt"/>
                <a:ea typeface="+mn-ea"/>
              </a:defRPr>
            </a:lvl4pPr>
            <a:lvl5pPr marL="1803355" indent="-201608" algn="l" defTabSz="801668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5pPr>
            <a:lvl6pPr marL="2260544" indent="-201608" algn="l" defTabSz="801668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6pPr>
            <a:lvl7pPr marL="2717732" indent="-201608" algn="l" defTabSz="801668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7pPr>
            <a:lvl8pPr marL="3174921" indent="-201608" algn="l" defTabSz="801668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8pPr>
            <a:lvl9pPr marL="3632109" indent="-201608" algn="l" defTabSz="801668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9pPr>
          </a:lstStyle>
          <a:p>
            <a:pPr algn="l"/>
            <a:r>
              <a:rPr lang="zh-CN" altLang="en-US" sz="1100" i="1" kern="0" dirty="0"/>
              <a:t>数据来源：京东物流内部统计数据，截至</a:t>
            </a:r>
            <a:r>
              <a:rPr lang="en-US" altLang="zh-CN" sz="1100" i="1" kern="0" dirty="0"/>
              <a:t>2018</a:t>
            </a:r>
            <a:r>
              <a:rPr lang="zh-CN" altLang="en-US" sz="1100" i="1" kern="0" dirty="0"/>
              <a:t>年</a:t>
            </a:r>
            <a:r>
              <a:rPr lang="en-US" altLang="zh-CN" sz="1100" i="1" kern="0" dirty="0"/>
              <a:t>6</a:t>
            </a:r>
            <a:r>
              <a:rPr lang="zh-CN" altLang="en-US" sz="1100" i="1" kern="0" dirty="0"/>
              <a:t>月</a:t>
            </a:r>
            <a:r>
              <a:rPr lang="en-US" altLang="zh-CN" sz="1100" i="1" kern="0" dirty="0"/>
              <a:t>30</a:t>
            </a:r>
            <a:r>
              <a:rPr lang="zh-CN" altLang="en-US" sz="1100" i="1" kern="0" dirty="0"/>
              <a:t>日</a:t>
            </a:r>
          </a:p>
        </p:txBody>
      </p:sp>
      <p:sp>
        <p:nvSpPr>
          <p:cNvPr id="84" name="矩形: 圆角 114">
            <a:extLst>
              <a:ext uri="{FF2B5EF4-FFF2-40B4-BE49-F238E27FC236}">
                <a16:creationId xmlns:a16="http://schemas.microsoft.com/office/drawing/2014/main" id="{0525D494-E522-9743-882F-51C5026FF9D4}"/>
              </a:ext>
            </a:extLst>
          </p:cNvPr>
          <p:cNvSpPr/>
          <p:nvPr/>
        </p:nvSpPr>
        <p:spPr>
          <a:xfrm>
            <a:off x="3805865" y="4043295"/>
            <a:ext cx="2391643" cy="515679"/>
          </a:xfrm>
          <a:prstGeom prst="roundRect">
            <a:avLst/>
          </a:prstGeom>
          <a:solidFill>
            <a:srgbClr val="FF2929">
              <a:alpha val="10196"/>
            </a:srgb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en-US" altLang="zh-CN" sz="1500" b="1" dirty="0">
                <a:solidFill>
                  <a:srgbClr val="777777">
                    <a:lumMod val="95000"/>
                    <a:lumOff val="5000"/>
                  </a:srgbClr>
                </a:solidFill>
                <a:cs typeface="+mn-ea"/>
              </a:rPr>
              <a:t>Pre-Sorting</a:t>
            </a:r>
          </a:p>
        </p:txBody>
      </p:sp>
      <p:sp>
        <p:nvSpPr>
          <p:cNvPr id="82" name="矩形 81"/>
          <p:cNvSpPr/>
          <p:nvPr/>
        </p:nvSpPr>
        <p:spPr>
          <a:xfrm>
            <a:off x="7189375" y="3993952"/>
            <a:ext cx="4500000" cy="2016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sp>
        <p:nvSpPr>
          <p:cNvPr id="93" name="TextBox 59"/>
          <p:cNvSpPr txBox="1"/>
          <p:nvPr/>
        </p:nvSpPr>
        <p:spPr>
          <a:xfrm>
            <a:off x="8792839" y="3818677"/>
            <a:ext cx="1293076" cy="338555"/>
          </a:xfrm>
          <a:prstGeom prst="rect">
            <a:avLst/>
          </a:prstGeom>
          <a:solidFill>
            <a:schemeClr val="bg1"/>
          </a:solidFill>
        </p:spPr>
        <p:txBody>
          <a:bodyPr wrap="square" lIns="91436" tIns="45718" rIns="91436" bIns="45718" rtlCol="0">
            <a:spAutoFit/>
          </a:bodyPr>
          <a:lstStyle/>
          <a:p>
            <a:pPr algn="ctr" defTabSz="914354"/>
            <a:r>
              <a:rPr lang="zh-CN" altLang="en-US" sz="1600" b="1" dirty="0">
                <a:solidFill>
                  <a:srgbClr val="DA0B1C"/>
                </a:solidFill>
              </a:rPr>
              <a:t>京东印尼</a:t>
            </a:r>
          </a:p>
        </p:txBody>
      </p:sp>
      <p:sp>
        <p:nvSpPr>
          <p:cNvPr id="94" name="矩形 93"/>
          <p:cNvSpPr/>
          <p:nvPr/>
        </p:nvSpPr>
        <p:spPr>
          <a:xfrm>
            <a:off x="7472364" y="4382903"/>
            <a:ext cx="1318437" cy="630863"/>
          </a:xfrm>
          <a:prstGeom prst="rect">
            <a:avLst/>
          </a:prstGeom>
        </p:spPr>
        <p:txBody>
          <a:bodyPr wrap="square" lIns="91436" tIns="45718" rIns="91436" bIns="45718" anchor="ctr">
            <a:noAutofit/>
          </a:bodyPr>
          <a:lstStyle/>
          <a:p>
            <a:pPr algn="ctr" defTabSz="685766"/>
            <a:r>
              <a:rPr lang="en-US" altLang="zh-CN" b="1" dirty="0">
                <a:solidFill>
                  <a:srgbClr val="DA0B1C"/>
                </a:solidFill>
              </a:rPr>
              <a:t>144%</a:t>
            </a:r>
            <a:r>
              <a:rPr lang="en-US" altLang="zh-CN" b="1" dirty="0">
                <a:solidFill>
                  <a:srgbClr val="E2231A"/>
                </a:solidFill>
              </a:rPr>
              <a:t>↑</a:t>
            </a:r>
            <a:endParaRPr lang="en-US" altLang="zh-CN" b="1" dirty="0">
              <a:solidFill>
                <a:srgbClr val="DA0B1C"/>
              </a:solidFill>
            </a:endParaRPr>
          </a:p>
          <a:p>
            <a:pPr algn="ctr" defTabSz="914354"/>
            <a:r>
              <a:rPr lang="en-US" altLang="zh-CN" sz="1100" dirty="0">
                <a:solidFill>
                  <a:srgbClr val="777777"/>
                </a:solidFill>
              </a:rPr>
              <a:t>18</a:t>
            </a:r>
            <a:r>
              <a:rPr lang="zh-CN" altLang="en-US" sz="1100" dirty="0">
                <a:solidFill>
                  <a:srgbClr val="777777"/>
                </a:solidFill>
              </a:rPr>
              <a:t>上半年单量环比增长</a:t>
            </a:r>
            <a:endParaRPr lang="en-US" altLang="zh-CN" sz="1100" dirty="0">
              <a:solidFill>
                <a:srgbClr val="777777"/>
              </a:solidFill>
            </a:endParaRPr>
          </a:p>
        </p:txBody>
      </p:sp>
      <p:sp>
        <p:nvSpPr>
          <p:cNvPr id="95" name="矩形 94"/>
          <p:cNvSpPr/>
          <p:nvPr/>
        </p:nvSpPr>
        <p:spPr>
          <a:xfrm>
            <a:off x="8853311" y="4382903"/>
            <a:ext cx="1318437" cy="630863"/>
          </a:xfrm>
          <a:prstGeom prst="rect">
            <a:avLst/>
          </a:prstGeom>
        </p:spPr>
        <p:txBody>
          <a:bodyPr wrap="square" lIns="91436" tIns="45718" rIns="91436" bIns="45718" anchor="ctr">
            <a:noAutofit/>
          </a:bodyPr>
          <a:lstStyle/>
          <a:p>
            <a:pPr algn="ctr" defTabSz="914354"/>
            <a:r>
              <a:rPr lang="en-US" altLang="zh-CN" b="1" dirty="0">
                <a:solidFill>
                  <a:srgbClr val="DA0B1C"/>
                </a:solidFill>
              </a:rPr>
              <a:t>99.5%</a:t>
            </a:r>
          </a:p>
          <a:p>
            <a:pPr algn="ctr" defTabSz="914354"/>
            <a:r>
              <a:rPr lang="en-US" altLang="zh-CN" sz="1100" dirty="0">
                <a:solidFill>
                  <a:srgbClr val="777777"/>
                </a:solidFill>
              </a:rPr>
              <a:t>18</a:t>
            </a:r>
            <a:r>
              <a:rPr lang="zh-CN" altLang="en-US" sz="1100" dirty="0">
                <a:solidFill>
                  <a:srgbClr val="777777"/>
                </a:solidFill>
              </a:rPr>
              <a:t>上半年仓储打包及时率达</a:t>
            </a:r>
            <a:endParaRPr lang="en-US" altLang="zh-CN" sz="1100" dirty="0">
              <a:solidFill>
                <a:srgbClr val="777777"/>
              </a:solidFill>
            </a:endParaRPr>
          </a:p>
        </p:txBody>
      </p:sp>
      <p:sp>
        <p:nvSpPr>
          <p:cNvPr id="96" name="矩形 95"/>
          <p:cNvSpPr/>
          <p:nvPr/>
        </p:nvSpPr>
        <p:spPr>
          <a:xfrm>
            <a:off x="10234256" y="4382903"/>
            <a:ext cx="1318437" cy="630863"/>
          </a:xfrm>
          <a:prstGeom prst="rect">
            <a:avLst/>
          </a:prstGeom>
        </p:spPr>
        <p:txBody>
          <a:bodyPr wrap="square" lIns="91436" tIns="45718" rIns="91436" bIns="45718" anchor="ctr">
            <a:noAutofit/>
          </a:bodyPr>
          <a:lstStyle/>
          <a:p>
            <a:pPr algn="ctr" defTabSz="914354"/>
            <a:r>
              <a:rPr lang="en-US" altLang="zh-CN" b="1" dirty="0">
                <a:solidFill>
                  <a:srgbClr val="DA0B1C"/>
                </a:solidFill>
              </a:rPr>
              <a:t>15%</a:t>
            </a:r>
            <a:r>
              <a:rPr lang="en-US" altLang="zh-CN" b="1" dirty="0">
                <a:solidFill>
                  <a:srgbClr val="E2231A"/>
                </a:solidFill>
              </a:rPr>
              <a:t>↑</a:t>
            </a:r>
            <a:endParaRPr lang="en-US" altLang="zh-CN" b="1" dirty="0">
              <a:solidFill>
                <a:srgbClr val="DA0B1C"/>
              </a:solidFill>
            </a:endParaRPr>
          </a:p>
          <a:p>
            <a:pPr algn="ctr" defTabSz="914354"/>
            <a:r>
              <a:rPr lang="en-US" altLang="zh-CN" sz="1100" dirty="0">
                <a:solidFill>
                  <a:srgbClr val="777777"/>
                </a:solidFill>
              </a:rPr>
              <a:t>18</a:t>
            </a:r>
            <a:r>
              <a:rPr lang="zh-CN" altLang="en-US" sz="1100" dirty="0">
                <a:solidFill>
                  <a:srgbClr val="777777"/>
                </a:solidFill>
              </a:rPr>
              <a:t>上半年仓储人效环比提升</a:t>
            </a:r>
            <a:endParaRPr lang="en-US" altLang="zh-CN" sz="1100" dirty="0">
              <a:solidFill>
                <a:srgbClr val="777777"/>
              </a:solidFill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8203884" y="5258079"/>
            <a:ext cx="1318437" cy="630863"/>
          </a:xfrm>
          <a:prstGeom prst="rect">
            <a:avLst/>
          </a:prstGeom>
        </p:spPr>
        <p:txBody>
          <a:bodyPr wrap="square" lIns="91436" tIns="45718" rIns="91436" bIns="45718" anchor="ctr">
            <a:noAutofit/>
          </a:bodyPr>
          <a:lstStyle/>
          <a:p>
            <a:pPr algn="ctr" defTabSz="914354"/>
            <a:r>
              <a:rPr lang="en-US" altLang="zh-CN" b="1" dirty="0">
                <a:solidFill>
                  <a:srgbClr val="DA0B1C"/>
                </a:solidFill>
              </a:rPr>
              <a:t>12%</a:t>
            </a:r>
            <a:r>
              <a:rPr lang="en-US" altLang="zh-CN" b="1" dirty="0">
                <a:solidFill>
                  <a:srgbClr val="E2231A"/>
                </a:solidFill>
              </a:rPr>
              <a:t>↓</a:t>
            </a:r>
            <a:endParaRPr lang="en-US" altLang="zh-CN" b="1" dirty="0">
              <a:solidFill>
                <a:srgbClr val="DA0B1C"/>
              </a:solidFill>
            </a:endParaRPr>
          </a:p>
          <a:p>
            <a:pPr algn="ctr" defTabSz="914354"/>
            <a:r>
              <a:rPr lang="en-US" altLang="zh-CN" sz="1100" dirty="0">
                <a:solidFill>
                  <a:srgbClr val="777777"/>
                </a:solidFill>
              </a:rPr>
              <a:t>18</a:t>
            </a:r>
            <a:r>
              <a:rPr lang="zh-CN" altLang="en-US" sz="1100" dirty="0">
                <a:solidFill>
                  <a:srgbClr val="777777"/>
                </a:solidFill>
              </a:rPr>
              <a:t>上半年仓储单均成本环比下降</a:t>
            </a:r>
            <a:endParaRPr lang="en-US" altLang="zh-CN" sz="1100" dirty="0">
              <a:solidFill>
                <a:srgbClr val="777777"/>
              </a:solidFill>
            </a:endParaRPr>
          </a:p>
        </p:txBody>
      </p:sp>
      <p:sp>
        <p:nvSpPr>
          <p:cNvPr id="101" name="矩形 100"/>
          <p:cNvSpPr/>
          <p:nvPr/>
        </p:nvSpPr>
        <p:spPr>
          <a:xfrm>
            <a:off x="9584831" y="5258079"/>
            <a:ext cx="1318437" cy="630863"/>
          </a:xfrm>
          <a:prstGeom prst="rect">
            <a:avLst/>
          </a:prstGeom>
        </p:spPr>
        <p:txBody>
          <a:bodyPr wrap="square" lIns="91436" tIns="45718" rIns="91436" bIns="45718" anchor="ctr">
            <a:noAutofit/>
          </a:bodyPr>
          <a:lstStyle/>
          <a:p>
            <a:pPr algn="ctr" defTabSz="914354"/>
            <a:r>
              <a:rPr lang="en-US" altLang="zh-CN" b="1" dirty="0">
                <a:solidFill>
                  <a:srgbClr val="DA0B1C"/>
                </a:solidFill>
              </a:rPr>
              <a:t>46%</a:t>
            </a:r>
            <a:r>
              <a:rPr lang="en-US" altLang="zh-CN" b="1" dirty="0">
                <a:solidFill>
                  <a:srgbClr val="E2231A"/>
                </a:solidFill>
              </a:rPr>
              <a:t>↓</a:t>
            </a:r>
            <a:endParaRPr lang="en-US" altLang="zh-CN" b="1" dirty="0">
              <a:solidFill>
                <a:srgbClr val="DA0B1C"/>
              </a:solidFill>
            </a:endParaRPr>
          </a:p>
          <a:p>
            <a:pPr algn="ctr" defTabSz="914354"/>
            <a:r>
              <a:rPr lang="en-US" altLang="zh-CN" sz="1100" dirty="0">
                <a:solidFill>
                  <a:srgbClr val="777777"/>
                </a:solidFill>
              </a:rPr>
              <a:t>18</a:t>
            </a:r>
            <a:r>
              <a:rPr lang="zh-CN" altLang="en-US" sz="1100" dirty="0">
                <a:solidFill>
                  <a:srgbClr val="777777"/>
                </a:solidFill>
              </a:rPr>
              <a:t>上半年客诉率</a:t>
            </a:r>
            <a:endParaRPr lang="en-US" altLang="zh-CN" sz="1100" dirty="0">
              <a:solidFill>
                <a:srgbClr val="777777"/>
              </a:solidFill>
            </a:endParaRPr>
          </a:p>
          <a:p>
            <a:pPr algn="ctr" defTabSz="914354"/>
            <a:r>
              <a:rPr lang="zh-CN" altLang="en-US" sz="1100" dirty="0">
                <a:solidFill>
                  <a:srgbClr val="777777"/>
                </a:solidFill>
              </a:rPr>
              <a:t>环比下降</a:t>
            </a:r>
            <a:endParaRPr lang="en-US" altLang="zh-CN" sz="1100" dirty="0">
              <a:solidFill>
                <a:srgbClr val="7777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056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272613C-4D41-45B4-BA3E-EA631119C3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4" y="35201"/>
            <a:ext cx="9025003" cy="816000"/>
          </a:xfrm>
        </p:spPr>
        <p:txBody>
          <a:bodyPr wrap="square" lIns="0" tIns="45718" rIns="91436" bIns="45718" anchor="ctr" anchorCtr="0">
            <a:noAutofit/>
          </a:bodyPr>
          <a:lstStyle/>
          <a:p>
            <a:r>
              <a:rPr lang="zh-CN" altLang="en-US" dirty="0" smtClean="0">
                <a:solidFill>
                  <a:srgbClr val="DA0B1C"/>
                </a:solidFill>
                <a:latin typeface="微软雅黑" panose="020B0503020204020204" pitchFamily="34" charset="-122"/>
                <a:ea typeface="+mj-ea"/>
              </a:rPr>
              <a:t>全球最</a:t>
            </a:r>
            <a:r>
              <a:rPr lang="zh-CN" altLang="en-US" dirty="0">
                <a:solidFill>
                  <a:srgbClr val="DA0B1C"/>
                </a:solidFill>
                <a:latin typeface="微软雅黑" panose="020B0503020204020204" pitchFamily="34" charset="-122"/>
                <a:ea typeface="+mj-ea"/>
              </a:rPr>
              <a:t>广泛</a:t>
            </a:r>
            <a:r>
              <a:rPr lang="zh-CN" altLang="en-US" dirty="0" smtClean="0">
                <a:solidFill>
                  <a:srgbClr val="DA0B1C"/>
                </a:solidFill>
                <a:latin typeface="微软雅黑" panose="020B0503020204020204" pitchFamily="34" charset="-122"/>
                <a:ea typeface="+mj-ea"/>
              </a:rPr>
              <a:t>商用的</a:t>
            </a:r>
            <a:r>
              <a:rPr lang="zh-CN" altLang="en-US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无人</a:t>
            </a:r>
            <a:r>
              <a:rPr lang="zh-CN" altLang="en-US" dirty="0">
                <a:solidFill>
                  <a:srgbClr val="DA0B1C"/>
                </a:solidFill>
                <a:latin typeface="微软雅黑" panose="020B0503020204020204" pitchFamily="34" charset="-122"/>
              </a:rPr>
              <a:t>设备</a:t>
            </a:r>
            <a:r>
              <a:rPr lang="zh-CN" altLang="en-US" dirty="0">
                <a:solidFill>
                  <a:srgbClr val="DA0B1C"/>
                </a:solidFill>
                <a:latin typeface="微软雅黑" panose="020B0503020204020204" pitchFamily="34" charset="-122"/>
                <a:ea typeface="+mj-ea"/>
              </a:rPr>
              <a:t>，致力实现全流程智能化</a:t>
            </a:r>
          </a:p>
        </p:txBody>
      </p:sp>
      <p:cxnSp>
        <p:nvCxnSpPr>
          <p:cNvPr id="8" name="直接箭头连接符 7"/>
          <p:cNvCxnSpPr/>
          <p:nvPr/>
        </p:nvCxnSpPr>
        <p:spPr bwMode="auto">
          <a:xfrm>
            <a:off x="973361" y="990824"/>
            <a:ext cx="1" cy="529200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" name="文本框 55"/>
          <p:cNvSpPr txBox="1"/>
          <p:nvPr/>
        </p:nvSpPr>
        <p:spPr>
          <a:xfrm>
            <a:off x="1076897" y="4360452"/>
            <a:ext cx="761735" cy="553995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500" dirty="0">
                <a:solidFill>
                  <a:srgbClr val="777777"/>
                </a:solidFill>
              </a:rPr>
              <a:t>最后</a:t>
            </a:r>
            <a:endParaRPr lang="en-US" altLang="zh-CN" sz="1500" dirty="0">
              <a:solidFill>
                <a:srgbClr val="777777"/>
              </a:solidFill>
            </a:endParaRPr>
          </a:p>
          <a:p>
            <a:pPr algn="ctr" defTabSz="914354"/>
            <a:r>
              <a:rPr lang="zh-CN" altLang="en-US" sz="1500" dirty="0">
                <a:solidFill>
                  <a:srgbClr val="777777"/>
                </a:solidFill>
              </a:rPr>
              <a:t>一公里</a:t>
            </a:r>
          </a:p>
        </p:txBody>
      </p:sp>
      <p:sp>
        <p:nvSpPr>
          <p:cNvPr id="62" name="椭圆 61"/>
          <p:cNvSpPr/>
          <p:nvPr/>
        </p:nvSpPr>
        <p:spPr>
          <a:xfrm>
            <a:off x="932501" y="4596592"/>
            <a:ext cx="81719" cy="81717"/>
          </a:xfrm>
          <a:prstGeom prst="ellipse">
            <a:avLst/>
          </a:prstGeom>
          <a:solidFill>
            <a:srgbClr val="6E6568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sp>
        <p:nvSpPr>
          <p:cNvPr id="109" name="文本框 108"/>
          <p:cNvSpPr txBox="1"/>
          <p:nvPr/>
        </p:nvSpPr>
        <p:spPr>
          <a:xfrm>
            <a:off x="2630702" y="6175525"/>
            <a:ext cx="1415761" cy="276995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/>
                </a:solidFill>
              </a:rPr>
              <a:t>无人零售解决方案</a:t>
            </a:r>
          </a:p>
        </p:txBody>
      </p:sp>
      <p:sp>
        <p:nvSpPr>
          <p:cNvPr id="55" name="文本框 54"/>
          <p:cNvSpPr txBox="1"/>
          <p:nvPr/>
        </p:nvSpPr>
        <p:spPr>
          <a:xfrm>
            <a:off x="1173073" y="3360942"/>
            <a:ext cx="569376" cy="323161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500" dirty="0">
                <a:solidFill>
                  <a:srgbClr val="777777"/>
                </a:solidFill>
              </a:rPr>
              <a:t>支线</a:t>
            </a:r>
          </a:p>
        </p:txBody>
      </p:sp>
      <p:sp>
        <p:nvSpPr>
          <p:cNvPr id="61" name="椭圆 60"/>
          <p:cNvSpPr/>
          <p:nvPr/>
        </p:nvSpPr>
        <p:spPr>
          <a:xfrm>
            <a:off x="932501" y="3481663"/>
            <a:ext cx="81719" cy="81719"/>
          </a:xfrm>
          <a:prstGeom prst="ellipse">
            <a:avLst/>
          </a:prstGeom>
          <a:solidFill>
            <a:srgbClr val="6E6568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pic>
        <p:nvPicPr>
          <p:cNvPr id="104" name="图片 103"/>
          <p:cNvPicPr>
            <a:picLocks noChangeAspect="1"/>
          </p:cNvPicPr>
          <p:nvPr/>
        </p:nvPicPr>
        <p:blipFill rotWithShape="1">
          <a:blip r:embed="rId3"/>
          <a:srcRect l="6639" r="3374" b="6837"/>
          <a:stretch/>
        </p:blipFill>
        <p:spPr>
          <a:xfrm>
            <a:off x="1940393" y="3119732"/>
            <a:ext cx="1384543" cy="805576"/>
          </a:xfrm>
          <a:custGeom>
            <a:avLst/>
            <a:gdLst>
              <a:gd name="connsiteX0" fmla="*/ 0 w 1630800"/>
              <a:gd name="connsiteY0" fmla="*/ 0 h 948856"/>
              <a:gd name="connsiteX1" fmla="*/ 1630800 w 1630800"/>
              <a:gd name="connsiteY1" fmla="*/ 0 h 948856"/>
              <a:gd name="connsiteX2" fmla="*/ 1630800 w 1630800"/>
              <a:gd name="connsiteY2" fmla="*/ 948856 h 948856"/>
              <a:gd name="connsiteX3" fmla="*/ 0 w 1630800"/>
              <a:gd name="connsiteY3" fmla="*/ 948856 h 948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0800" h="948856">
                <a:moveTo>
                  <a:pt x="0" y="0"/>
                </a:moveTo>
                <a:lnTo>
                  <a:pt x="1630800" y="0"/>
                </a:lnTo>
                <a:lnTo>
                  <a:pt x="1630800" y="948856"/>
                </a:lnTo>
                <a:lnTo>
                  <a:pt x="0" y="948856"/>
                </a:lnTo>
                <a:close/>
              </a:path>
            </a:pathLst>
          </a:custGeom>
        </p:spPr>
      </p:pic>
      <p:pic>
        <p:nvPicPr>
          <p:cNvPr id="101" name="图片 100"/>
          <p:cNvPicPr>
            <a:picLocks noChangeAspect="1"/>
          </p:cNvPicPr>
          <p:nvPr/>
        </p:nvPicPr>
        <p:blipFill>
          <a:blip r:embed="rId4"/>
          <a:srcRect l="1655" t="16239" r="1655" b="8630"/>
          <a:stretch>
            <a:fillRect/>
          </a:stretch>
        </p:blipFill>
        <p:spPr>
          <a:xfrm>
            <a:off x="3364793" y="3119079"/>
            <a:ext cx="1384543" cy="806887"/>
          </a:xfrm>
          <a:custGeom>
            <a:avLst/>
            <a:gdLst>
              <a:gd name="connsiteX0" fmla="*/ 0 w 1630800"/>
              <a:gd name="connsiteY0" fmla="*/ 0 h 950400"/>
              <a:gd name="connsiteX1" fmla="*/ 1630800 w 1630800"/>
              <a:gd name="connsiteY1" fmla="*/ 0 h 950400"/>
              <a:gd name="connsiteX2" fmla="*/ 1630800 w 1630800"/>
              <a:gd name="connsiteY2" fmla="*/ 950400 h 950400"/>
              <a:gd name="connsiteX3" fmla="*/ 0 w 1630800"/>
              <a:gd name="connsiteY3" fmla="*/ 950400 h 95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0800" h="950400">
                <a:moveTo>
                  <a:pt x="0" y="0"/>
                </a:moveTo>
                <a:lnTo>
                  <a:pt x="1630800" y="0"/>
                </a:lnTo>
                <a:lnTo>
                  <a:pt x="1630800" y="950400"/>
                </a:lnTo>
                <a:lnTo>
                  <a:pt x="0" y="950400"/>
                </a:lnTo>
                <a:close/>
              </a:path>
            </a:pathLst>
          </a:custGeom>
        </p:spPr>
      </p:pic>
      <p:sp>
        <p:nvSpPr>
          <p:cNvPr id="107" name="文本框 106"/>
          <p:cNvSpPr txBox="1"/>
          <p:nvPr/>
        </p:nvSpPr>
        <p:spPr>
          <a:xfrm>
            <a:off x="2155616" y="3944042"/>
            <a:ext cx="954096" cy="276996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/>
                </a:solidFill>
              </a:rPr>
              <a:t>支线无人机</a:t>
            </a:r>
          </a:p>
        </p:txBody>
      </p:sp>
      <p:sp>
        <p:nvSpPr>
          <p:cNvPr id="110" name="文本框 109"/>
          <p:cNvSpPr txBox="1"/>
          <p:nvPr/>
        </p:nvSpPr>
        <p:spPr>
          <a:xfrm>
            <a:off x="3656962" y="3932154"/>
            <a:ext cx="800209" cy="276996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/>
                </a:solidFill>
              </a:rPr>
              <a:t>无人货车</a:t>
            </a:r>
          </a:p>
        </p:txBody>
      </p:sp>
      <p:sp>
        <p:nvSpPr>
          <p:cNvPr id="88" name="等腰三角形 87"/>
          <p:cNvSpPr/>
          <p:nvPr/>
        </p:nvSpPr>
        <p:spPr>
          <a:xfrm rot="16200000" flipV="1">
            <a:off x="5028631" y="1322359"/>
            <a:ext cx="558831" cy="108189"/>
          </a:xfrm>
          <a:prstGeom prst="triangle">
            <a:avLst/>
          </a:prstGeom>
          <a:solidFill>
            <a:srgbClr val="FFB8B8"/>
          </a:solidFill>
        </p:spPr>
        <p:txBody>
          <a:bodyPr rot="0" spcFirstLastPara="0" vertOverflow="overflow" horzOverflow="overflow" vert="horz" wrap="square" lIns="0" tIns="45718" rIns="0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endParaRPr lang="zh-CN" altLang="en-US" b="1" dirty="0">
              <a:solidFill>
                <a:srgbClr val="777777">
                  <a:lumMod val="95000"/>
                  <a:lumOff val="5000"/>
                </a:srgbClr>
              </a:solidFill>
            </a:endParaRPr>
          </a:p>
        </p:txBody>
      </p:sp>
      <p:grpSp>
        <p:nvGrpSpPr>
          <p:cNvPr id="33" name="组合 32"/>
          <p:cNvGrpSpPr/>
          <p:nvPr/>
        </p:nvGrpSpPr>
        <p:grpSpPr>
          <a:xfrm>
            <a:off x="5980423" y="1059621"/>
            <a:ext cx="1261885" cy="633659"/>
            <a:chOff x="6949415" y="1141021"/>
            <a:chExt cx="1261883" cy="633660"/>
          </a:xfrm>
        </p:grpSpPr>
        <p:sp>
          <p:nvSpPr>
            <p:cNvPr id="93" name="文本框 184"/>
            <p:cNvSpPr txBox="1"/>
            <p:nvPr/>
          </p:nvSpPr>
          <p:spPr>
            <a:xfrm>
              <a:off x="6949416" y="1477164"/>
              <a:ext cx="1261882" cy="29751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914354" fontAlgn="base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dirty="0">
                  <a:solidFill>
                    <a:srgbClr val="777777"/>
                  </a:solidFill>
                </a:rPr>
                <a:t>在营自动化仓库</a:t>
              </a:r>
            </a:p>
          </p:txBody>
        </p:sp>
        <p:sp>
          <p:nvSpPr>
            <p:cNvPr id="98" name="文本框 185"/>
            <p:cNvSpPr txBox="1"/>
            <p:nvPr/>
          </p:nvSpPr>
          <p:spPr>
            <a:xfrm>
              <a:off x="6949415" y="1141021"/>
              <a:ext cx="700832" cy="3847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b="1" dirty="0">
                  <a:solidFill>
                    <a:srgbClr val="DA0B1C"/>
                  </a:solidFill>
                </a:rPr>
                <a:t>27</a:t>
              </a:r>
              <a:r>
                <a:rPr lang="zh-CN" altLang="en-US" b="1" dirty="0">
                  <a:solidFill>
                    <a:srgbClr val="DA0B1C"/>
                  </a:solidFill>
                </a:rPr>
                <a:t>个</a:t>
              </a:r>
              <a:endParaRPr lang="zh-CN" altLang="en-US" sz="1200" b="1" dirty="0">
                <a:solidFill>
                  <a:srgbClr val="DA0B1C"/>
                </a:solidFill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7964188" y="1059626"/>
            <a:ext cx="989317" cy="633658"/>
            <a:chOff x="8231112" y="1141021"/>
            <a:chExt cx="989317" cy="633656"/>
          </a:xfrm>
        </p:grpSpPr>
        <p:sp>
          <p:nvSpPr>
            <p:cNvPr id="99" name="文本框 180"/>
            <p:cNvSpPr txBox="1"/>
            <p:nvPr/>
          </p:nvSpPr>
          <p:spPr>
            <a:xfrm>
              <a:off x="8231112" y="1477161"/>
              <a:ext cx="989317" cy="29751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354" fontAlgn="base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dirty="0">
                  <a:solidFill>
                    <a:srgbClr val="777777"/>
                  </a:solidFill>
                </a:rPr>
                <a:t>效率提升</a:t>
              </a:r>
            </a:p>
          </p:txBody>
        </p:sp>
        <p:sp>
          <p:nvSpPr>
            <p:cNvPr id="100" name="文本框 186"/>
            <p:cNvSpPr txBox="1"/>
            <p:nvPr/>
          </p:nvSpPr>
          <p:spPr>
            <a:xfrm>
              <a:off x="8231112" y="1141021"/>
              <a:ext cx="889987" cy="3847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b="1" dirty="0">
                  <a:solidFill>
                    <a:srgbClr val="DA0B1C"/>
                  </a:solidFill>
                </a:rPr>
                <a:t>↑ 10</a:t>
              </a:r>
              <a:r>
                <a:rPr lang="zh-CN" altLang="en-US" b="1" dirty="0">
                  <a:solidFill>
                    <a:srgbClr val="DA0B1C"/>
                  </a:solidFill>
                </a:rPr>
                <a:t>倍</a:t>
              </a: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9675386" y="1059623"/>
            <a:ext cx="1277914" cy="633658"/>
            <a:chOff x="9770925" y="1141021"/>
            <a:chExt cx="1277914" cy="633656"/>
          </a:xfrm>
        </p:grpSpPr>
        <p:sp>
          <p:nvSpPr>
            <p:cNvPr id="102" name="文本框 500"/>
            <p:cNvSpPr txBox="1"/>
            <p:nvPr/>
          </p:nvSpPr>
          <p:spPr>
            <a:xfrm>
              <a:off x="9770925" y="1477161"/>
              <a:ext cx="1277914" cy="297516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algn="ctr" fontAlgn="base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rgbClr val="777777"/>
                  </a:solidFill>
                  <a:latin typeface="微软雅黑" panose="020B0503020204020204" pitchFamily="34" charset="-122"/>
                </a:defRPr>
              </a:lvl1pPr>
            </a:lstStyle>
            <a:p>
              <a:pPr algn="l" defTabSz="914354"/>
              <a:r>
                <a:rPr lang="en-US" altLang="zh-CN" sz="1200" dirty="0">
                  <a:latin typeface="Arial"/>
                </a:rPr>
                <a:t>10</a:t>
              </a:r>
              <a:r>
                <a:rPr lang="zh-CN" altLang="en-US" sz="1200" dirty="0">
                  <a:latin typeface="Arial"/>
                </a:rPr>
                <a:t>年累计降成本</a:t>
              </a:r>
            </a:p>
          </p:txBody>
        </p:sp>
        <p:sp>
          <p:nvSpPr>
            <p:cNvPr id="115" name="文本框 71"/>
            <p:cNvSpPr txBox="1"/>
            <p:nvPr/>
          </p:nvSpPr>
          <p:spPr>
            <a:xfrm>
              <a:off x="9770925" y="1141021"/>
              <a:ext cx="862737" cy="3847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b="1" dirty="0">
                  <a:solidFill>
                    <a:srgbClr val="DA0B1C"/>
                  </a:solidFill>
                </a:rPr>
                <a:t>↓ </a:t>
              </a:r>
              <a:r>
                <a:rPr lang="en-US" altLang="zh-CN" b="1" dirty="0">
                  <a:solidFill>
                    <a:srgbClr val="DA0B1C"/>
                  </a:solidFill>
                </a:rPr>
                <a:t>30%</a:t>
              </a:r>
              <a:endParaRPr lang="zh-CN" altLang="en-US" b="1" dirty="0">
                <a:solidFill>
                  <a:srgbClr val="DA0B1C"/>
                </a:solidFill>
              </a:endParaRPr>
            </a:p>
          </p:txBody>
        </p:sp>
      </p:grpSp>
      <p:sp>
        <p:nvSpPr>
          <p:cNvPr id="122" name="等腰三角形 121"/>
          <p:cNvSpPr/>
          <p:nvPr/>
        </p:nvSpPr>
        <p:spPr>
          <a:xfrm rot="16200000" flipV="1">
            <a:off x="5028631" y="2376720"/>
            <a:ext cx="558831" cy="108189"/>
          </a:xfrm>
          <a:prstGeom prst="triangle">
            <a:avLst/>
          </a:prstGeom>
          <a:solidFill>
            <a:srgbClr val="FFB8B8"/>
          </a:solidFill>
        </p:spPr>
        <p:txBody>
          <a:bodyPr rot="0" spcFirstLastPara="0" vertOverflow="overflow" horzOverflow="overflow" vert="horz" wrap="square" lIns="0" tIns="45718" rIns="0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endParaRPr lang="zh-CN" altLang="en-US" b="1" dirty="0">
              <a:solidFill>
                <a:srgbClr val="777777">
                  <a:lumMod val="95000"/>
                  <a:lumOff val="5000"/>
                </a:srgbClr>
              </a:solidFill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5977721" y="4360659"/>
            <a:ext cx="931665" cy="553578"/>
            <a:chOff x="7181348" y="5300644"/>
            <a:chExt cx="1089864" cy="553580"/>
          </a:xfrm>
        </p:grpSpPr>
        <p:sp>
          <p:nvSpPr>
            <p:cNvPr id="129" name="文本框 184"/>
            <p:cNvSpPr txBox="1"/>
            <p:nvPr/>
          </p:nvSpPr>
          <p:spPr>
            <a:xfrm>
              <a:off x="7181348" y="5556706"/>
              <a:ext cx="981103" cy="29751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algn="ctr" fontAlgn="base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rgbClr val="777777"/>
                  </a:solidFill>
                  <a:latin typeface="微软雅黑" panose="020B0503020204020204" pitchFamily="34" charset="-122"/>
                </a:defRPr>
              </a:lvl1pPr>
            </a:lstStyle>
            <a:p>
              <a:pPr algn="l" defTabSz="914354"/>
              <a:r>
                <a:rPr lang="zh-CN" altLang="en-US" sz="1200" dirty="0">
                  <a:latin typeface="Arial"/>
                </a:rPr>
                <a:t>架次</a:t>
              </a:r>
              <a:r>
                <a:rPr lang="zh-CN" altLang="en-US" sz="900" dirty="0">
                  <a:latin typeface="Arial"/>
                </a:rPr>
                <a:t>（架）</a:t>
              </a:r>
              <a:endParaRPr lang="zh-CN" altLang="en-US" sz="1200" dirty="0">
                <a:latin typeface="Arial"/>
              </a:endParaRPr>
            </a:p>
          </p:txBody>
        </p:sp>
        <p:sp>
          <p:nvSpPr>
            <p:cNvPr id="130" name="文本框 185"/>
            <p:cNvSpPr txBox="1"/>
            <p:nvPr/>
          </p:nvSpPr>
          <p:spPr>
            <a:xfrm>
              <a:off x="7181348" y="5300644"/>
              <a:ext cx="1089864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C00000"/>
                  </a:solidFill>
                </a:rPr>
                <a:t>20,000+</a:t>
              </a:r>
              <a:endParaRPr lang="zh-CN" altLang="en-US" sz="1100" b="1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6867428" y="4360654"/>
            <a:ext cx="838691" cy="553578"/>
            <a:chOff x="7983515" y="5300644"/>
            <a:chExt cx="981107" cy="553581"/>
          </a:xfrm>
        </p:grpSpPr>
        <p:sp>
          <p:nvSpPr>
            <p:cNvPr id="132" name="文本框 180"/>
            <p:cNvSpPr txBox="1"/>
            <p:nvPr/>
          </p:nvSpPr>
          <p:spPr>
            <a:xfrm>
              <a:off x="7983515" y="5556707"/>
              <a:ext cx="981107" cy="29751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algn="ctr" fontAlgn="base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rgbClr val="777777"/>
                  </a:solidFill>
                  <a:latin typeface="微软雅黑" panose="020B0503020204020204" pitchFamily="34" charset="-122"/>
                </a:defRPr>
              </a:lvl1pPr>
            </a:lstStyle>
            <a:p>
              <a:pPr defTabSz="914354"/>
              <a:r>
                <a:rPr lang="zh-CN" altLang="en-US" sz="1200" dirty="0">
                  <a:latin typeface="Arial"/>
                </a:rPr>
                <a:t>航线</a:t>
              </a:r>
              <a:r>
                <a:rPr lang="zh-CN" altLang="en-US" sz="900" dirty="0">
                  <a:latin typeface="Arial"/>
                </a:rPr>
                <a:t>（条）</a:t>
              </a:r>
              <a:endParaRPr lang="zh-CN" altLang="en-US" sz="1200" dirty="0">
                <a:latin typeface="Arial"/>
              </a:endParaRPr>
            </a:p>
          </p:txBody>
        </p:sp>
        <p:sp>
          <p:nvSpPr>
            <p:cNvPr id="133" name="文本框 186"/>
            <p:cNvSpPr txBox="1"/>
            <p:nvPr/>
          </p:nvSpPr>
          <p:spPr>
            <a:xfrm>
              <a:off x="8096029" y="5300644"/>
              <a:ext cx="756083" cy="3385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C00000"/>
                  </a:solidFill>
                </a:rPr>
                <a:t>100+</a:t>
              </a:r>
              <a:endParaRPr lang="zh-CN" altLang="en-US" sz="1600" b="1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7664190" y="4360654"/>
            <a:ext cx="877163" cy="553578"/>
            <a:chOff x="8944732" y="5300644"/>
            <a:chExt cx="1026109" cy="553581"/>
          </a:xfrm>
        </p:grpSpPr>
        <p:sp>
          <p:nvSpPr>
            <p:cNvPr id="136" name="文本框 500"/>
            <p:cNvSpPr txBox="1"/>
            <p:nvPr/>
          </p:nvSpPr>
          <p:spPr>
            <a:xfrm>
              <a:off x="8944732" y="5556707"/>
              <a:ext cx="1026109" cy="29751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algn="ctr" fontAlgn="base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rgbClr val="777777"/>
                  </a:solidFill>
                  <a:latin typeface="微软雅黑" panose="020B0503020204020204" pitchFamily="34" charset="-122"/>
                </a:defRPr>
              </a:lvl1pPr>
            </a:lstStyle>
            <a:p>
              <a:pPr defTabSz="914354"/>
              <a:r>
                <a:rPr lang="zh-CN" altLang="en-US" sz="1200" dirty="0">
                  <a:latin typeface="Arial"/>
                </a:rPr>
                <a:t>里程</a:t>
              </a:r>
              <a:r>
                <a:rPr lang="zh-CN" altLang="en-US" sz="900" dirty="0">
                  <a:latin typeface="Arial"/>
                </a:rPr>
                <a:t>（</a:t>
              </a:r>
              <a:r>
                <a:rPr lang="en-US" altLang="zh-CN" sz="900" dirty="0">
                  <a:latin typeface="Arial"/>
                </a:rPr>
                <a:t>km</a:t>
              </a:r>
              <a:r>
                <a:rPr lang="zh-CN" altLang="en-US" sz="900" dirty="0">
                  <a:latin typeface="Arial"/>
                </a:rPr>
                <a:t>）</a:t>
              </a:r>
            </a:p>
          </p:txBody>
        </p:sp>
        <p:sp>
          <p:nvSpPr>
            <p:cNvPr id="138" name="文本框 71"/>
            <p:cNvSpPr txBox="1"/>
            <p:nvPr/>
          </p:nvSpPr>
          <p:spPr>
            <a:xfrm>
              <a:off x="9096625" y="5300644"/>
              <a:ext cx="722327" cy="3385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C00000"/>
                  </a:solidFill>
                </a:rPr>
                <a:t>13</a:t>
              </a:r>
              <a:r>
                <a:rPr lang="zh-CN" altLang="en-US" sz="1600" b="1" dirty="0">
                  <a:solidFill>
                    <a:srgbClr val="C00000"/>
                  </a:solidFill>
                </a:rPr>
                <a:t>万</a:t>
              </a:r>
            </a:p>
          </p:txBody>
        </p:sp>
      </p:grpSp>
      <p:sp>
        <p:nvSpPr>
          <p:cNvPr id="143" name="矩形 142">
            <a:extLst>
              <a:ext uri="{FF2B5EF4-FFF2-40B4-BE49-F238E27FC236}">
                <a16:creationId xmlns:a16="http://schemas.microsoft.com/office/drawing/2014/main" id="{3640BAE6-9ACE-482F-8D1D-9EE6E44CD805}"/>
              </a:ext>
            </a:extLst>
          </p:cNvPr>
          <p:cNvSpPr/>
          <p:nvPr/>
        </p:nvSpPr>
        <p:spPr>
          <a:xfrm>
            <a:off x="8616048" y="4385448"/>
            <a:ext cx="36000" cy="50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8980498" y="4351901"/>
            <a:ext cx="2010620" cy="571096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spAutoFit/>
          </a:bodyPr>
          <a:lstStyle/>
          <a:p>
            <a:pPr defTabSz="914354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</a:rPr>
              <a:t>配送机器人</a:t>
            </a:r>
            <a:r>
              <a:rPr lang="zh-CN" altLang="en-US" sz="1200" b="1" dirty="0">
                <a:solidFill>
                  <a:srgbClr val="C00000"/>
                </a:solidFill>
              </a:rPr>
              <a:t>全场景运营</a:t>
            </a:r>
          </a:p>
          <a:p>
            <a:pPr defTabSz="914354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</a:rPr>
              <a:t>高校、园区、社区等</a:t>
            </a:r>
            <a:endParaRPr lang="zh-CN" altLang="en-US" sz="1200" b="1" dirty="0">
              <a:solidFill>
                <a:srgbClr val="C00000"/>
              </a:solidFill>
            </a:endParaRPr>
          </a:p>
        </p:txBody>
      </p:sp>
      <p:sp>
        <p:nvSpPr>
          <p:cNvPr id="148" name="等腰三角形 147"/>
          <p:cNvSpPr/>
          <p:nvPr/>
        </p:nvSpPr>
        <p:spPr>
          <a:xfrm rot="16200000" flipV="1">
            <a:off x="5028631" y="3468428"/>
            <a:ext cx="558831" cy="108189"/>
          </a:xfrm>
          <a:prstGeom prst="triangle">
            <a:avLst/>
          </a:prstGeom>
          <a:solidFill>
            <a:srgbClr val="FFB8B8"/>
          </a:solidFill>
        </p:spPr>
        <p:txBody>
          <a:bodyPr rot="0" spcFirstLastPara="0" vertOverflow="overflow" horzOverflow="overflow" vert="horz" wrap="square" lIns="0" tIns="45718" rIns="0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endParaRPr lang="zh-CN" altLang="en-US" b="1" dirty="0">
              <a:solidFill>
                <a:srgbClr val="777777">
                  <a:lumMod val="95000"/>
                  <a:lumOff val="5000"/>
                </a:srgbClr>
              </a:solidFill>
            </a:endParaRPr>
          </a:p>
        </p:txBody>
      </p:sp>
      <p:sp>
        <p:nvSpPr>
          <p:cNvPr id="126" name="文本框 184"/>
          <p:cNvSpPr txBox="1"/>
          <p:nvPr/>
        </p:nvSpPr>
        <p:spPr>
          <a:xfrm>
            <a:off x="5977716" y="3236973"/>
            <a:ext cx="2185213" cy="571096"/>
          </a:xfrm>
          <a:prstGeom prst="rect">
            <a:avLst/>
          </a:prstGeom>
          <a:noFill/>
        </p:spPr>
        <p:txBody>
          <a:bodyPr wrap="none" lIns="91436" tIns="45718" rIns="91436" bIns="45718" rtlCol="0" anchor="ctr">
            <a:spAutoFit/>
          </a:bodyPr>
          <a:lstStyle/>
          <a:p>
            <a:pPr defTabSz="914354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>
                <a:solidFill>
                  <a:srgbClr val="C00000"/>
                </a:solidFill>
              </a:rPr>
              <a:t>自主研发原生</a:t>
            </a:r>
            <a:r>
              <a:rPr lang="zh-CN" altLang="en-US" sz="1200" dirty="0">
                <a:solidFill>
                  <a:srgbClr val="777777"/>
                </a:solidFill>
              </a:rPr>
              <a:t>重型无人机下线</a:t>
            </a:r>
            <a:endParaRPr lang="en-US" altLang="zh-CN" sz="1200" dirty="0">
              <a:solidFill>
                <a:srgbClr val="777777"/>
              </a:solidFill>
            </a:endParaRPr>
          </a:p>
          <a:p>
            <a:pPr defTabSz="914354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</a:rPr>
              <a:t>物流行业首个</a:t>
            </a: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3640BAE6-9ACE-482F-8D1D-9EE6E44CD805}"/>
              </a:ext>
            </a:extLst>
          </p:cNvPr>
          <p:cNvSpPr/>
          <p:nvPr/>
        </p:nvSpPr>
        <p:spPr>
          <a:xfrm>
            <a:off x="8614746" y="3270520"/>
            <a:ext cx="37305" cy="50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51" name="文本框 184"/>
          <p:cNvSpPr txBox="1"/>
          <p:nvPr/>
        </p:nvSpPr>
        <p:spPr>
          <a:xfrm>
            <a:off x="8980499" y="3245524"/>
            <a:ext cx="2317532" cy="553994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spAutoFit/>
          </a:bodyPr>
          <a:lstStyle>
            <a:defPPr>
              <a:defRPr lang="zh-CN"/>
            </a:defPPr>
            <a:lvl1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 sz="1100"/>
            </a:lvl1pPr>
          </a:lstStyle>
          <a:p>
            <a:pPr algn="l" defTabSz="914354"/>
            <a:r>
              <a:rPr lang="zh-CN" altLang="en-US" sz="1200" dirty="0">
                <a:solidFill>
                  <a:srgbClr val="777777"/>
                </a:solidFill>
              </a:rPr>
              <a:t>无人货车已在指定路段测试</a:t>
            </a:r>
            <a:endParaRPr lang="en-US" altLang="zh-CN" sz="1200" dirty="0">
              <a:solidFill>
                <a:srgbClr val="777777"/>
              </a:solidFill>
            </a:endParaRPr>
          </a:p>
          <a:p>
            <a:pPr algn="l" defTabSz="914354"/>
            <a:r>
              <a:rPr lang="zh-CN" altLang="en-US" sz="1200" dirty="0">
                <a:solidFill>
                  <a:srgbClr val="777777"/>
                </a:solidFill>
              </a:rPr>
              <a:t>国内电商物流行业</a:t>
            </a:r>
            <a:r>
              <a:rPr lang="zh-CN" altLang="en-US" sz="1200" b="1" dirty="0">
                <a:solidFill>
                  <a:srgbClr val="C00000"/>
                </a:solidFill>
              </a:rPr>
              <a:t>首次</a:t>
            </a:r>
            <a:endParaRPr lang="en-US" altLang="zh-CN" sz="1200" dirty="0">
              <a:solidFill>
                <a:srgbClr val="777777"/>
              </a:solidFill>
            </a:endParaRPr>
          </a:p>
        </p:txBody>
      </p:sp>
      <p:sp>
        <p:nvSpPr>
          <p:cNvPr id="157" name="等腰三角形 156"/>
          <p:cNvSpPr/>
          <p:nvPr/>
        </p:nvSpPr>
        <p:spPr>
          <a:xfrm rot="16200000" flipV="1">
            <a:off x="5028631" y="4583356"/>
            <a:ext cx="558831" cy="108189"/>
          </a:xfrm>
          <a:prstGeom prst="triangle">
            <a:avLst/>
          </a:prstGeom>
          <a:solidFill>
            <a:srgbClr val="FFB8B8"/>
          </a:solidFill>
        </p:spPr>
        <p:txBody>
          <a:bodyPr rot="0" spcFirstLastPara="0" vertOverflow="overflow" horzOverflow="overflow" vert="horz" wrap="square" lIns="0" tIns="45718" rIns="0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endParaRPr lang="zh-CN" altLang="en-US" b="1" dirty="0">
              <a:solidFill>
                <a:srgbClr val="777777">
                  <a:lumMod val="95000"/>
                  <a:lumOff val="5000"/>
                </a:srgbClr>
              </a:solidFill>
            </a:endParaRPr>
          </a:p>
        </p:txBody>
      </p:sp>
      <p:sp>
        <p:nvSpPr>
          <p:cNvPr id="125" name="矩形 124">
            <a:extLst>
              <a:ext uri="{FF2B5EF4-FFF2-40B4-BE49-F238E27FC236}">
                <a16:creationId xmlns:a16="http://schemas.microsoft.com/office/drawing/2014/main" id="{3640BAE6-9ACE-482F-8D1D-9EE6E44CD805}"/>
              </a:ext>
            </a:extLst>
          </p:cNvPr>
          <p:cNvSpPr/>
          <p:nvPr/>
        </p:nvSpPr>
        <p:spPr>
          <a:xfrm>
            <a:off x="8616048" y="2178815"/>
            <a:ext cx="36000" cy="50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27" name="文本框 184"/>
          <p:cNvSpPr txBox="1"/>
          <p:nvPr/>
        </p:nvSpPr>
        <p:spPr>
          <a:xfrm>
            <a:off x="8980499" y="2145267"/>
            <a:ext cx="2144437" cy="571096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spAutoFit/>
          </a:bodyPr>
          <a:lstStyle/>
          <a:p>
            <a:pPr defTabSz="914354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</a:rPr>
              <a:t>无人重卡完成</a:t>
            </a:r>
            <a:r>
              <a:rPr lang="en-US" altLang="zh-CN" sz="1200" b="1" dirty="0">
                <a:solidFill>
                  <a:srgbClr val="C00000"/>
                </a:solidFill>
              </a:rPr>
              <a:t>2,400</a:t>
            </a:r>
            <a:r>
              <a:rPr lang="zh-CN" altLang="en-US" sz="1200" b="1" dirty="0">
                <a:solidFill>
                  <a:srgbClr val="C00000"/>
                </a:solidFill>
              </a:rPr>
              <a:t>小时</a:t>
            </a:r>
            <a:r>
              <a:rPr lang="zh-CN" altLang="en-US" sz="1200" dirty="0">
                <a:solidFill>
                  <a:srgbClr val="777777"/>
                </a:solidFill>
              </a:rPr>
              <a:t>测试</a:t>
            </a:r>
            <a:endParaRPr lang="en-US" altLang="zh-CN" sz="1200" dirty="0">
              <a:solidFill>
                <a:srgbClr val="777777"/>
              </a:solidFill>
            </a:endParaRPr>
          </a:p>
          <a:p>
            <a:pPr defTabSz="914354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solidFill>
                  <a:srgbClr val="777777"/>
                </a:solidFill>
              </a:rPr>
              <a:t>2020</a:t>
            </a:r>
            <a:r>
              <a:rPr lang="zh-CN" altLang="en-US" sz="1200" dirty="0">
                <a:solidFill>
                  <a:srgbClr val="777777"/>
                </a:solidFill>
              </a:rPr>
              <a:t>年商业化试运营</a:t>
            </a:r>
          </a:p>
        </p:txBody>
      </p:sp>
      <p:sp>
        <p:nvSpPr>
          <p:cNvPr id="17" name="矩形 16"/>
          <p:cNvSpPr/>
          <p:nvPr/>
        </p:nvSpPr>
        <p:spPr>
          <a:xfrm>
            <a:off x="5977716" y="2145267"/>
            <a:ext cx="2304000" cy="571096"/>
          </a:xfrm>
          <a:prstGeom prst="rect">
            <a:avLst/>
          </a:prstGeom>
          <a:noFill/>
        </p:spPr>
        <p:txBody>
          <a:bodyPr wrap="square" lIns="91436" tIns="45718" rIns="91436" bIns="45718" rtlCol="0" anchor="ctr">
            <a:spAutoFit/>
          </a:bodyPr>
          <a:lstStyle/>
          <a:p>
            <a:pPr defTabSz="914354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>
                <a:solidFill>
                  <a:srgbClr val="C00000"/>
                </a:solidFill>
              </a:rPr>
              <a:t>超重型无人机</a:t>
            </a:r>
            <a:r>
              <a:rPr lang="zh-CN" altLang="en-US" sz="1200" dirty="0">
                <a:solidFill>
                  <a:srgbClr val="777777"/>
                </a:solidFill>
              </a:rPr>
              <a:t>已立项</a:t>
            </a:r>
            <a:endParaRPr lang="en-US" altLang="zh-CN" sz="1200" dirty="0">
              <a:solidFill>
                <a:srgbClr val="777777"/>
              </a:solidFill>
            </a:endParaRPr>
          </a:p>
          <a:p>
            <a:pPr defTabSz="914354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</a:rPr>
              <a:t>行业领先</a:t>
            </a:r>
          </a:p>
        </p:txBody>
      </p:sp>
      <p:sp>
        <p:nvSpPr>
          <p:cNvPr id="54" name="文本框 53"/>
          <p:cNvSpPr txBox="1"/>
          <p:nvPr/>
        </p:nvSpPr>
        <p:spPr>
          <a:xfrm>
            <a:off x="1173073" y="2269237"/>
            <a:ext cx="569376" cy="323161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500" dirty="0">
                <a:solidFill>
                  <a:srgbClr val="777777"/>
                </a:solidFill>
              </a:rPr>
              <a:t>干线</a:t>
            </a:r>
          </a:p>
        </p:txBody>
      </p:sp>
      <p:sp>
        <p:nvSpPr>
          <p:cNvPr id="60" name="椭圆 59"/>
          <p:cNvSpPr/>
          <p:nvPr/>
        </p:nvSpPr>
        <p:spPr>
          <a:xfrm>
            <a:off x="932501" y="2389957"/>
            <a:ext cx="81719" cy="81719"/>
          </a:xfrm>
          <a:prstGeom prst="ellipse">
            <a:avLst/>
          </a:prstGeom>
          <a:solidFill>
            <a:srgbClr val="6E6568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5"/>
          <a:srcRect t="8846" b="13571"/>
          <a:stretch/>
        </p:blipFill>
        <p:spPr>
          <a:xfrm>
            <a:off x="3365104" y="2028030"/>
            <a:ext cx="1383921" cy="805575"/>
          </a:xfrm>
          <a:prstGeom prst="rect">
            <a:avLst/>
          </a:prstGeom>
        </p:spPr>
      </p:pic>
      <p:sp>
        <p:nvSpPr>
          <p:cNvPr id="24" name="文本框 23"/>
          <p:cNvSpPr txBox="1"/>
          <p:nvPr/>
        </p:nvSpPr>
        <p:spPr>
          <a:xfrm>
            <a:off x="3656960" y="2827919"/>
            <a:ext cx="800209" cy="276996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/>
                </a:solidFill>
              </a:rPr>
              <a:t>无人重卡</a:t>
            </a:r>
          </a:p>
        </p:txBody>
      </p:sp>
      <p:sp>
        <p:nvSpPr>
          <p:cNvPr id="106" name="文本框 105"/>
          <p:cNvSpPr txBox="1"/>
          <p:nvPr/>
        </p:nvSpPr>
        <p:spPr>
          <a:xfrm>
            <a:off x="2078669" y="2829182"/>
            <a:ext cx="1107987" cy="276996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/>
                </a:solidFill>
              </a:rPr>
              <a:t>超重型无人机</a:t>
            </a:r>
          </a:p>
        </p:txBody>
      </p:sp>
      <p:pic>
        <p:nvPicPr>
          <p:cNvPr id="29702" name="Picture 6" descr="C:\Users\lirui10\Pictures\业务图\重型无人机.webp.jpg"/>
          <p:cNvPicPr>
            <a:picLocks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5770"/>
          <a:stretch/>
        </p:blipFill>
        <p:spPr bwMode="auto">
          <a:xfrm>
            <a:off x="1940393" y="2027373"/>
            <a:ext cx="1384543" cy="806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文本框 3"/>
          <p:cNvSpPr txBox="1"/>
          <p:nvPr/>
        </p:nvSpPr>
        <p:spPr>
          <a:xfrm>
            <a:off x="1173073" y="1214874"/>
            <a:ext cx="569376" cy="323161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500" dirty="0">
                <a:solidFill>
                  <a:srgbClr val="777777"/>
                </a:solidFill>
              </a:rPr>
              <a:t>仓储</a:t>
            </a:r>
          </a:p>
        </p:txBody>
      </p:sp>
      <p:sp>
        <p:nvSpPr>
          <p:cNvPr id="9" name="椭圆 8"/>
          <p:cNvSpPr/>
          <p:nvPr/>
        </p:nvSpPr>
        <p:spPr>
          <a:xfrm>
            <a:off x="932501" y="1335594"/>
            <a:ext cx="81719" cy="81719"/>
          </a:xfrm>
          <a:prstGeom prst="ellipse">
            <a:avLst/>
          </a:prstGeom>
          <a:solidFill>
            <a:srgbClr val="6E6568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pic>
        <p:nvPicPr>
          <p:cNvPr id="29698" name="Picture 2" descr="D:\物流规划发展部\0 专项研究\演讲稿\2017年\双十一 启动会\无人仓图片精选\视觉检验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24" b="3408"/>
          <a:stretch/>
        </p:blipFill>
        <p:spPr bwMode="auto">
          <a:xfrm>
            <a:off x="3364791" y="973010"/>
            <a:ext cx="1384543" cy="806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9" name="Picture 3" descr="D:\物流规划发展部\0 专项研究\演讲稿\2017年\双十一 启动会\无人仓图片精选\分拣机器人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0"/>
          <a:stretch/>
        </p:blipFill>
        <p:spPr bwMode="auto">
          <a:xfrm>
            <a:off x="1940391" y="973010"/>
            <a:ext cx="1384544" cy="806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文本框 64"/>
          <p:cNvSpPr txBox="1"/>
          <p:nvPr/>
        </p:nvSpPr>
        <p:spPr>
          <a:xfrm>
            <a:off x="2791025" y="1738091"/>
            <a:ext cx="1107987" cy="276996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/>
                </a:solidFill>
              </a:rPr>
              <a:t>全流程无人仓</a:t>
            </a:r>
          </a:p>
        </p:txBody>
      </p:sp>
      <p:sp>
        <p:nvSpPr>
          <p:cNvPr id="71" name="文本框 70"/>
          <p:cNvSpPr txBox="1"/>
          <p:nvPr/>
        </p:nvSpPr>
        <p:spPr>
          <a:xfrm>
            <a:off x="1173077" y="5590046"/>
            <a:ext cx="569375" cy="323161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500" dirty="0">
                <a:solidFill>
                  <a:srgbClr val="777777"/>
                </a:solidFill>
              </a:rPr>
              <a:t>门店</a:t>
            </a:r>
          </a:p>
        </p:txBody>
      </p:sp>
      <p:sp>
        <p:nvSpPr>
          <p:cNvPr id="72" name="椭圆 71"/>
          <p:cNvSpPr/>
          <p:nvPr/>
        </p:nvSpPr>
        <p:spPr>
          <a:xfrm>
            <a:off x="932501" y="5710767"/>
            <a:ext cx="81719" cy="81717"/>
          </a:xfrm>
          <a:prstGeom prst="ellipse">
            <a:avLst/>
          </a:prstGeom>
          <a:solidFill>
            <a:srgbClr val="6E6568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ea typeface="楷体" panose="02010609060101010101" pitchFamily="49" charset="-122"/>
            </a:endParaRPr>
          </a:p>
        </p:txBody>
      </p:sp>
      <p:pic>
        <p:nvPicPr>
          <p:cNvPr id="84" name="图片 83"/>
          <p:cNvPicPr>
            <a:picLocks/>
          </p:cNvPicPr>
          <p:nvPr/>
        </p:nvPicPr>
        <p:blipFill rotWithShape="1">
          <a:blip r:embed="rId9"/>
          <a:srcRect l="2211" r="77"/>
          <a:stretch/>
        </p:blipFill>
        <p:spPr>
          <a:xfrm>
            <a:off x="1940391" y="4234011"/>
            <a:ext cx="1387575" cy="806879"/>
          </a:xfrm>
          <a:custGeom>
            <a:avLst/>
            <a:gdLst>
              <a:gd name="connsiteX0" fmla="*/ 0 w 1630800"/>
              <a:gd name="connsiteY0" fmla="*/ 0 h 950400"/>
              <a:gd name="connsiteX1" fmla="*/ 1630800 w 1630800"/>
              <a:gd name="connsiteY1" fmla="*/ 0 h 950400"/>
              <a:gd name="connsiteX2" fmla="*/ 1630800 w 1630800"/>
              <a:gd name="connsiteY2" fmla="*/ 950400 h 950400"/>
              <a:gd name="connsiteX3" fmla="*/ 0 w 1630800"/>
              <a:gd name="connsiteY3" fmla="*/ 950400 h 95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0800" h="950400">
                <a:moveTo>
                  <a:pt x="0" y="0"/>
                </a:moveTo>
                <a:lnTo>
                  <a:pt x="1630800" y="0"/>
                </a:lnTo>
                <a:lnTo>
                  <a:pt x="1630800" y="950400"/>
                </a:lnTo>
                <a:lnTo>
                  <a:pt x="0" y="950400"/>
                </a:lnTo>
                <a:close/>
              </a:path>
            </a:pathLst>
          </a:custGeom>
        </p:spPr>
      </p:pic>
      <p:pic>
        <p:nvPicPr>
          <p:cNvPr id="85" name="图片 84"/>
          <p:cNvPicPr>
            <a:picLocks/>
          </p:cNvPicPr>
          <p:nvPr/>
        </p:nvPicPr>
        <p:blipFill rotWithShape="1">
          <a:blip r:embed="rId10"/>
          <a:srcRect l="-355" r="1633"/>
          <a:stretch/>
        </p:blipFill>
        <p:spPr>
          <a:xfrm>
            <a:off x="3366792" y="4234011"/>
            <a:ext cx="1383568" cy="806879"/>
          </a:xfrm>
          <a:prstGeom prst="rect">
            <a:avLst/>
          </a:prstGeom>
        </p:spPr>
      </p:pic>
      <p:sp>
        <p:nvSpPr>
          <p:cNvPr id="86" name="文本框 85"/>
          <p:cNvSpPr txBox="1"/>
          <p:nvPr/>
        </p:nvSpPr>
        <p:spPr>
          <a:xfrm>
            <a:off x="2157127" y="5060662"/>
            <a:ext cx="954096" cy="276996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/>
                </a:solidFill>
              </a:rPr>
              <a:t>末端无人机</a:t>
            </a:r>
          </a:p>
        </p:txBody>
      </p:sp>
      <p:sp>
        <p:nvSpPr>
          <p:cNvPr id="87" name="文本框 86"/>
          <p:cNvSpPr txBox="1"/>
          <p:nvPr/>
        </p:nvSpPr>
        <p:spPr>
          <a:xfrm>
            <a:off x="3581527" y="5060666"/>
            <a:ext cx="954096" cy="276996"/>
          </a:xfrm>
          <a:prstGeom prst="rect">
            <a:avLst/>
          </a:prstGeom>
          <a:noFill/>
        </p:spPr>
        <p:txBody>
          <a:bodyPr wrap="none" lIns="91430" tIns="45718" rIns="91430" bIns="45718" rtlCol="0">
            <a:sp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/>
                </a:solidFill>
              </a:rPr>
              <a:t>配送机器人</a:t>
            </a:r>
          </a:p>
        </p:txBody>
      </p:sp>
      <p:pic>
        <p:nvPicPr>
          <p:cNvPr id="92" name="Picture 4" descr="“京东无人超市”的图片搜索结果">
            <a:extLst>
              <a:ext uri="{FF2B5EF4-FFF2-40B4-BE49-F238E27FC236}">
                <a16:creationId xmlns:a16="http://schemas.microsoft.com/office/drawing/2014/main" id="{7C5704F3-ABAC-487D-95E1-A42E350420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50" t="13215" r="14980" b="28266"/>
          <a:stretch/>
        </p:blipFill>
        <p:spPr bwMode="auto">
          <a:xfrm>
            <a:off x="1940393" y="5348186"/>
            <a:ext cx="1384543" cy="80687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图片 93"/>
          <p:cNvPicPr>
            <a:picLocks noChangeAspect="1"/>
          </p:cNvPicPr>
          <p:nvPr/>
        </p:nvPicPr>
        <p:blipFill rotWithShape="1">
          <a:blip r:embed="rId12"/>
          <a:srcRect t="24663" r="13894"/>
          <a:stretch/>
        </p:blipFill>
        <p:spPr>
          <a:xfrm>
            <a:off x="3366795" y="5348186"/>
            <a:ext cx="1382231" cy="806879"/>
          </a:xfrm>
          <a:prstGeom prst="rect">
            <a:avLst/>
          </a:prstGeom>
        </p:spPr>
      </p:pic>
      <p:sp>
        <p:nvSpPr>
          <p:cNvPr id="95" name="等腰三角形 94"/>
          <p:cNvSpPr/>
          <p:nvPr/>
        </p:nvSpPr>
        <p:spPr>
          <a:xfrm rot="16200000" flipV="1">
            <a:off x="5028631" y="5697531"/>
            <a:ext cx="558831" cy="108189"/>
          </a:xfrm>
          <a:prstGeom prst="triangle">
            <a:avLst/>
          </a:prstGeom>
          <a:solidFill>
            <a:srgbClr val="FFB8B8"/>
          </a:solidFill>
        </p:spPr>
        <p:txBody>
          <a:bodyPr rot="0" spcFirstLastPara="0" vertOverflow="overflow" horzOverflow="overflow" vert="horz" wrap="square" lIns="0" tIns="45718" rIns="0" bIns="4571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endParaRPr lang="zh-CN" altLang="en-US" b="1" dirty="0">
              <a:solidFill>
                <a:srgbClr val="777777">
                  <a:lumMod val="95000"/>
                  <a:lumOff val="5000"/>
                </a:srgbClr>
              </a:solidFill>
            </a:endParaRPr>
          </a:p>
        </p:txBody>
      </p:sp>
      <p:cxnSp>
        <p:nvCxnSpPr>
          <p:cNvPr id="36" name="直接连接符 35"/>
          <p:cNvCxnSpPr/>
          <p:nvPr/>
        </p:nvCxnSpPr>
        <p:spPr bwMode="auto">
          <a:xfrm>
            <a:off x="4749021" y="1891371"/>
            <a:ext cx="6605867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" name="直接连接符 104"/>
          <p:cNvCxnSpPr/>
          <p:nvPr/>
        </p:nvCxnSpPr>
        <p:spPr bwMode="auto">
          <a:xfrm>
            <a:off x="4749021" y="2995003"/>
            <a:ext cx="6605867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1" name="直接连接符 110"/>
          <p:cNvCxnSpPr/>
          <p:nvPr/>
        </p:nvCxnSpPr>
        <p:spPr bwMode="auto">
          <a:xfrm>
            <a:off x="4749021" y="4098636"/>
            <a:ext cx="6605867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" name="直接连接符 111"/>
          <p:cNvCxnSpPr/>
          <p:nvPr/>
        </p:nvCxnSpPr>
        <p:spPr bwMode="auto">
          <a:xfrm>
            <a:off x="4749021" y="5202268"/>
            <a:ext cx="6605867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3" name="直接连接符 112"/>
          <p:cNvCxnSpPr/>
          <p:nvPr/>
        </p:nvCxnSpPr>
        <p:spPr bwMode="auto">
          <a:xfrm>
            <a:off x="4749021" y="6305900"/>
            <a:ext cx="6605867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4" name="矩形 113">
            <a:extLst>
              <a:ext uri="{FF2B5EF4-FFF2-40B4-BE49-F238E27FC236}">
                <a16:creationId xmlns:a16="http://schemas.microsoft.com/office/drawing/2014/main" id="{FE63833E-0567-4DCC-89D5-60CD69C60DAD}"/>
              </a:ext>
            </a:extLst>
          </p:cNvPr>
          <p:cNvSpPr/>
          <p:nvPr/>
        </p:nvSpPr>
        <p:spPr>
          <a:xfrm>
            <a:off x="5977718" y="5590041"/>
            <a:ext cx="5377172" cy="331715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defTabSz="914354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>
                <a:solidFill>
                  <a:srgbClr val="777777"/>
                </a:solidFill>
                <a:sym typeface="+mn-lt"/>
              </a:rPr>
              <a:t>在营 </a:t>
            </a:r>
            <a:r>
              <a:rPr lang="en-US" altLang="zh-CN" sz="1200" dirty="0">
                <a:solidFill>
                  <a:srgbClr val="777777"/>
                </a:solidFill>
                <a:sym typeface="+mn-lt"/>
              </a:rPr>
              <a:t>- </a:t>
            </a:r>
            <a:r>
              <a:rPr lang="zh-CN" altLang="en-US" sz="1200" dirty="0">
                <a:solidFill>
                  <a:srgbClr val="777777"/>
                </a:solidFill>
                <a:sym typeface="+mn-lt"/>
              </a:rPr>
              <a:t>国内：</a:t>
            </a:r>
            <a:r>
              <a:rPr lang="zh-CN" altLang="en-US" sz="1200" b="1" dirty="0">
                <a:solidFill>
                  <a:srgbClr val="C00000"/>
                </a:solidFill>
                <a:sym typeface="+mn-lt"/>
              </a:rPr>
              <a:t>北京、烟台、大连、宿迁、西安、天津</a:t>
            </a:r>
            <a:r>
              <a:rPr lang="zh-CN" altLang="en-US" sz="1200" dirty="0">
                <a:solidFill>
                  <a:srgbClr val="777777"/>
                </a:solidFill>
                <a:sym typeface="+mn-lt"/>
              </a:rPr>
              <a:t>，国外：</a:t>
            </a:r>
            <a:r>
              <a:rPr lang="zh-CN" altLang="en-US" sz="1200" b="1" dirty="0">
                <a:solidFill>
                  <a:srgbClr val="C00000"/>
                </a:solidFill>
                <a:sym typeface="+mn-lt"/>
              </a:rPr>
              <a:t>印尼</a:t>
            </a:r>
          </a:p>
        </p:txBody>
      </p:sp>
      <p:sp>
        <p:nvSpPr>
          <p:cNvPr id="75" name="文本占位符 26">
            <a:extLst>
              <a:ext uri="{FF2B5EF4-FFF2-40B4-BE49-F238E27FC236}">
                <a16:creationId xmlns:a16="http://schemas.microsoft.com/office/drawing/2014/main" id="{EAE40C00-6126-4319-9D90-1D0A4096262E}"/>
              </a:ext>
            </a:extLst>
          </p:cNvPr>
          <p:cNvSpPr txBox="1">
            <a:spLocks/>
          </p:cNvSpPr>
          <p:nvPr/>
        </p:nvSpPr>
        <p:spPr>
          <a:xfrm>
            <a:off x="719403" y="6461577"/>
            <a:ext cx="10692000" cy="216000"/>
          </a:xfrm>
          <a:prstGeom prst="rect">
            <a:avLst/>
          </a:prstGeom>
          <a:noFill/>
          <a:ln>
            <a:noFill/>
          </a:ln>
        </p:spPr>
        <p:txBody>
          <a:bodyPr lIns="0" tIns="45718" rIns="91430" bIns="45718"/>
          <a:lstStyle>
            <a:lvl1pPr marL="0" indent="0" algn="r" defTabSz="1068864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333" b="0">
                <a:solidFill>
                  <a:srgbClr val="A6A6A6"/>
                </a:solidFill>
                <a:latin typeface="+mn-lt"/>
                <a:ea typeface="+mn-ea"/>
                <a:cs typeface="+mn-cs"/>
              </a:defRPr>
            </a:lvl1pPr>
            <a:lvl2pPr marL="869908" indent="-334417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itchFamily="2" charset="2"/>
              <a:buChar char="p"/>
              <a:defRPr sz="3200">
                <a:solidFill>
                  <a:srgbClr val="777777"/>
                </a:solidFill>
                <a:latin typeface="+mn-lt"/>
                <a:ea typeface="+mn-ea"/>
              </a:defRPr>
            </a:lvl2pPr>
            <a:lvl3pPr marL="1337667" indent="-268804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pitchFamily="2" charset="2"/>
              <a:buChar char="n"/>
              <a:defRPr sz="2933">
                <a:solidFill>
                  <a:srgbClr val="777777"/>
                </a:solidFill>
                <a:latin typeface="+mn-lt"/>
                <a:ea typeface="+mn-ea"/>
              </a:defRPr>
            </a:lvl3pPr>
            <a:lvl4pPr marL="1868924" indent="-266687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2667">
                <a:solidFill>
                  <a:srgbClr val="777777"/>
                </a:solidFill>
                <a:latin typeface="+mn-lt"/>
                <a:ea typeface="+mn-ea"/>
              </a:defRPr>
            </a:lvl4pPr>
            <a:lvl5pPr marL="2404413" indent="-268804" algn="l" defTabSz="1068864" rtl="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5pPr>
            <a:lvl6pPr marL="3013983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6pPr>
            <a:lvl7pPr marL="3623552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7pPr>
            <a:lvl8pPr marL="4233122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8pPr>
            <a:lvl9pPr marL="4842691" indent="-268804" algn="l" defTabSz="1068864" rtl="0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~"/>
              <a:defRPr>
                <a:solidFill>
                  <a:srgbClr val="777777"/>
                </a:solidFill>
                <a:latin typeface="+mn-lt"/>
                <a:ea typeface="+mn-ea"/>
              </a:defRPr>
            </a:lvl9pPr>
          </a:lstStyle>
          <a:p>
            <a:pPr algn="just">
              <a:lnSpc>
                <a:spcPts val="1200"/>
              </a:lnSpc>
            </a:pPr>
            <a:r>
              <a:rPr lang="en-US" altLang="zh-CN" sz="800" i="1" kern="0" dirty="0">
                <a:solidFill>
                  <a:srgbClr val="777777"/>
                </a:solidFill>
              </a:rPr>
              <a:t>*</a:t>
            </a:r>
            <a:r>
              <a:rPr lang="zh-CN" altLang="en-US" sz="800" i="1" kern="0" dirty="0">
                <a:solidFill>
                  <a:srgbClr val="777777"/>
                </a:solidFill>
              </a:rPr>
              <a:t>注：</a:t>
            </a:r>
            <a:r>
              <a:rPr lang="en-US" altLang="zh-CN" sz="800" i="1" kern="0" dirty="0">
                <a:solidFill>
                  <a:srgbClr val="777777"/>
                </a:solidFill>
              </a:rPr>
              <a:t>1. </a:t>
            </a:r>
            <a:r>
              <a:rPr lang="zh-CN" altLang="en-US" sz="800" i="1" kern="0" dirty="0">
                <a:solidFill>
                  <a:srgbClr val="777777"/>
                </a:solidFill>
              </a:rPr>
              <a:t>无人仓仅保留大宗、内配等特殊订单处理人员；无人仓设备按</a:t>
            </a:r>
            <a:r>
              <a:rPr lang="en-US" altLang="zh-CN" sz="800" i="1" kern="0" dirty="0">
                <a:solidFill>
                  <a:srgbClr val="777777"/>
                </a:solidFill>
              </a:rPr>
              <a:t>10</a:t>
            </a:r>
            <a:r>
              <a:rPr lang="zh-CN" altLang="en-US" sz="800" i="1" kern="0" dirty="0">
                <a:solidFill>
                  <a:srgbClr val="777777"/>
                </a:solidFill>
              </a:rPr>
              <a:t>年折旧，对比普通租赁仓测算成本降幅； </a:t>
            </a:r>
            <a:r>
              <a:rPr lang="en-US" altLang="zh-CN" sz="800" i="1" kern="0" dirty="0">
                <a:solidFill>
                  <a:srgbClr val="777777"/>
                </a:solidFill>
              </a:rPr>
              <a:t>2. </a:t>
            </a:r>
            <a:r>
              <a:rPr lang="zh-CN" altLang="en-US" sz="800" i="1" kern="0" dirty="0">
                <a:solidFill>
                  <a:srgbClr val="777777"/>
                </a:solidFill>
              </a:rPr>
              <a:t>最后一公里无人机运营数据为</a:t>
            </a:r>
            <a:r>
              <a:rPr lang="en-US" altLang="zh-CN" sz="800" i="1" kern="0" dirty="0">
                <a:solidFill>
                  <a:srgbClr val="777777"/>
                </a:solidFill>
              </a:rPr>
              <a:t>16</a:t>
            </a:r>
            <a:r>
              <a:rPr lang="zh-CN" altLang="en-US" sz="800" i="1" kern="0" dirty="0">
                <a:solidFill>
                  <a:srgbClr val="777777"/>
                </a:solidFill>
              </a:rPr>
              <a:t>年</a:t>
            </a:r>
            <a:r>
              <a:rPr lang="en-US" altLang="zh-CN" sz="800" i="1" kern="0" dirty="0">
                <a:solidFill>
                  <a:srgbClr val="777777"/>
                </a:solidFill>
              </a:rPr>
              <a:t>1</a:t>
            </a:r>
            <a:r>
              <a:rPr lang="zh-CN" altLang="en-US" sz="800" i="1" kern="0" dirty="0">
                <a:solidFill>
                  <a:srgbClr val="777777"/>
                </a:solidFill>
              </a:rPr>
              <a:t>月</a:t>
            </a:r>
            <a:r>
              <a:rPr lang="en-US" altLang="zh-CN" sz="800" i="1" kern="0" dirty="0">
                <a:solidFill>
                  <a:srgbClr val="777777"/>
                </a:solidFill>
              </a:rPr>
              <a:t>-18</a:t>
            </a:r>
            <a:r>
              <a:rPr lang="zh-CN" altLang="en-US" sz="800" i="1" kern="0" dirty="0">
                <a:solidFill>
                  <a:srgbClr val="777777"/>
                </a:solidFill>
              </a:rPr>
              <a:t>年</a:t>
            </a:r>
            <a:r>
              <a:rPr lang="en-US" altLang="zh-CN" sz="800" i="1" kern="0" dirty="0">
                <a:solidFill>
                  <a:srgbClr val="777777"/>
                </a:solidFill>
              </a:rPr>
              <a:t>8</a:t>
            </a:r>
            <a:r>
              <a:rPr lang="zh-CN" altLang="en-US" sz="800" i="1" kern="0" dirty="0">
                <a:solidFill>
                  <a:srgbClr val="777777"/>
                </a:solidFill>
              </a:rPr>
              <a:t>月累计运营情况</a:t>
            </a:r>
            <a:r>
              <a:rPr lang="en-US" altLang="zh-CN" sz="800" i="1" kern="0" dirty="0">
                <a:solidFill>
                  <a:srgbClr val="777777"/>
                </a:solidFill>
              </a:rPr>
              <a:t> </a:t>
            </a:r>
            <a:endParaRPr lang="zh-CN" altLang="en-US" sz="800" i="1" kern="0" dirty="0">
              <a:solidFill>
                <a:srgbClr val="7777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314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对象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矩形 5" hidden="1"/>
          <p:cNvSpPr/>
          <p:nvPr>
            <p:custDataLst>
              <p:tags r:id="rId3"/>
            </p:custDataLst>
          </p:nvPr>
        </p:nvSpPr>
        <p:spPr bwMode="auto">
          <a:xfrm>
            <a:off x="2" y="2"/>
            <a:ext cx="158751" cy="158751"/>
          </a:xfrm>
          <a:prstGeom prst="rect">
            <a:avLst/>
          </a:prstGeom>
          <a:solidFill>
            <a:srgbClr val="FFB8B8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914354">
              <a:spcBef>
                <a:spcPct val="0"/>
              </a:spcBef>
              <a:spcAft>
                <a:spcPct val="0"/>
              </a:spcAft>
            </a:pPr>
            <a:endParaRPr lang="zh-CN" altLang="en-US" sz="1500" dirty="0">
              <a:solidFill>
                <a:srgbClr val="777777">
                  <a:lumMod val="95000"/>
                  <a:lumOff val="5000"/>
                </a:srgbClr>
              </a:solidFill>
              <a:sym typeface="Arial" panose="020B060402020202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9405" y="35201"/>
            <a:ext cx="9849063" cy="816000"/>
          </a:xfrm>
        </p:spPr>
        <p:txBody>
          <a:bodyPr wrap="square" lIns="0" tIns="45718" rIns="91436" bIns="45718" anchor="ctr" anchorCtr="0">
            <a:noAutofit/>
          </a:bodyPr>
          <a:lstStyle/>
          <a:p>
            <a:r>
              <a:rPr lang="zh-CN" altLang="en-US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从中国到全球，输出供应链基础设施</a:t>
            </a:r>
            <a:endParaRPr lang="zh-CN" altLang="en-US" dirty="0">
              <a:solidFill>
                <a:srgbClr val="DA0B1C"/>
              </a:solidFill>
              <a:latin typeface="微软雅黑" panose="020B0503020204020204" pitchFamily="3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719403" y="6470224"/>
            <a:ext cx="10377628" cy="235963"/>
          </a:xfrm>
          <a:prstGeom prst="rect">
            <a:avLst/>
          </a:prstGeom>
        </p:spPr>
        <p:txBody>
          <a:bodyPr wrap="none" lIns="91436" tIns="45718" rIns="91436" bIns="45718">
            <a:spAutoFit/>
          </a:bodyPr>
          <a:lstStyle/>
          <a:p>
            <a:pPr defTabSz="914354">
              <a:defRPr/>
            </a:pPr>
            <a:r>
              <a:rPr lang="zh-CN" altLang="en-US" sz="900" i="1" dirty="0">
                <a:solidFill>
                  <a:srgbClr val="FFFFFF">
                    <a:lumMod val="50000"/>
                  </a:srgbClr>
                </a:solidFill>
                <a:latin typeface="微软雅黑"/>
              </a:rPr>
              <a:t>资料来源</a:t>
            </a:r>
            <a:r>
              <a:rPr lang="en-US" altLang="zh-CN" sz="900" i="1" dirty="0">
                <a:solidFill>
                  <a:srgbClr val="FFFFFF">
                    <a:lumMod val="50000"/>
                  </a:srgbClr>
                </a:solidFill>
                <a:latin typeface="微软雅黑"/>
              </a:rPr>
              <a:t>﹕Capital IQ</a:t>
            </a:r>
            <a:r>
              <a:rPr lang="zh-CN" altLang="en-US" sz="900" i="1" dirty="0">
                <a:solidFill>
                  <a:srgbClr val="FFFFFF">
                    <a:lumMod val="50000"/>
                  </a:srgbClr>
                </a:solidFill>
                <a:latin typeface="微软雅黑"/>
              </a:rPr>
              <a:t>、</a:t>
            </a:r>
            <a:r>
              <a:rPr lang="en-US" altLang="zh-CN" sz="900" i="1" dirty="0">
                <a:solidFill>
                  <a:srgbClr val="FFFFFF">
                    <a:lumMod val="50000"/>
                  </a:srgbClr>
                </a:solidFill>
                <a:latin typeface="微软雅黑"/>
              </a:rPr>
              <a:t>Mordor Intelligence</a:t>
            </a:r>
            <a:r>
              <a:rPr lang="zh-CN" altLang="en-US" sz="900" i="1" dirty="0">
                <a:solidFill>
                  <a:srgbClr val="FFFFFF">
                    <a:lumMod val="50000"/>
                  </a:srgbClr>
                </a:solidFill>
                <a:latin typeface="微软雅黑"/>
              </a:rPr>
              <a:t>、券商研究、国家邮政局、中国统计年鉴、上市公司年报，德邦物流招股说明书，世界银行，中国国家统计局，</a:t>
            </a:r>
            <a:r>
              <a:rPr lang="en-US" altLang="zh-CN" sz="900" i="1" dirty="0">
                <a:solidFill>
                  <a:srgbClr val="FFFFFF">
                    <a:lumMod val="50000"/>
                  </a:srgbClr>
                </a:solidFill>
                <a:latin typeface="微软雅黑"/>
              </a:rPr>
              <a:t>Statista</a:t>
            </a:r>
            <a:r>
              <a:rPr lang="zh-CN" altLang="en-US" sz="900" i="1" dirty="0">
                <a:solidFill>
                  <a:srgbClr val="FFFFFF">
                    <a:lumMod val="50000"/>
                  </a:srgbClr>
                </a:solidFill>
                <a:latin typeface="微软雅黑"/>
              </a:rPr>
              <a:t>，</a:t>
            </a:r>
            <a:r>
              <a:rPr lang="en-US" altLang="zh-CN" sz="900" i="1" dirty="0">
                <a:solidFill>
                  <a:srgbClr val="FFFFFF">
                    <a:lumMod val="50000"/>
                  </a:srgbClr>
                </a:solidFill>
                <a:latin typeface="微软雅黑"/>
              </a:rPr>
              <a:t>A.T. Kearney, </a:t>
            </a:r>
            <a:r>
              <a:rPr lang="en-US" altLang="zh-CN" sz="900" i="1" dirty="0" err="1">
                <a:solidFill>
                  <a:srgbClr val="FFFFFF">
                    <a:lumMod val="50000"/>
                  </a:srgbClr>
                </a:solidFill>
                <a:latin typeface="微软雅黑"/>
              </a:rPr>
              <a:t>eMarketer</a:t>
            </a:r>
            <a:endParaRPr lang="zh-CN" altLang="en-US" sz="1500" i="1" dirty="0">
              <a:solidFill>
                <a:srgbClr val="FFFFFF">
                  <a:lumMod val="50000"/>
                </a:srgbClr>
              </a:solidFill>
              <a:latin typeface="微软雅黑"/>
            </a:endParaRPr>
          </a:p>
        </p:txBody>
      </p:sp>
      <p:cxnSp>
        <p:nvCxnSpPr>
          <p:cNvPr id="43" name="直接连接符 42"/>
          <p:cNvCxnSpPr/>
          <p:nvPr/>
        </p:nvCxnSpPr>
        <p:spPr bwMode="auto">
          <a:xfrm>
            <a:off x="702639" y="1195795"/>
            <a:ext cx="4950000" cy="0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6" name="矩形 18"/>
          <p:cNvSpPr/>
          <p:nvPr/>
        </p:nvSpPr>
        <p:spPr>
          <a:xfrm>
            <a:off x="2109270" y="1035870"/>
            <a:ext cx="2136740" cy="319857"/>
          </a:xfrm>
          <a:prstGeom prst="rect">
            <a:avLst/>
          </a:prstGeom>
          <a:solidFill>
            <a:schemeClr val="bg1"/>
          </a:solidFill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r>
              <a:rPr lang="zh-CN" altLang="en-US" sz="1600" b="1" dirty="0">
                <a:solidFill>
                  <a:srgbClr val="DA0B1C"/>
                </a:solidFill>
                <a:latin typeface="微软雅黑"/>
              </a:rPr>
              <a:t>更大的市场空间</a:t>
            </a:r>
          </a:p>
        </p:txBody>
      </p:sp>
      <p:grpSp>
        <p:nvGrpSpPr>
          <p:cNvPr id="215" name="组合 214"/>
          <p:cNvGrpSpPr/>
          <p:nvPr/>
        </p:nvGrpSpPr>
        <p:grpSpPr>
          <a:xfrm>
            <a:off x="6453876" y="1035870"/>
            <a:ext cx="5292000" cy="319857"/>
            <a:chOff x="6755683" y="1038596"/>
            <a:chExt cx="4373554" cy="319857"/>
          </a:xfrm>
        </p:grpSpPr>
        <p:cxnSp>
          <p:nvCxnSpPr>
            <p:cNvPr id="216" name="直接连接符 215"/>
            <p:cNvCxnSpPr/>
            <p:nvPr/>
          </p:nvCxnSpPr>
          <p:spPr bwMode="auto">
            <a:xfrm>
              <a:off x="6755683" y="1198524"/>
              <a:ext cx="4373554" cy="0"/>
            </a:xfrm>
            <a:prstGeom prst="line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7" name="矩形 18"/>
            <p:cNvSpPr/>
            <p:nvPr/>
          </p:nvSpPr>
          <p:spPr>
            <a:xfrm>
              <a:off x="7520460" y="1038596"/>
              <a:ext cx="2844001" cy="31985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r>
                <a:rPr lang="zh-CN" altLang="en-US" sz="1600" b="1" dirty="0">
                  <a:solidFill>
                    <a:srgbClr val="DA0B1C"/>
                  </a:solidFill>
                  <a:latin typeface="微软雅黑"/>
                </a:rPr>
                <a:t>供应链基础设施输出成为必然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6978941" y="1680182"/>
            <a:ext cx="4396667" cy="1117001"/>
            <a:chOff x="6929237" y="1838676"/>
            <a:chExt cx="4396667" cy="1117001"/>
          </a:xfrm>
        </p:grpSpPr>
        <p:sp>
          <p:nvSpPr>
            <p:cNvPr id="4" name="圆角矩形 3"/>
            <p:cNvSpPr/>
            <p:nvPr/>
          </p:nvSpPr>
          <p:spPr>
            <a:xfrm>
              <a:off x="6929237" y="2133063"/>
              <a:ext cx="1597442" cy="822614"/>
            </a:xfrm>
            <a:prstGeom prst="roundRect">
              <a:avLst/>
            </a:prstGeom>
            <a:solidFill>
              <a:srgbClr val="6E6568"/>
            </a:solidFill>
          </p:spPr>
          <p:txBody>
            <a:bodyPr wrap="square" anchor="ctr">
              <a:noAutofit/>
            </a:bodyPr>
            <a:lstStyle/>
            <a:p>
              <a:pPr algn="ctr" defTabSz="914354">
                <a:defRPr/>
              </a:pPr>
              <a:r>
                <a:rPr lang="zh-CN" altLang="en-US" b="1" kern="0" dirty="0">
                  <a:solidFill>
                    <a:srgbClr val="FFFFFF"/>
                  </a:solidFill>
                  <a:latin typeface="微软雅黑" panose="020B0503020204020204" pitchFamily="34" charset="-122"/>
                </a:rPr>
                <a:t>复制到中国</a:t>
              </a:r>
            </a:p>
          </p:txBody>
        </p:sp>
        <p:sp>
          <p:nvSpPr>
            <p:cNvPr id="58" name="圆角矩形 57"/>
            <p:cNvSpPr/>
            <p:nvPr/>
          </p:nvSpPr>
          <p:spPr>
            <a:xfrm>
              <a:off x="9728462" y="2133063"/>
              <a:ext cx="1597442" cy="822614"/>
            </a:xfrm>
            <a:prstGeom prst="roundRect">
              <a:avLst/>
            </a:prstGeom>
            <a:solidFill>
              <a:srgbClr val="DA0B1C"/>
            </a:solidFill>
          </p:spPr>
          <p:txBody>
            <a:bodyPr wrap="square" anchor="ctr">
              <a:noAutofit/>
            </a:bodyPr>
            <a:lstStyle/>
            <a:p>
              <a:pPr algn="ctr" defTabSz="914354">
                <a:defRPr/>
              </a:pPr>
              <a:r>
                <a:rPr lang="zh-CN" altLang="en-US" b="1" kern="0">
                  <a:solidFill>
                    <a:srgbClr val="FFFFFF"/>
                  </a:solidFill>
                  <a:latin typeface="微软雅黑" panose="020B0503020204020204" pitchFamily="34" charset="-122"/>
                </a:rPr>
                <a:t>引领变革</a:t>
              </a:r>
              <a:endParaRPr lang="zh-CN" altLang="en-US" b="1" kern="0" dirty="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cxnSp>
          <p:nvCxnSpPr>
            <p:cNvPr id="7" name="直接箭头连接符 6"/>
            <p:cNvCxnSpPr>
              <a:stCxn id="4" idx="3"/>
              <a:endCxn id="58" idx="1"/>
            </p:cNvCxnSpPr>
            <p:nvPr/>
          </p:nvCxnSpPr>
          <p:spPr bwMode="auto">
            <a:xfrm>
              <a:off x="8526679" y="2544370"/>
              <a:ext cx="1201783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" name="文本框 7"/>
            <p:cNvSpPr txBox="1"/>
            <p:nvPr/>
          </p:nvSpPr>
          <p:spPr>
            <a:xfrm>
              <a:off x="7481736" y="1848057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54"/>
              <a:r>
                <a:rPr lang="zh-CN" altLang="en-US" sz="12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过去</a:t>
              </a: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10050131" y="1838676"/>
              <a:ext cx="9541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54"/>
              <a:r>
                <a:rPr lang="zh-CN" altLang="en-US" sz="12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现在及未来</a:t>
              </a:r>
            </a:p>
          </p:txBody>
        </p:sp>
      </p:grpSp>
      <p:pic>
        <p:nvPicPr>
          <p:cNvPr id="58421" name="Picture 53" descr="https://gss0.bdstatic.com/-4o3dSag_xI4khGkpoWK1HF6hhy/baike/c0%3Dbaike150%2C5%2C5%2C150%2C50/sign=786e7e79f2edab64607f4592965fc4a6/9f2f070828381f3035458d1ba0014c086e06f02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4380" y="3216808"/>
            <a:ext cx="381781" cy="381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表格 10"/>
          <p:cNvGraphicFramePr>
            <a:graphicFrameLocks noGrp="1"/>
          </p:cNvGraphicFramePr>
          <p:nvPr>
            <p:extLst/>
          </p:nvPr>
        </p:nvGraphicFramePr>
        <p:xfrm>
          <a:off x="6578372" y="3169920"/>
          <a:ext cx="5197800" cy="3066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31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86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86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86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86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80087">
                <a:tc>
                  <a:txBody>
                    <a:bodyPr/>
                    <a:lstStyle/>
                    <a:p>
                      <a:pPr algn="ctr"/>
                      <a:endParaRPr lang="zh-CN" altLang="en-US" sz="1200" b="0" dirty="0">
                        <a:solidFill>
                          <a:srgbClr val="6E6568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 smtClean="0">
                          <a:solidFill>
                            <a:srgbClr val="6E6568"/>
                          </a:solidFill>
                        </a:rPr>
                        <a:t>中国</a:t>
                      </a:r>
                      <a:endParaRPr lang="zh-CN" altLang="en-US" sz="1200" b="0" dirty="0">
                        <a:solidFill>
                          <a:srgbClr val="6E6568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 smtClean="0">
                          <a:solidFill>
                            <a:srgbClr val="6E6568"/>
                          </a:solidFill>
                        </a:rPr>
                        <a:t>东南亚</a:t>
                      </a:r>
                      <a:endParaRPr lang="zh-CN" altLang="en-US" sz="1200" b="0" dirty="0">
                        <a:solidFill>
                          <a:srgbClr val="6E6568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 smtClean="0">
                          <a:solidFill>
                            <a:srgbClr val="6E6568"/>
                          </a:solidFill>
                        </a:rPr>
                        <a:t>印度</a:t>
                      </a:r>
                      <a:endParaRPr lang="zh-CN" altLang="en-US" sz="1200" b="0" dirty="0">
                        <a:solidFill>
                          <a:srgbClr val="6E6568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 smtClean="0">
                          <a:solidFill>
                            <a:srgbClr val="6E6568"/>
                          </a:solidFill>
                        </a:rPr>
                        <a:t>美国</a:t>
                      </a:r>
                      <a:endParaRPr lang="zh-CN" altLang="en-US" sz="1200" b="0" dirty="0">
                        <a:solidFill>
                          <a:srgbClr val="6E6568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电商渗透率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15.0%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～</a:t>
                      </a:r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2%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2.2%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9%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电商包裹量</a:t>
                      </a:r>
                      <a:endParaRPr lang="en-US" altLang="zh-CN" sz="1200" dirty="0" smtClean="0">
                        <a:solidFill>
                          <a:srgbClr val="6E6568"/>
                        </a:solidFill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rgbClr val="6E6568"/>
                          </a:solidFill>
                        </a:rPr>
                        <a:t>（日均，万件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7,900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480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190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1,850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平均履约时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2.3</a:t>
                      </a:r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天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5-7</a:t>
                      </a:r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天</a:t>
                      </a:r>
                      <a:endParaRPr lang="en-US" altLang="zh-CN" sz="1200" dirty="0" smtClean="0">
                        <a:solidFill>
                          <a:srgbClr val="6E6568"/>
                        </a:solidFill>
                      </a:endParaRPr>
                    </a:p>
                    <a:p>
                      <a:pPr algn="ctr"/>
                      <a:r>
                        <a:rPr lang="zh-CN" altLang="en-US" sz="800" dirty="0" smtClean="0">
                          <a:solidFill>
                            <a:srgbClr val="6E6568"/>
                          </a:solidFill>
                        </a:rPr>
                        <a:t>（印尼）</a:t>
                      </a:r>
                      <a:endParaRPr lang="zh-CN" altLang="en-US" sz="8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～</a:t>
                      </a:r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4</a:t>
                      </a:r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～</a:t>
                      </a:r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5</a:t>
                      </a:r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天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全渠道交付体验</a:t>
                      </a:r>
                      <a:endParaRPr lang="en-US" altLang="zh-CN" sz="1200" dirty="0" smtClean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高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低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低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中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 smtClean="0">
                          <a:solidFill>
                            <a:srgbClr val="6E6568"/>
                          </a:solidFill>
                        </a:rPr>
                        <a:t>移动支付使用率</a:t>
                      </a:r>
                      <a:endParaRPr lang="en-US" altLang="zh-CN" sz="1200" dirty="0" smtClean="0">
                        <a:solidFill>
                          <a:srgbClr val="6E6568"/>
                        </a:solidFill>
                      </a:endParaRPr>
                    </a:p>
                    <a:p>
                      <a:pPr algn="ctr"/>
                      <a:r>
                        <a:rPr lang="zh-CN" altLang="en-US" sz="900" dirty="0" smtClean="0">
                          <a:solidFill>
                            <a:srgbClr val="6E6568"/>
                          </a:solidFill>
                        </a:rPr>
                        <a:t>（占比智能手机用户数）</a:t>
                      </a:r>
                      <a:endParaRPr lang="zh-CN" altLang="en-US" sz="1200" dirty="0" smtClean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76.3%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&lt;20%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24.4%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 smtClean="0">
                          <a:solidFill>
                            <a:srgbClr val="6E6568"/>
                          </a:solidFill>
                        </a:rPr>
                        <a:t>24.0%</a:t>
                      </a:r>
                      <a:endParaRPr lang="zh-CN" altLang="en-US" sz="1200" dirty="0">
                        <a:solidFill>
                          <a:srgbClr val="6E656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3" name="矩形 268"/>
          <p:cNvSpPr/>
          <p:nvPr/>
        </p:nvSpPr>
        <p:spPr>
          <a:xfrm>
            <a:off x="8002723" y="3169922"/>
            <a:ext cx="975852" cy="3058156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lIns="0" tIns="45718" rIns="0" bIns="45718" rtlCol="0" anchor="ctr">
            <a:noAutofit/>
          </a:bodyPr>
          <a:lstStyle/>
          <a:p>
            <a:pPr algn="ctr" defTabSz="914354"/>
            <a:endParaRPr lang="zh-CN" altLang="en-US" sz="1200" b="1" dirty="0">
              <a:solidFill>
                <a:srgbClr val="777777">
                  <a:lumMod val="95000"/>
                  <a:lumOff val="5000"/>
                </a:srgbClr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9"/>
          <a:srcRect l="2534" t="2667" r="2889" b="2933"/>
          <a:stretch/>
        </p:blipFill>
        <p:spPr>
          <a:xfrm>
            <a:off x="8304791" y="3222192"/>
            <a:ext cx="371712" cy="371013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58294" y="3211189"/>
            <a:ext cx="393023" cy="393023"/>
          </a:xfrm>
          <a:prstGeom prst="rect">
            <a:avLst/>
          </a:prstGeom>
        </p:spPr>
      </p:pic>
      <p:pic>
        <p:nvPicPr>
          <p:cNvPr id="58425" name="Picture 57" descr="https://ss3.bdstatic.com/70cFv8Sh_Q1YnxGkpoWK1HF6hhy/it/u=1612782505,2908477410&amp;fm=27&amp;gp=0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6" r="7718"/>
          <a:stretch/>
        </p:blipFill>
        <p:spPr bwMode="auto">
          <a:xfrm>
            <a:off x="11091561" y="3230721"/>
            <a:ext cx="362249" cy="353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6" name="文本框 115"/>
          <p:cNvSpPr txBox="1"/>
          <p:nvPr/>
        </p:nvSpPr>
        <p:spPr>
          <a:xfrm>
            <a:off x="2469752" y="3483780"/>
            <a:ext cx="1415773" cy="276999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全球目标市场概况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820639" y="1513728"/>
            <a:ext cx="4714000" cy="1524928"/>
            <a:chOff x="820638" y="4663286"/>
            <a:chExt cx="4714000" cy="1524928"/>
          </a:xfrm>
        </p:grpSpPr>
        <p:sp>
          <p:nvSpPr>
            <p:cNvPr id="117" name="矩形 116"/>
            <p:cNvSpPr/>
            <p:nvPr/>
          </p:nvSpPr>
          <p:spPr>
            <a:xfrm>
              <a:off x="1263330" y="5569505"/>
              <a:ext cx="1116000" cy="259040"/>
            </a:xfrm>
            <a:prstGeom prst="rect">
              <a:avLst/>
            </a:prstGeom>
            <a:noFill/>
          </p:spPr>
          <p:txBody>
            <a:bodyPr wrap="square" lIns="96000" rIns="0" rtlCol="0" anchor="ctr">
              <a:noAutofit/>
            </a:bodyPr>
            <a:lstStyle/>
            <a:p>
              <a:pPr algn="ctr" defTabSz="914354">
                <a:defRPr/>
              </a:pPr>
              <a:r>
                <a:rPr lang="zh-CN" altLang="en-US" sz="1600" b="1" dirty="0">
                  <a:solidFill>
                    <a:srgbClr val="DA0B1C"/>
                  </a:solidFill>
                  <a:latin typeface="微软雅黑"/>
                </a:rPr>
                <a:t>中国～</a:t>
              </a:r>
              <a:r>
                <a:rPr lang="en-US" altLang="zh-CN" sz="1600" b="1" dirty="0">
                  <a:solidFill>
                    <a:srgbClr val="DA0B1C"/>
                  </a:solidFill>
                  <a:latin typeface="微软雅黑"/>
                </a:rPr>
                <a:t>2%</a:t>
              </a:r>
              <a:endParaRPr lang="zh-CN" altLang="en-US" sz="1600" b="1" dirty="0">
                <a:solidFill>
                  <a:srgbClr val="DA0B1C"/>
                </a:solidFill>
                <a:latin typeface="微软雅黑"/>
              </a:endParaRPr>
            </a:p>
          </p:txBody>
        </p:sp>
        <p:sp>
          <p:nvSpPr>
            <p:cNvPr id="118" name="文本框 144"/>
            <p:cNvSpPr txBox="1"/>
            <p:nvPr/>
          </p:nvSpPr>
          <p:spPr>
            <a:xfrm>
              <a:off x="820638" y="5818882"/>
              <a:ext cx="200138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54">
                <a:defRPr/>
              </a:pPr>
              <a:r>
                <a:rPr lang="zh-CN" altLang="en-US" sz="9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（根据顺丰、圆通、中通、申通、韵达、德邦</a:t>
              </a:r>
              <a:r>
                <a:rPr lang="en-US" altLang="zh-CN" sz="9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2017</a:t>
              </a:r>
              <a:r>
                <a:rPr lang="zh-CN" altLang="en-US" sz="9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年收入推算）</a:t>
              </a:r>
              <a:endParaRPr lang="en-US" altLang="zh-CN" sz="900" dirty="0">
                <a:solidFill>
                  <a:srgbClr val="777777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19" name="矩形 118"/>
            <p:cNvSpPr/>
            <p:nvPr/>
          </p:nvSpPr>
          <p:spPr>
            <a:xfrm>
              <a:off x="3791334" y="5569505"/>
              <a:ext cx="1708707" cy="259040"/>
            </a:xfrm>
            <a:prstGeom prst="rect">
              <a:avLst/>
            </a:prstGeom>
            <a:noFill/>
          </p:spPr>
          <p:txBody>
            <a:bodyPr wrap="square" lIns="0" rIns="96000" rtlCol="0" anchor="ctr">
              <a:noAutofit/>
            </a:bodyPr>
            <a:lstStyle/>
            <a:p>
              <a:pPr algn="ctr" defTabSz="914354">
                <a:defRPr/>
              </a:pPr>
              <a:r>
                <a:rPr lang="zh-CN" altLang="en-US" sz="1600" b="1" dirty="0">
                  <a:solidFill>
                    <a:srgbClr val="777777"/>
                  </a:solidFill>
                  <a:latin typeface="微软雅黑"/>
                </a:rPr>
                <a:t>美国～</a:t>
              </a:r>
              <a:r>
                <a:rPr lang="en-US" altLang="zh-CN" sz="1600" b="1" dirty="0">
                  <a:solidFill>
                    <a:srgbClr val="777777"/>
                  </a:solidFill>
                  <a:latin typeface="微软雅黑"/>
                </a:rPr>
                <a:t>14%</a:t>
              </a:r>
            </a:p>
          </p:txBody>
        </p:sp>
        <p:sp>
          <p:nvSpPr>
            <p:cNvPr id="120" name="文本框 144"/>
            <p:cNvSpPr txBox="1"/>
            <p:nvPr/>
          </p:nvSpPr>
          <p:spPr>
            <a:xfrm>
              <a:off x="3756737" y="5818882"/>
              <a:ext cx="177790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54">
                <a:defRPr/>
              </a:pPr>
              <a:r>
                <a:rPr lang="zh-CN" altLang="en-US" sz="9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（</a:t>
              </a:r>
              <a:r>
                <a:rPr lang="en-US" altLang="zh-CN" sz="9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UPS</a:t>
              </a:r>
              <a:r>
                <a:rPr lang="zh-CN" altLang="en-US" sz="9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、</a:t>
              </a:r>
              <a:r>
                <a:rPr lang="en-US" altLang="zh-CN" sz="9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FedEx</a:t>
              </a:r>
              <a:r>
                <a:rPr lang="zh-CN" altLang="en-US" sz="9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、</a:t>
              </a:r>
              <a:r>
                <a:rPr lang="en-US" altLang="zh-CN" sz="9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USPS2017</a:t>
              </a:r>
              <a:r>
                <a:rPr lang="zh-CN" altLang="en-US" sz="9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年收入合计）</a:t>
              </a:r>
              <a:endParaRPr lang="en-US" altLang="zh-CN" sz="900" dirty="0">
                <a:solidFill>
                  <a:srgbClr val="777777"/>
                </a:solidFill>
                <a:latin typeface="微软雅黑" panose="020B0503020204020204" pitchFamily="34" charset="-122"/>
              </a:endParaRPr>
            </a:p>
          </p:txBody>
        </p:sp>
        <p:pic>
          <p:nvPicPr>
            <p:cNvPr id="122" name="图片 20"/>
            <p:cNvPicPr>
              <a:picLocks noChangeAspect="1"/>
            </p:cNvPicPr>
            <p:nvPr/>
          </p:nvPicPr>
          <p:blipFill rotWithShape="1"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r="28609" b="18390"/>
            <a:stretch/>
          </p:blipFill>
          <p:spPr>
            <a:xfrm>
              <a:off x="1573800" y="5095952"/>
              <a:ext cx="495061" cy="391797"/>
            </a:xfrm>
            <a:prstGeom prst="rect">
              <a:avLst/>
            </a:prstGeom>
          </p:spPr>
        </p:pic>
        <p:pic>
          <p:nvPicPr>
            <p:cNvPr id="123" name="图片 21"/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398158" y="5117873"/>
              <a:ext cx="495059" cy="347955"/>
            </a:xfrm>
            <a:prstGeom prst="rect">
              <a:avLst/>
            </a:prstGeom>
          </p:spPr>
        </p:pic>
        <p:sp>
          <p:nvSpPr>
            <p:cNvPr id="124" name="文本框 123"/>
            <p:cNvSpPr txBox="1"/>
            <p:nvPr/>
          </p:nvSpPr>
          <p:spPr>
            <a:xfrm>
              <a:off x="1533599" y="4663286"/>
              <a:ext cx="3288080" cy="4462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54"/>
              <a:r>
                <a:rPr lang="zh-CN" altLang="en-US" sz="12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相比中国物流市场，美国集中度高</a:t>
              </a:r>
              <a:endParaRPr lang="en-US" altLang="zh-CN" sz="1200" dirty="0">
                <a:solidFill>
                  <a:srgbClr val="777777"/>
                </a:solidFill>
                <a:latin typeface="微软雅黑" panose="020B0503020204020204" pitchFamily="34" charset="-122"/>
              </a:endParaRPr>
            </a:p>
            <a:p>
              <a:pPr algn="ctr" defTabSz="914354"/>
              <a:r>
                <a:rPr lang="zh-CN" altLang="en-US" sz="1100" dirty="0">
                  <a:solidFill>
                    <a:srgbClr val="777777"/>
                  </a:solidFill>
                  <a:latin typeface="微软雅黑" panose="020B0503020204020204" pitchFamily="34" charset="-122"/>
                </a:rPr>
                <a:t>（电商物流头部企业收入规模占比物流市场整体）</a:t>
              </a:r>
            </a:p>
          </p:txBody>
        </p:sp>
      </p:grpSp>
      <p:graphicFrame>
        <p:nvGraphicFramePr>
          <p:cNvPr id="45" name="图表 44"/>
          <p:cNvGraphicFramePr/>
          <p:nvPr>
            <p:extLst/>
          </p:nvPr>
        </p:nvGraphicFramePr>
        <p:xfrm>
          <a:off x="1207008" y="3826021"/>
          <a:ext cx="4572741" cy="2433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29" name="文本框 128"/>
          <p:cNvSpPr txBox="1"/>
          <p:nvPr/>
        </p:nvSpPr>
        <p:spPr>
          <a:xfrm>
            <a:off x="1615051" y="3898695"/>
            <a:ext cx="490840" cy="276999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defTabSz="914354"/>
            <a:r>
              <a:rPr lang="en-US" altLang="zh-CN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14.1</a:t>
            </a:r>
            <a:endParaRPr lang="zh-CN" altLang="en-US" sz="12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sp>
        <p:nvSpPr>
          <p:cNvPr id="130" name="文本框 129"/>
          <p:cNvSpPr txBox="1"/>
          <p:nvPr/>
        </p:nvSpPr>
        <p:spPr>
          <a:xfrm>
            <a:off x="2705395" y="3898695"/>
            <a:ext cx="490840" cy="276999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defTabSz="914354"/>
            <a:r>
              <a:rPr lang="en-US" altLang="zh-CN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19.9</a:t>
            </a:r>
            <a:endParaRPr lang="zh-CN" altLang="en-US" sz="12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sp>
        <p:nvSpPr>
          <p:cNvPr id="131" name="文本框 130"/>
          <p:cNvSpPr txBox="1"/>
          <p:nvPr/>
        </p:nvSpPr>
        <p:spPr>
          <a:xfrm>
            <a:off x="3826099" y="3898695"/>
            <a:ext cx="401072" cy="276999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defTabSz="914354"/>
            <a:r>
              <a:rPr lang="en-US" altLang="zh-CN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3.2</a:t>
            </a:r>
            <a:endParaRPr lang="zh-CN" altLang="en-US" sz="1200" dirty="0">
              <a:solidFill>
                <a:srgbClr val="777777"/>
              </a:solidFill>
              <a:latin typeface="微软雅黑" panose="020B0503020204020204" pitchFamily="34" charset="-122"/>
            </a:endParaRPr>
          </a:p>
        </p:txBody>
      </p:sp>
      <p:grpSp>
        <p:nvGrpSpPr>
          <p:cNvPr id="132" name="组合 131"/>
          <p:cNvGrpSpPr/>
          <p:nvPr/>
        </p:nvGrpSpPr>
        <p:grpSpPr>
          <a:xfrm>
            <a:off x="2698981" y="4196947"/>
            <a:ext cx="503673" cy="491959"/>
            <a:chOff x="2174917" y="3694103"/>
            <a:chExt cx="586235" cy="491958"/>
          </a:xfrm>
        </p:grpSpPr>
        <p:sp>
          <p:nvSpPr>
            <p:cNvPr id="133" name="Shape 59"/>
            <p:cNvSpPr/>
            <p:nvPr/>
          </p:nvSpPr>
          <p:spPr>
            <a:xfrm>
              <a:off x="2174917" y="3694103"/>
              <a:ext cx="135290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solidFill>
              <a:srgbClr val="E5546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  <p:sp>
          <p:nvSpPr>
            <p:cNvPr id="134" name="Shape 59"/>
            <p:cNvSpPr/>
            <p:nvPr/>
          </p:nvSpPr>
          <p:spPr>
            <a:xfrm>
              <a:off x="2327317" y="3694103"/>
              <a:ext cx="135290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solidFill>
              <a:srgbClr val="E5546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  <p:sp>
          <p:nvSpPr>
            <p:cNvPr id="138" name="Shape 59"/>
            <p:cNvSpPr/>
            <p:nvPr/>
          </p:nvSpPr>
          <p:spPr>
            <a:xfrm>
              <a:off x="2479717" y="3694103"/>
              <a:ext cx="135290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solidFill>
              <a:srgbClr val="E5546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  <p:sp>
          <p:nvSpPr>
            <p:cNvPr id="141" name="Shape 59"/>
            <p:cNvSpPr/>
            <p:nvPr/>
          </p:nvSpPr>
          <p:spPr>
            <a:xfrm>
              <a:off x="2625862" y="3704013"/>
              <a:ext cx="135290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solidFill>
              <a:srgbClr val="E5546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  <p:sp>
          <p:nvSpPr>
            <p:cNvPr id="142" name="Shape 59"/>
            <p:cNvSpPr/>
            <p:nvPr/>
          </p:nvSpPr>
          <p:spPr>
            <a:xfrm>
              <a:off x="2174917" y="3959999"/>
              <a:ext cx="135290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solidFill>
              <a:srgbClr val="E5546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  <p:sp>
          <p:nvSpPr>
            <p:cNvPr id="143" name="Shape 59"/>
            <p:cNvSpPr/>
            <p:nvPr/>
          </p:nvSpPr>
          <p:spPr>
            <a:xfrm>
              <a:off x="2327317" y="3959999"/>
              <a:ext cx="135290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solidFill>
              <a:srgbClr val="E5546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  <p:sp>
          <p:nvSpPr>
            <p:cNvPr id="144" name="Shape 59"/>
            <p:cNvSpPr/>
            <p:nvPr/>
          </p:nvSpPr>
          <p:spPr>
            <a:xfrm>
              <a:off x="2479717" y="3959999"/>
              <a:ext cx="135290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E55460"/>
                </a:gs>
                <a:gs pos="55000">
                  <a:srgbClr val="E55460"/>
                </a:gs>
                <a:gs pos="69000">
                  <a:schemeClr val="bg1"/>
                </a:gs>
                <a:gs pos="100000">
                  <a:schemeClr val="bg1"/>
                </a:gs>
              </a:gsLst>
              <a:lin ang="0" scaled="1"/>
              <a:tileRect/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3903049" y="4196947"/>
            <a:ext cx="247175" cy="226063"/>
            <a:chOff x="3707384" y="2194487"/>
            <a:chExt cx="247174" cy="226062"/>
          </a:xfrm>
        </p:grpSpPr>
        <p:sp>
          <p:nvSpPr>
            <p:cNvPr id="145" name="Shape 59"/>
            <p:cNvSpPr/>
            <p:nvPr/>
          </p:nvSpPr>
          <p:spPr>
            <a:xfrm>
              <a:off x="3707384" y="2194487"/>
              <a:ext cx="116236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solidFill>
              <a:srgbClr val="F09DA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  <p:sp>
          <p:nvSpPr>
            <p:cNvPr id="147" name="Shape 59"/>
            <p:cNvSpPr/>
            <p:nvPr/>
          </p:nvSpPr>
          <p:spPr>
            <a:xfrm>
              <a:off x="3838322" y="2194487"/>
              <a:ext cx="116236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09DA4"/>
                </a:gs>
                <a:gs pos="8000">
                  <a:srgbClr val="F09DA4"/>
                </a:gs>
                <a:gs pos="32000">
                  <a:schemeClr val="bg1"/>
                </a:gs>
                <a:gs pos="100000">
                  <a:schemeClr val="bg1"/>
                </a:gs>
              </a:gsLst>
              <a:lin ang="0" scaled="1"/>
              <a:tileRect/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1604225" y="4196947"/>
            <a:ext cx="512491" cy="491959"/>
            <a:chOff x="1613079" y="2194487"/>
            <a:chExt cx="512491" cy="491958"/>
          </a:xfrm>
        </p:grpSpPr>
        <p:sp>
          <p:nvSpPr>
            <p:cNvPr id="148" name="Shape 59"/>
            <p:cNvSpPr/>
            <p:nvPr/>
          </p:nvSpPr>
          <p:spPr>
            <a:xfrm>
              <a:off x="1613079" y="2194487"/>
              <a:ext cx="116236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solidFill>
              <a:srgbClr val="DA0B1C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  <p:sp>
          <p:nvSpPr>
            <p:cNvPr id="149" name="Shape 59"/>
            <p:cNvSpPr/>
            <p:nvPr/>
          </p:nvSpPr>
          <p:spPr>
            <a:xfrm>
              <a:off x="1744016" y="2194487"/>
              <a:ext cx="116236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solidFill>
              <a:srgbClr val="DA0B1C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  <p:sp>
          <p:nvSpPr>
            <p:cNvPr id="150" name="Shape 59"/>
            <p:cNvSpPr/>
            <p:nvPr/>
          </p:nvSpPr>
          <p:spPr>
            <a:xfrm>
              <a:off x="1874953" y="2194487"/>
              <a:ext cx="116236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solidFill>
              <a:srgbClr val="DA0B1C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  <p:sp>
          <p:nvSpPr>
            <p:cNvPr id="151" name="Shape 59"/>
            <p:cNvSpPr/>
            <p:nvPr/>
          </p:nvSpPr>
          <p:spPr>
            <a:xfrm>
              <a:off x="2009334" y="2194487"/>
              <a:ext cx="116236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solidFill>
              <a:srgbClr val="DA0B1C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  <p:sp>
          <p:nvSpPr>
            <p:cNvPr id="152" name="Shape 59"/>
            <p:cNvSpPr/>
            <p:nvPr/>
          </p:nvSpPr>
          <p:spPr>
            <a:xfrm>
              <a:off x="1613079" y="2460383"/>
              <a:ext cx="116236" cy="226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07" y="12145"/>
                  </a:moveTo>
                  <a:cubicBezTo>
                    <a:pt x="17396" y="10930"/>
                    <a:pt x="19281" y="8154"/>
                    <a:pt x="19281" y="5725"/>
                  </a:cubicBezTo>
                  <a:cubicBezTo>
                    <a:pt x="19281" y="2602"/>
                    <a:pt x="16091" y="0"/>
                    <a:pt x="10728" y="0"/>
                  </a:cubicBezTo>
                  <a:cubicBezTo>
                    <a:pt x="5509" y="0"/>
                    <a:pt x="2319" y="2602"/>
                    <a:pt x="2319" y="5725"/>
                  </a:cubicBezTo>
                  <a:cubicBezTo>
                    <a:pt x="2319" y="8154"/>
                    <a:pt x="4204" y="10930"/>
                    <a:pt x="7393" y="12145"/>
                  </a:cubicBezTo>
                  <a:cubicBezTo>
                    <a:pt x="1450" y="15354"/>
                    <a:pt x="0" y="13880"/>
                    <a:pt x="0" y="17176"/>
                  </a:cubicBezTo>
                  <a:cubicBezTo>
                    <a:pt x="0" y="20386"/>
                    <a:pt x="5219" y="21600"/>
                    <a:pt x="10728" y="21600"/>
                  </a:cubicBezTo>
                  <a:cubicBezTo>
                    <a:pt x="16381" y="21600"/>
                    <a:pt x="21600" y="20386"/>
                    <a:pt x="21600" y="17176"/>
                  </a:cubicBezTo>
                  <a:cubicBezTo>
                    <a:pt x="21600" y="13880"/>
                    <a:pt x="20150" y="15354"/>
                    <a:pt x="14207" y="1214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A0B1C"/>
                </a:gs>
                <a:gs pos="61000">
                  <a:srgbClr val="DA0B1C"/>
                </a:gs>
                <a:gs pos="78000">
                  <a:schemeClr val="bg1"/>
                </a:gs>
                <a:gs pos="100000">
                  <a:schemeClr val="bg1"/>
                </a:gs>
              </a:gsLst>
              <a:lin ang="0" scaled="1"/>
              <a:tileRect/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914354"/>
              <a:endParaRPr>
                <a:solidFill>
                  <a:srgbClr val="777777"/>
                </a:solidFill>
              </a:endParaRPr>
            </a:p>
          </p:txBody>
        </p:sp>
      </p:grpSp>
      <p:sp>
        <p:nvSpPr>
          <p:cNvPr id="153" name="文本框 152"/>
          <p:cNvSpPr txBox="1"/>
          <p:nvPr/>
        </p:nvSpPr>
        <p:spPr>
          <a:xfrm>
            <a:off x="692560" y="4203508"/>
            <a:ext cx="800219" cy="461665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人口</a:t>
            </a:r>
            <a:endParaRPr lang="en-US" altLang="zh-CN" sz="1200" dirty="0">
              <a:solidFill>
                <a:srgbClr val="777777"/>
              </a:solidFill>
              <a:latin typeface="微软雅黑" panose="020B0503020204020204" pitchFamily="34" charset="-122"/>
            </a:endParaRPr>
          </a:p>
          <a:p>
            <a:pPr algn="ctr" defTabSz="914354"/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（亿人）</a:t>
            </a:r>
          </a:p>
        </p:txBody>
      </p:sp>
      <p:sp>
        <p:nvSpPr>
          <p:cNvPr id="154" name="文本框 153"/>
          <p:cNvSpPr txBox="1"/>
          <p:nvPr/>
        </p:nvSpPr>
        <p:spPr>
          <a:xfrm>
            <a:off x="518635" y="5353104"/>
            <a:ext cx="1148071" cy="461665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algn="ctr" defTabSz="914354"/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物流市场</a:t>
            </a:r>
            <a:endParaRPr lang="en-US" altLang="zh-CN" sz="1200" dirty="0">
              <a:solidFill>
                <a:srgbClr val="777777"/>
              </a:solidFill>
              <a:latin typeface="微软雅黑" panose="020B0503020204020204" pitchFamily="34" charset="-122"/>
            </a:endParaRPr>
          </a:p>
          <a:p>
            <a:pPr algn="ctr" defTabSz="914354"/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（万亿</a:t>
            </a:r>
            <a:r>
              <a:rPr lang="en-US" altLang="zh-CN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RMB</a:t>
            </a:r>
            <a:r>
              <a:rPr lang="zh-CN" altLang="en-US" sz="1200" dirty="0">
                <a:solidFill>
                  <a:srgbClr val="777777"/>
                </a:solidFill>
                <a:latin typeface="微软雅黑" panose="020B0503020204020204" pitchFamily="34" charset="-122"/>
              </a:rPr>
              <a:t>）</a:t>
            </a:r>
          </a:p>
        </p:txBody>
      </p:sp>
      <p:cxnSp>
        <p:nvCxnSpPr>
          <p:cNvPr id="155" name="直接连接符 154"/>
          <p:cNvCxnSpPr/>
          <p:nvPr/>
        </p:nvCxnSpPr>
        <p:spPr bwMode="auto">
          <a:xfrm>
            <a:off x="754886" y="3414401"/>
            <a:ext cx="4976097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37617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9405" y="35201"/>
            <a:ext cx="9849063" cy="816000"/>
          </a:xfrm>
        </p:spPr>
        <p:txBody>
          <a:bodyPr wrap="square" lIns="0" tIns="45718" rIns="91436" bIns="45718" anchor="ctr" anchorCtr="0">
            <a:noAutofit/>
          </a:bodyPr>
          <a:lstStyle/>
          <a:p>
            <a:r>
              <a:rPr lang="zh-CN" altLang="en-US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逐步构建全球最</a:t>
            </a:r>
            <a:r>
              <a:rPr lang="zh-CN" altLang="en-US" dirty="0">
                <a:solidFill>
                  <a:srgbClr val="DA0B1C"/>
                </a:solidFill>
                <a:latin typeface="微软雅黑" panose="020B0503020204020204" pitchFamily="34" charset="-122"/>
              </a:rPr>
              <a:t>流畅</a:t>
            </a:r>
            <a:r>
              <a:rPr lang="zh-CN" altLang="en-US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的</a:t>
            </a:r>
            <a:r>
              <a:rPr lang="en-US" altLang="zh-CN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”</a:t>
            </a:r>
            <a:r>
              <a:rPr lang="zh-CN" altLang="en-US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双</a:t>
            </a:r>
            <a:r>
              <a:rPr lang="en-US" altLang="zh-CN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48</a:t>
            </a:r>
            <a:r>
              <a:rPr lang="zh-CN" altLang="en-US" dirty="0" smtClean="0">
                <a:solidFill>
                  <a:srgbClr val="DA0B1C"/>
                </a:solidFill>
                <a:latin typeface="微软雅黑" panose="020B0503020204020204" pitchFamily="34" charset="-122"/>
              </a:rPr>
              <a:t>小时”通路网络</a:t>
            </a:r>
            <a:endParaRPr lang="zh-CN" altLang="en-US" dirty="0">
              <a:solidFill>
                <a:srgbClr val="DA0B1C"/>
              </a:solidFill>
              <a:latin typeface="微软雅黑" panose="020B0503020204020204" pitchFamily="34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634249" y="1822668"/>
            <a:ext cx="8312123" cy="4549821"/>
            <a:chOff x="634249" y="1754428"/>
            <a:chExt cx="8312123" cy="4549821"/>
          </a:xfrm>
        </p:grpSpPr>
        <p:sp>
          <p:nvSpPr>
            <p:cNvPr id="1740" name="Freeform 6">
              <a:extLst>
                <a:ext uri="{FF2B5EF4-FFF2-40B4-BE49-F238E27FC236}">
                  <a16:creationId xmlns:a16="http://schemas.microsoft.com/office/drawing/2014/main" id="{DC875067-A5C5-4F44-B60D-5503FAE283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840" y="5222868"/>
              <a:ext cx="61504" cy="50145"/>
            </a:xfrm>
            <a:custGeom>
              <a:avLst/>
              <a:gdLst>
                <a:gd name="T0" fmla="*/ 10 w 36"/>
                <a:gd name="T1" fmla="*/ 0 h 30"/>
                <a:gd name="T2" fmla="*/ 10 w 36"/>
                <a:gd name="T3" fmla="*/ 0 h 30"/>
                <a:gd name="T4" fmla="*/ 10 w 36"/>
                <a:gd name="T5" fmla="*/ 0 h 30"/>
                <a:gd name="T6" fmla="*/ 8 w 36"/>
                <a:gd name="T7" fmla="*/ 0 h 30"/>
                <a:gd name="T8" fmla="*/ 6 w 36"/>
                <a:gd name="T9" fmla="*/ 2 h 30"/>
                <a:gd name="T10" fmla="*/ 4 w 36"/>
                <a:gd name="T11" fmla="*/ 2 h 30"/>
                <a:gd name="T12" fmla="*/ 2 w 36"/>
                <a:gd name="T13" fmla="*/ 2 h 30"/>
                <a:gd name="T14" fmla="*/ 0 w 36"/>
                <a:gd name="T15" fmla="*/ 4 h 30"/>
                <a:gd name="T16" fmla="*/ 0 w 36"/>
                <a:gd name="T17" fmla="*/ 4 h 30"/>
                <a:gd name="T18" fmla="*/ 0 w 36"/>
                <a:gd name="T19" fmla="*/ 4 h 30"/>
                <a:gd name="T20" fmla="*/ 0 w 36"/>
                <a:gd name="T21" fmla="*/ 4 h 30"/>
                <a:gd name="T22" fmla="*/ 0 w 36"/>
                <a:gd name="T23" fmla="*/ 6 h 30"/>
                <a:gd name="T24" fmla="*/ 0 w 36"/>
                <a:gd name="T25" fmla="*/ 6 h 30"/>
                <a:gd name="T26" fmla="*/ 0 w 36"/>
                <a:gd name="T27" fmla="*/ 6 h 30"/>
                <a:gd name="T28" fmla="*/ 0 w 36"/>
                <a:gd name="T29" fmla="*/ 8 h 30"/>
                <a:gd name="T30" fmla="*/ 0 w 36"/>
                <a:gd name="T31" fmla="*/ 8 h 30"/>
                <a:gd name="T32" fmla="*/ 0 w 36"/>
                <a:gd name="T33" fmla="*/ 8 h 30"/>
                <a:gd name="T34" fmla="*/ 2 w 36"/>
                <a:gd name="T35" fmla="*/ 10 h 30"/>
                <a:gd name="T36" fmla="*/ 4 w 36"/>
                <a:gd name="T37" fmla="*/ 12 h 30"/>
                <a:gd name="T38" fmla="*/ 6 w 36"/>
                <a:gd name="T39" fmla="*/ 14 h 30"/>
                <a:gd name="T40" fmla="*/ 10 w 36"/>
                <a:gd name="T41" fmla="*/ 16 h 30"/>
                <a:gd name="T42" fmla="*/ 12 w 36"/>
                <a:gd name="T43" fmla="*/ 20 h 30"/>
                <a:gd name="T44" fmla="*/ 16 w 36"/>
                <a:gd name="T45" fmla="*/ 22 h 30"/>
                <a:gd name="T46" fmla="*/ 18 w 36"/>
                <a:gd name="T47" fmla="*/ 24 h 30"/>
                <a:gd name="T48" fmla="*/ 22 w 36"/>
                <a:gd name="T49" fmla="*/ 26 h 30"/>
                <a:gd name="T50" fmla="*/ 22 w 36"/>
                <a:gd name="T51" fmla="*/ 26 h 30"/>
                <a:gd name="T52" fmla="*/ 24 w 36"/>
                <a:gd name="T53" fmla="*/ 28 h 30"/>
                <a:gd name="T54" fmla="*/ 26 w 36"/>
                <a:gd name="T55" fmla="*/ 28 h 30"/>
                <a:gd name="T56" fmla="*/ 28 w 36"/>
                <a:gd name="T57" fmla="*/ 30 h 30"/>
                <a:gd name="T58" fmla="*/ 30 w 36"/>
                <a:gd name="T59" fmla="*/ 30 h 30"/>
                <a:gd name="T60" fmla="*/ 30 w 36"/>
                <a:gd name="T61" fmla="*/ 30 h 30"/>
                <a:gd name="T62" fmla="*/ 32 w 36"/>
                <a:gd name="T63" fmla="*/ 30 h 30"/>
                <a:gd name="T64" fmla="*/ 32 w 36"/>
                <a:gd name="T65" fmla="*/ 30 h 30"/>
                <a:gd name="T66" fmla="*/ 32 w 36"/>
                <a:gd name="T67" fmla="*/ 30 h 30"/>
                <a:gd name="T68" fmla="*/ 34 w 36"/>
                <a:gd name="T69" fmla="*/ 28 h 30"/>
                <a:gd name="T70" fmla="*/ 34 w 36"/>
                <a:gd name="T71" fmla="*/ 28 h 30"/>
                <a:gd name="T72" fmla="*/ 34 w 36"/>
                <a:gd name="T73" fmla="*/ 26 h 30"/>
                <a:gd name="T74" fmla="*/ 34 w 36"/>
                <a:gd name="T75" fmla="*/ 24 h 30"/>
                <a:gd name="T76" fmla="*/ 36 w 36"/>
                <a:gd name="T77" fmla="*/ 24 h 30"/>
                <a:gd name="T78" fmla="*/ 36 w 36"/>
                <a:gd name="T79" fmla="*/ 22 h 30"/>
                <a:gd name="T80" fmla="*/ 36 w 36"/>
                <a:gd name="T81" fmla="*/ 20 h 30"/>
                <a:gd name="T82" fmla="*/ 36 w 36"/>
                <a:gd name="T83" fmla="*/ 20 h 30"/>
                <a:gd name="T84" fmla="*/ 36 w 36"/>
                <a:gd name="T85" fmla="*/ 18 h 30"/>
                <a:gd name="T86" fmla="*/ 34 w 36"/>
                <a:gd name="T87" fmla="*/ 16 h 30"/>
                <a:gd name="T88" fmla="*/ 34 w 36"/>
                <a:gd name="T89" fmla="*/ 14 h 30"/>
                <a:gd name="T90" fmla="*/ 32 w 36"/>
                <a:gd name="T91" fmla="*/ 12 h 30"/>
                <a:gd name="T92" fmla="*/ 30 w 36"/>
                <a:gd name="T93" fmla="*/ 10 h 30"/>
                <a:gd name="T94" fmla="*/ 28 w 36"/>
                <a:gd name="T95" fmla="*/ 8 h 30"/>
                <a:gd name="T96" fmla="*/ 28 w 36"/>
                <a:gd name="T97" fmla="*/ 6 h 30"/>
                <a:gd name="T98" fmla="*/ 26 w 36"/>
                <a:gd name="T99" fmla="*/ 6 h 30"/>
                <a:gd name="T100" fmla="*/ 24 w 36"/>
                <a:gd name="T101" fmla="*/ 4 h 30"/>
                <a:gd name="T102" fmla="*/ 22 w 36"/>
                <a:gd name="T103" fmla="*/ 4 h 30"/>
                <a:gd name="T104" fmla="*/ 20 w 36"/>
                <a:gd name="T105" fmla="*/ 2 h 30"/>
                <a:gd name="T106" fmla="*/ 18 w 36"/>
                <a:gd name="T107" fmla="*/ 2 h 30"/>
                <a:gd name="T108" fmla="*/ 16 w 36"/>
                <a:gd name="T109" fmla="*/ 2 h 30"/>
                <a:gd name="T110" fmla="*/ 14 w 36"/>
                <a:gd name="T111" fmla="*/ 0 h 30"/>
                <a:gd name="T112" fmla="*/ 12 w 36"/>
                <a:gd name="T113" fmla="*/ 0 h 30"/>
                <a:gd name="T114" fmla="*/ 10 w 36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" h="30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10" y="16"/>
                  </a:lnTo>
                  <a:lnTo>
                    <a:pt x="12" y="20"/>
                  </a:lnTo>
                  <a:lnTo>
                    <a:pt x="16" y="22"/>
                  </a:lnTo>
                  <a:lnTo>
                    <a:pt x="18" y="24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8"/>
                  </a:lnTo>
                  <a:lnTo>
                    <a:pt x="26" y="28"/>
                  </a:lnTo>
                  <a:lnTo>
                    <a:pt x="28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6"/>
                  </a:lnTo>
                  <a:lnTo>
                    <a:pt x="34" y="24"/>
                  </a:lnTo>
                  <a:lnTo>
                    <a:pt x="36" y="24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18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2" y="12"/>
                  </a:lnTo>
                  <a:lnTo>
                    <a:pt x="30" y="10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41" name="Freeform 8">
              <a:extLst>
                <a:ext uri="{FF2B5EF4-FFF2-40B4-BE49-F238E27FC236}">
                  <a16:creationId xmlns:a16="http://schemas.microsoft.com/office/drawing/2014/main" id="{ACB81188-1530-4E85-840E-C55E46C0C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3826" y="4691331"/>
              <a:ext cx="54669" cy="66860"/>
            </a:xfrm>
            <a:custGeom>
              <a:avLst/>
              <a:gdLst>
                <a:gd name="T0" fmla="*/ 2 w 32"/>
                <a:gd name="T1" fmla="*/ 0 h 40"/>
                <a:gd name="T2" fmla="*/ 2 w 32"/>
                <a:gd name="T3" fmla="*/ 0 h 40"/>
                <a:gd name="T4" fmla="*/ 0 w 32"/>
                <a:gd name="T5" fmla="*/ 0 h 40"/>
                <a:gd name="T6" fmla="*/ 0 w 32"/>
                <a:gd name="T7" fmla="*/ 0 h 40"/>
                <a:gd name="T8" fmla="*/ 0 w 32"/>
                <a:gd name="T9" fmla="*/ 2 h 40"/>
                <a:gd name="T10" fmla="*/ 0 w 32"/>
                <a:gd name="T11" fmla="*/ 2 h 40"/>
                <a:gd name="T12" fmla="*/ 0 w 32"/>
                <a:gd name="T13" fmla="*/ 4 h 40"/>
                <a:gd name="T14" fmla="*/ 2 w 32"/>
                <a:gd name="T15" fmla="*/ 6 h 40"/>
                <a:gd name="T16" fmla="*/ 2 w 32"/>
                <a:gd name="T17" fmla="*/ 6 h 40"/>
                <a:gd name="T18" fmla="*/ 4 w 32"/>
                <a:gd name="T19" fmla="*/ 10 h 40"/>
                <a:gd name="T20" fmla="*/ 6 w 32"/>
                <a:gd name="T21" fmla="*/ 12 h 40"/>
                <a:gd name="T22" fmla="*/ 8 w 32"/>
                <a:gd name="T23" fmla="*/ 16 h 40"/>
                <a:gd name="T24" fmla="*/ 10 w 32"/>
                <a:gd name="T25" fmla="*/ 18 h 40"/>
                <a:gd name="T26" fmla="*/ 12 w 32"/>
                <a:gd name="T27" fmla="*/ 20 h 40"/>
                <a:gd name="T28" fmla="*/ 12 w 32"/>
                <a:gd name="T29" fmla="*/ 22 h 40"/>
                <a:gd name="T30" fmla="*/ 14 w 32"/>
                <a:gd name="T31" fmla="*/ 26 h 40"/>
                <a:gd name="T32" fmla="*/ 16 w 32"/>
                <a:gd name="T33" fmla="*/ 28 h 40"/>
                <a:gd name="T34" fmla="*/ 16 w 32"/>
                <a:gd name="T35" fmla="*/ 32 h 40"/>
                <a:gd name="T36" fmla="*/ 18 w 32"/>
                <a:gd name="T37" fmla="*/ 34 h 40"/>
                <a:gd name="T38" fmla="*/ 20 w 32"/>
                <a:gd name="T39" fmla="*/ 36 h 40"/>
                <a:gd name="T40" fmla="*/ 20 w 32"/>
                <a:gd name="T41" fmla="*/ 38 h 40"/>
                <a:gd name="T42" fmla="*/ 22 w 32"/>
                <a:gd name="T43" fmla="*/ 38 h 40"/>
                <a:gd name="T44" fmla="*/ 22 w 32"/>
                <a:gd name="T45" fmla="*/ 40 h 40"/>
                <a:gd name="T46" fmla="*/ 24 w 32"/>
                <a:gd name="T47" fmla="*/ 40 h 40"/>
                <a:gd name="T48" fmla="*/ 24 w 32"/>
                <a:gd name="T49" fmla="*/ 40 h 40"/>
                <a:gd name="T50" fmla="*/ 24 w 32"/>
                <a:gd name="T51" fmla="*/ 40 h 40"/>
                <a:gd name="T52" fmla="*/ 26 w 32"/>
                <a:gd name="T53" fmla="*/ 40 h 40"/>
                <a:gd name="T54" fmla="*/ 26 w 32"/>
                <a:gd name="T55" fmla="*/ 40 h 40"/>
                <a:gd name="T56" fmla="*/ 26 w 32"/>
                <a:gd name="T57" fmla="*/ 38 h 40"/>
                <a:gd name="T58" fmla="*/ 28 w 32"/>
                <a:gd name="T59" fmla="*/ 38 h 40"/>
                <a:gd name="T60" fmla="*/ 28 w 32"/>
                <a:gd name="T61" fmla="*/ 36 h 40"/>
                <a:gd name="T62" fmla="*/ 30 w 32"/>
                <a:gd name="T63" fmla="*/ 34 h 40"/>
                <a:gd name="T64" fmla="*/ 30 w 32"/>
                <a:gd name="T65" fmla="*/ 32 h 40"/>
                <a:gd name="T66" fmla="*/ 30 w 32"/>
                <a:gd name="T67" fmla="*/ 30 h 40"/>
                <a:gd name="T68" fmla="*/ 30 w 32"/>
                <a:gd name="T69" fmla="*/ 28 h 40"/>
                <a:gd name="T70" fmla="*/ 30 w 32"/>
                <a:gd name="T71" fmla="*/ 26 h 40"/>
                <a:gd name="T72" fmla="*/ 30 w 32"/>
                <a:gd name="T73" fmla="*/ 24 h 40"/>
                <a:gd name="T74" fmla="*/ 32 w 32"/>
                <a:gd name="T75" fmla="*/ 22 h 40"/>
                <a:gd name="T76" fmla="*/ 30 w 32"/>
                <a:gd name="T77" fmla="*/ 20 h 40"/>
                <a:gd name="T78" fmla="*/ 30 w 32"/>
                <a:gd name="T79" fmla="*/ 20 h 40"/>
                <a:gd name="T80" fmla="*/ 30 w 32"/>
                <a:gd name="T81" fmla="*/ 18 h 40"/>
                <a:gd name="T82" fmla="*/ 30 w 32"/>
                <a:gd name="T83" fmla="*/ 16 h 40"/>
                <a:gd name="T84" fmla="*/ 30 w 32"/>
                <a:gd name="T85" fmla="*/ 14 h 40"/>
                <a:gd name="T86" fmla="*/ 28 w 32"/>
                <a:gd name="T87" fmla="*/ 14 h 40"/>
                <a:gd name="T88" fmla="*/ 28 w 32"/>
                <a:gd name="T89" fmla="*/ 12 h 40"/>
                <a:gd name="T90" fmla="*/ 26 w 32"/>
                <a:gd name="T91" fmla="*/ 10 h 40"/>
                <a:gd name="T92" fmla="*/ 24 w 32"/>
                <a:gd name="T93" fmla="*/ 8 h 40"/>
                <a:gd name="T94" fmla="*/ 22 w 32"/>
                <a:gd name="T95" fmla="*/ 8 h 40"/>
                <a:gd name="T96" fmla="*/ 20 w 32"/>
                <a:gd name="T97" fmla="*/ 6 h 40"/>
                <a:gd name="T98" fmla="*/ 18 w 32"/>
                <a:gd name="T99" fmla="*/ 4 h 40"/>
                <a:gd name="T100" fmla="*/ 16 w 32"/>
                <a:gd name="T101" fmla="*/ 2 h 40"/>
                <a:gd name="T102" fmla="*/ 14 w 32"/>
                <a:gd name="T103" fmla="*/ 2 h 40"/>
                <a:gd name="T104" fmla="*/ 12 w 32"/>
                <a:gd name="T105" fmla="*/ 0 h 40"/>
                <a:gd name="T106" fmla="*/ 10 w 32"/>
                <a:gd name="T107" fmla="*/ 0 h 40"/>
                <a:gd name="T108" fmla="*/ 8 w 32"/>
                <a:gd name="T109" fmla="*/ 0 h 40"/>
                <a:gd name="T110" fmla="*/ 6 w 32"/>
                <a:gd name="T111" fmla="*/ 0 h 40"/>
                <a:gd name="T112" fmla="*/ 4 w 32"/>
                <a:gd name="T113" fmla="*/ 0 h 40"/>
                <a:gd name="T114" fmla="*/ 2 w 32"/>
                <a:gd name="T115" fmla="*/ 0 h 40"/>
                <a:gd name="T116" fmla="*/ 2 w 32"/>
                <a:gd name="T117" fmla="*/ 0 h 40"/>
                <a:gd name="T118" fmla="*/ 2 w 32"/>
                <a:gd name="T119" fmla="*/ 0 h 40"/>
                <a:gd name="T120" fmla="*/ 2 w 32"/>
                <a:gd name="T1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" h="40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8" y="16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4" y="26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8" y="34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22" y="38"/>
                  </a:lnTo>
                  <a:lnTo>
                    <a:pt x="22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38"/>
                  </a:lnTo>
                  <a:lnTo>
                    <a:pt x="28" y="38"/>
                  </a:lnTo>
                  <a:lnTo>
                    <a:pt x="28" y="36"/>
                  </a:lnTo>
                  <a:lnTo>
                    <a:pt x="30" y="34"/>
                  </a:lnTo>
                  <a:lnTo>
                    <a:pt x="30" y="32"/>
                  </a:lnTo>
                  <a:lnTo>
                    <a:pt x="30" y="30"/>
                  </a:lnTo>
                  <a:lnTo>
                    <a:pt x="30" y="28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32" y="22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8"/>
                  </a:lnTo>
                  <a:lnTo>
                    <a:pt x="30" y="16"/>
                  </a:lnTo>
                  <a:lnTo>
                    <a:pt x="30" y="14"/>
                  </a:lnTo>
                  <a:lnTo>
                    <a:pt x="28" y="14"/>
                  </a:lnTo>
                  <a:lnTo>
                    <a:pt x="28" y="12"/>
                  </a:lnTo>
                  <a:lnTo>
                    <a:pt x="26" y="10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43" name="Freeform 10">
              <a:extLst>
                <a:ext uri="{FF2B5EF4-FFF2-40B4-BE49-F238E27FC236}">
                  <a16:creationId xmlns:a16="http://schemas.microsoft.com/office/drawing/2014/main" id="{3B4ED898-C246-40CF-B51F-AA71C4AFB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1730" y="4731447"/>
              <a:ext cx="205011" cy="207266"/>
            </a:xfrm>
            <a:custGeom>
              <a:avLst/>
              <a:gdLst>
                <a:gd name="T0" fmla="*/ 2 w 120"/>
                <a:gd name="T1" fmla="*/ 0 h 124"/>
                <a:gd name="T2" fmla="*/ 14 w 120"/>
                <a:gd name="T3" fmla="*/ 4 h 124"/>
                <a:gd name="T4" fmla="*/ 18 w 120"/>
                <a:gd name="T5" fmla="*/ 6 h 124"/>
                <a:gd name="T6" fmla="*/ 32 w 120"/>
                <a:gd name="T7" fmla="*/ 2 h 124"/>
                <a:gd name="T8" fmla="*/ 36 w 120"/>
                <a:gd name="T9" fmla="*/ 2 h 124"/>
                <a:gd name="T10" fmla="*/ 40 w 120"/>
                <a:gd name="T11" fmla="*/ 4 h 124"/>
                <a:gd name="T12" fmla="*/ 40 w 120"/>
                <a:gd name="T13" fmla="*/ 6 h 124"/>
                <a:gd name="T14" fmla="*/ 40 w 120"/>
                <a:gd name="T15" fmla="*/ 14 h 124"/>
                <a:gd name="T16" fmla="*/ 38 w 120"/>
                <a:gd name="T17" fmla="*/ 20 h 124"/>
                <a:gd name="T18" fmla="*/ 40 w 120"/>
                <a:gd name="T19" fmla="*/ 24 h 124"/>
                <a:gd name="T20" fmla="*/ 42 w 120"/>
                <a:gd name="T21" fmla="*/ 26 h 124"/>
                <a:gd name="T22" fmla="*/ 46 w 120"/>
                <a:gd name="T23" fmla="*/ 26 h 124"/>
                <a:gd name="T24" fmla="*/ 52 w 120"/>
                <a:gd name="T25" fmla="*/ 28 h 124"/>
                <a:gd name="T26" fmla="*/ 54 w 120"/>
                <a:gd name="T27" fmla="*/ 30 h 124"/>
                <a:gd name="T28" fmla="*/ 56 w 120"/>
                <a:gd name="T29" fmla="*/ 34 h 124"/>
                <a:gd name="T30" fmla="*/ 58 w 120"/>
                <a:gd name="T31" fmla="*/ 40 h 124"/>
                <a:gd name="T32" fmla="*/ 64 w 120"/>
                <a:gd name="T33" fmla="*/ 44 h 124"/>
                <a:gd name="T34" fmla="*/ 72 w 120"/>
                <a:gd name="T35" fmla="*/ 52 h 124"/>
                <a:gd name="T36" fmla="*/ 78 w 120"/>
                <a:gd name="T37" fmla="*/ 56 h 124"/>
                <a:gd name="T38" fmla="*/ 78 w 120"/>
                <a:gd name="T39" fmla="*/ 58 h 124"/>
                <a:gd name="T40" fmla="*/ 78 w 120"/>
                <a:gd name="T41" fmla="*/ 64 h 124"/>
                <a:gd name="T42" fmla="*/ 76 w 120"/>
                <a:gd name="T43" fmla="*/ 72 h 124"/>
                <a:gd name="T44" fmla="*/ 76 w 120"/>
                <a:gd name="T45" fmla="*/ 76 h 124"/>
                <a:gd name="T46" fmla="*/ 78 w 120"/>
                <a:gd name="T47" fmla="*/ 82 h 124"/>
                <a:gd name="T48" fmla="*/ 84 w 120"/>
                <a:gd name="T49" fmla="*/ 90 h 124"/>
                <a:gd name="T50" fmla="*/ 88 w 120"/>
                <a:gd name="T51" fmla="*/ 94 h 124"/>
                <a:gd name="T52" fmla="*/ 94 w 120"/>
                <a:gd name="T53" fmla="*/ 96 h 124"/>
                <a:gd name="T54" fmla="*/ 104 w 120"/>
                <a:gd name="T55" fmla="*/ 98 h 124"/>
                <a:gd name="T56" fmla="*/ 108 w 120"/>
                <a:gd name="T57" fmla="*/ 100 h 124"/>
                <a:gd name="T58" fmla="*/ 114 w 120"/>
                <a:gd name="T59" fmla="*/ 106 h 124"/>
                <a:gd name="T60" fmla="*/ 118 w 120"/>
                <a:gd name="T61" fmla="*/ 112 h 124"/>
                <a:gd name="T62" fmla="*/ 120 w 120"/>
                <a:gd name="T63" fmla="*/ 116 h 124"/>
                <a:gd name="T64" fmla="*/ 118 w 120"/>
                <a:gd name="T65" fmla="*/ 120 h 124"/>
                <a:gd name="T66" fmla="*/ 116 w 120"/>
                <a:gd name="T67" fmla="*/ 122 h 124"/>
                <a:gd name="T68" fmla="*/ 110 w 120"/>
                <a:gd name="T69" fmla="*/ 122 h 124"/>
                <a:gd name="T70" fmla="*/ 102 w 120"/>
                <a:gd name="T71" fmla="*/ 124 h 124"/>
                <a:gd name="T72" fmla="*/ 96 w 120"/>
                <a:gd name="T73" fmla="*/ 122 h 124"/>
                <a:gd name="T74" fmla="*/ 94 w 120"/>
                <a:gd name="T75" fmla="*/ 122 h 124"/>
                <a:gd name="T76" fmla="*/ 86 w 120"/>
                <a:gd name="T77" fmla="*/ 118 h 124"/>
                <a:gd name="T78" fmla="*/ 76 w 120"/>
                <a:gd name="T79" fmla="*/ 116 h 124"/>
                <a:gd name="T80" fmla="*/ 72 w 120"/>
                <a:gd name="T81" fmla="*/ 114 h 124"/>
                <a:gd name="T82" fmla="*/ 66 w 120"/>
                <a:gd name="T83" fmla="*/ 110 h 124"/>
                <a:gd name="T84" fmla="*/ 54 w 120"/>
                <a:gd name="T85" fmla="*/ 96 h 124"/>
                <a:gd name="T86" fmla="*/ 48 w 120"/>
                <a:gd name="T87" fmla="*/ 86 h 124"/>
                <a:gd name="T88" fmla="*/ 42 w 120"/>
                <a:gd name="T89" fmla="*/ 78 h 124"/>
                <a:gd name="T90" fmla="*/ 40 w 120"/>
                <a:gd name="T91" fmla="*/ 76 h 124"/>
                <a:gd name="T92" fmla="*/ 30 w 120"/>
                <a:gd name="T93" fmla="*/ 74 h 124"/>
                <a:gd name="T94" fmla="*/ 18 w 120"/>
                <a:gd name="T95" fmla="*/ 7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24">
                  <a:moveTo>
                    <a:pt x="18" y="74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6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8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38" y="16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2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4" y="26"/>
                  </a:lnTo>
                  <a:lnTo>
                    <a:pt x="46" y="26"/>
                  </a:lnTo>
                  <a:lnTo>
                    <a:pt x="48" y="26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28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58" y="36"/>
                  </a:lnTo>
                  <a:lnTo>
                    <a:pt x="58" y="38"/>
                  </a:lnTo>
                  <a:lnTo>
                    <a:pt x="58" y="40"/>
                  </a:lnTo>
                  <a:lnTo>
                    <a:pt x="60" y="40"/>
                  </a:lnTo>
                  <a:lnTo>
                    <a:pt x="60" y="42"/>
                  </a:lnTo>
                  <a:lnTo>
                    <a:pt x="64" y="44"/>
                  </a:lnTo>
                  <a:lnTo>
                    <a:pt x="68" y="48"/>
                  </a:lnTo>
                  <a:lnTo>
                    <a:pt x="70" y="50"/>
                  </a:lnTo>
                  <a:lnTo>
                    <a:pt x="72" y="52"/>
                  </a:lnTo>
                  <a:lnTo>
                    <a:pt x="74" y="54"/>
                  </a:lnTo>
                  <a:lnTo>
                    <a:pt x="76" y="54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78" y="60"/>
                  </a:lnTo>
                  <a:lnTo>
                    <a:pt x="78" y="62"/>
                  </a:lnTo>
                  <a:lnTo>
                    <a:pt x="78" y="64"/>
                  </a:lnTo>
                  <a:lnTo>
                    <a:pt x="78" y="66"/>
                  </a:lnTo>
                  <a:lnTo>
                    <a:pt x="76" y="70"/>
                  </a:lnTo>
                  <a:lnTo>
                    <a:pt x="76" y="72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6"/>
                  </a:lnTo>
                  <a:lnTo>
                    <a:pt x="76" y="78"/>
                  </a:lnTo>
                  <a:lnTo>
                    <a:pt x="78" y="80"/>
                  </a:lnTo>
                  <a:lnTo>
                    <a:pt x="78" y="82"/>
                  </a:lnTo>
                  <a:lnTo>
                    <a:pt x="80" y="86"/>
                  </a:lnTo>
                  <a:lnTo>
                    <a:pt x="82" y="88"/>
                  </a:lnTo>
                  <a:lnTo>
                    <a:pt x="84" y="90"/>
                  </a:lnTo>
                  <a:lnTo>
                    <a:pt x="86" y="92"/>
                  </a:lnTo>
                  <a:lnTo>
                    <a:pt x="88" y="92"/>
                  </a:lnTo>
                  <a:lnTo>
                    <a:pt x="88" y="94"/>
                  </a:lnTo>
                  <a:lnTo>
                    <a:pt x="90" y="94"/>
                  </a:lnTo>
                  <a:lnTo>
                    <a:pt x="92" y="94"/>
                  </a:lnTo>
                  <a:lnTo>
                    <a:pt x="94" y="96"/>
                  </a:lnTo>
                  <a:lnTo>
                    <a:pt x="98" y="96"/>
                  </a:lnTo>
                  <a:lnTo>
                    <a:pt x="100" y="96"/>
                  </a:lnTo>
                  <a:lnTo>
                    <a:pt x="104" y="98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8" y="100"/>
                  </a:lnTo>
                  <a:lnTo>
                    <a:pt x="110" y="100"/>
                  </a:lnTo>
                  <a:lnTo>
                    <a:pt x="112" y="104"/>
                  </a:lnTo>
                  <a:lnTo>
                    <a:pt x="114" y="106"/>
                  </a:lnTo>
                  <a:lnTo>
                    <a:pt x="116" y="108"/>
                  </a:lnTo>
                  <a:lnTo>
                    <a:pt x="118" y="110"/>
                  </a:lnTo>
                  <a:lnTo>
                    <a:pt x="118" y="112"/>
                  </a:lnTo>
                  <a:lnTo>
                    <a:pt x="118" y="114"/>
                  </a:lnTo>
                  <a:lnTo>
                    <a:pt x="118" y="114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18" y="118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16" y="120"/>
                  </a:lnTo>
                  <a:lnTo>
                    <a:pt x="116" y="122"/>
                  </a:lnTo>
                  <a:lnTo>
                    <a:pt x="114" y="122"/>
                  </a:lnTo>
                  <a:lnTo>
                    <a:pt x="112" y="122"/>
                  </a:lnTo>
                  <a:lnTo>
                    <a:pt x="110" y="122"/>
                  </a:lnTo>
                  <a:lnTo>
                    <a:pt x="108" y="122"/>
                  </a:lnTo>
                  <a:lnTo>
                    <a:pt x="104" y="124"/>
                  </a:lnTo>
                  <a:lnTo>
                    <a:pt x="102" y="124"/>
                  </a:lnTo>
                  <a:lnTo>
                    <a:pt x="100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4" y="122"/>
                  </a:lnTo>
                  <a:lnTo>
                    <a:pt x="92" y="120"/>
                  </a:lnTo>
                  <a:lnTo>
                    <a:pt x="88" y="120"/>
                  </a:lnTo>
                  <a:lnTo>
                    <a:pt x="86" y="118"/>
                  </a:lnTo>
                  <a:lnTo>
                    <a:pt x="82" y="118"/>
                  </a:lnTo>
                  <a:lnTo>
                    <a:pt x="78" y="118"/>
                  </a:lnTo>
                  <a:lnTo>
                    <a:pt x="76" y="116"/>
                  </a:lnTo>
                  <a:lnTo>
                    <a:pt x="74" y="116"/>
                  </a:lnTo>
                  <a:lnTo>
                    <a:pt x="74" y="116"/>
                  </a:lnTo>
                  <a:lnTo>
                    <a:pt x="72" y="114"/>
                  </a:lnTo>
                  <a:lnTo>
                    <a:pt x="70" y="114"/>
                  </a:lnTo>
                  <a:lnTo>
                    <a:pt x="68" y="112"/>
                  </a:lnTo>
                  <a:lnTo>
                    <a:pt x="66" y="110"/>
                  </a:lnTo>
                  <a:lnTo>
                    <a:pt x="64" y="106"/>
                  </a:lnTo>
                  <a:lnTo>
                    <a:pt x="58" y="100"/>
                  </a:lnTo>
                  <a:lnTo>
                    <a:pt x="54" y="96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48" y="86"/>
                  </a:lnTo>
                  <a:lnTo>
                    <a:pt x="46" y="82"/>
                  </a:lnTo>
                  <a:lnTo>
                    <a:pt x="44" y="80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8" y="76"/>
                  </a:lnTo>
                  <a:lnTo>
                    <a:pt x="34" y="76"/>
                  </a:lnTo>
                  <a:lnTo>
                    <a:pt x="30" y="74"/>
                  </a:lnTo>
                  <a:lnTo>
                    <a:pt x="26" y="74"/>
                  </a:lnTo>
                  <a:lnTo>
                    <a:pt x="20" y="74"/>
                  </a:lnTo>
                  <a:lnTo>
                    <a:pt x="18" y="7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44" name="Freeform 13">
              <a:extLst>
                <a:ext uri="{FF2B5EF4-FFF2-40B4-BE49-F238E27FC236}">
                  <a16:creationId xmlns:a16="http://schemas.microsoft.com/office/drawing/2014/main" id="{7561C24A-B128-4D45-99CC-F79016C6D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5738" y="4764877"/>
              <a:ext cx="71755" cy="53487"/>
            </a:xfrm>
            <a:custGeom>
              <a:avLst/>
              <a:gdLst>
                <a:gd name="T0" fmla="*/ 4 w 42"/>
                <a:gd name="T1" fmla="*/ 16 h 32"/>
                <a:gd name="T2" fmla="*/ 2 w 42"/>
                <a:gd name="T3" fmla="*/ 20 h 32"/>
                <a:gd name="T4" fmla="*/ 0 w 42"/>
                <a:gd name="T5" fmla="*/ 22 h 32"/>
                <a:gd name="T6" fmla="*/ 0 w 42"/>
                <a:gd name="T7" fmla="*/ 26 h 32"/>
                <a:gd name="T8" fmla="*/ 0 w 42"/>
                <a:gd name="T9" fmla="*/ 28 h 32"/>
                <a:gd name="T10" fmla="*/ 2 w 42"/>
                <a:gd name="T11" fmla="*/ 28 h 32"/>
                <a:gd name="T12" fmla="*/ 2 w 42"/>
                <a:gd name="T13" fmla="*/ 30 h 32"/>
                <a:gd name="T14" fmla="*/ 6 w 42"/>
                <a:gd name="T15" fmla="*/ 30 h 32"/>
                <a:gd name="T16" fmla="*/ 10 w 42"/>
                <a:gd name="T17" fmla="*/ 32 h 32"/>
                <a:gd name="T18" fmla="*/ 16 w 42"/>
                <a:gd name="T19" fmla="*/ 32 h 32"/>
                <a:gd name="T20" fmla="*/ 20 w 42"/>
                <a:gd name="T21" fmla="*/ 32 h 32"/>
                <a:gd name="T22" fmla="*/ 24 w 42"/>
                <a:gd name="T23" fmla="*/ 30 h 32"/>
                <a:gd name="T24" fmla="*/ 28 w 42"/>
                <a:gd name="T25" fmla="*/ 26 h 32"/>
                <a:gd name="T26" fmla="*/ 32 w 42"/>
                <a:gd name="T27" fmla="*/ 24 h 32"/>
                <a:gd name="T28" fmla="*/ 36 w 42"/>
                <a:gd name="T29" fmla="*/ 22 h 32"/>
                <a:gd name="T30" fmla="*/ 38 w 42"/>
                <a:gd name="T31" fmla="*/ 18 h 32"/>
                <a:gd name="T32" fmla="*/ 40 w 42"/>
                <a:gd name="T33" fmla="*/ 14 h 32"/>
                <a:gd name="T34" fmla="*/ 42 w 42"/>
                <a:gd name="T35" fmla="*/ 12 h 32"/>
                <a:gd name="T36" fmla="*/ 42 w 42"/>
                <a:gd name="T37" fmla="*/ 10 h 32"/>
                <a:gd name="T38" fmla="*/ 42 w 42"/>
                <a:gd name="T39" fmla="*/ 6 h 32"/>
                <a:gd name="T40" fmla="*/ 42 w 42"/>
                <a:gd name="T41" fmla="*/ 2 h 32"/>
                <a:gd name="T42" fmla="*/ 40 w 42"/>
                <a:gd name="T43" fmla="*/ 0 h 32"/>
                <a:gd name="T44" fmla="*/ 40 w 42"/>
                <a:gd name="T45" fmla="*/ 0 h 32"/>
                <a:gd name="T46" fmla="*/ 38 w 42"/>
                <a:gd name="T47" fmla="*/ 0 h 32"/>
                <a:gd name="T48" fmla="*/ 34 w 42"/>
                <a:gd name="T49" fmla="*/ 0 h 32"/>
                <a:gd name="T50" fmla="*/ 30 w 42"/>
                <a:gd name="T51" fmla="*/ 0 h 32"/>
                <a:gd name="T52" fmla="*/ 28 w 42"/>
                <a:gd name="T53" fmla="*/ 2 h 32"/>
                <a:gd name="T54" fmla="*/ 28 w 42"/>
                <a:gd name="T55" fmla="*/ 2 h 32"/>
                <a:gd name="T56" fmla="*/ 26 w 42"/>
                <a:gd name="T57" fmla="*/ 6 h 32"/>
                <a:gd name="T58" fmla="*/ 26 w 42"/>
                <a:gd name="T59" fmla="*/ 8 h 32"/>
                <a:gd name="T60" fmla="*/ 26 w 42"/>
                <a:gd name="T61" fmla="*/ 10 h 32"/>
                <a:gd name="T62" fmla="*/ 26 w 42"/>
                <a:gd name="T63" fmla="*/ 12 h 32"/>
                <a:gd name="T64" fmla="*/ 24 w 42"/>
                <a:gd name="T65" fmla="*/ 12 h 32"/>
                <a:gd name="T66" fmla="*/ 20 w 42"/>
                <a:gd name="T67" fmla="*/ 14 h 32"/>
                <a:gd name="T68" fmla="*/ 14 w 42"/>
                <a:gd name="T69" fmla="*/ 14 h 32"/>
                <a:gd name="T70" fmla="*/ 8 w 42"/>
                <a:gd name="T71" fmla="*/ 14 h 32"/>
                <a:gd name="T72" fmla="*/ 6 w 42"/>
                <a:gd name="T73" fmla="*/ 16 h 32"/>
                <a:gd name="T74" fmla="*/ 4 w 42"/>
                <a:gd name="T75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" h="32">
                  <a:moveTo>
                    <a:pt x="4" y="16"/>
                  </a:moveTo>
                  <a:lnTo>
                    <a:pt x="4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10" y="32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2" y="30"/>
                  </a:lnTo>
                  <a:lnTo>
                    <a:pt x="24" y="30"/>
                  </a:lnTo>
                  <a:lnTo>
                    <a:pt x="26" y="28"/>
                  </a:lnTo>
                  <a:lnTo>
                    <a:pt x="28" y="26"/>
                  </a:lnTo>
                  <a:lnTo>
                    <a:pt x="30" y="26"/>
                  </a:lnTo>
                  <a:lnTo>
                    <a:pt x="32" y="24"/>
                  </a:lnTo>
                  <a:lnTo>
                    <a:pt x="34" y="22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8" y="18"/>
                  </a:lnTo>
                  <a:lnTo>
                    <a:pt x="40" y="16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8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4" y="14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48" name="Freeform 14">
              <a:extLst>
                <a:ext uri="{FF2B5EF4-FFF2-40B4-BE49-F238E27FC236}">
                  <a16:creationId xmlns:a16="http://schemas.microsoft.com/office/drawing/2014/main" id="{EF006C57-99A4-4E7A-B434-1F60BD3CA9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911" y="4784935"/>
              <a:ext cx="37586" cy="23402"/>
            </a:xfrm>
            <a:custGeom>
              <a:avLst/>
              <a:gdLst>
                <a:gd name="T0" fmla="*/ 10 w 22"/>
                <a:gd name="T1" fmla="*/ 14 h 14"/>
                <a:gd name="T2" fmla="*/ 10 w 22"/>
                <a:gd name="T3" fmla="*/ 14 h 14"/>
                <a:gd name="T4" fmla="*/ 12 w 22"/>
                <a:gd name="T5" fmla="*/ 12 h 14"/>
                <a:gd name="T6" fmla="*/ 14 w 22"/>
                <a:gd name="T7" fmla="*/ 12 h 14"/>
                <a:gd name="T8" fmla="*/ 16 w 22"/>
                <a:gd name="T9" fmla="*/ 12 h 14"/>
                <a:gd name="T10" fmla="*/ 18 w 22"/>
                <a:gd name="T11" fmla="*/ 12 h 14"/>
                <a:gd name="T12" fmla="*/ 20 w 22"/>
                <a:gd name="T13" fmla="*/ 10 h 14"/>
                <a:gd name="T14" fmla="*/ 20 w 22"/>
                <a:gd name="T15" fmla="*/ 10 h 14"/>
                <a:gd name="T16" fmla="*/ 20 w 22"/>
                <a:gd name="T17" fmla="*/ 8 h 14"/>
                <a:gd name="T18" fmla="*/ 22 w 22"/>
                <a:gd name="T19" fmla="*/ 8 h 14"/>
                <a:gd name="T20" fmla="*/ 22 w 22"/>
                <a:gd name="T21" fmla="*/ 8 h 14"/>
                <a:gd name="T22" fmla="*/ 22 w 22"/>
                <a:gd name="T23" fmla="*/ 6 h 14"/>
                <a:gd name="T24" fmla="*/ 22 w 22"/>
                <a:gd name="T25" fmla="*/ 6 h 14"/>
                <a:gd name="T26" fmla="*/ 22 w 22"/>
                <a:gd name="T27" fmla="*/ 6 h 14"/>
                <a:gd name="T28" fmla="*/ 20 w 22"/>
                <a:gd name="T29" fmla="*/ 4 h 14"/>
                <a:gd name="T30" fmla="*/ 20 w 22"/>
                <a:gd name="T31" fmla="*/ 4 h 14"/>
                <a:gd name="T32" fmla="*/ 20 w 22"/>
                <a:gd name="T33" fmla="*/ 2 h 14"/>
                <a:gd name="T34" fmla="*/ 18 w 22"/>
                <a:gd name="T35" fmla="*/ 2 h 14"/>
                <a:gd name="T36" fmla="*/ 16 w 22"/>
                <a:gd name="T37" fmla="*/ 0 h 14"/>
                <a:gd name="T38" fmla="*/ 14 w 22"/>
                <a:gd name="T39" fmla="*/ 0 h 14"/>
                <a:gd name="T40" fmla="*/ 12 w 22"/>
                <a:gd name="T41" fmla="*/ 0 h 14"/>
                <a:gd name="T42" fmla="*/ 10 w 22"/>
                <a:gd name="T43" fmla="*/ 0 h 14"/>
                <a:gd name="T44" fmla="*/ 8 w 22"/>
                <a:gd name="T45" fmla="*/ 0 h 14"/>
                <a:gd name="T46" fmla="*/ 6 w 22"/>
                <a:gd name="T47" fmla="*/ 0 h 14"/>
                <a:gd name="T48" fmla="*/ 4 w 22"/>
                <a:gd name="T49" fmla="*/ 0 h 14"/>
                <a:gd name="T50" fmla="*/ 2 w 22"/>
                <a:gd name="T51" fmla="*/ 2 h 14"/>
                <a:gd name="T52" fmla="*/ 2 w 22"/>
                <a:gd name="T53" fmla="*/ 2 h 14"/>
                <a:gd name="T54" fmla="*/ 0 w 22"/>
                <a:gd name="T55" fmla="*/ 4 h 14"/>
                <a:gd name="T56" fmla="*/ 0 w 22"/>
                <a:gd name="T57" fmla="*/ 4 h 14"/>
                <a:gd name="T58" fmla="*/ 0 w 22"/>
                <a:gd name="T59" fmla="*/ 6 h 14"/>
                <a:gd name="T60" fmla="*/ 0 w 22"/>
                <a:gd name="T61" fmla="*/ 6 h 14"/>
                <a:gd name="T62" fmla="*/ 0 w 22"/>
                <a:gd name="T63" fmla="*/ 6 h 14"/>
                <a:gd name="T64" fmla="*/ 0 w 22"/>
                <a:gd name="T65" fmla="*/ 8 h 14"/>
                <a:gd name="T66" fmla="*/ 0 w 22"/>
                <a:gd name="T67" fmla="*/ 8 h 14"/>
                <a:gd name="T68" fmla="*/ 0 w 22"/>
                <a:gd name="T69" fmla="*/ 8 h 14"/>
                <a:gd name="T70" fmla="*/ 0 w 22"/>
                <a:gd name="T71" fmla="*/ 10 h 14"/>
                <a:gd name="T72" fmla="*/ 2 w 22"/>
                <a:gd name="T73" fmla="*/ 10 h 14"/>
                <a:gd name="T74" fmla="*/ 2 w 22"/>
                <a:gd name="T75" fmla="*/ 12 h 14"/>
                <a:gd name="T76" fmla="*/ 4 w 22"/>
                <a:gd name="T77" fmla="*/ 12 h 14"/>
                <a:gd name="T78" fmla="*/ 6 w 22"/>
                <a:gd name="T79" fmla="*/ 12 h 14"/>
                <a:gd name="T80" fmla="*/ 8 w 22"/>
                <a:gd name="T81" fmla="*/ 12 h 14"/>
                <a:gd name="T82" fmla="*/ 10 w 22"/>
                <a:gd name="T8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2" h="14">
                  <a:moveTo>
                    <a:pt x="10" y="14"/>
                  </a:moveTo>
                  <a:lnTo>
                    <a:pt x="10" y="14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8" y="12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49" name="Freeform 16">
              <a:extLst>
                <a:ext uri="{FF2B5EF4-FFF2-40B4-BE49-F238E27FC236}">
                  <a16:creationId xmlns:a16="http://schemas.microsoft.com/office/drawing/2014/main" id="{DC0FD849-175F-4688-BE4C-A3F4CB89A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521" y="4938715"/>
              <a:ext cx="990887" cy="825721"/>
            </a:xfrm>
            <a:custGeom>
              <a:avLst/>
              <a:gdLst>
                <a:gd name="T0" fmla="*/ 296 w 580"/>
                <a:gd name="T1" fmla="*/ 34 h 494"/>
                <a:gd name="T2" fmla="*/ 262 w 580"/>
                <a:gd name="T3" fmla="*/ 46 h 494"/>
                <a:gd name="T4" fmla="*/ 256 w 580"/>
                <a:gd name="T5" fmla="*/ 74 h 494"/>
                <a:gd name="T6" fmla="*/ 234 w 580"/>
                <a:gd name="T7" fmla="*/ 68 h 494"/>
                <a:gd name="T8" fmla="*/ 208 w 580"/>
                <a:gd name="T9" fmla="*/ 56 h 494"/>
                <a:gd name="T10" fmla="*/ 196 w 580"/>
                <a:gd name="T11" fmla="*/ 76 h 494"/>
                <a:gd name="T12" fmla="*/ 166 w 580"/>
                <a:gd name="T13" fmla="*/ 100 h 494"/>
                <a:gd name="T14" fmla="*/ 160 w 580"/>
                <a:gd name="T15" fmla="*/ 112 h 494"/>
                <a:gd name="T16" fmla="*/ 148 w 580"/>
                <a:gd name="T17" fmla="*/ 102 h 494"/>
                <a:gd name="T18" fmla="*/ 138 w 580"/>
                <a:gd name="T19" fmla="*/ 140 h 494"/>
                <a:gd name="T20" fmla="*/ 64 w 580"/>
                <a:gd name="T21" fmla="*/ 172 h 494"/>
                <a:gd name="T22" fmla="*/ 30 w 580"/>
                <a:gd name="T23" fmla="*/ 200 h 494"/>
                <a:gd name="T24" fmla="*/ 4 w 580"/>
                <a:gd name="T25" fmla="*/ 204 h 494"/>
                <a:gd name="T26" fmla="*/ 10 w 580"/>
                <a:gd name="T27" fmla="*/ 248 h 494"/>
                <a:gd name="T28" fmla="*/ 18 w 580"/>
                <a:gd name="T29" fmla="*/ 266 h 494"/>
                <a:gd name="T30" fmla="*/ 2 w 580"/>
                <a:gd name="T31" fmla="*/ 256 h 494"/>
                <a:gd name="T32" fmla="*/ 10 w 580"/>
                <a:gd name="T33" fmla="*/ 302 h 494"/>
                <a:gd name="T34" fmla="*/ 16 w 580"/>
                <a:gd name="T35" fmla="*/ 344 h 494"/>
                <a:gd name="T36" fmla="*/ 28 w 580"/>
                <a:gd name="T37" fmla="*/ 362 h 494"/>
                <a:gd name="T38" fmla="*/ 18 w 580"/>
                <a:gd name="T39" fmla="*/ 380 h 494"/>
                <a:gd name="T40" fmla="*/ 6 w 580"/>
                <a:gd name="T41" fmla="*/ 400 h 494"/>
                <a:gd name="T42" fmla="*/ 36 w 580"/>
                <a:gd name="T43" fmla="*/ 426 h 494"/>
                <a:gd name="T44" fmla="*/ 56 w 580"/>
                <a:gd name="T45" fmla="*/ 420 h 494"/>
                <a:gd name="T46" fmla="*/ 84 w 580"/>
                <a:gd name="T47" fmla="*/ 414 h 494"/>
                <a:gd name="T48" fmla="*/ 138 w 580"/>
                <a:gd name="T49" fmla="*/ 402 h 494"/>
                <a:gd name="T50" fmla="*/ 184 w 580"/>
                <a:gd name="T51" fmla="*/ 380 h 494"/>
                <a:gd name="T52" fmla="*/ 220 w 580"/>
                <a:gd name="T53" fmla="*/ 366 h 494"/>
                <a:gd name="T54" fmla="*/ 248 w 580"/>
                <a:gd name="T55" fmla="*/ 364 h 494"/>
                <a:gd name="T56" fmla="*/ 266 w 580"/>
                <a:gd name="T57" fmla="*/ 372 h 494"/>
                <a:gd name="T58" fmla="*/ 292 w 580"/>
                <a:gd name="T59" fmla="*/ 402 h 494"/>
                <a:gd name="T60" fmla="*/ 302 w 580"/>
                <a:gd name="T61" fmla="*/ 420 h 494"/>
                <a:gd name="T62" fmla="*/ 330 w 580"/>
                <a:gd name="T63" fmla="*/ 386 h 494"/>
                <a:gd name="T64" fmla="*/ 332 w 580"/>
                <a:gd name="T65" fmla="*/ 404 h 494"/>
                <a:gd name="T66" fmla="*/ 326 w 580"/>
                <a:gd name="T67" fmla="*/ 424 h 494"/>
                <a:gd name="T68" fmla="*/ 338 w 580"/>
                <a:gd name="T69" fmla="*/ 408 h 494"/>
                <a:gd name="T70" fmla="*/ 342 w 580"/>
                <a:gd name="T71" fmla="*/ 424 h 494"/>
                <a:gd name="T72" fmla="*/ 348 w 580"/>
                <a:gd name="T73" fmla="*/ 456 h 494"/>
                <a:gd name="T74" fmla="*/ 376 w 580"/>
                <a:gd name="T75" fmla="*/ 480 h 494"/>
                <a:gd name="T76" fmla="*/ 438 w 580"/>
                <a:gd name="T77" fmla="*/ 492 h 494"/>
                <a:gd name="T78" fmla="*/ 498 w 580"/>
                <a:gd name="T79" fmla="*/ 460 h 494"/>
                <a:gd name="T80" fmla="*/ 520 w 580"/>
                <a:gd name="T81" fmla="*/ 422 h 494"/>
                <a:gd name="T82" fmla="*/ 542 w 580"/>
                <a:gd name="T83" fmla="*/ 388 h 494"/>
                <a:gd name="T84" fmla="*/ 572 w 580"/>
                <a:gd name="T85" fmla="*/ 344 h 494"/>
                <a:gd name="T86" fmla="*/ 580 w 580"/>
                <a:gd name="T87" fmla="*/ 258 h 494"/>
                <a:gd name="T88" fmla="*/ 558 w 580"/>
                <a:gd name="T89" fmla="*/ 222 h 494"/>
                <a:gd name="T90" fmla="*/ 536 w 580"/>
                <a:gd name="T91" fmla="*/ 194 h 494"/>
                <a:gd name="T92" fmla="*/ 526 w 580"/>
                <a:gd name="T93" fmla="*/ 164 h 494"/>
                <a:gd name="T94" fmla="*/ 498 w 580"/>
                <a:gd name="T95" fmla="*/ 146 h 494"/>
                <a:gd name="T96" fmla="*/ 488 w 580"/>
                <a:gd name="T97" fmla="*/ 82 h 494"/>
                <a:gd name="T98" fmla="*/ 462 w 580"/>
                <a:gd name="T99" fmla="*/ 42 h 494"/>
                <a:gd name="T100" fmla="*/ 468 w 580"/>
                <a:gd name="T101" fmla="*/ 16 h 494"/>
                <a:gd name="T102" fmla="*/ 450 w 580"/>
                <a:gd name="T103" fmla="*/ 0 h 494"/>
                <a:gd name="T104" fmla="*/ 434 w 580"/>
                <a:gd name="T105" fmla="*/ 28 h 494"/>
                <a:gd name="T106" fmla="*/ 434 w 580"/>
                <a:gd name="T107" fmla="*/ 90 h 494"/>
                <a:gd name="T108" fmla="*/ 416 w 580"/>
                <a:gd name="T109" fmla="*/ 114 h 494"/>
                <a:gd name="T110" fmla="*/ 384 w 580"/>
                <a:gd name="T111" fmla="*/ 98 h 494"/>
                <a:gd name="T112" fmla="*/ 346 w 580"/>
                <a:gd name="T113" fmla="*/ 76 h 494"/>
                <a:gd name="T114" fmla="*/ 354 w 580"/>
                <a:gd name="T115" fmla="*/ 50 h 494"/>
                <a:gd name="T116" fmla="*/ 370 w 580"/>
                <a:gd name="T117" fmla="*/ 30 h 494"/>
                <a:gd name="T118" fmla="*/ 346 w 580"/>
                <a:gd name="T119" fmla="*/ 22 h 494"/>
                <a:gd name="T120" fmla="*/ 298 w 580"/>
                <a:gd name="T121" fmla="*/ 8 h 494"/>
                <a:gd name="T122" fmla="*/ 286 w 580"/>
                <a:gd name="T123" fmla="*/ 1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0" h="494">
                  <a:moveTo>
                    <a:pt x="296" y="20"/>
                  </a:moveTo>
                  <a:lnTo>
                    <a:pt x="296" y="20"/>
                  </a:lnTo>
                  <a:lnTo>
                    <a:pt x="296" y="20"/>
                  </a:lnTo>
                  <a:lnTo>
                    <a:pt x="298" y="22"/>
                  </a:lnTo>
                  <a:lnTo>
                    <a:pt x="298" y="24"/>
                  </a:lnTo>
                  <a:lnTo>
                    <a:pt x="300" y="26"/>
                  </a:lnTo>
                  <a:lnTo>
                    <a:pt x="300" y="28"/>
                  </a:lnTo>
                  <a:lnTo>
                    <a:pt x="300" y="30"/>
                  </a:lnTo>
                  <a:lnTo>
                    <a:pt x="300" y="30"/>
                  </a:lnTo>
                  <a:lnTo>
                    <a:pt x="300" y="30"/>
                  </a:lnTo>
                  <a:lnTo>
                    <a:pt x="300" y="32"/>
                  </a:lnTo>
                  <a:lnTo>
                    <a:pt x="300" y="32"/>
                  </a:lnTo>
                  <a:lnTo>
                    <a:pt x="300" y="32"/>
                  </a:lnTo>
                  <a:lnTo>
                    <a:pt x="298" y="32"/>
                  </a:lnTo>
                  <a:lnTo>
                    <a:pt x="298" y="34"/>
                  </a:lnTo>
                  <a:lnTo>
                    <a:pt x="296" y="34"/>
                  </a:lnTo>
                  <a:lnTo>
                    <a:pt x="294" y="34"/>
                  </a:lnTo>
                  <a:lnTo>
                    <a:pt x="292" y="34"/>
                  </a:lnTo>
                  <a:lnTo>
                    <a:pt x="290" y="34"/>
                  </a:lnTo>
                  <a:lnTo>
                    <a:pt x="286" y="34"/>
                  </a:lnTo>
                  <a:lnTo>
                    <a:pt x="282" y="34"/>
                  </a:lnTo>
                  <a:lnTo>
                    <a:pt x="278" y="34"/>
                  </a:lnTo>
                  <a:lnTo>
                    <a:pt x="276" y="34"/>
                  </a:lnTo>
                  <a:lnTo>
                    <a:pt x="274" y="34"/>
                  </a:lnTo>
                  <a:lnTo>
                    <a:pt x="274" y="36"/>
                  </a:lnTo>
                  <a:lnTo>
                    <a:pt x="272" y="36"/>
                  </a:lnTo>
                  <a:lnTo>
                    <a:pt x="270" y="36"/>
                  </a:lnTo>
                  <a:lnTo>
                    <a:pt x="268" y="38"/>
                  </a:lnTo>
                  <a:lnTo>
                    <a:pt x="268" y="40"/>
                  </a:lnTo>
                  <a:lnTo>
                    <a:pt x="266" y="42"/>
                  </a:lnTo>
                  <a:lnTo>
                    <a:pt x="264" y="44"/>
                  </a:lnTo>
                  <a:lnTo>
                    <a:pt x="262" y="46"/>
                  </a:lnTo>
                  <a:lnTo>
                    <a:pt x="262" y="48"/>
                  </a:lnTo>
                  <a:lnTo>
                    <a:pt x="260" y="50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0" y="54"/>
                  </a:lnTo>
                  <a:lnTo>
                    <a:pt x="260" y="56"/>
                  </a:lnTo>
                  <a:lnTo>
                    <a:pt x="260" y="58"/>
                  </a:lnTo>
                  <a:lnTo>
                    <a:pt x="260" y="60"/>
                  </a:lnTo>
                  <a:lnTo>
                    <a:pt x="260" y="62"/>
                  </a:lnTo>
                  <a:lnTo>
                    <a:pt x="258" y="66"/>
                  </a:lnTo>
                  <a:lnTo>
                    <a:pt x="258" y="68"/>
                  </a:lnTo>
                  <a:lnTo>
                    <a:pt x="258" y="70"/>
                  </a:lnTo>
                  <a:lnTo>
                    <a:pt x="258" y="72"/>
                  </a:lnTo>
                  <a:lnTo>
                    <a:pt x="258" y="72"/>
                  </a:lnTo>
                  <a:lnTo>
                    <a:pt x="256" y="74"/>
                  </a:lnTo>
                  <a:lnTo>
                    <a:pt x="256" y="74"/>
                  </a:lnTo>
                  <a:lnTo>
                    <a:pt x="256" y="74"/>
                  </a:lnTo>
                  <a:lnTo>
                    <a:pt x="254" y="76"/>
                  </a:lnTo>
                  <a:lnTo>
                    <a:pt x="250" y="76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4" y="78"/>
                  </a:lnTo>
                  <a:lnTo>
                    <a:pt x="242" y="78"/>
                  </a:lnTo>
                  <a:lnTo>
                    <a:pt x="240" y="78"/>
                  </a:lnTo>
                  <a:lnTo>
                    <a:pt x="240" y="78"/>
                  </a:lnTo>
                  <a:lnTo>
                    <a:pt x="240" y="78"/>
                  </a:lnTo>
                  <a:lnTo>
                    <a:pt x="238" y="76"/>
                  </a:lnTo>
                  <a:lnTo>
                    <a:pt x="238" y="76"/>
                  </a:lnTo>
                  <a:lnTo>
                    <a:pt x="236" y="74"/>
                  </a:lnTo>
                  <a:lnTo>
                    <a:pt x="236" y="74"/>
                  </a:lnTo>
                  <a:lnTo>
                    <a:pt x="236" y="72"/>
                  </a:lnTo>
                  <a:lnTo>
                    <a:pt x="234" y="68"/>
                  </a:lnTo>
                  <a:lnTo>
                    <a:pt x="234" y="66"/>
                  </a:lnTo>
                  <a:lnTo>
                    <a:pt x="232" y="64"/>
                  </a:lnTo>
                  <a:lnTo>
                    <a:pt x="232" y="62"/>
                  </a:lnTo>
                  <a:lnTo>
                    <a:pt x="228" y="58"/>
                  </a:lnTo>
                  <a:lnTo>
                    <a:pt x="228" y="58"/>
                  </a:lnTo>
                  <a:lnTo>
                    <a:pt x="226" y="56"/>
                  </a:lnTo>
                  <a:lnTo>
                    <a:pt x="226" y="56"/>
                  </a:lnTo>
                  <a:lnTo>
                    <a:pt x="224" y="54"/>
                  </a:lnTo>
                  <a:lnTo>
                    <a:pt x="224" y="54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20" y="54"/>
                  </a:lnTo>
                  <a:lnTo>
                    <a:pt x="218" y="54"/>
                  </a:lnTo>
                  <a:lnTo>
                    <a:pt x="216" y="54"/>
                  </a:lnTo>
                  <a:lnTo>
                    <a:pt x="212" y="54"/>
                  </a:lnTo>
                  <a:lnTo>
                    <a:pt x="208" y="56"/>
                  </a:lnTo>
                  <a:lnTo>
                    <a:pt x="206" y="56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2" y="58"/>
                  </a:lnTo>
                  <a:lnTo>
                    <a:pt x="202" y="60"/>
                  </a:lnTo>
                  <a:lnTo>
                    <a:pt x="200" y="60"/>
                  </a:lnTo>
                  <a:lnTo>
                    <a:pt x="200" y="60"/>
                  </a:lnTo>
                  <a:lnTo>
                    <a:pt x="200" y="62"/>
                  </a:lnTo>
                  <a:lnTo>
                    <a:pt x="200" y="64"/>
                  </a:lnTo>
                  <a:lnTo>
                    <a:pt x="200" y="66"/>
                  </a:lnTo>
                  <a:lnTo>
                    <a:pt x="198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4"/>
                  </a:lnTo>
                  <a:lnTo>
                    <a:pt x="196" y="74"/>
                  </a:lnTo>
                  <a:lnTo>
                    <a:pt x="196" y="76"/>
                  </a:lnTo>
                  <a:lnTo>
                    <a:pt x="194" y="78"/>
                  </a:lnTo>
                  <a:lnTo>
                    <a:pt x="192" y="78"/>
                  </a:lnTo>
                  <a:lnTo>
                    <a:pt x="188" y="82"/>
                  </a:lnTo>
                  <a:lnTo>
                    <a:pt x="186" y="84"/>
                  </a:lnTo>
                  <a:lnTo>
                    <a:pt x="184" y="84"/>
                  </a:lnTo>
                  <a:lnTo>
                    <a:pt x="184" y="84"/>
                  </a:lnTo>
                  <a:lnTo>
                    <a:pt x="180" y="86"/>
                  </a:lnTo>
                  <a:lnTo>
                    <a:pt x="176" y="88"/>
                  </a:lnTo>
                  <a:lnTo>
                    <a:pt x="174" y="90"/>
                  </a:lnTo>
                  <a:lnTo>
                    <a:pt x="174" y="90"/>
                  </a:lnTo>
                  <a:lnTo>
                    <a:pt x="172" y="90"/>
                  </a:lnTo>
                  <a:lnTo>
                    <a:pt x="172" y="92"/>
                  </a:lnTo>
                  <a:lnTo>
                    <a:pt x="170" y="96"/>
                  </a:lnTo>
                  <a:lnTo>
                    <a:pt x="168" y="96"/>
                  </a:lnTo>
                  <a:lnTo>
                    <a:pt x="168" y="98"/>
                  </a:lnTo>
                  <a:lnTo>
                    <a:pt x="166" y="100"/>
                  </a:lnTo>
                  <a:lnTo>
                    <a:pt x="166" y="102"/>
                  </a:lnTo>
                  <a:lnTo>
                    <a:pt x="166" y="102"/>
                  </a:lnTo>
                  <a:lnTo>
                    <a:pt x="166" y="104"/>
                  </a:lnTo>
                  <a:lnTo>
                    <a:pt x="166" y="106"/>
                  </a:lnTo>
                  <a:lnTo>
                    <a:pt x="166" y="108"/>
                  </a:lnTo>
                  <a:lnTo>
                    <a:pt x="166" y="110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4" y="114"/>
                  </a:lnTo>
                  <a:lnTo>
                    <a:pt x="164" y="114"/>
                  </a:lnTo>
                  <a:lnTo>
                    <a:pt x="162" y="114"/>
                  </a:lnTo>
                  <a:lnTo>
                    <a:pt x="162" y="114"/>
                  </a:lnTo>
                  <a:lnTo>
                    <a:pt x="160" y="112"/>
                  </a:lnTo>
                  <a:lnTo>
                    <a:pt x="160" y="112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56" y="110"/>
                  </a:lnTo>
                  <a:lnTo>
                    <a:pt x="156" y="108"/>
                  </a:lnTo>
                  <a:lnTo>
                    <a:pt x="154" y="106"/>
                  </a:lnTo>
                  <a:lnTo>
                    <a:pt x="154" y="104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48" y="102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6"/>
                  </a:lnTo>
                  <a:lnTo>
                    <a:pt x="148" y="108"/>
                  </a:lnTo>
                  <a:lnTo>
                    <a:pt x="148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48" y="122"/>
                  </a:lnTo>
                  <a:lnTo>
                    <a:pt x="148" y="124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6" y="128"/>
                  </a:lnTo>
                  <a:lnTo>
                    <a:pt x="146" y="130"/>
                  </a:lnTo>
                  <a:lnTo>
                    <a:pt x="144" y="134"/>
                  </a:lnTo>
                  <a:lnTo>
                    <a:pt x="140" y="136"/>
                  </a:lnTo>
                  <a:lnTo>
                    <a:pt x="138" y="140"/>
                  </a:lnTo>
                  <a:lnTo>
                    <a:pt x="134" y="144"/>
                  </a:lnTo>
                  <a:lnTo>
                    <a:pt x="132" y="148"/>
                  </a:lnTo>
                  <a:lnTo>
                    <a:pt x="128" y="150"/>
                  </a:lnTo>
                  <a:lnTo>
                    <a:pt x="126" y="152"/>
                  </a:lnTo>
                  <a:lnTo>
                    <a:pt x="124" y="154"/>
                  </a:lnTo>
                  <a:lnTo>
                    <a:pt x="122" y="156"/>
                  </a:lnTo>
                  <a:lnTo>
                    <a:pt x="118" y="156"/>
                  </a:lnTo>
                  <a:lnTo>
                    <a:pt x="116" y="158"/>
                  </a:lnTo>
                  <a:lnTo>
                    <a:pt x="110" y="160"/>
                  </a:lnTo>
                  <a:lnTo>
                    <a:pt x="106" y="162"/>
                  </a:lnTo>
                  <a:lnTo>
                    <a:pt x="104" y="162"/>
                  </a:lnTo>
                  <a:lnTo>
                    <a:pt x="100" y="164"/>
                  </a:lnTo>
                  <a:lnTo>
                    <a:pt x="94" y="164"/>
                  </a:lnTo>
                  <a:lnTo>
                    <a:pt x="80" y="168"/>
                  </a:lnTo>
                  <a:lnTo>
                    <a:pt x="72" y="170"/>
                  </a:lnTo>
                  <a:lnTo>
                    <a:pt x="64" y="172"/>
                  </a:lnTo>
                  <a:lnTo>
                    <a:pt x="62" y="172"/>
                  </a:lnTo>
                  <a:lnTo>
                    <a:pt x="58" y="174"/>
                  </a:lnTo>
                  <a:lnTo>
                    <a:pt x="56" y="176"/>
                  </a:lnTo>
                  <a:lnTo>
                    <a:pt x="54" y="176"/>
                  </a:lnTo>
                  <a:lnTo>
                    <a:pt x="52" y="178"/>
                  </a:lnTo>
                  <a:lnTo>
                    <a:pt x="52" y="178"/>
                  </a:lnTo>
                  <a:lnTo>
                    <a:pt x="50" y="180"/>
                  </a:lnTo>
                  <a:lnTo>
                    <a:pt x="48" y="182"/>
                  </a:lnTo>
                  <a:lnTo>
                    <a:pt x="46" y="184"/>
                  </a:lnTo>
                  <a:lnTo>
                    <a:pt x="42" y="188"/>
                  </a:lnTo>
                  <a:lnTo>
                    <a:pt x="40" y="192"/>
                  </a:lnTo>
                  <a:lnTo>
                    <a:pt x="36" y="194"/>
                  </a:lnTo>
                  <a:lnTo>
                    <a:pt x="36" y="196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0" y="200"/>
                  </a:lnTo>
                  <a:lnTo>
                    <a:pt x="30" y="200"/>
                  </a:lnTo>
                  <a:lnTo>
                    <a:pt x="28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2" y="200"/>
                  </a:lnTo>
                  <a:lnTo>
                    <a:pt x="18" y="200"/>
                  </a:lnTo>
                  <a:lnTo>
                    <a:pt x="14" y="200"/>
                  </a:lnTo>
                  <a:lnTo>
                    <a:pt x="12" y="200"/>
                  </a:lnTo>
                  <a:lnTo>
                    <a:pt x="10" y="200"/>
                  </a:lnTo>
                  <a:lnTo>
                    <a:pt x="10" y="200"/>
                  </a:lnTo>
                  <a:lnTo>
                    <a:pt x="8" y="200"/>
                  </a:lnTo>
                  <a:lnTo>
                    <a:pt x="6" y="200"/>
                  </a:lnTo>
                  <a:lnTo>
                    <a:pt x="6" y="202"/>
                  </a:lnTo>
                  <a:lnTo>
                    <a:pt x="6" y="202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4" y="206"/>
                  </a:lnTo>
                  <a:lnTo>
                    <a:pt x="2" y="208"/>
                  </a:lnTo>
                  <a:lnTo>
                    <a:pt x="2" y="212"/>
                  </a:lnTo>
                  <a:lnTo>
                    <a:pt x="2" y="214"/>
                  </a:lnTo>
                  <a:lnTo>
                    <a:pt x="2" y="218"/>
                  </a:lnTo>
                  <a:lnTo>
                    <a:pt x="2" y="222"/>
                  </a:lnTo>
                  <a:lnTo>
                    <a:pt x="2" y="224"/>
                  </a:lnTo>
                  <a:lnTo>
                    <a:pt x="4" y="228"/>
                  </a:lnTo>
                  <a:lnTo>
                    <a:pt x="4" y="232"/>
                  </a:lnTo>
                  <a:lnTo>
                    <a:pt x="4" y="234"/>
                  </a:lnTo>
                  <a:lnTo>
                    <a:pt x="6" y="238"/>
                  </a:lnTo>
                  <a:lnTo>
                    <a:pt x="6" y="242"/>
                  </a:lnTo>
                  <a:lnTo>
                    <a:pt x="8" y="244"/>
                  </a:lnTo>
                  <a:lnTo>
                    <a:pt x="8" y="246"/>
                  </a:lnTo>
                  <a:lnTo>
                    <a:pt x="10" y="248"/>
                  </a:lnTo>
                  <a:lnTo>
                    <a:pt x="10" y="248"/>
                  </a:lnTo>
                  <a:lnTo>
                    <a:pt x="10" y="250"/>
                  </a:lnTo>
                  <a:lnTo>
                    <a:pt x="12" y="250"/>
                  </a:lnTo>
                  <a:lnTo>
                    <a:pt x="14" y="252"/>
                  </a:lnTo>
                  <a:lnTo>
                    <a:pt x="14" y="252"/>
                  </a:lnTo>
                  <a:lnTo>
                    <a:pt x="16" y="252"/>
                  </a:lnTo>
                  <a:lnTo>
                    <a:pt x="18" y="254"/>
                  </a:lnTo>
                  <a:lnTo>
                    <a:pt x="20" y="254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2"/>
                  </a:lnTo>
                  <a:lnTo>
                    <a:pt x="20" y="264"/>
                  </a:lnTo>
                  <a:lnTo>
                    <a:pt x="18" y="264"/>
                  </a:lnTo>
                  <a:lnTo>
                    <a:pt x="18" y="266"/>
                  </a:lnTo>
                  <a:lnTo>
                    <a:pt x="18" y="266"/>
                  </a:lnTo>
                  <a:lnTo>
                    <a:pt x="18" y="266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4" y="266"/>
                  </a:lnTo>
                  <a:lnTo>
                    <a:pt x="14" y="264"/>
                  </a:lnTo>
                  <a:lnTo>
                    <a:pt x="12" y="262"/>
                  </a:lnTo>
                  <a:lnTo>
                    <a:pt x="10" y="260"/>
                  </a:lnTo>
                  <a:lnTo>
                    <a:pt x="8" y="258"/>
                  </a:lnTo>
                  <a:lnTo>
                    <a:pt x="6" y="258"/>
                  </a:lnTo>
                  <a:lnTo>
                    <a:pt x="6" y="256"/>
                  </a:lnTo>
                  <a:lnTo>
                    <a:pt x="4" y="256"/>
                  </a:lnTo>
                  <a:lnTo>
                    <a:pt x="4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60"/>
                  </a:lnTo>
                  <a:lnTo>
                    <a:pt x="0" y="262"/>
                  </a:lnTo>
                  <a:lnTo>
                    <a:pt x="0" y="266"/>
                  </a:lnTo>
                  <a:lnTo>
                    <a:pt x="0" y="268"/>
                  </a:lnTo>
                  <a:lnTo>
                    <a:pt x="0" y="270"/>
                  </a:lnTo>
                  <a:lnTo>
                    <a:pt x="2" y="274"/>
                  </a:lnTo>
                  <a:lnTo>
                    <a:pt x="2" y="278"/>
                  </a:lnTo>
                  <a:lnTo>
                    <a:pt x="2" y="280"/>
                  </a:lnTo>
                  <a:lnTo>
                    <a:pt x="4" y="284"/>
                  </a:lnTo>
                  <a:lnTo>
                    <a:pt x="6" y="292"/>
                  </a:lnTo>
                  <a:lnTo>
                    <a:pt x="8" y="298"/>
                  </a:lnTo>
                  <a:lnTo>
                    <a:pt x="10" y="300"/>
                  </a:lnTo>
                  <a:lnTo>
                    <a:pt x="10" y="302"/>
                  </a:lnTo>
                  <a:lnTo>
                    <a:pt x="14" y="306"/>
                  </a:lnTo>
                  <a:lnTo>
                    <a:pt x="14" y="308"/>
                  </a:lnTo>
                  <a:lnTo>
                    <a:pt x="16" y="310"/>
                  </a:lnTo>
                  <a:lnTo>
                    <a:pt x="16" y="312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8" y="318"/>
                  </a:lnTo>
                  <a:lnTo>
                    <a:pt x="18" y="320"/>
                  </a:lnTo>
                  <a:lnTo>
                    <a:pt x="18" y="324"/>
                  </a:lnTo>
                  <a:lnTo>
                    <a:pt x="18" y="328"/>
                  </a:lnTo>
                  <a:lnTo>
                    <a:pt x="18" y="332"/>
                  </a:lnTo>
                  <a:lnTo>
                    <a:pt x="18" y="334"/>
                  </a:lnTo>
                  <a:lnTo>
                    <a:pt x="18" y="336"/>
                  </a:lnTo>
                  <a:lnTo>
                    <a:pt x="16" y="340"/>
                  </a:lnTo>
                  <a:lnTo>
                    <a:pt x="16" y="342"/>
                  </a:lnTo>
                  <a:lnTo>
                    <a:pt x="16" y="344"/>
                  </a:lnTo>
                  <a:lnTo>
                    <a:pt x="16" y="346"/>
                  </a:lnTo>
                  <a:lnTo>
                    <a:pt x="16" y="346"/>
                  </a:lnTo>
                  <a:lnTo>
                    <a:pt x="18" y="346"/>
                  </a:lnTo>
                  <a:lnTo>
                    <a:pt x="18" y="348"/>
                  </a:lnTo>
                  <a:lnTo>
                    <a:pt x="18" y="348"/>
                  </a:lnTo>
                  <a:lnTo>
                    <a:pt x="20" y="348"/>
                  </a:lnTo>
                  <a:lnTo>
                    <a:pt x="24" y="350"/>
                  </a:lnTo>
                  <a:lnTo>
                    <a:pt x="24" y="350"/>
                  </a:lnTo>
                  <a:lnTo>
                    <a:pt x="24" y="350"/>
                  </a:lnTo>
                  <a:lnTo>
                    <a:pt x="26" y="352"/>
                  </a:lnTo>
                  <a:lnTo>
                    <a:pt x="26" y="352"/>
                  </a:lnTo>
                  <a:lnTo>
                    <a:pt x="26" y="354"/>
                  </a:lnTo>
                  <a:lnTo>
                    <a:pt x="28" y="356"/>
                  </a:lnTo>
                  <a:lnTo>
                    <a:pt x="28" y="358"/>
                  </a:lnTo>
                  <a:lnTo>
                    <a:pt x="28" y="360"/>
                  </a:lnTo>
                  <a:lnTo>
                    <a:pt x="28" y="362"/>
                  </a:lnTo>
                  <a:lnTo>
                    <a:pt x="28" y="364"/>
                  </a:lnTo>
                  <a:lnTo>
                    <a:pt x="28" y="368"/>
                  </a:lnTo>
                  <a:lnTo>
                    <a:pt x="28" y="370"/>
                  </a:lnTo>
                  <a:lnTo>
                    <a:pt x="28" y="372"/>
                  </a:lnTo>
                  <a:lnTo>
                    <a:pt x="28" y="374"/>
                  </a:lnTo>
                  <a:lnTo>
                    <a:pt x="28" y="374"/>
                  </a:lnTo>
                  <a:lnTo>
                    <a:pt x="28" y="376"/>
                  </a:lnTo>
                  <a:lnTo>
                    <a:pt x="26" y="378"/>
                  </a:lnTo>
                  <a:lnTo>
                    <a:pt x="26" y="380"/>
                  </a:lnTo>
                  <a:lnTo>
                    <a:pt x="26" y="380"/>
                  </a:lnTo>
                  <a:lnTo>
                    <a:pt x="26" y="380"/>
                  </a:lnTo>
                  <a:lnTo>
                    <a:pt x="24" y="380"/>
                  </a:lnTo>
                  <a:lnTo>
                    <a:pt x="24" y="380"/>
                  </a:lnTo>
                  <a:lnTo>
                    <a:pt x="22" y="380"/>
                  </a:lnTo>
                  <a:lnTo>
                    <a:pt x="20" y="380"/>
                  </a:lnTo>
                  <a:lnTo>
                    <a:pt x="18" y="380"/>
                  </a:lnTo>
                  <a:lnTo>
                    <a:pt x="18" y="380"/>
                  </a:lnTo>
                  <a:lnTo>
                    <a:pt x="18" y="380"/>
                  </a:lnTo>
                  <a:lnTo>
                    <a:pt x="16" y="380"/>
                  </a:lnTo>
                  <a:lnTo>
                    <a:pt x="16" y="382"/>
                  </a:lnTo>
                  <a:lnTo>
                    <a:pt x="16" y="382"/>
                  </a:lnTo>
                  <a:lnTo>
                    <a:pt x="14" y="384"/>
                  </a:lnTo>
                  <a:lnTo>
                    <a:pt x="14" y="386"/>
                  </a:lnTo>
                  <a:lnTo>
                    <a:pt x="14" y="390"/>
                  </a:lnTo>
                  <a:lnTo>
                    <a:pt x="12" y="390"/>
                  </a:lnTo>
                  <a:lnTo>
                    <a:pt x="12" y="392"/>
                  </a:lnTo>
                  <a:lnTo>
                    <a:pt x="12" y="392"/>
                  </a:lnTo>
                  <a:lnTo>
                    <a:pt x="10" y="394"/>
                  </a:lnTo>
                  <a:lnTo>
                    <a:pt x="8" y="396"/>
                  </a:lnTo>
                  <a:lnTo>
                    <a:pt x="8" y="398"/>
                  </a:lnTo>
                  <a:lnTo>
                    <a:pt x="6" y="398"/>
                  </a:lnTo>
                  <a:lnTo>
                    <a:pt x="6" y="400"/>
                  </a:lnTo>
                  <a:lnTo>
                    <a:pt x="6" y="400"/>
                  </a:lnTo>
                  <a:lnTo>
                    <a:pt x="6" y="400"/>
                  </a:lnTo>
                  <a:lnTo>
                    <a:pt x="6" y="402"/>
                  </a:lnTo>
                  <a:lnTo>
                    <a:pt x="6" y="402"/>
                  </a:lnTo>
                  <a:lnTo>
                    <a:pt x="8" y="404"/>
                  </a:lnTo>
                  <a:lnTo>
                    <a:pt x="8" y="406"/>
                  </a:lnTo>
                  <a:lnTo>
                    <a:pt x="10" y="408"/>
                  </a:lnTo>
                  <a:lnTo>
                    <a:pt x="12" y="410"/>
                  </a:lnTo>
                  <a:lnTo>
                    <a:pt x="14" y="412"/>
                  </a:lnTo>
                  <a:lnTo>
                    <a:pt x="16" y="414"/>
                  </a:lnTo>
                  <a:lnTo>
                    <a:pt x="18" y="416"/>
                  </a:lnTo>
                  <a:lnTo>
                    <a:pt x="20" y="418"/>
                  </a:lnTo>
                  <a:lnTo>
                    <a:pt x="22" y="420"/>
                  </a:lnTo>
                  <a:lnTo>
                    <a:pt x="28" y="422"/>
                  </a:lnTo>
                  <a:lnTo>
                    <a:pt x="32" y="426"/>
                  </a:lnTo>
                  <a:lnTo>
                    <a:pt x="36" y="426"/>
                  </a:lnTo>
                  <a:lnTo>
                    <a:pt x="38" y="428"/>
                  </a:lnTo>
                  <a:lnTo>
                    <a:pt x="40" y="428"/>
                  </a:lnTo>
                  <a:lnTo>
                    <a:pt x="42" y="430"/>
                  </a:lnTo>
                  <a:lnTo>
                    <a:pt x="44" y="430"/>
                  </a:lnTo>
                  <a:lnTo>
                    <a:pt x="46" y="430"/>
                  </a:lnTo>
                  <a:lnTo>
                    <a:pt x="48" y="430"/>
                  </a:lnTo>
                  <a:lnTo>
                    <a:pt x="48" y="430"/>
                  </a:lnTo>
                  <a:lnTo>
                    <a:pt x="48" y="430"/>
                  </a:lnTo>
                  <a:lnTo>
                    <a:pt x="50" y="428"/>
                  </a:lnTo>
                  <a:lnTo>
                    <a:pt x="50" y="428"/>
                  </a:lnTo>
                  <a:lnTo>
                    <a:pt x="50" y="428"/>
                  </a:lnTo>
                  <a:lnTo>
                    <a:pt x="52" y="426"/>
                  </a:lnTo>
                  <a:lnTo>
                    <a:pt x="52" y="424"/>
                  </a:lnTo>
                  <a:lnTo>
                    <a:pt x="54" y="422"/>
                  </a:lnTo>
                  <a:lnTo>
                    <a:pt x="54" y="420"/>
                  </a:lnTo>
                  <a:lnTo>
                    <a:pt x="56" y="420"/>
                  </a:lnTo>
                  <a:lnTo>
                    <a:pt x="56" y="416"/>
                  </a:lnTo>
                  <a:lnTo>
                    <a:pt x="58" y="414"/>
                  </a:lnTo>
                  <a:lnTo>
                    <a:pt x="58" y="414"/>
                  </a:lnTo>
                  <a:lnTo>
                    <a:pt x="60" y="412"/>
                  </a:lnTo>
                  <a:lnTo>
                    <a:pt x="60" y="412"/>
                  </a:lnTo>
                  <a:lnTo>
                    <a:pt x="60" y="412"/>
                  </a:lnTo>
                  <a:lnTo>
                    <a:pt x="62" y="412"/>
                  </a:lnTo>
                  <a:lnTo>
                    <a:pt x="62" y="412"/>
                  </a:lnTo>
                  <a:lnTo>
                    <a:pt x="64" y="412"/>
                  </a:lnTo>
                  <a:lnTo>
                    <a:pt x="66" y="412"/>
                  </a:lnTo>
                  <a:lnTo>
                    <a:pt x="68" y="412"/>
                  </a:lnTo>
                  <a:lnTo>
                    <a:pt x="72" y="412"/>
                  </a:lnTo>
                  <a:lnTo>
                    <a:pt x="78" y="414"/>
                  </a:lnTo>
                  <a:lnTo>
                    <a:pt x="82" y="414"/>
                  </a:lnTo>
                  <a:lnTo>
                    <a:pt x="82" y="414"/>
                  </a:lnTo>
                  <a:lnTo>
                    <a:pt x="84" y="414"/>
                  </a:lnTo>
                  <a:lnTo>
                    <a:pt x="90" y="414"/>
                  </a:lnTo>
                  <a:lnTo>
                    <a:pt x="96" y="414"/>
                  </a:lnTo>
                  <a:lnTo>
                    <a:pt x="102" y="414"/>
                  </a:lnTo>
                  <a:lnTo>
                    <a:pt x="110" y="412"/>
                  </a:lnTo>
                  <a:lnTo>
                    <a:pt x="114" y="412"/>
                  </a:lnTo>
                  <a:lnTo>
                    <a:pt x="118" y="412"/>
                  </a:lnTo>
                  <a:lnTo>
                    <a:pt x="120" y="412"/>
                  </a:lnTo>
                  <a:lnTo>
                    <a:pt x="124" y="410"/>
                  </a:lnTo>
                  <a:lnTo>
                    <a:pt x="126" y="410"/>
                  </a:lnTo>
                  <a:lnTo>
                    <a:pt x="130" y="410"/>
                  </a:lnTo>
                  <a:lnTo>
                    <a:pt x="132" y="408"/>
                  </a:lnTo>
                  <a:lnTo>
                    <a:pt x="134" y="406"/>
                  </a:lnTo>
                  <a:lnTo>
                    <a:pt x="136" y="406"/>
                  </a:lnTo>
                  <a:lnTo>
                    <a:pt x="136" y="406"/>
                  </a:lnTo>
                  <a:lnTo>
                    <a:pt x="138" y="404"/>
                  </a:lnTo>
                  <a:lnTo>
                    <a:pt x="138" y="402"/>
                  </a:lnTo>
                  <a:lnTo>
                    <a:pt x="140" y="400"/>
                  </a:lnTo>
                  <a:lnTo>
                    <a:pt x="142" y="396"/>
                  </a:lnTo>
                  <a:lnTo>
                    <a:pt x="144" y="394"/>
                  </a:lnTo>
                  <a:lnTo>
                    <a:pt x="144" y="392"/>
                  </a:lnTo>
                  <a:lnTo>
                    <a:pt x="148" y="390"/>
                  </a:lnTo>
                  <a:lnTo>
                    <a:pt x="152" y="386"/>
                  </a:lnTo>
                  <a:lnTo>
                    <a:pt x="154" y="386"/>
                  </a:lnTo>
                  <a:lnTo>
                    <a:pt x="156" y="384"/>
                  </a:lnTo>
                  <a:lnTo>
                    <a:pt x="158" y="382"/>
                  </a:lnTo>
                  <a:lnTo>
                    <a:pt x="160" y="382"/>
                  </a:lnTo>
                  <a:lnTo>
                    <a:pt x="162" y="382"/>
                  </a:lnTo>
                  <a:lnTo>
                    <a:pt x="164" y="380"/>
                  </a:lnTo>
                  <a:lnTo>
                    <a:pt x="168" y="380"/>
                  </a:lnTo>
                  <a:lnTo>
                    <a:pt x="170" y="380"/>
                  </a:lnTo>
                  <a:lnTo>
                    <a:pt x="176" y="380"/>
                  </a:lnTo>
                  <a:lnTo>
                    <a:pt x="184" y="380"/>
                  </a:lnTo>
                  <a:lnTo>
                    <a:pt x="190" y="380"/>
                  </a:lnTo>
                  <a:lnTo>
                    <a:pt x="194" y="380"/>
                  </a:lnTo>
                  <a:lnTo>
                    <a:pt x="196" y="380"/>
                  </a:lnTo>
                  <a:lnTo>
                    <a:pt x="198" y="378"/>
                  </a:lnTo>
                  <a:lnTo>
                    <a:pt x="202" y="378"/>
                  </a:lnTo>
                  <a:lnTo>
                    <a:pt x="204" y="378"/>
                  </a:lnTo>
                  <a:lnTo>
                    <a:pt x="206" y="376"/>
                  </a:lnTo>
                  <a:lnTo>
                    <a:pt x="208" y="376"/>
                  </a:lnTo>
                  <a:lnTo>
                    <a:pt x="208" y="374"/>
                  </a:lnTo>
                  <a:lnTo>
                    <a:pt x="210" y="372"/>
                  </a:lnTo>
                  <a:lnTo>
                    <a:pt x="212" y="370"/>
                  </a:lnTo>
                  <a:lnTo>
                    <a:pt x="214" y="368"/>
                  </a:lnTo>
                  <a:lnTo>
                    <a:pt x="216" y="368"/>
                  </a:lnTo>
                  <a:lnTo>
                    <a:pt x="216" y="368"/>
                  </a:lnTo>
                  <a:lnTo>
                    <a:pt x="216" y="368"/>
                  </a:lnTo>
                  <a:lnTo>
                    <a:pt x="220" y="366"/>
                  </a:lnTo>
                  <a:lnTo>
                    <a:pt x="222" y="366"/>
                  </a:lnTo>
                  <a:lnTo>
                    <a:pt x="224" y="366"/>
                  </a:lnTo>
                  <a:lnTo>
                    <a:pt x="230" y="366"/>
                  </a:lnTo>
                  <a:lnTo>
                    <a:pt x="232" y="366"/>
                  </a:lnTo>
                  <a:lnTo>
                    <a:pt x="234" y="366"/>
                  </a:lnTo>
                  <a:lnTo>
                    <a:pt x="236" y="366"/>
                  </a:lnTo>
                  <a:lnTo>
                    <a:pt x="236" y="366"/>
                  </a:lnTo>
                  <a:lnTo>
                    <a:pt x="240" y="364"/>
                  </a:lnTo>
                  <a:lnTo>
                    <a:pt x="242" y="364"/>
                  </a:lnTo>
                  <a:lnTo>
                    <a:pt x="244" y="364"/>
                  </a:lnTo>
                  <a:lnTo>
                    <a:pt x="244" y="364"/>
                  </a:lnTo>
                  <a:lnTo>
                    <a:pt x="246" y="364"/>
                  </a:lnTo>
                  <a:lnTo>
                    <a:pt x="246" y="364"/>
                  </a:lnTo>
                  <a:lnTo>
                    <a:pt x="246" y="364"/>
                  </a:lnTo>
                  <a:lnTo>
                    <a:pt x="246" y="364"/>
                  </a:lnTo>
                  <a:lnTo>
                    <a:pt x="248" y="364"/>
                  </a:lnTo>
                  <a:lnTo>
                    <a:pt x="248" y="366"/>
                  </a:lnTo>
                  <a:lnTo>
                    <a:pt x="248" y="366"/>
                  </a:lnTo>
                  <a:lnTo>
                    <a:pt x="248" y="368"/>
                  </a:lnTo>
                  <a:lnTo>
                    <a:pt x="248" y="370"/>
                  </a:lnTo>
                  <a:lnTo>
                    <a:pt x="248" y="370"/>
                  </a:lnTo>
                  <a:lnTo>
                    <a:pt x="248" y="372"/>
                  </a:lnTo>
                  <a:lnTo>
                    <a:pt x="248" y="372"/>
                  </a:lnTo>
                  <a:lnTo>
                    <a:pt x="248" y="372"/>
                  </a:lnTo>
                  <a:lnTo>
                    <a:pt x="250" y="372"/>
                  </a:lnTo>
                  <a:lnTo>
                    <a:pt x="252" y="372"/>
                  </a:lnTo>
                  <a:lnTo>
                    <a:pt x="252" y="374"/>
                  </a:lnTo>
                  <a:lnTo>
                    <a:pt x="256" y="374"/>
                  </a:lnTo>
                  <a:lnTo>
                    <a:pt x="258" y="372"/>
                  </a:lnTo>
                  <a:lnTo>
                    <a:pt x="262" y="372"/>
                  </a:lnTo>
                  <a:lnTo>
                    <a:pt x="264" y="372"/>
                  </a:lnTo>
                  <a:lnTo>
                    <a:pt x="266" y="372"/>
                  </a:lnTo>
                  <a:lnTo>
                    <a:pt x="268" y="372"/>
                  </a:lnTo>
                  <a:lnTo>
                    <a:pt x="268" y="372"/>
                  </a:lnTo>
                  <a:lnTo>
                    <a:pt x="270" y="372"/>
                  </a:lnTo>
                  <a:lnTo>
                    <a:pt x="270" y="374"/>
                  </a:lnTo>
                  <a:lnTo>
                    <a:pt x="272" y="374"/>
                  </a:lnTo>
                  <a:lnTo>
                    <a:pt x="274" y="376"/>
                  </a:lnTo>
                  <a:lnTo>
                    <a:pt x="276" y="378"/>
                  </a:lnTo>
                  <a:lnTo>
                    <a:pt x="278" y="382"/>
                  </a:lnTo>
                  <a:lnTo>
                    <a:pt x="280" y="384"/>
                  </a:lnTo>
                  <a:lnTo>
                    <a:pt x="284" y="388"/>
                  </a:lnTo>
                  <a:lnTo>
                    <a:pt x="288" y="392"/>
                  </a:lnTo>
                  <a:lnTo>
                    <a:pt x="288" y="396"/>
                  </a:lnTo>
                  <a:lnTo>
                    <a:pt x="290" y="398"/>
                  </a:lnTo>
                  <a:lnTo>
                    <a:pt x="292" y="400"/>
                  </a:lnTo>
                  <a:lnTo>
                    <a:pt x="292" y="402"/>
                  </a:lnTo>
                  <a:lnTo>
                    <a:pt x="292" y="402"/>
                  </a:lnTo>
                  <a:lnTo>
                    <a:pt x="292" y="404"/>
                  </a:lnTo>
                  <a:lnTo>
                    <a:pt x="292" y="406"/>
                  </a:lnTo>
                  <a:lnTo>
                    <a:pt x="292" y="412"/>
                  </a:lnTo>
                  <a:lnTo>
                    <a:pt x="292" y="414"/>
                  </a:lnTo>
                  <a:lnTo>
                    <a:pt x="292" y="418"/>
                  </a:lnTo>
                  <a:lnTo>
                    <a:pt x="292" y="418"/>
                  </a:lnTo>
                  <a:lnTo>
                    <a:pt x="292" y="420"/>
                  </a:lnTo>
                  <a:lnTo>
                    <a:pt x="292" y="420"/>
                  </a:lnTo>
                  <a:lnTo>
                    <a:pt x="294" y="420"/>
                  </a:lnTo>
                  <a:lnTo>
                    <a:pt x="294" y="420"/>
                  </a:lnTo>
                  <a:lnTo>
                    <a:pt x="294" y="422"/>
                  </a:lnTo>
                  <a:lnTo>
                    <a:pt x="296" y="422"/>
                  </a:lnTo>
                  <a:lnTo>
                    <a:pt x="296" y="422"/>
                  </a:lnTo>
                  <a:lnTo>
                    <a:pt x="298" y="420"/>
                  </a:lnTo>
                  <a:lnTo>
                    <a:pt x="300" y="420"/>
                  </a:lnTo>
                  <a:lnTo>
                    <a:pt x="302" y="420"/>
                  </a:lnTo>
                  <a:lnTo>
                    <a:pt x="304" y="418"/>
                  </a:lnTo>
                  <a:lnTo>
                    <a:pt x="304" y="418"/>
                  </a:lnTo>
                  <a:lnTo>
                    <a:pt x="308" y="416"/>
                  </a:lnTo>
                  <a:lnTo>
                    <a:pt x="310" y="414"/>
                  </a:lnTo>
                  <a:lnTo>
                    <a:pt x="314" y="412"/>
                  </a:lnTo>
                  <a:lnTo>
                    <a:pt x="316" y="410"/>
                  </a:lnTo>
                  <a:lnTo>
                    <a:pt x="320" y="406"/>
                  </a:lnTo>
                  <a:lnTo>
                    <a:pt x="322" y="402"/>
                  </a:lnTo>
                  <a:lnTo>
                    <a:pt x="324" y="400"/>
                  </a:lnTo>
                  <a:lnTo>
                    <a:pt x="326" y="398"/>
                  </a:lnTo>
                  <a:lnTo>
                    <a:pt x="326" y="398"/>
                  </a:lnTo>
                  <a:lnTo>
                    <a:pt x="326" y="396"/>
                  </a:lnTo>
                  <a:lnTo>
                    <a:pt x="328" y="390"/>
                  </a:lnTo>
                  <a:lnTo>
                    <a:pt x="330" y="388"/>
                  </a:lnTo>
                  <a:lnTo>
                    <a:pt x="330" y="386"/>
                  </a:lnTo>
                  <a:lnTo>
                    <a:pt x="330" y="386"/>
                  </a:lnTo>
                  <a:lnTo>
                    <a:pt x="332" y="386"/>
                  </a:lnTo>
                  <a:lnTo>
                    <a:pt x="332" y="384"/>
                  </a:lnTo>
                  <a:lnTo>
                    <a:pt x="332" y="384"/>
                  </a:lnTo>
                  <a:lnTo>
                    <a:pt x="334" y="384"/>
                  </a:lnTo>
                  <a:lnTo>
                    <a:pt x="334" y="384"/>
                  </a:lnTo>
                  <a:lnTo>
                    <a:pt x="334" y="384"/>
                  </a:lnTo>
                  <a:lnTo>
                    <a:pt x="334" y="386"/>
                  </a:lnTo>
                  <a:lnTo>
                    <a:pt x="336" y="386"/>
                  </a:lnTo>
                  <a:lnTo>
                    <a:pt x="336" y="388"/>
                  </a:lnTo>
                  <a:lnTo>
                    <a:pt x="336" y="390"/>
                  </a:lnTo>
                  <a:lnTo>
                    <a:pt x="336" y="392"/>
                  </a:lnTo>
                  <a:lnTo>
                    <a:pt x="336" y="394"/>
                  </a:lnTo>
                  <a:lnTo>
                    <a:pt x="334" y="396"/>
                  </a:lnTo>
                  <a:lnTo>
                    <a:pt x="334" y="398"/>
                  </a:lnTo>
                  <a:lnTo>
                    <a:pt x="334" y="400"/>
                  </a:lnTo>
                  <a:lnTo>
                    <a:pt x="332" y="404"/>
                  </a:lnTo>
                  <a:lnTo>
                    <a:pt x="332" y="408"/>
                  </a:lnTo>
                  <a:lnTo>
                    <a:pt x="330" y="410"/>
                  </a:lnTo>
                  <a:lnTo>
                    <a:pt x="328" y="412"/>
                  </a:lnTo>
                  <a:lnTo>
                    <a:pt x="328" y="414"/>
                  </a:lnTo>
                  <a:lnTo>
                    <a:pt x="324" y="416"/>
                  </a:lnTo>
                  <a:lnTo>
                    <a:pt x="322" y="418"/>
                  </a:lnTo>
                  <a:lnTo>
                    <a:pt x="322" y="420"/>
                  </a:lnTo>
                  <a:lnTo>
                    <a:pt x="322" y="420"/>
                  </a:lnTo>
                  <a:lnTo>
                    <a:pt x="320" y="420"/>
                  </a:lnTo>
                  <a:lnTo>
                    <a:pt x="320" y="422"/>
                  </a:lnTo>
                  <a:lnTo>
                    <a:pt x="320" y="422"/>
                  </a:lnTo>
                  <a:lnTo>
                    <a:pt x="322" y="422"/>
                  </a:lnTo>
                  <a:lnTo>
                    <a:pt x="322" y="422"/>
                  </a:lnTo>
                  <a:lnTo>
                    <a:pt x="322" y="424"/>
                  </a:lnTo>
                  <a:lnTo>
                    <a:pt x="324" y="424"/>
                  </a:lnTo>
                  <a:lnTo>
                    <a:pt x="326" y="424"/>
                  </a:lnTo>
                  <a:lnTo>
                    <a:pt x="328" y="424"/>
                  </a:lnTo>
                  <a:lnTo>
                    <a:pt x="328" y="424"/>
                  </a:lnTo>
                  <a:lnTo>
                    <a:pt x="330" y="424"/>
                  </a:lnTo>
                  <a:lnTo>
                    <a:pt x="332" y="424"/>
                  </a:lnTo>
                  <a:lnTo>
                    <a:pt x="332" y="424"/>
                  </a:lnTo>
                  <a:lnTo>
                    <a:pt x="332" y="424"/>
                  </a:lnTo>
                  <a:lnTo>
                    <a:pt x="332" y="422"/>
                  </a:lnTo>
                  <a:lnTo>
                    <a:pt x="332" y="422"/>
                  </a:lnTo>
                  <a:lnTo>
                    <a:pt x="334" y="420"/>
                  </a:lnTo>
                  <a:lnTo>
                    <a:pt x="334" y="416"/>
                  </a:lnTo>
                  <a:lnTo>
                    <a:pt x="334" y="416"/>
                  </a:lnTo>
                  <a:lnTo>
                    <a:pt x="334" y="414"/>
                  </a:lnTo>
                  <a:lnTo>
                    <a:pt x="336" y="412"/>
                  </a:lnTo>
                  <a:lnTo>
                    <a:pt x="338" y="410"/>
                  </a:lnTo>
                  <a:lnTo>
                    <a:pt x="338" y="410"/>
                  </a:lnTo>
                  <a:lnTo>
                    <a:pt x="338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08"/>
                  </a:lnTo>
                  <a:lnTo>
                    <a:pt x="340" y="410"/>
                  </a:lnTo>
                  <a:lnTo>
                    <a:pt x="340" y="410"/>
                  </a:lnTo>
                  <a:lnTo>
                    <a:pt x="340" y="410"/>
                  </a:lnTo>
                  <a:lnTo>
                    <a:pt x="340" y="412"/>
                  </a:lnTo>
                  <a:lnTo>
                    <a:pt x="340" y="414"/>
                  </a:lnTo>
                  <a:lnTo>
                    <a:pt x="340" y="414"/>
                  </a:lnTo>
                  <a:lnTo>
                    <a:pt x="340" y="416"/>
                  </a:lnTo>
                  <a:lnTo>
                    <a:pt x="340" y="420"/>
                  </a:lnTo>
                  <a:lnTo>
                    <a:pt x="342" y="422"/>
                  </a:lnTo>
                  <a:lnTo>
                    <a:pt x="342" y="424"/>
                  </a:lnTo>
                  <a:lnTo>
                    <a:pt x="342" y="424"/>
                  </a:lnTo>
                  <a:lnTo>
                    <a:pt x="344" y="426"/>
                  </a:lnTo>
                  <a:lnTo>
                    <a:pt x="344" y="426"/>
                  </a:lnTo>
                  <a:lnTo>
                    <a:pt x="346" y="428"/>
                  </a:lnTo>
                  <a:lnTo>
                    <a:pt x="350" y="432"/>
                  </a:lnTo>
                  <a:lnTo>
                    <a:pt x="350" y="432"/>
                  </a:lnTo>
                  <a:lnTo>
                    <a:pt x="352" y="434"/>
                  </a:lnTo>
                  <a:lnTo>
                    <a:pt x="352" y="434"/>
                  </a:lnTo>
                  <a:lnTo>
                    <a:pt x="352" y="436"/>
                  </a:lnTo>
                  <a:lnTo>
                    <a:pt x="352" y="438"/>
                  </a:lnTo>
                  <a:lnTo>
                    <a:pt x="352" y="442"/>
                  </a:lnTo>
                  <a:lnTo>
                    <a:pt x="352" y="444"/>
                  </a:lnTo>
                  <a:lnTo>
                    <a:pt x="352" y="446"/>
                  </a:lnTo>
                  <a:lnTo>
                    <a:pt x="352" y="448"/>
                  </a:lnTo>
                  <a:lnTo>
                    <a:pt x="350" y="452"/>
                  </a:lnTo>
                  <a:lnTo>
                    <a:pt x="348" y="454"/>
                  </a:lnTo>
                  <a:lnTo>
                    <a:pt x="348" y="456"/>
                  </a:lnTo>
                  <a:lnTo>
                    <a:pt x="348" y="458"/>
                  </a:lnTo>
                  <a:lnTo>
                    <a:pt x="348" y="458"/>
                  </a:lnTo>
                  <a:lnTo>
                    <a:pt x="348" y="460"/>
                  </a:lnTo>
                  <a:lnTo>
                    <a:pt x="348" y="460"/>
                  </a:lnTo>
                  <a:lnTo>
                    <a:pt x="348" y="462"/>
                  </a:lnTo>
                  <a:lnTo>
                    <a:pt x="348" y="462"/>
                  </a:lnTo>
                  <a:lnTo>
                    <a:pt x="350" y="464"/>
                  </a:lnTo>
                  <a:lnTo>
                    <a:pt x="352" y="466"/>
                  </a:lnTo>
                  <a:lnTo>
                    <a:pt x="354" y="468"/>
                  </a:lnTo>
                  <a:lnTo>
                    <a:pt x="356" y="470"/>
                  </a:lnTo>
                  <a:lnTo>
                    <a:pt x="358" y="470"/>
                  </a:lnTo>
                  <a:lnTo>
                    <a:pt x="362" y="474"/>
                  </a:lnTo>
                  <a:lnTo>
                    <a:pt x="364" y="476"/>
                  </a:lnTo>
                  <a:lnTo>
                    <a:pt x="368" y="478"/>
                  </a:lnTo>
                  <a:lnTo>
                    <a:pt x="372" y="478"/>
                  </a:lnTo>
                  <a:lnTo>
                    <a:pt x="376" y="480"/>
                  </a:lnTo>
                  <a:lnTo>
                    <a:pt x="382" y="482"/>
                  </a:lnTo>
                  <a:lnTo>
                    <a:pt x="386" y="484"/>
                  </a:lnTo>
                  <a:lnTo>
                    <a:pt x="392" y="486"/>
                  </a:lnTo>
                  <a:lnTo>
                    <a:pt x="402" y="488"/>
                  </a:lnTo>
                  <a:lnTo>
                    <a:pt x="406" y="490"/>
                  </a:lnTo>
                  <a:lnTo>
                    <a:pt x="410" y="492"/>
                  </a:lnTo>
                  <a:lnTo>
                    <a:pt x="416" y="492"/>
                  </a:lnTo>
                  <a:lnTo>
                    <a:pt x="422" y="494"/>
                  </a:lnTo>
                  <a:lnTo>
                    <a:pt x="424" y="494"/>
                  </a:lnTo>
                  <a:lnTo>
                    <a:pt x="426" y="494"/>
                  </a:lnTo>
                  <a:lnTo>
                    <a:pt x="428" y="494"/>
                  </a:lnTo>
                  <a:lnTo>
                    <a:pt x="430" y="494"/>
                  </a:lnTo>
                  <a:lnTo>
                    <a:pt x="430" y="494"/>
                  </a:lnTo>
                  <a:lnTo>
                    <a:pt x="432" y="494"/>
                  </a:lnTo>
                  <a:lnTo>
                    <a:pt x="436" y="492"/>
                  </a:lnTo>
                  <a:lnTo>
                    <a:pt x="438" y="492"/>
                  </a:lnTo>
                  <a:lnTo>
                    <a:pt x="442" y="490"/>
                  </a:lnTo>
                  <a:lnTo>
                    <a:pt x="448" y="486"/>
                  </a:lnTo>
                  <a:lnTo>
                    <a:pt x="454" y="484"/>
                  </a:lnTo>
                  <a:lnTo>
                    <a:pt x="460" y="482"/>
                  </a:lnTo>
                  <a:lnTo>
                    <a:pt x="464" y="480"/>
                  </a:lnTo>
                  <a:lnTo>
                    <a:pt x="470" y="478"/>
                  </a:lnTo>
                  <a:lnTo>
                    <a:pt x="476" y="476"/>
                  </a:lnTo>
                  <a:lnTo>
                    <a:pt x="482" y="472"/>
                  </a:lnTo>
                  <a:lnTo>
                    <a:pt x="486" y="472"/>
                  </a:lnTo>
                  <a:lnTo>
                    <a:pt x="488" y="470"/>
                  </a:lnTo>
                  <a:lnTo>
                    <a:pt x="490" y="468"/>
                  </a:lnTo>
                  <a:lnTo>
                    <a:pt x="492" y="466"/>
                  </a:lnTo>
                  <a:lnTo>
                    <a:pt x="494" y="466"/>
                  </a:lnTo>
                  <a:lnTo>
                    <a:pt x="496" y="464"/>
                  </a:lnTo>
                  <a:lnTo>
                    <a:pt x="498" y="462"/>
                  </a:lnTo>
                  <a:lnTo>
                    <a:pt x="498" y="460"/>
                  </a:lnTo>
                  <a:lnTo>
                    <a:pt x="500" y="458"/>
                  </a:lnTo>
                  <a:lnTo>
                    <a:pt x="500" y="456"/>
                  </a:lnTo>
                  <a:lnTo>
                    <a:pt x="500" y="452"/>
                  </a:lnTo>
                  <a:lnTo>
                    <a:pt x="502" y="448"/>
                  </a:lnTo>
                  <a:lnTo>
                    <a:pt x="504" y="444"/>
                  </a:lnTo>
                  <a:lnTo>
                    <a:pt x="504" y="438"/>
                  </a:lnTo>
                  <a:lnTo>
                    <a:pt x="506" y="436"/>
                  </a:lnTo>
                  <a:lnTo>
                    <a:pt x="506" y="436"/>
                  </a:lnTo>
                  <a:lnTo>
                    <a:pt x="506" y="434"/>
                  </a:lnTo>
                  <a:lnTo>
                    <a:pt x="508" y="432"/>
                  </a:lnTo>
                  <a:lnTo>
                    <a:pt x="508" y="432"/>
                  </a:lnTo>
                  <a:lnTo>
                    <a:pt x="510" y="430"/>
                  </a:lnTo>
                  <a:lnTo>
                    <a:pt x="512" y="428"/>
                  </a:lnTo>
                  <a:lnTo>
                    <a:pt x="514" y="426"/>
                  </a:lnTo>
                  <a:lnTo>
                    <a:pt x="516" y="424"/>
                  </a:lnTo>
                  <a:lnTo>
                    <a:pt x="520" y="422"/>
                  </a:lnTo>
                  <a:lnTo>
                    <a:pt x="522" y="420"/>
                  </a:lnTo>
                  <a:lnTo>
                    <a:pt x="524" y="418"/>
                  </a:lnTo>
                  <a:lnTo>
                    <a:pt x="526" y="418"/>
                  </a:lnTo>
                  <a:lnTo>
                    <a:pt x="526" y="416"/>
                  </a:lnTo>
                  <a:lnTo>
                    <a:pt x="528" y="416"/>
                  </a:lnTo>
                  <a:lnTo>
                    <a:pt x="528" y="414"/>
                  </a:lnTo>
                  <a:lnTo>
                    <a:pt x="530" y="412"/>
                  </a:lnTo>
                  <a:lnTo>
                    <a:pt x="532" y="408"/>
                  </a:lnTo>
                  <a:lnTo>
                    <a:pt x="532" y="404"/>
                  </a:lnTo>
                  <a:lnTo>
                    <a:pt x="534" y="400"/>
                  </a:lnTo>
                  <a:lnTo>
                    <a:pt x="536" y="396"/>
                  </a:lnTo>
                  <a:lnTo>
                    <a:pt x="538" y="394"/>
                  </a:lnTo>
                  <a:lnTo>
                    <a:pt x="538" y="392"/>
                  </a:lnTo>
                  <a:lnTo>
                    <a:pt x="540" y="390"/>
                  </a:lnTo>
                  <a:lnTo>
                    <a:pt x="540" y="390"/>
                  </a:lnTo>
                  <a:lnTo>
                    <a:pt x="542" y="388"/>
                  </a:lnTo>
                  <a:lnTo>
                    <a:pt x="544" y="386"/>
                  </a:lnTo>
                  <a:lnTo>
                    <a:pt x="548" y="382"/>
                  </a:lnTo>
                  <a:lnTo>
                    <a:pt x="550" y="380"/>
                  </a:lnTo>
                  <a:lnTo>
                    <a:pt x="558" y="374"/>
                  </a:lnTo>
                  <a:lnTo>
                    <a:pt x="560" y="370"/>
                  </a:lnTo>
                  <a:lnTo>
                    <a:pt x="564" y="368"/>
                  </a:lnTo>
                  <a:lnTo>
                    <a:pt x="564" y="366"/>
                  </a:lnTo>
                  <a:lnTo>
                    <a:pt x="568" y="364"/>
                  </a:lnTo>
                  <a:lnTo>
                    <a:pt x="570" y="360"/>
                  </a:lnTo>
                  <a:lnTo>
                    <a:pt x="570" y="358"/>
                  </a:lnTo>
                  <a:lnTo>
                    <a:pt x="570" y="358"/>
                  </a:lnTo>
                  <a:lnTo>
                    <a:pt x="572" y="356"/>
                  </a:lnTo>
                  <a:lnTo>
                    <a:pt x="572" y="354"/>
                  </a:lnTo>
                  <a:lnTo>
                    <a:pt x="572" y="352"/>
                  </a:lnTo>
                  <a:lnTo>
                    <a:pt x="572" y="348"/>
                  </a:lnTo>
                  <a:lnTo>
                    <a:pt x="572" y="344"/>
                  </a:lnTo>
                  <a:lnTo>
                    <a:pt x="572" y="338"/>
                  </a:lnTo>
                  <a:lnTo>
                    <a:pt x="570" y="326"/>
                  </a:lnTo>
                  <a:lnTo>
                    <a:pt x="570" y="322"/>
                  </a:lnTo>
                  <a:lnTo>
                    <a:pt x="570" y="320"/>
                  </a:lnTo>
                  <a:lnTo>
                    <a:pt x="570" y="318"/>
                  </a:lnTo>
                  <a:lnTo>
                    <a:pt x="570" y="314"/>
                  </a:lnTo>
                  <a:lnTo>
                    <a:pt x="572" y="312"/>
                  </a:lnTo>
                  <a:lnTo>
                    <a:pt x="572" y="306"/>
                  </a:lnTo>
                  <a:lnTo>
                    <a:pt x="576" y="292"/>
                  </a:lnTo>
                  <a:lnTo>
                    <a:pt x="576" y="284"/>
                  </a:lnTo>
                  <a:lnTo>
                    <a:pt x="578" y="276"/>
                  </a:lnTo>
                  <a:lnTo>
                    <a:pt x="578" y="270"/>
                  </a:lnTo>
                  <a:lnTo>
                    <a:pt x="580" y="268"/>
                  </a:lnTo>
                  <a:lnTo>
                    <a:pt x="580" y="264"/>
                  </a:lnTo>
                  <a:lnTo>
                    <a:pt x="580" y="262"/>
                  </a:lnTo>
                  <a:lnTo>
                    <a:pt x="580" y="258"/>
                  </a:lnTo>
                  <a:lnTo>
                    <a:pt x="578" y="254"/>
                  </a:lnTo>
                  <a:lnTo>
                    <a:pt x="578" y="254"/>
                  </a:lnTo>
                  <a:lnTo>
                    <a:pt x="578" y="252"/>
                  </a:lnTo>
                  <a:lnTo>
                    <a:pt x="578" y="250"/>
                  </a:lnTo>
                  <a:lnTo>
                    <a:pt x="576" y="250"/>
                  </a:lnTo>
                  <a:lnTo>
                    <a:pt x="574" y="246"/>
                  </a:lnTo>
                  <a:lnTo>
                    <a:pt x="572" y="244"/>
                  </a:lnTo>
                  <a:lnTo>
                    <a:pt x="570" y="240"/>
                  </a:lnTo>
                  <a:lnTo>
                    <a:pt x="566" y="236"/>
                  </a:lnTo>
                  <a:lnTo>
                    <a:pt x="564" y="234"/>
                  </a:lnTo>
                  <a:lnTo>
                    <a:pt x="562" y="230"/>
                  </a:lnTo>
                  <a:lnTo>
                    <a:pt x="562" y="230"/>
                  </a:lnTo>
                  <a:lnTo>
                    <a:pt x="560" y="228"/>
                  </a:lnTo>
                  <a:lnTo>
                    <a:pt x="560" y="226"/>
                  </a:lnTo>
                  <a:lnTo>
                    <a:pt x="560" y="226"/>
                  </a:lnTo>
                  <a:lnTo>
                    <a:pt x="558" y="222"/>
                  </a:lnTo>
                  <a:lnTo>
                    <a:pt x="556" y="214"/>
                  </a:lnTo>
                  <a:lnTo>
                    <a:pt x="556" y="210"/>
                  </a:lnTo>
                  <a:lnTo>
                    <a:pt x="554" y="206"/>
                  </a:lnTo>
                  <a:lnTo>
                    <a:pt x="554" y="204"/>
                  </a:lnTo>
                  <a:lnTo>
                    <a:pt x="554" y="204"/>
                  </a:lnTo>
                  <a:lnTo>
                    <a:pt x="552" y="202"/>
                  </a:lnTo>
                  <a:lnTo>
                    <a:pt x="552" y="200"/>
                  </a:lnTo>
                  <a:lnTo>
                    <a:pt x="550" y="200"/>
                  </a:lnTo>
                  <a:lnTo>
                    <a:pt x="550" y="200"/>
                  </a:lnTo>
                  <a:lnTo>
                    <a:pt x="550" y="198"/>
                  </a:lnTo>
                  <a:lnTo>
                    <a:pt x="548" y="198"/>
                  </a:lnTo>
                  <a:lnTo>
                    <a:pt x="546" y="198"/>
                  </a:lnTo>
                  <a:lnTo>
                    <a:pt x="542" y="196"/>
                  </a:lnTo>
                  <a:lnTo>
                    <a:pt x="540" y="196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4" y="194"/>
                  </a:lnTo>
                  <a:lnTo>
                    <a:pt x="534" y="192"/>
                  </a:lnTo>
                  <a:lnTo>
                    <a:pt x="532" y="192"/>
                  </a:lnTo>
                  <a:lnTo>
                    <a:pt x="532" y="190"/>
                  </a:lnTo>
                  <a:lnTo>
                    <a:pt x="532" y="190"/>
                  </a:lnTo>
                  <a:lnTo>
                    <a:pt x="532" y="188"/>
                  </a:lnTo>
                  <a:lnTo>
                    <a:pt x="530" y="186"/>
                  </a:lnTo>
                  <a:lnTo>
                    <a:pt x="530" y="182"/>
                  </a:lnTo>
                  <a:lnTo>
                    <a:pt x="530" y="178"/>
                  </a:lnTo>
                  <a:lnTo>
                    <a:pt x="530" y="174"/>
                  </a:lnTo>
                  <a:lnTo>
                    <a:pt x="530" y="172"/>
                  </a:lnTo>
                  <a:lnTo>
                    <a:pt x="530" y="170"/>
                  </a:lnTo>
                  <a:lnTo>
                    <a:pt x="530" y="168"/>
                  </a:lnTo>
                  <a:lnTo>
                    <a:pt x="528" y="166"/>
                  </a:lnTo>
                  <a:lnTo>
                    <a:pt x="528" y="166"/>
                  </a:lnTo>
                  <a:lnTo>
                    <a:pt x="526" y="164"/>
                  </a:lnTo>
                  <a:lnTo>
                    <a:pt x="526" y="162"/>
                  </a:lnTo>
                  <a:lnTo>
                    <a:pt x="524" y="162"/>
                  </a:lnTo>
                  <a:lnTo>
                    <a:pt x="522" y="162"/>
                  </a:lnTo>
                  <a:lnTo>
                    <a:pt x="520" y="160"/>
                  </a:lnTo>
                  <a:lnTo>
                    <a:pt x="518" y="160"/>
                  </a:lnTo>
                  <a:lnTo>
                    <a:pt x="514" y="158"/>
                  </a:lnTo>
                  <a:lnTo>
                    <a:pt x="508" y="156"/>
                  </a:lnTo>
                  <a:lnTo>
                    <a:pt x="506" y="156"/>
                  </a:lnTo>
                  <a:lnTo>
                    <a:pt x="504" y="154"/>
                  </a:lnTo>
                  <a:lnTo>
                    <a:pt x="502" y="154"/>
                  </a:lnTo>
                  <a:lnTo>
                    <a:pt x="500" y="152"/>
                  </a:lnTo>
                  <a:lnTo>
                    <a:pt x="500" y="152"/>
                  </a:lnTo>
                  <a:lnTo>
                    <a:pt x="498" y="150"/>
                  </a:lnTo>
                  <a:lnTo>
                    <a:pt x="498" y="148"/>
                  </a:lnTo>
                  <a:lnTo>
                    <a:pt x="498" y="146"/>
                  </a:lnTo>
                  <a:lnTo>
                    <a:pt x="498" y="146"/>
                  </a:lnTo>
                  <a:lnTo>
                    <a:pt x="496" y="144"/>
                  </a:lnTo>
                  <a:lnTo>
                    <a:pt x="496" y="140"/>
                  </a:lnTo>
                  <a:lnTo>
                    <a:pt x="496" y="138"/>
                  </a:lnTo>
                  <a:lnTo>
                    <a:pt x="496" y="13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8" y="118"/>
                  </a:lnTo>
                  <a:lnTo>
                    <a:pt x="498" y="116"/>
                  </a:lnTo>
                  <a:lnTo>
                    <a:pt x="496" y="112"/>
                  </a:lnTo>
                  <a:lnTo>
                    <a:pt x="496" y="108"/>
                  </a:lnTo>
                  <a:lnTo>
                    <a:pt x="494" y="102"/>
                  </a:lnTo>
                  <a:lnTo>
                    <a:pt x="494" y="98"/>
                  </a:lnTo>
                  <a:lnTo>
                    <a:pt x="492" y="92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88" y="82"/>
                  </a:lnTo>
                  <a:lnTo>
                    <a:pt x="488" y="80"/>
                  </a:lnTo>
                  <a:lnTo>
                    <a:pt x="486" y="78"/>
                  </a:lnTo>
                  <a:lnTo>
                    <a:pt x="486" y="78"/>
                  </a:lnTo>
                  <a:lnTo>
                    <a:pt x="484" y="74"/>
                  </a:lnTo>
                  <a:lnTo>
                    <a:pt x="482" y="72"/>
                  </a:lnTo>
                  <a:lnTo>
                    <a:pt x="478" y="70"/>
                  </a:lnTo>
                  <a:lnTo>
                    <a:pt x="476" y="68"/>
                  </a:lnTo>
                  <a:lnTo>
                    <a:pt x="474" y="64"/>
                  </a:lnTo>
                  <a:lnTo>
                    <a:pt x="472" y="62"/>
                  </a:lnTo>
                  <a:lnTo>
                    <a:pt x="470" y="60"/>
                  </a:lnTo>
                  <a:lnTo>
                    <a:pt x="470" y="60"/>
                  </a:lnTo>
                  <a:lnTo>
                    <a:pt x="468" y="56"/>
                  </a:lnTo>
                  <a:lnTo>
                    <a:pt x="466" y="54"/>
                  </a:lnTo>
                  <a:lnTo>
                    <a:pt x="464" y="50"/>
                  </a:lnTo>
                  <a:lnTo>
                    <a:pt x="464" y="46"/>
                  </a:lnTo>
                  <a:lnTo>
                    <a:pt x="462" y="42"/>
                  </a:lnTo>
                  <a:lnTo>
                    <a:pt x="460" y="38"/>
                  </a:lnTo>
                  <a:lnTo>
                    <a:pt x="460" y="36"/>
                  </a:lnTo>
                  <a:lnTo>
                    <a:pt x="460" y="34"/>
                  </a:lnTo>
                  <a:lnTo>
                    <a:pt x="460" y="34"/>
                  </a:lnTo>
                  <a:lnTo>
                    <a:pt x="460" y="32"/>
                  </a:lnTo>
                  <a:lnTo>
                    <a:pt x="460" y="32"/>
                  </a:lnTo>
                  <a:lnTo>
                    <a:pt x="460" y="30"/>
                  </a:lnTo>
                  <a:lnTo>
                    <a:pt x="460" y="28"/>
                  </a:lnTo>
                  <a:lnTo>
                    <a:pt x="462" y="26"/>
                  </a:lnTo>
                  <a:lnTo>
                    <a:pt x="464" y="24"/>
                  </a:lnTo>
                  <a:lnTo>
                    <a:pt x="466" y="22"/>
                  </a:lnTo>
                  <a:lnTo>
                    <a:pt x="466" y="20"/>
                  </a:lnTo>
                  <a:lnTo>
                    <a:pt x="466" y="20"/>
                  </a:lnTo>
                  <a:lnTo>
                    <a:pt x="468" y="18"/>
                  </a:lnTo>
                  <a:lnTo>
                    <a:pt x="468" y="18"/>
                  </a:lnTo>
                  <a:lnTo>
                    <a:pt x="468" y="16"/>
                  </a:lnTo>
                  <a:lnTo>
                    <a:pt x="466" y="16"/>
                  </a:lnTo>
                  <a:lnTo>
                    <a:pt x="466" y="14"/>
                  </a:lnTo>
                  <a:lnTo>
                    <a:pt x="466" y="12"/>
                  </a:lnTo>
                  <a:lnTo>
                    <a:pt x="466" y="12"/>
                  </a:lnTo>
                  <a:lnTo>
                    <a:pt x="464" y="8"/>
                  </a:lnTo>
                  <a:lnTo>
                    <a:pt x="462" y="6"/>
                  </a:lnTo>
                  <a:lnTo>
                    <a:pt x="460" y="4"/>
                  </a:lnTo>
                  <a:lnTo>
                    <a:pt x="460" y="4"/>
                  </a:lnTo>
                  <a:lnTo>
                    <a:pt x="458" y="2"/>
                  </a:lnTo>
                  <a:lnTo>
                    <a:pt x="456" y="0"/>
                  </a:lnTo>
                  <a:lnTo>
                    <a:pt x="456" y="0"/>
                  </a:lnTo>
                  <a:lnTo>
                    <a:pt x="454" y="0"/>
                  </a:lnTo>
                  <a:lnTo>
                    <a:pt x="454" y="0"/>
                  </a:lnTo>
                  <a:lnTo>
                    <a:pt x="452" y="0"/>
                  </a:lnTo>
                  <a:lnTo>
                    <a:pt x="452" y="0"/>
                  </a:lnTo>
                  <a:lnTo>
                    <a:pt x="450" y="0"/>
                  </a:lnTo>
                  <a:lnTo>
                    <a:pt x="450" y="0"/>
                  </a:lnTo>
                  <a:lnTo>
                    <a:pt x="448" y="2"/>
                  </a:lnTo>
                  <a:lnTo>
                    <a:pt x="448" y="2"/>
                  </a:lnTo>
                  <a:lnTo>
                    <a:pt x="448" y="4"/>
                  </a:lnTo>
                  <a:lnTo>
                    <a:pt x="446" y="6"/>
                  </a:lnTo>
                  <a:lnTo>
                    <a:pt x="444" y="12"/>
                  </a:lnTo>
                  <a:lnTo>
                    <a:pt x="444" y="14"/>
                  </a:lnTo>
                  <a:lnTo>
                    <a:pt x="442" y="16"/>
                  </a:lnTo>
                  <a:lnTo>
                    <a:pt x="442" y="16"/>
                  </a:lnTo>
                  <a:lnTo>
                    <a:pt x="442" y="18"/>
                  </a:lnTo>
                  <a:lnTo>
                    <a:pt x="440" y="20"/>
                  </a:lnTo>
                  <a:lnTo>
                    <a:pt x="438" y="22"/>
                  </a:lnTo>
                  <a:lnTo>
                    <a:pt x="436" y="24"/>
                  </a:lnTo>
                  <a:lnTo>
                    <a:pt x="434" y="26"/>
                  </a:lnTo>
                  <a:lnTo>
                    <a:pt x="434" y="26"/>
                  </a:lnTo>
                  <a:lnTo>
                    <a:pt x="434" y="28"/>
                  </a:lnTo>
                  <a:lnTo>
                    <a:pt x="432" y="30"/>
                  </a:lnTo>
                  <a:lnTo>
                    <a:pt x="432" y="30"/>
                  </a:lnTo>
                  <a:lnTo>
                    <a:pt x="432" y="34"/>
                  </a:lnTo>
                  <a:lnTo>
                    <a:pt x="432" y="38"/>
                  </a:lnTo>
                  <a:lnTo>
                    <a:pt x="432" y="42"/>
                  </a:lnTo>
                  <a:lnTo>
                    <a:pt x="432" y="46"/>
                  </a:lnTo>
                  <a:lnTo>
                    <a:pt x="432" y="50"/>
                  </a:lnTo>
                  <a:lnTo>
                    <a:pt x="434" y="58"/>
                  </a:lnTo>
                  <a:lnTo>
                    <a:pt x="434" y="66"/>
                  </a:lnTo>
                  <a:lnTo>
                    <a:pt x="434" y="70"/>
                  </a:lnTo>
                  <a:lnTo>
                    <a:pt x="436" y="74"/>
                  </a:lnTo>
                  <a:lnTo>
                    <a:pt x="436" y="78"/>
                  </a:lnTo>
                  <a:lnTo>
                    <a:pt x="436" y="82"/>
                  </a:lnTo>
                  <a:lnTo>
                    <a:pt x="436" y="86"/>
                  </a:lnTo>
                  <a:lnTo>
                    <a:pt x="434" y="88"/>
                  </a:lnTo>
                  <a:lnTo>
                    <a:pt x="434" y="90"/>
                  </a:lnTo>
                  <a:lnTo>
                    <a:pt x="432" y="92"/>
                  </a:lnTo>
                  <a:lnTo>
                    <a:pt x="432" y="94"/>
                  </a:lnTo>
                  <a:lnTo>
                    <a:pt x="430" y="96"/>
                  </a:lnTo>
                  <a:lnTo>
                    <a:pt x="428" y="100"/>
                  </a:lnTo>
                  <a:lnTo>
                    <a:pt x="426" y="102"/>
                  </a:lnTo>
                  <a:lnTo>
                    <a:pt x="426" y="104"/>
                  </a:lnTo>
                  <a:lnTo>
                    <a:pt x="426" y="104"/>
                  </a:lnTo>
                  <a:lnTo>
                    <a:pt x="424" y="106"/>
                  </a:lnTo>
                  <a:lnTo>
                    <a:pt x="424" y="110"/>
                  </a:lnTo>
                  <a:lnTo>
                    <a:pt x="422" y="110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0" y="114"/>
                  </a:lnTo>
                  <a:lnTo>
                    <a:pt x="420" y="114"/>
                  </a:lnTo>
                  <a:lnTo>
                    <a:pt x="420" y="114"/>
                  </a:lnTo>
                  <a:lnTo>
                    <a:pt x="416" y="114"/>
                  </a:lnTo>
                  <a:lnTo>
                    <a:pt x="414" y="116"/>
                  </a:lnTo>
                  <a:lnTo>
                    <a:pt x="412" y="116"/>
                  </a:lnTo>
                  <a:lnTo>
                    <a:pt x="410" y="116"/>
                  </a:lnTo>
                  <a:lnTo>
                    <a:pt x="406" y="114"/>
                  </a:lnTo>
                  <a:lnTo>
                    <a:pt x="404" y="114"/>
                  </a:lnTo>
                  <a:lnTo>
                    <a:pt x="402" y="114"/>
                  </a:lnTo>
                  <a:lnTo>
                    <a:pt x="402" y="114"/>
                  </a:lnTo>
                  <a:lnTo>
                    <a:pt x="402" y="112"/>
                  </a:lnTo>
                  <a:lnTo>
                    <a:pt x="400" y="112"/>
                  </a:lnTo>
                  <a:lnTo>
                    <a:pt x="398" y="110"/>
                  </a:lnTo>
                  <a:lnTo>
                    <a:pt x="396" y="106"/>
                  </a:lnTo>
                  <a:lnTo>
                    <a:pt x="392" y="102"/>
                  </a:lnTo>
                  <a:lnTo>
                    <a:pt x="390" y="102"/>
                  </a:lnTo>
                  <a:lnTo>
                    <a:pt x="388" y="100"/>
                  </a:lnTo>
                  <a:lnTo>
                    <a:pt x="386" y="98"/>
                  </a:lnTo>
                  <a:lnTo>
                    <a:pt x="384" y="98"/>
                  </a:lnTo>
                  <a:lnTo>
                    <a:pt x="378" y="96"/>
                  </a:lnTo>
                  <a:lnTo>
                    <a:pt x="374" y="94"/>
                  </a:lnTo>
                  <a:lnTo>
                    <a:pt x="370" y="94"/>
                  </a:lnTo>
                  <a:lnTo>
                    <a:pt x="368" y="92"/>
                  </a:lnTo>
                  <a:lnTo>
                    <a:pt x="368" y="92"/>
                  </a:lnTo>
                  <a:lnTo>
                    <a:pt x="366" y="90"/>
                  </a:lnTo>
                  <a:lnTo>
                    <a:pt x="362" y="86"/>
                  </a:lnTo>
                  <a:lnTo>
                    <a:pt x="360" y="84"/>
                  </a:lnTo>
                  <a:lnTo>
                    <a:pt x="358" y="82"/>
                  </a:lnTo>
                  <a:lnTo>
                    <a:pt x="356" y="80"/>
                  </a:lnTo>
                  <a:lnTo>
                    <a:pt x="356" y="80"/>
                  </a:lnTo>
                  <a:lnTo>
                    <a:pt x="354" y="80"/>
                  </a:lnTo>
                  <a:lnTo>
                    <a:pt x="350" y="78"/>
                  </a:lnTo>
                  <a:lnTo>
                    <a:pt x="348" y="78"/>
                  </a:lnTo>
                  <a:lnTo>
                    <a:pt x="346" y="78"/>
                  </a:lnTo>
                  <a:lnTo>
                    <a:pt x="346" y="76"/>
                  </a:lnTo>
                  <a:lnTo>
                    <a:pt x="346" y="76"/>
                  </a:lnTo>
                  <a:lnTo>
                    <a:pt x="344" y="76"/>
                  </a:lnTo>
                  <a:lnTo>
                    <a:pt x="344" y="76"/>
                  </a:lnTo>
                  <a:lnTo>
                    <a:pt x="344" y="74"/>
                  </a:lnTo>
                  <a:lnTo>
                    <a:pt x="344" y="74"/>
                  </a:lnTo>
                  <a:lnTo>
                    <a:pt x="346" y="72"/>
                  </a:lnTo>
                  <a:lnTo>
                    <a:pt x="346" y="70"/>
                  </a:lnTo>
                  <a:lnTo>
                    <a:pt x="348" y="68"/>
                  </a:lnTo>
                  <a:lnTo>
                    <a:pt x="350" y="64"/>
                  </a:lnTo>
                  <a:lnTo>
                    <a:pt x="350" y="62"/>
                  </a:lnTo>
                  <a:lnTo>
                    <a:pt x="352" y="60"/>
                  </a:lnTo>
                  <a:lnTo>
                    <a:pt x="352" y="60"/>
                  </a:lnTo>
                  <a:lnTo>
                    <a:pt x="352" y="58"/>
                  </a:lnTo>
                  <a:lnTo>
                    <a:pt x="352" y="54"/>
                  </a:lnTo>
                  <a:lnTo>
                    <a:pt x="354" y="52"/>
                  </a:lnTo>
                  <a:lnTo>
                    <a:pt x="354" y="50"/>
                  </a:lnTo>
                  <a:lnTo>
                    <a:pt x="354" y="50"/>
                  </a:lnTo>
                  <a:lnTo>
                    <a:pt x="356" y="48"/>
                  </a:lnTo>
                  <a:lnTo>
                    <a:pt x="356" y="48"/>
                  </a:lnTo>
                  <a:lnTo>
                    <a:pt x="356" y="48"/>
                  </a:lnTo>
                  <a:lnTo>
                    <a:pt x="360" y="46"/>
                  </a:lnTo>
                  <a:lnTo>
                    <a:pt x="362" y="46"/>
                  </a:lnTo>
                  <a:lnTo>
                    <a:pt x="364" y="46"/>
                  </a:lnTo>
                  <a:lnTo>
                    <a:pt x="364" y="44"/>
                  </a:lnTo>
                  <a:lnTo>
                    <a:pt x="366" y="42"/>
                  </a:lnTo>
                  <a:lnTo>
                    <a:pt x="366" y="40"/>
                  </a:lnTo>
                  <a:lnTo>
                    <a:pt x="368" y="38"/>
                  </a:lnTo>
                  <a:lnTo>
                    <a:pt x="370" y="36"/>
                  </a:lnTo>
                  <a:lnTo>
                    <a:pt x="370" y="34"/>
                  </a:lnTo>
                  <a:lnTo>
                    <a:pt x="370" y="32"/>
                  </a:lnTo>
                  <a:lnTo>
                    <a:pt x="370" y="30"/>
                  </a:lnTo>
                  <a:lnTo>
                    <a:pt x="370" y="30"/>
                  </a:lnTo>
                  <a:lnTo>
                    <a:pt x="370" y="28"/>
                  </a:lnTo>
                  <a:lnTo>
                    <a:pt x="370" y="28"/>
                  </a:lnTo>
                  <a:lnTo>
                    <a:pt x="370" y="26"/>
                  </a:lnTo>
                  <a:lnTo>
                    <a:pt x="370" y="26"/>
                  </a:lnTo>
                  <a:lnTo>
                    <a:pt x="368" y="26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62" y="24"/>
                  </a:lnTo>
                  <a:lnTo>
                    <a:pt x="358" y="24"/>
                  </a:lnTo>
                  <a:lnTo>
                    <a:pt x="354" y="24"/>
                  </a:lnTo>
                  <a:lnTo>
                    <a:pt x="352" y="24"/>
                  </a:lnTo>
                  <a:lnTo>
                    <a:pt x="350" y="24"/>
                  </a:lnTo>
                  <a:lnTo>
                    <a:pt x="348" y="24"/>
                  </a:lnTo>
                  <a:lnTo>
                    <a:pt x="346" y="22"/>
                  </a:lnTo>
                  <a:lnTo>
                    <a:pt x="340" y="22"/>
                  </a:lnTo>
                  <a:lnTo>
                    <a:pt x="336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0" y="22"/>
                  </a:lnTo>
                  <a:lnTo>
                    <a:pt x="328" y="20"/>
                  </a:lnTo>
                  <a:lnTo>
                    <a:pt x="326" y="20"/>
                  </a:lnTo>
                  <a:lnTo>
                    <a:pt x="324" y="18"/>
                  </a:lnTo>
                  <a:lnTo>
                    <a:pt x="320" y="16"/>
                  </a:lnTo>
                  <a:lnTo>
                    <a:pt x="318" y="14"/>
                  </a:lnTo>
                  <a:lnTo>
                    <a:pt x="314" y="12"/>
                  </a:lnTo>
                  <a:lnTo>
                    <a:pt x="312" y="12"/>
                  </a:lnTo>
                  <a:lnTo>
                    <a:pt x="310" y="10"/>
                  </a:lnTo>
                  <a:lnTo>
                    <a:pt x="304" y="8"/>
                  </a:lnTo>
                  <a:lnTo>
                    <a:pt x="302" y="8"/>
                  </a:lnTo>
                  <a:lnTo>
                    <a:pt x="298" y="8"/>
                  </a:lnTo>
                  <a:lnTo>
                    <a:pt x="294" y="6"/>
                  </a:lnTo>
                  <a:lnTo>
                    <a:pt x="294" y="6"/>
                  </a:lnTo>
                  <a:lnTo>
                    <a:pt x="292" y="6"/>
                  </a:lnTo>
                  <a:lnTo>
                    <a:pt x="290" y="6"/>
                  </a:lnTo>
                  <a:lnTo>
                    <a:pt x="290" y="8"/>
                  </a:lnTo>
                  <a:lnTo>
                    <a:pt x="288" y="8"/>
                  </a:lnTo>
                  <a:lnTo>
                    <a:pt x="288" y="8"/>
                  </a:lnTo>
                  <a:lnTo>
                    <a:pt x="286" y="8"/>
                  </a:lnTo>
                  <a:lnTo>
                    <a:pt x="286" y="10"/>
                  </a:lnTo>
                  <a:lnTo>
                    <a:pt x="286" y="10"/>
                  </a:lnTo>
                  <a:lnTo>
                    <a:pt x="286" y="10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6" y="14"/>
                  </a:lnTo>
                  <a:lnTo>
                    <a:pt x="286" y="14"/>
                  </a:lnTo>
                  <a:lnTo>
                    <a:pt x="286" y="14"/>
                  </a:lnTo>
                  <a:lnTo>
                    <a:pt x="286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90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6" y="18"/>
                  </a:lnTo>
                  <a:lnTo>
                    <a:pt x="296" y="2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50" name="Freeform 18">
              <a:extLst>
                <a:ext uri="{FF2B5EF4-FFF2-40B4-BE49-F238E27FC236}">
                  <a16:creationId xmlns:a16="http://schemas.microsoft.com/office/drawing/2014/main" id="{FB0FE867-B57E-4426-809D-E8ACEF3C3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6309" y="5831295"/>
              <a:ext cx="95672" cy="86918"/>
            </a:xfrm>
            <a:custGeom>
              <a:avLst/>
              <a:gdLst>
                <a:gd name="T0" fmla="*/ 8 w 56"/>
                <a:gd name="T1" fmla="*/ 0 h 52"/>
                <a:gd name="T2" fmla="*/ 10 w 56"/>
                <a:gd name="T3" fmla="*/ 0 h 52"/>
                <a:gd name="T4" fmla="*/ 12 w 56"/>
                <a:gd name="T5" fmla="*/ 0 h 52"/>
                <a:gd name="T6" fmla="*/ 14 w 56"/>
                <a:gd name="T7" fmla="*/ 0 h 52"/>
                <a:gd name="T8" fmla="*/ 22 w 56"/>
                <a:gd name="T9" fmla="*/ 4 h 52"/>
                <a:gd name="T10" fmla="*/ 28 w 56"/>
                <a:gd name="T11" fmla="*/ 4 h 52"/>
                <a:gd name="T12" fmla="*/ 30 w 56"/>
                <a:gd name="T13" fmla="*/ 4 h 52"/>
                <a:gd name="T14" fmla="*/ 42 w 56"/>
                <a:gd name="T15" fmla="*/ 4 h 52"/>
                <a:gd name="T16" fmla="*/ 48 w 56"/>
                <a:gd name="T17" fmla="*/ 2 h 52"/>
                <a:gd name="T18" fmla="*/ 52 w 56"/>
                <a:gd name="T19" fmla="*/ 2 h 52"/>
                <a:gd name="T20" fmla="*/ 54 w 56"/>
                <a:gd name="T21" fmla="*/ 4 h 52"/>
                <a:gd name="T22" fmla="*/ 56 w 56"/>
                <a:gd name="T23" fmla="*/ 6 h 52"/>
                <a:gd name="T24" fmla="*/ 56 w 56"/>
                <a:gd name="T25" fmla="*/ 8 h 52"/>
                <a:gd name="T26" fmla="*/ 56 w 56"/>
                <a:gd name="T27" fmla="*/ 10 h 52"/>
                <a:gd name="T28" fmla="*/ 56 w 56"/>
                <a:gd name="T29" fmla="*/ 16 h 52"/>
                <a:gd name="T30" fmla="*/ 54 w 56"/>
                <a:gd name="T31" fmla="*/ 20 h 52"/>
                <a:gd name="T32" fmla="*/ 52 w 56"/>
                <a:gd name="T33" fmla="*/ 22 h 52"/>
                <a:gd name="T34" fmla="*/ 50 w 56"/>
                <a:gd name="T35" fmla="*/ 26 h 52"/>
                <a:gd name="T36" fmla="*/ 48 w 56"/>
                <a:gd name="T37" fmla="*/ 30 h 52"/>
                <a:gd name="T38" fmla="*/ 44 w 56"/>
                <a:gd name="T39" fmla="*/ 32 h 52"/>
                <a:gd name="T40" fmla="*/ 44 w 56"/>
                <a:gd name="T41" fmla="*/ 34 h 52"/>
                <a:gd name="T42" fmla="*/ 44 w 56"/>
                <a:gd name="T43" fmla="*/ 40 h 52"/>
                <a:gd name="T44" fmla="*/ 44 w 56"/>
                <a:gd name="T45" fmla="*/ 44 h 52"/>
                <a:gd name="T46" fmla="*/ 42 w 56"/>
                <a:gd name="T47" fmla="*/ 46 h 52"/>
                <a:gd name="T48" fmla="*/ 42 w 56"/>
                <a:gd name="T49" fmla="*/ 46 h 52"/>
                <a:gd name="T50" fmla="*/ 40 w 56"/>
                <a:gd name="T51" fmla="*/ 48 h 52"/>
                <a:gd name="T52" fmla="*/ 36 w 56"/>
                <a:gd name="T53" fmla="*/ 50 h 52"/>
                <a:gd name="T54" fmla="*/ 28 w 56"/>
                <a:gd name="T55" fmla="*/ 50 h 52"/>
                <a:gd name="T56" fmla="*/ 22 w 56"/>
                <a:gd name="T57" fmla="*/ 52 h 52"/>
                <a:gd name="T58" fmla="*/ 16 w 56"/>
                <a:gd name="T59" fmla="*/ 52 h 52"/>
                <a:gd name="T60" fmla="*/ 14 w 56"/>
                <a:gd name="T61" fmla="*/ 50 h 52"/>
                <a:gd name="T62" fmla="*/ 12 w 56"/>
                <a:gd name="T63" fmla="*/ 50 h 52"/>
                <a:gd name="T64" fmla="*/ 8 w 56"/>
                <a:gd name="T65" fmla="*/ 48 h 52"/>
                <a:gd name="T66" fmla="*/ 6 w 56"/>
                <a:gd name="T67" fmla="*/ 46 h 52"/>
                <a:gd name="T68" fmla="*/ 4 w 56"/>
                <a:gd name="T69" fmla="*/ 44 h 52"/>
                <a:gd name="T70" fmla="*/ 2 w 56"/>
                <a:gd name="T71" fmla="*/ 38 h 52"/>
                <a:gd name="T72" fmla="*/ 2 w 56"/>
                <a:gd name="T73" fmla="*/ 32 h 52"/>
                <a:gd name="T74" fmla="*/ 0 w 56"/>
                <a:gd name="T75" fmla="*/ 26 h 52"/>
                <a:gd name="T76" fmla="*/ 2 w 56"/>
                <a:gd name="T77" fmla="*/ 18 h 52"/>
                <a:gd name="T78" fmla="*/ 2 w 56"/>
                <a:gd name="T79" fmla="*/ 12 h 52"/>
                <a:gd name="T80" fmla="*/ 4 w 56"/>
                <a:gd name="T81" fmla="*/ 6 h 52"/>
                <a:gd name="T82" fmla="*/ 6 w 56"/>
                <a:gd name="T83" fmla="*/ 4 h 52"/>
                <a:gd name="T84" fmla="*/ 8 w 56"/>
                <a:gd name="T85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" h="5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42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4" y="18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2" y="22"/>
                  </a:lnTo>
                  <a:lnTo>
                    <a:pt x="52" y="24"/>
                  </a:lnTo>
                  <a:lnTo>
                    <a:pt x="50" y="26"/>
                  </a:lnTo>
                  <a:lnTo>
                    <a:pt x="48" y="28"/>
                  </a:lnTo>
                  <a:lnTo>
                    <a:pt x="48" y="30"/>
                  </a:lnTo>
                  <a:lnTo>
                    <a:pt x="46" y="30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2"/>
                  </a:lnTo>
                  <a:lnTo>
                    <a:pt x="44" y="44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2" y="48"/>
                  </a:lnTo>
                  <a:lnTo>
                    <a:pt x="40" y="48"/>
                  </a:lnTo>
                  <a:lnTo>
                    <a:pt x="38" y="48"/>
                  </a:lnTo>
                  <a:lnTo>
                    <a:pt x="36" y="50"/>
                  </a:lnTo>
                  <a:lnTo>
                    <a:pt x="30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2" y="52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4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51" name="Freeform 20">
              <a:extLst>
                <a:ext uri="{FF2B5EF4-FFF2-40B4-BE49-F238E27FC236}">
                  <a16:creationId xmlns:a16="http://schemas.microsoft.com/office/drawing/2014/main" id="{85B2D4D9-C98C-44ED-A7CF-A3754462F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7516" y="5634057"/>
              <a:ext cx="112756" cy="223981"/>
            </a:xfrm>
            <a:custGeom>
              <a:avLst/>
              <a:gdLst>
                <a:gd name="T0" fmla="*/ 4 w 66"/>
                <a:gd name="T1" fmla="*/ 2 h 134"/>
                <a:gd name="T2" fmla="*/ 4 w 66"/>
                <a:gd name="T3" fmla="*/ 4 h 134"/>
                <a:gd name="T4" fmla="*/ 4 w 66"/>
                <a:gd name="T5" fmla="*/ 12 h 134"/>
                <a:gd name="T6" fmla="*/ 6 w 66"/>
                <a:gd name="T7" fmla="*/ 20 h 134"/>
                <a:gd name="T8" fmla="*/ 10 w 66"/>
                <a:gd name="T9" fmla="*/ 32 h 134"/>
                <a:gd name="T10" fmla="*/ 14 w 66"/>
                <a:gd name="T11" fmla="*/ 38 h 134"/>
                <a:gd name="T12" fmla="*/ 20 w 66"/>
                <a:gd name="T13" fmla="*/ 46 h 134"/>
                <a:gd name="T14" fmla="*/ 20 w 66"/>
                <a:gd name="T15" fmla="*/ 50 h 134"/>
                <a:gd name="T16" fmla="*/ 20 w 66"/>
                <a:gd name="T17" fmla="*/ 54 h 134"/>
                <a:gd name="T18" fmla="*/ 18 w 66"/>
                <a:gd name="T19" fmla="*/ 62 h 134"/>
                <a:gd name="T20" fmla="*/ 14 w 66"/>
                <a:gd name="T21" fmla="*/ 70 h 134"/>
                <a:gd name="T22" fmla="*/ 6 w 66"/>
                <a:gd name="T23" fmla="*/ 76 h 134"/>
                <a:gd name="T24" fmla="*/ 2 w 66"/>
                <a:gd name="T25" fmla="*/ 82 h 134"/>
                <a:gd name="T26" fmla="*/ 0 w 66"/>
                <a:gd name="T27" fmla="*/ 86 h 134"/>
                <a:gd name="T28" fmla="*/ 0 w 66"/>
                <a:gd name="T29" fmla="*/ 90 h 134"/>
                <a:gd name="T30" fmla="*/ 2 w 66"/>
                <a:gd name="T31" fmla="*/ 100 h 134"/>
                <a:gd name="T32" fmla="*/ 2 w 66"/>
                <a:gd name="T33" fmla="*/ 112 h 134"/>
                <a:gd name="T34" fmla="*/ 4 w 66"/>
                <a:gd name="T35" fmla="*/ 122 h 134"/>
                <a:gd name="T36" fmla="*/ 6 w 66"/>
                <a:gd name="T37" fmla="*/ 126 h 134"/>
                <a:gd name="T38" fmla="*/ 10 w 66"/>
                <a:gd name="T39" fmla="*/ 130 h 134"/>
                <a:gd name="T40" fmla="*/ 16 w 66"/>
                <a:gd name="T41" fmla="*/ 134 h 134"/>
                <a:gd name="T42" fmla="*/ 18 w 66"/>
                <a:gd name="T43" fmla="*/ 134 h 134"/>
                <a:gd name="T44" fmla="*/ 22 w 66"/>
                <a:gd name="T45" fmla="*/ 134 h 134"/>
                <a:gd name="T46" fmla="*/ 22 w 66"/>
                <a:gd name="T47" fmla="*/ 130 h 134"/>
                <a:gd name="T48" fmla="*/ 24 w 66"/>
                <a:gd name="T49" fmla="*/ 124 h 134"/>
                <a:gd name="T50" fmla="*/ 24 w 66"/>
                <a:gd name="T51" fmla="*/ 116 h 134"/>
                <a:gd name="T52" fmla="*/ 24 w 66"/>
                <a:gd name="T53" fmla="*/ 112 h 134"/>
                <a:gd name="T54" fmla="*/ 28 w 66"/>
                <a:gd name="T55" fmla="*/ 108 h 134"/>
                <a:gd name="T56" fmla="*/ 38 w 66"/>
                <a:gd name="T57" fmla="*/ 98 h 134"/>
                <a:gd name="T58" fmla="*/ 44 w 66"/>
                <a:gd name="T59" fmla="*/ 96 h 134"/>
                <a:gd name="T60" fmla="*/ 56 w 66"/>
                <a:gd name="T61" fmla="*/ 90 h 134"/>
                <a:gd name="T62" fmla="*/ 60 w 66"/>
                <a:gd name="T63" fmla="*/ 88 h 134"/>
                <a:gd name="T64" fmla="*/ 62 w 66"/>
                <a:gd name="T65" fmla="*/ 82 h 134"/>
                <a:gd name="T66" fmla="*/ 64 w 66"/>
                <a:gd name="T67" fmla="*/ 76 h 134"/>
                <a:gd name="T68" fmla="*/ 66 w 66"/>
                <a:gd name="T69" fmla="*/ 66 h 134"/>
                <a:gd name="T70" fmla="*/ 66 w 66"/>
                <a:gd name="T71" fmla="*/ 62 h 134"/>
                <a:gd name="T72" fmla="*/ 64 w 66"/>
                <a:gd name="T73" fmla="*/ 58 h 134"/>
                <a:gd name="T74" fmla="*/ 62 w 66"/>
                <a:gd name="T75" fmla="*/ 56 h 134"/>
                <a:gd name="T76" fmla="*/ 58 w 66"/>
                <a:gd name="T77" fmla="*/ 56 h 134"/>
                <a:gd name="T78" fmla="*/ 48 w 66"/>
                <a:gd name="T79" fmla="*/ 58 h 134"/>
                <a:gd name="T80" fmla="*/ 44 w 66"/>
                <a:gd name="T81" fmla="*/ 58 h 134"/>
                <a:gd name="T82" fmla="*/ 40 w 66"/>
                <a:gd name="T83" fmla="*/ 58 h 134"/>
                <a:gd name="T84" fmla="*/ 40 w 66"/>
                <a:gd name="T85" fmla="*/ 54 h 134"/>
                <a:gd name="T86" fmla="*/ 40 w 66"/>
                <a:gd name="T87" fmla="*/ 48 h 134"/>
                <a:gd name="T88" fmla="*/ 40 w 66"/>
                <a:gd name="T89" fmla="*/ 42 h 134"/>
                <a:gd name="T90" fmla="*/ 40 w 66"/>
                <a:gd name="T91" fmla="*/ 38 h 134"/>
                <a:gd name="T92" fmla="*/ 36 w 66"/>
                <a:gd name="T93" fmla="*/ 38 h 134"/>
                <a:gd name="T94" fmla="*/ 32 w 66"/>
                <a:gd name="T95" fmla="*/ 38 h 134"/>
                <a:gd name="T96" fmla="*/ 26 w 66"/>
                <a:gd name="T97" fmla="*/ 36 h 134"/>
                <a:gd name="T98" fmla="*/ 24 w 66"/>
                <a:gd name="T99" fmla="*/ 36 h 134"/>
                <a:gd name="T100" fmla="*/ 22 w 66"/>
                <a:gd name="T101" fmla="*/ 32 h 134"/>
                <a:gd name="T102" fmla="*/ 22 w 66"/>
                <a:gd name="T103" fmla="*/ 28 h 134"/>
                <a:gd name="T104" fmla="*/ 24 w 66"/>
                <a:gd name="T105" fmla="*/ 18 h 134"/>
                <a:gd name="T106" fmla="*/ 24 w 66"/>
                <a:gd name="T107" fmla="*/ 12 h 134"/>
                <a:gd name="T108" fmla="*/ 20 w 66"/>
                <a:gd name="T109" fmla="*/ 6 h 134"/>
                <a:gd name="T110" fmla="*/ 18 w 66"/>
                <a:gd name="T111" fmla="*/ 4 h 134"/>
                <a:gd name="T112" fmla="*/ 12 w 66"/>
                <a:gd name="T113" fmla="*/ 2 h 134"/>
                <a:gd name="T114" fmla="*/ 8 w 66"/>
                <a:gd name="T115" fmla="*/ 0 h 134"/>
                <a:gd name="T116" fmla="*/ 6 w 66"/>
                <a:gd name="T117" fmla="*/ 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" h="134">
                  <a:moveTo>
                    <a:pt x="6" y="2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6" y="18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8" y="28"/>
                  </a:lnTo>
                  <a:lnTo>
                    <a:pt x="10" y="32"/>
                  </a:lnTo>
                  <a:lnTo>
                    <a:pt x="12" y="36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8" y="42"/>
                  </a:lnTo>
                  <a:lnTo>
                    <a:pt x="18" y="44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4"/>
                  </a:lnTo>
                  <a:lnTo>
                    <a:pt x="20" y="56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16" y="64"/>
                  </a:lnTo>
                  <a:lnTo>
                    <a:pt x="14" y="68"/>
                  </a:lnTo>
                  <a:lnTo>
                    <a:pt x="14" y="70"/>
                  </a:lnTo>
                  <a:lnTo>
                    <a:pt x="12" y="70"/>
                  </a:lnTo>
                  <a:lnTo>
                    <a:pt x="10" y="72"/>
                  </a:lnTo>
                  <a:lnTo>
                    <a:pt x="6" y="76"/>
                  </a:lnTo>
                  <a:lnTo>
                    <a:pt x="4" y="78"/>
                  </a:lnTo>
                  <a:lnTo>
                    <a:pt x="2" y="80"/>
                  </a:lnTo>
                  <a:lnTo>
                    <a:pt x="2" y="82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2" y="94"/>
                  </a:lnTo>
                  <a:lnTo>
                    <a:pt x="2" y="96"/>
                  </a:lnTo>
                  <a:lnTo>
                    <a:pt x="2" y="100"/>
                  </a:lnTo>
                  <a:lnTo>
                    <a:pt x="2" y="104"/>
                  </a:lnTo>
                  <a:lnTo>
                    <a:pt x="2" y="108"/>
                  </a:lnTo>
                  <a:lnTo>
                    <a:pt x="2" y="112"/>
                  </a:lnTo>
                  <a:lnTo>
                    <a:pt x="4" y="118"/>
                  </a:lnTo>
                  <a:lnTo>
                    <a:pt x="4" y="120"/>
                  </a:lnTo>
                  <a:lnTo>
                    <a:pt x="4" y="122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6" y="126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32"/>
                  </a:lnTo>
                  <a:lnTo>
                    <a:pt x="14" y="132"/>
                  </a:lnTo>
                  <a:lnTo>
                    <a:pt x="16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20" y="134"/>
                  </a:lnTo>
                  <a:lnTo>
                    <a:pt x="20" y="134"/>
                  </a:lnTo>
                  <a:lnTo>
                    <a:pt x="22" y="134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8"/>
                  </a:lnTo>
                  <a:lnTo>
                    <a:pt x="24" y="116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2"/>
                  </a:lnTo>
                  <a:lnTo>
                    <a:pt x="26" y="110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4" y="102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40" y="98"/>
                  </a:lnTo>
                  <a:lnTo>
                    <a:pt x="44" y="96"/>
                  </a:lnTo>
                  <a:lnTo>
                    <a:pt x="50" y="92"/>
                  </a:lnTo>
                  <a:lnTo>
                    <a:pt x="54" y="92"/>
                  </a:lnTo>
                  <a:lnTo>
                    <a:pt x="56" y="90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0" y="86"/>
                  </a:lnTo>
                  <a:lnTo>
                    <a:pt x="62" y="84"/>
                  </a:lnTo>
                  <a:lnTo>
                    <a:pt x="62" y="82"/>
                  </a:lnTo>
                  <a:lnTo>
                    <a:pt x="64" y="80"/>
                  </a:lnTo>
                  <a:lnTo>
                    <a:pt x="64" y="78"/>
                  </a:lnTo>
                  <a:lnTo>
                    <a:pt x="64" y="76"/>
                  </a:lnTo>
                  <a:lnTo>
                    <a:pt x="66" y="74"/>
                  </a:lnTo>
                  <a:lnTo>
                    <a:pt x="66" y="70"/>
                  </a:lnTo>
                  <a:lnTo>
                    <a:pt x="66" y="66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2"/>
                  </a:lnTo>
                  <a:lnTo>
                    <a:pt x="66" y="60"/>
                  </a:lnTo>
                  <a:lnTo>
                    <a:pt x="66" y="58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4" y="56"/>
                  </a:lnTo>
                  <a:lnTo>
                    <a:pt x="62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52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6" y="58"/>
                  </a:lnTo>
                  <a:lnTo>
                    <a:pt x="44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0" y="58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0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0" y="38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0"/>
                  </a:lnTo>
                  <a:lnTo>
                    <a:pt x="22" y="28"/>
                  </a:lnTo>
                  <a:lnTo>
                    <a:pt x="22" y="26"/>
                  </a:lnTo>
                  <a:lnTo>
                    <a:pt x="24" y="20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2" y="10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52" name="Freeform 22">
              <a:extLst>
                <a:ext uri="{FF2B5EF4-FFF2-40B4-BE49-F238E27FC236}">
                  <a16:creationId xmlns:a16="http://schemas.microsoft.com/office/drawing/2014/main" id="{50255F3A-C761-4650-BBAD-B97F84033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8586" y="5814579"/>
              <a:ext cx="215262" cy="213952"/>
            </a:xfrm>
            <a:custGeom>
              <a:avLst/>
              <a:gdLst>
                <a:gd name="T0" fmla="*/ 98 w 126"/>
                <a:gd name="T1" fmla="*/ 4 h 128"/>
                <a:gd name="T2" fmla="*/ 96 w 126"/>
                <a:gd name="T3" fmla="*/ 8 h 128"/>
                <a:gd name="T4" fmla="*/ 96 w 126"/>
                <a:gd name="T5" fmla="*/ 16 h 128"/>
                <a:gd name="T6" fmla="*/ 96 w 126"/>
                <a:gd name="T7" fmla="*/ 22 h 128"/>
                <a:gd name="T8" fmla="*/ 94 w 126"/>
                <a:gd name="T9" fmla="*/ 24 h 128"/>
                <a:gd name="T10" fmla="*/ 92 w 126"/>
                <a:gd name="T11" fmla="*/ 26 h 128"/>
                <a:gd name="T12" fmla="*/ 82 w 126"/>
                <a:gd name="T13" fmla="*/ 30 h 128"/>
                <a:gd name="T14" fmla="*/ 76 w 126"/>
                <a:gd name="T15" fmla="*/ 32 h 128"/>
                <a:gd name="T16" fmla="*/ 74 w 126"/>
                <a:gd name="T17" fmla="*/ 36 h 128"/>
                <a:gd name="T18" fmla="*/ 68 w 126"/>
                <a:gd name="T19" fmla="*/ 44 h 128"/>
                <a:gd name="T20" fmla="*/ 62 w 126"/>
                <a:gd name="T21" fmla="*/ 52 h 128"/>
                <a:gd name="T22" fmla="*/ 58 w 126"/>
                <a:gd name="T23" fmla="*/ 54 h 128"/>
                <a:gd name="T24" fmla="*/ 52 w 126"/>
                <a:gd name="T25" fmla="*/ 58 h 128"/>
                <a:gd name="T26" fmla="*/ 36 w 126"/>
                <a:gd name="T27" fmla="*/ 64 h 128"/>
                <a:gd name="T28" fmla="*/ 26 w 126"/>
                <a:gd name="T29" fmla="*/ 68 h 128"/>
                <a:gd name="T30" fmla="*/ 14 w 126"/>
                <a:gd name="T31" fmla="*/ 76 h 128"/>
                <a:gd name="T32" fmla="*/ 4 w 126"/>
                <a:gd name="T33" fmla="*/ 84 h 128"/>
                <a:gd name="T34" fmla="*/ 0 w 126"/>
                <a:gd name="T35" fmla="*/ 90 h 128"/>
                <a:gd name="T36" fmla="*/ 0 w 126"/>
                <a:gd name="T37" fmla="*/ 94 h 128"/>
                <a:gd name="T38" fmla="*/ 0 w 126"/>
                <a:gd name="T39" fmla="*/ 98 h 128"/>
                <a:gd name="T40" fmla="*/ 2 w 126"/>
                <a:gd name="T41" fmla="*/ 104 h 128"/>
                <a:gd name="T42" fmla="*/ 8 w 126"/>
                <a:gd name="T43" fmla="*/ 114 h 128"/>
                <a:gd name="T44" fmla="*/ 16 w 126"/>
                <a:gd name="T45" fmla="*/ 122 h 128"/>
                <a:gd name="T46" fmla="*/ 20 w 126"/>
                <a:gd name="T47" fmla="*/ 126 h 128"/>
                <a:gd name="T48" fmla="*/ 24 w 126"/>
                <a:gd name="T49" fmla="*/ 128 h 128"/>
                <a:gd name="T50" fmla="*/ 28 w 126"/>
                <a:gd name="T51" fmla="*/ 128 h 128"/>
                <a:gd name="T52" fmla="*/ 34 w 126"/>
                <a:gd name="T53" fmla="*/ 126 h 128"/>
                <a:gd name="T54" fmla="*/ 40 w 126"/>
                <a:gd name="T55" fmla="*/ 122 h 128"/>
                <a:gd name="T56" fmla="*/ 48 w 126"/>
                <a:gd name="T57" fmla="*/ 112 h 128"/>
                <a:gd name="T58" fmla="*/ 54 w 126"/>
                <a:gd name="T59" fmla="*/ 104 h 128"/>
                <a:gd name="T60" fmla="*/ 58 w 126"/>
                <a:gd name="T61" fmla="*/ 98 h 128"/>
                <a:gd name="T62" fmla="*/ 60 w 126"/>
                <a:gd name="T63" fmla="*/ 88 h 128"/>
                <a:gd name="T64" fmla="*/ 62 w 126"/>
                <a:gd name="T65" fmla="*/ 84 h 128"/>
                <a:gd name="T66" fmla="*/ 70 w 126"/>
                <a:gd name="T67" fmla="*/ 78 h 128"/>
                <a:gd name="T68" fmla="*/ 78 w 126"/>
                <a:gd name="T69" fmla="*/ 72 h 128"/>
                <a:gd name="T70" fmla="*/ 84 w 126"/>
                <a:gd name="T71" fmla="*/ 68 h 128"/>
                <a:gd name="T72" fmla="*/ 90 w 126"/>
                <a:gd name="T73" fmla="*/ 70 h 128"/>
                <a:gd name="T74" fmla="*/ 94 w 126"/>
                <a:gd name="T75" fmla="*/ 68 h 128"/>
                <a:gd name="T76" fmla="*/ 96 w 126"/>
                <a:gd name="T77" fmla="*/ 68 h 128"/>
                <a:gd name="T78" fmla="*/ 98 w 126"/>
                <a:gd name="T79" fmla="*/ 62 h 128"/>
                <a:gd name="T80" fmla="*/ 100 w 126"/>
                <a:gd name="T81" fmla="*/ 52 h 128"/>
                <a:gd name="T82" fmla="*/ 102 w 126"/>
                <a:gd name="T83" fmla="*/ 50 h 128"/>
                <a:gd name="T84" fmla="*/ 110 w 126"/>
                <a:gd name="T85" fmla="*/ 40 h 128"/>
                <a:gd name="T86" fmla="*/ 116 w 126"/>
                <a:gd name="T87" fmla="*/ 34 h 128"/>
                <a:gd name="T88" fmla="*/ 124 w 126"/>
                <a:gd name="T89" fmla="*/ 26 h 128"/>
                <a:gd name="T90" fmla="*/ 126 w 126"/>
                <a:gd name="T91" fmla="*/ 24 h 128"/>
                <a:gd name="T92" fmla="*/ 126 w 126"/>
                <a:gd name="T93" fmla="*/ 20 h 128"/>
                <a:gd name="T94" fmla="*/ 124 w 126"/>
                <a:gd name="T95" fmla="*/ 12 h 128"/>
                <a:gd name="T96" fmla="*/ 122 w 126"/>
                <a:gd name="T97" fmla="*/ 8 h 128"/>
                <a:gd name="T98" fmla="*/ 120 w 126"/>
                <a:gd name="T99" fmla="*/ 8 h 128"/>
                <a:gd name="T100" fmla="*/ 120 w 126"/>
                <a:gd name="T101" fmla="*/ 8 h 128"/>
                <a:gd name="T102" fmla="*/ 116 w 126"/>
                <a:gd name="T103" fmla="*/ 12 h 128"/>
                <a:gd name="T104" fmla="*/ 114 w 126"/>
                <a:gd name="T105" fmla="*/ 16 h 128"/>
                <a:gd name="T106" fmla="*/ 114 w 126"/>
                <a:gd name="T107" fmla="*/ 16 h 128"/>
                <a:gd name="T108" fmla="*/ 112 w 126"/>
                <a:gd name="T109" fmla="*/ 14 h 128"/>
                <a:gd name="T110" fmla="*/ 112 w 126"/>
                <a:gd name="T111" fmla="*/ 10 h 128"/>
                <a:gd name="T112" fmla="*/ 112 w 126"/>
                <a:gd name="T113" fmla="*/ 4 h 128"/>
                <a:gd name="T114" fmla="*/ 112 w 126"/>
                <a:gd name="T115" fmla="*/ 2 h 128"/>
                <a:gd name="T116" fmla="*/ 108 w 126"/>
                <a:gd name="T117" fmla="*/ 0 h 128"/>
                <a:gd name="T118" fmla="*/ 102 w 126"/>
                <a:gd name="T119" fmla="*/ 2 h 128"/>
                <a:gd name="T120" fmla="*/ 98 w 126"/>
                <a:gd name="T121" fmla="*/ 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" h="128">
                  <a:moveTo>
                    <a:pt x="98" y="4"/>
                  </a:moveTo>
                  <a:lnTo>
                    <a:pt x="98" y="4"/>
                  </a:lnTo>
                  <a:lnTo>
                    <a:pt x="98" y="4"/>
                  </a:lnTo>
                  <a:lnTo>
                    <a:pt x="96" y="4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6" y="10"/>
                  </a:lnTo>
                  <a:lnTo>
                    <a:pt x="96" y="14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6" y="20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88" y="28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0" y="32"/>
                  </a:lnTo>
                  <a:lnTo>
                    <a:pt x="78" y="32"/>
                  </a:lnTo>
                  <a:lnTo>
                    <a:pt x="76" y="32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4" y="36"/>
                  </a:lnTo>
                  <a:lnTo>
                    <a:pt x="72" y="38"/>
                  </a:lnTo>
                  <a:lnTo>
                    <a:pt x="70" y="40"/>
                  </a:lnTo>
                  <a:lnTo>
                    <a:pt x="68" y="44"/>
                  </a:lnTo>
                  <a:lnTo>
                    <a:pt x="66" y="46"/>
                  </a:lnTo>
                  <a:lnTo>
                    <a:pt x="64" y="50"/>
                  </a:lnTo>
                  <a:lnTo>
                    <a:pt x="62" y="52"/>
                  </a:lnTo>
                  <a:lnTo>
                    <a:pt x="60" y="52"/>
                  </a:lnTo>
                  <a:lnTo>
                    <a:pt x="60" y="54"/>
                  </a:lnTo>
                  <a:lnTo>
                    <a:pt x="58" y="54"/>
                  </a:lnTo>
                  <a:lnTo>
                    <a:pt x="56" y="56"/>
                  </a:lnTo>
                  <a:lnTo>
                    <a:pt x="54" y="56"/>
                  </a:lnTo>
                  <a:lnTo>
                    <a:pt x="52" y="58"/>
                  </a:lnTo>
                  <a:lnTo>
                    <a:pt x="48" y="60"/>
                  </a:lnTo>
                  <a:lnTo>
                    <a:pt x="42" y="62"/>
                  </a:lnTo>
                  <a:lnTo>
                    <a:pt x="36" y="64"/>
                  </a:lnTo>
                  <a:lnTo>
                    <a:pt x="32" y="66"/>
                  </a:lnTo>
                  <a:lnTo>
                    <a:pt x="28" y="68"/>
                  </a:lnTo>
                  <a:lnTo>
                    <a:pt x="26" y="68"/>
                  </a:lnTo>
                  <a:lnTo>
                    <a:pt x="24" y="70"/>
                  </a:lnTo>
                  <a:lnTo>
                    <a:pt x="18" y="74"/>
                  </a:lnTo>
                  <a:lnTo>
                    <a:pt x="14" y="76"/>
                  </a:lnTo>
                  <a:lnTo>
                    <a:pt x="10" y="80"/>
                  </a:lnTo>
                  <a:lnTo>
                    <a:pt x="6" y="82"/>
                  </a:lnTo>
                  <a:lnTo>
                    <a:pt x="4" y="84"/>
                  </a:lnTo>
                  <a:lnTo>
                    <a:pt x="4" y="86"/>
                  </a:lnTo>
                  <a:lnTo>
                    <a:pt x="2" y="88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6"/>
                  </a:lnTo>
                  <a:lnTo>
                    <a:pt x="0" y="98"/>
                  </a:lnTo>
                  <a:lnTo>
                    <a:pt x="0" y="100"/>
                  </a:lnTo>
                  <a:lnTo>
                    <a:pt x="2" y="102"/>
                  </a:lnTo>
                  <a:lnTo>
                    <a:pt x="2" y="104"/>
                  </a:lnTo>
                  <a:lnTo>
                    <a:pt x="4" y="108"/>
                  </a:lnTo>
                  <a:lnTo>
                    <a:pt x="6" y="110"/>
                  </a:lnTo>
                  <a:lnTo>
                    <a:pt x="8" y="114"/>
                  </a:lnTo>
                  <a:lnTo>
                    <a:pt x="10" y="116"/>
                  </a:lnTo>
                  <a:lnTo>
                    <a:pt x="14" y="120"/>
                  </a:lnTo>
                  <a:lnTo>
                    <a:pt x="16" y="122"/>
                  </a:lnTo>
                  <a:lnTo>
                    <a:pt x="16" y="124"/>
                  </a:lnTo>
                  <a:lnTo>
                    <a:pt x="18" y="126"/>
                  </a:lnTo>
                  <a:lnTo>
                    <a:pt x="20" y="126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8" y="128"/>
                  </a:lnTo>
                  <a:lnTo>
                    <a:pt x="30" y="128"/>
                  </a:lnTo>
                  <a:lnTo>
                    <a:pt x="32" y="128"/>
                  </a:lnTo>
                  <a:lnTo>
                    <a:pt x="34" y="126"/>
                  </a:lnTo>
                  <a:lnTo>
                    <a:pt x="36" y="124"/>
                  </a:lnTo>
                  <a:lnTo>
                    <a:pt x="38" y="124"/>
                  </a:lnTo>
                  <a:lnTo>
                    <a:pt x="40" y="122"/>
                  </a:lnTo>
                  <a:lnTo>
                    <a:pt x="42" y="120"/>
                  </a:lnTo>
                  <a:lnTo>
                    <a:pt x="46" y="116"/>
                  </a:lnTo>
                  <a:lnTo>
                    <a:pt x="48" y="112"/>
                  </a:lnTo>
                  <a:lnTo>
                    <a:pt x="52" y="108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2"/>
                  </a:lnTo>
                  <a:lnTo>
                    <a:pt x="56" y="100"/>
                  </a:lnTo>
                  <a:lnTo>
                    <a:pt x="58" y="98"/>
                  </a:lnTo>
                  <a:lnTo>
                    <a:pt x="58" y="94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2" y="86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4" y="82"/>
                  </a:lnTo>
                  <a:lnTo>
                    <a:pt x="66" y="80"/>
                  </a:lnTo>
                  <a:lnTo>
                    <a:pt x="70" y="78"/>
                  </a:lnTo>
                  <a:lnTo>
                    <a:pt x="72" y="74"/>
                  </a:lnTo>
                  <a:lnTo>
                    <a:pt x="74" y="72"/>
                  </a:lnTo>
                  <a:lnTo>
                    <a:pt x="78" y="72"/>
                  </a:lnTo>
                  <a:lnTo>
                    <a:pt x="80" y="70"/>
                  </a:lnTo>
                  <a:lnTo>
                    <a:pt x="82" y="68"/>
                  </a:lnTo>
                  <a:lnTo>
                    <a:pt x="84" y="68"/>
                  </a:lnTo>
                  <a:lnTo>
                    <a:pt x="86" y="68"/>
                  </a:lnTo>
                  <a:lnTo>
                    <a:pt x="88" y="68"/>
                  </a:lnTo>
                  <a:lnTo>
                    <a:pt x="90" y="70"/>
                  </a:lnTo>
                  <a:lnTo>
                    <a:pt x="92" y="70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6" y="68"/>
                  </a:lnTo>
                  <a:lnTo>
                    <a:pt x="96" y="66"/>
                  </a:lnTo>
                  <a:lnTo>
                    <a:pt x="96" y="66"/>
                  </a:lnTo>
                  <a:lnTo>
                    <a:pt x="98" y="62"/>
                  </a:lnTo>
                  <a:lnTo>
                    <a:pt x="98" y="60"/>
                  </a:lnTo>
                  <a:lnTo>
                    <a:pt x="98" y="54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0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6" y="44"/>
                  </a:lnTo>
                  <a:lnTo>
                    <a:pt x="110" y="40"/>
                  </a:lnTo>
                  <a:lnTo>
                    <a:pt x="114" y="36"/>
                  </a:lnTo>
                  <a:lnTo>
                    <a:pt x="114" y="34"/>
                  </a:lnTo>
                  <a:lnTo>
                    <a:pt x="116" y="34"/>
                  </a:lnTo>
                  <a:lnTo>
                    <a:pt x="120" y="30"/>
                  </a:lnTo>
                  <a:lnTo>
                    <a:pt x="122" y="28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6" y="26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26" y="22"/>
                  </a:lnTo>
                  <a:lnTo>
                    <a:pt x="126" y="20"/>
                  </a:lnTo>
                  <a:lnTo>
                    <a:pt x="126" y="16"/>
                  </a:lnTo>
                  <a:lnTo>
                    <a:pt x="126" y="14"/>
                  </a:lnTo>
                  <a:lnTo>
                    <a:pt x="124" y="12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18" y="8"/>
                  </a:lnTo>
                  <a:lnTo>
                    <a:pt x="118" y="10"/>
                  </a:lnTo>
                  <a:lnTo>
                    <a:pt x="116" y="12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2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0" y="2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98" y="2"/>
                  </a:lnTo>
                  <a:lnTo>
                    <a:pt x="98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53" name="Freeform 24">
              <a:extLst>
                <a:ext uri="{FF2B5EF4-FFF2-40B4-BE49-F238E27FC236}">
                  <a16:creationId xmlns:a16="http://schemas.microsoft.com/office/drawing/2014/main" id="{5370239C-092C-4D78-B948-544A7B817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0615" y="3945844"/>
              <a:ext cx="41003" cy="80232"/>
            </a:xfrm>
            <a:custGeom>
              <a:avLst/>
              <a:gdLst>
                <a:gd name="T0" fmla="*/ 12 w 24"/>
                <a:gd name="T1" fmla="*/ 0 h 48"/>
                <a:gd name="T2" fmla="*/ 12 w 24"/>
                <a:gd name="T3" fmla="*/ 0 h 48"/>
                <a:gd name="T4" fmla="*/ 12 w 24"/>
                <a:gd name="T5" fmla="*/ 0 h 48"/>
                <a:gd name="T6" fmla="*/ 10 w 24"/>
                <a:gd name="T7" fmla="*/ 0 h 48"/>
                <a:gd name="T8" fmla="*/ 10 w 24"/>
                <a:gd name="T9" fmla="*/ 2 h 48"/>
                <a:gd name="T10" fmla="*/ 10 w 24"/>
                <a:gd name="T11" fmla="*/ 2 h 48"/>
                <a:gd name="T12" fmla="*/ 8 w 24"/>
                <a:gd name="T13" fmla="*/ 2 h 48"/>
                <a:gd name="T14" fmla="*/ 8 w 24"/>
                <a:gd name="T15" fmla="*/ 4 h 48"/>
                <a:gd name="T16" fmla="*/ 6 w 24"/>
                <a:gd name="T17" fmla="*/ 6 h 48"/>
                <a:gd name="T18" fmla="*/ 4 w 24"/>
                <a:gd name="T19" fmla="*/ 8 h 48"/>
                <a:gd name="T20" fmla="*/ 4 w 24"/>
                <a:gd name="T21" fmla="*/ 10 h 48"/>
                <a:gd name="T22" fmla="*/ 2 w 24"/>
                <a:gd name="T23" fmla="*/ 14 h 48"/>
                <a:gd name="T24" fmla="*/ 2 w 24"/>
                <a:gd name="T25" fmla="*/ 16 h 48"/>
                <a:gd name="T26" fmla="*/ 0 w 24"/>
                <a:gd name="T27" fmla="*/ 18 h 48"/>
                <a:gd name="T28" fmla="*/ 0 w 24"/>
                <a:gd name="T29" fmla="*/ 22 h 48"/>
                <a:gd name="T30" fmla="*/ 0 w 24"/>
                <a:gd name="T31" fmla="*/ 24 h 48"/>
                <a:gd name="T32" fmla="*/ 0 w 24"/>
                <a:gd name="T33" fmla="*/ 26 h 48"/>
                <a:gd name="T34" fmla="*/ 0 w 24"/>
                <a:gd name="T35" fmla="*/ 30 h 48"/>
                <a:gd name="T36" fmla="*/ 0 w 24"/>
                <a:gd name="T37" fmla="*/ 32 h 48"/>
                <a:gd name="T38" fmla="*/ 0 w 24"/>
                <a:gd name="T39" fmla="*/ 32 h 48"/>
                <a:gd name="T40" fmla="*/ 0 w 24"/>
                <a:gd name="T41" fmla="*/ 34 h 48"/>
                <a:gd name="T42" fmla="*/ 0 w 24"/>
                <a:gd name="T43" fmla="*/ 36 h 48"/>
                <a:gd name="T44" fmla="*/ 2 w 24"/>
                <a:gd name="T45" fmla="*/ 38 h 48"/>
                <a:gd name="T46" fmla="*/ 4 w 24"/>
                <a:gd name="T47" fmla="*/ 42 h 48"/>
                <a:gd name="T48" fmla="*/ 6 w 24"/>
                <a:gd name="T49" fmla="*/ 44 h 48"/>
                <a:gd name="T50" fmla="*/ 8 w 24"/>
                <a:gd name="T51" fmla="*/ 46 h 48"/>
                <a:gd name="T52" fmla="*/ 8 w 24"/>
                <a:gd name="T53" fmla="*/ 46 h 48"/>
                <a:gd name="T54" fmla="*/ 10 w 24"/>
                <a:gd name="T55" fmla="*/ 46 h 48"/>
                <a:gd name="T56" fmla="*/ 12 w 24"/>
                <a:gd name="T57" fmla="*/ 48 h 48"/>
                <a:gd name="T58" fmla="*/ 12 w 24"/>
                <a:gd name="T59" fmla="*/ 48 h 48"/>
                <a:gd name="T60" fmla="*/ 14 w 24"/>
                <a:gd name="T61" fmla="*/ 48 h 48"/>
                <a:gd name="T62" fmla="*/ 14 w 24"/>
                <a:gd name="T63" fmla="*/ 48 h 48"/>
                <a:gd name="T64" fmla="*/ 16 w 24"/>
                <a:gd name="T65" fmla="*/ 48 h 48"/>
                <a:gd name="T66" fmla="*/ 18 w 24"/>
                <a:gd name="T67" fmla="*/ 48 h 48"/>
                <a:gd name="T68" fmla="*/ 18 w 24"/>
                <a:gd name="T69" fmla="*/ 48 h 48"/>
                <a:gd name="T70" fmla="*/ 20 w 24"/>
                <a:gd name="T71" fmla="*/ 46 h 48"/>
                <a:gd name="T72" fmla="*/ 20 w 24"/>
                <a:gd name="T73" fmla="*/ 46 h 48"/>
                <a:gd name="T74" fmla="*/ 20 w 24"/>
                <a:gd name="T75" fmla="*/ 44 h 48"/>
                <a:gd name="T76" fmla="*/ 22 w 24"/>
                <a:gd name="T77" fmla="*/ 42 h 48"/>
                <a:gd name="T78" fmla="*/ 22 w 24"/>
                <a:gd name="T79" fmla="*/ 40 h 48"/>
                <a:gd name="T80" fmla="*/ 22 w 24"/>
                <a:gd name="T81" fmla="*/ 38 h 48"/>
                <a:gd name="T82" fmla="*/ 24 w 24"/>
                <a:gd name="T83" fmla="*/ 36 h 48"/>
                <a:gd name="T84" fmla="*/ 24 w 24"/>
                <a:gd name="T85" fmla="*/ 32 h 48"/>
                <a:gd name="T86" fmla="*/ 24 w 24"/>
                <a:gd name="T87" fmla="*/ 28 h 48"/>
                <a:gd name="T88" fmla="*/ 24 w 24"/>
                <a:gd name="T89" fmla="*/ 26 h 48"/>
                <a:gd name="T90" fmla="*/ 24 w 24"/>
                <a:gd name="T91" fmla="*/ 22 h 48"/>
                <a:gd name="T92" fmla="*/ 24 w 24"/>
                <a:gd name="T93" fmla="*/ 18 h 48"/>
                <a:gd name="T94" fmla="*/ 22 w 24"/>
                <a:gd name="T95" fmla="*/ 14 h 48"/>
                <a:gd name="T96" fmla="*/ 20 w 24"/>
                <a:gd name="T97" fmla="*/ 10 h 48"/>
                <a:gd name="T98" fmla="*/ 20 w 24"/>
                <a:gd name="T99" fmla="*/ 8 h 48"/>
                <a:gd name="T100" fmla="*/ 20 w 24"/>
                <a:gd name="T101" fmla="*/ 6 h 48"/>
                <a:gd name="T102" fmla="*/ 18 w 24"/>
                <a:gd name="T103" fmla="*/ 6 h 48"/>
                <a:gd name="T104" fmla="*/ 18 w 24"/>
                <a:gd name="T105" fmla="*/ 4 h 48"/>
                <a:gd name="T106" fmla="*/ 16 w 24"/>
                <a:gd name="T107" fmla="*/ 2 h 48"/>
                <a:gd name="T108" fmla="*/ 14 w 24"/>
                <a:gd name="T109" fmla="*/ 2 h 48"/>
                <a:gd name="T110" fmla="*/ 14 w 24"/>
                <a:gd name="T111" fmla="*/ 0 h 48"/>
                <a:gd name="T112" fmla="*/ 12 w 24"/>
                <a:gd name="T113" fmla="*/ 0 h 48"/>
                <a:gd name="T114" fmla="*/ 12 w 24"/>
                <a:gd name="T11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" h="4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4" y="42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4"/>
                  </a:lnTo>
                  <a:lnTo>
                    <a:pt x="22" y="42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6"/>
                  </a:lnTo>
                  <a:lnTo>
                    <a:pt x="24" y="22"/>
                  </a:lnTo>
                  <a:lnTo>
                    <a:pt x="24" y="18"/>
                  </a:lnTo>
                  <a:lnTo>
                    <a:pt x="22" y="14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54" name="Freeform 26">
              <a:extLst>
                <a:ext uri="{FF2B5EF4-FFF2-40B4-BE49-F238E27FC236}">
                  <a16:creationId xmlns:a16="http://schemas.microsoft.com/office/drawing/2014/main" id="{070774E5-64B3-4AFB-BB37-8FA9164D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727" y="3802094"/>
              <a:ext cx="208428" cy="106976"/>
            </a:xfrm>
            <a:custGeom>
              <a:avLst/>
              <a:gdLst>
                <a:gd name="T0" fmla="*/ 2 w 122"/>
                <a:gd name="T1" fmla="*/ 0 h 64"/>
                <a:gd name="T2" fmla="*/ 12 w 122"/>
                <a:gd name="T3" fmla="*/ 0 h 64"/>
                <a:gd name="T4" fmla="*/ 16 w 122"/>
                <a:gd name="T5" fmla="*/ 2 h 64"/>
                <a:gd name="T6" fmla="*/ 20 w 122"/>
                <a:gd name="T7" fmla="*/ 4 h 64"/>
                <a:gd name="T8" fmla="*/ 26 w 122"/>
                <a:gd name="T9" fmla="*/ 10 h 64"/>
                <a:gd name="T10" fmla="*/ 32 w 122"/>
                <a:gd name="T11" fmla="*/ 16 h 64"/>
                <a:gd name="T12" fmla="*/ 38 w 122"/>
                <a:gd name="T13" fmla="*/ 20 h 64"/>
                <a:gd name="T14" fmla="*/ 42 w 122"/>
                <a:gd name="T15" fmla="*/ 20 h 64"/>
                <a:gd name="T16" fmla="*/ 44 w 122"/>
                <a:gd name="T17" fmla="*/ 20 h 64"/>
                <a:gd name="T18" fmla="*/ 46 w 122"/>
                <a:gd name="T19" fmla="*/ 18 h 64"/>
                <a:gd name="T20" fmla="*/ 46 w 122"/>
                <a:gd name="T21" fmla="*/ 14 h 64"/>
                <a:gd name="T22" fmla="*/ 48 w 122"/>
                <a:gd name="T23" fmla="*/ 10 h 64"/>
                <a:gd name="T24" fmla="*/ 50 w 122"/>
                <a:gd name="T25" fmla="*/ 10 h 64"/>
                <a:gd name="T26" fmla="*/ 50 w 122"/>
                <a:gd name="T27" fmla="*/ 12 h 64"/>
                <a:gd name="T28" fmla="*/ 50 w 122"/>
                <a:gd name="T29" fmla="*/ 18 h 64"/>
                <a:gd name="T30" fmla="*/ 50 w 122"/>
                <a:gd name="T31" fmla="*/ 24 h 64"/>
                <a:gd name="T32" fmla="*/ 50 w 122"/>
                <a:gd name="T33" fmla="*/ 26 h 64"/>
                <a:gd name="T34" fmla="*/ 54 w 122"/>
                <a:gd name="T35" fmla="*/ 30 h 64"/>
                <a:gd name="T36" fmla="*/ 62 w 122"/>
                <a:gd name="T37" fmla="*/ 32 h 64"/>
                <a:gd name="T38" fmla="*/ 74 w 122"/>
                <a:gd name="T39" fmla="*/ 40 h 64"/>
                <a:gd name="T40" fmla="*/ 80 w 122"/>
                <a:gd name="T41" fmla="*/ 42 h 64"/>
                <a:gd name="T42" fmla="*/ 92 w 122"/>
                <a:gd name="T43" fmla="*/ 42 h 64"/>
                <a:gd name="T44" fmla="*/ 108 w 122"/>
                <a:gd name="T45" fmla="*/ 44 h 64"/>
                <a:gd name="T46" fmla="*/ 116 w 122"/>
                <a:gd name="T47" fmla="*/ 46 h 64"/>
                <a:gd name="T48" fmla="*/ 120 w 122"/>
                <a:gd name="T49" fmla="*/ 54 h 64"/>
                <a:gd name="T50" fmla="*/ 116 w 122"/>
                <a:gd name="T51" fmla="*/ 62 h 64"/>
                <a:gd name="T52" fmla="*/ 114 w 122"/>
                <a:gd name="T53" fmla="*/ 64 h 64"/>
                <a:gd name="T54" fmla="*/ 110 w 122"/>
                <a:gd name="T55" fmla="*/ 64 h 64"/>
                <a:gd name="T56" fmla="*/ 102 w 122"/>
                <a:gd name="T57" fmla="*/ 64 h 64"/>
                <a:gd name="T58" fmla="*/ 98 w 122"/>
                <a:gd name="T59" fmla="*/ 64 h 64"/>
                <a:gd name="T60" fmla="*/ 88 w 122"/>
                <a:gd name="T61" fmla="*/ 64 h 64"/>
                <a:gd name="T62" fmla="*/ 82 w 122"/>
                <a:gd name="T63" fmla="*/ 64 h 64"/>
                <a:gd name="T64" fmla="*/ 78 w 122"/>
                <a:gd name="T65" fmla="*/ 60 h 64"/>
                <a:gd name="T66" fmla="*/ 72 w 122"/>
                <a:gd name="T67" fmla="*/ 56 h 64"/>
                <a:gd name="T68" fmla="*/ 62 w 122"/>
                <a:gd name="T69" fmla="*/ 54 h 64"/>
                <a:gd name="T70" fmla="*/ 54 w 122"/>
                <a:gd name="T71" fmla="*/ 54 h 64"/>
                <a:gd name="T72" fmla="*/ 42 w 122"/>
                <a:gd name="T73" fmla="*/ 48 h 64"/>
                <a:gd name="T74" fmla="*/ 30 w 122"/>
                <a:gd name="T75" fmla="*/ 44 h 64"/>
                <a:gd name="T76" fmla="*/ 20 w 122"/>
                <a:gd name="T77" fmla="*/ 42 h 64"/>
                <a:gd name="T78" fmla="*/ 14 w 122"/>
                <a:gd name="T79" fmla="*/ 40 h 64"/>
                <a:gd name="T80" fmla="*/ 8 w 122"/>
                <a:gd name="T81" fmla="*/ 34 h 64"/>
                <a:gd name="T82" fmla="*/ 4 w 122"/>
                <a:gd name="T83" fmla="*/ 30 h 64"/>
                <a:gd name="T84" fmla="*/ 2 w 122"/>
                <a:gd name="T85" fmla="*/ 24 h 64"/>
                <a:gd name="T86" fmla="*/ 0 w 122"/>
                <a:gd name="T87" fmla="*/ 14 h 64"/>
                <a:gd name="T88" fmla="*/ 0 w 122"/>
                <a:gd name="T8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64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6" y="18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6" y="18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8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4" y="30"/>
                  </a:lnTo>
                  <a:lnTo>
                    <a:pt x="56" y="30"/>
                  </a:lnTo>
                  <a:lnTo>
                    <a:pt x="58" y="32"/>
                  </a:lnTo>
                  <a:lnTo>
                    <a:pt x="62" y="32"/>
                  </a:lnTo>
                  <a:lnTo>
                    <a:pt x="68" y="38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4" y="42"/>
                  </a:lnTo>
                  <a:lnTo>
                    <a:pt x="88" y="42"/>
                  </a:lnTo>
                  <a:lnTo>
                    <a:pt x="92" y="42"/>
                  </a:lnTo>
                  <a:lnTo>
                    <a:pt x="102" y="42"/>
                  </a:lnTo>
                  <a:lnTo>
                    <a:pt x="106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2" y="44"/>
                  </a:lnTo>
                  <a:lnTo>
                    <a:pt x="116" y="46"/>
                  </a:lnTo>
                  <a:lnTo>
                    <a:pt x="122" y="48"/>
                  </a:lnTo>
                  <a:lnTo>
                    <a:pt x="122" y="50"/>
                  </a:lnTo>
                  <a:lnTo>
                    <a:pt x="120" y="54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0" y="64"/>
                  </a:lnTo>
                  <a:lnTo>
                    <a:pt x="108" y="64"/>
                  </a:lnTo>
                  <a:lnTo>
                    <a:pt x="104" y="64"/>
                  </a:lnTo>
                  <a:lnTo>
                    <a:pt x="102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90" y="64"/>
                  </a:lnTo>
                  <a:lnTo>
                    <a:pt x="88" y="64"/>
                  </a:lnTo>
                  <a:lnTo>
                    <a:pt x="86" y="64"/>
                  </a:lnTo>
                  <a:lnTo>
                    <a:pt x="84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0" y="62"/>
                  </a:lnTo>
                  <a:lnTo>
                    <a:pt x="78" y="60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2" y="54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4" y="54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2" y="48"/>
                  </a:lnTo>
                  <a:lnTo>
                    <a:pt x="36" y="46"/>
                  </a:lnTo>
                  <a:lnTo>
                    <a:pt x="32" y="44"/>
                  </a:lnTo>
                  <a:lnTo>
                    <a:pt x="30" y="44"/>
                  </a:lnTo>
                  <a:lnTo>
                    <a:pt x="28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18" y="42"/>
                  </a:lnTo>
                  <a:lnTo>
                    <a:pt x="16" y="40"/>
                  </a:lnTo>
                  <a:lnTo>
                    <a:pt x="14" y="40"/>
                  </a:lnTo>
                  <a:lnTo>
                    <a:pt x="12" y="38"/>
                  </a:lnTo>
                  <a:lnTo>
                    <a:pt x="10" y="36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55" name="Freeform 31">
              <a:extLst>
                <a:ext uri="{FF2B5EF4-FFF2-40B4-BE49-F238E27FC236}">
                  <a16:creationId xmlns:a16="http://schemas.microsoft.com/office/drawing/2014/main" id="{AC8775CC-829F-480D-986C-7C2BC1A4C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4169" y="4059505"/>
              <a:ext cx="198177" cy="334300"/>
            </a:xfrm>
            <a:custGeom>
              <a:avLst/>
              <a:gdLst>
                <a:gd name="T0" fmla="*/ 20 w 116"/>
                <a:gd name="T1" fmla="*/ 172 h 200"/>
                <a:gd name="T2" fmla="*/ 26 w 116"/>
                <a:gd name="T3" fmla="*/ 162 h 200"/>
                <a:gd name="T4" fmla="*/ 30 w 116"/>
                <a:gd name="T5" fmla="*/ 152 h 200"/>
                <a:gd name="T6" fmla="*/ 30 w 116"/>
                <a:gd name="T7" fmla="*/ 148 h 200"/>
                <a:gd name="T8" fmla="*/ 28 w 116"/>
                <a:gd name="T9" fmla="*/ 144 h 200"/>
                <a:gd name="T10" fmla="*/ 20 w 116"/>
                <a:gd name="T11" fmla="*/ 138 h 200"/>
                <a:gd name="T12" fmla="*/ 16 w 116"/>
                <a:gd name="T13" fmla="*/ 132 h 200"/>
                <a:gd name="T14" fmla="*/ 14 w 116"/>
                <a:gd name="T15" fmla="*/ 118 h 200"/>
                <a:gd name="T16" fmla="*/ 12 w 116"/>
                <a:gd name="T17" fmla="*/ 104 h 200"/>
                <a:gd name="T18" fmla="*/ 14 w 116"/>
                <a:gd name="T19" fmla="*/ 88 h 200"/>
                <a:gd name="T20" fmla="*/ 16 w 116"/>
                <a:gd name="T21" fmla="*/ 80 h 200"/>
                <a:gd name="T22" fmla="*/ 14 w 116"/>
                <a:gd name="T23" fmla="*/ 76 h 200"/>
                <a:gd name="T24" fmla="*/ 6 w 116"/>
                <a:gd name="T25" fmla="*/ 66 h 200"/>
                <a:gd name="T26" fmla="*/ 0 w 116"/>
                <a:gd name="T27" fmla="*/ 56 h 200"/>
                <a:gd name="T28" fmla="*/ 0 w 116"/>
                <a:gd name="T29" fmla="*/ 44 h 200"/>
                <a:gd name="T30" fmla="*/ 0 w 116"/>
                <a:gd name="T31" fmla="*/ 32 h 200"/>
                <a:gd name="T32" fmla="*/ 2 w 116"/>
                <a:gd name="T33" fmla="*/ 28 h 200"/>
                <a:gd name="T34" fmla="*/ 6 w 116"/>
                <a:gd name="T35" fmla="*/ 24 h 200"/>
                <a:gd name="T36" fmla="*/ 16 w 116"/>
                <a:gd name="T37" fmla="*/ 22 h 200"/>
                <a:gd name="T38" fmla="*/ 24 w 116"/>
                <a:gd name="T39" fmla="*/ 14 h 200"/>
                <a:gd name="T40" fmla="*/ 30 w 116"/>
                <a:gd name="T41" fmla="*/ 6 h 200"/>
                <a:gd name="T42" fmla="*/ 36 w 116"/>
                <a:gd name="T43" fmla="*/ 16 h 200"/>
                <a:gd name="T44" fmla="*/ 38 w 116"/>
                <a:gd name="T45" fmla="*/ 26 h 200"/>
                <a:gd name="T46" fmla="*/ 42 w 116"/>
                <a:gd name="T47" fmla="*/ 30 h 200"/>
                <a:gd name="T48" fmla="*/ 48 w 116"/>
                <a:gd name="T49" fmla="*/ 36 h 200"/>
                <a:gd name="T50" fmla="*/ 56 w 116"/>
                <a:gd name="T51" fmla="*/ 38 h 200"/>
                <a:gd name="T52" fmla="*/ 64 w 116"/>
                <a:gd name="T53" fmla="*/ 50 h 200"/>
                <a:gd name="T54" fmla="*/ 68 w 116"/>
                <a:gd name="T55" fmla="*/ 56 h 200"/>
                <a:gd name="T56" fmla="*/ 72 w 116"/>
                <a:gd name="T57" fmla="*/ 58 h 200"/>
                <a:gd name="T58" fmla="*/ 76 w 116"/>
                <a:gd name="T59" fmla="*/ 54 h 200"/>
                <a:gd name="T60" fmla="*/ 80 w 116"/>
                <a:gd name="T61" fmla="*/ 48 h 200"/>
                <a:gd name="T62" fmla="*/ 84 w 116"/>
                <a:gd name="T63" fmla="*/ 48 h 200"/>
                <a:gd name="T64" fmla="*/ 88 w 116"/>
                <a:gd name="T65" fmla="*/ 50 h 200"/>
                <a:gd name="T66" fmla="*/ 94 w 116"/>
                <a:gd name="T67" fmla="*/ 60 h 200"/>
                <a:gd name="T68" fmla="*/ 100 w 116"/>
                <a:gd name="T69" fmla="*/ 76 h 200"/>
                <a:gd name="T70" fmla="*/ 104 w 116"/>
                <a:gd name="T71" fmla="*/ 88 h 200"/>
                <a:gd name="T72" fmla="*/ 108 w 116"/>
                <a:gd name="T73" fmla="*/ 92 h 200"/>
                <a:gd name="T74" fmla="*/ 114 w 116"/>
                <a:gd name="T75" fmla="*/ 92 h 200"/>
                <a:gd name="T76" fmla="*/ 116 w 116"/>
                <a:gd name="T77" fmla="*/ 96 h 200"/>
                <a:gd name="T78" fmla="*/ 116 w 116"/>
                <a:gd name="T79" fmla="*/ 102 h 200"/>
                <a:gd name="T80" fmla="*/ 114 w 116"/>
                <a:gd name="T81" fmla="*/ 118 h 200"/>
                <a:gd name="T82" fmla="*/ 104 w 116"/>
                <a:gd name="T83" fmla="*/ 120 h 200"/>
                <a:gd name="T84" fmla="*/ 98 w 116"/>
                <a:gd name="T85" fmla="*/ 120 h 200"/>
                <a:gd name="T86" fmla="*/ 92 w 116"/>
                <a:gd name="T87" fmla="*/ 114 h 200"/>
                <a:gd name="T88" fmla="*/ 88 w 116"/>
                <a:gd name="T89" fmla="*/ 112 h 200"/>
                <a:gd name="T90" fmla="*/ 84 w 116"/>
                <a:gd name="T91" fmla="*/ 112 h 200"/>
                <a:gd name="T92" fmla="*/ 78 w 116"/>
                <a:gd name="T93" fmla="*/ 116 h 200"/>
                <a:gd name="T94" fmla="*/ 70 w 116"/>
                <a:gd name="T95" fmla="*/ 126 h 200"/>
                <a:gd name="T96" fmla="*/ 66 w 116"/>
                <a:gd name="T97" fmla="*/ 140 h 200"/>
                <a:gd name="T98" fmla="*/ 58 w 116"/>
                <a:gd name="T99" fmla="*/ 140 h 200"/>
                <a:gd name="T100" fmla="*/ 52 w 116"/>
                <a:gd name="T101" fmla="*/ 140 h 200"/>
                <a:gd name="T102" fmla="*/ 48 w 116"/>
                <a:gd name="T103" fmla="*/ 142 h 200"/>
                <a:gd name="T104" fmla="*/ 44 w 116"/>
                <a:gd name="T105" fmla="*/ 150 h 200"/>
                <a:gd name="T106" fmla="*/ 40 w 116"/>
                <a:gd name="T107" fmla="*/ 164 h 200"/>
                <a:gd name="T108" fmla="*/ 40 w 116"/>
                <a:gd name="T109" fmla="*/ 172 h 200"/>
                <a:gd name="T110" fmla="*/ 46 w 116"/>
                <a:gd name="T111" fmla="*/ 180 h 200"/>
                <a:gd name="T112" fmla="*/ 32 w 116"/>
                <a:gd name="T113" fmla="*/ 196 h 200"/>
                <a:gd name="T114" fmla="*/ 22 w 116"/>
                <a:gd name="T115" fmla="*/ 18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6" h="200">
                  <a:moveTo>
                    <a:pt x="14" y="180"/>
                  </a:moveTo>
                  <a:lnTo>
                    <a:pt x="14" y="180"/>
                  </a:lnTo>
                  <a:lnTo>
                    <a:pt x="16" y="174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6" y="162"/>
                  </a:lnTo>
                  <a:lnTo>
                    <a:pt x="28" y="158"/>
                  </a:lnTo>
                  <a:lnTo>
                    <a:pt x="28" y="156"/>
                  </a:lnTo>
                  <a:lnTo>
                    <a:pt x="30" y="154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0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6"/>
                  </a:lnTo>
                  <a:lnTo>
                    <a:pt x="30" y="146"/>
                  </a:lnTo>
                  <a:lnTo>
                    <a:pt x="30" y="146"/>
                  </a:lnTo>
                  <a:lnTo>
                    <a:pt x="28" y="144"/>
                  </a:lnTo>
                  <a:lnTo>
                    <a:pt x="26" y="144"/>
                  </a:lnTo>
                  <a:lnTo>
                    <a:pt x="24" y="142"/>
                  </a:lnTo>
                  <a:lnTo>
                    <a:pt x="20" y="138"/>
                  </a:lnTo>
                  <a:lnTo>
                    <a:pt x="20" y="138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8" y="134"/>
                  </a:lnTo>
                  <a:lnTo>
                    <a:pt x="16" y="132"/>
                  </a:lnTo>
                  <a:lnTo>
                    <a:pt x="16" y="130"/>
                  </a:lnTo>
                  <a:lnTo>
                    <a:pt x="14" y="126"/>
                  </a:lnTo>
                  <a:lnTo>
                    <a:pt x="14" y="122"/>
                  </a:lnTo>
                  <a:lnTo>
                    <a:pt x="14" y="118"/>
                  </a:lnTo>
                  <a:lnTo>
                    <a:pt x="12" y="114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2"/>
                  </a:lnTo>
                  <a:lnTo>
                    <a:pt x="12" y="98"/>
                  </a:lnTo>
                  <a:lnTo>
                    <a:pt x="14" y="92"/>
                  </a:lnTo>
                  <a:lnTo>
                    <a:pt x="14" y="88"/>
                  </a:lnTo>
                  <a:lnTo>
                    <a:pt x="16" y="86"/>
                  </a:lnTo>
                  <a:lnTo>
                    <a:pt x="16" y="84"/>
                  </a:lnTo>
                  <a:lnTo>
                    <a:pt x="16" y="82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78"/>
                  </a:lnTo>
                  <a:lnTo>
                    <a:pt x="14" y="78"/>
                  </a:lnTo>
                  <a:lnTo>
                    <a:pt x="14" y="76"/>
                  </a:lnTo>
                  <a:lnTo>
                    <a:pt x="12" y="74"/>
                  </a:lnTo>
                  <a:lnTo>
                    <a:pt x="10" y="72"/>
                  </a:lnTo>
                  <a:lnTo>
                    <a:pt x="6" y="68"/>
                  </a:lnTo>
                  <a:lnTo>
                    <a:pt x="6" y="66"/>
                  </a:lnTo>
                  <a:lnTo>
                    <a:pt x="4" y="64"/>
                  </a:lnTo>
                  <a:lnTo>
                    <a:pt x="4" y="62"/>
                  </a:lnTo>
                  <a:lnTo>
                    <a:pt x="2" y="60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14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0"/>
                  </a:lnTo>
                  <a:lnTo>
                    <a:pt x="22" y="18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8" y="10"/>
                  </a:lnTo>
                  <a:lnTo>
                    <a:pt x="30" y="6"/>
                  </a:lnTo>
                  <a:lnTo>
                    <a:pt x="32" y="0"/>
                  </a:lnTo>
                  <a:lnTo>
                    <a:pt x="34" y="6"/>
                  </a:lnTo>
                  <a:lnTo>
                    <a:pt x="34" y="12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8" y="24"/>
                  </a:lnTo>
                  <a:lnTo>
                    <a:pt x="38" y="26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0" y="30"/>
                  </a:lnTo>
                  <a:lnTo>
                    <a:pt x="42" y="30"/>
                  </a:lnTo>
                  <a:lnTo>
                    <a:pt x="44" y="32"/>
                  </a:lnTo>
                  <a:lnTo>
                    <a:pt x="46" y="34"/>
                  </a:lnTo>
                  <a:lnTo>
                    <a:pt x="48" y="34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0" y="44"/>
                  </a:lnTo>
                  <a:lnTo>
                    <a:pt x="64" y="50"/>
                  </a:lnTo>
                  <a:lnTo>
                    <a:pt x="66" y="52"/>
                  </a:lnTo>
                  <a:lnTo>
                    <a:pt x="66" y="54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0" y="56"/>
                  </a:lnTo>
                  <a:lnTo>
                    <a:pt x="70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6" y="54"/>
                  </a:lnTo>
                  <a:lnTo>
                    <a:pt x="78" y="52"/>
                  </a:lnTo>
                  <a:lnTo>
                    <a:pt x="78" y="50"/>
                  </a:lnTo>
                  <a:lnTo>
                    <a:pt x="80" y="50"/>
                  </a:lnTo>
                  <a:lnTo>
                    <a:pt x="80" y="48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6" y="48"/>
                  </a:lnTo>
                  <a:lnTo>
                    <a:pt x="86" y="50"/>
                  </a:lnTo>
                  <a:lnTo>
                    <a:pt x="88" y="50"/>
                  </a:lnTo>
                  <a:lnTo>
                    <a:pt x="90" y="52"/>
                  </a:lnTo>
                  <a:lnTo>
                    <a:pt x="90" y="54"/>
                  </a:lnTo>
                  <a:lnTo>
                    <a:pt x="92" y="56"/>
                  </a:lnTo>
                  <a:lnTo>
                    <a:pt x="94" y="60"/>
                  </a:lnTo>
                  <a:lnTo>
                    <a:pt x="96" y="62"/>
                  </a:lnTo>
                  <a:lnTo>
                    <a:pt x="96" y="64"/>
                  </a:lnTo>
                  <a:lnTo>
                    <a:pt x="98" y="70"/>
                  </a:lnTo>
                  <a:lnTo>
                    <a:pt x="100" y="76"/>
                  </a:lnTo>
                  <a:lnTo>
                    <a:pt x="102" y="80"/>
                  </a:lnTo>
                  <a:lnTo>
                    <a:pt x="102" y="84"/>
                  </a:lnTo>
                  <a:lnTo>
                    <a:pt x="104" y="86"/>
                  </a:lnTo>
                  <a:lnTo>
                    <a:pt x="104" y="88"/>
                  </a:lnTo>
                  <a:lnTo>
                    <a:pt x="106" y="90"/>
                  </a:lnTo>
                  <a:lnTo>
                    <a:pt x="106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10" y="92"/>
                  </a:lnTo>
                  <a:lnTo>
                    <a:pt x="112" y="92"/>
                  </a:lnTo>
                  <a:lnTo>
                    <a:pt x="114" y="92"/>
                  </a:lnTo>
                  <a:lnTo>
                    <a:pt x="114" y="92"/>
                  </a:lnTo>
                  <a:lnTo>
                    <a:pt x="114" y="94"/>
                  </a:lnTo>
                  <a:lnTo>
                    <a:pt x="116" y="94"/>
                  </a:lnTo>
                  <a:lnTo>
                    <a:pt x="116" y="96"/>
                  </a:lnTo>
                  <a:lnTo>
                    <a:pt x="116" y="98"/>
                  </a:lnTo>
                  <a:lnTo>
                    <a:pt x="116" y="98"/>
                  </a:lnTo>
                  <a:lnTo>
                    <a:pt x="116" y="100"/>
                  </a:lnTo>
                  <a:lnTo>
                    <a:pt x="116" y="102"/>
                  </a:lnTo>
                  <a:lnTo>
                    <a:pt x="116" y="106"/>
                  </a:lnTo>
                  <a:lnTo>
                    <a:pt x="116" y="110"/>
                  </a:lnTo>
                  <a:lnTo>
                    <a:pt x="116" y="114"/>
                  </a:lnTo>
                  <a:lnTo>
                    <a:pt x="114" y="118"/>
                  </a:lnTo>
                  <a:lnTo>
                    <a:pt x="112" y="118"/>
                  </a:lnTo>
                  <a:lnTo>
                    <a:pt x="108" y="118"/>
                  </a:lnTo>
                  <a:lnTo>
                    <a:pt x="106" y="120"/>
                  </a:lnTo>
                  <a:lnTo>
                    <a:pt x="104" y="120"/>
                  </a:lnTo>
                  <a:lnTo>
                    <a:pt x="102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6" y="118"/>
                  </a:lnTo>
                  <a:lnTo>
                    <a:pt x="94" y="116"/>
                  </a:lnTo>
                  <a:lnTo>
                    <a:pt x="92" y="114"/>
                  </a:lnTo>
                  <a:lnTo>
                    <a:pt x="90" y="114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0" y="114"/>
                  </a:lnTo>
                  <a:lnTo>
                    <a:pt x="78" y="116"/>
                  </a:lnTo>
                  <a:lnTo>
                    <a:pt x="76" y="118"/>
                  </a:lnTo>
                  <a:lnTo>
                    <a:pt x="74" y="120"/>
                  </a:lnTo>
                  <a:lnTo>
                    <a:pt x="72" y="124"/>
                  </a:lnTo>
                  <a:lnTo>
                    <a:pt x="70" y="126"/>
                  </a:lnTo>
                  <a:lnTo>
                    <a:pt x="70" y="130"/>
                  </a:lnTo>
                  <a:lnTo>
                    <a:pt x="68" y="132"/>
                  </a:lnTo>
                  <a:lnTo>
                    <a:pt x="68" y="136"/>
                  </a:lnTo>
                  <a:lnTo>
                    <a:pt x="66" y="140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2" y="142"/>
                  </a:lnTo>
                  <a:lnTo>
                    <a:pt x="58" y="140"/>
                  </a:lnTo>
                  <a:lnTo>
                    <a:pt x="56" y="140"/>
                  </a:lnTo>
                  <a:lnTo>
                    <a:pt x="54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48" y="140"/>
                  </a:lnTo>
                  <a:lnTo>
                    <a:pt x="48" y="142"/>
                  </a:lnTo>
                  <a:lnTo>
                    <a:pt x="46" y="144"/>
                  </a:lnTo>
                  <a:lnTo>
                    <a:pt x="46" y="146"/>
                  </a:lnTo>
                  <a:lnTo>
                    <a:pt x="44" y="148"/>
                  </a:lnTo>
                  <a:lnTo>
                    <a:pt x="44" y="150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2" y="158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0" y="170"/>
                  </a:lnTo>
                  <a:lnTo>
                    <a:pt x="40" y="170"/>
                  </a:lnTo>
                  <a:lnTo>
                    <a:pt x="40" y="172"/>
                  </a:lnTo>
                  <a:lnTo>
                    <a:pt x="42" y="172"/>
                  </a:lnTo>
                  <a:lnTo>
                    <a:pt x="42" y="176"/>
                  </a:lnTo>
                  <a:lnTo>
                    <a:pt x="44" y="178"/>
                  </a:lnTo>
                  <a:lnTo>
                    <a:pt x="46" y="180"/>
                  </a:lnTo>
                  <a:lnTo>
                    <a:pt x="48" y="184"/>
                  </a:lnTo>
                  <a:lnTo>
                    <a:pt x="50" y="186"/>
                  </a:lnTo>
                  <a:lnTo>
                    <a:pt x="36" y="200"/>
                  </a:lnTo>
                  <a:lnTo>
                    <a:pt x="32" y="196"/>
                  </a:lnTo>
                  <a:lnTo>
                    <a:pt x="28" y="194"/>
                  </a:lnTo>
                  <a:lnTo>
                    <a:pt x="26" y="192"/>
                  </a:lnTo>
                  <a:lnTo>
                    <a:pt x="24" y="190"/>
                  </a:lnTo>
                  <a:lnTo>
                    <a:pt x="22" y="188"/>
                  </a:lnTo>
                  <a:lnTo>
                    <a:pt x="18" y="184"/>
                  </a:lnTo>
                  <a:lnTo>
                    <a:pt x="14" y="18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56" name="Freeform 33">
              <a:extLst>
                <a:ext uri="{FF2B5EF4-FFF2-40B4-BE49-F238E27FC236}">
                  <a16:creationId xmlns:a16="http://schemas.microsoft.com/office/drawing/2014/main" id="{C35B74C4-3230-45F5-8074-775048CFE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5537" y="3628258"/>
              <a:ext cx="307517" cy="357701"/>
            </a:xfrm>
            <a:custGeom>
              <a:avLst/>
              <a:gdLst>
                <a:gd name="T0" fmla="*/ 132 w 180"/>
                <a:gd name="T1" fmla="*/ 2 h 214"/>
                <a:gd name="T2" fmla="*/ 124 w 180"/>
                <a:gd name="T3" fmla="*/ 6 h 214"/>
                <a:gd name="T4" fmla="*/ 122 w 180"/>
                <a:gd name="T5" fmla="*/ 24 h 214"/>
                <a:gd name="T6" fmla="*/ 114 w 180"/>
                <a:gd name="T7" fmla="*/ 48 h 214"/>
                <a:gd name="T8" fmla="*/ 108 w 180"/>
                <a:gd name="T9" fmla="*/ 56 h 214"/>
                <a:gd name="T10" fmla="*/ 100 w 180"/>
                <a:gd name="T11" fmla="*/ 62 h 214"/>
                <a:gd name="T12" fmla="*/ 98 w 180"/>
                <a:gd name="T13" fmla="*/ 76 h 214"/>
                <a:gd name="T14" fmla="*/ 94 w 180"/>
                <a:gd name="T15" fmla="*/ 80 h 214"/>
                <a:gd name="T16" fmla="*/ 84 w 180"/>
                <a:gd name="T17" fmla="*/ 80 h 214"/>
                <a:gd name="T18" fmla="*/ 66 w 180"/>
                <a:gd name="T19" fmla="*/ 90 h 214"/>
                <a:gd name="T20" fmla="*/ 54 w 180"/>
                <a:gd name="T21" fmla="*/ 100 h 214"/>
                <a:gd name="T22" fmla="*/ 50 w 180"/>
                <a:gd name="T23" fmla="*/ 112 h 214"/>
                <a:gd name="T24" fmla="*/ 46 w 180"/>
                <a:gd name="T25" fmla="*/ 116 h 214"/>
                <a:gd name="T26" fmla="*/ 22 w 180"/>
                <a:gd name="T27" fmla="*/ 116 h 214"/>
                <a:gd name="T28" fmla="*/ 8 w 180"/>
                <a:gd name="T29" fmla="*/ 118 h 214"/>
                <a:gd name="T30" fmla="*/ 4 w 180"/>
                <a:gd name="T31" fmla="*/ 124 h 214"/>
                <a:gd name="T32" fmla="*/ 2 w 180"/>
                <a:gd name="T33" fmla="*/ 140 h 214"/>
                <a:gd name="T34" fmla="*/ 6 w 180"/>
                <a:gd name="T35" fmla="*/ 146 h 214"/>
                <a:gd name="T36" fmla="*/ 14 w 180"/>
                <a:gd name="T37" fmla="*/ 148 h 214"/>
                <a:gd name="T38" fmla="*/ 18 w 180"/>
                <a:gd name="T39" fmla="*/ 150 h 214"/>
                <a:gd name="T40" fmla="*/ 22 w 180"/>
                <a:gd name="T41" fmla="*/ 158 h 214"/>
                <a:gd name="T42" fmla="*/ 16 w 180"/>
                <a:gd name="T43" fmla="*/ 166 h 214"/>
                <a:gd name="T44" fmla="*/ 2 w 180"/>
                <a:gd name="T45" fmla="*/ 172 h 214"/>
                <a:gd name="T46" fmla="*/ 12 w 180"/>
                <a:gd name="T47" fmla="*/ 174 h 214"/>
                <a:gd name="T48" fmla="*/ 16 w 180"/>
                <a:gd name="T49" fmla="*/ 182 h 214"/>
                <a:gd name="T50" fmla="*/ 20 w 180"/>
                <a:gd name="T51" fmla="*/ 188 h 214"/>
                <a:gd name="T52" fmla="*/ 34 w 180"/>
                <a:gd name="T53" fmla="*/ 190 h 214"/>
                <a:gd name="T54" fmla="*/ 52 w 180"/>
                <a:gd name="T55" fmla="*/ 184 h 214"/>
                <a:gd name="T56" fmla="*/ 60 w 180"/>
                <a:gd name="T57" fmla="*/ 182 h 214"/>
                <a:gd name="T58" fmla="*/ 62 w 180"/>
                <a:gd name="T59" fmla="*/ 188 h 214"/>
                <a:gd name="T60" fmla="*/ 64 w 180"/>
                <a:gd name="T61" fmla="*/ 196 h 214"/>
                <a:gd name="T62" fmla="*/ 80 w 180"/>
                <a:gd name="T63" fmla="*/ 206 h 214"/>
                <a:gd name="T64" fmla="*/ 100 w 180"/>
                <a:gd name="T65" fmla="*/ 206 h 214"/>
                <a:gd name="T66" fmla="*/ 112 w 180"/>
                <a:gd name="T67" fmla="*/ 206 h 214"/>
                <a:gd name="T68" fmla="*/ 128 w 180"/>
                <a:gd name="T69" fmla="*/ 208 h 214"/>
                <a:gd name="T70" fmla="*/ 132 w 180"/>
                <a:gd name="T71" fmla="*/ 204 h 214"/>
                <a:gd name="T72" fmla="*/ 132 w 180"/>
                <a:gd name="T73" fmla="*/ 194 h 214"/>
                <a:gd name="T74" fmla="*/ 120 w 180"/>
                <a:gd name="T75" fmla="*/ 178 h 214"/>
                <a:gd name="T76" fmla="*/ 106 w 180"/>
                <a:gd name="T77" fmla="*/ 164 h 214"/>
                <a:gd name="T78" fmla="*/ 104 w 180"/>
                <a:gd name="T79" fmla="*/ 158 h 214"/>
                <a:gd name="T80" fmla="*/ 108 w 180"/>
                <a:gd name="T81" fmla="*/ 146 h 214"/>
                <a:gd name="T82" fmla="*/ 118 w 180"/>
                <a:gd name="T83" fmla="*/ 136 h 214"/>
                <a:gd name="T84" fmla="*/ 130 w 180"/>
                <a:gd name="T85" fmla="*/ 142 h 214"/>
                <a:gd name="T86" fmla="*/ 142 w 180"/>
                <a:gd name="T87" fmla="*/ 146 h 214"/>
                <a:gd name="T88" fmla="*/ 144 w 180"/>
                <a:gd name="T89" fmla="*/ 142 h 214"/>
                <a:gd name="T90" fmla="*/ 148 w 180"/>
                <a:gd name="T91" fmla="*/ 130 h 214"/>
                <a:gd name="T92" fmla="*/ 150 w 180"/>
                <a:gd name="T93" fmla="*/ 120 h 214"/>
                <a:gd name="T94" fmla="*/ 164 w 180"/>
                <a:gd name="T95" fmla="*/ 110 h 214"/>
                <a:gd name="T96" fmla="*/ 168 w 180"/>
                <a:gd name="T97" fmla="*/ 98 h 214"/>
                <a:gd name="T98" fmla="*/ 178 w 180"/>
                <a:gd name="T99" fmla="*/ 88 h 214"/>
                <a:gd name="T100" fmla="*/ 180 w 180"/>
                <a:gd name="T101" fmla="*/ 82 h 214"/>
                <a:gd name="T102" fmla="*/ 176 w 180"/>
                <a:gd name="T103" fmla="*/ 62 h 214"/>
                <a:gd name="T104" fmla="*/ 164 w 180"/>
                <a:gd name="T105" fmla="*/ 54 h 214"/>
                <a:gd name="T106" fmla="*/ 164 w 180"/>
                <a:gd name="T107" fmla="*/ 44 h 214"/>
                <a:gd name="T108" fmla="*/ 166 w 180"/>
                <a:gd name="T109" fmla="*/ 32 h 214"/>
                <a:gd name="T110" fmla="*/ 158 w 180"/>
                <a:gd name="T111" fmla="*/ 24 h 214"/>
                <a:gd name="T112" fmla="*/ 160 w 180"/>
                <a:gd name="T113" fmla="*/ 16 h 214"/>
                <a:gd name="T114" fmla="*/ 146 w 180"/>
                <a:gd name="T115" fmla="*/ 2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0" h="214">
                  <a:moveTo>
                    <a:pt x="138" y="0"/>
                  </a:move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4" y="2"/>
                  </a:lnTo>
                  <a:lnTo>
                    <a:pt x="132" y="2"/>
                  </a:lnTo>
                  <a:lnTo>
                    <a:pt x="130" y="2"/>
                  </a:lnTo>
                  <a:lnTo>
                    <a:pt x="128" y="4"/>
                  </a:lnTo>
                  <a:lnTo>
                    <a:pt x="126" y="4"/>
                  </a:lnTo>
                  <a:lnTo>
                    <a:pt x="126" y="6"/>
                  </a:lnTo>
                  <a:lnTo>
                    <a:pt x="124" y="6"/>
                  </a:lnTo>
                  <a:lnTo>
                    <a:pt x="124" y="6"/>
                  </a:lnTo>
                  <a:lnTo>
                    <a:pt x="124" y="8"/>
                  </a:lnTo>
                  <a:lnTo>
                    <a:pt x="122" y="12"/>
                  </a:lnTo>
                  <a:lnTo>
                    <a:pt x="122" y="14"/>
                  </a:lnTo>
                  <a:lnTo>
                    <a:pt x="122" y="18"/>
                  </a:lnTo>
                  <a:lnTo>
                    <a:pt x="122" y="22"/>
                  </a:lnTo>
                  <a:lnTo>
                    <a:pt x="122" y="24"/>
                  </a:lnTo>
                  <a:lnTo>
                    <a:pt x="120" y="26"/>
                  </a:lnTo>
                  <a:lnTo>
                    <a:pt x="120" y="30"/>
                  </a:lnTo>
                  <a:lnTo>
                    <a:pt x="118" y="36"/>
                  </a:lnTo>
                  <a:lnTo>
                    <a:pt x="116" y="40"/>
                  </a:lnTo>
                  <a:lnTo>
                    <a:pt x="114" y="44"/>
                  </a:lnTo>
                  <a:lnTo>
                    <a:pt x="114" y="48"/>
                  </a:lnTo>
                  <a:lnTo>
                    <a:pt x="112" y="50"/>
                  </a:lnTo>
                  <a:lnTo>
                    <a:pt x="112" y="52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2" y="60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98" y="64"/>
                  </a:lnTo>
                  <a:lnTo>
                    <a:pt x="98" y="68"/>
                  </a:lnTo>
                  <a:lnTo>
                    <a:pt x="98" y="70"/>
                  </a:lnTo>
                  <a:lnTo>
                    <a:pt x="98" y="72"/>
                  </a:lnTo>
                  <a:lnTo>
                    <a:pt x="98" y="76"/>
                  </a:lnTo>
                  <a:lnTo>
                    <a:pt x="98" y="76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2" y="80"/>
                  </a:lnTo>
                  <a:lnTo>
                    <a:pt x="90" y="80"/>
                  </a:lnTo>
                  <a:lnTo>
                    <a:pt x="86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2" y="80"/>
                  </a:lnTo>
                  <a:lnTo>
                    <a:pt x="80" y="82"/>
                  </a:lnTo>
                  <a:lnTo>
                    <a:pt x="78" y="82"/>
                  </a:lnTo>
                  <a:lnTo>
                    <a:pt x="74" y="84"/>
                  </a:lnTo>
                  <a:lnTo>
                    <a:pt x="70" y="88"/>
                  </a:lnTo>
                  <a:lnTo>
                    <a:pt x="66" y="90"/>
                  </a:lnTo>
                  <a:lnTo>
                    <a:pt x="64" y="92"/>
                  </a:lnTo>
                  <a:lnTo>
                    <a:pt x="60" y="94"/>
                  </a:lnTo>
                  <a:lnTo>
                    <a:pt x="58" y="96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4" y="100"/>
                  </a:lnTo>
                  <a:lnTo>
                    <a:pt x="54" y="100"/>
                  </a:lnTo>
                  <a:lnTo>
                    <a:pt x="54" y="102"/>
                  </a:lnTo>
                  <a:lnTo>
                    <a:pt x="52" y="106"/>
                  </a:lnTo>
                  <a:lnTo>
                    <a:pt x="52" y="108"/>
                  </a:lnTo>
                  <a:lnTo>
                    <a:pt x="52" y="110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6" y="116"/>
                  </a:lnTo>
                  <a:lnTo>
                    <a:pt x="42" y="116"/>
                  </a:lnTo>
                  <a:lnTo>
                    <a:pt x="40" y="116"/>
                  </a:lnTo>
                  <a:lnTo>
                    <a:pt x="38" y="116"/>
                  </a:lnTo>
                  <a:lnTo>
                    <a:pt x="34" y="116"/>
                  </a:lnTo>
                  <a:lnTo>
                    <a:pt x="28" y="116"/>
                  </a:lnTo>
                  <a:lnTo>
                    <a:pt x="22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4" y="116"/>
                  </a:lnTo>
                  <a:lnTo>
                    <a:pt x="12" y="116"/>
                  </a:lnTo>
                  <a:lnTo>
                    <a:pt x="10" y="116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6" y="120"/>
                  </a:lnTo>
                  <a:lnTo>
                    <a:pt x="4" y="122"/>
                  </a:lnTo>
                  <a:lnTo>
                    <a:pt x="4" y="124"/>
                  </a:lnTo>
                  <a:lnTo>
                    <a:pt x="2" y="128"/>
                  </a:lnTo>
                  <a:lnTo>
                    <a:pt x="0" y="130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8"/>
                  </a:lnTo>
                  <a:lnTo>
                    <a:pt x="2" y="140"/>
                  </a:lnTo>
                  <a:lnTo>
                    <a:pt x="2" y="142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6" y="146"/>
                  </a:lnTo>
                  <a:lnTo>
                    <a:pt x="6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0" y="148"/>
                  </a:lnTo>
                  <a:lnTo>
                    <a:pt x="12" y="148"/>
                  </a:lnTo>
                  <a:lnTo>
                    <a:pt x="14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8" y="148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20" y="152"/>
                  </a:lnTo>
                  <a:lnTo>
                    <a:pt x="20" y="154"/>
                  </a:lnTo>
                  <a:lnTo>
                    <a:pt x="20" y="154"/>
                  </a:lnTo>
                  <a:lnTo>
                    <a:pt x="22" y="156"/>
                  </a:lnTo>
                  <a:lnTo>
                    <a:pt x="22" y="156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18" y="162"/>
                  </a:lnTo>
                  <a:lnTo>
                    <a:pt x="16" y="164"/>
                  </a:lnTo>
                  <a:lnTo>
                    <a:pt x="16" y="166"/>
                  </a:lnTo>
                  <a:lnTo>
                    <a:pt x="14" y="166"/>
                  </a:lnTo>
                  <a:lnTo>
                    <a:pt x="12" y="168"/>
                  </a:lnTo>
                  <a:lnTo>
                    <a:pt x="12" y="168"/>
                  </a:lnTo>
                  <a:lnTo>
                    <a:pt x="10" y="170"/>
                  </a:lnTo>
                  <a:lnTo>
                    <a:pt x="6" y="170"/>
                  </a:lnTo>
                  <a:lnTo>
                    <a:pt x="2" y="172"/>
                  </a:lnTo>
                  <a:lnTo>
                    <a:pt x="0" y="172"/>
                  </a:lnTo>
                  <a:lnTo>
                    <a:pt x="2" y="172"/>
                  </a:lnTo>
                  <a:lnTo>
                    <a:pt x="6" y="172"/>
                  </a:lnTo>
                  <a:lnTo>
                    <a:pt x="8" y="174"/>
                  </a:lnTo>
                  <a:lnTo>
                    <a:pt x="10" y="174"/>
                  </a:lnTo>
                  <a:lnTo>
                    <a:pt x="12" y="174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4" y="176"/>
                  </a:lnTo>
                  <a:lnTo>
                    <a:pt x="14" y="178"/>
                  </a:lnTo>
                  <a:lnTo>
                    <a:pt x="14" y="180"/>
                  </a:lnTo>
                  <a:lnTo>
                    <a:pt x="16" y="182"/>
                  </a:lnTo>
                  <a:lnTo>
                    <a:pt x="16" y="184"/>
                  </a:lnTo>
                  <a:lnTo>
                    <a:pt x="16" y="186"/>
                  </a:lnTo>
                  <a:lnTo>
                    <a:pt x="18" y="188"/>
                  </a:lnTo>
                  <a:lnTo>
                    <a:pt x="18" y="188"/>
                  </a:lnTo>
                  <a:lnTo>
                    <a:pt x="18" y="188"/>
                  </a:lnTo>
                  <a:lnTo>
                    <a:pt x="20" y="188"/>
                  </a:lnTo>
                  <a:lnTo>
                    <a:pt x="22" y="190"/>
                  </a:lnTo>
                  <a:lnTo>
                    <a:pt x="22" y="190"/>
                  </a:lnTo>
                  <a:lnTo>
                    <a:pt x="24" y="190"/>
                  </a:lnTo>
                  <a:lnTo>
                    <a:pt x="28" y="190"/>
                  </a:lnTo>
                  <a:lnTo>
                    <a:pt x="32" y="190"/>
                  </a:lnTo>
                  <a:lnTo>
                    <a:pt x="34" y="190"/>
                  </a:lnTo>
                  <a:lnTo>
                    <a:pt x="38" y="190"/>
                  </a:lnTo>
                  <a:lnTo>
                    <a:pt x="44" y="188"/>
                  </a:lnTo>
                  <a:lnTo>
                    <a:pt x="44" y="188"/>
                  </a:lnTo>
                  <a:lnTo>
                    <a:pt x="46" y="188"/>
                  </a:lnTo>
                  <a:lnTo>
                    <a:pt x="48" y="186"/>
                  </a:lnTo>
                  <a:lnTo>
                    <a:pt x="52" y="184"/>
                  </a:lnTo>
                  <a:lnTo>
                    <a:pt x="54" y="182"/>
                  </a:lnTo>
                  <a:lnTo>
                    <a:pt x="56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2" y="182"/>
                  </a:lnTo>
                  <a:lnTo>
                    <a:pt x="62" y="184"/>
                  </a:lnTo>
                  <a:lnTo>
                    <a:pt x="62" y="184"/>
                  </a:lnTo>
                  <a:lnTo>
                    <a:pt x="62" y="186"/>
                  </a:lnTo>
                  <a:lnTo>
                    <a:pt x="62" y="188"/>
                  </a:lnTo>
                  <a:lnTo>
                    <a:pt x="62" y="192"/>
                  </a:lnTo>
                  <a:lnTo>
                    <a:pt x="62" y="194"/>
                  </a:lnTo>
                  <a:lnTo>
                    <a:pt x="62" y="194"/>
                  </a:lnTo>
                  <a:lnTo>
                    <a:pt x="64" y="194"/>
                  </a:lnTo>
                  <a:lnTo>
                    <a:pt x="64" y="196"/>
                  </a:lnTo>
                  <a:lnTo>
                    <a:pt x="64" y="196"/>
                  </a:lnTo>
                  <a:lnTo>
                    <a:pt x="66" y="198"/>
                  </a:lnTo>
                  <a:lnTo>
                    <a:pt x="68" y="200"/>
                  </a:lnTo>
                  <a:lnTo>
                    <a:pt x="70" y="200"/>
                  </a:lnTo>
                  <a:lnTo>
                    <a:pt x="76" y="204"/>
                  </a:lnTo>
                  <a:lnTo>
                    <a:pt x="78" y="204"/>
                  </a:lnTo>
                  <a:lnTo>
                    <a:pt x="80" y="206"/>
                  </a:lnTo>
                  <a:lnTo>
                    <a:pt x="92" y="214"/>
                  </a:lnTo>
                  <a:lnTo>
                    <a:pt x="94" y="214"/>
                  </a:lnTo>
                  <a:lnTo>
                    <a:pt x="96" y="210"/>
                  </a:lnTo>
                  <a:lnTo>
                    <a:pt x="96" y="210"/>
                  </a:lnTo>
                  <a:lnTo>
                    <a:pt x="98" y="208"/>
                  </a:lnTo>
                  <a:lnTo>
                    <a:pt x="100" y="206"/>
                  </a:lnTo>
                  <a:lnTo>
                    <a:pt x="102" y="206"/>
                  </a:lnTo>
                  <a:lnTo>
                    <a:pt x="102" y="206"/>
                  </a:lnTo>
                  <a:lnTo>
                    <a:pt x="104" y="206"/>
                  </a:lnTo>
                  <a:lnTo>
                    <a:pt x="106" y="206"/>
                  </a:lnTo>
                  <a:lnTo>
                    <a:pt x="108" y="206"/>
                  </a:lnTo>
                  <a:lnTo>
                    <a:pt x="112" y="206"/>
                  </a:lnTo>
                  <a:lnTo>
                    <a:pt x="116" y="206"/>
                  </a:lnTo>
                  <a:lnTo>
                    <a:pt x="120" y="208"/>
                  </a:lnTo>
                  <a:lnTo>
                    <a:pt x="122" y="208"/>
                  </a:lnTo>
                  <a:lnTo>
                    <a:pt x="124" y="208"/>
                  </a:lnTo>
                  <a:lnTo>
                    <a:pt x="126" y="208"/>
                  </a:lnTo>
                  <a:lnTo>
                    <a:pt x="128" y="208"/>
                  </a:lnTo>
                  <a:lnTo>
                    <a:pt x="128" y="206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0" y="204"/>
                  </a:lnTo>
                  <a:lnTo>
                    <a:pt x="132" y="204"/>
                  </a:lnTo>
                  <a:lnTo>
                    <a:pt x="132" y="202"/>
                  </a:lnTo>
                  <a:lnTo>
                    <a:pt x="132" y="200"/>
                  </a:lnTo>
                  <a:lnTo>
                    <a:pt x="132" y="198"/>
                  </a:lnTo>
                  <a:lnTo>
                    <a:pt x="132" y="196"/>
                  </a:lnTo>
                  <a:lnTo>
                    <a:pt x="132" y="194"/>
                  </a:lnTo>
                  <a:lnTo>
                    <a:pt x="132" y="194"/>
                  </a:lnTo>
                  <a:lnTo>
                    <a:pt x="132" y="192"/>
                  </a:lnTo>
                  <a:lnTo>
                    <a:pt x="130" y="190"/>
                  </a:lnTo>
                  <a:lnTo>
                    <a:pt x="128" y="188"/>
                  </a:lnTo>
                  <a:lnTo>
                    <a:pt x="126" y="186"/>
                  </a:lnTo>
                  <a:lnTo>
                    <a:pt x="124" y="182"/>
                  </a:lnTo>
                  <a:lnTo>
                    <a:pt x="120" y="178"/>
                  </a:lnTo>
                  <a:lnTo>
                    <a:pt x="116" y="172"/>
                  </a:lnTo>
                  <a:lnTo>
                    <a:pt x="114" y="172"/>
                  </a:lnTo>
                  <a:lnTo>
                    <a:pt x="114" y="170"/>
                  </a:lnTo>
                  <a:lnTo>
                    <a:pt x="110" y="168"/>
                  </a:lnTo>
                  <a:lnTo>
                    <a:pt x="108" y="166"/>
                  </a:lnTo>
                  <a:lnTo>
                    <a:pt x="106" y="164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0"/>
                  </a:lnTo>
                  <a:lnTo>
                    <a:pt x="104" y="160"/>
                  </a:lnTo>
                  <a:lnTo>
                    <a:pt x="104" y="158"/>
                  </a:lnTo>
                  <a:lnTo>
                    <a:pt x="104" y="156"/>
                  </a:lnTo>
                  <a:lnTo>
                    <a:pt x="104" y="154"/>
                  </a:lnTo>
                  <a:lnTo>
                    <a:pt x="104" y="152"/>
                  </a:lnTo>
                  <a:lnTo>
                    <a:pt x="106" y="150"/>
                  </a:lnTo>
                  <a:lnTo>
                    <a:pt x="106" y="148"/>
                  </a:lnTo>
                  <a:lnTo>
                    <a:pt x="108" y="146"/>
                  </a:lnTo>
                  <a:lnTo>
                    <a:pt x="110" y="142"/>
                  </a:lnTo>
                  <a:lnTo>
                    <a:pt x="112" y="140"/>
                  </a:lnTo>
                  <a:lnTo>
                    <a:pt x="114" y="138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20" y="136"/>
                  </a:lnTo>
                  <a:lnTo>
                    <a:pt x="122" y="138"/>
                  </a:lnTo>
                  <a:lnTo>
                    <a:pt x="124" y="138"/>
                  </a:lnTo>
                  <a:lnTo>
                    <a:pt x="126" y="140"/>
                  </a:lnTo>
                  <a:lnTo>
                    <a:pt x="130" y="142"/>
                  </a:lnTo>
                  <a:lnTo>
                    <a:pt x="134" y="144"/>
                  </a:lnTo>
                  <a:lnTo>
                    <a:pt x="136" y="144"/>
                  </a:lnTo>
                  <a:lnTo>
                    <a:pt x="138" y="144"/>
                  </a:lnTo>
                  <a:lnTo>
                    <a:pt x="138" y="146"/>
                  </a:lnTo>
                  <a:lnTo>
                    <a:pt x="140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2"/>
                  </a:lnTo>
                  <a:lnTo>
                    <a:pt x="146" y="140"/>
                  </a:lnTo>
                  <a:lnTo>
                    <a:pt x="146" y="138"/>
                  </a:lnTo>
                  <a:lnTo>
                    <a:pt x="146" y="136"/>
                  </a:lnTo>
                  <a:lnTo>
                    <a:pt x="146" y="134"/>
                  </a:lnTo>
                  <a:lnTo>
                    <a:pt x="146" y="132"/>
                  </a:lnTo>
                  <a:lnTo>
                    <a:pt x="148" y="130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8" y="124"/>
                  </a:lnTo>
                  <a:lnTo>
                    <a:pt x="148" y="122"/>
                  </a:lnTo>
                  <a:lnTo>
                    <a:pt x="150" y="122"/>
                  </a:lnTo>
                  <a:lnTo>
                    <a:pt x="150" y="120"/>
                  </a:lnTo>
                  <a:lnTo>
                    <a:pt x="154" y="118"/>
                  </a:lnTo>
                  <a:lnTo>
                    <a:pt x="156" y="116"/>
                  </a:lnTo>
                  <a:lnTo>
                    <a:pt x="158" y="116"/>
                  </a:lnTo>
                  <a:lnTo>
                    <a:pt x="160" y="114"/>
                  </a:lnTo>
                  <a:lnTo>
                    <a:pt x="162" y="112"/>
                  </a:lnTo>
                  <a:lnTo>
                    <a:pt x="164" y="110"/>
                  </a:lnTo>
                  <a:lnTo>
                    <a:pt x="164" y="110"/>
                  </a:lnTo>
                  <a:lnTo>
                    <a:pt x="166" y="108"/>
                  </a:lnTo>
                  <a:lnTo>
                    <a:pt x="166" y="108"/>
                  </a:lnTo>
                  <a:lnTo>
                    <a:pt x="166" y="104"/>
                  </a:lnTo>
                  <a:lnTo>
                    <a:pt x="168" y="100"/>
                  </a:lnTo>
                  <a:lnTo>
                    <a:pt x="168" y="98"/>
                  </a:lnTo>
                  <a:lnTo>
                    <a:pt x="170" y="96"/>
                  </a:lnTo>
                  <a:lnTo>
                    <a:pt x="170" y="94"/>
                  </a:lnTo>
                  <a:lnTo>
                    <a:pt x="172" y="94"/>
                  </a:lnTo>
                  <a:lnTo>
                    <a:pt x="174" y="92"/>
                  </a:lnTo>
                  <a:lnTo>
                    <a:pt x="176" y="90"/>
                  </a:lnTo>
                  <a:lnTo>
                    <a:pt x="178" y="88"/>
                  </a:lnTo>
                  <a:lnTo>
                    <a:pt x="178" y="88"/>
                  </a:lnTo>
                  <a:lnTo>
                    <a:pt x="180" y="86"/>
                  </a:lnTo>
                  <a:lnTo>
                    <a:pt x="180" y="86"/>
                  </a:lnTo>
                  <a:lnTo>
                    <a:pt x="180" y="86"/>
                  </a:lnTo>
                  <a:lnTo>
                    <a:pt x="180" y="84"/>
                  </a:lnTo>
                  <a:lnTo>
                    <a:pt x="180" y="82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78" y="66"/>
                  </a:lnTo>
                  <a:lnTo>
                    <a:pt x="178" y="64"/>
                  </a:lnTo>
                  <a:lnTo>
                    <a:pt x="176" y="62"/>
                  </a:lnTo>
                  <a:lnTo>
                    <a:pt x="172" y="60"/>
                  </a:lnTo>
                  <a:lnTo>
                    <a:pt x="170" y="58"/>
                  </a:lnTo>
                  <a:lnTo>
                    <a:pt x="168" y="56"/>
                  </a:lnTo>
                  <a:lnTo>
                    <a:pt x="166" y="54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0"/>
                  </a:lnTo>
                  <a:lnTo>
                    <a:pt x="164" y="50"/>
                  </a:lnTo>
                  <a:lnTo>
                    <a:pt x="164" y="46"/>
                  </a:lnTo>
                  <a:lnTo>
                    <a:pt x="164" y="44"/>
                  </a:lnTo>
                  <a:lnTo>
                    <a:pt x="166" y="40"/>
                  </a:lnTo>
                  <a:lnTo>
                    <a:pt x="166" y="38"/>
                  </a:lnTo>
                  <a:lnTo>
                    <a:pt x="166" y="36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2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2"/>
                  </a:lnTo>
                  <a:lnTo>
                    <a:pt x="158" y="22"/>
                  </a:lnTo>
                  <a:lnTo>
                    <a:pt x="158" y="20"/>
                  </a:lnTo>
                  <a:lnTo>
                    <a:pt x="158" y="18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0" y="10"/>
                  </a:lnTo>
                  <a:lnTo>
                    <a:pt x="156" y="6"/>
                  </a:lnTo>
                  <a:lnTo>
                    <a:pt x="152" y="4"/>
                  </a:lnTo>
                  <a:lnTo>
                    <a:pt x="148" y="2"/>
                  </a:lnTo>
                  <a:lnTo>
                    <a:pt x="146" y="2"/>
                  </a:lnTo>
                  <a:lnTo>
                    <a:pt x="144" y="2"/>
                  </a:lnTo>
                  <a:lnTo>
                    <a:pt x="142" y="0"/>
                  </a:lnTo>
                  <a:lnTo>
                    <a:pt x="140" y="0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57" name="Freeform 35">
              <a:extLst>
                <a:ext uri="{FF2B5EF4-FFF2-40B4-BE49-F238E27FC236}">
                  <a16:creationId xmlns:a16="http://schemas.microsoft.com/office/drawing/2014/main" id="{E35CA5DE-7CBD-4DEB-B3BE-EDF7CF276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2619" y="3534654"/>
              <a:ext cx="99089" cy="147092"/>
            </a:xfrm>
            <a:custGeom>
              <a:avLst/>
              <a:gdLst>
                <a:gd name="T0" fmla="*/ 22 w 58"/>
                <a:gd name="T1" fmla="*/ 16 h 88"/>
                <a:gd name="T2" fmla="*/ 2 w 58"/>
                <a:gd name="T3" fmla="*/ 24 h 88"/>
                <a:gd name="T4" fmla="*/ 6 w 58"/>
                <a:gd name="T5" fmla="*/ 30 h 88"/>
                <a:gd name="T6" fmla="*/ 8 w 58"/>
                <a:gd name="T7" fmla="*/ 34 h 88"/>
                <a:gd name="T8" fmla="*/ 8 w 58"/>
                <a:gd name="T9" fmla="*/ 36 h 88"/>
                <a:gd name="T10" fmla="*/ 8 w 58"/>
                <a:gd name="T11" fmla="*/ 42 h 88"/>
                <a:gd name="T12" fmla="*/ 8 w 58"/>
                <a:gd name="T13" fmla="*/ 44 h 88"/>
                <a:gd name="T14" fmla="*/ 8 w 58"/>
                <a:gd name="T15" fmla="*/ 46 h 88"/>
                <a:gd name="T16" fmla="*/ 8 w 58"/>
                <a:gd name="T17" fmla="*/ 48 h 88"/>
                <a:gd name="T18" fmla="*/ 10 w 58"/>
                <a:gd name="T19" fmla="*/ 48 h 88"/>
                <a:gd name="T20" fmla="*/ 12 w 58"/>
                <a:gd name="T21" fmla="*/ 50 h 88"/>
                <a:gd name="T22" fmla="*/ 16 w 58"/>
                <a:gd name="T23" fmla="*/ 50 h 88"/>
                <a:gd name="T24" fmla="*/ 18 w 58"/>
                <a:gd name="T25" fmla="*/ 50 h 88"/>
                <a:gd name="T26" fmla="*/ 20 w 58"/>
                <a:gd name="T27" fmla="*/ 52 h 88"/>
                <a:gd name="T28" fmla="*/ 20 w 58"/>
                <a:gd name="T29" fmla="*/ 52 h 88"/>
                <a:gd name="T30" fmla="*/ 22 w 58"/>
                <a:gd name="T31" fmla="*/ 54 h 88"/>
                <a:gd name="T32" fmla="*/ 22 w 58"/>
                <a:gd name="T33" fmla="*/ 58 h 88"/>
                <a:gd name="T34" fmla="*/ 20 w 58"/>
                <a:gd name="T35" fmla="*/ 62 h 88"/>
                <a:gd name="T36" fmla="*/ 18 w 58"/>
                <a:gd name="T37" fmla="*/ 70 h 88"/>
                <a:gd name="T38" fmla="*/ 16 w 58"/>
                <a:gd name="T39" fmla="*/ 74 h 88"/>
                <a:gd name="T40" fmla="*/ 16 w 58"/>
                <a:gd name="T41" fmla="*/ 78 h 88"/>
                <a:gd name="T42" fmla="*/ 18 w 58"/>
                <a:gd name="T43" fmla="*/ 80 h 88"/>
                <a:gd name="T44" fmla="*/ 18 w 58"/>
                <a:gd name="T45" fmla="*/ 82 h 88"/>
                <a:gd name="T46" fmla="*/ 20 w 58"/>
                <a:gd name="T47" fmla="*/ 84 h 88"/>
                <a:gd name="T48" fmla="*/ 24 w 58"/>
                <a:gd name="T49" fmla="*/ 86 h 88"/>
                <a:gd name="T50" fmla="*/ 30 w 58"/>
                <a:gd name="T51" fmla="*/ 88 h 88"/>
                <a:gd name="T52" fmla="*/ 32 w 58"/>
                <a:gd name="T53" fmla="*/ 88 h 88"/>
                <a:gd name="T54" fmla="*/ 36 w 58"/>
                <a:gd name="T55" fmla="*/ 86 h 88"/>
                <a:gd name="T56" fmla="*/ 40 w 58"/>
                <a:gd name="T57" fmla="*/ 86 h 88"/>
                <a:gd name="T58" fmla="*/ 46 w 58"/>
                <a:gd name="T59" fmla="*/ 82 h 88"/>
                <a:gd name="T60" fmla="*/ 52 w 58"/>
                <a:gd name="T61" fmla="*/ 78 h 88"/>
                <a:gd name="T62" fmla="*/ 54 w 58"/>
                <a:gd name="T63" fmla="*/ 76 h 88"/>
                <a:gd name="T64" fmla="*/ 56 w 58"/>
                <a:gd name="T65" fmla="*/ 74 h 88"/>
                <a:gd name="T66" fmla="*/ 58 w 58"/>
                <a:gd name="T67" fmla="*/ 70 h 88"/>
                <a:gd name="T68" fmla="*/ 58 w 58"/>
                <a:gd name="T69" fmla="*/ 66 h 88"/>
                <a:gd name="T70" fmla="*/ 58 w 58"/>
                <a:gd name="T71" fmla="*/ 60 h 88"/>
                <a:gd name="T72" fmla="*/ 58 w 58"/>
                <a:gd name="T73" fmla="*/ 50 h 88"/>
                <a:gd name="T74" fmla="*/ 58 w 58"/>
                <a:gd name="T75" fmla="*/ 42 h 88"/>
                <a:gd name="T76" fmla="*/ 56 w 58"/>
                <a:gd name="T77" fmla="*/ 38 h 88"/>
                <a:gd name="T78" fmla="*/ 54 w 58"/>
                <a:gd name="T79" fmla="*/ 34 h 88"/>
                <a:gd name="T80" fmla="*/ 50 w 58"/>
                <a:gd name="T81" fmla="*/ 28 h 88"/>
                <a:gd name="T82" fmla="*/ 44 w 58"/>
                <a:gd name="T83" fmla="*/ 20 h 88"/>
                <a:gd name="T84" fmla="*/ 34 w 58"/>
                <a:gd name="T85" fmla="*/ 8 h 88"/>
                <a:gd name="T86" fmla="*/ 26 w 58"/>
                <a:gd name="T8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" h="88">
                  <a:moveTo>
                    <a:pt x="26" y="0"/>
                  </a:moveTo>
                  <a:lnTo>
                    <a:pt x="22" y="16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4"/>
                  </a:lnTo>
                  <a:lnTo>
                    <a:pt x="22" y="54"/>
                  </a:lnTo>
                  <a:lnTo>
                    <a:pt x="22" y="56"/>
                  </a:lnTo>
                  <a:lnTo>
                    <a:pt x="22" y="58"/>
                  </a:lnTo>
                  <a:lnTo>
                    <a:pt x="20" y="60"/>
                  </a:lnTo>
                  <a:lnTo>
                    <a:pt x="20" y="62"/>
                  </a:lnTo>
                  <a:lnTo>
                    <a:pt x="18" y="66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8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20" y="84"/>
                  </a:lnTo>
                  <a:lnTo>
                    <a:pt x="22" y="84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30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4" y="88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40" y="86"/>
                  </a:lnTo>
                  <a:lnTo>
                    <a:pt x="42" y="84"/>
                  </a:lnTo>
                  <a:lnTo>
                    <a:pt x="46" y="82"/>
                  </a:lnTo>
                  <a:lnTo>
                    <a:pt x="50" y="80"/>
                  </a:lnTo>
                  <a:lnTo>
                    <a:pt x="52" y="78"/>
                  </a:lnTo>
                  <a:lnTo>
                    <a:pt x="54" y="76"/>
                  </a:lnTo>
                  <a:lnTo>
                    <a:pt x="54" y="76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8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58" y="60"/>
                  </a:lnTo>
                  <a:lnTo>
                    <a:pt x="58" y="56"/>
                  </a:lnTo>
                  <a:lnTo>
                    <a:pt x="58" y="50"/>
                  </a:lnTo>
                  <a:lnTo>
                    <a:pt x="58" y="46"/>
                  </a:lnTo>
                  <a:lnTo>
                    <a:pt x="58" y="42"/>
                  </a:lnTo>
                  <a:lnTo>
                    <a:pt x="56" y="40"/>
                  </a:lnTo>
                  <a:lnTo>
                    <a:pt x="56" y="38"/>
                  </a:lnTo>
                  <a:lnTo>
                    <a:pt x="56" y="36"/>
                  </a:lnTo>
                  <a:lnTo>
                    <a:pt x="54" y="34"/>
                  </a:lnTo>
                  <a:lnTo>
                    <a:pt x="52" y="30"/>
                  </a:lnTo>
                  <a:lnTo>
                    <a:pt x="50" y="28"/>
                  </a:lnTo>
                  <a:lnTo>
                    <a:pt x="48" y="24"/>
                  </a:lnTo>
                  <a:lnTo>
                    <a:pt x="44" y="20"/>
                  </a:lnTo>
                  <a:lnTo>
                    <a:pt x="40" y="14"/>
                  </a:lnTo>
                  <a:lnTo>
                    <a:pt x="34" y="8"/>
                  </a:lnTo>
                  <a:lnTo>
                    <a:pt x="30" y="4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58" name="Freeform 37">
              <a:extLst>
                <a:ext uri="{FF2B5EF4-FFF2-40B4-BE49-F238E27FC236}">
                  <a16:creationId xmlns:a16="http://schemas.microsoft.com/office/drawing/2014/main" id="{D7B06D1D-5508-4F00-BB09-38B927E84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2710" y="3715176"/>
              <a:ext cx="703872" cy="712059"/>
            </a:xfrm>
            <a:custGeom>
              <a:avLst/>
              <a:gdLst>
                <a:gd name="T0" fmla="*/ 408 w 412"/>
                <a:gd name="T1" fmla="*/ 108 h 426"/>
                <a:gd name="T2" fmla="*/ 388 w 412"/>
                <a:gd name="T3" fmla="*/ 120 h 426"/>
                <a:gd name="T4" fmla="*/ 374 w 412"/>
                <a:gd name="T5" fmla="*/ 150 h 426"/>
                <a:gd name="T6" fmla="*/ 360 w 412"/>
                <a:gd name="T7" fmla="*/ 168 h 426"/>
                <a:gd name="T8" fmla="*/ 352 w 412"/>
                <a:gd name="T9" fmla="*/ 184 h 426"/>
                <a:gd name="T10" fmla="*/ 346 w 412"/>
                <a:gd name="T11" fmla="*/ 150 h 426"/>
                <a:gd name="T12" fmla="*/ 330 w 412"/>
                <a:gd name="T13" fmla="*/ 134 h 426"/>
                <a:gd name="T14" fmla="*/ 302 w 412"/>
                <a:gd name="T15" fmla="*/ 122 h 426"/>
                <a:gd name="T16" fmla="*/ 290 w 412"/>
                <a:gd name="T17" fmla="*/ 122 h 426"/>
                <a:gd name="T18" fmla="*/ 282 w 412"/>
                <a:gd name="T19" fmla="*/ 146 h 426"/>
                <a:gd name="T20" fmla="*/ 294 w 412"/>
                <a:gd name="T21" fmla="*/ 152 h 426"/>
                <a:gd name="T22" fmla="*/ 296 w 412"/>
                <a:gd name="T23" fmla="*/ 180 h 426"/>
                <a:gd name="T24" fmla="*/ 276 w 412"/>
                <a:gd name="T25" fmla="*/ 198 h 426"/>
                <a:gd name="T26" fmla="*/ 276 w 412"/>
                <a:gd name="T27" fmla="*/ 216 h 426"/>
                <a:gd name="T28" fmla="*/ 262 w 412"/>
                <a:gd name="T29" fmla="*/ 232 h 426"/>
                <a:gd name="T30" fmla="*/ 244 w 412"/>
                <a:gd name="T31" fmla="*/ 242 h 426"/>
                <a:gd name="T32" fmla="*/ 224 w 412"/>
                <a:gd name="T33" fmla="*/ 260 h 426"/>
                <a:gd name="T34" fmla="*/ 210 w 412"/>
                <a:gd name="T35" fmla="*/ 276 h 426"/>
                <a:gd name="T36" fmla="*/ 190 w 412"/>
                <a:gd name="T37" fmla="*/ 296 h 426"/>
                <a:gd name="T38" fmla="*/ 172 w 412"/>
                <a:gd name="T39" fmla="*/ 310 h 426"/>
                <a:gd name="T40" fmla="*/ 180 w 412"/>
                <a:gd name="T41" fmla="*/ 352 h 426"/>
                <a:gd name="T42" fmla="*/ 172 w 412"/>
                <a:gd name="T43" fmla="*/ 360 h 426"/>
                <a:gd name="T44" fmla="*/ 178 w 412"/>
                <a:gd name="T45" fmla="*/ 382 h 426"/>
                <a:gd name="T46" fmla="*/ 164 w 412"/>
                <a:gd name="T47" fmla="*/ 410 h 426"/>
                <a:gd name="T48" fmla="*/ 144 w 412"/>
                <a:gd name="T49" fmla="*/ 426 h 426"/>
                <a:gd name="T50" fmla="*/ 132 w 412"/>
                <a:gd name="T51" fmla="*/ 420 h 426"/>
                <a:gd name="T52" fmla="*/ 124 w 412"/>
                <a:gd name="T53" fmla="*/ 388 h 426"/>
                <a:gd name="T54" fmla="*/ 96 w 412"/>
                <a:gd name="T55" fmla="*/ 318 h 426"/>
                <a:gd name="T56" fmla="*/ 74 w 412"/>
                <a:gd name="T57" fmla="*/ 278 h 426"/>
                <a:gd name="T58" fmla="*/ 70 w 412"/>
                <a:gd name="T59" fmla="*/ 224 h 426"/>
                <a:gd name="T60" fmla="*/ 62 w 412"/>
                <a:gd name="T61" fmla="*/ 186 h 426"/>
                <a:gd name="T62" fmla="*/ 58 w 412"/>
                <a:gd name="T63" fmla="*/ 190 h 426"/>
                <a:gd name="T64" fmla="*/ 52 w 412"/>
                <a:gd name="T65" fmla="*/ 206 h 426"/>
                <a:gd name="T66" fmla="*/ 30 w 412"/>
                <a:gd name="T67" fmla="*/ 208 h 426"/>
                <a:gd name="T68" fmla="*/ 12 w 412"/>
                <a:gd name="T69" fmla="*/ 188 h 426"/>
                <a:gd name="T70" fmla="*/ 20 w 412"/>
                <a:gd name="T71" fmla="*/ 176 h 426"/>
                <a:gd name="T72" fmla="*/ 12 w 412"/>
                <a:gd name="T73" fmla="*/ 176 h 426"/>
                <a:gd name="T74" fmla="*/ 2 w 412"/>
                <a:gd name="T75" fmla="*/ 162 h 426"/>
                <a:gd name="T76" fmla="*/ 24 w 412"/>
                <a:gd name="T77" fmla="*/ 156 h 426"/>
                <a:gd name="T78" fmla="*/ 40 w 412"/>
                <a:gd name="T79" fmla="*/ 152 h 426"/>
                <a:gd name="T80" fmla="*/ 34 w 412"/>
                <a:gd name="T81" fmla="*/ 132 h 426"/>
                <a:gd name="T82" fmla="*/ 12 w 412"/>
                <a:gd name="T83" fmla="*/ 110 h 426"/>
                <a:gd name="T84" fmla="*/ 22 w 412"/>
                <a:gd name="T85" fmla="*/ 88 h 426"/>
                <a:gd name="T86" fmla="*/ 44 w 412"/>
                <a:gd name="T87" fmla="*/ 94 h 426"/>
                <a:gd name="T88" fmla="*/ 54 w 412"/>
                <a:gd name="T89" fmla="*/ 90 h 426"/>
                <a:gd name="T90" fmla="*/ 60 w 412"/>
                <a:gd name="T91" fmla="*/ 70 h 426"/>
                <a:gd name="T92" fmla="*/ 76 w 412"/>
                <a:gd name="T93" fmla="*/ 48 h 426"/>
                <a:gd name="T94" fmla="*/ 88 w 412"/>
                <a:gd name="T95" fmla="*/ 34 h 426"/>
                <a:gd name="T96" fmla="*/ 100 w 412"/>
                <a:gd name="T97" fmla="*/ 2 h 426"/>
                <a:gd name="T98" fmla="*/ 122 w 412"/>
                <a:gd name="T99" fmla="*/ 2 h 426"/>
                <a:gd name="T100" fmla="*/ 134 w 412"/>
                <a:gd name="T101" fmla="*/ 14 h 426"/>
                <a:gd name="T102" fmla="*/ 134 w 412"/>
                <a:gd name="T103" fmla="*/ 36 h 426"/>
                <a:gd name="T104" fmla="*/ 158 w 412"/>
                <a:gd name="T105" fmla="*/ 42 h 426"/>
                <a:gd name="T106" fmla="*/ 170 w 412"/>
                <a:gd name="T107" fmla="*/ 76 h 426"/>
                <a:gd name="T108" fmla="*/ 186 w 412"/>
                <a:gd name="T109" fmla="*/ 94 h 426"/>
                <a:gd name="T110" fmla="*/ 224 w 412"/>
                <a:gd name="T111" fmla="*/ 106 h 426"/>
                <a:gd name="T112" fmla="*/ 250 w 412"/>
                <a:gd name="T113" fmla="*/ 116 h 426"/>
                <a:gd name="T114" fmla="*/ 276 w 412"/>
                <a:gd name="T115" fmla="*/ 116 h 426"/>
                <a:gd name="T116" fmla="*/ 290 w 412"/>
                <a:gd name="T117" fmla="*/ 102 h 426"/>
                <a:gd name="T118" fmla="*/ 324 w 412"/>
                <a:gd name="T119" fmla="*/ 94 h 426"/>
                <a:gd name="T120" fmla="*/ 354 w 412"/>
                <a:gd name="T121" fmla="*/ 78 h 426"/>
                <a:gd name="T122" fmla="*/ 382 w 412"/>
                <a:gd name="T123" fmla="*/ 72 h 426"/>
                <a:gd name="T124" fmla="*/ 404 w 412"/>
                <a:gd name="T125" fmla="*/ 8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2" h="426">
                  <a:moveTo>
                    <a:pt x="412" y="96"/>
                  </a:moveTo>
                  <a:lnTo>
                    <a:pt x="412" y="96"/>
                  </a:lnTo>
                  <a:lnTo>
                    <a:pt x="412" y="98"/>
                  </a:lnTo>
                  <a:lnTo>
                    <a:pt x="412" y="100"/>
                  </a:lnTo>
                  <a:lnTo>
                    <a:pt x="412" y="102"/>
                  </a:lnTo>
                  <a:lnTo>
                    <a:pt x="412" y="104"/>
                  </a:lnTo>
                  <a:lnTo>
                    <a:pt x="410" y="104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10" y="106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4" y="110"/>
                  </a:lnTo>
                  <a:lnTo>
                    <a:pt x="402" y="110"/>
                  </a:lnTo>
                  <a:lnTo>
                    <a:pt x="398" y="112"/>
                  </a:lnTo>
                  <a:lnTo>
                    <a:pt x="396" y="112"/>
                  </a:lnTo>
                  <a:lnTo>
                    <a:pt x="394" y="114"/>
                  </a:lnTo>
                  <a:lnTo>
                    <a:pt x="392" y="114"/>
                  </a:lnTo>
                  <a:lnTo>
                    <a:pt x="392" y="114"/>
                  </a:lnTo>
                  <a:lnTo>
                    <a:pt x="390" y="116"/>
                  </a:lnTo>
                  <a:lnTo>
                    <a:pt x="388" y="118"/>
                  </a:lnTo>
                  <a:lnTo>
                    <a:pt x="388" y="120"/>
                  </a:lnTo>
                  <a:lnTo>
                    <a:pt x="386" y="122"/>
                  </a:lnTo>
                  <a:lnTo>
                    <a:pt x="382" y="126"/>
                  </a:lnTo>
                  <a:lnTo>
                    <a:pt x="382" y="128"/>
                  </a:lnTo>
                  <a:lnTo>
                    <a:pt x="380" y="130"/>
                  </a:lnTo>
                  <a:lnTo>
                    <a:pt x="380" y="132"/>
                  </a:lnTo>
                  <a:lnTo>
                    <a:pt x="378" y="134"/>
                  </a:lnTo>
                  <a:lnTo>
                    <a:pt x="378" y="140"/>
                  </a:lnTo>
                  <a:lnTo>
                    <a:pt x="376" y="142"/>
                  </a:lnTo>
                  <a:lnTo>
                    <a:pt x="376" y="146"/>
                  </a:lnTo>
                  <a:lnTo>
                    <a:pt x="376" y="148"/>
                  </a:lnTo>
                  <a:lnTo>
                    <a:pt x="374" y="150"/>
                  </a:lnTo>
                  <a:lnTo>
                    <a:pt x="372" y="150"/>
                  </a:lnTo>
                  <a:lnTo>
                    <a:pt x="372" y="152"/>
                  </a:lnTo>
                  <a:lnTo>
                    <a:pt x="368" y="156"/>
                  </a:lnTo>
                  <a:lnTo>
                    <a:pt x="366" y="158"/>
                  </a:lnTo>
                  <a:lnTo>
                    <a:pt x="364" y="160"/>
                  </a:lnTo>
                  <a:lnTo>
                    <a:pt x="362" y="162"/>
                  </a:lnTo>
                  <a:lnTo>
                    <a:pt x="362" y="162"/>
                  </a:lnTo>
                  <a:lnTo>
                    <a:pt x="362" y="164"/>
                  </a:lnTo>
                  <a:lnTo>
                    <a:pt x="362" y="164"/>
                  </a:lnTo>
                  <a:lnTo>
                    <a:pt x="360" y="166"/>
                  </a:lnTo>
                  <a:lnTo>
                    <a:pt x="360" y="168"/>
                  </a:lnTo>
                  <a:lnTo>
                    <a:pt x="360" y="170"/>
                  </a:lnTo>
                  <a:lnTo>
                    <a:pt x="360" y="176"/>
                  </a:lnTo>
                  <a:lnTo>
                    <a:pt x="360" y="180"/>
                  </a:lnTo>
                  <a:lnTo>
                    <a:pt x="360" y="184"/>
                  </a:lnTo>
                  <a:lnTo>
                    <a:pt x="362" y="188"/>
                  </a:lnTo>
                  <a:lnTo>
                    <a:pt x="362" y="192"/>
                  </a:lnTo>
                  <a:lnTo>
                    <a:pt x="360" y="192"/>
                  </a:lnTo>
                  <a:lnTo>
                    <a:pt x="358" y="190"/>
                  </a:lnTo>
                  <a:lnTo>
                    <a:pt x="354" y="186"/>
                  </a:lnTo>
                  <a:lnTo>
                    <a:pt x="354" y="186"/>
                  </a:lnTo>
                  <a:lnTo>
                    <a:pt x="352" y="184"/>
                  </a:lnTo>
                  <a:lnTo>
                    <a:pt x="352" y="184"/>
                  </a:lnTo>
                  <a:lnTo>
                    <a:pt x="352" y="182"/>
                  </a:lnTo>
                  <a:lnTo>
                    <a:pt x="350" y="180"/>
                  </a:lnTo>
                  <a:lnTo>
                    <a:pt x="350" y="176"/>
                  </a:lnTo>
                  <a:lnTo>
                    <a:pt x="348" y="172"/>
                  </a:lnTo>
                  <a:lnTo>
                    <a:pt x="348" y="166"/>
                  </a:lnTo>
                  <a:lnTo>
                    <a:pt x="346" y="160"/>
                  </a:lnTo>
                  <a:lnTo>
                    <a:pt x="346" y="158"/>
                  </a:lnTo>
                  <a:lnTo>
                    <a:pt x="346" y="156"/>
                  </a:lnTo>
                  <a:lnTo>
                    <a:pt x="346" y="152"/>
                  </a:lnTo>
                  <a:lnTo>
                    <a:pt x="346" y="150"/>
                  </a:lnTo>
                  <a:lnTo>
                    <a:pt x="346" y="146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2"/>
                  </a:lnTo>
                  <a:lnTo>
                    <a:pt x="342" y="142"/>
                  </a:lnTo>
                  <a:lnTo>
                    <a:pt x="340" y="140"/>
                  </a:lnTo>
                  <a:lnTo>
                    <a:pt x="338" y="138"/>
                  </a:lnTo>
                  <a:lnTo>
                    <a:pt x="336" y="138"/>
                  </a:lnTo>
                  <a:lnTo>
                    <a:pt x="334" y="136"/>
                  </a:lnTo>
                  <a:lnTo>
                    <a:pt x="330" y="134"/>
                  </a:lnTo>
                  <a:lnTo>
                    <a:pt x="326" y="134"/>
                  </a:lnTo>
                  <a:lnTo>
                    <a:pt x="324" y="132"/>
                  </a:lnTo>
                  <a:lnTo>
                    <a:pt x="322" y="132"/>
                  </a:lnTo>
                  <a:lnTo>
                    <a:pt x="318" y="132"/>
                  </a:lnTo>
                  <a:lnTo>
                    <a:pt x="314" y="132"/>
                  </a:lnTo>
                  <a:lnTo>
                    <a:pt x="312" y="130"/>
                  </a:lnTo>
                  <a:lnTo>
                    <a:pt x="312" y="130"/>
                  </a:lnTo>
                  <a:lnTo>
                    <a:pt x="310" y="130"/>
                  </a:lnTo>
                  <a:lnTo>
                    <a:pt x="310" y="130"/>
                  </a:lnTo>
                  <a:lnTo>
                    <a:pt x="308" y="128"/>
                  </a:lnTo>
                  <a:lnTo>
                    <a:pt x="302" y="122"/>
                  </a:lnTo>
                  <a:lnTo>
                    <a:pt x="300" y="120"/>
                  </a:lnTo>
                  <a:lnTo>
                    <a:pt x="298" y="120"/>
                  </a:lnTo>
                  <a:lnTo>
                    <a:pt x="298" y="118"/>
                  </a:lnTo>
                  <a:lnTo>
                    <a:pt x="296" y="118"/>
                  </a:lnTo>
                  <a:lnTo>
                    <a:pt x="296" y="118"/>
                  </a:lnTo>
                  <a:lnTo>
                    <a:pt x="294" y="118"/>
                  </a:lnTo>
                  <a:lnTo>
                    <a:pt x="294" y="118"/>
                  </a:lnTo>
                  <a:lnTo>
                    <a:pt x="292" y="118"/>
                  </a:lnTo>
                  <a:lnTo>
                    <a:pt x="292" y="118"/>
                  </a:lnTo>
                  <a:lnTo>
                    <a:pt x="290" y="120"/>
                  </a:lnTo>
                  <a:lnTo>
                    <a:pt x="290" y="122"/>
                  </a:lnTo>
                  <a:lnTo>
                    <a:pt x="288" y="122"/>
                  </a:lnTo>
                  <a:lnTo>
                    <a:pt x="286" y="124"/>
                  </a:lnTo>
                  <a:lnTo>
                    <a:pt x="286" y="128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2" y="136"/>
                  </a:lnTo>
                  <a:lnTo>
                    <a:pt x="282" y="140"/>
                  </a:lnTo>
                  <a:lnTo>
                    <a:pt x="282" y="142"/>
                  </a:lnTo>
                  <a:lnTo>
                    <a:pt x="282" y="144"/>
                  </a:lnTo>
                  <a:lnTo>
                    <a:pt x="282" y="146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8" y="150"/>
                  </a:lnTo>
                  <a:lnTo>
                    <a:pt x="290" y="150"/>
                  </a:lnTo>
                  <a:lnTo>
                    <a:pt x="292" y="150"/>
                  </a:lnTo>
                  <a:lnTo>
                    <a:pt x="292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2"/>
                  </a:lnTo>
                  <a:lnTo>
                    <a:pt x="294" y="154"/>
                  </a:lnTo>
                  <a:lnTo>
                    <a:pt x="296" y="156"/>
                  </a:lnTo>
                  <a:lnTo>
                    <a:pt x="296" y="158"/>
                  </a:lnTo>
                  <a:lnTo>
                    <a:pt x="296" y="162"/>
                  </a:lnTo>
                  <a:lnTo>
                    <a:pt x="296" y="164"/>
                  </a:lnTo>
                  <a:lnTo>
                    <a:pt x="296" y="168"/>
                  </a:lnTo>
                  <a:lnTo>
                    <a:pt x="296" y="170"/>
                  </a:lnTo>
                  <a:lnTo>
                    <a:pt x="296" y="174"/>
                  </a:lnTo>
                  <a:lnTo>
                    <a:pt x="296" y="180"/>
                  </a:lnTo>
                  <a:lnTo>
                    <a:pt x="296" y="186"/>
                  </a:lnTo>
                  <a:lnTo>
                    <a:pt x="294" y="190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6" y="192"/>
                  </a:lnTo>
                  <a:lnTo>
                    <a:pt x="284" y="192"/>
                  </a:lnTo>
                  <a:lnTo>
                    <a:pt x="282" y="194"/>
                  </a:lnTo>
                  <a:lnTo>
                    <a:pt x="280" y="194"/>
                  </a:lnTo>
                  <a:lnTo>
                    <a:pt x="278" y="196"/>
                  </a:lnTo>
                  <a:lnTo>
                    <a:pt x="276" y="196"/>
                  </a:lnTo>
                  <a:lnTo>
                    <a:pt x="276" y="198"/>
                  </a:lnTo>
                  <a:lnTo>
                    <a:pt x="274" y="198"/>
                  </a:lnTo>
                  <a:lnTo>
                    <a:pt x="274" y="200"/>
                  </a:lnTo>
                  <a:lnTo>
                    <a:pt x="274" y="200"/>
                  </a:lnTo>
                  <a:lnTo>
                    <a:pt x="274" y="202"/>
                  </a:lnTo>
                  <a:lnTo>
                    <a:pt x="274" y="202"/>
                  </a:lnTo>
                  <a:lnTo>
                    <a:pt x="274" y="206"/>
                  </a:lnTo>
                  <a:lnTo>
                    <a:pt x="274" y="208"/>
                  </a:lnTo>
                  <a:lnTo>
                    <a:pt x="276" y="210"/>
                  </a:lnTo>
                  <a:lnTo>
                    <a:pt x="276" y="214"/>
                  </a:lnTo>
                  <a:lnTo>
                    <a:pt x="276" y="214"/>
                  </a:lnTo>
                  <a:lnTo>
                    <a:pt x="276" y="216"/>
                  </a:lnTo>
                  <a:lnTo>
                    <a:pt x="276" y="216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72" y="220"/>
                  </a:lnTo>
                  <a:lnTo>
                    <a:pt x="270" y="220"/>
                  </a:lnTo>
                  <a:lnTo>
                    <a:pt x="270" y="220"/>
                  </a:lnTo>
                  <a:lnTo>
                    <a:pt x="268" y="222"/>
                  </a:lnTo>
                  <a:lnTo>
                    <a:pt x="266" y="224"/>
                  </a:lnTo>
                  <a:lnTo>
                    <a:pt x="264" y="230"/>
                  </a:lnTo>
                  <a:lnTo>
                    <a:pt x="262" y="232"/>
                  </a:lnTo>
                  <a:lnTo>
                    <a:pt x="262" y="234"/>
                  </a:lnTo>
                  <a:lnTo>
                    <a:pt x="260" y="236"/>
                  </a:lnTo>
                  <a:lnTo>
                    <a:pt x="260" y="236"/>
                  </a:lnTo>
                  <a:lnTo>
                    <a:pt x="258" y="238"/>
                  </a:lnTo>
                  <a:lnTo>
                    <a:pt x="258" y="238"/>
                  </a:lnTo>
                  <a:lnTo>
                    <a:pt x="256" y="238"/>
                  </a:lnTo>
                  <a:lnTo>
                    <a:pt x="254" y="240"/>
                  </a:lnTo>
                  <a:lnTo>
                    <a:pt x="252" y="240"/>
                  </a:lnTo>
                  <a:lnTo>
                    <a:pt x="250" y="242"/>
                  </a:lnTo>
                  <a:lnTo>
                    <a:pt x="248" y="242"/>
                  </a:lnTo>
                  <a:lnTo>
                    <a:pt x="244" y="242"/>
                  </a:lnTo>
                  <a:lnTo>
                    <a:pt x="242" y="244"/>
                  </a:lnTo>
                  <a:lnTo>
                    <a:pt x="240" y="244"/>
                  </a:lnTo>
                  <a:lnTo>
                    <a:pt x="240" y="246"/>
                  </a:lnTo>
                  <a:lnTo>
                    <a:pt x="238" y="248"/>
                  </a:lnTo>
                  <a:lnTo>
                    <a:pt x="236" y="252"/>
                  </a:lnTo>
                  <a:lnTo>
                    <a:pt x="234" y="254"/>
                  </a:lnTo>
                  <a:lnTo>
                    <a:pt x="232" y="256"/>
                  </a:lnTo>
                  <a:lnTo>
                    <a:pt x="230" y="258"/>
                  </a:lnTo>
                  <a:lnTo>
                    <a:pt x="230" y="258"/>
                  </a:lnTo>
                  <a:lnTo>
                    <a:pt x="228" y="258"/>
                  </a:lnTo>
                  <a:lnTo>
                    <a:pt x="224" y="260"/>
                  </a:lnTo>
                  <a:lnTo>
                    <a:pt x="220" y="262"/>
                  </a:lnTo>
                  <a:lnTo>
                    <a:pt x="218" y="262"/>
                  </a:lnTo>
                  <a:lnTo>
                    <a:pt x="218" y="262"/>
                  </a:lnTo>
                  <a:lnTo>
                    <a:pt x="216" y="264"/>
                  </a:lnTo>
                  <a:lnTo>
                    <a:pt x="216" y="264"/>
                  </a:lnTo>
                  <a:lnTo>
                    <a:pt x="214" y="264"/>
                  </a:lnTo>
                  <a:lnTo>
                    <a:pt x="214" y="266"/>
                  </a:lnTo>
                  <a:lnTo>
                    <a:pt x="214" y="268"/>
                  </a:lnTo>
                  <a:lnTo>
                    <a:pt x="212" y="270"/>
                  </a:lnTo>
                  <a:lnTo>
                    <a:pt x="212" y="272"/>
                  </a:lnTo>
                  <a:lnTo>
                    <a:pt x="210" y="276"/>
                  </a:lnTo>
                  <a:lnTo>
                    <a:pt x="210" y="278"/>
                  </a:lnTo>
                  <a:lnTo>
                    <a:pt x="210" y="280"/>
                  </a:lnTo>
                  <a:lnTo>
                    <a:pt x="208" y="282"/>
                  </a:lnTo>
                  <a:lnTo>
                    <a:pt x="208" y="282"/>
                  </a:lnTo>
                  <a:lnTo>
                    <a:pt x="206" y="284"/>
                  </a:lnTo>
                  <a:lnTo>
                    <a:pt x="206" y="286"/>
                  </a:lnTo>
                  <a:lnTo>
                    <a:pt x="202" y="286"/>
                  </a:lnTo>
                  <a:lnTo>
                    <a:pt x="200" y="288"/>
                  </a:lnTo>
                  <a:lnTo>
                    <a:pt x="196" y="292"/>
                  </a:lnTo>
                  <a:lnTo>
                    <a:pt x="192" y="294"/>
                  </a:lnTo>
                  <a:lnTo>
                    <a:pt x="190" y="296"/>
                  </a:lnTo>
                  <a:lnTo>
                    <a:pt x="188" y="296"/>
                  </a:lnTo>
                  <a:lnTo>
                    <a:pt x="182" y="300"/>
                  </a:lnTo>
                  <a:lnTo>
                    <a:pt x="180" y="300"/>
                  </a:lnTo>
                  <a:lnTo>
                    <a:pt x="176" y="302"/>
                  </a:lnTo>
                  <a:lnTo>
                    <a:pt x="176" y="304"/>
                  </a:lnTo>
                  <a:lnTo>
                    <a:pt x="174" y="304"/>
                  </a:lnTo>
                  <a:lnTo>
                    <a:pt x="174" y="306"/>
                  </a:lnTo>
                  <a:lnTo>
                    <a:pt x="172" y="306"/>
                  </a:lnTo>
                  <a:lnTo>
                    <a:pt x="172" y="308"/>
                  </a:lnTo>
                  <a:lnTo>
                    <a:pt x="172" y="308"/>
                  </a:lnTo>
                  <a:lnTo>
                    <a:pt x="172" y="310"/>
                  </a:lnTo>
                  <a:lnTo>
                    <a:pt x="172" y="312"/>
                  </a:lnTo>
                  <a:lnTo>
                    <a:pt x="172" y="314"/>
                  </a:lnTo>
                  <a:lnTo>
                    <a:pt x="172" y="318"/>
                  </a:lnTo>
                  <a:lnTo>
                    <a:pt x="172" y="322"/>
                  </a:lnTo>
                  <a:lnTo>
                    <a:pt x="174" y="324"/>
                  </a:lnTo>
                  <a:lnTo>
                    <a:pt x="176" y="332"/>
                  </a:lnTo>
                  <a:lnTo>
                    <a:pt x="178" y="340"/>
                  </a:lnTo>
                  <a:lnTo>
                    <a:pt x="178" y="344"/>
                  </a:lnTo>
                  <a:lnTo>
                    <a:pt x="180" y="346"/>
                  </a:lnTo>
                  <a:lnTo>
                    <a:pt x="180" y="350"/>
                  </a:lnTo>
                  <a:lnTo>
                    <a:pt x="180" y="352"/>
                  </a:lnTo>
                  <a:lnTo>
                    <a:pt x="180" y="352"/>
                  </a:lnTo>
                  <a:lnTo>
                    <a:pt x="180" y="354"/>
                  </a:lnTo>
                  <a:lnTo>
                    <a:pt x="178" y="356"/>
                  </a:lnTo>
                  <a:lnTo>
                    <a:pt x="178" y="356"/>
                  </a:lnTo>
                  <a:lnTo>
                    <a:pt x="178" y="358"/>
                  </a:lnTo>
                  <a:lnTo>
                    <a:pt x="178" y="358"/>
                  </a:lnTo>
                  <a:lnTo>
                    <a:pt x="176" y="358"/>
                  </a:lnTo>
                  <a:lnTo>
                    <a:pt x="174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0"/>
                  </a:lnTo>
                  <a:lnTo>
                    <a:pt x="172" y="362"/>
                  </a:lnTo>
                  <a:lnTo>
                    <a:pt x="172" y="362"/>
                  </a:lnTo>
                  <a:lnTo>
                    <a:pt x="172" y="364"/>
                  </a:lnTo>
                  <a:lnTo>
                    <a:pt x="172" y="366"/>
                  </a:lnTo>
                  <a:lnTo>
                    <a:pt x="172" y="368"/>
                  </a:lnTo>
                  <a:lnTo>
                    <a:pt x="172" y="368"/>
                  </a:lnTo>
                  <a:lnTo>
                    <a:pt x="174" y="372"/>
                  </a:lnTo>
                  <a:lnTo>
                    <a:pt x="176" y="376"/>
                  </a:lnTo>
                  <a:lnTo>
                    <a:pt x="176" y="378"/>
                  </a:lnTo>
                  <a:lnTo>
                    <a:pt x="178" y="380"/>
                  </a:lnTo>
                  <a:lnTo>
                    <a:pt x="178" y="382"/>
                  </a:lnTo>
                  <a:lnTo>
                    <a:pt x="178" y="382"/>
                  </a:lnTo>
                  <a:lnTo>
                    <a:pt x="178" y="384"/>
                  </a:lnTo>
                  <a:lnTo>
                    <a:pt x="178" y="386"/>
                  </a:lnTo>
                  <a:lnTo>
                    <a:pt x="178" y="386"/>
                  </a:lnTo>
                  <a:lnTo>
                    <a:pt x="176" y="388"/>
                  </a:lnTo>
                  <a:lnTo>
                    <a:pt x="176" y="390"/>
                  </a:lnTo>
                  <a:lnTo>
                    <a:pt x="174" y="394"/>
                  </a:lnTo>
                  <a:lnTo>
                    <a:pt x="170" y="398"/>
                  </a:lnTo>
                  <a:lnTo>
                    <a:pt x="168" y="402"/>
                  </a:lnTo>
                  <a:lnTo>
                    <a:pt x="166" y="406"/>
                  </a:lnTo>
                  <a:lnTo>
                    <a:pt x="164" y="410"/>
                  </a:lnTo>
                  <a:lnTo>
                    <a:pt x="162" y="412"/>
                  </a:lnTo>
                  <a:lnTo>
                    <a:pt x="160" y="414"/>
                  </a:lnTo>
                  <a:lnTo>
                    <a:pt x="160" y="416"/>
                  </a:lnTo>
                  <a:lnTo>
                    <a:pt x="158" y="418"/>
                  </a:lnTo>
                  <a:lnTo>
                    <a:pt x="156" y="420"/>
                  </a:lnTo>
                  <a:lnTo>
                    <a:pt x="154" y="420"/>
                  </a:lnTo>
                  <a:lnTo>
                    <a:pt x="152" y="422"/>
                  </a:lnTo>
                  <a:lnTo>
                    <a:pt x="150" y="424"/>
                  </a:lnTo>
                  <a:lnTo>
                    <a:pt x="148" y="426"/>
                  </a:lnTo>
                  <a:lnTo>
                    <a:pt x="146" y="426"/>
                  </a:lnTo>
                  <a:lnTo>
                    <a:pt x="144" y="426"/>
                  </a:lnTo>
                  <a:lnTo>
                    <a:pt x="142" y="426"/>
                  </a:lnTo>
                  <a:lnTo>
                    <a:pt x="142" y="426"/>
                  </a:lnTo>
                  <a:lnTo>
                    <a:pt x="140" y="426"/>
                  </a:lnTo>
                  <a:lnTo>
                    <a:pt x="140" y="426"/>
                  </a:lnTo>
                  <a:lnTo>
                    <a:pt x="138" y="426"/>
                  </a:lnTo>
                  <a:lnTo>
                    <a:pt x="136" y="424"/>
                  </a:lnTo>
                  <a:lnTo>
                    <a:pt x="136" y="424"/>
                  </a:lnTo>
                  <a:lnTo>
                    <a:pt x="134" y="422"/>
                  </a:lnTo>
                  <a:lnTo>
                    <a:pt x="134" y="422"/>
                  </a:lnTo>
                  <a:lnTo>
                    <a:pt x="132" y="420"/>
                  </a:lnTo>
                  <a:lnTo>
                    <a:pt x="132" y="420"/>
                  </a:lnTo>
                  <a:lnTo>
                    <a:pt x="132" y="418"/>
                  </a:lnTo>
                  <a:lnTo>
                    <a:pt x="132" y="416"/>
                  </a:lnTo>
                  <a:lnTo>
                    <a:pt x="132" y="414"/>
                  </a:lnTo>
                  <a:lnTo>
                    <a:pt x="130" y="412"/>
                  </a:lnTo>
                  <a:lnTo>
                    <a:pt x="130" y="406"/>
                  </a:lnTo>
                  <a:lnTo>
                    <a:pt x="130" y="404"/>
                  </a:lnTo>
                  <a:lnTo>
                    <a:pt x="130" y="402"/>
                  </a:lnTo>
                  <a:lnTo>
                    <a:pt x="130" y="400"/>
                  </a:lnTo>
                  <a:lnTo>
                    <a:pt x="128" y="398"/>
                  </a:lnTo>
                  <a:lnTo>
                    <a:pt x="126" y="392"/>
                  </a:lnTo>
                  <a:lnTo>
                    <a:pt x="124" y="388"/>
                  </a:lnTo>
                  <a:lnTo>
                    <a:pt x="122" y="382"/>
                  </a:lnTo>
                  <a:lnTo>
                    <a:pt x="116" y="370"/>
                  </a:lnTo>
                  <a:lnTo>
                    <a:pt x="114" y="366"/>
                  </a:lnTo>
                  <a:lnTo>
                    <a:pt x="112" y="362"/>
                  </a:lnTo>
                  <a:lnTo>
                    <a:pt x="110" y="358"/>
                  </a:lnTo>
                  <a:lnTo>
                    <a:pt x="108" y="352"/>
                  </a:lnTo>
                  <a:lnTo>
                    <a:pt x="104" y="340"/>
                  </a:lnTo>
                  <a:lnTo>
                    <a:pt x="102" y="334"/>
                  </a:lnTo>
                  <a:lnTo>
                    <a:pt x="100" y="328"/>
                  </a:lnTo>
                  <a:lnTo>
                    <a:pt x="98" y="322"/>
                  </a:lnTo>
                  <a:lnTo>
                    <a:pt x="96" y="318"/>
                  </a:lnTo>
                  <a:lnTo>
                    <a:pt x="94" y="314"/>
                  </a:lnTo>
                  <a:lnTo>
                    <a:pt x="92" y="312"/>
                  </a:lnTo>
                  <a:lnTo>
                    <a:pt x="88" y="304"/>
                  </a:lnTo>
                  <a:lnTo>
                    <a:pt x="84" y="300"/>
                  </a:lnTo>
                  <a:lnTo>
                    <a:pt x="82" y="298"/>
                  </a:lnTo>
                  <a:lnTo>
                    <a:pt x="80" y="294"/>
                  </a:lnTo>
                  <a:lnTo>
                    <a:pt x="80" y="292"/>
                  </a:lnTo>
                  <a:lnTo>
                    <a:pt x="78" y="292"/>
                  </a:lnTo>
                  <a:lnTo>
                    <a:pt x="78" y="288"/>
                  </a:lnTo>
                  <a:lnTo>
                    <a:pt x="76" y="284"/>
                  </a:lnTo>
                  <a:lnTo>
                    <a:pt x="74" y="278"/>
                  </a:lnTo>
                  <a:lnTo>
                    <a:pt x="74" y="274"/>
                  </a:lnTo>
                  <a:lnTo>
                    <a:pt x="72" y="268"/>
                  </a:lnTo>
                  <a:lnTo>
                    <a:pt x="72" y="264"/>
                  </a:lnTo>
                  <a:lnTo>
                    <a:pt x="72" y="260"/>
                  </a:lnTo>
                  <a:lnTo>
                    <a:pt x="70" y="256"/>
                  </a:lnTo>
                  <a:lnTo>
                    <a:pt x="70" y="252"/>
                  </a:lnTo>
                  <a:lnTo>
                    <a:pt x="70" y="250"/>
                  </a:lnTo>
                  <a:lnTo>
                    <a:pt x="70" y="240"/>
                  </a:lnTo>
                  <a:lnTo>
                    <a:pt x="72" y="232"/>
                  </a:lnTo>
                  <a:lnTo>
                    <a:pt x="72" y="228"/>
                  </a:lnTo>
                  <a:lnTo>
                    <a:pt x="70" y="224"/>
                  </a:lnTo>
                  <a:lnTo>
                    <a:pt x="70" y="218"/>
                  </a:lnTo>
                  <a:lnTo>
                    <a:pt x="70" y="212"/>
                  </a:lnTo>
                  <a:lnTo>
                    <a:pt x="70" y="208"/>
                  </a:lnTo>
                  <a:lnTo>
                    <a:pt x="68" y="206"/>
                  </a:lnTo>
                  <a:lnTo>
                    <a:pt x="68" y="202"/>
                  </a:lnTo>
                  <a:lnTo>
                    <a:pt x="68" y="200"/>
                  </a:lnTo>
                  <a:lnTo>
                    <a:pt x="66" y="196"/>
                  </a:lnTo>
                  <a:lnTo>
                    <a:pt x="66" y="192"/>
                  </a:lnTo>
                  <a:lnTo>
                    <a:pt x="64" y="190"/>
                  </a:lnTo>
                  <a:lnTo>
                    <a:pt x="64" y="188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6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60" y="184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8" y="188"/>
                  </a:lnTo>
                  <a:lnTo>
                    <a:pt x="58" y="190"/>
                  </a:lnTo>
                  <a:lnTo>
                    <a:pt x="60" y="192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60" y="198"/>
                  </a:lnTo>
                  <a:lnTo>
                    <a:pt x="60" y="198"/>
                  </a:lnTo>
                  <a:lnTo>
                    <a:pt x="60" y="200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4"/>
                  </a:lnTo>
                  <a:lnTo>
                    <a:pt x="54" y="206"/>
                  </a:lnTo>
                  <a:lnTo>
                    <a:pt x="52" y="206"/>
                  </a:lnTo>
                  <a:lnTo>
                    <a:pt x="52" y="208"/>
                  </a:lnTo>
                  <a:lnTo>
                    <a:pt x="50" y="208"/>
                  </a:lnTo>
                  <a:lnTo>
                    <a:pt x="48" y="208"/>
                  </a:lnTo>
                  <a:lnTo>
                    <a:pt x="48" y="210"/>
                  </a:lnTo>
                  <a:lnTo>
                    <a:pt x="44" y="210"/>
                  </a:lnTo>
                  <a:lnTo>
                    <a:pt x="42" y="210"/>
                  </a:lnTo>
                  <a:lnTo>
                    <a:pt x="38" y="210"/>
                  </a:lnTo>
                  <a:lnTo>
                    <a:pt x="36" y="210"/>
                  </a:lnTo>
                  <a:lnTo>
                    <a:pt x="34" y="208"/>
                  </a:lnTo>
                  <a:lnTo>
                    <a:pt x="30" y="208"/>
                  </a:lnTo>
                  <a:lnTo>
                    <a:pt x="30" y="208"/>
                  </a:lnTo>
                  <a:lnTo>
                    <a:pt x="28" y="208"/>
                  </a:lnTo>
                  <a:lnTo>
                    <a:pt x="28" y="206"/>
                  </a:lnTo>
                  <a:lnTo>
                    <a:pt x="26" y="206"/>
                  </a:lnTo>
                  <a:lnTo>
                    <a:pt x="24" y="204"/>
                  </a:lnTo>
                  <a:lnTo>
                    <a:pt x="20" y="200"/>
                  </a:lnTo>
                  <a:lnTo>
                    <a:pt x="18" y="198"/>
                  </a:lnTo>
                  <a:lnTo>
                    <a:pt x="16" y="194"/>
                  </a:lnTo>
                  <a:lnTo>
                    <a:pt x="14" y="194"/>
                  </a:lnTo>
                  <a:lnTo>
                    <a:pt x="14" y="192"/>
                  </a:lnTo>
                  <a:lnTo>
                    <a:pt x="12" y="190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6"/>
                  </a:lnTo>
                  <a:lnTo>
                    <a:pt x="12" y="186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4" y="184"/>
                  </a:lnTo>
                  <a:lnTo>
                    <a:pt x="16" y="182"/>
                  </a:lnTo>
                  <a:lnTo>
                    <a:pt x="18" y="180"/>
                  </a:lnTo>
                  <a:lnTo>
                    <a:pt x="18" y="178"/>
                  </a:lnTo>
                  <a:lnTo>
                    <a:pt x="20" y="178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18" y="174"/>
                  </a:lnTo>
                  <a:lnTo>
                    <a:pt x="16" y="174"/>
                  </a:lnTo>
                  <a:lnTo>
                    <a:pt x="14" y="174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0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6" y="174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2" y="162"/>
                  </a:lnTo>
                  <a:lnTo>
                    <a:pt x="4" y="160"/>
                  </a:lnTo>
                  <a:lnTo>
                    <a:pt x="6" y="158"/>
                  </a:lnTo>
                  <a:lnTo>
                    <a:pt x="6" y="156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6" y="154"/>
                  </a:lnTo>
                  <a:lnTo>
                    <a:pt x="20" y="154"/>
                  </a:lnTo>
                  <a:lnTo>
                    <a:pt x="24" y="156"/>
                  </a:lnTo>
                  <a:lnTo>
                    <a:pt x="28" y="156"/>
                  </a:lnTo>
                  <a:lnTo>
                    <a:pt x="30" y="156"/>
                  </a:lnTo>
                  <a:lnTo>
                    <a:pt x="32" y="156"/>
                  </a:lnTo>
                  <a:lnTo>
                    <a:pt x="34" y="156"/>
                  </a:lnTo>
                  <a:lnTo>
                    <a:pt x="36" y="156"/>
                  </a:lnTo>
                  <a:lnTo>
                    <a:pt x="38" y="156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48"/>
                  </a:lnTo>
                  <a:lnTo>
                    <a:pt x="40" y="146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38" y="140"/>
                  </a:lnTo>
                  <a:lnTo>
                    <a:pt x="38" y="136"/>
                  </a:lnTo>
                  <a:lnTo>
                    <a:pt x="36" y="134"/>
                  </a:lnTo>
                  <a:lnTo>
                    <a:pt x="34" y="132"/>
                  </a:lnTo>
                  <a:lnTo>
                    <a:pt x="28" y="126"/>
                  </a:lnTo>
                  <a:lnTo>
                    <a:pt x="24" y="122"/>
                  </a:lnTo>
                  <a:lnTo>
                    <a:pt x="24" y="120"/>
                  </a:lnTo>
                  <a:lnTo>
                    <a:pt x="22" y="120"/>
                  </a:lnTo>
                  <a:lnTo>
                    <a:pt x="18" y="116"/>
                  </a:lnTo>
                  <a:lnTo>
                    <a:pt x="16" y="114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6" y="98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20" y="90"/>
                  </a:lnTo>
                  <a:lnTo>
                    <a:pt x="22" y="88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30" y="86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8" y="90"/>
                  </a:lnTo>
                  <a:lnTo>
                    <a:pt x="42" y="92"/>
                  </a:lnTo>
                  <a:lnTo>
                    <a:pt x="44" y="94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4" y="90"/>
                  </a:lnTo>
                  <a:lnTo>
                    <a:pt x="54" y="86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2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8" y="72"/>
                  </a:lnTo>
                  <a:lnTo>
                    <a:pt x="60" y="70"/>
                  </a:lnTo>
                  <a:lnTo>
                    <a:pt x="62" y="68"/>
                  </a:lnTo>
                  <a:lnTo>
                    <a:pt x="64" y="66"/>
                  </a:lnTo>
                  <a:lnTo>
                    <a:pt x="66" y="64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58"/>
                  </a:lnTo>
                  <a:lnTo>
                    <a:pt x="74" y="56"/>
                  </a:lnTo>
                  <a:lnTo>
                    <a:pt x="74" y="52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8" y="46"/>
                  </a:lnTo>
                  <a:lnTo>
                    <a:pt x="78" y="44"/>
                  </a:lnTo>
                  <a:lnTo>
                    <a:pt x="80" y="42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8" y="26"/>
                  </a:lnTo>
                  <a:lnTo>
                    <a:pt x="88" y="22"/>
                  </a:lnTo>
                  <a:lnTo>
                    <a:pt x="86" y="16"/>
                  </a:lnTo>
                  <a:lnTo>
                    <a:pt x="86" y="12"/>
                  </a:lnTo>
                  <a:lnTo>
                    <a:pt x="88" y="10"/>
                  </a:lnTo>
                  <a:lnTo>
                    <a:pt x="94" y="6"/>
                  </a:lnTo>
                  <a:lnTo>
                    <a:pt x="98" y="4"/>
                  </a:lnTo>
                  <a:lnTo>
                    <a:pt x="100" y="2"/>
                  </a:lnTo>
                  <a:lnTo>
                    <a:pt x="10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8" y="0"/>
                  </a:lnTo>
                  <a:lnTo>
                    <a:pt x="122" y="0"/>
                  </a:lnTo>
                  <a:lnTo>
                    <a:pt x="122" y="2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0" y="6"/>
                  </a:lnTo>
                  <a:lnTo>
                    <a:pt x="132" y="8"/>
                  </a:lnTo>
                  <a:lnTo>
                    <a:pt x="134" y="8"/>
                  </a:lnTo>
                  <a:lnTo>
                    <a:pt x="134" y="10"/>
                  </a:lnTo>
                  <a:lnTo>
                    <a:pt x="134" y="12"/>
                  </a:lnTo>
                  <a:lnTo>
                    <a:pt x="134" y="12"/>
                  </a:lnTo>
                  <a:lnTo>
                    <a:pt x="134" y="14"/>
                  </a:lnTo>
                  <a:lnTo>
                    <a:pt x="134" y="16"/>
                  </a:lnTo>
                  <a:lnTo>
                    <a:pt x="134" y="20"/>
                  </a:lnTo>
                  <a:lnTo>
                    <a:pt x="134" y="24"/>
                  </a:lnTo>
                  <a:lnTo>
                    <a:pt x="132" y="28"/>
                  </a:lnTo>
                  <a:lnTo>
                    <a:pt x="132" y="28"/>
                  </a:lnTo>
                  <a:lnTo>
                    <a:pt x="132" y="30"/>
                  </a:lnTo>
                  <a:lnTo>
                    <a:pt x="132" y="32"/>
                  </a:lnTo>
                  <a:lnTo>
                    <a:pt x="132" y="34"/>
                  </a:lnTo>
                  <a:lnTo>
                    <a:pt x="134" y="34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4" y="38"/>
                  </a:lnTo>
                  <a:lnTo>
                    <a:pt x="148" y="38"/>
                  </a:lnTo>
                  <a:lnTo>
                    <a:pt x="150" y="40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2"/>
                  </a:lnTo>
                  <a:lnTo>
                    <a:pt x="158" y="44"/>
                  </a:lnTo>
                  <a:lnTo>
                    <a:pt x="162" y="46"/>
                  </a:lnTo>
                  <a:lnTo>
                    <a:pt x="164" y="48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68" y="56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8" y="72"/>
                  </a:lnTo>
                  <a:lnTo>
                    <a:pt x="170" y="74"/>
                  </a:lnTo>
                  <a:lnTo>
                    <a:pt x="170" y="76"/>
                  </a:lnTo>
                  <a:lnTo>
                    <a:pt x="170" y="78"/>
                  </a:lnTo>
                  <a:lnTo>
                    <a:pt x="172" y="80"/>
                  </a:lnTo>
                  <a:lnTo>
                    <a:pt x="172" y="82"/>
                  </a:lnTo>
                  <a:lnTo>
                    <a:pt x="174" y="84"/>
                  </a:lnTo>
                  <a:lnTo>
                    <a:pt x="176" y="86"/>
                  </a:lnTo>
                  <a:lnTo>
                    <a:pt x="176" y="88"/>
                  </a:lnTo>
                  <a:lnTo>
                    <a:pt x="178" y="90"/>
                  </a:lnTo>
                  <a:lnTo>
                    <a:pt x="180" y="90"/>
                  </a:lnTo>
                  <a:lnTo>
                    <a:pt x="182" y="92"/>
                  </a:lnTo>
                  <a:lnTo>
                    <a:pt x="184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90" y="94"/>
                  </a:lnTo>
                  <a:lnTo>
                    <a:pt x="196" y="96"/>
                  </a:lnTo>
                  <a:lnTo>
                    <a:pt x="198" y="96"/>
                  </a:lnTo>
                  <a:lnTo>
                    <a:pt x="200" y="96"/>
                  </a:lnTo>
                  <a:lnTo>
                    <a:pt x="204" y="98"/>
                  </a:lnTo>
                  <a:lnTo>
                    <a:pt x="210" y="102"/>
                  </a:lnTo>
                  <a:lnTo>
                    <a:pt x="216" y="104"/>
                  </a:lnTo>
                  <a:lnTo>
                    <a:pt x="220" y="104"/>
                  </a:lnTo>
                  <a:lnTo>
                    <a:pt x="222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30" y="108"/>
                  </a:lnTo>
                  <a:lnTo>
                    <a:pt x="236" y="108"/>
                  </a:lnTo>
                  <a:lnTo>
                    <a:pt x="238" y="108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42" y="110"/>
                  </a:lnTo>
                  <a:lnTo>
                    <a:pt x="246" y="114"/>
                  </a:lnTo>
                  <a:lnTo>
                    <a:pt x="248" y="114"/>
                  </a:lnTo>
                  <a:lnTo>
                    <a:pt x="250" y="116"/>
                  </a:lnTo>
                  <a:lnTo>
                    <a:pt x="250" y="116"/>
                  </a:lnTo>
                  <a:lnTo>
                    <a:pt x="252" y="116"/>
                  </a:lnTo>
                  <a:lnTo>
                    <a:pt x="254" y="118"/>
                  </a:lnTo>
                  <a:lnTo>
                    <a:pt x="256" y="118"/>
                  </a:lnTo>
                  <a:lnTo>
                    <a:pt x="258" y="116"/>
                  </a:lnTo>
                  <a:lnTo>
                    <a:pt x="260" y="116"/>
                  </a:lnTo>
                  <a:lnTo>
                    <a:pt x="264" y="116"/>
                  </a:lnTo>
                  <a:lnTo>
                    <a:pt x="266" y="116"/>
                  </a:lnTo>
                  <a:lnTo>
                    <a:pt x="268" y="116"/>
                  </a:lnTo>
                  <a:lnTo>
                    <a:pt x="270" y="116"/>
                  </a:lnTo>
                  <a:lnTo>
                    <a:pt x="272" y="116"/>
                  </a:lnTo>
                  <a:lnTo>
                    <a:pt x="276" y="116"/>
                  </a:lnTo>
                  <a:lnTo>
                    <a:pt x="278" y="116"/>
                  </a:lnTo>
                  <a:lnTo>
                    <a:pt x="280" y="116"/>
                  </a:lnTo>
                  <a:lnTo>
                    <a:pt x="280" y="116"/>
                  </a:lnTo>
                  <a:lnTo>
                    <a:pt x="282" y="116"/>
                  </a:lnTo>
                  <a:lnTo>
                    <a:pt x="282" y="116"/>
                  </a:lnTo>
                  <a:lnTo>
                    <a:pt x="282" y="114"/>
                  </a:lnTo>
                  <a:lnTo>
                    <a:pt x="284" y="114"/>
                  </a:lnTo>
                  <a:lnTo>
                    <a:pt x="284" y="112"/>
                  </a:lnTo>
                  <a:lnTo>
                    <a:pt x="286" y="110"/>
                  </a:lnTo>
                  <a:lnTo>
                    <a:pt x="288" y="108"/>
                  </a:lnTo>
                  <a:lnTo>
                    <a:pt x="290" y="102"/>
                  </a:lnTo>
                  <a:lnTo>
                    <a:pt x="290" y="100"/>
                  </a:lnTo>
                  <a:lnTo>
                    <a:pt x="298" y="86"/>
                  </a:lnTo>
                  <a:lnTo>
                    <a:pt x="300" y="88"/>
                  </a:lnTo>
                  <a:lnTo>
                    <a:pt x="304" y="90"/>
                  </a:lnTo>
                  <a:lnTo>
                    <a:pt x="308" y="92"/>
                  </a:lnTo>
                  <a:lnTo>
                    <a:pt x="312" y="94"/>
                  </a:lnTo>
                  <a:lnTo>
                    <a:pt x="314" y="94"/>
                  </a:lnTo>
                  <a:lnTo>
                    <a:pt x="314" y="94"/>
                  </a:lnTo>
                  <a:lnTo>
                    <a:pt x="316" y="94"/>
                  </a:lnTo>
                  <a:lnTo>
                    <a:pt x="320" y="94"/>
                  </a:lnTo>
                  <a:lnTo>
                    <a:pt x="324" y="94"/>
                  </a:lnTo>
                  <a:lnTo>
                    <a:pt x="328" y="94"/>
                  </a:lnTo>
                  <a:lnTo>
                    <a:pt x="334" y="94"/>
                  </a:lnTo>
                  <a:lnTo>
                    <a:pt x="338" y="94"/>
                  </a:lnTo>
                  <a:lnTo>
                    <a:pt x="340" y="90"/>
                  </a:lnTo>
                  <a:lnTo>
                    <a:pt x="342" y="86"/>
                  </a:lnTo>
                  <a:lnTo>
                    <a:pt x="344" y="84"/>
                  </a:lnTo>
                  <a:lnTo>
                    <a:pt x="344" y="82"/>
                  </a:lnTo>
                  <a:lnTo>
                    <a:pt x="346" y="82"/>
                  </a:lnTo>
                  <a:lnTo>
                    <a:pt x="348" y="80"/>
                  </a:lnTo>
                  <a:lnTo>
                    <a:pt x="350" y="78"/>
                  </a:lnTo>
                  <a:lnTo>
                    <a:pt x="354" y="78"/>
                  </a:lnTo>
                  <a:lnTo>
                    <a:pt x="356" y="76"/>
                  </a:lnTo>
                  <a:lnTo>
                    <a:pt x="358" y="74"/>
                  </a:lnTo>
                  <a:lnTo>
                    <a:pt x="360" y="74"/>
                  </a:lnTo>
                  <a:lnTo>
                    <a:pt x="362" y="72"/>
                  </a:lnTo>
                  <a:lnTo>
                    <a:pt x="364" y="72"/>
                  </a:lnTo>
                  <a:lnTo>
                    <a:pt x="368" y="72"/>
                  </a:lnTo>
                  <a:lnTo>
                    <a:pt x="370" y="72"/>
                  </a:lnTo>
                  <a:lnTo>
                    <a:pt x="374" y="72"/>
                  </a:lnTo>
                  <a:lnTo>
                    <a:pt x="378" y="72"/>
                  </a:lnTo>
                  <a:lnTo>
                    <a:pt x="380" y="72"/>
                  </a:lnTo>
                  <a:lnTo>
                    <a:pt x="382" y="72"/>
                  </a:lnTo>
                  <a:lnTo>
                    <a:pt x="386" y="72"/>
                  </a:lnTo>
                  <a:lnTo>
                    <a:pt x="388" y="74"/>
                  </a:lnTo>
                  <a:lnTo>
                    <a:pt x="390" y="74"/>
                  </a:lnTo>
                  <a:lnTo>
                    <a:pt x="392" y="76"/>
                  </a:lnTo>
                  <a:lnTo>
                    <a:pt x="394" y="76"/>
                  </a:lnTo>
                  <a:lnTo>
                    <a:pt x="396" y="78"/>
                  </a:lnTo>
                  <a:lnTo>
                    <a:pt x="398" y="80"/>
                  </a:lnTo>
                  <a:lnTo>
                    <a:pt x="400" y="80"/>
                  </a:lnTo>
                  <a:lnTo>
                    <a:pt x="402" y="82"/>
                  </a:lnTo>
                  <a:lnTo>
                    <a:pt x="404" y="84"/>
                  </a:lnTo>
                  <a:lnTo>
                    <a:pt x="404" y="86"/>
                  </a:lnTo>
                  <a:lnTo>
                    <a:pt x="406" y="88"/>
                  </a:lnTo>
                  <a:lnTo>
                    <a:pt x="408" y="90"/>
                  </a:lnTo>
                  <a:lnTo>
                    <a:pt x="410" y="94"/>
                  </a:lnTo>
                  <a:lnTo>
                    <a:pt x="412" y="9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59" name="Freeform 42">
              <a:extLst>
                <a:ext uri="{FF2B5EF4-FFF2-40B4-BE49-F238E27FC236}">
                  <a16:creationId xmlns:a16="http://schemas.microsoft.com/office/drawing/2014/main" id="{34978B9F-EBA5-45A5-9C81-CE54447FA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489" y="3912412"/>
              <a:ext cx="136674" cy="143749"/>
            </a:xfrm>
            <a:custGeom>
              <a:avLst/>
              <a:gdLst>
                <a:gd name="T0" fmla="*/ 70 w 80"/>
                <a:gd name="T1" fmla="*/ 86 h 86"/>
                <a:gd name="T2" fmla="*/ 64 w 80"/>
                <a:gd name="T3" fmla="*/ 84 h 86"/>
                <a:gd name="T4" fmla="*/ 60 w 80"/>
                <a:gd name="T5" fmla="*/ 78 h 86"/>
                <a:gd name="T6" fmla="*/ 56 w 80"/>
                <a:gd name="T7" fmla="*/ 72 h 86"/>
                <a:gd name="T8" fmla="*/ 54 w 80"/>
                <a:gd name="T9" fmla="*/ 66 h 86"/>
                <a:gd name="T10" fmla="*/ 54 w 80"/>
                <a:gd name="T11" fmla="*/ 62 h 86"/>
                <a:gd name="T12" fmla="*/ 56 w 80"/>
                <a:gd name="T13" fmla="*/ 58 h 86"/>
                <a:gd name="T14" fmla="*/ 56 w 80"/>
                <a:gd name="T15" fmla="*/ 54 h 86"/>
                <a:gd name="T16" fmla="*/ 54 w 80"/>
                <a:gd name="T17" fmla="*/ 48 h 86"/>
                <a:gd name="T18" fmla="*/ 50 w 80"/>
                <a:gd name="T19" fmla="*/ 44 h 86"/>
                <a:gd name="T20" fmla="*/ 48 w 80"/>
                <a:gd name="T21" fmla="*/ 42 h 86"/>
                <a:gd name="T22" fmla="*/ 46 w 80"/>
                <a:gd name="T23" fmla="*/ 42 h 86"/>
                <a:gd name="T24" fmla="*/ 46 w 80"/>
                <a:gd name="T25" fmla="*/ 44 h 86"/>
                <a:gd name="T26" fmla="*/ 44 w 80"/>
                <a:gd name="T27" fmla="*/ 50 h 86"/>
                <a:gd name="T28" fmla="*/ 44 w 80"/>
                <a:gd name="T29" fmla="*/ 52 h 86"/>
                <a:gd name="T30" fmla="*/ 40 w 80"/>
                <a:gd name="T31" fmla="*/ 54 h 86"/>
                <a:gd name="T32" fmla="*/ 34 w 80"/>
                <a:gd name="T33" fmla="*/ 56 h 86"/>
                <a:gd name="T34" fmla="*/ 30 w 80"/>
                <a:gd name="T35" fmla="*/ 58 h 86"/>
                <a:gd name="T36" fmla="*/ 30 w 80"/>
                <a:gd name="T37" fmla="*/ 60 h 86"/>
                <a:gd name="T38" fmla="*/ 30 w 80"/>
                <a:gd name="T39" fmla="*/ 64 h 86"/>
                <a:gd name="T40" fmla="*/ 30 w 80"/>
                <a:gd name="T41" fmla="*/ 72 h 86"/>
                <a:gd name="T42" fmla="*/ 30 w 80"/>
                <a:gd name="T43" fmla="*/ 74 h 86"/>
                <a:gd name="T44" fmla="*/ 28 w 80"/>
                <a:gd name="T45" fmla="*/ 76 h 86"/>
                <a:gd name="T46" fmla="*/ 22 w 80"/>
                <a:gd name="T47" fmla="*/ 76 h 86"/>
                <a:gd name="T48" fmla="*/ 14 w 80"/>
                <a:gd name="T49" fmla="*/ 74 h 86"/>
                <a:gd name="T50" fmla="*/ 14 w 80"/>
                <a:gd name="T51" fmla="*/ 62 h 86"/>
                <a:gd name="T52" fmla="*/ 14 w 80"/>
                <a:gd name="T53" fmla="*/ 50 h 86"/>
                <a:gd name="T54" fmla="*/ 14 w 80"/>
                <a:gd name="T55" fmla="*/ 40 h 86"/>
                <a:gd name="T56" fmla="*/ 12 w 80"/>
                <a:gd name="T57" fmla="*/ 34 h 86"/>
                <a:gd name="T58" fmla="*/ 10 w 80"/>
                <a:gd name="T59" fmla="*/ 34 h 86"/>
                <a:gd name="T60" fmla="*/ 6 w 80"/>
                <a:gd name="T61" fmla="*/ 32 h 86"/>
                <a:gd name="T62" fmla="*/ 2 w 80"/>
                <a:gd name="T63" fmla="*/ 32 h 86"/>
                <a:gd name="T64" fmla="*/ 0 w 80"/>
                <a:gd name="T65" fmla="*/ 30 h 86"/>
                <a:gd name="T66" fmla="*/ 0 w 80"/>
                <a:gd name="T67" fmla="*/ 24 h 86"/>
                <a:gd name="T68" fmla="*/ 2 w 80"/>
                <a:gd name="T69" fmla="*/ 16 h 86"/>
                <a:gd name="T70" fmla="*/ 4 w 80"/>
                <a:gd name="T71" fmla="*/ 10 h 86"/>
                <a:gd name="T72" fmla="*/ 8 w 80"/>
                <a:gd name="T73" fmla="*/ 4 h 86"/>
                <a:gd name="T74" fmla="*/ 10 w 80"/>
                <a:gd name="T75" fmla="*/ 0 h 86"/>
                <a:gd name="T76" fmla="*/ 14 w 80"/>
                <a:gd name="T77" fmla="*/ 0 h 86"/>
                <a:gd name="T78" fmla="*/ 16 w 80"/>
                <a:gd name="T79" fmla="*/ 2 h 86"/>
                <a:gd name="T80" fmla="*/ 24 w 80"/>
                <a:gd name="T81" fmla="*/ 10 h 86"/>
                <a:gd name="T82" fmla="*/ 30 w 80"/>
                <a:gd name="T83" fmla="*/ 12 h 86"/>
                <a:gd name="T84" fmla="*/ 36 w 80"/>
                <a:gd name="T85" fmla="*/ 14 h 86"/>
                <a:gd name="T86" fmla="*/ 44 w 80"/>
                <a:gd name="T87" fmla="*/ 16 h 86"/>
                <a:gd name="T88" fmla="*/ 54 w 80"/>
                <a:gd name="T89" fmla="*/ 20 h 86"/>
                <a:gd name="T90" fmla="*/ 60 w 80"/>
                <a:gd name="T91" fmla="*/ 24 h 86"/>
                <a:gd name="T92" fmla="*/ 62 w 80"/>
                <a:gd name="T93" fmla="*/ 26 h 86"/>
                <a:gd name="T94" fmla="*/ 64 w 80"/>
                <a:gd name="T95" fmla="*/ 32 h 86"/>
                <a:gd name="T96" fmla="*/ 64 w 80"/>
                <a:gd name="T97" fmla="*/ 40 h 86"/>
                <a:gd name="T98" fmla="*/ 66 w 80"/>
                <a:gd name="T99" fmla="*/ 54 h 86"/>
                <a:gd name="T100" fmla="*/ 70 w 80"/>
                <a:gd name="T101" fmla="*/ 64 h 86"/>
                <a:gd name="T102" fmla="*/ 72 w 80"/>
                <a:gd name="T103" fmla="*/ 68 h 86"/>
                <a:gd name="T104" fmla="*/ 78 w 80"/>
                <a:gd name="T105" fmla="*/ 7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0" h="86">
                  <a:moveTo>
                    <a:pt x="80" y="74"/>
                  </a:moveTo>
                  <a:lnTo>
                    <a:pt x="74" y="86"/>
                  </a:lnTo>
                  <a:lnTo>
                    <a:pt x="70" y="86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4" y="82"/>
                  </a:lnTo>
                  <a:lnTo>
                    <a:pt x="62" y="80"/>
                  </a:lnTo>
                  <a:lnTo>
                    <a:pt x="60" y="78"/>
                  </a:lnTo>
                  <a:lnTo>
                    <a:pt x="58" y="76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4"/>
                  </a:lnTo>
                  <a:lnTo>
                    <a:pt x="54" y="62"/>
                  </a:lnTo>
                  <a:lnTo>
                    <a:pt x="54" y="60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2" y="44"/>
                  </a:lnTo>
                  <a:lnTo>
                    <a:pt x="50" y="44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4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0" y="54"/>
                  </a:lnTo>
                  <a:lnTo>
                    <a:pt x="38" y="54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30" y="68"/>
                  </a:lnTo>
                  <a:lnTo>
                    <a:pt x="30" y="70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2" y="76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4" y="74"/>
                  </a:lnTo>
                  <a:lnTo>
                    <a:pt x="12" y="72"/>
                  </a:lnTo>
                  <a:lnTo>
                    <a:pt x="14" y="68"/>
                  </a:lnTo>
                  <a:lnTo>
                    <a:pt x="14" y="62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6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8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6"/>
                  </a:lnTo>
                  <a:lnTo>
                    <a:pt x="24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0" y="14"/>
                  </a:lnTo>
                  <a:lnTo>
                    <a:pt x="32" y="14"/>
                  </a:lnTo>
                  <a:lnTo>
                    <a:pt x="36" y="14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8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8" y="22"/>
                  </a:lnTo>
                  <a:lnTo>
                    <a:pt x="60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4"/>
                  </a:lnTo>
                  <a:lnTo>
                    <a:pt x="64" y="38"/>
                  </a:lnTo>
                  <a:lnTo>
                    <a:pt x="64" y="40"/>
                  </a:lnTo>
                  <a:lnTo>
                    <a:pt x="64" y="42"/>
                  </a:lnTo>
                  <a:lnTo>
                    <a:pt x="66" y="48"/>
                  </a:lnTo>
                  <a:lnTo>
                    <a:pt x="66" y="54"/>
                  </a:lnTo>
                  <a:lnTo>
                    <a:pt x="68" y="58"/>
                  </a:lnTo>
                  <a:lnTo>
                    <a:pt x="68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6" y="72"/>
                  </a:lnTo>
                  <a:lnTo>
                    <a:pt x="78" y="74"/>
                  </a:lnTo>
                  <a:lnTo>
                    <a:pt x="80" y="7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60" name="Freeform 47">
              <a:extLst>
                <a:ext uri="{FF2B5EF4-FFF2-40B4-BE49-F238E27FC236}">
                  <a16:creationId xmlns:a16="http://schemas.microsoft.com/office/drawing/2014/main" id="{3A85B5D4-A5E0-4BD7-93A4-4A1AEB4E2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3599" y="3039891"/>
              <a:ext cx="912300" cy="454647"/>
            </a:xfrm>
            <a:custGeom>
              <a:avLst/>
              <a:gdLst>
                <a:gd name="T0" fmla="*/ 518 w 534"/>
                <a:gd name="T1" fmla="*/ 76 h 272"/>
                <a:gd name="T2" fmla="*/ 490 w 534"/>
                <a:gd name="T3" fmla="*/ 60 h 272"/>
                <a:gd name="T4" fmla="*/ 472 w 534"/>
                <a:gd name="T5" fmla="*/ 54 h 272"/>
                <a:gd name="T6" fmla="*/ 452 w 534"/>
                <a:gd name="T7" fmla="*/ 16 h 272"/>
                <a:gd name="T8" fmla="*/ 412 w 534"/>
                <a:gd name="T9" fmla="*/ 26 h 272"/>
                <a:gd name="T10" fmla="*/ 396 w 534"/>
                <a:gd name="T11" fmla="*/ 14 h 272"/>
                <a:gd name="T12" fmla="*/ 376 w 534"/>
                <a:gd name="T13" fmla="*/ 0 h 272"/>
                <a:gd name="T14" fmla="*/ 306 w 534"/>
                <a:gd name="T15" fmla="*/ 8 h 272"/>
                <a:gd name="T16" fmla="*/ 268 w 534"/>
                <a:gd name="T17" fmla="*/ 4 h 272"/>
                <a:gd name="T18" fmla="*/ 270 w 534"/>
                <a:gd name="T19" fmla="*/ 28 h 272"/>
                <a:gd name="T20" fmla="*/ 238 w 534"/>
                <a:gd name="T21" fmla="*/ 38 h 272"/>
                <a:gd name="T22" fmla="*/ 246 w 534"/>
                <a:gd name="T23" fmla="*/ 60 h 272"/>
                <a:gd name="T24" fmla="*/ 226 w 534"/>
                <a:gd name="T25" fmla="*/ 64 h 272"/>
                <a:gd name="T26" fmla="*/ 184 w 534"/>
                <a:gd name="T27" fmla="*/ 50 h 272"/>
                <a:gd name="T28" fmla="*/ 166 w 534"/>
                <a:gd name="T29" fmla="*/ 42 h 272"/>
                <a:gd name="T30" fmla="*/ 146 w 534"/>
                <a:gd name="T31" fmla="*/ 20 h 272"/>
                <a:gd name="T32" fmla="*/ 94 w 534"/>
                <a:gd name="T33" fmla="*/ 10 h 272"/>
                <a:gd name="T34" fmla="*/ 66 w 534"/>
                <a:gd name="T35" fmla="*/ 16 h 272"/>
                <a:gd name="T36" fmla="*/ 56 w 534"/>
                <a:gd name="T37" fmla="*/ 20 h 272"/>
                <a:gd name="T38" fmla="*/ 34 w 534"/>
                <a:gd name="T39" fmla="*/ 10 h 272"/>
                <a:gd name="T40" fmla="*/ 2 w 534"/>
                <a:gd name="T41" fmla="*/ 52 h 272"/>
                <a:gd name="T42" fmla="*/ 10 w 534"/>
                <a:gd name="T43" fmla="*/ 78 h 272"/>
                <a:gd name="T44" fmla="*/ 28 w 534"/>
                <a:gd name="T45" fmla="*/ 98 h 272"/>
                <a:gd name="T46" fmla="*/ 12 w 534"/>
                <a:gd name="T47" fmla="*/ 124 h 272"/>
                <a:gd name="T48" fmla="*/ 30 w 534"/>
                <a:gd name="T49" fmla="*/ 142 h 272"/>
                <a:gd name="T50" fmla="*/ 48 w 534"/>
                <a:gd name="T51" fmla="*/ 142 h 272"/>
                <a:gd name="T52" fmla="*/ 60 w 534"/>
                <a:gd name="T53" fmla="*/ 150 h 272"/>
                <a:gd name="T54" fmla="*/ 60 w 534"/>
                <a:gd name="T55" fmla="*/ 174 h 272"/>
                <a:gd name="T56" fmla="*/ 38 w 534"/>
                <a:gd name="T57" fmla="*/ 174 h 272"/>
                <a:gd name="T58" fmla="*/ 30 w 534"/>
                <a:gd name="T59" fmla="*/ 192 h 272"/>
                <a:gd name="T60" fmla="*/ 22 w 534"/>
                <a:gd name="T61" fmla="*/ 202 h 272"/>
                <a:gd name="T62" fmla="*/ 42 w 534"/>
                <a:gd name="T63" fmla="*/ 216 h 272"/>
                <a:gd name="T64" fmla="*/ 52 w 534"/>
                <a:gd name="T65" fmla="*/ 238 h 272"/>
                <a:gd name="T66" fmla="*/ 58 w 534"/>
                <a:gd name="T67" fmla="*/ 232 h 272"/>
                <a:gd name="T68" fmla="*/ 78 w 534"/>
                <a:gd name="T69" fmla="*/ 230 h 272"/>
                <a:gd name="T70" fmla="*/ 94 w 534"/>
                <a:gd name="T71" fmla="*/ 246 h 272"/>
                <a:gd name="T72" fmla="*/ 106 w 534"/>
                <a:gd name="T73" fmla="*/ 256 h 272"/>
                <a:gd name="T74" fmla="*/ 122 w 534"/>
                <a:gd name="T75" fmla="*/ 228 h 272"/>
                <a:gd name="T76" fmla="*/ 144 w 534"/>
                <a:gd name="T77" fmla="*/ 180 h 272"/>
                <a:gd name="T78" fmla="*/ 178 w 534"/>
                <a:gd name="T79" fmla="*/ 160 h 272"/>
                <a:gd name="T80" fmla="*/ 188 w 534"/>
                <a:gd name="T81" fmla="*/ 144 h 272"/>
                <a:gd name="T82" fmla="*/ 206 w 534"/>
                <a:gd name="T83" fmla="*/ 154 h 272"/>
                <a:gd name="T84" fmla="*/ 212 w 534"/>
                <a:gd name="T85" fmla="*/ 178 h 272"/>
                <a:gd name="T86" fmla="*/ 218 w 534"/>
                <a:gd name="T87" fmla="*/ 210 h 272"/>
                <a:gd name="T88" fmla="*/ 240 w 534"/>
                <a:gd name="T89" fmla="*/ 212 h 272"/>
                <a:gd name="T90" fmla="*/ 272 w 534"/>
                <a:gd name="T91" fmla="*/ 224 h 272"/>
                <a:gd name="T92" fmla="*/ 278 w 534"/>
                <a:gd name="T93" fmla="*/ 256 h 272"/>
                <a:gd name="T94" fmla="*/ 326 w 534"/>
                <a:gd name="T95" fmla="*/ 258 h 272"/>
                <a:gd name="T96" fmla="*/ 362 w 534"/>
                <a:gd name="T97" fmla="*/ 242 h 272"/>
                <a:gd name="T98" fmla="*/ 346 w 534"/>
                <a:gd name="T99" fmla="*/ 228 h 272"/>
                <a:gd name="T100" fmla="*/ 326 w 534"/>
                <a:gd name="T101" fmla="*/ 220 h 272"/>
                <a:gd name="T102" fmla="*/ 332 w 534"/>
                <a:gd name="T103" fmla="*/ 204 h 272"/>
                <a:gd name="T104" fmla="*/ 342 w 534"/>
                <a:gd name="T105" fmla="*/ 188 h 272"/>
                <a:gd name="T106" fmla="*/ 356 w 534"/>
                <a:gd name="T107" fmla="*/ 200 h 272"/>
                <a:gd name="T108" fmla="*/ 378 w 534"/>
                <a:gd name="T109" fmla="*/ 186 h 272"/>
                <a:gd name="T110" fmla="*/ 398 w 534"/>
                <a:gd name="T111" fmla="*/ 196 h 272"/>
                <a:gd name="T112" fmla="*/ 446 w 534"/>
                <a:gd name="T113" fmla="*/ 196 h 272"/>
                <a:gd name="T114" fmla="*/ 462 w 534"/>
                <a:gd name="T115" fmla="*/ 182 h 272"/>
                <a:gd name="T116" fmla="*/ 480 w 534"/>
                <a:gd name="T117" fmla="*/ 170 h 272"/>
                <a:gd name="T118" fmla="*/ 500 w 534"/>
                <a:gd name="T119" fmla="*/ 170 h 272"/>
                <a:gd name="T120" fmla="*/ 510 w 534"/>
                <a:gd name="T121" fmla="*/ 134 h 272"/>
                <a:gd name="T122" fmla="*/ 524 w 534"/>
                <a:gd name="T123" fmla="*/ 12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4" h="272">
                  <a:moveTo>
                    <a:pt x="534" y="114"/>
                  </a:moveTo>
                  <a:lnTo>
                    <a:pt x="534" y="114"/>
                  </a:lnTo>
                  <a:lnTo>
                    <a:pt x="534" y="110"/>
                  </a:lnTo>
                  <a:lnTo>
                    <a:pt x="532" y="106"/>
                  </a:lnTo>
                  <a:lnTo>
                    <a:pt x="530" y="100"/>
                  </a:lnTo>
                  <a:lnTo>
                    <a:pt x="528" y="94"/>
                  </a:lnTo>
                  <a:lnTo>
                    <a:pt x="528" y="90"/>
                  </a:lnTo>
                  <a:lnTo>
                    <a:pt x="526" y="88"/>
                  </a:lnTo>
                  <a:lnTo>
                    <a:pt x="524" y="86"/>
                  </a:lnTo>
                  <a:lnTo>
                    <a:pt x="524" y="82"/>
                  </a:lnTo>
                  <a:lnTo>
                    <a:pt x="522" y="80"/>
                  </a:lnTo>
                  <a:lnTo>
                    <a:pt x="522" y="80"/>
                  </a:lnTo>
                  <a:lnTo>
                    <a:pt x="520" y="78"/>
                  </a:lnTo>
                  <a:lnTo>
                    <a:pt x="520" y="78"/>
                  </a:lnTo>
                  <a:lnTo>
                    <a:pt x="518" y="76"/>
                  </a:lnTo>
                  <a:lnTo>
                    <a:pt x="516" y="76"/>
                  </a:lnTo>
                  <a:lnTo>
                    <a:pt x="514" y="76"/>
                  </a:lnTo>
                  <a:lnTo>
                    <a:pt x="510" y="74"/>
                  </a:lnTo>
                  <a:lnTo>
                    <a:pt x="506" y="74"/>
                  </a:lnTo>
                  <a:lnTo>
                    <a:pt x="504" y="72"/>
                  </a:lnTo>
                  <a:lnTo>
                    <a:pt x="500" y="70"/>
                  </a:lnTo>
                  <a:lnTo>
                    <a:pt x="500" y="70"/>
                  </a:lnTo>
                  <a:lnTo>
                    <a:pt x="498" y="70"/>
                  </a:lnTo>
                  <a:lnTo>
                    <a:pt x="498" y="68"/>
                  </a:lnTo>
                  <a:lnTo>
                    <a:pt x="496" y="68"/>
                  </a:lnTo>
                  <a:lnTo>
                    <a:pt x="494" y="64"/>
                  </a:lnTo>
                  <a:lnTo>
                    <a:pt x="494" y="62"/>
                  </a:lnTo>
                  <a:lnTo>
                    <a:pt x="492" y="60"/>
                  </a:lnTo>
                  <a:lnTo>
                    <a:pt x="492" y="60"/>
                  </a:lnTo>
                  <a:lnTo>
                    <a:pt x="490" y="60"/>
                  </a:lnTo>
                  <a:lnTo>
                    <a:pt x="490" y="58"/>
                  </a:lnTo>
                  <a:lnTo>
                    <a:pt x="490" y="58"/>
                  </a:lnTo>
                  <a:lnTo>
                    <a:pt x="488" y="58"/>
                  </a:lnTo>
                  <a:lnTo>
                    <a:pt x="486" y="58"/>
                  </a:lnTo>
                  <a:lnTo>
                    <a:pt x="484" y="58"/>
                  </a:lnTo>
                  <a:lnTo>
                    <a:pt x="482" y="58"/>
                  </a:lnTo>
                  <a:lnTo>
                    <a:pt x="480" y="58"/>
                  </a:lnTo>
                  <a:lnTo>
                    <a:pt x="478" y="58"/>
                  </a:lnTo>
                  <a:lnTo>
                    <a:pt x="476" y="58"/>
                  </a:lnTo>
                  <a:lnTo>
                    <a:pt x="476" y="58"/>
                  </a:lnTo>
                  <a:lnTo>
                    <a:pt x="476" y="58"/>
                  </a:lnTo>
                  <a:lnTo>
                    <a:pt x="474" y="58"/>
                  </a:lnTo>
                  <a:lnTo>
                    <a:pt x="474" y="56"/>
                  </a:lnTo>
                  <a:lnTo>
                    <a:pt x="474" y="56"/>
                  </a:lnTo>
                  <a:lnTo>
                    <a:pt x="472" y="54"/>
                  </a:lnTo>
                  <a:lnTo>
                    <a:pt x="470" y="52"/>
                  </a:lnTo>
                  <a:lnTo>
                    <a:pt x="470" y="50"/>
                  </a:lnTo>
                  <a:lnTo>
                    <a:pt x="468" y="46"/>
                  </a:lnTo>
                  <a:lnTo>
                    <a:pt x="468" y="44"/>
                  </a:lnTo>
                  <a:lnTo>
                    <a:pt x="464" y="38"/>
                  </a:lnTo>
                  <a:lnTo>
                    <a:pt x="462" y="30"/>
                  </a:lnTo>
                  <a:lnTo>
                    <a:pt x="462" y="28"/>
                  </a:lnTo>
                  <a:lnTo>
                    <a:pt x="460" y="24"/>
                  </a:lnTo>
                  <a:lnTo>
                    <a:pt x="458" y="22"/>
                  </a:lnTo>
                  <a:lnTo>
                    <a:pt x="458" y="20"/>
                  </a:lnTo>
                  <a:lnTo>
                    <a:pt x="456" y="18"/>
                  </a:lnTo>
                  <a:lnTo>
                    <a:pt x="456" y="18"/>
                  </a:lnTo>
                  <a:lnTo>
                    <a:pt x="454" y="18"/>
                  </a:lnTo>
                  <a:lnTo>
                    <a:pt x="454" y="16"/>
                  </a:lnTo>
                  <a:lnTo>
                    <a:pt x="452" y="16"/>
                  </a:lnTo>
                  <a:lnTo>
                    <a:pt x="452" y="16"/>
                  </a:lnTo>
                  <a:lnTo>
                    <a:pt x="450" y="16"/>
                  </a:lnTo>
                  <a:lnTo>
                    <a:pt x="448" y="16"/>
                  </a:lnTo>
                  <a:lnTo>
                    <a:pt x="444" y="16"/>
                  </a:lnTo>
                  <a:lnTo>
                    <a:pt x="442" y="16"/>
                  </a:lnTo>
                  <a:lnTo>
                    <a:pt x="440" y="16"/>
                  </a:lnTo>
                  <a:lnTo>
                    <a:pt x="434" y="16"/>
                  </a:lnTo>
                  <a:lnTo>
                    <a:pt x="432" y="18"/>
                  </a:lnTo>
                  <a:lnTo>
                    <a:pt x="430" y="18"/>
                  </a:lnTo>
                  <a:lnTo>
                    <a:pt x="424" y="22"/>
                  </a:lnTo>
                  <a:lnTo>
                    <a:pt x="420" y="22"/>
                  </a:lnTo>
                  <a:lnTo>
                    <a:pt x="418" y="24"/>
                  </a:lnTo>
                  <a:lnTo>
                    <a:pt x="414" y="24"/>
                  </a:lnTo>
                  <a:lnTo>
                    <a:pt x="412" y="24"/>
                  </a:lnTo>
                  <a:lnTo>
                    <a:pt x="412" y="26"/>
                  </a:lnTo>
                  <a:lnTo>
                    <a:pt x="408" y="26"/>
                  </a:lnTo>
                  <a:lnTo>
                    <a:pt x="406" y="26"/>
                  </a:lnTo>
                  <a:lnTo>
                    <a:pt x="404" y="26"/>
                  </a:lnTo>
                  <a:lnTo>
                    <a:pt x="402" y="26"/>
                  </a:lnTo>
                  <a:lnTo>
                    <a:pt x="400" y="26"/>
                  </a:lnTo>
                  <a:lnTo>
                    <a:pt x="398" y="26"/>
                  </a:lnTo>
                  <a:lnTo>
                    <a:pt x="398" y="24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6" y="22"/>
                  </a:lnTo>
                  <a:lnTo>
                    <a:pt x="396" y="22"/>
                  </a:lnTo>
                  <a:lnTo>
                    <a:pt x="396" y="20"/>
                  </a:lnTo>
                  <a:lnTo>
                    <a:pt x="396" y="18"/>
                  </a:lnTo>
                  <a:lnTo>
                    <a:pt x="396" y="14"/>
                  </a:lnTo>
                  <a:lnTo>
                    <a:pt x="396" y="14"/>
                  </a:lnTo>
                  <a:lnTo>
                    <a:pt x="396" y="12"/>
                  </a:lnTo>
                  <a:lnTo>
                    <a:pt x="394" y="12"/>
                  </a:lnTo>
                  <a:lnTo>
                    <a:pt x="394" y="10"/>
                  </a:lnTo>
                  <a:lnTo>
                    <a:pt x="392" y="8"/>
                  </a:lnTo>
                  <a:lnTo>
                    <a:pt x="392" y="8"/>
                  </a:lnTo>
                  <a:lnTo>
                    <a:pt x="390" y="6"/>
                  </a:lnTo>
                  <a:lnTo>
                    <a:pt x="388" y="4"/>
                  </a:lnTo>
                  <a:lnTo>
                    <a:pt x="386" y="2"/>
                  </a:lnTo>
                  <a:lnTo>
                    <a:pt x="384" y="2"/>
                  </a:lnTo>
                  <a:lnTo>
                    <a:pt x="382" y="2"/>
                  </a:lnTo>
                  <a:lnTo>
                    <a:pt x="382" y="0"/>
                  </a:lnTo>
                  <a:lnTo>
                    <a:pt x="380" y="0"/>
                  </a:lnTo>
                  <a:lnTo>
                    <a:pt x="378" y="0"/>
                  </a:lnTo>
                  <a:lnTo>
                    <a:pt x="376" y="0"/>
                  </a:lnTo>
                  <a:lnTo>
                    <a:pt x="372" y="2"/>
                  </a:lnTo>
                  <a:lnTo>
                    <a:pt x="370" y="2"/>
                  </a:lnTo>
                  <a:lnTo>
                    <a:pt x="362" y="4"/>
                  </a:lnTo>
                  <a:lnTo>
                    <a:pt x="358" y="6"/>
                  </a:lnTo>
                  <a:lnTo>
                    <a:pt x="356" y="6"/>
                  </a:lnTo>
                  <a:lnTo>
                    <a:pt x="350" y="8"/>
                  </a:lnTo>
                  <a:lnTo>
                    <a:pt x="344" y="8"/>
                  </a:lnTo>
                  <a:lnTo>
                    <a:pt x="338" y="10"/>
                  </a:lnTo>
                  <a:lnTo>
                    <a:pt x="336" y="10"/>
                  </a:lnTo>
                  <a:lnTo>
                    <a:pt x="334" y="10"/>
                  </a:lnTo>
                  <a:lnTo>
                    <a:pt x="330" y="10"/>
                  </a:lnTo>
                  <a:lnTo>
                    <a:pt x="326" y="10"/>
                  </a:lnTo>
                  <a:lnTo>
                    <a:pt x="320" y="10"/>
                  </a:lnTo>
                  <a:lnTo>
                    <a:pt x="316" y="10"/>
                  </a:lnTo>
                  <a:lnTo>
                    <a:pt x="306" y="8"/>
                  </a:lnTo>
                  <a:lnTo>
                    <a:pt x="298" y="8"/>
                  </a:lnTo>
                  <a:lnTo>
                    <a:pt x="296" y="6"/>
                  </a:lnTo>
                  <a:lnTo>
                    <a:pt x="294" y="6"/>
                  </a:lnTo>
                  <a:lnTo>
                    <a:pt x="288" y="4"/>
                  </a:lnTo>
                  <a:lnTo>
                    <a:pt x="286" y="4"/>
                  </a:lnTo>
                  <a:lnTo>
                    <a:pt x="282" y="2"/>
                  </a:lnTo>
                  <a:lnTo>
                    <a:pt x="280" y="2"/>
                  </a:lnTo>
                  <a:lnTo>
                    <a:pt x="278" y="2"/>
                  </a:lnTo>
                  <a:lnTo>
                    <a:pt x="276" y="2"/>
                  </a:lnTo>
                  <a:lnTo>
                    <a:pt x="272" y="2"/>
                  </a:lnTo>
                  <a:lnTo>
                    <a:pt x="272" y="4"/>
                  </a:lnTo>
                  <a:lnTo>
                    <a:pt x="270" y="4"/>
                  </a:lnTo>
                  <a:lnTo>
                    <a:pt x="270" y="4"/>
                  </a:lnTo>
                  <a:lnTo>
                    <a:pt x="268" y="4"/>
                  </a:lnTo>
                  <a:lnTo>
                    <a:pt x="268" y="4"/>
                  </a:lnTo>
                  <a:lnTo>
                    <a:pt x="268" y="6"/>
                  </a:lnTo>
                  <a:lnTo>
                    <a:pt x="268" y="6"/>
                  </a:lnTo>
                  <a:lnTo>
                    <a:pt x="268" y="8"/>
                  </a:lnTo>
                  <a:lnTo>
                    <a:pt x="268" y="10"/>
                  </a:lnTo>
                  <a:lnTo>
                    <a:pt x="268" y="12"/>
                  </a:lnTo>
                  <a:lnTo>
                    <a:pt x="270" y="14"/>
                  </a:lnTo>
                  <a:lnTo>
                    <a:pt x="272" y="18"/>
                  </a:lnTo>
                  <a:lnTo>
                    <a:pt x="272" y="20"/>
                  </a:lnTo>
                  <a:lnTo>
                    <a:pt x="272" y="22"/>
                  </a:lnTo>
                  <a:lnTo>
                    <a:pt x="272" y="24"/>
                  </a:lnTo>
                  <a:lnTo>
                    <a:pt x="272" y="24"/>
                  </a:lnTo>
                  <a:lnTo>
                    <a:pt x="272" y="26"/>
                  </a:lnTo>
                  <a:lnTo>
                    <a:pt x="272" y="26"/>
                  </a:lnTo>
                  <a:lnTo>
                    <a:pt x="270" y="26"/>
                  </a:lnTo>
                  <a:lnTo>
                    <a:pt x="270" y="28"/>
                  </a:lnTo>
                  <a:lnTo>
                    <a:pt x="270" y="28"/>
                  </a:lnTo>
                  <a:lnTo>
                    <a:pt x="266" y="30"/>
                  </a:lnTo>
                  <a:lnTo>
                    <a:pt x="264" y="30"/>
                  </a:lnTo>
                  <a:lnTo>
                    <a:pt x="260" y="32"/>
                  </a:lnTo>
                  <a:lnTo>
                    <a:pt x="258" y="32"/>
                  </a:lnTo>
                  <a:lnTo>
                    <a:pt x="256" y="34"/>
                  </a:lnTo>
                  <a:lnTo>
                    <a:pt x="254" y="34"/>
                  </a:lnTo>
                  <a:lnTo>
                    <a:pt x="254" y="34"/>
                  </a:lnTo>
                  <a:lnTo>
                    <a:pt x="252" y="34"/>
                  </a:lnTo>
                  <a:lnTo>
                    <a:pt x="248" y="36"/>
                  </a:lnTo>
                  <a:lnTo>
                    <a:pt x="246" y="36"/>
                  </a:lnTo>
                  <a:lnTo>
                    <a:pt x="242" y="36"/>
                  </a:lnTo>
                  <a:lnTo>
                    <a:pt x="242" y="38"/>
                  </a:lnTo>
                  <a:lnTo>
                    <a:pt x="240" y="38"/>
                  </a:lnTo>
                  <a:lnTo>
                    <a:pt x="238" y="38"/>
                  </a:lnTo>
                  <a:lnTo>
                    <a:pt x="238" y="40"/>
                  </a:lnTo>
                  <a:lnTo>
                    <a:pt x="236" y="40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6" y="44"/>
                  </a:lnTo>
                  <a:lnTo>
                    <a:pt x="236" y="44"/>
                  </a:lnTo>
                  <a:lnTo>
                    <a:pt x="236" y="46"/>
                  </a:lnTo>
                  <a:lnTo>
                    <a:pt x="238" y="48"/>
                  </a:lnTo>
                  <a:lnTo>
                    <a:pt x="242" y="50"/>
                  </a:lnTo>
                  <a:lnTo>
                    <a:pt x="244" y="52"/>
                  </a:lnTo>
                  <a:lnTo>
                    <a:pt x="246" y="56"/>
                  </a:lnTo>
                  <a:lnTo>
                    <a:pt x="246" y="56"/>
                  </a:lnTo>
                  <a:lnTo>
                    <a:pt x="246" y="58"/>
                  </a:lnTo>
                  <a:lnTo>
                    <a:pt x="246" y="60"/>
                  </a:lnTo>
                  <a:lnTo>
                    <a:pt x="246" y="60"/>
                  </a:lnTo>
                  <a:lnTo>
                    <a:pt x="246" y="62"/>
                  </a:lnTo>
                  <a:lnTo>
                    <a:pt x="246" y="62"/>
                  </a:lnTo>
                  <a:lnTo>
                    <a:pt x="244" y="64"/>
                  </a:lnTo>
                  <a:lnTo>
                    <a:pt x="244" y="64"/>
                  </a:lnTo>
                  <a:lnTo>
                    <a:pt x="242" y="66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38" y="68"/>
                  </a:lnTo>
                  <a:lnTo>
                    <a:pt x="238" y="68"/>
                  </a:lnTo>
                  <a:lnTo>
                    <a:pt x="236" y="68"/>
                  </a:lnTo>
                  <a:lnTo>
                    <a:pt x="236" y="68"/>
                  </a:lnTo>
                  <a:lnTo>
                    <a:pt x="234" y="68"/>
                  </a:lnTo>
                  <a:lnTo>
                    <a:pt x="232" y="66"/>
                  </a:lnTo>
                  <a:lnTo>
                    <a:pt x="228" y="66"/>
                  </a:lnTo>
                  <a:lnTo>
                    <a:pt x="226" y="64"/>
                  </a:lnTo>
                  <a:lnTo>
                    <a:pt x="222" y="62"/>
                  </a:lnTo>
                  <a:lnTo>
                    <a:pt x="220" y="60"/>
                  </a:lnTo>
                  <a:lnTo>
                    <a:pt x="212" y="56"/>
                  </a:lnTo>
                  <a:lnTo>
                    <a:pt x="208" y="52"/>
                  </a:lnTo>
                  <a:lnTo>
                    <a:pt x="204" y="50"/>
                  </a:lnTo>
                  <a:lnTo>
                    <a:pt x="204" y="50"/>
                  </a:lnTo>
                  <a:lnTo>
                    <a:pt x="202" y="48"/>
                  </a:lnTo>
                  <a:lnTo>
                    <a:pt x="200" y="48"/>
                  </a:lnTo>
                  <a:lnTo>
                    <a:pt x="198" y="48"/>
                  </a:lnTo>
                  <a:lnTo>
                    <a:pt x="198" y="48"/>
                  </a:lnTo>
                  <a:lnTo>
                    <a:pt x="196" y="48"/>
                  </a:lnTo>
                  <a:lnTo>
                    <a:pt x="194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50"/>
                  </a:lnTo>
                  <a:lnTo>
                    <a:pt x="182" y="50"/>
                  </a:lnTo>
                  <a:lnTo>
                    <a:pt x="180" y="50"/>
                  </a:lnTo>
                  <a:lnTo>
                    <a:pt x="180" y="50"/>
                  </a:lnTo>
                  <a:lnTo>
                    <a:pt x="176" y="50"/>
                  </a:lnTo>
                  <a:lnTo>
                    <a:pt x="174" y="50"/>
                  </a:lnTo>
                  <a:lnTo>
                    <a:pt x="172" y="48"/>
                  </a:lnTo>
                  <a:lnTo>
                    <a:pt x="170" y="48"/>
                  </a:lnTo>
                  <a:lnTo>
                    <a:pt x="168" y="48"/>
                  </a:lnTo>
                  <a:lnTo>
                    <a:pt x="168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4"/>
                  </a:lnTo>
                  <a:lnTo>
                    <a:pt x="166" y="44"/>
                  </a:lnTo>
                  <a:lnTo>
                    <a:pt x="166" y="42"/>
                  </a:lnTo>
                  <a:lnTo>
                    <a:pt x="166" y="40"/>
                  </a:lnTo>
                  <a:lnTo>
                    <a:pt x="168" y="40"/>
                  </a:lnTo>
                  <a:lnTo>
                    <a:pt x="168" y="38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6" y="34"/>
                  </a:lnTo>
                  <a:lnTo>
                    <a:pt x="166" y="32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0" y="26"/>
                  </a:lnTo>
                  <a:lnTo>
                    <a:pt x="156" y="26"/>
                  </a:lnTo>
                  <a:lnTo>
                    <a:pt x="154" y="24"/>
                  </a:lnTo>
                  <a:lnTo>
                    <a:pt x="152" y="22"/>
                  </a:lnTo>
                  <a:lnTo>
                    <a:pt x="146" y="20"/>
                  </a:lnTo>
                  <a:lnTo>
                    <a:pt x="140" y="16"/>
                  </a:lnTo>
                  <a:lnTo>
                    <a:pt x="136" y="14"/>
                  </a:lnTo>
                  <a:lnTo>
                    <a:pt x="132" y="14"/>
                  </a:lnTo>
                  <a:lnTo>
                    <a:pt x="130" y="12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2" y="12"/>
                  </a:lnTo>
                  <a:lnTo>
                    <a:pt x="118" y="12"/>
                  </a:lnTo>
                  <a:lnTo>
                    <a:pt x="110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96" y="10"/>
                  </a:lnTo>
                  <a:lnTo>
                    <a:pt x="94" y="10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80" y="10"/>
                  </a:lnTo>
                  <a:lnTo>
                    <a:pt x="76" y="10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70" y="12"/>
                  </a:lnTo>
                  <a:lnTo>
                    <a:pt x="68" y="12"/>
                  </a:lnTo>
                  <a:lnTo>
                    <a:pt x="68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6" y="18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4"/>
                  </a:lnTo>
                  <a:lnTo>
                    <a:pt x="58" y="24"/>
                  </a:lnTo>
                  <a:lnTo>
                    <a:pt x="58" y="22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4" y="16"/>
                  </a:lnTo>
                  <a:lnTo>
                    <a:pt x="52" y="14"/>
                  </a:lnTo>
                  <a:lnTo>
                    <a:pt x="50" y="12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4" y="6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6" y="8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30" y="12"/>
                  </a:lnTo>
                  <a:lnTo>
                    <a:pt x="28" y="14"/>
                  </a:lnTo>
                  <a:lnTo>
                    <a:pt x="26" y="14"/>
                  </a:lnTo>
                  <a:lnTo>
                    <a:pt x="24" y="16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2" y="30"/>
                  </a:lnTo>
                  <a:lnTo>
                    <a:pt x="10" y="36"/>
                  </a:lnTo>
                  <a:lnTo>
                    <a:pt x="8" y="40"/>
                  </a:lnTo>
                  <a:lnTo>
                    <a:pt x="6" y="44"/>
                  </a:lnTo>
                  <a:lnTo>
                    <a:pt x="4" y="48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4" y="68"/>
                  </a:lnTo>
                  <a:lnTo>
                    <a:pt x="4" y="70"/>
                  </a:lnTo>
                  <a:lnTo>
                    <a:pt x="6" y="72"/>
                  </a:lnTo>
                  <a:lnTo>
                    <a:pt x="8" y="74"/>
                  </a:lnTo>
                  <a:lnTo>
                    <a:pt x="8" y="76"/>
                  </a:lnTo>
                  <a:lnTo>
                    <a:pt x="10" y="76"/>
                  </a:lnTo>
                  <a:lnTo>
                    <a:pt x="10" y="78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18" y="80"/>
                  </a:lnTo>
                  <a:lnTo>
                    <a:pt x="20" y="82"/>
                  </a:lnTo>
                  <a:lnTo>
                    <a:pt x="22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90"/>
                  </a:lnTo>
                  <a:lnTo>
                    <a:pt x="28" y="94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8" y="102"/>
                  </a:lnTo>
                  <a:lnTo>
                    <a:pt x="26" y="104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8"/>
                  </a:lnTo>
                  <a:lnTo>
                    <a:pt x="24" y="110"/>
                  </a:lnTo>
                  <a:lnTo>
                    <a:pt x="22" y="112"/>
                  </a:lnTo>
                  <a:lnTo>
                    <a:pt x="20" y="114"/>
                  </a:lnTo>
                  <a:lnTo>
                    <a:pt x="18" y="114"/>
                  </a:lnTo>
                  <a:lnTo>
                    <a:pt x="16" y="116"/>
                  </a:lnTo>
                  <a:lnTo>
                    <a:pt x="14" y="118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2" y="122"/>
                  </a:lnTo>
                  <a:lnTo>
                    <a:pt x="12" y="124"/>
                  </a:lnTo>
                  <a:lnTo>
                    <a:pt x="10" y="126"/>
                  </a:lnTo>
                  <a:lnTo>
                    <a:pt x="10" y="132"/>
                  </a:lnTo>
                  <a:lnTo>
                    <a:pt x="10" y="136"/>
                  </a:lnTo>
                  <a:lnTo>
                    <a:pt x="8" y="144"/>
                  </a:lnTo>
                  <a:lnTo>
                    <a:pt x="8" y="146"/>
                  </a:lnTo>
                  <a:lnTo>
                    <a:pt x="10" y="146"/>
                  </a:lnTo>
                  <a:lnTo>
                    <a:pt x="14" y="144"/>
                  </a:lnTo>
                  <a:lnTo>
                    <a:pt x="18" y="144"/>
                  </a:lnTo>
                  <a:lnTo>
                    <a:pt x="20" y="142"/>
                  </a:lnTo>
                  <a:lnTo>
                    <a:pt x="24" y="142"/>
                  </a:lnTo>
                  <a:lnTo>
                    <a:pt x="26" y="142"/>
                  </a:lnTo>
                  <a:lnTo>
                    <a:pt x="26" y="142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0" y="142"/>
                  </a:lnTo>
                  <a:lnTo>
                    <a:pt x="32" y="144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6" y="148"/>
                  </a:lnTo>
                  <a:lnTo>
                    <a:pt x="46" y="148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8" y="144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4" y="142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58" y="144"/>
                  </a:lnTo>
                  <a:lnTo>
                    <a:pt x="60" y="144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50"/>
                  </a:lnTo>
                  <a:lnTo>
                    <a:pt x="60" y="152"/>
                  </a:lnTo>
                  <a:lnTo>
                    <a:pt x="58" y="154"/>
                  </a:lnTo>
                  <a:lnTo>
                    <a:pt x="58" y="158"/>
                  </a:lnTo>
                  <a:lnTo>
                    <a:pt x="58" y="160"/>
                  </a:lnTo>
                  <a:lnTo>
                    <a:pt x="56" y="162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6"/>
                  </a:lnTo>
                  <a:lnTo>
                    <a:pt x="58" y="166"/>
                  </a:lnTo>
                  <a:lnTo>
                    <a:pt x="58" y="168"/>
                  </a:lnTo>
                  <a:lnTo>
                    <a:pt x="60" y="170"/>
                  </a:lnTo>
                  <a:lnTo>
                    <a:pt x="60" y="172"/>
                  </a:lnTo>
                  <a:lnTo>
                    <a:pt x="60" y="172"/>
                  </a:lnTo>
                  <a:lnTo>
                    <a:pt x="60" y="172"/>
                  </a:lnTo>
                  <a:lnTo>
                    <a:pt x="60" y="174"/>
                  </a:lnTo>
                  <a:lnTo>
                    <a:pt x="60" y="174"/>
                  </a:lnTo>
                  <a:lnTo>
                    <a:pt x="58" y="174"/>
                  </a:lnTo>
                  <a:lnTo>
                    <a:pt x="58" y="174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4" y="174"/>
                  </a:lnTo>
                  <a:lnTo>
                    <a:pt x="50" y="174"/>
                  </a:lnTo>
                  <a:lnTo>
                    <a:pt x="48" y="174"/>
                  </a:lnTo>
                  <a:lnTo>
                    <a:pt x="44" y="172"/>
                  </a:lnTo>
                  <a:lnTo>
                    <a:pt x="44" y="172"/>
                  </a:lnTo>
                  <a:lnTo>
                    <a:pt x="42" y="172"/>
                  </a:lnTo>
                  <a:lnTo>
                    <a:pt x="40" y="172"/>
                  </a:lnTo>
                  <a:lnTo>
                    <a:pt x="40" y="174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4" y="178"/>
                  </a:lnTo>
                  <a:lnTo>
                    <a:pt x="32" y="180"/>
                  </a:lnTo>
                  <a:lnTo>
                    <a:pt x="32" y="180"/>
                  </a:lnTo>
                  <a:lnTo>
                    <a:pt x="32" y="182"/>
                  </a:lnTo>
                  <a:lnTo>
                    <a:pt x="32" y="184"/>
                  </a:lnTo>
                  <a:lnTo>
                    <a:pt x="32" y="186"/>
                  </a:lnTo>
                  <a:lnTo>
                    <a:pt x="32" y="188"/>
                  </a:lnTo>
                  <a:lnTo>
                    <a:pt x="32" y="190"/>
                  </a:lnTo>
                  <a:lnTo>
                    <a:pt x="32" y="192"/>
                  </a:lnTo>
                  <a:lnTo>
                    <a:pt x="32" y="192"/>
                  </a:lnTo>
                  <a:lnTo>
                    <a:pt x="32" y="192"/>
                  </a:lnTo>
                  <a:lnTo>
                    <a:pt x="30" y="192"/>
                  </a:lnTo>
                  <a:lnTo>
                    <a:pt x="30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6" y="192"/>
                  </a:lnTo>
                  <a:lnTo>
                    <a:pt x="24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0" y="192"/>
                  </a:lnTo>
                  <a:lnTo>
                    <a:pt x="20" y="192"/>
                  </a:lnTo>
                  <a:lnTo>
                    <a:pt x="20" y="194"/>
                  </a:lnTo>
                  <a:lnTo>
                    <a:pt x="20" y="194"/>
                  </a:lnTo>
                  <a:lnTo>
                    <a:pt x="20" y="194"/>
                  </a:lnTo>
                  <a:lnTo>
                    <a:pt x="20" y="196"/>
                  </a:lnTo>
                  <a:lnTo>
                    <a:pt x="20" y="196"/>
                  </a:lnTo>
                  <a:lnTo>
                    <a:pt x="20" y="198"/>
                  </a:lnTo>
                  <a:lnTo>
                    <a:pt x="22" y="202"/>
                  </a:lnTo>
                  <a:lnTo>
                    <a:pt x="22" y="204"/>
                  </a:lnTo>
                  <a:lnTo>
                    <a:pt x="24" y="206"/>
                  </a:lnTo>
                  <a:lnTo>
                    <a:pt x="24" y="210"/>
                  </a:lnTo>
                  <a:lnTo>
                    <a:pt x="24" y="212"/>
                  </a:lnTo>
                  <a:lnTo>
                    <a:pt x="26" y="214"/>
                  </a:lnTo>
                  <a:lnTo>
                    <a:pt x="26" y="216"/>
                  </a:lnTo>
                  <a:lnTo>
                    <a:pt x="26" y="216"/>
                  </a:lnTo>
                  <a:lnTo>
                    <a:pt x="28" y="218"/>
                  </a:lnTo>
                  <a:lnTo>
                    <a:pt x="28" y="218"/>
                  </a:lnTo>
                  <a:lnTo>
                    <a:pt x="30" y="218"/>
                  </a:lnTo>
                  <a:lnTo>
                    <a:pt x="30" y="218"/>
                  </a:lnTo>
                  <a:lnTo>
                    <a:pt x="32" y="218"/>
                  </a:lnTo>
                  <a:lnTo>
                    <a:pt x="36" y="218"/>
                  </a:lnTo>
                  <a:lnTo>
                    <a:pt x="38" y="218"/>
                  </a:lnTo>
                  <a:lnTo>
                    <a:pt x="42" y="216"/>
                  </a:lnTo>
                  <a:lnTo>
                    <a:pt x="46" y="216"/>
                  </a:lnTo>
                  <a:lnTo>
                    <a:pt x="46" y="216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0" y="218"/>
                  </a:lnTo>
                  <a:lnTo>
                    <a:pt x="52" y="220"/>
                  </a:lnTo>
                  <a:lnTo>
                    <a:pt x="52" y="220"/>
                  </a:lnTo>
                  <a:lnTo>
                    <a:pt x="52" y="222"/>
                  </a:lnTo>
                  <a:lnTo>
                    <a:pt x="52" y="224"/>
                  </a:lnTo>
                  <a:lnTo>
                    <a:pt x="52" y="226"/>
                  </a:lnTo>
                  <a:lnTo>
                    <a:pt x="52" y="232"/>
                  </a:lnTo>
                  <a:lnTo>
                    <a:pt x="52" y="236"/>
                  </a:lnTo>
                  <a:lnTo>
                    <a:pt x="52" y="238"/>
                  </a:lnTo>
                  <a:lnTo>
                    <a:pt x="54" y="238"/>
                  </a:lnTo>
                  <a:lnTo>
                    <a:pt x="54" y="240"/>
                  </a:lnTo>
                  <a:lnTo>
                    <a:pt x="54" y="242"/>
                  </a:lnTo>
                  <a:lnTo>
                    <a:pt x="54" y="242"/>
                  </a:lnTo>
                  <a:lnTo>
                    <a:pt x="56" y="242"/>
                  </a:lnTo>
                  <a:lnTo>
                    <a:pt x="56" y="242"/>
                  </a:lnTo>
                  <a:lnTo>
                    <a:pt x="56" y="242"/>
                  </a:lnTo>
                  <a:lnTo>
                    <a:pt x="56" y="242"/>
                  </a:lnTo>
                  <a:lnTo>
                    <a:pt x="58" y="242"/>
                  </a:lnTo>
                  <a:lnTo>
                    <a:pt x="58" y="242"/>
                  </a:lnTo>
                  <a:lnTo>
                    <a:pt x="58" y="240"/>
                  </a:lnTo>
                  <a:lnTo>
                    <a:pt x="58" y="238"/>
                  </a:lnTo>
                  <a:lnTo>
                    <a:pt x="58" y="236"/>
                  </a:lnTo>
                  <a:lnTo>
                    <a:pt x="58" y="234"/>
                  </a:lnTo>
                  <a:lnTo>
                    <a:pt x="58" y="232"/>
                  </a:lnTo>
                  <a:lnTo>
                    <a:pt x="58" y="230"/>
                  </a:lnTo>
                  <a:lnTo>
                    <a:pt x="58" y="230"/>
                  </a:lnTo>
                  <a:lnTo>
                    <a:pt x="60" y="230"/>
                  </a:lnTo>
                  <a:lnTo>
                    <a:pt x="60" y="228"/>
                  </a:lnTo>
                  <a:lnTo>
                    <a:pt x="60" y="228"/>
                  </a:lnTo>
                  <a:lnTo>
                    <a:pt x="62" y="228"/>
                  </a:lnTo>
                  <a:lnTo>
                    <a:pt x="62" y="228"/>
                  </a:lnTo>
                  <a:lnTo>
                    <a:pt x="64" y="228"/>
                  </a:lnTo>
                  <a:lnTo>
                    <a:pt x="66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74" y="228"/>
                  </a:lnTo>
                  <a:lnTo>
                    <a:pt x="76" y="230"/>
                  </a:lnTo>
                  <a:lnTo>
                    <a:pt x="76" y="230"/>
                  </a:lnTo>
                  <a:lnTo>
                    <a:pt x="78" y="230"/>
                  </a:lnTo>
                  <a:lnTo>
                    <a:pt x="78" y="232"/>
                  </a:lnTo>
                  <a:lnTo>
                    <a:pt x="78" y="232"/>
                  </a:lnTo>
                  <a:lnTo>
                    <a:pt x="80" y="234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2"/>
                  </a:lnTo>
                  <a:lnTo>
                    <a:pt x="82" y="246"/>
                  </a:lnTo>
                  <a:lnTo>
                    <a:pt x="82" y="248"/>
                  </a:lnTo>
                  <a:lnTo>
                    <a:pt x="82" y="250"/>
                  </a:lnTo>
                  <a:lnTo>
                    <a:pt x="84" y="250"/>
                  </a:lnTo>
                  <a:lnTo>
                    <a:pt x="88" y="248"/>
                  </a:lnTo>
                  <a:lnTo>
                    <a:pt x="90" y="246"/>
                  </a:lnTo>
                  <a:lnTo>
                    <a:pt x="92" y="246"/>
                  </a:lnTo>
                  <a:lnTo>
                    <a:pt x="94" y="246"/>
                  </a:lnTo>
                  <a:lnTo>
                    <a:pt x="94" y="246"/>
                  </a:lnTo>
                  <a:lnTo>
                    <a:pt x="96" y="246"/>
                  </a:lnTo>
                  <a:lnTo>
                    <a:pt x="98" y="246"/>
                  </a:lnTo>
                  <a:lnTo>
                    <a:pt x="98" y="246"/>
                  </a:lnTo>
                  <a:lnTo>
                    <a:pt x="100" y="246"/>
                  </a:lnTo>
                  <a:lnTo>
                    <a:pt x="102" y="246"/>
                  </a:lnTo>
                  <a:lnTo>
                    <a:pt x="104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2"/>
                  </a:lnTo>
                  <a:lnTo>
                    <a:pt x="108" y="254"/>
                  </a:lnTo>
                  <a:lnTo>
                    <a:pt x="108" y="254"/>
                  </a:lnTo>
                  <a:lnTo>
                    <a:pt x="106" y="256"/>
                  </a:lnTo>
                  <a:lnTo>
                    <a:pt x="106" y="258"/>
                  </a:lnTo>
                  <a:lnTo>
                    <a:pt x="106" y="258"/>
                  </a:lnTo>
                  <a:lnTo>
                    <a:pt x="106" y="260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10" y="262"/>
                  </a:lnTo>
                  <a:lnTo>
                    <a:pt x="112" y="262"/>
                  </a:lnTo>
                  <a:lnTo>
                    <a:pt x="114" y="262"/>
                  </a:lnTo>
                  <a:lnTo>
                    <a:pt x="118" y="264"/>
                  </a:lnTo>
                  <a:lnTo>
                    <a:pt x="120" y="264"/>
                  </a:lnTo>
                  <a:lnTo>
                    <a:pt x="120" y="254"/>
                  </a:lnTo>
                  <a:lnTo>
                    <a:pt x="122" y="244"/>
                  </a:lnTo>
                  <a:lnTo>
                    <a:pt x="122" y="234"/>
                  </a:lnTo>
                  <a:lnTo>
                    <a:pt x="122" y="228"/>
                  </a:lnTo>
                  <a:lnTo>
                    <a:pt x="124" y="220"/>
                  </a:lnTo>
                  <a:lnTo>
                    <a:pt x="124" y="214"/>
                  </a:lnTo>
                  <a:lnTo>
                    <a:pt x="126" y="208"/>
                  </a:lnTo>
                  <a:lnTo>
                    <a:pt x="126" y="204"/>
                  </a:lnTo>
                  <a:lnTo>
                    <a:pt x="128" y="198"/>
                  </a:lnTo>
                  <a:lnTo>
                    <a:pt x="128" y="196"/>
                  </a:lnTo>
                  <a:lnTo>
                    <a:pt x="130" y="194"/>
                  </a:lnTo>
                  <a:lnTo>
                    <a:pt x="130" y="192"/>
                  </a:lnTo>
                  <a:lnTo>
                    <a:pt x="132" y="192"/>
                  </a:lnTo>
                  <a:lnTo>
                    <a:pt x="132" y="190"/>
                  </a:lnTo>
                  <a:lnTo>
                    <a:pt x="134" y="188"/>
                  </a:lnTo>
                  <a:lnTo>
                    <a:pt x="136" y="186"/>
                  </a:lnTo>
                  <a:lnTo>
                    <a:pt x="138" y="184"/>
                  </a:lnTo>
                  <a:lnTo>
                    <a:pt x="140" y="182"/>
                  </a:lnTo>
                  <a:lnTo>
                    <a:pt x="144" y="180"/>
                  </a:lnTo>
                  <a:lnTo>
                    <a:pt x="148" y="176"/>
                  </a:lnTo>
                  <a:lnTo>
                    <a:pt x="154" y="172"/>
                  </a:lnTo>
                  <a:lnTo>
                    <a:pt x="158" y="170"/>
                  </a:lnTo>
                  <a:lnTo>
                    <a:pt x="162" y="166"/>
                  </a:lnTo>
                  <a:lnTo>
                    <a:pt x="164" y="166"/>
                  </a:lnTo>
                  <a:lnTo>
                    <a:pt x="168" y="166"/>
                  </a:lnTo>
                  <a:lnTo>
                    <a:pt x="172" y="166"/>
                  </a:lnTo>
                  <a:lnTo>
                    <a:pt x="174" y="164"/>
                  </a:lnTo>
                  <a:lnTo>
                    <a:pt x="176" y="164"/>
                  </a:lnTo>
                  <a:lnTo>
                    <a:pt x="176" y="164"/>
                  </a:lnTo>
                  <a:lnTo>
                    <a:pt x="176" y="164"/>
                  </a:lnTo>
                  <a:lnTo>
                    <a:pt x="176" y="162"/>
                  </a:lnTo>
                  <a:lnTo>
                    <a:pt x="178" y="162"/>
                  </a:lnTo>
                  <a:lnTo>
                    <a:pt x="178" y="160"/>
                  </a:lnTo>
                  <a:lnTo>
                    <a:pt x="178" y="160"/>
                  </a:lnTo>
                  <a:lnTo>
                    <a:pt x="176" y="158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6"/>
                  </a:lnTo>
                  <a:lnTo>
                    <a:pt x="178" y="146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2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4" y="144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200" y="144"/>
                  </a:lnTo>
                  <a:lnTo>
                    <a:pt x="202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8"/>
                  </a:lnTo>
                  <a:lnTo>
                    <a:pt x="206" y="148"/>
                  </a:lnTo>
                  <a:lnTo>
                    <a:pt x="206" y="150"/>
                  </a:lnTo>
                  <a:lnTo>
                    <a:pt x="206" y="152"/>
                  </a:lnTo>
                  <a:lnTo>
                    <a:pt x="206" y="152"/>
                  </a:lnTo>
                  <a:lnTo>
                    <a:pt x="206" y="154"/>
                  </a:lnTo>
                  <a:lnTo>
                    <a:pt x="206" y="158"/>
                  </a:lnTo>
                  <a:lnTo>
                    <a:pt x="204" y="160"/>
                  </a:lnTo>
                  <a:lnTo>
                    <a:pt x="204" y="164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8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6" y="172"/>
                  </a:lnTo>
                  <a:lnTo>
                    <a:pt x="210" y="174"/>
                  </a:lnTo>
                  <a:lnTo>
                    <a:pt x="210" y="176"/>
                  </a:lnTo>
                  <a:lnTo>
                    <a:pt x="212" y="176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4" y="178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2" y="180"/>
                  </a:lnTo>
                  <a:lnTo>
                    <a:pt x="212" y="182"/>
                  </a:lnTo>
                  <a:lnTo>
                    <a:pt x="212" y="182"/>
                  </a:lnTo>
                  <a:lnTo>
                    <a:pt x="210" y="184"/>
                  </a:lnTo>
                  <a:lnTo>
                    <a:pt x="208" y="186"/>
                  </a:lnTo>
                  <a:lnTo>
                    <a:pt x="206" y="186"/>
                  </a:lnTo>
                  <a:lnTo>
                    <a:pt x="210" y="194"/>
                  </a:lnTo>
                  <a:lnTo>
                    <a:pt x="214" y="200"/>
                  </a:lnTo>
                  <a:lnTo>
                    <a:pt x="216" y="204"/>
                  </a:lnTo>
                  <a:lnTo>
                    <a:pt x="218" y="206"/>
                  </a:lnTo>
                  <a:lnTo>
                    <a:pt x="218" y="208"/>
                  </a:lnTo>
                  <a:lnTo>
                    <a:pt x="218" y="210"/>
                  </a:lnTo>
                  <a:lnTo>
                    <a:pt x="220" y="212"/>
                  </a:lnTo>
                  <a:lnTo>
                    <a:pt x="220" y="214"/>
                  </a:lnTo>
                  <a:lnTo>
                    <a:pt x="220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4" y="216"/>
                  </a:lnTo>
                  <a:lnTo>
                    <a:pt x="224" y="216"/>
                  </a:lnTo>
                  <a:lnTo>
                    <a:pt x="226" y="216"/>
                  </a:lnTo>
                  <a:lnTo>
                    <a:pt x="228" y="216"/>
                  </a:lnTo>
                  <a:lnTo>
                    <a:pt x="230" y="214"/>
                  </a:lnTo>
                  <a:lnTo>
                    <a:pt x="236" y="212"/>
                  </a:lnTo>
                  <a:lnTo>
                    <a:pt x="238" y="212"/>
                  </a:lnTo>
                  <a:lnTo>
                    <a:pt x="238" y="212"/>
                  </a:lnTo>
                  <a:lnTo>
                    <a:pt x="240" y="212"/>
                  </a:lnTo>
                  <a:lnTo>
                    <a:pt x="242" y="212"/>
                  </a:lnTo>
                  <a:lnTo>
                    <a:pt x="244" y="212"/>
                  </a:lnTo>
                  <a:lnTo>
                    <a:pt x="248" y="212"/>
                  </a:lnTo>
                  <a:lnTo>
                    <a:pt x="252" y="212"/>
                  </a:lnTo>
                  <a:lnTo>
                    <a:pt x="256" y="214"/>
                  </a:lnTo>
                  <a:lnTo>
                    <a:pt x="260" y="214"/>
                  </a:lnTo>
                  <a:lnTo>
                    <a:pt x="262" y="216"/>
                  </a:lnTo>
                  <a:lnTo>
                    <a:pt x="264" y="216"/>
                  </a:lnTo>
                  <a:lnTo>
                    <a:pt x="268" y="218"/>
                  </a:lnTo>
                  <a:lnTo>
                    <a:pt x="270" y="218"/>
                  </a:lnTo>
                  <a:lnTo>
                    <a:pt x="270" y="220"/>
                  </a:lnTo>
                  <a:lnTo>
                    <a:pt x="272" y="220"/>
                  </a:lnTo>
                  <a:lnTo>
                    <a:pt x="272" y="222"/>
                  </a:lnTo>
                  <a:lnTo>
                    <a:pt x="272" y="222"/>
                  </a:lnTo>
                  <a:lnTo>
                    <a:pt x="272" y="224"/>
                  </a:lnTo>
                  <a:lnTo>
                    <a:pt x="274" y="224"/>
                  </a:lnTo>
                  <a:lnTo>
                    <a:pt x="274" y="226"/>
                  </a:lnTo>
                  <a:lnTo>
                    <a:pt x="274" y="228"/>
                  </a:lnTo>
                  <a:lnTo>
                    <a:pt x="274" y="232"/>
                  </a:lnTo>
                  <a:lnTo>
                    <a:pt x="274" y="238"/>
                  </a:lnTo>
                  <a:lnTo>
                    <a:pt x="274" y="240"/>
                  </a:lnTo>
                  <a:lnTo>
                    <a:pt x="274" y="242"/>
                  </a:lnTo>
                  <a:lnTo>
                    <a:pt x="274" y="242"/>
                  </a:lnTo>
                  <a:lnTo>
                    <a:pt x="274" y="246"/>
                  </a:lnTo>
                  <a:lnTo>
                    <a:pt x="276" y="250"/>
                  </a:lnTo>
                  <a:lnTo>
                    <a:pt x="276" y="252"/>
                  </a:lnTo>
                  <a:lnTo>
                    <a:pt x="276" y="254"/>
                  </a:lnTo>
                  <a:lnTo>
                    <a:pt x="278" y="254"/>
                  </a:lnTo>
                  <a:lnTo>
                    <a:pt x="278" y="256"/>
                  </a:lnTo>
                  <a:lnTo>
                    <a:pt x="278" y="256"/>
                  </a:lnTo>
                  <a:lnTo>
                    <a:pt x="280" y="258"/>
                  </a:lnTo>
                  <a:lnTo>
                    <a:pt x="282" y="258"/>
                  </a:lnTo>
                  <a:lnTo>
                    <a:pt x="284" y="260"/>
                  </a:lnTo>
                  <a:lnTo>
                    <a:pt x="288" y="262"/>
                  </a:lnTo>
                  <a:lnTo>
                    <a:pt x="294" y="264"/>
                  </a:lnTo>
                  <a:lnTo>
                    <a:pt x="296" y="264"/>
                  </a:lnTo>
                  <a:lnTo>
                    <a:pt x="298" y="266"/>
                  </a:lnTo>
                  <a:lnTo>
                    <a:pt x="302" y="270"/>
                  </a:lnTo>
                  <a:lnTo>
                    <a:pt x="306" y="272"/>
                  </a:lnTo>
                  <a:lnTo>
                    <a:pt x="312" y="266"/>
                  </a:lnTo>
                  <a:lnTo>
                    <a:pt x="318" y="262"/>
                  </a:lnTo>
                  <a:lnTo>
                    <a:pt x="320" y="260"/>
                  </a:lnTo>
                  <a:lnTo>
                    <a:pt x="322" y="260"/>
                  </a:lnTo>
                  <a:lnTo>
                    <a:pt x="324" y="258"/>
                  </a:lnTo>
                  <a:lnTo>
                    <a:pt x="326" y="258"/>
                  </a:lnTo>
                  <a:lnTo>
                    <a:pt x="330" y="256"/>
                  </a:lnTo>
                  <a:lnTo>
                    <a:pt x="336" y="256"/>
                  </a:lnTo>
                  <a:lnTo>
                    <a:pt x="340" y="254"/>
                  </a:lnTo>
                  <a:lnTo>
                    <a:pt x="346" y="252"/>
                  </a:lnTo>
                  <a:lnTo>
                    <a:pt x="350" y="252"/>
                  </a:lnTo>
                  <a:lnTo>
                    <a:pt x="352" y="250"/>
                  </a:lnTo>
                  <a:lnTo>
                    <a:pt x="354" y="250"/>
                  </a:lnTo>
                  <a:lnTo>
                    <a:pt x="356" y="248"/>
                  </a:lnTo>
                  <a:lnTo>
                    <a:pt x="358" y="248"/>
                  </a:lnTo>
                  <a:lnTo>
                    <a:pt x="358" y="246"/>
                  </a:lnTo>
                  <a:lnTo>
                    <a:pt x="360" y="246"/>
                  </a:lnTo>
                  <a:lnTo>
                    <a:pt x="360" y="244"/>
                  </a:lnTo>
                  <a:lnTo>
                    <a:pt x="360" y="244"/>
                  </a:lnTo>
                  <a:lnTo>
                    <a:pt x="362" y="242"/>
                  </a:lnTo>
                  <a:lnTo>
                    <a:pt x="362" y="242"/>
                  </a:lnTo>
                  <a:lnTo>
                    <a:pt x="362" y="240"/>
                  </a:lnTo>
                  <a:lnTo>
                    <a:pt x="362" y="240"/>
                  </a:lnTo>
                  <a:lnTo>
                    <a:pt x="362" y="238"/>
                  </a:lnTo>
                  <a:lnTo>
                    <a:pt x="362" y="238"/>
                  </a:lnTo>
                  <a:lnTo>
                    <a:pt x="360" y="236"/>
                  </a:lnTo>
                  <a:lnTo>
                    <a:pt x="360" y="234"/>
                  </a:lnTo>
                  <a:lnTo>
                    <a:pt x="358" y="232"/>
                  </a:lnTo>
                  <a:lnTo>
                    <a:pt x="356" y="232"/>
                  </a:lnTo>
                  <a:lnTo>
                    <a:pt x="354" y="230"/>
                  </a:lnTo>
                  <a:lnTo>
                    <a:pt x="352" y="228"/>
                  </a:lnTo>
                  <a:lnTo>
                    <a:pt x="350" y="228"/>
                  </a:lnTo>
                  <a:lnTo>
                    <a:pt x="350" y="228"/>
                  </a:lnTo>
                  <a:lnTo>
                    <a:pt x="350" y="228"/>
                  </a:lnTo>
                  <a:lnTo>
                    <a:pt x="348" y="228"/>
                  </a:lnTo>
                  <a:lnTo>
                    <a:pt x="346" y="228"/>
                  </a:lnTo>
                  <a:lnTo>
                    <a:pt x="344" y="230"/>
                  </a:lnTo>
                  <a:lnTo>
                    <a:pt x="342" y="230"/>
                  </a:lnTo>
                  <a:lnTo>
                    <a:pt x="340" y="230"/>
                  </a:lnTo>
                  <a:lnTo>
                    <a:pt x="340" y="230"/>
                  </a:lnTo>
                  <a:lnTo>
                    <a:pt x="338" y="230"/>
                  </a:lnTo>
                  <a:lnTo>
                    <a:pt x="338" y="230"/>
                  </a:lnTo>
                  <a:lnTo>
                    <a:pt x="336" y="230"/>
                  </a:lnTo>
                  <a:lnTo>
                    <a:pt x="334" y="230"/>
                  </a:lnTo>
                  <a:lnTo>
                    <a:pt x="334" y="228"/>
                  </a:lnTo>
                  <a:lnTo>
                    <a:pt x="330" y="226"/>
                  </a:lnTo>
                  <a:lnTo>
                    <a:pt x="330" y="224"/>
                  </a:lnTo>
                  <a:lnTo>
                    <a:pt x="328" y="224"/>
                  </a:lnTo>
                  <a:lnTo>
                    <a:pt x="328" y="222"/>
                  </a:lnTo>
                  <a:lnTo>
                    <a:pt x="326" y="222"/>
                  </a:lnTo>
                  <a:lnTo>
                    <a:pt x="326" y="220"/>
                  </a:lnTo>
                  <a:lnTo>
                    <a:pt x="326" y="220"/>
                  </a:lnTo>
                  <a:lnTo>
                    <a:pt x="326" y="220"/>
                  </a:lnTo>
                  <a:lnTo>
                    <a:pt x="326" y="218"/>
                  </a:lnTo>
                  <a:lnTo>
                    <a:pt x="328" y="218"/>
                  </a:lnTo>
                  <a:lnTo>
                    <a:pt x="328" y="216"/>
                  </a:lnTo>
                  <a:lnTo>
                    <a:pt x="330" y="214"/>
                  </a:lnTo>
                  <a:lnTo>
                    <a:pt x="330" y="214"/>
                  </a:lnTo>
                  <a:lnTo>
                    <a:pt x="332" y="212"/>
                  </a:lnTo>
                  <a:lnTo>
                    <a:pt x="334" y="212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34" y="208"/>
                  </a:lnTo>
                  <a:lnTo>
                    <a:pt x="332" y="206"/>
                  </a:lnTo>
                  <a:lnTo>
                    <a:pt x="332" y="204"/>
                  </a:lnTo>
                  <a:lnTo>
                    <a:pt x="332" y="202"/>
                  </a:lnTo>
                  <a:lnTo>
                    <a:pt x="332" y="200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2" y="198"/>
                  </a:lnTo>
                  <a:lnTo>
                    <a:pt x="332" y="196"/>
                  </a:lnTo>
                  <a:lnTo>
                    <a:pt x="334" y="194"/>
                  </a:lnTo>
                  <a:lnTo>
                    <a:pt x="334" y="192"/>
                  </a:lnTo>
                  <a:lnTo>
                    <a:pt x="336" y="192"/>
                  </a:lnTo>
                  <a:lnTo>
                    <a:pt x="338" y="190"/>
                  </a:lnTo>
                  <a:lnTo>
                    <a:pt x="338" y="190"/>
                  </a:lnTo>
                  <a:lnTo>
                    <a:pt x="340" y="188"/>
                  </a:lnTo>
                  <a:lnTo>
                    <a:pt x="342" y="188"/>
                  </a:lnTo>
                  <a:lnTo>
                    <a:pt x="342" y="188"/>
                  </a:lnTo>
                  <a:lnTo>
                    <a:pt x="342" y="188"/>
                  </a:lnTo>
                  <a:lnTo>
                    <a:pt x="344" y="190"/>
                  </a:lnTo>
                  <a:lnTo>
                    <a:pt x="344" y="190"/>
                  </a:lnTo>
                  <a:lnTo>
                    <a:pt x="346" y="192"/>
                  </a:lnTo>
                  <a:lnTo>
                    <a:pt x="346" y="194"/>
                  </a:lnTo>
                  <a:lnTo>
                    <a:pt x="348" y="196"/>
                  </a:lnTo>
                  <a:lnTo>
                    <a:pt x="350" y="198"/>
                  </a:lnTo>
                  <a:lnTo>
                    <a:pt x="350" y="200"/>
                  </a:lnTo>
                  <a:lnTo>
                    <a:pt x="352" y="200"/>
                  </a:lnTo>
                  <a:lnTo>
                    <a:pt x="352" y="200"/>
                  </a:lnTo>
                  <a:lnTo>
                    <a:pt x="354" y="202"/>
                  </a:lnTo>
                  <a:lnTo>
                    <a:pt x="354" y="202"/>
                  </a:lnTo>
                  <a:lnTo>
                    <a:pt x="356" y="202"/>
                  </a:lnTo>
                  <a:lnTo>
                    <a:pt x="356" y="202"/>
                  </a:lnTo>
                  <a:lnTo>
                    <a:pt x="356" y="202"/>
                  </a:lnTo>
                  <a:lnTo>
                    <a:pt x="356" y="200"/>
                  </a:lnTo>
                  <a:lnTo>
                    <a:pt x="356" y="200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60" y="194"/>
                  </a:lnTo>
                  <a:lnTo>
                    <a:pt x="360" y="192"/>
                  </a:lnTo>
                  <a:lnTo>
                    <a:pt x="360" y="192"/>
                  </a:lnTo>
                  <a:lnTo>
                    <a:pt x="362" y="192"/>
                  </a:lnTo>
                  <a:lnTo>
                    <a:pt x="362" y="190"/>
                  </a:lnTo>
                  <a:lnTo>
                    <a:pt x="364" y="188"/>
                  </a:lnTo>
                  <a:lnTo>
                    <a:pt x="368" y="188"/>
                  </a:lnTo>
                  <a:lnTo>
                    <a:pt x="370" y="188"/>
                  </a:lnTo>
                  <a:lnTo>
                    <a:pt x="372" y="186"/>
                  </a:lnTo>
                  <a:lnTo>
                    <a:pt x="376" y="186"/>
                  </a:lnTo>
                  <a:lnTo>
                    <a:pt x="378" y="186"/>
                  </a:lnTo>
                  <a:lnTo>
                    <a:pt x="378" y="186"/>
                  </a:lnTo>
                  <a:lnTo>
                    <a:pt x="380" y="186"/>
                  </a:lnTo>
                  <a:lnTo>
                    <a:pt x="380" y="186"/>
                  </a:lnTo>
                  <a:lnTo>
                    <a:pt x="380" y="186"/>
                  </a:lnTo>
                  <a:lnTo>
                    <a:pt x="382" y="188"/>
                  </a:lnTo>
                  <a:lnTo>
                    <a:pt x="384" y="190"/>
                  </a:lnTo>
                  <a:lnTo>
                    <a:pt x="384" y="192"/>
                  </a:lnTo>
                  <a:lnTo>
                    <a:pt x="386" y="192"/>
                  </a:lnTo>
                  <a:lnTo>
                    <a:pt x="388" y="194"/>
                  </a:lnTo>
                  <a:lnTo>
                    <a:pt x="388" y="196"/>
                  </a:lnTo>
                  <a:lnTo>
                    <a:pt x="390" y="196"/>
                  </a:lnTo>
                  <a:lnTo>
                    <a:pt x="390" y="196"/>
                  </a:lnTo>
                  <a:lnTo>
                    <a:pt x="392" y="196"/>
                  </a:lnTo>
                  <a:lnTo>
                    <a:pt x="394" y="196"/>
                  </a:lnTo>
                  <a:lnTo>
                    <a:pt x="396" y="196"/>
                  </a:lnTo>
                  <a:lnTo>
                    <a:pt x="398" y="196"/>
                  </a:lnTo>
                  <a:lnTo>
                    <a:pt x="402" y="196"/>
                  </a:lnTo>
                  <a:lnTo>
                    <a:pt x="406" y="194"/>
                  </a:lnTo>
                  <a:lnTo>
                    <a:pt x="414" y="192"/>
                  </a:lnTo>
                  <a:lnTo>
                    <a:pt x="418" y="192"/>
                  </a:lnTo>
                  <a:lnTo>
                    <a:pt x="420" y="192"/>
                  </a:lnTo>
                  <a:lnTo>
                    <a:pt x="422" y="192"/>
                  </a:lnTo>
                  <a:lnTo>
                    <a:pt x="426" y="190"/>
                  </a:lnTo>
                  <a:lnTo>
                    <a:pt x="432" y="192"/>
                  </a:lnTo>
                  <a:lnTo>
                    <a:pt x="434" y="192"/>
                  </a:lnTo>
                  <a:lnTo>
                    <a:pt x="436" y="192"/>
                  </a:lnTo>
                  <a:lnTo>
                    <a:pt x="438" y="192"/>
                  </a:lnTo>
                  <a:lnTo>
                    <a:pt x="440" y="192"/>
                  </a:lnTo>
                  <a:lnTo>
                    <a:pt x="442" y="192"/>
                  </a:lnTo>
                  <a:lnTo>
                    <a:pt x="442" y="194"/>
                  </a:lnTo>
                  <a:lnTo>
                    <a:pt x="446" y="196"/>
                  </a:lnTo>
                  <a:lnTo>
                    <a:pt x="448" y="198"/>
                  </a:lnTo>
                  <a:lnTo>
                    <a:pt x="450" y="200"/>
                  </a:lnTo>
                  <a:lnTo>
                    <a:pt x="456" y="204"/>
                  </a:lnTo>
                  <a:lnTo>
                    <a:pt x="458" y="206"/>
                  </a:lnTo>
                  <a:lnTo>
                    <a:pt x="460" y="202"/>
                  </a:lnTo>
                  <a:lnTo>
                    <a:pt x="462" y="200"/>
                  </a:lnTo>
                  <a:lnTo>
                    <a:pt x="462" y="198"/>
                  </a:lnTo>
                  <a:lnTo>
                    <a:pt x="462" y="198"/>
                  </a:lnTo>
                  <a:lnTo>
                    <a:pt x="462" y="196"/>
                  </a:lnTo>
                  <a:lnTo>
                    <a:pt x="464" y="196"/>
                  </a:lnTo>
                  <a:lnTo>
                    <a:pt x="464" y="192"/>
                  </a:lnTo>
                  <a:lnTo>
                    <a:pt x="464" y="190"/>
                  </a:lnTo>
                  <a:lnTo>
                    <a:pt x="462" y="188"/>
                  </a:lnTo>
                  <a:lnTo>
                    <a:pt x="462" y="184"/>
                  </a:lnTo>
                  <a:lnTo>
                    <a:pt x="462" y="182"/>
                  </a:lnTo>
                  <a:lnTo>
                    <a:pt x="462" y="180"/>
                  </a:lnTo>
                  <a:lnTo>
                    <a:pt x="464" y="180"/>
                  </a:lnTo>
                  <a:lnTo>
                    <a:pt x="464" y="178"/>
                  </a:lnTo>
                  <a:lnTo>
                    <a:pt x="464" y="178"/>
                  </a:lnTo>
                  <a:lnTo>
                    <a:pt x="464" y="176"/>
                  </a:lnTo>
                  <a:lnTo>
                    <a:pt x="466" y="176"/>
                  </a:lnTo>
                  <a:lnTo>
                    <a:pt x="466" y="174"/>
                  </a:lnTo>
                  <a:lnTo>
                    <a:pt x="468" y="174"/>
                  </a:lnTo>
                  <a:lnTo>
                    <a:pt x="470" y="172"/>
                  </a:lnTo>
                  <a:lnTo>
                    <a:pt x="474" y="172"/>
                  </a:lnTo>
                  <a:lnTo>
                    <a:pt x="476" y="170"/>
                  </a:lnTo>
                  <a:lnTo>
                    <a:pt x="478" y="170"/>
                  </a:lnTo>
                  <a:lnTo>
                    <a:pt x="480" y="170"/>
                  </a:lnTo>
                  <a:lnTo>
                    <a:pt x="480" y="170"/>
                  </a:lnTo>
                  <a:lnTo>
                    <a:pt x="480" y="170"/>
                  </a:lnTo>
                  <a:lnTo>
                    <a:pt x="484" y="170"/>
                  </a:lnTo>
                  <a:lnTo>
                    <a:pt x="486" y="172"/>
                  </a:lnTo>
                  <a:lnTo>
                    <a:pt x="488" y="174"/>
                  </a:lnTo>
                  <a:lnTo>
                    <a:pt x="490" y="174"/>
                  </a:lnTo>
                  <a:lnTo>
                    <a:pt x="492" y="176"/>
                  </a:lnTo>
                  <a:lnTo>
                    <a:pt x="494" y="176"/>
                  </a:lnTo>
                  <a:lnTo>
                    <a:pt x="496" y="176"/>
                  </a:lnTo>
                  <a:lnTo>
                    <a:pt x="496" y="176"/>
                  </a:lnTo>
                  <a:lnTo>
                    <a:pt x="496" y="174"/>
                  </a:lnTo>
                  <a:lnTo>
                    <a:pt x="498" y="174"/>
                  </a:lnTo>
                  <a:lnTo>
                    <a:pt x="498" y="174"/>
                  </a:lnTo>
                  <a:lnTo>
                    <a:pt x="498" y="174"/>
                  </a:lnTo>
                  <a:lnTo>
                    <a:pt x="498" y="172"/>
                  </a:lnTo>
                  <a:lnTo>
                    <a:pt x="500" y="170"/>
                  </a:lnTo>
                  <a:lnTo>
                    <a:pt x="500" y="170"/>
                  </a:lnTo>
                  <a:lnTo>
                    <a:pt x="500" y="166"/>
                  </a:lnTo>
                  <a:lnTo>
                    <a:pt x="500" y="164"/>
                  </a:lnTo>
                  <a:lnTo>
                    <a:pt x="502" y="160"/>
                  </a:lnTo>
                  <a:lnTo>
                    <a:pt x="502" y="154"/>
                  </a:lnTo>
                  <a:lnTo>
                    <a:pt x="502" y="150"/>
                  </a:lnTo>
                  <a:lnTo>
                    <a:pt x="502" y="148"/>
                  </a:lnTo>
                  <a:lnTo>
                    <a:pt x="502" y="146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4" y="142"/>
                  </a:lnTo>
                  <a:lnTo>
                    <a:pt x="504" y="140"/>
                  </a:lnTo>
                  <a:lnTo>
                    <a:pt x="506" y="138"/>
                  </a:lnTo>
                  <a:lnTo>
                    <a:pt x="508" y="136"/>
                  </a:lnTo>
                  <a:lnTo>
                    <a:pt x="510" y="136"/>
                  </a:lnTo>
                  <a:lnTo>
                    <a:pt x="510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6" y="134"/>
                  </a:lnTo>
                  <a:lnTo>
                    <a:pt x="518" y="134"/>
                  </a:lnTo>
                  <a:lnTo>
                    <a:pt x="520" y="134"/>
                  </a:lnTo>
                  <a:lnTo>
                    <a:pt x="520" y="132"/>
                  </a:lnTo>
                  <a:lnTo>
                    <a:pt x="522" y="132"/>
                  </a:lnTo>
                  <a:lnTo>
                    <a:pt x="522" y="132"/>
                  </a:lnTo>
                  <a:lnTo>
                    <a:pt x="522" y="132"/>
                  </a:lnTo>
                  <a:lnTo>
                    <a:pt x="522" y="132"/>
                  </a:lnTo>
                  <a:lnTo>
                    <a:pt x="524" y="130"/>
                  </a:lnTo>
                  <a:lnTo>
                    <a:pt x="524" y="128"/>
                  </a:lnTo>
                  <a:lnTo>
                    <a:pt x="524" y="126"/>
                  </a:lnTo>
                  <a:lnTo>
                    <a:pt x="524" y="124"/>
                  </a:lnTo>
                  <a:lnTo>
                    <a:pt x="524" y="122"/>
                  </a:lnTo>
                  <a:lnTo>
                    <a:pt x="526" y="120"/>
                  </a:lnTo>
                  <a:lnTo>
                    <a:pt x="526" y="120"/>
                  </a:lnTo>
                  <a:lnTo>
                    <a:pt x="528" y="120"/>
                  </a:lnTo>
                  <a:lnTo>
                    <a:pt x="530" y="116"/>
                  </a:lnTo>
                  <a:lnTo>
                    <a:pt x="534" y="116"/>
                  </a:lnTo>
                  <a:lnTo>
                    <a:pt x="534" y="11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61" name="Freeform 49">
              <a:extLst>
                <a:ext uri="{FF2B5EF4-FFF2-40B4-BE49-F238E27FC236}">
                  <a16:creationId xmlns:a16="http://schemas.microsoft.com/office/drawing/2014/main" id="{1237BF0D-10DE-4EF9-8CF1-7C95007EB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6379" y="3350788"/>
              <a:ext cx="259680" cy="190552"/>
            </a:xfrm>
            <a:custGeom>
              <a:avLst/>
              <a:gdLst>
                <a:gd name="T0" fmla="*/ 120 w 152"/>
                <a:gd name="T1" fmla="*/ 34 h 114"/>
                <a:gd name="T2" fmla="*/ 124 w 152"/>
                <a:gd name="T3" fmla="*/ 36 h 114"/>
                <a:gd name="T4" fmla="*/ 130 w 152"/>
                <a:gd name="T5" fmla="*/ 38 h 114"/>
                <a:gd name="T6" fmla="*/ 132 w 152"/>
                <a:gd name="T7" fmla="*/ 44 h 114"/>
                <a:gd name="T8" fmla="*/ 134 w 152"/>
                <a:gd name="T9" fmla="*/ 56 h 114"/>
                <a:gd name="T10" fmla="*/ 132 w 152"/>
                <a:gd name="T11" fmla="*/ 66 h 114"/>
                <a:gd name="T12" fmla="*/ 130 w 152"/>
                <a:gd name="T13" fmla="*/ 76 h 114"/>
                <a:gd name="T14" fmla="*/ 126 w 152"/>
                <a:gd name="T15" fmla="*/ 80 h 114"/>
                <a:gd name="T16" fmla="*/ 118 w 152"/>
                <a:gd name="T17" fmla="*/ 82 h 114"/>
                <a:gd name="T18" fmla="*/ 116 w 152"/>
                <a:gd name="T19" fmla="*/ 88 h 114"/>
                <a:gd name="T20" fmla="*/ 112 w 152"/>
                <a:gd name="T21" fmla="*/ 92 h 114"/>
                <a:gd name="T22" fmla="*/ 104 w 152"/>
                <a:gd name="T23" fmla="*/ 94 h 114"/>
                <a:gd name="T24" fmla="*/ 92 w 152"/>
                <a:gd name="T25" fmla="*/ 94 h 114"/>
                <a:gd name="T26" fmla="*/ 88 w 152"/>
                <a:gd name="T27" fmla="*/ 98 h 114"/>
                <a:gd name="T28" fmla="*/ 88 w 152"/>
                <a:gd name="T29" fmla="*/ 100 h 114"/>
                <a:gd name="T30" fmla="*/ 88 w 152"/>
                <a:gd name="T31" fmla="*/ 106 h 114"/>
                <a:gd name="T32" fmla="*/ 84 w 152"/>
                <a:gd name="T33" fmla="*/ 114 h 114"/>
                <a:gd name="T34" fmla="*/ 78 w 152"/>
                <a:gd name="T35" fmla="*/ 96 h 114"/>
                <a:gd name="T36" fmla="*/ 74 w 152"/>
                <a:gd name="T37" fmla="*/ 84 h 114"/>
                <a:gd name="T38" fmla="*/ 70 w 152"/>
                <a:gd name="T39" fmla="*/ 78 h 114"/>
                <a:gd name="T40" fmla="*/ 68 w 152"/>
                <a:gd name="T41" fmla="*/ 78 h 114"/>
                <a:gd name="T42" fmla="*/ 64 w 152"/>
                <a:gd name="T43" fmla="*/ 80 h 114"/>
                <a:gd name="T44" fmla="*/ 54 w 152"/>
                <a:gd name="T45" fmla="*/ 88 h 114"/>
                <a:gd name="T46" fmla="*/ 48 w 152"/>
                <a:gd name="T47" fmla="*/ 90 h 114"/>
                <a:gd name="T48" fmla="*/ 34 w 152"/>
                <a:gd name="T49" fmla="*/ 92 h 114"/>
                <a:gd name="T50" fmla="*/ 16 w 152"/>
                <a:gd name="T51" fmla="*/ 88 h 114"/>
                <a:gd name="T52" fmla="*/ 12 w 152"/>
                <a:gd name="T53" fmla="*/ 76 h 114"/>
                <a:gd name="T54" fmla="*/ 22 w 152"/>
                <a:gd name="T55" fmla="*/ 72 h 114"/>
                <a:gd name="T56" fmla="*/ 40 w 152"/>
                <a:gd name="T57" fmla="*/ 66 h 114"/>
                <a:gd name="T58" fmla="*/ 52 w 152"/>
                <a:gd name="T59" fmla="*/ 62 h 114"/>
                <a:gd name="T60" fmla="*/ 54 w 152"/>
                <a:gd name="T61" fmla="*/ 58 h 114"/>
                <a:gd name="T62" fmla="*/ 58 w 152"/>
                <a:gd name="T63" fmla="*/ 54 h 114"/>
                <a:gd name="T64" fmla="*/ 56 w 152"/>
                <a:gd name="T65" fmla="*/ 50 h 114"/>
                <a:gd name="T66" fmla="*/ 48 w 152"/>
                <a:gd name="T67" fmla="*/ 44 h 114"/>
                <a:gd name="T68" fmla="*/ 44 w 152"/>
                <a:gd name="T69" fmla="*/ 42 h 114"/>
                <a:gd name="T70" fmla="*/ 38 w 152"/>
                <a:gd name="T71" fmla="*/ 44 h 114"/>
                <a:gd name="T72" fmla="*/ 34 w 152"/>
                <a:gd name="T73" fmla="*/ 44 h 114"/>
                <a:gd name="T74" fmla="*/ 26 w 152"/>
                <a:gd name="T75" fmla="*/ 40 h 114"/>
                <a:gd name="T76" fmla="*/ 22 w 152"/>
                <a:gd name="T77" fmla="*/ 36 h 114"/>
                <a:gd name="T78" fmla="*/ 22 w 152"/>
                <a:gd name="T79" fmla="*/ 32 h 114"/>
                <a:gd name="T80" fmla="*/ 26 w 152"/>
                <a:gd name="T81" fmla="*/ 26 h 114"/>
                <a:gd name="T82" fmla="*/ 28 w 152"/>
                <a:gd name="T83" fmla="*/ 24 h 114"/>
                <a:gd name="T84" fmla="*/ 28 w 152"/>
                <a:gd name="T85" fmla="*/ 18 h 114"/>
                <a:gd name="T86" fmla="*/ 26 w 152"/>
                <a:gd name="T87" fmla="*/ 12 h 114"/>
                <a:gd name="T88" fmla="*/ 30 w 152"/>
                <a:gd name="T89" fmla="*/ 6 h 114"/>
                <a:gd name="T90" fmla="*/ 36 w 152"/>
                <a:gd name="T91" fmla="*/ 2 h 114"/>
                <a:gd name="T92" fmla="*/ 38 w 152"/>
                <a:gd name="T93" fmla="*/ 2 h 114"/>
                <a:gd name="T94" fmla="*/ 44 w 152"/>
                <a:gd name="T95" fmla="*/ 8 h 114"/>
                <a:gd name="T96" fmla="*/ 48 w 152"/>
                <a:gd name="T97" fmla="*/ 14 h 114"/>
                <a:gd name="T98" fmla="*/ 50 w 152"/>
                <a:gd name="T99" fmla="*/ 16 h 114"/>
                <a:gd name="T100" fmla="*/ 52 w 152"/>
                <a:gd name="T101" fmla="*/ 12 h 114"/>
                <a:gd name="T102" fmla="*/ 56 w 152"/>
                <a:gd name="T103" fmla="*/ 4 h 114"/>
                <a:gd name="T104" fmla="*/ 62 w 152"/>
                <a:gd name="T105" fmla="*/ 2 h 114"/>
                <a:gd name="T106" fmla="*/ 72 w 152"/>
                <a:gd name="T107" fmla="*/ 0 h 114"/>
                <a:gd name="T108" fmla="*/ 76 w 152"/>
                <a:gd name="T109" fmla="*/ 0 h 114"/>
                <a:gd name="T110" fmla="*/ 82 w 152"/>
                <a:gd name="T111" fmla="*/ 6 h 114"/>
                <a:gd name="T112" fmla="*/ 86 w 152"/>
                <a:gd name="T113" fmla="*/ 10 h 114"/>
                <a:gd name="T114" fmla="*/ 92 w 152"/>
                <a:gd name="T115" fmla="*/ 10 h 114"/>
                <a:gd name="T116" fmla="*/ 114 w 152"/>
                <a:gd name="T117" fmla="*/ 4 h 114"/>
                <a:gd name="T118" fmla="*/ 126 w 152"/>
                <a:gd name="T119" fmla="*/ 4 h 114"/>
                <a:gd name="T120" fmla="*/ 136 w 152"/>
                <a:gd name="T121" fmla="*/ 6 h 114"/>
                <a:gd name="T122" fmla="*/ 144 w 152"/>
                <a:gd name="T123" fmla="*/ 10 h 114"/>
                <a:gd name="T124" fmla="*/ 118 w 152"/>
                <a:gd name="T125" fmla="*/ 3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2" h="114">
                  <a:moveTo>
                    <a:pt x="118" y="32"/>
                  </a:moveTo>
                  <a:lnTo>
                    <a:pt x="118" y="32"/>
                  </a:lnTo>
                  <a:lnTo>
                    <a:pt x="118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2" y="34"/>
                  </a:lnTo>
                  <a:lnTo>
                    <a:pt x="124" y="36"/>
                  </a:lnTo>
                  <a:lnTo>
                    <a:pt x="126" y="36"/>
                  </a:lnTo>
                  <a:lnTo>
                    <a:pt x="128" y="36"/>
                  </a:lnTo>
                  <a:lnTo>
                    <a:pt x="130" y="36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6"/>
                  </a:lnTo>
                  <a:lnTo>
                    <a:pt x="134" y="50"/>
                  </a:lnTo>
                  <a:lnTo>
                    <a:pt x="134" y="52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4" y="60"/>
                  </a:lnTo>
                  <a:lnTo>
                    <a:pt x="134" y="64"/>
                  </a:lnTo>
                  <a:lnTo>
                    <a:pt x="132" y="66"/>
                  </a:lnTo>
                  <a:lnTo>
                    <a:pt x="132" y="70"/>
                  </a:lnTo>
                  <a:lnTo>
                    <a:pt x="132" y="72"/>
                  </a:lnTo>
                  <a:lnTo>
                    <a:pt x="130" y="74"/>
                  </a:lnTo>
                  <a:lnTo>
                    <a:pt x="130" y="76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80"/>
                  </a:lnTo>
                  <a:lnTo>
                    <a:pt x="126" y="80"/>
                  </a:lnTo>
                  <a:lnTo>
                    <a:pt x="126" y="80"/>
                  </a:lnTo>
                  <a:lnTo>
                    <a:pt x="124" y="82"/>
                  </a:lnTo>
                  <a:lnTo>
                    <a:pt x="120" y="82"/>
                  </a:lnTo>
                  <a:lnTo>
                    <a:pt x="118" y="82"/>
                  </a:lnTo>
                  <a:lnTo>
                    <a:pt x="118" y="84"/>
                  </a:lnTo>
                  <a:lnTo>
                    <a:pt x="116" y="84"/>
                  </a:lnTo>
                  <a:lnTo>
                    <a:pt x="116" y="86"/>
                  </a:lnTo>
                  <a:lnTo>
                    <a:pt x="116" y="88"/>
                  </a:lnTo>
                  <a:lnTo>
                    <a:pt x="114" y="90"/>
                  </a:lnTo>
                  <a:lnTo>
                    <a:pt x="114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0" y="94"/>
                  </a:lnTo>
                  <a:lnTo>
                    <a:pt x="108" y="94"/>
                  </a:lnTo>
                  <a:lnTo>
                    <a:pt x="106" y="94"/>
                  </a:lnTo>
                  <a:lnTo>
                    <a:pt x="104" y="94"/>
                  </a:lnTo>
                  <a:lnTo>
                    <a:pt x="100" y="94"/>
                  </a:lnTo>
                  <a:lnTo>
                    <a:pt x="96" y="94"/>
                  </a:lnTo>
                  <a:lnTo>
                    <a:pt x="94" y="94"/>
                  </a:lnTo>
                  <a:lnTo>
                    <a:pt x="92" y="94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8" y="98"/>
                  </a:lnTo>
                  <a:lnTo>
                    <a:pt x="88" y="98"/>
                  </a:lnTo>
                  <a:lnTo>
                    <a:pt x="86" y="98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2"/>
                  </a:lnTo>
                  <a:lnTo>
                    <a:pt x="88" y="104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6" y="110"/>
                  </a:lnTo>
                  <a:lnTo>
                    <a:pt x="84" y="114"/>
                  </a:lnTo>
                  <a:lnTo>
                    <a:pt x="82" y="114"/>
                  </a:lnTo>
                  <a:lnTo>
                    <a:pt x="82" y="108"/>
                  </a:lnTo>
                  <a:lnTo>
                    <a:pt x="80" y="104"/>
                  </a:lnTo>
                  <a:lnTo>
                    <a:pt x="78" y="96"/>
                  </a:lnTo>
                  <a:lnTo>
                    <a:pt x="78" y="94"/>
                  </a:lnTo>
                  <a:lnTo>
                    <a:pt x="76" y="90"/>
                  </a:lnTo>
                  <a:lnTo>
                    <a:pt x="76" y="88"/>
                  </a:lnTo>
                  <a:lnTo>
                    <a:pt x="74" y="84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2" y="80"/>
                  </a:lnTo>
                  <a:lnTo>
                    <a:pt x="60" y="82"/>
                  </a:lnTo>
                  <a:lnTo>
                    <a:pt x="56" y="86"/>
                  </a:lnTo>
                  <a:lnTo>
                    <a:pt x="54" y="88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4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2" y="90"/>
                  </a:lnTo>
                  <a:lnTo>
                    <a:pt x="16" y="88"/>
                  </a:lnTo>
                  <a:lnTo>
                    <a:pt x="4" y="86"/>
                  </a:lnTo>
                  <a:lnTo>
                    <a:pt x="0" y="86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0"/>
                  </a:lnTo>
                  <a:lnTo>
                    <a:pt x="30" y="70"/>
                  </a:lnTo>
                  <a:lnTo>
                    <a:pt x="36" y="68"/>
                  </a:lnTo>
                  <a:lnTo>
                    <a:pt x="40" y="66"/>
                  </a:lnTo>
                  <a:lnTo>
                    <a:pt x="46" y="66"/>
                  </a:lnTo>
                  <a:lnTo>
                    <a:pt x="48" y="64"/>
                  </a:lnTo>
                  <a:lnTo>
                    <a:pt x="50" y="64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58"/>
                  </a:lnTo>
                  <a:lnTo>
                    <a:pt x="56" y="58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54" y="48"/>
                  </a:lnTo>
                  <a:lnTo>
                    <a:pt x="52" y="46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6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2" y="44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6" y="40"/>
                  </a:lnTo>
                  <a:lnTo>
                    <a:pt x="24" y="38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30"/>
                  </a:lnTo>
                  <a:lnTo>
                    <a:pt x="24" y="28"/>
                  </a:lnTo>
                  <a:lnTo>
                    <a:pt x="26" y="26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2" y="4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8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2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2" y="10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10" y="6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6" y="4"/>
                  </a:lnTo>
                  <a:lnTo>
                    <a:pt x="128" y="4"/>
                  </a:lnTo>
                  <a:lnTo>
                    <a:pt x="132" y="4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6" y="12"/>
                  </a:lnTo>
                  <a:lnTo>
                    <a:pt x="150" y="16"/>
                  </a:lnTo>
                  <a:lnTo>
                    <a:pt x="152" y="18"/>
                  </a:lnTo>
                  <a:lnTo>
                    <a:pt x="118" y="3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62" name="Freeform 65">
              <a:extLst>
                <a:ext uri="{FF2B5EF4-FFF2-40B4-BE49-F238E27FC236}">
                  <a16:creationId xmlns:a16="http://schemas.microsoft.com/office/drawing/2014/main" id="{8746B6A7-B575-4899-863E-4DA92F36B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4782" y="3420992"/>
              <a:ext cx="119590" cy="150435"/>
            </a:xfrm>
            <a:custGeom>
              <a:avLst/>
              <a:gdLst>
                <a:gd name="T0" fmla="*/ 68 w 70"/>
                <a:gd name="T1" fmla="*/ 2 h 90"/>
                <a:gd name="T2" fmla="*/ 70 w 70"/>
                <a:gd name="T3" fmla="*/ 16 h 90"/>
                <a:gd name="T4" fmla="*/ 70 w 70"/>
                <a:gd name="T5" fmla="*/ 24 h 90"/>
                <a:gd name="T6" fmla="*/ 68 w 70"/>
                <a:gd name="T7" fmla="*/ 28 h 90"/>
                <a:gd name="T8" fmla="*/ 64 w 70"/>
                <a:gd name="T9" fmla="*/ 30 h 90"/>
                <a:gd name="T10" fmla="*/ 60 w 70"/>
                <a:gd name="T11" fmla="*/ 32 h 90"/>
                <a:gd name="T12" fmla="*/ 56 w 70"/>
                <a:gd name="T13" fmla="*/ 38 h 90"/>
                <a:gd name="T14" fmla="*/ 54 w 70"/>
                <a:gd name="T15" fmla="*/ 44 h 90"/>
                <a:gd name="T16" fmla="*/ 50 w 70"/>
                <a:gd name="T17" fmla="*/ 46 h 90"/>
                <a:gd name="T18" fmla="*/ 42 w 70"/>
                <a:gd name="T19" fmla="*/ 48 h 90"/>
                <a:gd name="T20" fmla="*/ 38 w 70"/>
                <a:gd name="T21" fmla="*/ 50 h 90"/>
                <a:gd name="T22" fmla="*/ 38 w 70"/>
                <a:gd name="T23" fmla="*/ 52 h 90"/>
                <a:gd name="T24" fmla="*/ 40 w 70"/>
                <a:gd name="T25" fmla="*/ 56 h 90"/>
                <a:gd name="T26" fmla="*/ 42 w 70"/>
                <a:gd name="T27" fmla="*/ 60 h 90"/>
                <a:gd name="T28" fmla="*/ 52 w 70"/>
                <a:gd name="T29" fmla="*/ 66 h 90"/>
                <a:gd name="T30" fmla="*/ 30 w 70"/>
                <a:gd name="T31" fmla="*/ 90 h 90"/>
                <a:gd name="T32" fmla="*/ 22 w 70"/>
                <a:gd name="T33" fmla="*/ 82 h 90"/>
                <a:gd name="T34" fmla="*/ 18 w 70"/>
                <a:gd name="T35" fmla="*/ 80 h 90"/>
                <a:gd name="T36" fmla="*/ 8 w 70"/>
                <a:gd name="T37" fmla="*/ 78 h 90"/>
                <a:gd name="T38" fmla="*/ 4 w 70"/>
                <a:gd name="T39" fmla="*/ 76 h 90"/>
                <a:gd name="T40" fmla="*/ 4 w 70"/>
                <a:gd name="T41" fmla="*/ 74 h 90"/>
                <a:gd name="T42" fmla="*/ 4 w 70"/>
                <a:gd name="T43" fmla="*/ 72 h 90"/>
                <a:gd name="T44" fmla="*/ 8 w 70"/>
                <a:gd name="T45" fmla="*/ 70 h 90"/>
                <a:gd name="T46" fmla="*/ 14 w 70"/>
                <a:gd name="T47" fmla="*/ 66 h 90"/>
                <a:gd name="T48" fmla="*/ 14 w 70"/>
                <a:gd name="T49" fmla="*/ 64 h 90"/>
                <a:gd name="T50" fmla="*/ 16 w 70"/>
                <a:gd name="T51" fmla="*/ 58 h 90"/>
                <a:gd name="T52" fmla="*/ 16 w 70"/>
                <a:gd name="T53" fmla="*/ 52 h 90"/>
                <a:gd name="T54" fmla="*/ 16 w 70"/>
                <a:gd name="T55" fmla="*/ 50 h 90"/>
                <a:gd name="T56" fmla="*/ 14 w 70"/>
                <a:gd name="T57" fmla="*/ 48 h 90"/>
                <a:gd name="T58" fmla="*/ 6 w 70"/>
                <a:gd name="T59" fmla="*/ 46 h 90"/>
                <a:gd name="T60" fmla="*/ 0 w 70"/>
                <a:gd name="T61" fmla="*/ 46 h 90"/>
                <a:gd name="T62" fmla="*/ 8 w 70"/>
                <a:gd name="T63" fmla="*/ 40 h 90"/>
                <a:gd name="T64" fmla="*/ 12 w 70"/>
                <a:gd name="T65" fmla="*/ 38 h 90"/>
                <a:gd name="T66" fmla="*/ 14 w 70"/>
                <a:gd name="T67" fmla="*/ 34 h 90"/>
                <a:gd name="T68" fmla="*/ 16 w 70"/>
                <a:gd name="T69" fmla="*/ 28 h 90"/>
                <a:gd name="T70" fmla="*/ 18 w 70"/>
                <a:gd name="T71" fmla="*/ 18 h 90"/>
                <a:gd name="T72" fmla="*/ 18 w 70"/>
                <a:gd name="T73" fmla="*/ 14 h 90"/>
                <a:gd name="T74" fmla="*/ 22 w 70"/>
                <a:gd name="T75" fmla="*/ 12 h 90"/>
                <a:gd name="T76" fmla="*/ 24 w 70"/>
                <a:gd name="T77" fmla="*/ 12 h 90"/>
                <a:gd name="T78" fmla="*/ 30 w 70"/>
                <a:gd name="T79" fmla="*/ 16 h 90"/>
                <a:gd name="T80" fmla="*/ 36 w 70"/>
                <a:gd name="T81" fmla="*/ 18 h 90"/>
                <a:gd name="T82" fmla="*/ 44 w 70"/>
                <a:gd name="T83" fmla="*/ 18 h 90"/>
                <a:gd name="T84" fmla="*/ 48 w 70"/>
                <a:gd name="T85" fmla="*/ 16 h 90"/>
                <a:gd name="T86" fmla="*/ 50 w 70"/>
                <a:gd name="T87" fmla="*/ 14 h 90"/>
                <a:gd name="T88" fmla="*/ 56 w 70"/>
                <a:gd name="T89" fmla="*/ 8 h 90"/>
                <a:gd name="T90" fmla="*/ 60 w 70"/>
                <a:gd name="T91" fmla="*/ 2 h 90"/>
                <a:gd name="T92" fmla="*/ 64 w 70"/>
                <a:gd name="T9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0" h="90">
                  <a:moveTo>
                    <a:pt x="66" y="0"/>
                  </a:moveTo>
                  <a:lnTo>
                    <a:pt x="66" y="0"/>
                  </a:lnTo>
                  <a:lnTo>
                    <a:pt x="68" y="2"/>
                  </a:lnTo>
                  <a:lnTo>
                    <a:pt x="68" y="6"/>
                  </a:lnTo>
                  <a:lnTo>
                    <a:pt x="68" y="10"/>
                  </a:lnTo>
                  <a:lnTo>
                    <a:pt x="70" y="16"/>
                  </a:lnTo>
                  <a:lnTo>
                    <a:pt x="70" y="20"/>
                  </a:lnTo>
                  <a:lnTo>
                    <a:pt x="70" y="22"/>
                  </a:lnTo>
                  <a:lnTo>
                    <a:pt x="70" y="24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4" y="30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60" y="32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6" y="38"/>
                  </a:lnTo>
                  <a:lnTo>
                    <a:pt x="54" y="40"/>
                  </a:lnTo>
                  <a:lnTo>
                    <a:pt x="54" y="42"/>
                  </a:lnTo>
                  <a:lnTo>
                    <a:pt x="54" y="44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4" y="48"/>
                  </a:lnTo>
                  <a:lnTo>
                    <a:pt x="42" y="48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38" y="50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2" y="58"/>
                  </a:lnTo>
                  <a:lnTo>
                    <a:pt x="42" y="60"/>
                  </a:lnTo>
                  <a:lnTo>
                    <a:pt x="46" y="62"/>
                  </a:lnTo>
                  <a:lnTo>
                    <a:pt x="50" y="64"/>
                  </a:lnTo>
                  <a:lnTo>
                    <a:pt x="52" y="66"/>
                  </a:lnTo>
                  <a:lnTo>
                    <a:pt x="54" y="68"/>
                  </a:lnTo>
                  <a:lnTo>
                    <a:pt x="50" y="84"/>
                  </a:lnTo>
                  <a:lnTo>
                    <a:pt x="30" y="90"/>
                  </a:lnTo>
                  <a:lnTo>
                    <a:pt x="26" y="86"/>
                  </a:lnTo>
                  <a:lnTo>
                    <a:pt x="24" y="84"/>
                  </a:lnTo>
                  <a:lnTo>
                    <a:pt x="22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18" y="80"/>
                  </a:lnTo>
                  <a:lnTo>
                    <a:pt x="16" y="80"/>
                  </a:lnTo>
                  <a:lnTo>
                    <a:pt x="10" y="78"/>
                  </a:lnTo>
                  <a:lnTo>
                    <a:pt x="8" y="78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6" y="70"/>
                  </a:lnTo>
                  <a:lnTo>
                    <a:pt x="8" y="70"/>
                  </a:lnTo>
                  <a:lnTo>
                    <a:pt x="10" y="68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4"/>
                  </a:lnTo>
                  <a:lnTo>
                    <a:pt x="16" y="62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6" y="54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6"/>
                  </a:lnTo>
                  <a:lnTo>
                    <a:pt x="10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6" y="42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30" y="16"/>
                  </a:lnTo>
                  <a:lnTo>
                    <a:pt x="32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6" y="8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63" name="Freeform 67">
              <a:extLst>
                <a:ext uri="{FF2B5EF4-FFF2-40B4-BE49-F238E27FC236}">
                  <a16:creationId xmlns:a16="http://schemas.microsoft.com/office/drawing/2014/main" id="{9BB50030-FC45-4800-85AF-57BB4B33A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495" y="3872296"/>
              <a:ext cx="191343" cy="484736"/>
            </a:xfrm>
            <a:custGeom>
              <a:avLst/>
              <a:gdLst>
                <a:gd name="T0" fmla="*/ 6 w 112"/>
                <a:gd name="T1" fmla="*/ 82 h 290"/>
                <a:gd name="T2" fmla="*/ 8 w 112"/>
                <a:gd name="T3" fmla="*/ 68 h 290"/>
                <a:gd name="T4" fmla="*/ 18 w 112"/>
                <a:gd name="T5" fmla="*/ 58 h 290"/>
                <a:gd name="T6" fmla="*/ 24 w 112"/>
                <a:gd name="T7" fmla="*/ 40 h 290"/>
                <a:gd name="T8" fmla="*/ 34 w 112"/>
                <a:gd name="T9" fmla="*/ 26 h 290"/>
                <a:gd name="T10" fmla="*/ 42 w 112"/>
                <a:gd name="T11" fmla="*/ 18 h 290"/>
                <a:gd name="T12" fmla="*/ 56 w 112"/>
                <a:gd name="T13" fmla="*/ 14 h 290"/>
                <a:gd name="T14" fmla="*/ 58 w 112"/>
                <a:gd name="T15" fmla="*/ 6 h 290"/>
                <a:gd name="T16" fmla="*/ 68 w 112"/>
                <a:gd name="T17" fmla="*/ 0 h 290"/>
                <a:gd name="T18" fmla="*/ 76 w 112"/>
                <a:gd name="T19" fmla="*/ 0 h 290"/>
                <a:gd name="T20" fmla="*/ 80 w 112"/>
                <a:gd name="T21" fmla="*/ 12 h 290"/>
                <a:gd name="T22" fmla="*/ 84 w 112"/>
                <a:gd name="T23" fmla="*/ 26 h 290"/>
                <a:gd name="T24" fmla="*/ 78 w 112"/>
                <a:gd name="T25" fmla="*/ 38 h 290"/>
                <a:gd name="T26" fmla="*/ 70 w 112"/>
                <a:gd name="T27" fmla="*/ 44 h 290"/>
                <a:gd name="T28" fmla="*/ 66 w 112"/>
                <a:gd name="T29" fmla="*/ 54 h 290"/>
                <a:gd name="T30" fmla="*/ 68 w 112"/>
                <a:gd name="T31" fmla="*/ 60 h 290"/>
                <a:gd name="T32" fmla="*/ 80 w 112"/>
                <a:gd name="T33" fmla="*/ 60 h 290"/>
                <a:gd name="T34" fmla="*/ 84 w 112"/>
                <a:gd name="T35" fmla="*/ 62 h 290"/>
                <a:gd name="T36" fmla="*/ 92 w 112"/>
                <a:gd name="T37" fmla="*/ 76 h 290"/>
                <a:gd name="T38" fmla="*/ 92 w 112"/>
                <a:gd name="T39" fmla="*/ 96 h 290"/>
                <a:gd name="T40" fmla="*/ 96 w 112"/>
                <a:gd name="T41" fmla="*/ 100 h 290"/>
                <a:gd name="T42" fmla="*/ 106 w 112"/>
                <a:gd name="T43" fmla="*/ 102 h 290"/>
                <a:gd name="T44" fmla="*/ 110 w 112"/>
                <a:gd name="T45" fmla="*/ 104 h 290"/>
                <a:gd name="T46" fmla="*/ 108 w 112"/>
                <a:gd name="T47" fmla="*/ 122 h 290"/>
                <a:gd name="T48" fmla="*/ 100 w 112"/>
                <a:gd name="T49" fmla="*/ 132 h 290"/>
                <a:gd name="T50" fmla="*/ 86 w 112"/>
                <a:gd name="T51" fmla="*/ 138 h 290"/>
                <a:gd name="T52" fmla="*/ 80 w 112"/>
                <a:gd name="T53" fmla="*/ 144 h 290"/>
                <a:gd name="T54" fmla="*/ 80 w 112"/>
                <a:gd name="T55" fmla="*/ 160 h 290"/>
                <a:gd name="T56" fmla="*/ 84 w 112"/>
                <a:gd name="T57" fmla="*/ 176 h 290"/>
                <a:gd name="T58" fmla="*/ 96 w 112"/>
                <a:gd name="T59" fmla="*/ 190 h 290"/>
                <a:gd name="T60" fmla="*/ 96 w 112"/>
                <a:gd name="T61" fmla="*/ 198 h 290"/>
                <a:gd name="T62" fmla="*/ 92 w 112"/>
                <a:gd name="T63" fmla="*/ 220 h 290"/>
                <a:gd name="T64" fmla="*/ 96 w 112"/>
                <a:gd name="T65" fmla="*/ 242 h 290"/>
                <a:gd name="T66" fmla="*/ 102 w 112"/>
                <a:gd name="T67" fmla="*/ 250 h 290"/>
                <a:gd name="T68" fmla="*/ 112 w 112"/>
                <a:gd name="T69" fmla="*/ 258 h 290"/>
                <a:gd name="T70" fmla="*/ 110 w 112"/>
                <a:gd name="T71" fmla="*/ 266 h 290"/>
                <a:gd name="T72" fmla="*/ 102 w 112"/>
                <a:gd name="T73" fmla="*/ 280 h 290"/>
                <a:gd name="T74" fmla="*/ 88 w 112"/>
                <a:gd name="T75" fmla="*/ 262 h 290"/>
                <a:gd name="T76" fmla="*/ 86 w 112"/>
                <a:gd name="T77" fmla="*/ 246 h 290"/>
                <a:gd name="T78" fmla="*/ 78 w 112"/>
                <a:gd name="T79" fmla="*/ 240 h 290"/>
                <a:gd name="T80" fmla="*/ 72 w 112"/>
                <a:gd name="T81" fmla="*/ 234 h 290"/>
                <a:gd name="T82" fmla="*/ 76 w 112"/>
                <a:gd name="T83" fmla="*/ 218 h 290"/>
                <a:gd name="T84" fmla="*/ 78 w 112"/>
                <a:gd name="T85" fmla="*/ 200 h 290"/>
                <a:gd name="T86" fmla="*/ 72 w 112"/>
                <a:gd name="T87" fmla="*/ 182 h 290"/>
                <a:gd name="T88" fmla="*/ 64 w 112"/>
                <a:gd name="T89" fmla="*/ 178 h 290"/>
                <a:gd name="T90" fmla="*/ 60 w 112"/>
                <a:gd name="T91" fmla="*/ 182 h 290"/>
                <a:gd name="T92" fmla="*/ 50 w 112"/>
                <a:gd name="T93" fmla="*/ 196 h 290"/>
                <a:gd name="T94" fmla="*/ 44 w 112"/>
                <a:gd name="T95" fmla="*/ 200 h 290"/>
                <a:gd name="T96" fmla="*/ 32 w 112"/>
                <a:gd name="T97" fmla="*/ 194 h 290"/>
                <a:gd name="T98" fmla="*/ 28 w 112"/>
                <a:gd name="T99" fmla="*/ 186 h 290"/>
                <a:gd name="T100" fmla="*/ 28 w 112"/>
                <a:gd name="T101" fmla="*/ 162 h 290"/>
                <a:gd name="T102" fmla="*/ 24 w 112"/>
                <a:gd name="T103" fmla="*/ 144 h 290"/>
                <a:gd name="T104" fmla="*/ 12 w 112"/>
                <a:gd name="T105" fmla="*/ 128 h 290"/>
                <a:gd name="T106" fmla="*/ 0 w 112"/>
                <a:gd name="T107" fmla="*/ 120 h 290"/>
                <a:gd name="T108" fmla="*/ 0 w 112"/>
                <a:gd name="T109" fmla="*/ 11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2" h="290">
                  <a:moveTo>
                    <a:pt x="0" y="112"/>
                  </a:moveTo>
                  <a:lnTo>
                    <a:pt x="8" y="98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6" y="86"/>
                  </a:lnTo>
                  <a:lnTo>
                    <a:pt x="6" y="82"/>
                  </a:lnTo>
                  <a:lnTo>
                    <a:pt x="6" y="78"/>
                  </a:lnTo>
                  <a:lnTo>
                    <a:pt x="6" y="74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8" y="70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0" y="66"/>
                  </a:lnTo>
                  <a:lnTo>
                    <a:pt x="12" y="64"/>
                  </a:lnTo>
                  <a:lnTo>
                    <a:pt x="14" y="62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20" y="56"/>
                  </a:lnTo>
                  <a:lnTo>
                    <a:pt x="22" y="54"/>
                  </a:lnTo>
                  <a:lnTo>
                    <a:pt x="22" y="52"/>
                  </a:lnTo>
                  <a:lnTo>
                    <a:pt x="22" y="48"/>
                  </a:lnTo>
                  <a:lnTo>
                    <a:pt x="24" y="46"/>
                  </a:lnTo>
                  <a:lnTo>
                    <a:pt x="24" y="40"/>
                  </a:lnTo>
                  <a:lnTo>
                    <a:pt x="26" y="38"/>
                  </a:lnTo>
                  <a:lnTo>
                    <a:pt x="26" y="36"/>
                  </a:lnTo>
                  <a:lnTo>
                    <a:pt x="28" y="34"/>
                  </a:lnTo>
                  <a:lnTo>
                    <a:pt x="28" y="32"/>
                  </a:lnTo>
                  <a:lnTo>
                    <a:pt x="32" y="28"/>
                  </a:lnTo>
                  <a:lnTo>
                    <a:pt x="34" y="26"/>
                  </a:lnTo>
                  <a:lnTo>
                    <a:pt x="34" y="24"/>
                  </a:lnTo>
                  <a:lnTo>
                    <a:pt x="36" y="22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6" y="14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2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78" y="8"/>
                  </a:lnTo>
                  <a:lnTo>
                    <a:pt x="78" y="10"/>
                  </a:lnTo>
                  <a:lnTo>
                    <a:pt x="80" y="12"/>
                  </a:lnTo>
                  <a:lnTo>
                    <a:pt x="82" y="18"/>
                  </a:lnTo>
                  <a:lnTo>
                    <a:pt x="84" y="20"/>
                  </a:lnTo>
                  <a:lnTo>
                    <a:pt x="84" y="22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0"/>
                  </a:lnTo>
                  <a:lnTo>
                    <a:pt x="82" y="32"/>
                  </a:lnTo>
                  <a:lnTo>
                    <a:pt x="80" y="36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6" y="40"/>
                  </a:lnTo>
                  <a:lnTo>
                    <a:pt x="74" y="42"/>
                  </a:lnTo>
                  <a:lnTo>
                    <a:pt x="72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8"/>
                  </a:lnTo>
                  <a:lnTo>
                    <a:pt x="66" y="50"/>
                  </a:lnTo>
                  <a:lnTo>
                    <a:pt x="66" y="52"/>
                  </a:lnTo>
                  <a:lnTo>
                    <a:pt x="66" y="54"/>
                  </a:lnTo>
                  <a:lnTo>
                    <a:pt x="66" y="56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8" y="58"/>
                  </a:lnTo>
                  <a:lnTo>
                    <a:pt x="68" y="58"/>
                  </a:lnTo>
                  <a:lnTo>
                    <a:pt x="68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2" y="60"/>
                  </a:lnTo>
                  <a:lnTo>
                    <a:pt x="76" y="60"/>
                  </a:lnTo>
                  <a:lnTo>
                    <a:pt x="78" y="60"/>
                  </a:lnTo>
                  <a:lnTo>
                    <a:pt x="80" y="60"/>
                  </a:lnTo>
                  <a:lnTo>
                    <a:pt x="82" y="60"/>
                  </a:lnTo>
                  <a:lnTo>
                    <a:pt x="82" y="60"/>
                  </a:lnTo>
                  <a:lnTo>
                    <a:pt x="82" y="60"/>
                  </a:lnTo>
                  <a:lnTo>
                    <a:pt x="84" y="60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6" y="64"/>
                  </a:lnTo>
                  <a:lnTo>
                    <a:pt x="88" y="66"/>
                  </a:lnTo>
                  <a:lnTo>
                    <a:pt x="88" y="68"/>
                  </a:lnTo>
                  <a:lnTo>
                    <a:pt x="90" y="70"/>
                  </a:lnTo>
                  <a:lnTo>
                    <a:pt x="90" y="72"/>
                  </a:lnTo>
                  <a:lnTo>
                    <a:pt x="92" y="76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82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4" y="100"/>
                  </a:lnTo>
                  <a:lnTo>
                    <a:pt x="96" y="100"/>
                  </a:lnTo>
                  <a:lnTo>
                    <a:pt x="96" y="100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100" y="102"/>
                  </a:lnTo>
                  <a:lnTo>
                    <a:pt x="102" y="102"/>
                  </a:lnTo>
                  <a:lnTo>
                    <a:pt x="104" y="102"/>
                  </a:lnTo>
                  <a:lnTo>
                    <a:pt x="106" y="102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4"/>
                  </a:lnTo>
                  <a:lnTo>
                    <a:pt x="110" y="104"/>
                  </a:lnTo>
                  <a:lnTo>
                    <a:pt x="112" y="106"/>
                  </a:lnTo>
                  <a:lnTo>
                    <a:pt x="112" y="108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0" y="118"/>
                  </a:lnTo>
                  <a:lnTo>
                    <a:pt x="108" y="122"/>
                  </a:lnTo>
                  <a:lnTo>
                    <a:pt x="108" y="124"/>
                  </a:lnTo>
                  <a:lnTo>
                    <a:pt x="106" y="126"/>
                  </a:lnTo>
                  <a:lnTo>
                    <a:pt x="106" y="128"/>
                  </a:lnTo>
                  <a:lnTo>
                    <a:pt x="104" y="128"/>
                  </a:lnTo>
                  <a:lnTo>
                    <a:pt x="102" y="130"/>
                  </a:lnTo>
                  <a:lnTo>
                    <a:pt x="100" y="132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4" y="136"/>
                  </a:lnTo>
                  <a:lnTo>
                    <a:pt x="90" y="136"/>
                  </a:lnTo>
                  <a:lnTo>
                    <a:pt x="88" y="138"/>
                  </a:lnTo>
                  <a:lnTo>
                    <a:pt x="86" y="138"/>
                  </a:lnTo>
                  <a:lnTo>
                    <a:pt x="84" y="138"/>
                  </a:lnTo>
                  <a:lnTo>
                    <a:pt x="82" y="140"/>
                  </a:lnTo>
                  <a:lnTo>
                    <a:pt x="82" y="140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0" y="144"/>
                  </a:lnTo>
                  <a:lnTo>
                    <a:pt x="80" y="146"/>
                  </a:lnTo>
                  <a:lnTo>
                    <a:pt x="80" y="148"/>
                  </a:lnTo>
                  <a:lnTo>
                    <a:pt x="80" y="150"/>
                  </a:lnTo>
                  <a:lnTo>
                    <a:pt x="80" y="152"/>
                  </a:lnTo>
                  <a:lnTo>
                    <a:pt x="80" y="156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82" y="166"/>
                  </a:lnTo>
                  <a:lnTo>
                    <a:pt x="82" y="168"/>
                  </a:lnTo>
                  <a:lnTo>
                    <a:pt x="82" y="172"/>
                  </a:lnTo>
                  <a:lnTo>
                    <a:pt x="84" y="174"/>
                  </a:lnTo>
                  <a:lnTo>
                    <a:pt x="84" y="176"/>
                  </a:lnTo>
                  <a:lnTo>
                    <a:pt x="86" y="178"/>
                  </a:lnTo>
                  <a:lnTo>
                    <a:pt x="88" y="180"/>
                  </a:lnTo>
                  <a:lnTo>
                    <a:pt x="92" y="184"/>
                  </a:lnTo>
                  <a:lnTo>
                    <a:pt x="92" y="186"/>
                  </a:lnTo>
                  <a:lnTo>
                    <a:pt x="94" y="188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6" y="194"/>
                  </a:lnTo>
                  <a:lnTo>
                    <a:pt x="96" y="196"/>
                  </a:lnTo>
                  <a:lnTo>
                    <a:pt x="96" y="198"/>
                  </a:lnTo>
                  <a:lnTo>
                    <a:pt x="96" y="200"/>
                  </a:lnTo>
                  <a:lnTo>
                    <a:pt x="94" y="204"/>
                  </a:lnTo>
                  <a:lnTo>
                    <a:pt x="94" y="210"/>
                  </a:lnTo>
                  <a:lnTo>
                    <a:pt x="92" y="214"/>
                  </a:lnTo>
                  <a:lnTo>
                    <a:pt x="92" y="216"/>
                  </a:lnTo>
                  <a:lnTo>
                    <a:pt x="92" y="220"/>
                  </a:lnTo>
                  <a:lnTo>
                    <a:pt x="92" y="224"/>
                  </a:lnTo>
                  <a:lnTo>
                    <a:pt x="94" y="226"/>
                  </a:lnTo>
                  <a:lnTo>
                    <a:pt x="94" y="230"/>
                  </a:lnTo>
                  <a:lnTo>
                    <a:pt x="94" y="234"/>
                  </a:lnTo>
                  <a:lnTo>
                    <a:pt x="96" y="238"/>
                  </a:lnTo>
                  <a:lnTo>
                    <a:pt x="96" y="242"/>
                  </a:lnTo>
                  <a:lnTo>
                    <a:pt x="98" y="244"/>
                  </a:lnTo>
                  <a:lnTo>
                    <a:pt x="98" y="246"/>
                  </a:lnTo>
                  <a:lnTo>
                    <a:pt x="98" y="248"/>
                  </a:lnTo>
                  <a:lnTo>
                    <a:pt x="100" y="248"/>
                  </a:lnTo>
                  <a:lnTo>
                    <a:pt x="100" y="250"/>
                  </a:lnTo>
                  <a:lnTo>
                    <a:pt x="102" y="250"/>
                  </a:lnTo>
                  <a:lnTo>
                    <a:pt x="106" y="254"/>
                  </a:lnTo>
                  <a:lnTo>
                    <a:pt x="108" y="256"/>
                  </a:lnTo>
                  <a:lnTo>
                    <a:pt x="110" y="256"/>
                  </a:lnTo>
                  <a:lnTo>
                    <a:pt x="110" y="258"/>
                  </a:lnTo>
                  <a:lnTo>
                    <a:pt x="110" y="258"/>
                  </a:lnTo>
                  <a:lnTo>
                    <a:pt x="112" y="258"/>
                  </a:lnTo>
                  <a:lnTo>
                    <a:pt x="112" y="260"/>
                  </a:lnTo>
                  <a:lnTo>
                    <a:pt x="112" y="260"/>
                  </a:lnTo>
                  <a:lnTo>
                    <a:pt x="112" y="262"/>
                  </a:lnTo>
                  <a:lnTo>
                    <a:pt x="112" y="264"/>
                  </a:lnTo>
                  <a:lnTo>
                    <a:pt x="110" y="264"/>
                  </a:lnTo>
                  <a:lnTo>
                    <a:pt x="110" y="266"/>
                  </a:lnTo>
                  <a:lnTo>
                    <a:pt x="110" y="268"/>
                  </a:lnTo>
                  <a:lnTo>
                    <a:pt x="108" y="270"/>
                  </a:lnTo>
                  <a:lnTo>
                    <a:pt x="106" y="274"/>
                  </a:lnTo>
                  <a:lnTo>
                    <a:pt x="104" y="276"/>
                  </a:lnTo>
                  <a:lnTo>
                    <a:pt x="102" y="278"/>
                  </a:lnTo>
                  <a:lnTo>
                    <a:pt x="102" y="280"/>
                  </a:lnTo>
                  <a:lnTo>
                    <a:pt x="100" y="284"/>
                  </a:lnTo>
                  <a:lnTo>
                    <a:pt x="98" y="286"/>
                  </a:lnTo>
                  <a:lnTo>
                    <a:pt x="94" y="290"/>
                  </a:lnTo>
                  <a:lnTo>
                    <a:pt x="92" y="280"/>
                  </a:lnTo>
                  <a:lnTo>
                    <a:pt x="88" y="264"/>
                  </a:lnTo>
                  <a:lnTo>
                    <a:pt x="88" y="262"/>
                  </a:lnTo>
                  <a:lnTo>
                    <a:pt x="88" y="258"/>
                  </a:lnTo>
                  <a:lnTo>
                    <a:pt x="88" y="254"/>
                  </a:lnTo>
                  <a:lnTo>
                    <a:pt x="86" y="252"/>
                  </a:lnTo>
                  <a:lnTo>
                    <a:pt x="86" y="248"/>
                  </a:lnTo>
                  <a:lnTo>
                    <a:pt x="86" y="246"/>
                  </a:lnTo>
                  <a:lnTo>
                    <a:pt x="86" y="246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2" y="242"/>
                  </a:lnTo>
                  <a:lnTo>
                    <a:pt x="80" y="242"/>
                  </a:lnTo>
                  <a:lnTo>
                    <a:pt x="78" y="240"/>
                  </a:lnTo>
                  <a:lnTo>
                    <a:pt x="78" y="240"/>
                  </a:lnTo>
                  <a:lnTo>
                    <a:pt x="76" y="238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2" y="234"/>
                  </a:lnTo>
                  <a:lnTo>
                    <a:pt x="72" y="232"/>
                  </a:lnTo>
                  <a:lnTo>
                    <a:pt x="72" y="230"/>
                  </a:lnTo>
                  <a:lnTo>
                    <a:pt x="72" y="228"/>
                  </a:lnTo>
                  <a:lnTo>
                    <a:pt x="74" y="226"/>
                  </a:lnTo>
                  <a:lnTo>
                    <a:pt x="74" y="222"/>
                  </a:lnTo>
                  <a:lnTo>
                    <a:pt x="76" y="218"/>
                  </a:lnTo>
                  <a:lnTo>
                    <a:pt x="76" y="212"/>
                  </a:lnTo>
                  <a:lnTo>
                    <a:pt x="78" y="208"/>
                  </a:lnTo>
                  <a:lnTo>
                    <a:pt x="78" y="206"/>
                  </a:lnTo>
                  <a:lnTo>
                    <a:pt x="78" y="204"/>
                  </a:lnTo>
                  <a:lnTo>
                    <a:pt x="78" y="200"/>
                  </a:lnTo>
                  <a:lnTo>
                    <a:pt x="78" y="200"/>
                  </a:lnTo>
                  <a:lnTo>
                    <a:pt x="78" y="196"/>
                  </a:lnTo>
                  <a:lnTo>
                    <a:pt x="76" y="194"/>
                  </a:lnTo>
                  <a:lnTo>
                    <a:pt x="76" y="190"/>
                  </a:lnTo>
                  <a:lnTo>
                    <a:pt x="74" y="186"/>
                  </a:lnTo>
                  <a:lnTo>
                    <a:pt x="72" y="184"/>
                  </a:lnTo>
                  <a:lnTo>
                    <a:pt x="72" y="182"/>
                  </a:lnTo>
                  <a:lnTo>
                    <a:pt x="70" y="182"/>
                  </a:lnTo>
                  <a:lnTo>
                    <a:pt x="70" y="180"/>
                  </a:lnTo>
                  <a:lnTo>
                    <a:pt x="68" y="180"/>
                  </a:lnTo>
                  <a:lnTo>
                    <a:pt x="66" y="178"/>
                  </a:lnTo>
                  <a:lnTo>
                    <a:pt x="66" y="178"/>
                  </a:lnTo>
                  <a:lnTo>
                    <a:pt x="64" y="178"/>
                  </a:lnTo>
                  <a:lnTo>
                    <a:pt x="64" y="178"/>
                  </a:lnTo>
                  <a:lnTo>
                    <a:pt x="64" y="178"/>
                  </a:lnTo>
                  <a:lnTo>
                    <a:pt x="62" y="178"/>
                  </a:lnTo>
                  <a:lnTo>
                    <a:pt x="62" y="180"/>
                  </a:lnTo>
                  <a:lnTo>
                    <a:pt x="62" y="180"/>
                  </a:lnTo>
                  <a:lnTo>
                    <a:pt x="60" y="182"/>
                  </a:lnTo>
                  <a:lnTo>
                    <a:pt x="58" y="186"/>
                  </a:lnTo>
                  <a:lnTo>
                    <a:pt x="58" y="188"/>
                  </a:lnTo>
                  <a:lnTo>
                    <a:pt x="56" y="190"/>
                  </a:lnTo>
                  <a:lnTo>
                    <a:pt x="54" y="192"/>
                  </a:lnTo>
                  <a:lnTo>
                    <a:pt x="52" y="194"/>
                  </a:lnTo>
                  <a:lnTo>
                    <a:pt x="50" y="196"/>
                  </a:lnTo>
                  <a:lnTo>
                    <a:pt x="50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6" y="200"/>
                  </a:lnTo>
                  <a:lnTo>
                    <a:pt x="44" y="200"/>
                  </a:lnTo>
                  <a:lnTo>
                    <a:pt x="44" y="200"/>
                  </a:lnTo>
                  <a:lnTo>
                    <a:pt x="40" y="198"/>
                  </a:lnTo>
                  <a:lnTo>
                    <a:pt x="38" y="198"/>
                  </a:lnTo>
                  <a:lnTo>
                    <a:pt x="36" y="198"/>
                  </a:lnTo>
                  <a:lnTo>
                    <a:pt x="34" y="196"/>
                  </a:lnTo>
                  <a:lnTo>
                    <a:pt x="32" y="196"/>
                  </a:lnTo>
                  <a:lnTo>
                    <a:pt x="32" y="194"/>
                  </a:lnTo>
                  <a:lnTo>
                    <a:pt x="32" y="194"/>
                  </a:lnTo>
                  <a:lnTo>
                    <a:pt x="30" y="192"/>
                  </a:lnTo>
                  <a:lnTo>
                    <a:pt x="30" y="192"/>
                  </a:lnTo>
                  <a:lnTo>
                    <a:pt x="30" y="190"/>
                  </a:lnTo>
                  <a:lnTo>
                    <a:pt x="30" y="188"/>
                  </a:lnTo>
                  <a:lnTo>
                    <a:pt x="28" y="186"/>
                  </a:lnTo>
                  <a:lnTo>
                    <a:pt x="28" y="182"/>
                  </a:lnTo>
                  <a:lnTo>
                    <a:pt x="28" y="178"/>
                  </a:lnTo>
                  <a:lnTo>
                    <a:pt x="30" y="170"/>
                  </a:lnTo>
                  <a:lnTo>
                    <a:pt x="30" y="164"/>
                  </a:lnTo>
                  <a:lnTo>
                    <a:pt x="30" y="164"/>
                  </a:lnTo>
                  <a:lnTo>
                    <a:pt x="28" y="162"/>
                  </a:lnTo>
                  <a:lnTo>
                    <a:pt x="28" y="158"/>
                  </a:lnTo>
                  <a:lnTo>
                    <a:pt x="28" y="154"/>
                  </a:lnTo>
                  <a:lnTo>
                    <a:pt x="26" y="150"/>
                  </a:lnTo>
                  <a:lnTo>
                    <a:pt x="26" y="148"/>
                  </a:lnTo>
                  <a:lnTo>
                    <a:pt x="26" y="146"/>
                  </a:lnTo>
                  <a:lnTo>
                    <a:pt x="24" y="144"/>
                  </a:lnTo>
                  <a:lnTo>
                    <a:pt x="22" y="142"/>
                  </a:lnTo>
                  <a:lnTo>
                    <a:pt x="22" y="140"/>
                  </a:lnTo>
                  <a:lnTo>
                    <a:pt x="20" y="138"/>
                  </a:lnTo>
                  <a:lnTo>
                    <a:pt x="16" y="134"/>
                  </a:lnTo>
                  <a:lnTo>
                    <a:pt x="12" y="130"/>
                  </a:lnTo>
                  <a:lnTo>
                    <a:pt x="12" y="128"/>
                  </a:lnTo>
                  <a:lnTo>
                    <a:pt x="10" y="128"/>
                  </a:lnTo>
                  <a:lnTo>
                    <a:pt x="6" y="124"/>
                  </a:lnTo>
                  <a:lnTo>
                    <a:pt x="4" y="124"/>
                  </a:lnTo>
                  <a:lnTo>
                    <a:pt x="2" y="122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6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64" name="Freeform 69">
              <a:extLst>
                <a:ext uri="{FF2B5EF4-FFF2-40B4-BE49-F238E27FC236}">
                  <a16:creationId xmlns:a16="http://schemas.microsoft.com/office/drawing/2014/main" id="{43AF2622-DF52-4953-BEDA-38AF42C68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6925" y="4243369"/>
              <a:ext cx="140091" cy="123692"/>
            </a:xfrm>
            <a:custGeom>
              <a:avLst/>
              <a:gdLst>
                <a:gd name="T0" fmla="*/ 34 w 82"/>
                <a:gd name="T1" fmla="*/ 62 h 74"/>
                <a:gd name="T2" fmla="*/ 32 w 82"/>
                <a:gd name="T3" fmla="*/ 62 h 74"/>
                <a:gd name="T4" fmla="*/ 28 w 82"/>
                <a:gd name="T5" fmla="*/ 62 h 74"/>
                <a:gd name="T6" fmla="*/ 24 w 82"/>
                <a:gd name="T7" fmla="*/ 64 h 74"/>
                <a:gd name="T8" fmla="*/ 20 w 82"/>
                <a:gd name="T9" fmla="*/ 66 h 74"/>
                <a:gd name="T10" fmla="*/ 18 w 82"/>
                <a:gd name="T11" fmla="*/ 68 h 74"/>
                <a:gd name="T12" fmla="*/ 16 w 82"/>
                <a:gd name="T13" fmla="*/ 68 h 74"/>
                <a:gd name="T14" fmla="*/ 14 w 82"/>
                <a:gd name="T15" fmla="*/ 66 h 74"/>
                <a:gd name="T16" fmla="*/ 12 w 82"/>
                <a:gd name="T17" fmla="*/ 64 h 74"/>
                <a:gd name="T18" fmla="*/ 12 w 82"/>
                <a:gd name="T19" fmla="*/ 60 h 74"/>
                <a:gd name="T20" fmla="*/ 12 w 82"/>
                <a:gd name="T21" fmla="*/ 56 h 74"/>
                <a:gd name="T22" fmla="*/ 12 w 82"/>
                <a:gd name="T23" fmla="*/ 48 h 74"/>
                <a:gd name="T24" fmla="*/ 12 w 82"/>
                <a:gd name="T25" fmla="*/ 44 h 74"/>
                <a:gd name="T26" fmla="*/ 12 w 82"/>
                <a:gd name="T27" fmla="*/ 42 h 74"/>
                <a:gd name="T28" fmla="*/ 10 w 82"/>
                <a:gd name="T29" fmla="*/ 40 h 74"/>
                <a:gd name="T30" fmla="*/ 8 w 82"/>
                <a:gd name="T31" fmla="*/ 38 h 74"/>
                <a:gd name="T32" fmla="*/ 0 w 82"/>
                <a:gd name="T33" fmla="*/ 34 h 74"/>
                <a:gd name="T34" fmla="*/ 0 w 82"/>
                <a:gd name="T35" fmla="*/ 30 h 74"/>
                <a:gd name="T36" fmla="*/ 2 w 82"/>
                <a:gd name="T37" fmla="*/ 22 h 74"/>
                <a:gd name="T38" fmla="*/ 4 w 82"/>
                <a:gd name="T39" fmla="*/ 16 h 74"/>
                <a:gd name="T40" fmla="*/ 8 w 82"/>
                <a:gd name="T41" fmla="*/ 10 h 74"/>
                <a:gd name="T42" fmla="*/ 12 w 82"/>
                <a:gd name="T43" fmla="*/ 6 h 74"/>
                <a:gd name="T44" fmla="*/ 16 w 82"/>
                <a:gd name="T45" fmla="*/ 2 h 74"/>
                <a:gd name="T46" fmla="*/ 18 w 82"/>
                <a:gd name="T47" fmla="*/ 0 h 74"/>
                <a:gd name="T48" fmla="*/ 20 w 82"/>
                <a:gd name="T49" fmla="*/ 0 h 74"/>
                <a:gd name="T50" fmla="*/ 20 w 82"/>
                <a:gd name="T51" fmla="*/ 0 h 74"/>
                <a:gd name="T52" fmla="*/ 22 w 82"/>
                <a:gd name="T53" fmla="*/ 2 h 74"/>
                <a:gd name="T54" fmla="*/ 26 w 82"/>
                <a:gd name="T55" fmla="*/ 4 h 74"/>
                <a:gd name="T56" fmla="*/ 30 w 82"/>
                <a:gd name="T57" fmla="*/ 8 h 74"/>
                <a:gd name="T58" fmla="*/ 32 w 82"/>
                <a:gd name="T59" fmla="*/ 8 h 74"/>
                <a:gd name="T60" fmla="*/ 34 w 82"/>
                <a:gd name="T61" fmla="*/ 10 h 74"/>
                <a:gd name="T62" fmla="*/ 38 w 82"/>
                <a:gd name="T63" fmla="*/ 10 h 74"/>
                <a:gd name="T64" fmla="*/ 42 w 82"/>
                <a:gd name="T65" fmla="*/ 8 h 74"/>
                <a:gd name="T66" fmla="*/ 48 w 82"/>
                <a:gd name="T67" fmla="*/ 6 h 74"/>
                <a:gd name="T68" fmla="*/ 50 w 82"/>
                <a:gd name="T69" fmla="*/ 10 h 74"/>
                <a:gd name="T70" fmla="*/ 54 w 82"/>
                <a:gd name="T71" fmla="*/ 14 h 74"/>
                <a:gd name="T72" fmla="*/ 56 w 82"/>
                <a:gd name="T73" fmla="*/ 16 h 74"/>
                <a:gd name="T74" fmla="*/ 58 w 82"/>
                <a:gd name="T75" fmla="*/ 18 h 74"/>
                <a:gd name="T76" fmla="*/ 60 w 82"/>
                <a:gd name="T77" fmla="*/ 18 h 74"/>
                <a:gd name="T78" fmla="*/ 62 w 82"/>
                <a:gd name="T79" fmla="*/ 18 h 74"/>
                <a:gd name="T80" fmla="*/ 66 w 82"/>
                <a:gd name="T81" fmla="*/ 14 h 74"/>
                <a:gd name="T82" fmla="*/ 70 w 82"/>
                <a:gd name="T83" fmla="*/ 10 h 74"/>
                <a:gd name="T84" fmla="*/ 74 w 82"/>
                <a:gd name="T85" fmla="*/ 6 h 74"/>
                <a:gd name="T86" fmla="*/ 78 w 82"/>
                <a:gd name="T87" fmla="*/ 10 h 74"/>
                <a:gd name="T88" fmla="*/ 80 w 82"/>
                <a:gd name="T89" fmla="*/ 12 h 74"/>
                <a:gd name="T90" fmla="*/ 80 w 82"/>
                <a:gd name="T91" fmla="*/ 14 h 74"/>
                <a:gd name="T92" fmla="*/ 82 w 82"/>
                <a:gd name="T93" fmla="*/ 22 h 74"/>
                <a:gd name="T94" fmla="*/ 82 w 82"/>
                <a:gd name="T95" fmla="*/ 30 h 74"/>
                <a:gd name="T96" fmla="*/ 82 w 82"/>
                <a:gd name="T97" fmla="*/ 36 h 74"/>
                <a:gd name="T98" fmla="*/ 82 w 82"/>
                <a:gd name="T99" fmla="*/ 38 h 74"/>
                <a:gd name="T100" fmla="*/ 80 w 82"/>
                <a:gd name="T101" fmla="*/ 40 h 74"/>
                <a:gd name="T102" fmla="*/ 78 w 82"/>
                <a:gd name="T103" fmla="*/ 44 h 74"/>
                <a:gd name="T104" fmla="*/ 74 w 82"/>
                <a:gd name="T105" fmla="*/ 46 h 74"/>
                <a:gd name="T106" fmla="*/ 70 w 82"/>
                <a:gd name="T107" fmla="*/ 48 h 74"/>
                <a:gd name="T108" fmla="*/ 64 w 82"/>
                <a:gd name="T109" fmla="*/ 54 h 74"/>
                <a:gd name="T110" fmla="*/ 58 w 82"/>
                <a:gd name="T111" fmla="*/ 62 h 74"/>
                <a:gd name="T112" fmla="*/ 48 w 82"/>
                <a:gd name="T113" fmla="*/ 68 h 74"/>
                <a:gd name="T114" fmla="*/ 42 w 82"/>
                <a:gd name="T115" fmla="*/ 72 h 74"/>
                <a:gd name="T116" fmla="*/ 38 w 82"/>
                <a:gd name="T117" fmla="*/ 66 h 74"/>
                <a:gd name="T118" fmla="*/ 34 w 82"/>
                <a:gd name="T119" fmla="*/ 62 h 74"/>
                <a:gd name="T120" fmla="*/ 34 w 82"/>
                <a:gd name="T121" fmla="*/ 6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74">
                  <a:moveTo>
                    <a:pt x="34" y="62"/>
                  </a:moveTo>
                  <a:lnTo>
                    <a:pt x="34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0" y="62"/>
                  </a:lnTo>
                  <a:lnTo>
                    <a:pt x="28" y="62"/>
                  </a:lnTo>
                  <a:lnTo>
                    <a:pt x="26" y="64"/>
                  </a:lnTo>
                  <a:lnTo>
                    <a:pt x="24" y="64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18" y="66"/>
                  </a:lnTo>
                  <a:lnTo>
                    <a:pt x="18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2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4" y="36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6" y="14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2" y="6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8" y="6"/>
                  </a:lnTo>
                  <a:lnTo>
                    <a:pt x="30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8" y="10"/>
                  </a:lnTo>
                  <a:lnTo>
                    <a:pt x="40" y="8"/>
                  </a:lnTo>
                  <a:lnTo>
                    <a:pt x="42" y="8"/>
                  </a:lnTo>
                  <a:lnTo>
                    <a:pt x="46" y="8"/>
                  </a:lnTo>
                  <a:lnTo>
                    <a:pt x="48" y="6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2" y="12"/>
                  </a:lnTo>
                  <a:lnTo>
                    <a:pt x="54" y="14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2" y="16"/>
                  </a:lnTo>
                  <a:lnTo>
                    <a:pt x="66" y="14"/>
                  </a:lnTo>
                  <a:lnTo>
                    <a:pt x="68" y="12"/>
                  </a:lnTo>
                  <a:lnTo>
                    <a:pt x="70" y="10"/>
                  </a:lnTo>
                  <a:lnTo>
                    <a:pt x="72" y="8"/>
                  </a:lnTo>
                  <a:lnTo>
                    <a:pt x="74" y="6"/>
                  </a:lnTo>
                  <a:lnTo>
                    <a:pt x="76" y="8"/>
                  </a:lnTo>
                  <a:lnTo>
                    <a:pt x="78" y="10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4"/>
                  </a:lnTo>
                  <a:lnTo>
                    <a:pt x="82" y="18"/>
                  </a:lnTo>
                  <a:lnTo>
                    <a:pt x="82" y="22"/>
                  </a:lnTo>
                  <a:lnTo>
                    <a:pt x="82" y="26"/>
                  </a:lnTo>
                  <a:lnTo>
                    <a:pt x="82" y="30"/>
                  </a:lnTo>
                  <a:lnTo>
                    <a:pt x="82" y="34"/>
                  </a:lnTo>
                  <a:lnTo>
                    <a:pt x="82" y="36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40"/>
                  </a:lnTo>
                  <a:lnTo>
                    <a:pt x="80" y="40"/>
                  </a:lnTo>
                  <a:lnTo>
                    <a:pt x="80" y="42"/>
                  </a:lnTo>
                  <a:lnTo>
                    <a:pt x="78" y="44"/>
                  </a:lnTo>
                  <a:lnTo>
                    <a:pt x="76" y="44"/>
                  </a:lnTo>
                  <a:lnTo>
                    <a:pt x="74" y="46"/>
                  </a:lnTo>
                  <a:lnTo>
                    <a:pt x="72" y="46"/>
                  </a:lnTo>
                  <a:lnTo>
                    <a:pt x="70" y="48"/>
                  </a:lnTo>
                  <a:lnTo>
                    <a:pt x="68" y="50"/>
                  </a:lnTo>
                  <a:lnTo>
                    <a:pt x="64" y="54"/>
                  </a:lnTo>
                  <a:lnTo>
                    <a:pt x="60" y="58"/>
                  </a:lnTo>
                  <a:lnTo>
                    <a:pt x="58" y="62"/>
                  </a:lnTo>
                  <a:lnTo>
                    <a:pt x="54" y="64"/>
                  </a:lnTo>
                  <a:lnTo>
                    <a:pt x="48" y="68"/>
                  </a:lnTo>
                  <a:lnTo>
                    <a:pt x="44" y="74"/>
                  </a:lnTo>
                  <a:lnTo>
                    <a:pt x="42" y="72"/>
                  </a:lnTo>
                  <a:lnTo>
                    <a:pt x="40" y="68"/>
                  </a:lnTo>
                  <a:lnTo>
                    <a:pt x="38" y="66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65" name="Freeform 71">
              <a:extLst>
                <a:ext uri="{FF2B5EF4-FFF2-40B4-BE49-F238E27FC236}">
                  <a16:creationId xmlns:a16="http://schemas.microsoft.com/office/drawing/2014/main" id="{D90E763D-0A8D-4FDC-BB74-A7ACCE4E5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8839" y="4019388"/>
              <a:ext cx="184510" cy="254067"/>
            </a:xfrm>
            <a:custGeom>
              <a:avLst/>
              <a:gdLst>
                <a:gd name="T0" fmla="*/ 4 w 108"/>
                <a:gd name="T1" fmla="*/ 36 h 152"/>
                <a:gd name="T2" fmla="*/ 6 w 108"/>
                <a:gd name="T3" fmla="*/ 48 h 152"/>
                <a:gd name="T4" fmla="*/ 8 w 108"/>
                <a:gd name="T5" fmla="*/ 52 h 152"/>
                <a:gd name="T6" fmla="*/ 16 w 108"/>
                <a:gd name="T7" fmla="*/ 58 h 152"/>
                <a:gd name="T8" fmla="*/ 24 w 108"/>
                <a:gd name="T9" fmla="*/ 62 h 152"/>
                <a:gd name="T10" fmla="*/ 28 w 108"/>
                <a:gd name="T11" fmla="*/ 66 h 152"/>
                <a:gd name="T12" fmla="*/ 36 w 108"/>
                <a:gd name="T13" fmla="*/ 78 h 152"/>
                <a:gd name="T14" fmla="*/ 40 w 108"/>
                <a:gd name="T15" fmla="*/ 82 h 152"/>
                <a:gd name="T16" fmla="*/ 42 w 108"/>
                <a:gd name="T17" fmla="*/ 80 h 152"/>
                <a:gd name="T18" fmla="*/ 48 w 108"/>
                <a:gd name="T19" fmla="*/ 72 h 152"/>
                <a:gd name="T20" fmla="*/ 50 w 108"/>
                <a:gd name="T21" fmla="*/ 72 h 152"/>
                <a:gd name="T22" fmla="*/ 54 w 108"/>
                <a:gd name="T23" fmla="*/ 72 h 152"/>
                <a:gd name="T24" fmla="*/ 60 w 108"/>
                <a:gd name="T25" fmla="*/ 80 h 152"/>
                <a:gd name="T26" fmla="*/ 66 w 108"/>
                <a:gd name="T27" fmla="*/ 94 h 152"/>
                <a:gd name="T28" fmla="*/ 72 w 108"/>
                <a:gd name="T29" fmla="*/ 110 h 152"/>
                <a:gd name="T30" fmla="*/ 74 w 108"/>
                <a:gd name="T31" fmla="*/ 116 h 152"/>
                <a:gd name="T32" fmla="*/ 80 w 108"/>
                <a:gd name="T33" fmla="*/ 116 h 152"/>
                <a:gd name="T34" fmla="*/ 82 w 108"/>
                <a:gd name="T35" fmla="*/ 118 h 152"/>
                <a:gd name="T36" fmla="*/ 84 w 108"/>
                <a:gd name="T37" fmla="*/ 124 h 152"/>
                <a:gd name="T38" fmla="*/ 82 w 108"/>
                <a:gd name="T39" fmla="*/ 138 h 152"/>
                <a:gd name="T40" fmla="*/ 86 w 108"/>
                <a:gd name="T41" fmla="*/ 146 h 152"/>
                <a:gd name="T42" fmla="*/ 90 w 108"/>
                <a:gd name="T43" fmla="*/ 152 h 152"/>
                <a:gd name="T44" fmla="*/ 94 w 108"/>
                <a:gd name="T45" fmla="*/ 152 h 152"/>
                <a:gd name="T46" fmla="*/ 102 w 108"/>
                <a:gd name="T47" fmla="*/ 146 h 152"/>
                <a:gd name="T48" fmla="*/ 108 w 108"/>
                <a:gd name="T49" fmla="*/ 136 h 152"/>
                <a:gd name="T50" fmla="*/ 108 w 108"/>
                <a:gd name="T51" fmla="*/ 118 h 152"/>
                <a:gd name="T52" fmla="*/ 108 w 108"/>
                <a:gd name="T53" fmla="*/ 112 h 152"/>
                <a:gd name="T54" fmla="*/ 104 w 108"/>
                <a:gd name="T55" fmla="*/ 108 h 152"/>
                <a:gd name="T56" fmla="*/ 94 w 108"/>
                <a:gd name="T57" fmla="*/ 102 h 152"/>
                <a:gd name="T58" fmla="*/ 86 w 108"/>
                <a:gd name="T59" fmla="*/ 92 h 152"/>
                <a:gd name="T60" fmla="*/ 72 w 108"/>
                <a:gd name="T61" fmla="*/ 70 h 152"/>
                <a:gd name="T62" fmla="*/ 66 w 108"/>
                <a:gd name="T63" fmla="*/ 64 h 152"/>
                <a:gd name="T64" fmla="*/ 62 w 108"/>
                <a:gd name="T65" fmla="*/ 58 h 152"/>
                <a:gd name="T66" fmla="*/ 62 w 108"/>
                <a:gd name="T67" fmla="*/ 52 h 152"/>
                <a:gd name="T68" fmla="*/ 66 w 108"/>
                <a:gd name="T69" fmla="*/ 42 h 152"/>
                <a:gd name="T70" fmla="*/ 64 w 108"/>
                <a:gd name="T71" fmla="*/ 34 h 152"/>
                <a:gd name="T72" fmla="*/ 62 w 108"/>
                <a:gd name="T73" fmla="*/ 30 h 152"/>
                <a:gd name="T74" fmla="*/ 50 w 108"/>
                <a:gd name="T75" fmla="*/ 28 h 152"/>
                <a:gd name="T76" fmla="*/ 40 w 108"/>
                <a:gd name="T77" fmla="*/ 24 h 152"/>
                <a:gd name="T78" fmla="*/ 36 w 108"/>
                <a:gd name="T79" fmla="*/ 22 h 152"/>
                <a:gd name="T80" fmla="*/ 32 w 108"/>
                <a:gd name="T81" fmla="*/ 10 h 152"/>
                <a:gd name="T82" fmla="*/ 28 w 108"/>
                <a:gd name="T83" fmla="*/ 2 h 152"/>
                <a:gd name="T84" fmla="*/ 20 w 108"/>
                <a:gd name="T85" fmla="*/ 4 h 152"/>
                <a:gd name="T86" fmla="*/ 18 w 108"/>
                <a:gd name="T87" fmla="*/ 8 h 152"/>
                <a:gd name="T88" fmla="*/ 20 w 108"/>
                <a:gd name="T89" fmla="*/ 14 h 152"/>
                <a:gd name="T90" fmla="*/ 22 w 108"/>
                <a:gd name="T91" fmla="*/ 20 h 152"/>
                <a:gd name="T92" fmla="*/ 20 w 108"/>
                <a:gd name="T93" fmla="*/ 22 h 152"/>
                <a:gd name="T94" fmla="*/ 14 w 108"/>
                <a:gd name="T95" fmla="*/ 24 h 152"/>
                <a:gd name="T96" fmla="*/ 0 w 108"/>
                <a:gd name="T97" fmla="*/ 24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8" h="152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6" y="46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0" y="54"/>
                  </a:lnTo>
                  <a:lnTo>
                    <a:pt x="12" y="56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0" y="60"/>
                  </a:lnTo>
                  <a:lnTo>
                    <a:pt x="22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8" y="66"/>
                  </a:lnTo>
                  <a:lnTo>
                    <a:pt x="32" y="74"/>
                  </a:lnTo>
                  <a:lnTo>
                    <a:pt x="34" y="76"/>
                  </a:lnTo>
                  <a:lnTo>
                    <a:pt x="34" y="78"/>
                  </a:lnTo>
                  <a:lnTo>
                    <a:pt x="36" y="78"/>
                  </a:lnTo>
                  <a:lnTo>
                    <a:pt x="36" y="80"/>
                  </a:lnTo>
                  <a:lnTo>
                    <a:pt x="38" y="80"/>
                  </a:lnTo>
                  <a:lnTo>
                    <a:pt x="38" y="82"/>
                  </a:lnTo>
                  <a:lnTo>
                    <a:pt x="40" y="82"/>
                  </a:lnTo>
                  <a:lnTo>
                    <a:pt x="40" y="82"/>
                  </a:lnTo>
                  <a:lnTo>
                    <a:pt x="40" y="80"/>
                  </a:lnTo>
                  <a:lnTo>
                    <a:pt x="42" y="80"/>
                  </a:lnTo>
                  <a:lnTo>
                    <a:pt x="42" y="80"/>
                  </a:lnTo>
                  <a:lnTo>
                    <a:pt x="44" y="78"/>
                  </a:lnTo>
                  <a:lnTo>
                    <a:pt x="46" y="76"/>
                  </a:lnTo>
                  <a:lnTo>
                    <a:pt x="46" y="74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6" y="74"/>
                  </a:lnTo>
                  <a:lnTo>
                    <a:pt x="58" y="76"/>
                  </a:lnTo>
                  <a:lnTo>
                    <a:pt x="58" y="78"/>
                  </a:lnTo>
                  <a:lnTo>
                    <a:pt x="60" y="80"/>
                  </a:lnTo>
                  <a:lnTo>
                    <a:pt x="62" y="84"/>
                  </a:lnTo>
                  <a:lnTo>
                    <a:pt x="64" y="86"/>
                  </a:lnTo>
                  <a:lnTo>
                    <a:pt x="64" y="88"/>
                  </a:lnTo>
                  <a:lnTo>
                    <a:pt x="66" y="94"/>
                  </a:lnTo>
                  <a:lnTo>
                    <a:pt x="68" y="100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72" y="110"/>
                  </a:lnTo>
                  <a:lnTo>
                    <a:pt x="72" y="112"/>
                  </a:lnTo>
                  <a:lnTo>
                    <a:pt x="72" y="114"/>
                  </a:lnTo>
                  <a:lnTo>
                    <a:pt x="74" y="114"/>
                  </a:lnTo>
                  <a:lnTo>
                    <a:pt x="74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8" y="116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2" y="118"/>
                  </a:lnTo>
                  <a:lnTo>
                    <a:pt x="84" y="118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4" y="124"/>
                  </a:lnTo>
                  <a:lnTo>
                    <a:pt x="84" y="126"/>
                  </a:lnTo>
                  <a:lnTo>
                    <a:pt x="84" y="130"/>
                  </a:lnTo>
                  <a:lnTo>
                    <a:pt x="84" y="134"/>
                  </a:lnTo>
                  <a:lnTo>
                    <a:pt x="82" y="138"/>
                  </a:lnTo>
                  <a:lnTo>
                    <a:pt x="82" y="140"/>
                  </a:lnTo>
                  <a:lnTo>
                    <a:pt x="84" y="142"/>
                  </a:lnTo>
                  <a:lnTo>
                    <a:pt x="84" y="144"/>
                  </a:lnTo>
                  <a:lnTo>
                    <a:pt x="86" y="146"/>
                  </a:lnTo>
                  <a:lnTo>
                    <a:pt x="88" y="148"/>
                  </a:lnTo>
                  <a:lnTo>
                    <a:pt x="88" y="150"/>
                  </a:lnTo>
                  <a:lnTo>
                    <a:pt x="90" y="150"/>
                  </a:lnTo>
                  <a:lnTo>
                    <a:pt x="90" y="152"/>
                  </a:lnTo>
                  <a:lnTo>
                    <a:pt x="92" y="152"/>
                  </a:lnTo>
                  <a:lnTo>
                    <a:pt x="92" y="152"/>
                  </a:lnTo>
                  <a:lnTo>
                    <a:pt x="94" y="152"/>
                  </a:lnTo>
                  <a:lnTo>
                    <a:pt x="94" y="152"/>
                  </a:lnTo>
                  <a:lnTo>
                    <a:pt x="96" y="150"/>
                  </a:lnTo>
                  <a:lnTo>
                    <a:pt x="96" y="150"/>
                  </a:lnTo>
                  <a:lnTo>
                    <a:pt x="98" y="148"/>
                  </a:lnTo>
                  <a:lnTo>
                    <a:pt x="102" y="146"/>
                  </a:lnTo>
                  <a:lnTo>
                    <a:pt x="104" y="144"/>
                  </a:lnTo>
                  <a:lnTo>
                    <a:pt x="106" y="142"/>
                  </a:lnTo>
                  <a:lnTo>
                    <a:pt x="108" y="140"/>
                  </a:lnTo>
                  <a:lnTo>
                    <a:pt x="108" y="136"/>
                  </a:lnTo>
                  <a:lnTo>
                    <a:pt x="108" y="132"/>
                  </a:lnTo>
                  <a:lnTo>
                    <a:pt x="108" y="128"/>
                  </a:lnTo>
                  <a:lnTo>
                    <a:pt x="108" y="124"/>
                  </a:lnTo>
                  <a:lnTo>
                    <a:pt x="108" y="118"/>
                  </a:lnTo>
                  <a:lnTo>
                    <a:pt x="108" y="116"/>
                  </a:lnTo>
                  <a:lnTo>
                    <a:pt x="108" y="114"/>
                  </a:lnTo>
                  <a:lnTo>
                    <a:pt x="108" y="112"/>
                  </a:lnTo>
                  <a:lnTo>
                    <a:pt x="108" y="112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2" y="106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4" y="102"/>
                  </a:lnTo>
                  <a:lnTo>
                    <a:pt x="94" y="102"/>
                  </a:lnTo>
                  <a:lnTo>
                    <a:pt x="92" y="100"/>
                  </a:lnTo>
                  <a:lnTo>
                    <a:pt x="88" y="96"/>
                  </a:lnTo>
                  <a:lnTo>
                    <a:pt x="86" y="92"/>
                  </a:lnTo>
                  <a:lnTo>
                    <a:pt x="84" y="86"/>
                  </a:lnTo>
                  <a:lnTo>
                    <a:pt x="78" y="78"/>
                  </a:lnTo>
                  <a:lnTo>
                    <a:pt x="74" y="74"/>
                  </a:lnTo>
                  <a:lnTo>
                    <a:pt x="72" y="70"/>
                  </a:lnTo>
                  <a:lnTo>
                    <a:pt x="72" y="68"/>
                  </a:lnTo>
                  <a:lnTo>
                    <a:pt x="70" y="68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4" y="62"/>
                  </a:lnTo>
                  <a:lnTo>
                    <a:pt x="62" y="60"/>
                  </a:lnTo>
                  <a:lnTo>
                    <a:pt x="62" y="60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6"/>
                  </a:lnTo>
                  <a:lnTo>
                    <a:pt x="62" y="54"/>
                  </a:lnTo>
                  <a:lnTo>
                    <a:pt x="62" y="52"/>
                  </a:lnTo>
                  <a:lnTo>
                    <a:pt x="64" y="50"/>
                  </a:lnTo>
                  <a:lnTo>
                    <a:pt x="66" y="46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4" y="36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4" y="28"/>
                  </a:lnTo>
                  <a:lnTo>
                    <a:pt x="50" y="28"/>
                  </a:lnTo>
                  <a:lnTo>
                    <a:pt x="48" y="28"/>
                  </a:lnTo>
                  <a:lnTo>
                    <a:pt x="44" y="26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8" y="22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6" y="18"/>
                  </a:lnTo>
                  <a:lnTo>
                    <a:pt x="34" y="14"/>
                  </a:lnTo>
                  <a:lnTo>
                    <a:pt x="32" y="10"/>
                  </a:lnTo>
                  <a:lnTo>
                    <a:pt x="32" y="6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28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0" y="24"/>
                  </a:lnTo>
                  <a:lnTo>
                    <a:pt x="6" y="24"/>
                  </a:lnTo>
                  <a:lnTo>
                    <a:pt x="4" y="2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66" name="Freeform 73">
              <a:extLst>
                <a:ext uri="{FF2B5EF4-FFF2-40B4-BE49-F238E27FC236}">
                  <a16:creationId xmlns:a16="http://schemas.microsoft.com/office/drawing/2014/main" id="{5F25A621-12BF-41A2-A410-3CA5EF633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091" y="3999331"/>
              <a:ext cx="187927" cy="421218"/>
            </a:xfrm>
            <a:custGeom>
              <a:avLst/>
              <a:gdLst>
                <a:gd name="T0" fmla="*/ 0 w 110"/>
                <a:gd name="T1" fmla="*/ 18 h 252"/>
                <a:gd name="T2" fmla="*/ 6 w 110"/>
                <a:gd name="T3" fmla="*/ 32 h 252"/>
                <a:gd name="T4" fmla="*/ 8 w 110"/>
                <a:gd name="T5" fmla="*/ 36 h 252"/>
                <a:gd name="T6" fmla="*/ 16 w 110"/>
                <a:gd name="T7" fmla="*/ 38 h 252"/>
                <a:gd name="T8" fmla="*/ 30 w 110"/>
                <a:gd name="T9" fmla="*/ 42 h 252"/>
                <a:gd name="T10" fmla="*/ 34 w 110"/>
                <a:gd name="T11" fmla="*/ 46 h 252"/>
                <a:gd name="T12" fmla="*/ 36 w 110"/>
                <a:gd name="T13" fmla="*/ 52 h 252"/>
                <a:gd name="T14" fmla="*/ 34 w 110"/>
                <a:gd name="T15" fmla="*/ 62 h 252"/>
                <a:gd name="T16" fmla="*/ 32 w 110"/>
                <a:gd name="T17" fmla="*/ 70 h 252"/>
                <a:gd name="T18" fmla="*/ 34 w 110"/>
                <a:gd name="T19" fmla="*/ 74 h 252"/>
                <a:gd name="T20" fmla="*/ 40 w 110"/>
                <a:gd name="T21" fmla="*/ 80 h 252"/>
                <a:gd name="T22" fmla="*/ 52 w 110"/>
                <a:gd name="T23" fmla="*/ 98 h 252"/>
                <a:gd name="T24" fmla="*/ 62 w 110"/>
                <a:gd name="T25" fmla="*/ 114 h 252"/>
                <a:gd name="T26" fmla="*/ 70 w 110"/>
                <a:gd name="T27" fmla="*/ 118 h 252"/>
                <a:gd name="T28" fmla="*/ 76 w 110"/>
                <a:gd name="T29" fmla="*/ 124 h 252"/>
                <a:gd name="T30" fmla="*/ 78 w 110"/>
                <a:gd name="T31" fmla="*/ 128 h 252"/>
                <a:gd name="T32" fmla="*/ 78 w 110"/>
                <a:gd name="T33" fmla="*/ 146 h 252"/>
                <a:gd name="T34" fmla="*/ 82 w 110"/>
                <a:gd name="T35" fmla="*/ 156 h 252"/>
                <a:gd name="T36" fmla="*/ 84 w 110"/>
                <a:gd name="T37" fmla="*/ 160 h 252"/>
                <a:gd name="T38" fmla="*/ 86 w 110"/>
                <a:gd name="T39" fmla="*/ 176 h 252"/>
                <a:gd name="T40" fmla="*/ 84 w 110"/>
                <a:gd name="T41" fmla="*/ 184 h 252"/>
                <a:gd name="T42" fmla="*/ 82 w 110"/>
                <a:gd name="T43" fmla="*/ 188 h 252"/>
                <a:gd name="T44" fmla="*/ 74 w 110"/>
                <a:gd name="T45" fmla="*/ 194 h 252"/>
                <a:gd name="T46" fmla="*/ 60 w 110"/>
                <a:gd name="T47" fmla="*/ 206 h 252"/>
                <a:gd name="T48" fmla="*/ 48 w 110"/>
                <a:gd name="T49" fmla="*/ 220 h 252"/>
                <a:gd name="T50" fmla="*/ 52 w 110"/>
                <a:gd name="T51" fmla="*/ 226 h 252"/>
                <a:gd name="T52" fmla="*/ 52 w 110"/>
                <a:gd name="T53" fmla="*/ 228 h 252"/>
                <a:gd name="T54" fmla="*/ 48 w 110"/>
                <a:gd name="T55" fmla="*/ 234 h 252"/>
                <a:gd name="T56" fmla="*/ 46 w 110"/>
                <a:gd name="T57" fmla="*/ 238 h 252"/>
                <a:gd name="T58" fmla="*/ 46 w 110"/>
                <a:gd name="T59" fmla="*/ 246 h 252"/>
                <a:gd name="T60" fmla="*/ 50 w 110"/>
                <a:gd name="T61" fmla="*/ 252 h 252"/>
                <a:gd name="T62" fmla="*/ 52 w 110"/>
                <a:gd name="T63" fmla="*/ 252 h 252"/>
                <a:gd name="T64" fmla="*/ 58 w 110"/>
                <a:gd name="T65" fmla="*/ 252 h 252"/>
                <a:gd name="T66" fmla="*/ 64 w 110"/>
                <a:gd name="T67" fmla="*/ 246 h 252"/>
                <a:gd name="T68" fmla="*/ 76 w 110"/>
                <a:gd name="T69" fmla="*/ 234 h 252"/>
                <a:gd name="T70" fmla="*/ 94 w 110"/>
                <a:gd name="T71" fmla="*/ 216 h 252"/>
                <a:gd name="T72" fmla="*/ 102 w 110"/>
                <a:gd name="T73" fmla="*/ 208 h 252"/>
                <a:gd name="T74" fmla="*/ 106 w 110"/>
                <a:gd name="T75" fmla="*/ 202 h 252"/>
                <a:gd name="T76" fmla="*/ 108 w 110"/>
                <a:gd name="T77" fmla="*/ 184 h 252"/>
                <a:gd name="T78" fmla="*/ 110 w 110"/>
                <a:gd name="T79" fmla="*/ 166 h 252"/>
                <a:gd name="T80" fmla="*/ 106 w 110"/>
                <a:gd name="T81" fmla="*/ 148 h 252"/>
                <a:gd name="T82" fmla="*/ 102 w 110"/>
                <a:gd name="T83" fmla="*/ 134 h 252"/>
                <a:gd name="T84" fmla="*/ 98 w 110"/>
                <a:gd name="T85" fmla="*/ 126 h 252"/>
                <a:gd name="T86" fmla="*/ 82 w 110"/>
                <a:gd name="T87" fmla="*/ 112 h 252"/>
                <a:gd name="T88" fmla="*/ 70 w 110"/>
                <a:gd name="T89" fmla="*/ 100 h 252"/>
                <a:gd name="T90" fmla="*/ 58 w 110"/>
                <a:gd name="T91" fmla="*/ 86 h 252"/>
                <a:gd name="T92" fmla="*/ 54 w 110"/>
                <a:gd name="T93" fmla="*/ 78 h 252"/>
                <a:gd name="T94" fmla="*/ 54 w 110"/>
                <a:gd name="T95" fmla="*/ 68 h 252"/>
                <a:gd name="T96" fmla="*/ 56 w 110"/>
                <a:gd name="T97" fmla="*/ 60 h 252"/>
                <a:gd name="T98" fmla="*/ 62 w 110"/>
                <a:gd name="T99" fmla="*/ 54 h 252"/>
                <a:gd name="T100" fmla="*/ 74 w 110"/>
                <a:gd name="T101" fmla="*/ 44 h 252"/>
                <a:gd name="T102" fmla="*/ 72 w 110"/>
                <a:gd name="T103" fmla="*/ 26 h 252"/>
                <a:gd name="T104" fmla="*/ 62 w 110"/>
                <a:gd name="T105" fmla="*/ 10 h 252"/>
                <a:gd name="T106" fmla="*/ 58 w 110"/>
                <a:gd name="T107" fmla="*/ 6 h 252"/>
                <a:gd name="T108" fmla="*/ 46 w 110"/>
                <a:gd name="T109" fmla="*/ 2 h 252"/>
                <a:gd name="T110" fmla="*/ 30 w 110"/>
                <a:gd name="T111" fmla="*/ 0 h 252"/>
                <a:gd name="T112" fmla="*/ 20 w 110"/>
                <a:gd name="T113" fmla="*/ 0 h 252"/>
                <a:gd name="T114" fmla="*/ 8 w 110"/>
                <a:gd name="T115" fmla="*/ 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0" h="252">
                  <a:moveTo>
                    <a:pt x="0" y="12"/>
                  </a:move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8"/>
                  </a:lnTo>
                  <a:lnTo>
                    <a:pt x="34" y="50"/>
                  </a:lnTo>
                  <a:lnTo>
                    <a:pt x="36" y="52"/>
                  </a:lnTo>
                  <a:lnTo>
                    <a:pt x="36" y="54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62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4" y="74"/>
                  </a:lnTo>
                  <a:lnTo>
                    <a:pt x="34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4" y="86"/>
                  </a:lnTo>
                  <a:lnTo>
                    <a:pt x="46" y="90"/>
                  </a:lnTo>
                  <a:lnTo>
                    <a:pt x="52" y="98"/>
                  </a:lnTo>
                  <a:lnTo>
                    <a:pt x="56" y="104"/>
                  </a:lnTo>
                  <a:lnTo>
                    <a:pt x="58" y="108"/>
                  </a:lnTo>
                  <a:lnTo>
                    <a:pt x="62" y="112"/>
                  </a:lnTo>
                  <a:lnTo>
                    <a:pt x="62" y="114"/>
                  </a:lnTo>
                  <a:lnTo>
                    <a:pt x="64" y="114"/>
                  </a:lnTo>
                  <a:lnTo>
                    <a:pt x="66" y="116"/>
                  </a:lnTo>
                  <a:lnTo>
                    <a:pt x="68" y="118"/>
                  </a:lnTo>
                  <a:lnTo>
                    <a:pt x="70" y="118"/>
                  </a:lnTo>
                  <a:lnTo>
                    <a:pt x="72" y="120"/>
                  </a:lnTo>
                  <a:lnTo>
                    <a:pt x="74" y="122"/>
                  </a:lnTo>
                  <a:lnTo>
                    <a:pt x="76" y="122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78" y="126"/>
                  </a:lnTo>
                  <a:lnTo>
                    <a:pt x="78" y="128"/>
                  </a:lnTo>
                  <a:lnTo>
                    <a:pt x="78" y="130"/>
                  </a:lnTo>
                  <a:lnTo>
                    <a:pt x="78" y="136"/>
                  </a:lnTo>
                  <a:lnTo>
                    <a:pt x="78" y="140"/>
                  </a:lnTo>
                  <a:lnTo>
                    <a:pt x="78" y="146"/>
                  </a:lnTo>
                  <a:lnTo>
                    <a:pt x="78" y="150"/>
                  </a:lnTo>
                  <a:lnTo>
                    <a:pt x="76" y="152"/>
                  </a:lnTo>
                  <a:lnTo>
                    <a:pt x="80" y="154"/>
                  </a:lnTo>
                  <a:lnTo>
                    <a:pt x="82" y="156"/>
                  </a:lnTo>
                  <a:lnTo>
                    <a:pt x="82" y="158"/>
                  </a:lnTo>
                  <a:lnTo>
                    <a:pt x="84" y="158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6" y="164"/>
                  </a:lnTo>
                  <a:lnTo>
                    <a:pt x="86" y="168"/>
                  </a:lnTo>
                  <a:lnTo>
                    <a:pt x="86" y="172"/>
                  </a:lnTo>
                  <a:lnTo>
                    <a:pt x="86" y="176"/>
                  </a:lnTo>
                  <a:lnTo>
                    <a:pt x="86" y="180"/>
                  </a:lnTo>
                  <a:lnTo>
                    <a:pt x="86" y="182"/>
                  </a:lnTo>
                  <a:lnTo>
                    <a:pt x="86" y="182"/>
                  </a:lnTo>
                  <a:lnTo>
                    <a:pt x="84" y="184"/>
                  </a:lnTo>
                  <a:lnTo>
                    <a:pt x="84" y="186"/>
                  </a:lnTo>
                  <a:lnTo>
                    <a:pt x="84" y="186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0" y="190"/>
                  </a:lnTo>
                  <a:lnTo>
                    <a:pt x="76" y="192"/>
                  </a:lnTo>
                  <a:lnTo>
                    <a:pt x="76" y="192"/>
                  </a:lnTo>
                  <a:lnTo>
                    <a:pt x="74" y="194"/>
                  </a:lnTo>
                  <a:lnTo>
                    <a:pt x="72" y="196"/>
                  </a:lnTo>
                  <a:lnTo>
                    <a:pt x="68" y="200"/>
                  </a:lnTo>
                  <a:lnTo>
                    <a:pt x="64" y="204"/>
                  </a:lnTo>
                  <a:lnTo>
                    <a:pt x="60" y="206"/>
                  </a:lnTo>
                  <a:lnTo>
                    <a:pt x="58" y="210"/>
                  </a:lnTo>
                  <a:lnTo>
                    <a:pt x="52" y="214"/>
                  </a:lnTo>
                  <a:lnTo>
                    <a:pt x="46" y="218"/>
                  </a:lnTo>
                  <a:lnTo>
                    <a:pt x="48" y="220"/>
                  </a:lnTo>
                  <a:lnTo>
                    <a:pt x="50" y="222"/>
                  </a:lnTo>
                  <a:lnTo>
                    <a:pt x="52" y="224"/>
                  </a:lnTo>
                  <a:lnTo>
                    <a:pt x="52" y="224"/>
                  </a:lnTo>
                  <a:lnTo>
                    <a:pt x="52" y="226"/>
                  </a:lnTo>
                  <a:lnTo>
                    <a:pt x="52" y="226"/>
                  </a:lnTo>
                  <a:lnTo>
                    <a:pt x="54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30"/>
                  </a:lnTo>
                  <a:lnTo>
                    <a:pt x="50" y="230"/>
                  </a:lnTo>
                  <a:lnTo>
                    <a:pt x="50" y="232"/>
                  </a:lnTo>
                  <a:lnTo>
                    <a:pt x="48" y="234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8"/>
                  </a:lnTo>
                  <a:lnTo>
                    <a:pt x="46" y="240"/>
                  </a:lnTo>
                  <a:lnTo>
                    <a:pt x="46" y="242"/>
                  </a:lnTo>
                  <a:lnTo>
                    <a:pt x="46" y="244"/>
                  </a:lnTo>
                  <a:lnTo>
                    <a:pt x="46" y="246"/>
                  </a:lnTo>
                  <a:lnTo>
                    <a:pt x="48" y="248"/>
                  </a:lnTo>
                  <a:lnTo>
                    <a:pt x="48" y="250"/>
                  </a:lnTo>
                  <a:lnTo>
                    <a:pt x="48" y="250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4" y="252"/>
                  </a:lnTo>
                  <a:lnTo>
                    <a:pt x="56" y="252"/>
                  </a:lnTo>
                  <a:lnTo>
                    <a:pt x="58" y="252"/>
                  </a:lnTo>
                  <a:lnTo>
                    <a:pt x="58" y="250"/>
                  </a:lnTo>
                  <a:lnTo>
                    <a:pt x="60" y="248"/>
                  </a:lnTo>
                  <a:lnTo>
                    <a:pt x="62" y="246"/>
                  </a:lnTo>
                  <a:lnTo>
                    <a:pt x="64" y="246"/>
                  </a:lnTo>
                  <a:lnTo>
                    <a:pt x="68" y="242"/>
                  </a:lnTo>
                  <a:lnTo>
                    <a:pt x="72" y="238"/>
                  </a:lnTo>
                  <a:lnTo>
                    <a:pt x="74" y="234"/>
                  </a:lnTo>
                  <a:lnTo>
                    <a:pt x="76" y="234"/>
                  </a:lnTo>
                  <a:lnTo>
                    <a:pt x="76" y="232"/>
                  </a:lnTo>
                  <a:lnTo>
                    <a:pt x="82" y="228"/>
                  </a:lnTo>
                  <a:lnTo>
                    <a:pt x="88" y="222"/>
                  </a:lnTo>
                  <a:lnTo>
                    <a:pt x="94" y="216"/>
                  </a:lnTo>
                  <a:lnTo>
                    <a:pt x="98" y="214"/>
                  </a:lnTo>
                  <a:lnTo>
                    <a:pt x="100" y="212"/>
                  </a:lnTo>
                  <a:lnTo>
                    <a:pt x="100" y="210"/>
                  </a:lnTo>
                  <a:lnTo>
                    <a:pt x="102" y="208"/>
                  </a:lnTo>
                  <a:lnTo>
                    <a:pt x="104" y="206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6" y="202"/>
                  </a:lnTo>
                  <a:lnTo>
                    <a:pt x="106" y="200"/>
                  </a:lnTo>
                  <a:lnTo>
                    <a:pt x="108" y="194"/>
                  </a:lnTo>
                  <a:lnTo>
                    <a:pt x="108" y="190"/>
                  </a:lnTo>
                  <a:lnTo>
                    <a:pt x="108" y="184"/>
                  </a:lnTo>
                  <a:lnTo>
                    <a:pt x="110" y="180"/>
                  </a:lnTo>
                  <a:lnTo>
                    <a:pt x="110" y="174"/>
                  </a:lnTo>
                  <a:lnTo>
                    <a:pt x="110" y="170"/>
                  </a:lnTo>
                  <a:lnTo>
                    <a:pt x="110" y="166"/>
                  </a:lnTo>
                  <a:lnTo>
                    <a:pt x="110" y="162"/>
                  </a:lnTo>
                  <a:lnTo>
                    <a:pt x="108" y="158"/>
                  </a:lnTo>
                  <a:lnTo>
                    <a:pt x="108" y="154"/>
                  </a:lnTo>
                  <a:lnTo>
                    <a:pt x="106" y="148"/>
                  </a:lnTo>
                  <a:lnTo>
                    <a:pt x="106" y="144"/>
                  </a:lnTo>
                  <a:lnTo>
                    <a:pt x="104" y="140"/>
                  </a:lnTo>
                  <a:lnTo>
                    <a:pt x="104" y="136"/>
                  </a:lnTo>
                  <a:lnTo>
                    <a:pt x="102" y="134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100" y="130"/>
                  </a:lnTo>
                  <a:lnTo>
                    <a:pt x="98" y="126"/>
                  </a:lnTo>
                  <a:lnTo>
                    <a:pt x="94" y="124"/>
                  </a:lnTo>
                  <a:lnTo>
                    <a:pt x="92" y="120"/>
                  </a:lnTo>
                  <a:lnTo>
                    <a:pt x="86" y="114"/>
                  </a:lnTo>
                  <a:lnTo>
                    <a:pt x="82" y="112"/>
                  </a:lnTo>
                  <a:lnTo>
                    <a:pt x="80" y="110"/>
                  </a:lnTo>
                  <a:lnTo>
                    <a:pt x="78" y="106"/>
                  </a:lnTo>
                  <a:lnTo>
                    <a:pt x="74" y="104"/>
                  </a:lnTo>
                  <a:lnTo>
                    <a:pt x="70" y="100"/>
                  </a:lnTo>
                  <a:lnTo>
                    <a:pt x="66" y="96"/>
                  </a:lnTo>
                  <a:lnTo>
                    <a:pt x="64" y="92"/>
                  </a:lnTo>
                  <a:lnTo>
                    <a:pt x="60" y="88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4" y="78"/>
                  </a:lnTo>
                  <a:lnTo>
                    <a:pt x="54" y="76"/>
                  </a:lnTo>
                  <a:lnTo>
                    <a:pt x="54" y="74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4" y="62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8"/>
                  </a:lnTo>
                  <a:lnTo>
                    <a:pt x="58" y="58"/>
                  </a:lnTo>
                  <a:lnTo>
                    <a:pt x="58" y="56"/>
                  </a:lnTo>
                  <a:lnTo>
                    <a:pt x="62" y="54"/>
                  </a:lnTo>
                  <a:lnTo>
                    <a:pt x="64" y="52"/>
                  </a:lnTo>
                  <a:lnTo>
                    <a:pt x="64" y="50"/>
                  </a:lnTo>
                  <a:lnTo>
                    <a:pt x="68" y="48"/>
                  </a:lnTo>
                  <a:lnTo>
                    <a:pt x="74" y="44"/>
                  </a:lnTo>
                  <a:lnTo>
                    <a:pt x="80" y="40"/>
                  </a:lnTo>
                  <a:lnTo>
                    <a:pt x="78" y="36"/>
                  </a:lnTo>
                  <a:lnTo>
                    <a:pt x="76" y="30"/>
                  </a:lnTo>
                  <a:lnTo>
                    <a:pt x="72" y="26"/>
                  </a:lnTo>
                  <a:lnTo>
                    <a:pt x="70" y="20"/>
                  </a:lnTo>
                  <a:lnTo>
                    <a:pt x="66" y="14"/>
                  </a:lnTo>
                  <a:lnTo>
                    <a:pt x="64" y="12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4" y="6"/>
                  </a:lnTo>
                  <a:lnTo>
                    <a:pt x="52" y="4"/>
                  </a:lnTo>
                  <a:lnTo>
                    <a:pt x="48" y="2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8" y="8"/>
                  </a:lnTo>
                  <a:lnTo>
                    <a:pt x="2" y="1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67" name="Freeform 75">
              <a:extLst>
                <a:ext uri="{FF2B5EF4-FFF2-40B4-BE49-F238E27FC236}">
                  <a16:creationId xmlns:a16="http://schemas.microsoft.com/office/drawing/2014/main" id="{01394B69-7B1F-4AB6-A454-03D68DB0C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510" y="3501224"/>
              <a:ext cx="488609" cy="437933"/>
            </a:xfrm>
            <a:custGeom>
              <a:avLst/>
              <a:gdLst>
                <a:gd name="T0" fmla="*/ 0 w 286"/>
                <a:gd name="T1" fmla="*/ 8 h 262"/>
                <a:gd name="T2" fmla="*/ 10 w 286"/>
                <a:gd name="T3" fmla="*/ 34 h 262"/>
                <a:gd name="T4" fmla="*/ 18 w 286"/>
                <a:gd name="T5" fmla="*/ 68 h 262"/>
                <a:gd name="T6" fmla="*/ 22 w 286"/>
                <a:gd name="T7" fmla="*/ 76 h 262"/>
                <a:gd name="T8" fmla="*/ 34 w 286"/>
                <a:gd name="T9" fmla="*/ 78 h 262"/>
                <a:gd name="T10" fmla="*/ 32 w 286"/>
                <a:gd name="T11" fmla="*/ 92 h 262"/>
                <a:gd name="T12" fmla="*/ 22 w 286"/>
                <a:gd name="T13" fmla="*/ 98 h 262"/>
                <a:gd name="T14" fmla="*/ 22 w 286"/>
                <a:gd name="T15" fmla="*/ 114 h 262"/>
                <a:gd name="T16" fmla="*/ 32 w 286"/>
                <a:gd name="T17" fmla="*/ 118 h 262"/>
                <a:gd name="T18" fmla="*/ 36 w 286"/>
                <a:gd name="T19" fmla="*/ 128 h 262"/>
                <a:gd name="T20" fmla="*/ 46 w 286"/>
                <a:gd name="T21" fmla="*/ 136 h 262"/>
                <a:gd name="T22" fmla="*/ 58 w 286"/>
                <a:gd name="T23" fmla="*/ 134 h 262"/>
                <a:gd name="T24" fmla="*/ 60 w 286"/>
                <a:gd name="T25" fmla="*/ 146 h 262"/>
                <a:gd name="T26" fmla="*/ 56 w 286"/>
                <a:gd name="T27" fmla="*/ 160 h 262"/>
                <a:gd name="T28" fmla="*/ 64 w 286"/>
                <a:gd name="T29" fmla="*/ 164 h 262"/>
                <a:gd name="T30" fmla="*/ 66 w 286"/>
                <a:gd name="T31" fmla="*/ 178 h 262"/>
                <a:gd name="T32" fmla="*/ 78 w 286"/>
                <a:gd name="T33" fmla="*/ 184 h 262"/>
                <a:gd name="T34" fmla="*/ 86 w 286"/>
                <a:gd name="T35" fmla="*/ 176 h 262"/>
                <a:gd name="T36" fmla="*/ 90 w 286"/>
                <a:gd name="T37" fmla="*/ 176 h 262"/>
                <a:gd name="T38" fmla="*/ 96 w 286"/>
                <a:gd name="T39" fmla="*/ 200 h 262"/>
                <a:gd name="T40" fmla="*/ 100 w 286"/>
                <a:gd name="T41" fmla="*/ 210 h 262"/>
                <a:gd name="T42" fmla="*/ 110 w 286"/>
                <a:gd name="T43" fmla="*/ 214 h 262"/>
                <a:gd name="T44" fmla="*/ 110 w 286"/>
                <a:gd name="T45" fmla="*/ 222 h 262"/>
                <a:gd name="T46" fmla="*/ 120 w 286"/>
                <a:gd name="T47" fmla="*/ 222 h 262"/>
                <a:gd name="T48" fmla="*/ 128 w 286"/>
                <a:gd name="T49" fmla="*/ 232 h 262"/>
                <a:gd name="T50" fmla="*/ 146 w 286"/>
                <a:gd name="T51" fmla="*/ 238 h 262"/>
                <a:gd name="T52" fmla="*/ 172 w 286"/>
                <a:gd name="T53" fmla="*/ 238 h 262"/>
                <a:gd name="T54" fmla="*/ 178 w 286"/>
                <a:gd name="T55" fmla="*/ 226 h 262"/>
                <a:gd name="T56" fmla="*/ 186 w 286"/>
                <a:gd name="T57" fmla="*/ 228 h 262"/>
                <a:gd name="T58" fmla="*/ 192 w 286"/>
                <a:gd name="T59" fmla="*/ 244 h 262"/>
                <a:gd name="T60" fmla="*/ 200 w 286"/>
                <a:gd name="T61" fmla="*/ 258 h 262"/>
                <a:gd name="T62" fmla="*/ 224 w 286"/>
                <a:gd name="T63" fmla="*/ 262 h 262"/>
                <a:gd name="T64" fmla="*/ 254 w 286"/>
                <a:gd name="T65" fmla="*/ 260 h 262"/>
                <a:gd name="T66" fmla="*/ 262 w 286"/>
                <a:gd name="T67" fmla="*/ 260 h 262"/>
                <a:gd name="T68" fmla="*/ 274 w 286"/>
                <a:gd name="T69" fmla="*/ 246 h 262"/>
                <a:gd name="T70" fmla="*/ 284 w 286"/>
                <a:gd name="T71" fmla="*/ 234 h 262"/>
                <a:gd name="T72" fmla="*/ 280 w 286"/>
                <a:gd name="T73" fmla="*/ 224 h 262"/>
                <a:gd name="T74" fmla="*/ 270 w 286"/>
                <a:gd name="T75" fmla="*/ 224 h 262"/>
                <a:gd name="T76" fmla="*/ 266 w 286"/>
                <a:gd name="T77" fmla="*/ 210 h 262"/>
                <a:gd name="T78" fmla="*/ 250 w 286"/>
                <a:gd name="T79" fmla="*/ 200 h 262"/>
                <a:gd name="T80" fmla="*/ 250 w 286"/>
                <a:gd name="T81" fmla="*/ 188 h 262"/>
                <a:gd name="T82" fmla="*/ 258 w 286"/>
                <a:gd name="T83" fmla="*/ 174 h 262"/>
                <a:gd name="T84" fmla="*/ 254 w 286"/>
                <a:gd name="T85" fmla="*/ 158 h 262"/>
                <a:gd name="T86" fmla="*/ 238 w 286"/>
                <a:gd name="T87" fmla="*/ 158 h 262"/>
                <a:gd name="T88" fmla="*/ 234 w 286"/>
                <a:gd name="T89" fmla="*/ 152 h 262"/>
                <a:gd name="T90" fmla="*/ 238 w 286"/>
                <a:gd name="T91" fmla="*/ 124 h 262"/>
                <a:gd name="T92" fmla="*/ 240 w 286"/>
                <a:gd name="T93" fmla="*/ 80 h 262"/>
                <a:gd name="T94" fmla="*/ 238 w 286"/>
                <a:gd name="T95" fmla="*/ 64 h 262"/>
                <a:gd name="T96" fmla="*/ 214 w 286"/>
                <a:gd name="T97" fmla="*/ 52 h 262"/>
                <a:gd name="T98" fmla="*/ 192 w 286"/>
                <a:gd name="T99" fmla="*/ 40 h 262"/>
                <a:gd name="T100" fmla="*/ 162 w 286"/>
                <a:gd name="T101" fmla="*/ 34 h 262"/>
                <a:gd name="T102" fmla="*/ 154 w 286"/>
                <a:gd name="T103" fmla="*/ 36 h 262"/>
                <a:gd name="T104" fmla="*/ 146 w 286"/>
                <a:gd name="T105" fmla="*/ 48 h 262"/>
                <a:gd name="T106" fmla="*/ 120 w 286"/>
                <a:gd name="T107" fmla="*/ 58 h 262"/>
                <a:gd name="T108" fmla="*/ 110 w 286"/>
                <a:gd name="T109" fmla="*/ 66 h 262"/>
                <a:gd name="T110" fmla="*/ 90 w 286"/>
                <a:gd name="T111" fmla="*/ 60 h 262"/>
                <a:gd name="T112" fmla="*/ 66 w 286"/>
                <a:gd name="T113" fmla="*/ 42 h 262"/>
                <a:gd name="T114" fmla="*/ 60 w 286"/>
                <a:gd name="T115" fmla="*/ 18 h 262"/>
                <a:gd name="T116" fmla="*/ 54 w 286"/>
                <a:gd name="T117" fmla="*/ 2 h 262"/>
                <a:gd name="T118" fmla="*/ 46 w 286"/>
                <a:gd name="T119" fmla="*/ 8 h 262"/>
                <a:gd name="T120" fmla="*/ 42 w 286"/>
                <a:gd name="T121" fmla="*/ 20 h 262"/>
                <a:gd name="T122" fmla="*/ 26 w 286"/>
                <a:gd name="T123" fmla="*/ 20 h 262"/>
                <a:gd name="T124" fmla="*/ 10 w 286"/>
                <a:gd name="T125" fmla="*/ 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6" h="26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8" y="28"/>
                  </a:lnTo>
                  <a:lnTo>
                    <a:pt x="10" y="34"/>
                  </a:lnTo>
                  <a:lnTo>
                    <a:pt x="12" y="40"/>
                  </a:lnTo>
                  <a:lnTo>
                    <a:pt x="12" y="42"/>
                  </a:lnTo>
                  <a:lnTo>
                    <a:pt x="14" y="44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6" y="54"/>
                  </a:lnTo>
                  <a:lnTo>
                    <a:pt x="16" y="62"/>
                  </a:lnTo>
                  <a:lnTo>
                    <a:pt x="16" y="64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24" y="76"/>
                  </a:lnTo>
                  <a:lnTo>
                    <a:pt x="26" y="76"/>
                  </a:lnTo>
                  <a:lnTo>
                    <a:pt x="30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80"/>
                  </a:lnTo>
                  <a:lnTo>
                    <a:pt x="34" y="82"/>
                  </a:lnTo>
                  <a:lnTo>
                    <a:pt x="34" y="84"/>
                  </a:lnTo>
                  <a:lnTo>
                    <a:pt x="34" y="86"/>
                  </a:lnTo>
                  <a:lnTo>
                    <a:pt x="34" y="88"/>
                  </a:lnTo>
                  <a:lnTo>
                    <a:pt x="32" y="90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0" y="92"/>
                  </a:lnTo>
                  <a:lnTo>
                    <a:pt x="30" y="94"/>
                  </a:lnTo>
                  <a:lnTo>
                    <a:pt x="28" y="94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4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100"/>
                  </a:lnTo>
                  <a:lnTo>
                    <a:pt x="22" y="100"/>
                  </a:lnTo>
                  <a:lnTo>
                    <a:pt x="20" y="102"/>
                  </a:lnTo>
                  <a:lnTo>
                    <a:pt x="20" y="104"/>
                  </a:lnTo>
                  <a:lnTo>
                    <a:pt x="20" y="106"/>
                  </a:lnTo>
                  <a:lnTo>
                    <a:pt x="20" y="110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6" y="116"/>
                  </a:lnTo>
                  <a:lnTo>
                    <a:pt x="28" y="118"/>
                  </a:lnTo>
                  <a:lnTo>
                    <a:pt x="30" y="118"/>
                  </a:lnTo>
                  <a:lnTo>
                    <a:pt x="32" y="118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6" y="120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6" y="124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6" y="128"/>
                  </a:lnTo>
                  <a:lnTo>
                    <a:pt x="36" y="130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40" y="134"/>
                  </a:lnTo>
                  <a:lnTo>
                    <a:pt x="42" y="134"/>
                  </a:lnTo>
                  <a:lnTo>
                    <a:pt x="42" y="136"/>
                  </a:lnTo>
                  <a:lnTo>
                    <a:pt x="46" y="136"/>
                  </a:lnTo>
                  <a:lnTo>
                    <a:pt x="48" y="136"/>
                  </a:lnTo>
                  <a:lnTo>
                    <a:pt x="50" y="136"/>
                  </a:lnTo>
                  <a:lnTo>
                    <a:pt x="50" y="136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6" y="134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60" y="134"/>
                  </a:lnTo>
                  <a:lnTo>
                    <a:pt x="60" y="136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60" y="142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8" y="152"/>
                  </a:lnTo>
                  <a:lnTo>
                    <a:pt x="56" y="154"/>
                  </a:lnTo>
                  <a:lnTo>
                    <a:pt x="56" y="156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8" y="160"/>
                  </a:lnTo>
                  <a:lnTo>
                    <a:pt x="58" y="162"/>
                  </a:lnTo>
                  <a:lnTo>
                    <a:pt x="60" y="162"/>
                  </a:lnTo>
                  <a:lnTo>
                    <a:pt x="62" y="162"/>
                  </a:lnTo>
                  <a:lnTo>
                    <a:pt x="62" y="162"/>
                  </a:lnTo>
                  <a:lnTo>
                    <a:pt x="64" y="162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4" y="164"/>
                  </a:lnTo>
                  <a:lnTo>
                    <a:pt x="66" y="166"/>
                  </a:lnTo>
                  <a:lnTo>
                    <a:pt x="66" y="170"/>
                  </a:lnTo>
                  <a:lnTo>
                    <a:pt x="66" y="172"/>
                  </a:lnTo>
                  <a:lnTo>
                    <a:pt x="66" y="176"/>
                  </a:lnTo>
                  <a:lnTo>
                    <a:pt x="66" y="178"/>
                  </a:lnTo>
                  <a:lnTo>
                    <a:pt x="66" y="178"/>
                  </a:lnTo>
                  <a:lnTo>
                    <a:pt x="68" y="180"/>
                  </a:lnTo>
                  <a:lnTo>
                    <a:pt x="68" y="182"/>
                  </a:lnTo>
                  <a:lnTo>
                    <a:pt x="70" y="182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4" y="184"/>
                  </a:lnTo>
                  <a:lnTo>
                    <a:pt x="76" y="184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82" y="184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6" y="182"/>
                  </a:lnTo>
                  <a:lnTo>
                    <a:pt x="86" y="182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86" y="178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8" y="174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8"/>
                  </a:lnTo>
                  <a:lnTo>
                    <a:pt x="92" y="180"/>
                  </a:lnTo>
                  <a:lnTo>
                    <a:pt x="92" y="182"/>
                  </a:lnTo>
                  <a:lnTo>
                    <a:pt x="94" y="184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6" y="194"/>
                  </a:lnTo>
                  <a:lnTo>
                    <a:pt x="96" y="200"/>
                  </a:lnTo>
                  <a:lnTo>
                    <a:pt x="96" y="202"/>
                  </a:lnTo>
                  <a:lnTo>
                    <a:pt x="96" y="204"/>
                  </a:lnTo>
                  <a:lnTo>
                    <a:pt x="96" y="206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210"/>
                  </a:lnTo>
                  <a:lnTo>
                    <a:pt x="104" y="210"/>
                  </a:lnTo>
                  <a:lnTo>
                    <a:pt x="106" y="210"/>
                  </a:lnTo>
                  <a:lnTo>
                    <a:pt x="108" y="212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10" y="214"/>
                  </a:lnTo>
                  <a:lnTo>
                    <a:pt x="112" y="214"/>
                  </a:lnTo>
                  <a:lnTo>
                    <a:pt x="110" y="214"/>
                  </a:lnTo>
                  <a:lnTo>
                    <a:pt x="110" y="216"/>
                  </a:lnTo>
                  <a:lnTo>
                    <a:pt x="110" y="218"/>
                  </a:lnTo>
                  <a:lnTo>
                    <a:pt x="110" y="218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0" y="222"/>
                  </a:lnTo>
                  <a:lnTo>
                    <a:pt x="112" y="222"/>
                  </a:lnTo>
                  <a:lnTo>
                    <a:pt x="112" y="222"/>
                  </a:lnTo>
                  <a:lnTo>
                    <a:pt x="114" y="222"/>
                  </a:lnTo>
                  <a:lnTo>
                    <a:pt x="116" y="222"/>
                  </a:lnTo>
                  <a:lnTo>
                    <a:pt x="118" y="222"/>
                  </a:lnTo>
                  <a:lnTo>
                    <a:pt x="120" y="222"/>
                  </a:lnTo>
                  <a:lnTo>
                    <a:pt x="120" y="222"/>
                  </a:lnTo>
                  <a:lnTo>
                    <a:pt x="122" y="222"/>
                  </a:lnTo>
                  <a:lnTo>
                    <a:pt x="122" y="222"/>
                  </a:lnTo>
                  <a:lnTo>
                    <a:pt x="122" y="224"/>
                  </a:lnTo>
                  <a:lnTo>
                    <a:pt x="122" y="224"/>
                  </a:lnTo>
                  <a:lnTo>
                    <a:pt x="124" y="224"/>
                  </a:lnTo>
                  <a:lnTo>
                    <a:pt x="124" y="226"/>
                  </a:lnTo>
                  <a:lnTo>
                    <a:pt x="126" y="228"/>
                  </a:lnTo>
                  <a:lnTo>
                    <a:pt x="126" y="230"/>
                  </a:lnTo>
                  <a:lnTo>
                    <a:pt x="128" y="232"/>
                  </a:lnTo>
                  <a:lnTo>
                    <a:pt x="128" y="234"/>
                  </a:lnTo>
                  <a:lnTo>
                    <a:pt x="128" y="234"/>
                  </a:lnTo>
                  <a:lnTo>
                    <a:pt x="130" y="234"/>
                  </a:lnTo>
                  <a:lnTo>
                    <a:pt x="132" y="236"/>
                  </a:lnTo>
                  <a:lnTo>
                    <a:pt x="134" y="236"/>
                  </a:lnTo>
                  <a:lnTo>
                    <a:pt x="136" y="236"/>
                  </a:lnTo>
                  <a:lnTo>
                    <a:pt x="140" y="238"/>
                  </a:lnTo>
                  <a:lnTo>
                    <a:pt x="142" y="238"/>
                  </a:lnTo>
                  <a:lnTo>
                    <a:pt x="146" y="238"/>
                  </a:lnTo>
                  <a:lnTo>
                    <a:pt x="148" y="238"/>
                  </a:lnTo>
                  <a:lnTo>
                    <a:pt x="152" y="240"/>
                  </a:lnTo>
                  <a:lnTo>
                    <a:pt x="154" y="240"/>
                  </a:lnTo>
                  <a:lnTo>
                    <a:pt x="158" y="240"/>
                  </a:lnTo>
                  <a:lnTo>
                    <a:pt x="162" y="240"/>
                  </a:lnTo>
                  <a:lnTo>
                    <a:pt x="164" y="240"/>
                  </a:lnTo>
                  <a:lnTo>
                    <a:pt x="166" y="238"/>
                  </a:lnTo>
                  <a:lnTo>
                    <a:pt x="170" y="238"/>
                  </a:lnTo>
                  <a:lnTo>
                    <a:pt x="172" y="238"/>
                  </a:lnTo>
                  <a:lnTo>
                    <a:pt x="174" y="236"/>
                  </a:lnTo>
                  <a:lnTo>
                    <a:pt x="174" y="236"/>
                  </a:lnTo>
                  <a:lnTo>
                    <a:pt x="174" y="236"/>
                  </a:lnTo>
                  <a:lnTo>
                    <a:pt x="176" y="234"/>
                  </a:lnTo>
                  <a:lnTo>
                    <a:pt x="176" y="232"/>
                  </a:lnTo>
                  <a:lnTo>
                    <a:pt x="176" y="230"/>
                  </a:lnTo>
                  <a:lnTo>
                    <a:pt x="178" y="228"/>
                  </a:lnTo>
                  <a:lnTo>
                    <a:pt x="178" y="228"/>
                  </a:lnTo>
                  <a:lnTo>
                    <a:pt x="178" y="226"/>
                  </a:lnTo>
                  <a:lnTo>
                    <a:pt x="178" y="226"/>
                  </a:lnTo>
                  <a:lnTo>
                    <a:pt x="180" y="226"/>
                  </a:lnTo>
                  <a:lnTo>
                    <a:pt x="180" y="226"/>
                  </a:lnTo>
                  <a:lnTo>
                    <a:pt x="180" y="224"/>
                  </a:lnTo>
                  <a:lnTo>
                    <a:pt x="182" y="226"/>
                  </a:lnTo>
                  <a:lnTo>
                    <a:pt x="184" y="226"/>
                  </a:lnTo>
                  <a:lnTo>
                    <a:pt x="184" y="226"/>
                  </a:lnTo>
                  <a:lnTo>
                    <a:pt x="186" y="226"/>
                  </a:lnTo>
                  <a:lnTo>
                    <a:pt x="186" y="228"/>
                  </a:lnTo>
                  <a:lnTo>
                    <a:pt x="188" y="228"/>
                  </a:lnTo>
                  <a:lnTo>
                    <a:pt x="188" y="228"/>
                  </a:lnTo>
                  <a:lnTo>
                    <a:pt x="190" y="230"/>
                  </a:lnTo>
                  <a:lnTo>
                    <a:pt x="190" y="230"/>
                  </a:lnTo>
                  <a:lnTo>
                    <a:pt x="190" y="232"/>
                  </a:lnTo>
                  <a:lnTo>
                    <a:pt x="190" y="234"/>
                  </a:lnTo>
                  <a:lnTo>
                    <a:pt x="190" y="236"/>
                  </a:lnTo>
                  <a:lnTo>
                    <a:pt x="192" y="240"/>
                  </a:lnTo>
                  <a:lnTo>
                    <a:pt x="192" y="244"/>
                  </a:lnTo>
                  <a:lnTo>
                    <a:pt x="192" y="246"/>
                  </a:lnTo>
                  <a:lnTo>
                    <a:pt x="192" y="248"/>
                  </a:lnTo>
                  <a:lnTo>
                    <a:pt x="192" y="250"/>
                  </a:lnTo>
                  <a:lnTo>
                    <a:pt x="192" y="250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8" y="256"/>
                  </a:lnTo>
                  <a:lnTo>
                    <a:pt x="200" y="258"/>
                  </a:lnTo>
                  <a:lnTo>
                    <a:pt x="202" y="258"/>
                  </a:lnTo>
                  <a:lnTo>
                    <a:pt x="204" y="260"/>
                  </a:lnTo>
                  <a:lnTo>
                    <a:pt x="206" y="262"/>
                  </a:lnTo>
                  <a:lnTo>
                    <a:pt x="208" y="262"/>
                  </a:lnTo>
                  <a:lnTo>
                    <a:pt x="210" y="262"/>
                  </a:lnTo>
                  <a:lnTo>
                    <a:pt x="214" y="262"/>
                  </a:lnTo>
                  <a:lnTo>
                    <a:pt x="216" y="262"/>
                  </a:lnTo>
                  <a:lnTo>
                    <a:pt x="218" y="262"/>
                  </a:lnTo>
                  <a:lnTo>
                    <a:pt x="224" y="262"/>
                  </a:lnTo>
                  <a:lnTo>
                    <a:pt x="230" y="262"/>
                  </a:lnTo>
                  <a:lnTo>
                    <a:pt x="236" y="260"/>
                  </a:lnTo>
                  <a:lnTo>
                    <a:pt x="242" y="260"/>
                  </a:lnTo>
                  <a:lnTo>
                    <a:pt x="246" y="260"/>
                  </a:lnTo>
                  <a:lnTo>
                    <a:pt x="248" y="260"/>
                  </a:lnTo>
                  <a:lnTo>
                    <a:pt x="250" y="260"/>
                  </a:lnTo>
                  <a:lnTo>
                    <a:pt x="252" y="260"/>
                  </a:lnTo>
                  <a:lnTo>
                    <a:pt x="254" y="260"/>
                  </a:lnTo>
                  <a:lnTo>
                    <a:pt x="254" y="260"/>
                  </a:lnTo>
                  <a:lnTo>
                    <a:pt x="258" y="260"/>
                  </a:lnTo>
                  <a:lnTo>
                    <a:pt x="258" y="262"/>
                  </a:lnTo>
                  <a:lnTo>
                    <a:pt x="260" y="262"/>
                  </a:lnTo>
                  <a:lnTo>
                    <a:pt x="260" y="262"/>
                  </a:lnTo>
                  <a:lnTo>
                    <a:pt x="260" y="262"/>
                  </a:lnTo>
                  <a:lnTo>
                    <a:pt x="262" y="262"/>
                  </a:lnTo>
                  <a:lnTo>
                    <a:pt x="262" y="262"/>
                  </a:lnTo>
                  <a:lnTo>
                    <a:pt x="262" y="260"/>
                  </a:lnTo>
                  <a:lnTo>
                    <a:pt x="262" y="260"/>
                  </a:lnTo>
                  <a:lnTo>
                    <a:pt x="264" y="258"/>
                  </a:lnTo>
                  <a:lnTo>
                    <a:pt x="264" y="256"/>
                  </a:lnTo>
                  <a:lnTo>
                    <a:pt x="264" y="254"/>
                  </a:lnTo>
                  <a:lnTo>
                    <a:pt x="264" y="252"/>
                  </a:lnTo>
                  <a:lnTo>
                    <a:pt x="264" y="250"/>
                  </a:lnTo>
                  <a:lnTo>
                    <a:pt x="266" y="248"/>
                  </a:lnTo>
                  <a:lnTo>
                    <a:pt x="266" y="248"/>
                  </a:lnTo>
                  <a:lnTo>
                    <a:pt x="270" y="246"/>
                  </a:lnTo>
                  <a:lnTo>
                    <a:pt x="274" y="246"/>
                  </a:lnTo>
                  <a:lnTo>
                    <a:pt x="276" y="244"/>
                  </a:lnTo>
                  <a:lnTo>
                    <a:pt x="276" y="244"/>
                  </a:lnTo>
                  <a:lnTo>
                    <a:pt x="278" y="244"/>
                  </a:lnTo>
                  <a:lnTo>
                    <a:pt x="280" y="242"/>
                  </a:lnTo>
                  <a:lnTo>
                    <a:pt x="280" y="240"/>
                  </a:lnTo>
                  <a:lnTo>
                    <a:pt x="282" y="238"/>
                  </a:lnTo>
                  <a:lnTo>
                    <a:pt x="284" y="238"/>
                  </a:lnTo>
                  <a:lnTo>
                    <a:pt x="284" y="236"/>
                  </a:lnTo>
                  <a:lnTo>
                    <a:pt x="284" y="234"/>
                  </a:lnTo>
                  <a:lnTo>
                    <a:pt x="286" y="234"/>
                  </a:lnTo>
                  <a:lnTo>
                    <a:pt x="286" y="232"/>
                  </a:lnTo>
                  <a:lnTo>
                    <a:pt x="286" y="232"/>
                  </a:lnTo>
                  <a:lnTo>
                    <a:pt x="284" y="230"/>
                  </a:lnTo>
                  <a:lnTo>
                    <a:pt x="284" y="230"/>
                  </a:lnTo>
                  <a:lnTo>
                    <a:pt x="284" y="228"/>
                  </a:lnTo>
                  <a:lnTo>
                    <a:pt x="282" y="226"/>
                  </a:lnTo>
                  <a:lnTo>
                    <a:pt x="282" y="226"/>
                  </a:lnTo>
                  <a:lnTo>
                    <a:pt x="280" y="224"/>
                  </a:lnTo>
                  <a:lnTo>
                    <a:pt x="280" y="224"/>
                  </a:lnTo>
                  <a:lnTo>
                    <a:pt x="280" y="224"/>
                  </a:lnTo>
                  <a:lnTo>
                    <a:pt x="280" y="224"/>
                  </a:lnTo>
                  <a:lnTo>
                    <a:pt x="278" y="224"/>
                  </a:lnTo>
                  <a:lnTo>
                    <a:pt x="276" y="224"/>
                  </a:lnTo>
                  <a:lnTo>
                    <a:pt x="274" y="224"/>
                  </a:lnTo>
                  <a:lnTo>
                    <a:pt x="272" y="224"/>
                  </a:lnTo>
                  <a:lnTo>
                    <a:pt x="272" y="224"/>
                  </a:lnTo>
                  <a:lnTo>
                    <a:pt x="270" y="224"/>
                  </a:lnTo>
                  <a:lnTo>
                    <a:pt x="270" y="222"/>
                  </a:lnTo>
                  <a:lnTo>
                    <a:pt x="268" y="222"/>
                  </a:lnTo>
                  <a:lnTo>
                    <a:pt x="268" y="222"/>
                  </a:lnTo>
                  <a:lnTo>
                    <a:pt x="268" y="222"/>
                  </a:lnTo>
                  <a:lnTo>
                    <a:pt x="268" y="220"/>
                  </a:lnTo>
                  <a:lnTo>
                    <a:pt x="266" y="218"/>
                  </a:lnTo>
                  <a:lnTo>
                    <a:pt x="266" y="216"/>
                  </a:lnTo>
                  <a:lnTo>
                    <a:pt x="266" y="214"/>
                  </a:lnTo>
                  <a:lnTo>
                    <a:pt x="266" y="210"/>
                  </a:lnTo>
                  <a:lnTo>
                    <a:pt x="266" y="208"/>
                  </a:lnTo>
                  <a:lnTo>
                    <a:pt x="266" y="206"/>
                  </a:lnTo>
                  <a:lnTo>
                    <a:pt x="262" y="206"/>
                  </a:lnTo>
                  <a:lnTo>
                    <a:pt x="260" y="204"/>
                  </a:lnTo>
                  <a:lnTo>
                    <a:pt x="258" y="204"/>
                  </a:lnTo>
                  <a:lnTo>
                    <a:pt x="254" y="202"/>
                  </a:lnTo>
                  <a:lnTo>
                    <a:pt x="252" y="202"/>
                  </a:lnTo>
                  <a:lnTo>
                    <a:pt x="252" y="200"/>
                  </a:lnTo>
                  <a:lnTo>
                    <a:pt x="250" y="200"/>
                  </a:lnTo>
                  <a:lnTo>
                    <a:pt x="250" y="200"/>
                  </a:lnTo>
                  <a:lnTo>
                    <a:pt x="248" y="198"/>
                  </a:lnTo>
                  <a:lnTo>
                    <a:pt x="248" y="198"/>
                  </a:lnTo>
                  <a:lnTo>
                    <a:pt x="248" y="198"/>
                  </a:lnTo>
                  <a:lnTo>
                    <a:pt x="248" y="196"/>
                  </a:lnTo>
                  <a:lnTo>
                    <a:pt x="248" y="194"/>
                  </a:lnTo>
                  <a:lnTo>
                    <a:pt x="248" y="192"/>
                  </a:lnTo>
                  <a:lnTo>
                    <a:pt x="248" y="190"/>
                  </a:lnTo>
                  <a:lnTo>
                    <a:pt x="250" y="188"/>
                  </a:lnTo>
                  <a:lnTo>
                    <a:pt x="250" y="184"/>
                  </a:lnTo>
                  <a:lnTo>
                    <a:pt x="250" y="184"/>
                  </a:lnTo>
                  <a:lnTo>
                    <a:pt x="252" y="182"/>
                  </a:lnTo>
                  <a:lnTo>
                    <a:pt x="254" y="180"/>
                  </a:lnTo>
                  <a:lnTo>
                    <a:pt x="256" y="178"/>
                  </a:lnTo>
                  <a:lnTo>
                    <a:pt x="256" y="178"/>
                  </a:lnTo>
                  <a:lnTo>
                    <a:pt x="258" y="176"/>
                  </a:lnTo>
                  <a:lnTo>
                    <a:pt x="258" y="176"/>
                  </a:lnTo>
                  <a:lnTo>
                    <a:pt x="258" y="174"/>
                  </a:lnTo>
                  <a:lnTo>
                    <a:pt x="258" y="172"/>
                  </a:lnTo>
                  <a:lnTo>
                    <a:pt x="258" y="170"/>
                  </a:lnTo>
                  <a:lnTo>
                    <a:pt x="258" y="168"/>
                  </a:lnTo>
                  <a:lnTo>
                    <a:pt x="256" y="166"/>
                  </a:lnTo>
                  <a:lnTo>
                    <a:pt x="256" y="162"/>
                  </a:lnTo>
                  <a:lnTo>
                    <a:pt x="256" y="160"/>
                  </a:lnTo>
                  <a:lnTo>
                    <a:pt x="254" y="160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2" y="158"/>
                  </a:lnTo>
                  <a:lnTo>
                    <a:pt x="252" y="156"/>
                  </a:lnTo>
                  <a:lnTo>
                    <a:pt x="250" y="156"/>
                  </a:lnTo>
                  <a:lnTo>
                    <a:pt x="250" y="156"/>
                  </a:lnTo>
                  <a:lnTo>
                    <a:pt x="248" y="156"/>
                  </a:lnTo>
                  <a:lnTo>
                    <a:pt x="246" y="156"/>
                  </a:lnTo>
                  <a:lnTo>
                    <a:pt x="244" y="158"/>
                  </a:lnTo>
                  <a:lnTo>
                    <a:pt x="240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4" y="158"/>
                  </a:lnTo>
                  <a:lnTo>
                    <a:pt x="234" y="156"/>
                  </a:lnTo>
                  <a:lnTo>
                    <a:pt x="234" y="156"/>
                  </a:lnTo>
                  <a:lnTo>
                    <a:pt x="234" y="154"/>
                  </a:lnTo>
                  <a:lnTo>
                    <a:pt x="234" y="154"/>
                  </a:lnTo>
                  <a:lnTo>
                    <a:pt x="234" y="152"/>
                  </a:lnTo>
                  <a:lnTo>
                    <a:pt x="234" y="150"/>
                  </a:lnTo>
                  <a:lnTo>
                    <a:pt x="234" y="148"/>
                  </a:lnTo>
                  <a:lnTo>
                    <a:pt x="234" y="146"/>
                  </a:lnTo>
                  <a:lnTo>
                    <a:pt x="234" y="144"/>
                  </a:lnTo>
                  <a:lnTo>
                    <a:pt x="234" y="140"/>
                  </a:lnTo>
                  <a:lnTo>
                    <a:pt x="238" y="130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8" y="124"/>
                  </a:lnTo>
                  <a:lnTo>
                    <a:pt x="238" y="122"/>
                  </a:lnTo>
                  <a:lnTo>
                    <a:pt x="238" y="120"/>
                  </a:lnTo>
                  <a:lnTo>
                    <a:pt x="238" y="116"/>
                  </a:lnTo>
                  <a:lnTo>
                    <a:pt x="236" y="108"/>
                  </a:lnTo>
                  <a:lnTo>
                    <a:pt x="234" y="100"/>
                  </a:lnTo>
                  <a:lnTo>
                    <a:pt x="236" y="96"/>
                  </a:lnTo>
                  <a:lnTo>
                    <a:pt x="238" y="90"/>
                  </a:lnTo>
                  <a:lnTo>
                    <a:pt x="238" y="86"/>
                  </a:lnTo>
                  <a:lnTo>
                    <a:pt x="240" y="80"/>
                  </a:lnTo>
                  <a:lnTo>
                    <a:pt x="240" y="78"/>
                  </a:lnTo>
                  <a:lnTo>
                    <a:pt x="240" y="74"/>
                  </a:lnTo>
                  <a:lnTo>
                    <a:pt x="240" y="72"/>
                  </a:lnTo>
                  <a:lnTo>
                    <a:pt x="240" y="70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38" y="64"/>
                  </a:lnTo>
                  <a:lnTo>
                    <a:pt x="238" y="64"/>
                  </a:lnTo>
                  <a:lnTo>
                    <a:pt x="236" y="64"/>
                  </a:lnTo>
                  <a:lnTo>
                    <a:pt x="234" y="62"/>
                  </a:lnTo>
                  <a:lnTo>
                    <a:pt x="230" y="60"/>
                  </a:lnTo>
                  <a:lnTo>
                    <a:pt x="224" y="58"/>
                  </a:lnTo>
                  <a:lnTo>
                    <a:pt x="222" y="58"/>
                  </a:lnTo>
                  <a:lnTo>
                    <a:pt x="220" y="56"/>
                  </a:lnTo>
                  <a:lnTo>
                    <a:pt x="218" y="54"/>
                  </a:lnTo>
                  <a:lnTo>
                    <a:pt x="214" y="52"/>
                  </a:lnTo>
                  <a:lnTo>
                    <a:pt x="208" y="48"/>
                  </a:lnTo>
                  <a:lnTo>
                    <a:pt x="206" y="46"/>
                  </a:lnTo>
                  <a:lnTo>
                    <a:pt x="202" y="44"/>
                  </a:lnTo>
                  <a:lnTo>
                    <a:pt x="200" y="42"/>
                  </a:lnTo>
                  <a:lnTo>
                    <a:pt x="198" y="40"/>
                  </a:lnTo>
                  <a:lnTo>
                    <a:pt x="198" y="40"/>
                  </a:lnTo>
                  <a:lnTo>
                    <a:pt x="196" y="40"/>
                  </a:lnTo>
                  <a:lnTo>
                    <a:pt x="194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2" y="38"/>
                  </a:lnTo>
                  <a:lnTo>
                    <a:pt x="182" y="38"/>
                  </a:lnTo>
                  <a:lnTo>
                    <a:pt x="178" y="38"/>
                  </a:lnTo>
                  <a:lnTo>
                    <a:pt x="176" y="38"/>
                  </a:lnTo>
                  <a:lnTo>
                    <a:pt x="168" y="34"/>
                  </a:lnTo>
                  <a:lnTo>
                    <a:pt x="164" y="34"/>
                  </a:lnTo>
                  <a:lnTo>
                    <a:pt x="162" y="34"/>
                  </a:lnTo>
                  <a:lnTo>
                    <a:pt x="162" y="34"/>
                  </a:lnTo>
                  <a:lnTo>
                    <a:pt x="160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56" y="34"/>
                  </a:lnTo>
                  <a:lnTo>
                    <a:pt x="156" y="34"/>
                  </a:lnTo>
                  <a:lnTo>
                    <a:pt x="154" y="34"/>
                  </a:lnTo>
                  <a:lnTo>
                    <a:pt x="154" y="36"/>
                  </a:lnTo>
                  <a:lnTo>
                    <a:pt x="154" y="36"/>
                  </a:lnTo>
                  <a:lnTo>
                    <a:pt x="154" y="38"/>
                  </a:lnTo>
                  <a:lnTo>
                    <a:pt x="152" y="40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0" y="46"/>
                  </a:lnTo>
                  <a:lnTo>
                    <a:pt x="150" y="46"/>
                  </a:lnTo>
                  <a:lnTo>
                    <a:pt x="150" y="46"/>
                  </a:lnTo>
                  <a:lnTo>
                    <a:pt x="148" y="48"/>
                  </a:lnTo>
                  <a:lnTo>
                    <a:pt x="146" y="48"/>
                  </a:lnTo>
                  <a:lnTo>
                    <a:pt x="144" y="50"/>
                  </a:lnTo>
                  <a:lnTo>
                    <a:pt x="142" y="50"/>
                  </a:lnTo>
                  <a:lnTo>
                    <a:pt x="138" y="52"/>
                  </a:lnTo>
                  <a:lnTo>
                    <a:pt x="134" y="52"/>
                  </a:lnTo>
                  <a:lnTo>
                    <a:pt x="132" y="54"/>
                  </a:lnTo>
                  <a:lnTo>
                    <a:pt x="128" y="5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0" y="58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6" y="62"/>
                  </a:lnTo>
                  <a:lnTo>
                    <a:pt x="114" y="62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2" y="66"/>
                  </a:lnTo>
                  <a:lnTo>
                    <a:pt x="112" y="66"/>
                  </a:lnTo>
                  <a:lnTo>
                    <a:pt x="110" y="66"/>
                  </a:lnTo>
                  <a:lnTo>
                    <a:pt x="108" y="66"/>
                  </a:lnTo>
                  <a:lnTo>
                    <a:pt x="106" y="66"/>
                  </a:lnTo>
                  <a:lnTo>
                    <a:pt x="104" y="66"/>
                  </a:lnTo>
                  <a:lnTo>
                    <a:pt x="100" y="64"/>
                  </a:lnTo>
                  <a:lnTo>
                    <a:pt x="98" y="64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2" y="62"/>
                  </a:lnTo>
                  <a:lnTo>
                    <a:pt x="90" y="60"/>
                  </a:lnTo>
                  <a:lnTo>
                    <a:pt x="88" y="58"/>
                  </a:lnTo>
                  <a:lnTo>
                    <a:pt x="86" y="56"/>
                  </a:lnTo>
                  <a:lnTo>
                    <a:pt x="82" y="54"/>
                  </a:lnTo>
                  <a:lnTo>
                    <a:pt x="78" y="50"/>
                  </a:lnTo>
                  <a:lnTo>
                    <a:pt x="74" y="48"/>
                  </a:lnTo>
                  <a:lnTo>
                    <a:pt x="70" y="46"/>
                  </a:lnTo>
                  <a:lnTo>
                    <a:pt x="68" y="44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38"/>
                  </a:lnTo>
                  <a:lnTo>
                    <a:pt x="62" y="36"/>
                  </a:lnTo>
                  <a:lnTo>
                    <a:pt x="62" y="32"/>
                  </a:lnTo>
                  <a:lnTo>
                    <a:pt x="60" y="30"/>
                  </a:lnTo>
                  <a:lnTo>
                    <a:pt x="60" y="24"/>
                  </a:lnTo>
                  <a:lnTo>
                    <a:pt x="60" y="22"/>
                  </a:lnTo>
                  <a:lnTo>
                    <a:pt x="60" y="18"/>
                  </a:lnTo>
                  <a:lnTo>
                    <a:pt x="60" y="16"/>
                  </a:lnTo>
                  <a:lnTo>
                    <a:pt x="58" y="12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2"/>
                  </a:lnTo>
                  <a:lnTo>
                    <a:pt x="30" y="22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0" y="14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68" name="Freeform 77">
              <a:extLst>
                <a:ext uri="{FF2B5EF4-FFF2-40B4-BE49-F238E27FC236}">
                  <a16:creationId xmlns:a16="http://schemas.microsoft.com/office/drawing/2014/main" id="{B390B138-398F-4980-8C39-E66C38655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5354" y="3909069"/>
              <a:ext cx="23918" cy="43459"/>
            </a:xfrm>
            <a:custGeom>
              <a:avLst/>
              <a:gdLst>
                <a:gd name="T0" fmla="*/ 10 w 14"/>
                <a:gd name="T1" fmla="*/ 26 h 26"/>
                <a:gd name="T2" fmla="*/ 10 w 14"/>
                <a:gd name="T3" fmla="*/ 26 h 26"/>
                <a:gd name="T4" fmla="*/ 8 w 14"/>
                <a:gd name="T5" fmla="*/ 24 h 26"/>
                <a:gd name="T6" fmla="*/ 6 w 14"/>
                <a:gd name="T7" fmla="*/ 22 h 26"/>
                <a:gd name="T8" fmla="*/ 4 w 14"/>
                <a:gd name="T9" fmla="*/ 20 h 26"/>
                <a:gd name="T10" fmla="*/ 2 w 14"/>
                <a:gd name="T11" fmla="*/ 20 h 26"/>
                <a:gd name="T12" fmla="*/ 2 w 14"/>
                <a:gd name="T13" fmla="*/ 20 h 26"/>
                <a:gd name="T14" fmla="*/ 2 w 14"/>
                <a:gd name="T15" fmla="*/ 18 h 26"/>
                <a:gd name="T16" fmla="*/ 0 w 14"/>
                <a:gd name="T17" fmla="*/ 18 h 26"/>
                <a:gd name="T18" fmla="*/ 0 w 14"/>
                <a:gd name="T19" fmla="*/ 14 h 26"/>
                <a:gd name="T20" fmla="*/ 0 w 14"/>
                <a:gd name="T21" fmla="*/ 12 h 26"/>
                <a:gd name="T22" fmla="*/ 0 w 14"/>
                <a:gd name="T23" fmla="*/ 8 h 26"/>
                <a:gd name="T24" fmla="*/ 0 w 14"/>
                <a:gd name="T25" fmla="*/ 4 h 26"/>
                <a:gd name="T26" fmla="*/ 0 w 14"/>
                <a:gd name="T27" fmla="*/ 0 h 26"/>
                <a:gd name="T28" fmla="*/ 0 w 14"/>
                <a:gd name="T29" fmla="*/ 2 h 26"/>
                <a:gd name="T30" fmla="*/ 4 w 14"/>
                <a:gd name="T31" fmla="*/ 2 h 26"/>
                <a:gd name="T32" fmla="*/ 6 w 14"/>
                <a:gd name="T33" fmla="*/ 4 h 26"/>
                <a:gd name="T34" fmla="*/ 8 w 14"/>
                <a:gd name="T35" fmla="*/ 4 h 26"/>
                <a:gd name="T36" fmla="*/ 10 w 14"/>
                <a:gd name="T37" fmla="*/ 4 h 26"/>
                <a:gd name="T38" fmla="*/ 10 w 14"/>
                <a:gd name="T39" fmla="*/ 6 h 26"/>
                <a:gd name="T40" fmla="*/ 12 w 14"/>
                <a:gd name="T41" fmla="*/ 8 h 26"/>
                <a:gd name="T42" fmla="*/ 14 w 14"/>
                <a:gd name="T43" fmla="*/ 10 h 26"/>
                <a:gd name="T44" fmla="*/ 14 w 14"/>
                <a:gd name="T45" fmla="*/ 10 h 26"/>
                <a:gd name="T46" fmla="*/ 14 w 14"/>
                <a:gd name="T47" fmla="*/ 12 h 26"/>
                <a:gd name="T48" fmla="*/ 14 w 14"/>
                <a:gd name="T49" fmla="*/ 12 h 26"/>
                <a:gd name="T50" fmla="*/ 14 w 14"/>
                <a:gd name="T51" fmla="*/ 12 h 26"/>
                <a:gd name="T52" fmla="*/ 14 w 14"/>
                <a:gd name="T53" fmla="*/ 14 h 26"/>
                <a:gd name="T54" fmla="*/ 12 w 14"/>
                <a:gd name="T55" fmla="*/ 18 h 26"/>
                <a:gd name="T56" fmla="*/ 12 w 14"/>
                <a:gd name="T57" fmla="*/ 20 h 26"/>
                <a:gd name="T58" fmla="*/ 10 w 14"/>
                <a:gd name="T59" fmla="*/ 24 h 26"/>
                <a:gd name="T60" fmla="*/ 10 w 14"/>
                <a:gd name="T6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" h="26">
                  <a:moveTo>
                    <a:pt x="10" y="26"/>
                  </a:moveTo>
                  <a:lnTo>
                    <a:pt x="10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10" y="2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69" name="Freeform 82">
              <a:extLst>
                <a:ext uri="{FF2B5EF4-FFF2-40B4-BE49-F238E27FC236}">
                  <a16:creationId xmlns:a16="http://schemas.microsoft.com/office/drawing/2014/main" id="{09902D07-486A-4492-BBA3-F6056DEF0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9772" y="3955872"/>
              <a:ext cx="187927" cy="237354"/>
            </a:xfrm>
            <a:custGeom>
              <a:avLst/>
              <a:gdLst>
                <a:gd name="T0" fmla="*/ 40 w 110"/>
                <a:gd name="T1" fmla="*/ 36 h 142"/>
                <a:gd name="T2" fmla="*/ 50 w 110"/>
                <a:gd name="T3" fmla="*/ 46 h 142"/>
                <a:gd name="T4" fmla="*/ 52 w 110"/>
                <a:gd name="T5" fmla="*/ 50 h 142"/>
                <a:gd name="T6" fmla="*/ 52 w 110"/>
                <a:gd name="T7" fmla="*/ 56 h 142"/>
                <a:gd name="T8" fmla="*/ 52 w 110"/>
                <a:gd name="T9" fmla="*/ 64 h 142"/>
                <a:gd name="T10" fmla="*/ 50 w 110"/>
                <a:gd name="T11" fmla="*/ 72 h 142"/>
                <a:gd name="T12" fmla="*/ 48 w 110"/>
                <a:gd name="T13" fmla="*/ 82 h 142"/>
                <a:gd name="T14" fmla="*/ 44 w 110"/>
                <a:gd name="T15" fmla="*/ 88 h 142"/>
                <a:gd name="T16" fmla="*/ 40 w 110"/>
                <a:gd name="T17" fmla="*/ 92 h 142"/>
                <a:gd name="T18" fmla="*/ 34 w 110"/>
                <a:gd name="T19" fmla="*/ 96 h 142"/>
                <a:gd name="T20" fmla="*/ 26 w 110"/>
                <a:gd name="T21" fmla="*/ 98 h 142"/>
                <a:gd name="T22" fmla="*/ 12 w 110"/>
                <a:gd name="T23" fmla="*/ 100 h 142"/>
                <a:gd name="T24" fmla="*/ 2 w 110"/>
                <a:gd name="T25" fmla="*/ 108 h 142"/>
                <a:gd name="T26" fmla="*/ 16 w 110"/>
                <a:gd name="T27" fmla="*/ 142 h 142"/>
                <a:gd name="T28" fmla="*/ 26 w 110"/>
                <a:gd name="T29" fmla="*/ 140 h 142"/>
                <a:gd name="T30" fmla="*/ 36 w 110"/>
                <a:gd name="T31" fmla="*/ 138 h 142"/>
                <a:gd name="T32" fmla="*/ 40 w 110"/>
                <a:gd name="T33" fmla="*/ 138 h 142"/>
                <a:gd name="T34" fmla="*/ 42 w 110"/>
                <a:gd name="T35" fmla="*/ 134 h 142"/>
                <a:gd name="T36" fmla="*/ 46 w 110"/>
                <a:gd name="T37" fmla="*/ 128 h 142"/>
                <a:gd name="T38" fmla="*/ 48 w 110"/>
                <a:gd name="T39" fmla="*/ 122 h 142"/>
                <a:gd name="T40" fmla="*/ 52 w 110"/>
                <a:gd name="T41" fmla="*/ 122 h 142"/>
                <a:gd name="T42" fmla="*/ 58 w 110"/>
                <a:gd name="T43" fmla="*/ 120 h 142"/>
                <a:gd name="T44" fmla="*/ 62 w 110"/>
                <a:gd name="T45" fmla="*/ 118 h 142"/>
                <a:gd name="T46" fmla="*/ 68 w 110"/>
                <a:gd name="T47" fmla="*/ 112 h 142"/>
                <a:gd name="T48" fmla="*/ 70 w 110"/>
                <a:gd name="T49" fmla="*/ 110 h 142"/>
                <a:gd name="T50" fmla="*/ 74 w 110"/>
                <a:gd name="T51" fmla="*/ 108 h 142"/>
                <a:gd name="T52" fmla="*/ 82 w 110"/>
                <a:gd name="T53" fmla="*/ 108 h 142"/>
                <a:gd name="T54" fmla="*/ 84 w 110"/>
                <a:gd name="T55" fmla="*/ 106 h 142"/>
                <a:gd name="T56" fmla="*/ 86 w 110"/>
                <a:gd name="T57" fmla="*/ 104 h 142"/>
                <a:gd name="T58" fmla="*/ 88 w 110"/>
                <a:gd name="T59" fmla="*/ 98 h 142"/>
                <a:gd name="T60" fmla="*/ 88 w 110"/>
                <a:gd name="T61" fmla="*/ 88 h 142"/>
                <a:gd name="T62" fmla="*/ 88 w 110"/>
                <a:gd name="T63" fmla="*/ 80 h 142"/>
                <a:gd name="T64" fmla="*/ 88 w 110"/>
                <a:gd name="T65" fmla="*/ 76 h 142"/>
                <a:gd name="T66" fmla="*/ 92 w 110"/>
                <a:gd name="T67" fmla="*/ 70 h 142"/>
                <a:gd name="T68" fmla="*/ 96 w 110"/>
                <a:gd name="T69" fmla="*/ 68 h 142"/>
                <a:gd name="T70" fmla="*/ 102 w 110"/>
                <a:gd name="T71" fmla="*/ 64 h 142"/>
                <a:gd name="T72" fmla="*/ 104 w 110"/>
                <a:gd name="T73" fmla="*/ 62 h 142"/>
                <a:gd name="T74" fmla="*/ 106 w 110"/>
                <a:gd name="T75" fmla="*/ 60 h 142"/>
                <a:gd name="T76" fmla="*/ 110 w 110"/>
                <a:gd name="T77" fmla="*/ 48 h 142"/>
                <a:gd name="T78" fmla="*/ 110 w 110"/>
                <a:gd name="T79" fmla="*/ 42 h 142"/>
                <a:gd name="T80" fmla="*/ 110 w 110"/>
                <a:gd name="T81" fmla="*/ 36 h 142"/>
                <a:gd name="T82" fmla="*/ 108 w 110"/>
                <a:gd name="T83" fmla="*/ 34 h 142"/>
                <a:gd name="T84" fmla="*/ 106 w 110"/>
                <a:gd name="T85" fmla="*/ 32 h 142"/>
                <a:gd name="T86" fmla="*/ 100 w 110"/>
                <a:gd name="T87" fmla="*/ 32 h 142"/>
                <a:gd name="T88" fmla="*/ 98 w 110"/>
                <a:gd name="T89" fmla="*/ 30 h 142"/>
                <a:gd name="T90" fmla="*/ 96 w 110"/>
                <a:gd name="T91" fmla="*/ 28 h 142"/>
                <a:gd name="T92" fmla="*/ 96 w 110"/>
                <a:gd name="T93" fmla="*/ 26 h 142"/>
                <a:gd name="T94" fmla="*/ 96 w 110"/>
                <a:gd name="T95" fmla="*/ 18 h 142"/>
                <a:gd name="T96" fmla="*/ 96 w 110"/>
                <a:gd name="T97" fmla="*/ 16 h 142"/>
                <a:gd name="T98" fmla="*/ 94 w 110"/>
                <a:gd name="T99" fmla="*/ 14 h 142"/>
                <a:gd name="T100" fmla="*/ 88 w 110"/>
                <a:gd name="T101" fmla="*/ 14 h 142"/>
                <a:gd name="T102" fmla="*/ 80 w 110"/>
                <a:gd name="T103" fmla="*/ 14 h 142"/>
                <a:gd name="T104" fmla="*/ 72 w 110"/>
                <a:gd name="T105" fmla="*/ 14 h 142"/>
                <a:gd name="T106" fmla="*/ 70 w 110"/>
                <a:gd name="T107" fmla="*/ 12 h 142"/>
                <a:gd name="T108" fmla="*/ 66 w 110"/>
                <a:gd name="T109" fmla="*/ 8 h 142"/>
                <a:gd name="T110" fmla="*/ 60 w 110"/>
                <a:gd name="T1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0" h="142">
                  <a:moveTo>
                    <a:pt x="40" y="34"/>
                  </a:moveTo>
                  <a:lnTo>
                    <a:pt x="40" y="34"/>
                  </a:lnTo>
                  <a:lnTo>
                    <a:pt x="40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2" y="50"/>
                  </a:lnTo>
                  <a:lnTo>
                    <a:pt x="52" y="52"/>
                  </a:lnTo>
                  <a:lnTo>
                    <a:pt x="52" y="54"/>
                  </a:lnTo>
                  <a:lnTo>
                    <a:pt x="52" y="56"/>
                  </a:lnTo>
                  <a:lnTo>
                    <a:pt x="52" y="58"/>
                  </a:lnTo>
                  <a:lnTo>
                    <a:pt x="52" y="62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0" y="70"/>
                  </a:lnTo>
                  <a:lnTo>
                    <a:pt x="50" y="72"/>
                  </a:lnTo>
                  <a:lnTo>
                    <a:pt x="50" y="76"/>
                  </a:lnTo>
                  <a:lnTo>
                    <a:pt x="48" y="78"/>
                  </a:lnTo>
                  <a:lnTo>
                    <a:pt x="48" y="82"/>
                  </a:lnTo>
                  <a:lnTo>
                    <a:pt x="46" y="84"/>
                  </a:lnTo>
                  <a:lnTo>
                    <a:pt x="46" y="86"/>
                  </a:lnTo>
                  <a:lnTo>
                    <a:pt x="44" y="88"/>
                  </a:lnTo>
                  <a:lnTo>
                    <a:pt x="42" y="90"/>
                  </a:lnTo>
                  <a:lnTo>
                    <a:pt x="42" y="92"/>
                  </a:lnTo>
                  <a:lnTo>
                    <a:pt x="40" y="92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4" y="96"/>
                  </a:lnTo>
                  <a:lnTo>
                    <a:pt x="32" y="96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2" y="98"/>
                  </a:lnTo>
                  <a:lnTo>
                    <a:pt x="18" y="100"/>
                  </a:lnTo>
                  <a:lnTo>
                    <a:pt x="12" y="100"/>
                  </a:lnTo>
                  <a:lnTo>
                    <a:pt x="6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6" y="118"/>
                  </a:lnTo>
                  <a:lnTo>
                    <a:pt x="12" y="132"/>
                  </a:lnTo>
                  <a:lnTo>
                    <a:pt x="16" y="142"/>
                  </a:lnTo>
                  <a:lnTo>
                    <a:pt x="18" y="142"/>
                  </a:lnTo>
                  <a:lnTo>
                    <a:pt x="22" y="140"/>
                  </a:lnTo>
                  <a:lnTo>
                    <a:pt x="26" y="140"/>
                  </a:lnTo>
                  <a:lnTo>
                    <a:pt x="30" y="140"/>
                  </a:lnTo>
                  <a:lnTo>
                    <a:pt x="34" y="140"/>
                  </a:lnTo>
                  <a:lnTo>
                    <a:pt x="36" y="138"/>
                  </a:lnTo>
                  <a:lnTo>
                    <a:pt x="38" y="138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0" y="136"/>
                  </a:lnTo>
                  <a:lnTo>
                    <a:pt x="42" y="136"/>
                  </a:lnTo>
                  <a:lnTo>
                    <a:pt x="42" y="134"/>
                  </a:lnTo>
                  <a:lnTo>
                    <a:pt x="44" y="132"/>
                  </a:lnTo>
                  <a:lnTo>
                    <a:pt x="44" y="130"/>
                  </a:lnTo>
                  <a:lnTo>
                    <a:pt x="46" y="128"/>
                  </a:lnTo>
                  <a:lnTo>
                    <a:pt x="46" y="126"/>
                  </a:lnTo>
                  <a:lnTo>
                    <a:pt x="48" y="124"/>
                  </a:lnTo>
                  <a:lnTo>
                    <a:pt x="48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2" y="122"/>
                  </a:lnTo>
                  <a:lnTo>
                    <a:pt x="54" y="120"/>
                  </a:lnTo>
                  <a:lnTo>
                    <a:pt x="56" y="120"/>
                  </a:lnTo>
                  <a:lnTo>
                    <a:pt x="58" y="120"/>
                  </a:lnTo>
                  <a:lnTo>
                    <a:pt x="60" y="120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4" y="116"/>
                  </a:lnTo>
                  <a:lnTo>
                    <a:pt x="66" y="114"/>
                  </a:lnTo>
                  <a:lnTo>
                    <a:pt x="68" y="112"/>
                  </a:lnTo>
                  <a:lnTo>
                    <a:pt x="68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08"/>
                  </a:lnTo>
                  <a:lnTo>
                    <a:pt x="72" y="108"/>
                  </a:lnTo>
                  <a:lnTo>
                    <a:pt x="74" y="108"/>
                  </a:lnTo>
                  <a:lnTo>
                    <a:pt x="78" y="108"/>
                  </a:lnTo>
                  <a:lnTo>
                    <a:pt x="80" y="108"/>
                  </a:lnTo>
                  <a:lnTo>
                    <a:pt x="82" y="108"/>
                  </a:lnTo>
                  <a:lnTo>
                    <a:pt x="84" y="108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86" y="106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2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2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78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90" y="72"/>
                  </a:lnTo>
                  <a:lnTo>
                    <a:pt x="92" y="70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6" y="68"/>
                  </a:lnTo>
                  <a:lnTo>
                    <a:pt x="96" y="66"/>
                  </a:lnTo>
                  <a:lnTo>
                    <a:pt x="100" y="64"/>
                  </a:lnTo>
                  <a:lnTo>
                    <a:pt x="102" y="64"/>
                  </a:lnTo>
                  <a:lnTo>
                    <a:pt x="104" y="64"/>
                  </a:lnTo>
                  <a:lnTo>
                    <a:pt x="104" y="62"/>
                  </a:lnTo>
                  <a:lnTo>
                    <a:pt x="104" y="62"/>
                  </a:lnTo>
                  <a:lnTo>
                    <a:pt x="106" y="62"/>
                  </a:lnTo>
                  <a:lnTo>
                    <a:pt x="106" y="60"/>
                  </a:lnTo>
                  <a:lnTo>
                    <a:pt x="106" y="60"/>
                  </a:lnTo>
                  <a:lnTo>
                    <a:pt x="108" y="56"/>
                  </a:lnTo>
                  <a:lnTo>
                    <a:pt x="110" y="52"/>
                  </a:lnTo>
                  <a:lnTo>
                    <a:pt x="110" y="48"/>
                  </a:lnTo>
                  <a:lnTo>
                    <a:pt x="110" y="46"/>
                  </a:lnTo>
                  <a:lnTo>
                    <a:pt x="110" y="44"/>
                  </a:lnTo>
                  <a:lnTo>
                    <a:pt x="110" y="42"/>
                  </a:lnTo>
                  <a:lnTo>
                    <a:pt x="110" y="40"/>
                  </a:lnTo>
                  <a:lnTo>
                    <a:pt x="110" y="38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4"/>
                  </a:lnTo>
                  <a:lnTo>
                    <a:pt x="108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6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4" y="14"/>
                  </a:lnTo>
                  <a:lnTo>
                    <a:pt x="92" y="14"/>
                  </a:lnTo>
                  <a:lnTo>
                    <a:pt x="90" y="14"/>
                  </a:lnTo>
                  <a:lnTo>
                    <a:pt x="88" y="14"/>
                  </a:lnTo>
                  <a:lnTo>
                    <a:pt x="86" y="14"/>
                  </a:lnTo>
                  <a:lnTo>
                    <a:pt x="84" y="14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2"/>
                  </a:lnTo>
                  <a:lnTo>
                    <a:pt x="60" y="0"/>
                  </a:lnTo>
                  <a:lnTo>
                    <a:pt x="40" y="3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70" name="Freeform 84">
              <a:extLst>
                <a:ext uri="{FF2B5EF4-FFF2-40B4-BE49-F238E27FC236}">
                  <a16:creationId xmlns:a16="http://schemas.microsoft.com/office/drawing/2014/main" id="{79A75508-3DC2-48D6-8FA8-B22575023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2438" y="3922441"/>
              <a:ext cx="129841" cy="90261"/>
            </a:xfrm>
            <a:custGeom>
              <a:avLst/>
              <a:gdLst>
                <a:gd name="T0" fmla="*/ 0 w 76"/>
                <a:gd name="T1" fmla="*/ 18 h 54"/>
                <a:gd name="T2" fmla="*/ 2 w 76"/>
                <a:gd name="T3" fmla="*/ 26 h 54"/>
                <a:gd name="T4" fmla="*/ 4 w 76"/>
                <a:gd name="T5" fmla="*/ 38 h 54"/>
                <a:gd name="T6" fmla="*/ 6 w 76"/>
                <a:gd name="T7" fmla="*/ 44 h 54"/>
                <a:gd name="T8" fmla="*/ 8 w 76"/>
                <a:gd name="T9" fmla="*/ 48 h 54"/>
                <a:gd name="T10" fmla="*/ 10 w 76"/>
                <a:gd name="T11" fmla="*/ 50 h 54"/>
                <a:gd name="T12" fmla="*/ 12 w 76"/>
                <a:gd name="T13" fmla="*/ 52 h 54"/>
                <a:gd name="T14" fmla="*/ 14 w 76"/>
                <a:gd name="T15" fmla="*/ 52 h 54"/>
                <a:gd name="T16" fmla="*/ 18 w 76"/>
                <a:gd name="T17" fmla="*/ 54 h 54"/>
                <a:gd name="T18" fmla="*/ 26 w 76"/>
                <a:gd name="T19" fmla="*/ 54 h 54"/>
                <a:gd name="T20" fmla="*/ 34 w 76"/>
                <a:gd name="T21" fmla="*/ 54 h 54"/>
                <a:gd name="T22" fmla="*/ 44 w 76"/>
                <a:gd name="T23" fmla="*/ 54 h 54"/>
                <a:gd name="T24" fmla="*/ 56 w 76"/>
                <a:gd name="T25" fmla="*/ 54 h 54"/>
                <a:gd name="T26" fmla="*/ 76 w 76"/>
                <a:gd name="T27" fmla="*/ 16 h 54"/>
                <a:gd name="T28" fmla="*/ 76 w 76"/>
                <a:gd name="T29" fmla="*/ 10 h 54"/>
                <a:gd name="T30" fmla="*/ 74 w 76"/>
                <a:gd name="T31" fmla="*/ 6 h 54"/>
                <a:gd name="T32" fmla="*/ 74 w 76"/>
                <a:gd name="T33" fmla="*/ 4 h 54"/>
                <a:gd name="T34" fmla="*/ 72 w 76"/>
                <a:gd name="T35" fmla="*/ 2 h 54"/>
                <a:gd name="T36" fmla="*/ 72 w 76"/>
                <a:gd name="T37" fmla="*/ 2 h 54"/>
                <a:gd name="T38" fmla="*/ 70 w 76"/>
                <a:gd name="T39" fmla="*/ 2 h 54"/>
                <a:gd name="T40" fmla="*/ 68 w 76"/>
                <a:gd name="T41" fmla="*/ 2 h 54"/>
                <a:gd name="T42" fmla="*/ 66 w 76"/>
                <a:gd name="T43" fmla="*/ 4 h 54"/>
                <a:gd name="T44" fmla="*/ 62 w 76"/>
                <a:gd name="T45" fmla="*/ 12 h 54"/>
                <a:gd name="T46" fmla="*/ 60 w 76"/>
                <a:gd name="T47" fmla="*/ 16 h 54"/>
                <a:gd name="T48" fmla="*/ 56 w 76"/>
                <a:gd name="T49" fmla="*/ 22 h 54"/>
                <a:gd name="T50" fmla="*/ 52 w 76"/>
                <a:gd name="T51" fmla="*/ 26 h 54"/>
                <a:gd name="T52" fmla="*/ 50 w 76"/>
                <a:gd name="T53" fmla="*/ 28 h 54"/>
                <a:gd name="T54" fmla="*/ 44 w 76"/>
                <a:gd name="T55" fmla="*/ 30 h 54"/>
                <a:gd name="T56" fmla="*/ 38 w 76"/>
                <a:gd name="T57" fmla="*/ 32 h 54"/>
                <a:gd name="T58" fmla="*/ 30 w 76"/>
                <a:gd name="T59" fmla="*/ 32 h 54"/>
                <a:gd name="T60" fmla="*/ 26 w 76"/>
                <a:gd name="T61" fmla="*/ 32 h 54"/>
                <a:gd name="T62" fmla="*/ 22 w 76"/>
                <a:gd name="T63" fmla="*/ 32 h 54"/>
                <a:gd name="T64" fmla="*/ 16 w 76"/>
                <a:gd name="T65" fmla="*/ 28 h 54"/>
                <a:gd name="T66" fmla="*/ 12 w 76"/>
                <a:gd name="T67" fmla="*/ 26 h 54"/>
                <a:gd name="T68" fmla="*/ 6 w 76"/>
                <a:gd name="T69" fmla="*/ 2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6" h="54">
                  <a:moveTo>
                    <a:pt x="0" y="18"/>
                  </a:moveTo>
                  <a:lnTo>
                    <a:pt x="0" y="18"/>
                  </a:lnTo>
                  <a:lnTo>
                    <a:pt x="0" y="22"/>
                  </a:lnTo>
                  <a:lnTo>
                    <a:pt x="2" y="26"/>
                  </a:lnTo>
                  <a:lnTo>
                    <a:pt x="2" y="32"/>
                  </a:lnTo>
                  <a:lnTo>
                    <a:pt x="4" y="38"/>
                  </a:lnTo>
                  <a:lnTo>
                    <a:pt x="6" y="40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2" y="54"/>
                  </a:lnTo>
                  <a:lnTo>
                    <a:pt x="26" y="54"/>
                  </a:lnTo>
                  <a:lnTo>
                    <a:pt x="30" y="54"/>
                  </a:lnTo>
                  <a:lnTo>
                    <a:pt x="34" y="54"/>
                  </a:lnTo>
                  <a:lnTo>
                    <a:pt x="36" y="54"/>
                  </a:lnTo>
                  <a:lnTo>
                    <a:pt x="44" y="54"/>
                  </a:lnTo>
                  <a:lnTo>
                    <a:pt x="50" y="54"/>
                  </a:lnTo>
                  <a:lnTo>
                    <a:pt x="56" y="54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4"/>
                  </a:lnTo>
                  <a:lnTo>
                    <a:pt x="76" y="10"/>
                  </a:lnTo>
                  <a:lnTo>
                    <a:pt x="76" y="8"/>
                  </a:lnTo>
                  <a:lnTo>
                    <a:pt x="74" y="6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0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4"/>
                  </a:lnTo>
                  <a:lnTo>
                    <a:pt x="66" y="4"/>
                  </a:lnTo>
                  <a:lnTo>
                    <a:pt x="66" y="6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60" y="16"/>
                  </a:lnTo>
                  <a:lnTo>
                    <a:pt x="58" y="20"/>
                  </a:lnTo>
                  <a:lnTo>
                    <a:pt x="56" y="22"/>
                  </a:lnTo>
                  <a:lnTo>
                    <a:pt x="54" y="24"/>
                  </a:lnTo>
                  <a:lnTo>
                    <a:pt x="52" y="26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46" y="30"/>
                  </a:lnTo>
                  <a:lnTo>
                    <a:pt x="44" y="30"/>
                  </a:lnTo>
                  <a:lnTo>
                    <a:pt x="40" y="32"/>
                  </a:lnTo>
                  <a:lnTo>
                    <a:pt x="38" y="32"/>
                  </a:lnTo>
                  <a:lnTo>
                    <a:pt x="34" y="32"/>
                  </a:lnTo>
                  <a:lnTo>
                    <a:pt x="30" y="32"/>
                  </a:lnTo>
                  <a:lnTo>
                    <a:pt x="28" y="32"/>
                  </a:lnTo>
                  <a:lnTo>
                    <a:pt x="26" y="32"/>
                  </a:lnTo>
                  <a:lnTo>
                    <a:pt x="24" y="32"/>
                  </a:lnTo>
                  <a:lnTo>
                    <a:pt x="22" y="32"/>
                  </a:lnTo>
                  <a:lnTo>
                    <a:pt x="20" y="30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10" y="24"/>
                  </a:lnTo>
                  <a:lnTo>
                    <a:pt x="6" y="22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71" name="Freeform 86">
              <a:extLst>
                <a:ext uri="{FF2B5EF4-FFF2-40B4-BE49-F238E27FC236}">
                  <a16:creationId xmlns:a16="http://schemas.microsoft.com/office/drawing/2014/main" id="{EC0F46FD-D93C-4689-97F5-B7BA55D38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1255" y="3584798"/>
              <a:ext cx="246014" cy="270783"/>
            </a:xfrm>
            <a:custGeom>
              <a:avLst/>
              <a:gdLst>
                <a:gd name="T0" fmla="*/ 82 w 144"/>
                <a:gd name="T1" fmla="*/ 142 h 162"/>
                <a:gd name="T2" fmla="*/ 76 w 144"/>
                <a:gd name="T3" fmla="*/ 128 h 162"/>
                <a:gd name="T4" fmla="*/ 70 w 144"/>
                <a:gd name="T5" fmla="*/ 124 h 162"/>
                <a:gd name="T6" fmla="*/ 60 w 144"/>
                <a:gd name="T7" fmla="*/ 120 h 162"/>
                <a:gd name="T8" fmla="*/ 56 w 144"/>
                <a:gd name="T9" fmla="*/ 110 h 162"/>
                <a:gd name="T10" fmla="*/ 52 w 144"/>
                <a:gd name="T11" fmla="*/ 104 h 162"/>
                <a:gd name="T12" fmla="*/ 46 w 144"/>
                <a:gd name="T13" fmla="*/ 104 h 162"/>
                <a:gd name="T14" fmla="*/ 36 w 144"/>
                <a:gd name="T15" fmla="*/ 106 h 162"/>
                <a:gd name="T16" fmla="*/ 30 w 144"/>
                <a:gd name="T17" fmla="*/ 102 h 162"/>
                <a:gd name="T18" fmla="*/ 18 w 144"/>
                <a:gd name="T19" fmla="*/ 94 h 162"/>
                <a:gd name="T20" fmla="*/ 14 w 144"/>
                <a:gd name="T21" fmla="*/ 90 h 162"/>
                <a:gd name="T22" fmla="*/ 16 w 144"/>
                <a:gd name="T23" fmla="*/ 68 h 162"/>
                <a:gd name="T24" fmla="*/ 34 w 144"/>
                <a:gd name="T25" fmla="*/ 58 h 162"/>
                <a:gd name="T26" fmla="*/ 36 w 144"/>
                <a:gd name="T27" fmla="*/ 50 h 162"/>
                <a:gd name="T28" fmla="*/ 38 w 144"/>
                <a:gd name="T29" fmla="*/ 30 h 162"/>
                <a:gd name="T30" fmla="*/ 52 w 144"/>
                <a:gd name="T31" fmla="*/ 10 h 162"/>
                <a:gd name="T32" fmla="*/ 62 w 144"/>
                <a:gd name="T33" fmla="*/ 2 h 162"/>
                <a:gd name="T34" fmla="*/ 70 w 144"/>
                <a:gd name="T35" fmla="*/ 0 h 162"/>
                <a:gd name="T36" fmla="*/ 72 w 144"/>
                <a:gd name="T37" fmla="*/ 4 h 162"/>
                <a:gd name="T38" fmla="*/ 76 w 144"/>
                <a:gd name="T39" fmla="*/ 10 h 162"/>
                <a:gd name="T40" fmla="*/ 84 w 144"/>
                <a:gd name="T41" fmla="*/ 12 h 162"/>
                <a:gd name="T42" fmla="*/ 94 w 144"/>
                <a:gd name="T43" fmla="*/ 18 h 162"/>
                <a:gd name="T44" fmla="*/ 96 w 144"/>
                <a:gd name="T45" fmla="*/ 24 h 162"/>
                <a:gd name="T46" fmla="*/ 102 w 144"/>
                <a:gd name="T47" fmla="*/ 26 h 162"/>
                <a:gd name="T48" fmla="*/ 110 w 144"/>
                <a:gd name="T49" fmla="*/ 26 h 162"/>
                <a:gd name="T50" fmla="*/ 112 w 144"/>
                <a:gd name="T51" fmla="*/ 28 h 162"/>
                <a:gd name="T52" fmla="*/ 110 w 144"/>
                <a:gd name="T53" fmla="*/ 38 h 162"/>
                <a:gd name="T54" fmla="*/ 108 w 144"/>
                <a:gd name="T55" fmla="*/ 44 h 162"/>
                <a:gd name="T56" fmla="*/ 100 w 144"/>
                <a:gd name="T57" fmla="*/ 48 h 162"/>
                <a:gd name="T58" fmla="*/ 98 w 144"/>
                <a:gd name="T59" fmla="*/ 54 h 162"/>
                <a:gd name="T60" fmla="*/ 98 w 144"/>
                <a:gd name="T61" fmla="*/ 64 h 162"/>
                <a:gd name="T62" fmla="*/ 102 w 144"/>
                <a:gd name="T63" fmla="*/ 66 h 162"/>
                <a:gd name="T64" fmla="*/ 112 w 144"/>
                <a:gd name="T65" fmla="*/ 70 h 162"/>
                <a:gd name="T66" fmla="*/ 114 w 144"/>
                <a:gd name="T67" fmla="*/ 74 h 162"/>
                <a:gd name="T68" fmla="*/ 116 w 144"/>
                <a:gd name="T69" fmla="*/ 82 h 162"/>
                <a:gd name="T70" fmla="*/ 118 w 144"/>
                <a:gd name="T71" fmla="*/ 84 h 162"/>
                <a:gd name="T72" fmla="*/ 128 w 144"/>
                <a:gd name="T73" fmla="*/ 86 h 162"/>
                <a:gd name="T74" fmla="*/ 136 w 144"/>
                <a:gd name="T75" fmla="*/ 82 h 162"/>
                <a:gd name="T76" fmla="*/ 138 w 144"/>
                <a:gd name="T77" fmla="*/ 88 h 162"/>
                <a:gd name="T78" fmla="*/ 138 w 144"/>
                <a:gd name="T79" fmla="*/ 96 h 162"/>
                <a:gd name="T80" fmla="*/ 134 w 144"/>
                <a:gd name="T81" fmla="*/ 106 h 162"/>
                <a:gd name="T82" fmla="*/ 134 w 144"/>
                <a:gd name="T83" fmla="*/ 110 h 162"/>
                <a:gd name="T84" fmla="*/ 138 w 144"/>
                <a:gd name="T85" fmla="*/ 112 h 162"/>
                <a:gd name="T86" fmla="*/ 142 w 144"/>
                <a:gd name="T87" fmla="*/ 114 h 162"/>
                <a:gd name="T88" fmla="*/ 144 w 144"/>
                <a:gd name="T89" fmla="*/ 126 h 162"/>
                <a:gd name="T90" fmla="*/ 124 w 144"/>
                <a:gd name="T91" fmla="*/ 132 h 162"/>
                <a:gd name="T92" fmla="*/ 122 w 144"/>
                <a:gd name="T93" fmla="*/ 136 h 162"/>
                <a:gd name="T94" fmla="*/ 120 w 144"/>
                <a:gd name="T95" fmla="*/ 150 h 162"/>
                <a:gd name="T96" fmla="*/ 114 w 144"/>
                <a:gd name="T97" fmla="*/ 160 h 162"/>
                <a:gd name="T98" fmla="*/ 108 w 144"/>
                <a:gd name="T99" fmla="*/ 162 h 162"/>
                <a:gd name="T100" fmla="*/ 100 w 144"/>
                <a:gd name="T101" fmla="*/ 158 h 162"/>
                <a:gd name="T102" fmla="*/ 86 w 144"/>
                <a:gd name="T103" fmla="*/ 14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" h="162">
                  <a:moveTo>
                    <a:pt x="86" y="148"/>
                  </a:moveTo>
                  <a:lnTo>
                    <a:pt x="86" y="148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2" y="142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78" y="132"/>
                  </a:lnTo>
                  <a:lnTo>
                    <a:pt x="76" y="130"/>
                  </a:lnTo>
                  <a:lnTo>
                    <a:pt x="76" y="128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0" y="124"/>
                  </a:lnTo>
                  <a:lnTo>
                    <a:pt x="66" y="122"/>
                  </a:lnTo>
                  <a:lnTo>
                    <a:pt x="64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58" y="118"/>
                  </a:lnTo>
                  <a:lnTo>
                    <a:pt x="58" y="116"/>
                  </a:lnTo>
                  <a:lnTo>
                    <a:pt x="56" y="112"/>
                  </a:lnTo>
                  <a:lnTo>
                    <a:pt x="56" y="110"/>
                  </a:lnTo>
                  <a:lnTo>
                    <a:pt x="54" y="108"/>
                  </a:lnTo>
                  <a:lnTo>
                    <a:pt x="54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4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0" y="106"/>
                  </a:lnTo>
                  <a:lnTo>
                    <a:pt x="38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2" y="104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8" y="100"/>
                  </a:lnTo>
                  <a:lnTo>
                    <a:pt x="24" y="98"/>
                  </a:lnTo>
                  <a:lnTo>
                    <a:pt x="22" y="96"/>
                  </a:lnTo>
                  <a:lnTo>
                    <a:pt x="20" y="94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16" y="92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2" y="92"/>
                  </a:lnTo>
                  <a:lnTo>
                    <a:pt x="10" y="92"/>
                  </a:lnTo>
                  <a:lnTo>
                    <a:pt x="0" y="76"/>
                  </a:lnTo>
                  <a:lnTo>
                    <a:pt x="6" y="74"/>
                  </a:lnTo>
                  <a:lnTo>
                    <a:pt x="16" y="68"/>
                  </a:lnTo>
                  <a:lnTo>
                    <a:pt x="20" y="66"/>
                  </a:lnTo>
                  <a:lnTo>
                    <a:pt x="26" y="62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6" y="54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8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42" y="20"/>
                  </a:lnTo>
                  <a:lnTo>
                    <a:pt x="48" y="14"/>
                  </a:lnTo>
                  <a:lnTo>
                    <a:pt x="50" y="12"/>
                  </a:lnTo>
                  <a:lnTo>
                    <a:pt x="52" y="10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4"/>
                  </a:lnTo>
                  <a:lnTo>
                    <a:pt x="74" y="6"/>
                  </a:lnTo>
                  <a:lnTo>
                    <a:pt x="74" y="8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4" y="14"/>
                  </a:lnTo>
                  <a:lnTo>
                    <a:pt x="94" y="18"/>
                  </a:lnTo>
                  <a:lnTo>
                    <a:pt x="94" y="20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100" y="26"/>
                  </a:lnTo>
                  <a:lnTo>
                    <a:pt x="102" y="26"/>
                  </a:lnTo>
                  <a:lnTo>
                    <a:pt x="104" y="26"/>
                  </a:lnTo>
                  <a:lnTo>
                    <a:pt x="106" y="26"/>
                  </a:lnTo>
                  <a:lnTo>
                    <a:pt x="108" y="26"/>
                  </a:lnTo>
                  <a:lnTo>
                    <a:pt x="110" y="26"/>
                  </a:lnTo>
                  <a:lnTo>
                    <a:pt x="110" y="26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0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06" y="44"/>
                  </a:lnTo>
                  <a:lnTo>
                    <a:pt x="104" y="46"/>
                  </a:lnTo>
                  <a:lnTo>
                    <a:pt x="102" y="46"/>
                  </a:lnTo>
                  <a:lnTo>
                    <a:pt x="102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0"/>
                  </a:lnTo>
                  <a:lnTo>
                    <a:pt x="98" y="50"/>
                  </a:lnTo>
                  <a:lnTo>
                    <a:pt x="98" y="52"/>
                  </a:lnTo>
                  <a:lnTo>
                    <a:pt x="98" y="54"/>
                  </a:lnTo>
                  <a:lnTo>
                    <a:pt x="98" y="56"/>
                  </a:lnTo>
                  <a:lnTo>
                    <a:pt x="98" y="60"/>
                  </a:lnTo>
                  <a:lnTo>
                    <a:pt x="98" y="62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6"/>
                  </a:lnTo>
                  <a:lnTo>
                    <a:pt x="102" y="66"/>
                  </a:lnTo>
                  <a:lnTo>
                    <a:pt x="102" y="66"/>
                  </a:lnTo>
                  <a:lnTo>
                    <a:pt x="104" y="66"/>
                  </a:lnTo>
                  <a:lnTo>
                    <a:pt x="106" y="68"/>
                  </a:lnTo>
                  <a:lnTo>
                    <a:pt x="108" y="68"/>
                  </a:lnTo>
                  <a:lnTo>
                    <a:pt x="110" y="68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4" y="70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4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4" y="78"/>
                  </a:lnTo>
                  <a:lnTo>
                    <a:pt x="114" y="80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20" y="86"/>
                  </a:lnTo>
                  <a:lnTo>
                    <a:pt x="124" y="86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28" y="86"/>
                  </a:lnTo>
                  <a:lnTo>
                    <a:pt x="130" y="84"/>
                  </a:lnTo>
                  <a:lnTo>
                    <a:pt x="132" y="84"/>
                  </a:lnTo>
                  <a:lnTo>
                    <a:pt x="134" y="84"/>
                  </a:lnTo>
                  <a:lnTo>
                    <a:pt x="134" y="82"/>
                  </a:lnTo>
                  <a:lnTo>
                    <a:pt x="136" y="82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8" y="86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8" y="90"/>
                  </a:lnTo>
                  <a:lnTo>
                    <a:pt x="138" y="92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98"/>
                  </a:lnTo>
                  <a:lnTo>
                    <a:pt x="138" y="98"/>
                  </a:lnTo>
                  <a:lnTo>
                    <a:pt x="136" y="102"/>
                  </a:lnTo>
                  <a:lnTo>
                    <a:pt x="134" y="104"/>
                  </a:lnTo>
                  <a:lnTo>
                    <a:pt x="134" y="106"/>
                  </a:lnTo>
                  <a:lnTo>
                    <a:pt x="134" y="108"/>
                  </a:lnTo>
                  <a:lnTo>
                    <a:pt x="134" y="108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6" y="112"/>
                  </a:lnTo>
                  <a:lnTo>
                    <a:pt x="138" y="112"/>
                  </a:lnTo>
                  <a:lnTo>
                    <a:pt x="138" y="112"/>
                  </a:lnTo>
                  <a:lnTo>
                    <a:pt x="140" y="112"/>
                  </a:lnTo>
                  <a:lnTo>
                    <a:pt x="142" y="112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4" y="116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4" y="126"/>
                  </a:lnTo>
                  <a:lnTo>
                    <a:pt x="144" y="128"/>
                  </a:lnTo>
                  <a:lnTo>
                    <a:pt x="130" y="132"/>
                  </a:lnTo>
                  <a:lnTo>
                    <a:pt x="128" y="132"/>
                  </a:lnTo>
                  <a:lnTo>
                    <a:pt x="126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2" y="132"/>
                  </a:lnTo>
                  <a:lnTo>
                    <a:pt x="122" y="134"/>
                  </a:lnTo>
                  <a:lnTo>
                    <a:pt x="122" y="134"/>
                  </a:lnTo>
                  <a:lnTo>
                    <a:pt x="122" y="136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0" y="142"/>
                  </a:lnTo>
                  <a:lnTo>
                    <a:pt x="120" y="146"/>
                  </a:lnTo>
                  <a:lnTo>
                    <a:pt x="120" y="150"/>
                  </a:lnTo>
                  <a:lnTo>
                    <a:pt x="120" y="152"/>
                  </a:lnTo>
                  <a:lnTo>
                    <a:pt x="120" y="154"/>
                  </a:lnTo>
                  <a:lnTo>
                    <a:pt x="120" y="156"/>
                  </a:lnTo>
                  <a:lnTo>
                    <a:pt x="116" y="158"/>
                  </a:lnTo>
                  <a:lnTo>
                    <a:pt x="114" y="160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08" y="162"/>
                  </a:lnTo>
                  <a:lnTo>
                    <a:pt x="106" y="162"/>
                  </a:lnTo>
                  <a:lnTo>
                    <a:pt x="106" y="162"/>
                  </a:lnTo>
                  <a:lnTo>
                    <a:pt x="104" y="160"/>
                  </a:lnTo>
                  <a:lnTo>
                    <a:pt x="102" y="160"/>
                  </a:lnTo>
                  <a:lnTo>
                    <a:pt x="100" y="158"/>
                  </a:lnTo>
                  <a:lnTo>
                    <a:pt x="96" y="156"/>
                  </a:lnTo>
                  <a:lnTo>
                    <a:pt x="92" y="154"/>
                  </a:lnTo>
                  <a:lnTo>
                    <a:pt x="90" y="152"/>
                  </a:lnTo>
                  <a:lnTo>
                    <a:pt x="88" y="150"/>
                  </a:lnTo>
                  <a:lnTo>
                    <a:pt x="86" y="14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72" name="Freeform 90">
              <a:extLst>
                <a:ext uri="{FF2B5EF4-FFF2-40B4-BE49-F238E27FC236}">
                  <a16:creationId xmlns:a16="http://schemas.microsoft.com/office/drawing/2014/main" id="{42090E1B-4B50-4347-92A8-3714D3DF8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330" y="3718518"/>
              <a:ext cx="27335" cy="86918"/>
            </a:xfrm>
            <a:custGeom>
              <a:avLst/>
              <a:gdLst>
                <a:gd name="T0" fmla="*/ 0 w 16"/>
                <a:gd name="T1" fmla="*/ 30 h 52"/>
                <a:gd name="T2" fmla="*/ 0 w 16"/>
                <a:gd name="T3" fmla="*/ 30 h 52"/>
                <a:gd name="T4" fmla="*/ 0 w 16"/>
                <a:gd name="T5" fmla="*/ 32 h 52"/>
                <a:gd name="T6" fmla="*/ 0 w 16"/>
                <a:gd name="T7" fmla="*/ 32 h 52"/>
                <a:gd name="T8" fmla="*/ 0 w 16"/>
                <a:gd name="T9" fmla="*/ 34 h 52"/>
                <a:gd name="T10" fmla="*/ 2 w 16"/>
                <a:gd name="T11" fmla="*/ 36 h 52"/>
                <a:gd name="T12" fmla="*/ 4 w 16"/>
                <a:gd name="T13" fmla="*/ 40 h 52"/>
                <a:gd name="T14" fmla="*/ 6 w 16"/>
                <a:gd name="T15" fmla="*/ 44 h 52"/>
                <a:gd name="T16" fmla="*/ 8 w 16"/>
                <a:gd name="T17" fmla="*/ 46 h 52"/>
                <a:gd name="T18" fmla="*/ 10 w 16"/>
                <a:gd name="T19" fmla="*/ 50 h 52"/>
                <a:gd name="T20" fmla="*/ 12 w 16"/>
                <a:gd name="T21" fmla="*/ 52 h 52"/>
                <a:gd name="T22" fmla="*/ 14 w 16"/>
                <a:gd name="T23" fmla="*/ 42 h 52"/>
                <a:gd name="T24" fmla="*/ 14 w 16"/>
                <a:gd name="T25" fmla="*/ 36 h 52"/>
                <a:gd name="T26" fmla="*/ 16 w 16"/>
                <a:gd name="T27" fmla="*/ 30 h 52"/>
                <a:gd name="T28" fmla="*/ 16 w 16"/>
                <a:gd name="T29" fmla="*/ 26 h 52"/>
                <a:gd name="T30" fmla="*/ 16 w 16"/>
                <a:gd name="T31" fmla="*/ 22 h 52"/>
                <a:gd name="T32" fmla="*/ 16 w 16"/>
                <a:gd name="T33" fmla="*/ 12 h 52"/>
                <a:gd name="T34" fmla="*/ 16 w 16"/>
                <a:gd name="T35" fmla="*/ 0 h 52"/>
                <a:gd name="T36" fmla="*/ 12 w 16"/>
                <a:gd name="T37" fmla="*/ 4 h 52"/>
                <a:gd name="T38" fmla="*/ 10 w 16"/>
                <a:gd name="T39" fmla="*/ 8 h 52"/>
                <a:gd name="T40" fmla="*/ 8 w 16"/>
                <a:gd name="T41" fmla="*/ 12 h 52"/>
                <a:gd name="T42" fmla="*/ 4 w 16"/>
                <a:gd name="T43" fmla="*/ 16 h 52"/>
                <a:gd name="T44" fmla="*/ 2 w 16"/>
                <a:gd name="T45" fmla="*/ 20 h 52"/>
                <a:gd name="T46" fmla="*/ 2 w 16"/>
                <a:gd name="T47" fmla="*/ 22 h 52"/>
                <a:gd name="T48" fmla="*/ 0 w 16"/>
                <a:gd name="T49" fmla="*/ 24 h 52"/>
                <a:gd name="T50" fmla="*/ 0 w 16"/>
                <a:gd name="T51" fmla="*/ 26 h 52"/>
                <a:gd name="T52" fmla="*/ 0 w 16"/>
                <a:gd name="T53" fmla="*/ 28 h 52"/>
                <a:gd name="T54" fmla="*/ 0 w 16"/>
                <a:gd name="T55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" h="52">
                  <a:moveTo>
                    <a:pt x="0" y="30"/>
                  </a:move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4" y="40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10" y="50"/>
                  </a:lnTo>
                  <a:lnTo>
                    <a:pt x="12" y="52"/>
                  </a:lnTo>
                  <a:lnTo>
                    <a:pt x="14" y="42"/>
                  </a:lnTo>
                  <a:lnTo>
                    <a:pt x="14" y="36"/>
                  </a:lnTo>
                  <a:lnTo>
                    <a:pt x="16" y="30"/>
                  </a:lnTo>
                  <a:lnTo>
                    <a:pt x="16" y="26"/>
                  </a:lnTo>
                  <a:lnTo>
                    <a:pt x="16" y="22"/>
                  </a:lnTo>
                  <a:lnTo>
                    <a:pt x="16" y="12"/>
                  </a:lnTo>
                  <a:lnTo>
                    <a:pt x="16" y="0"/>
                  </a:lnTo>
                  <a:lnTo>
                    <a:pt x="12" y="4"/>
                  </a:lnTo>
                  <a:lnTo>
                    <a:pt x="10" y="8"/>
                  </a:lnTo>
                  <a:lnTo>
                    <a:pt x="8" y="12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73" name="Freeform 92">
              <a:extLst>
                <a:ext uri="{FF2B5EF4-FFF2-40B4-BE49-F238E27FC236}">
                  <a16:creationId xmlns:a16="http://schemas.microsoft.com/office/drawing/2014/main" id="{2DCBE1AD-18BA-47BD-AA38-384FE62393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2667" y="3665031"/>
              <a:ext cx="37586" cy="53487"/>
            </a:xfrm>
            <a:custGeom>
              <a:avLst/>
              <a:gdLst>
                <a:gd name="T0" fmla="*/ 0 w 22"/>
                <a:gd name="T1" fmla="*/ 32 h 32"/>
                <a:gd name="T2" fmla="*/ 0 w 22"/>
                <a:gd name="T3" fmla="*/ 32 h 32"/>
                <a:gd name="T4" fmla="*/ 2 w 22"/>
                <a:gd name="T5" fmla="*/ 32 h 32"/>
                <a:gd name="T6" fmla="*/ 6 w 22"/>
                <a:gd name="T7" fmla="*/ 30 h 32"/>
                <a:gd name="T8" fmla="*/ 8 w 22"/>
                <a:gd name="T9" fmla="*/ 28 h 32"/>
                <a:gd name="T10" fmla="*/ 10 w 22"/>
                <a:gd name="T11" fmla="*/ 28 h 32"/>
                <a:gd name="T12" fmla="*/ 12 w 22"/>
                <a:gd name="T13" fmla="*/ 26 h 32"/>
                <a:gd name="T14" fmla="*/ 14 w 22"/>
                <a:gd name="T15" fmla="*/ 24 h 32"/>
                <a:gd name="T16" fmla="*/ 14 w 22"/>
                <a:gd name="T17" fmla="*/ 24 h 32"/>
                <a:gd name="T18" fmla="*/ 16 w 22"/>
                <a:gd name="T19" fmla="*/ 22 h 32"/>
                <a:gd name="T20" fmla="*/ 18 w 22"/>
                <a:gd name="T21" fmla="*/ 20 h 32"/>
                <a:gd name="T22" fmla="*/ 18 w 22"/>
                <a:gd name="T23" fmla="*/ 16 h 32"/>
                <a:gd name="T24" fmla="*/ 20 w 22"/>
                <a:gd name="T25" fmla="*/ 14 h 32"/>
                <a:gd name="T26" fmla="*/ 20 w 22"/>
                <a:gd name="T27" fmla="*/ 12 h 32"/>
                <a:gd name="T28" fmla="*/ 20 w 22"/>
                <a:gd name="T29" fmla="*/ 12 h 32"/>
                <a:gd name="T30" fmla="*/ 22 w 22"/>
                <a:gd name="T31" fmla="*/ 10 h 32"/>
                <a:gd name="T32" fmla="*/ 22 w 22"/>
                <a:gd name="T33" fmla="*/ 10 h 32"/>
                <a:gd name="T34" fmla="*/ 20 w 22"/>
                <a:gd name="T35" fmla="*/ 8 h 32"/>
                <a:gd name="T36" fmla="*/ 20 w 22"/>
                <a:gd name="T37" fmla="*/ 8 h 32"/>
                <a:gd name="T38" fmla="*/ 20 w 22"/>
                <a:gd name="T39" fmla="*/ 8 h 32"/>
                <a:gd name="T40" fmla="*/ 20 w 22"/>
                <a:gd name="T41" fmla="*/ 6 h 32"/>
                <a:gd name="T42" fmla="*/ 18 w 22"/>
                <a:gd name="T43" fmla="*/ 6 h 32"/>
                <a:gd name="T44" fmla="*/ 16 w 22"/>
                <a:gd name="T45" fmla="*/ 4 h 32"/>
                <a:gd name="T46" fmla="*/ 14 w 22"/>
                <a:gd name="T47" fmla="*/ 2 h 32"/>
                <a:gd name="T48" fmla="*/ 12 w 22"/>
                <a:gd name="T49" fmla="*/ 2 h 32"/>
                <a:gd name="T50" fmla="*/ 10 w 22"/>
                <a:gd name="T51" fmla="*/ 0 h 32"/>
                <a:gd name="T52" fmla="*/ 8 w 22"/>
                <a:gd name="T53" fmla="*/ 0 h 32"/>
                <a:gd name="T54" fmla="*/ 0 w 22"/>
                <a:gd name="T5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" h="32">
                  <a:moveTo>
                    <a:pt x="0" y="32"/>
                  </a:moveTo>
                  <a:lnTo>
                    <a:pt x="0" y="32"/>
                  </a:lnTo>
                  <a:lnTo>
                    <a:pt x="2" y="32"/>
                  </a:lnTo>
                  <a:lnTo>
                    <a:pt x="6" y="30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6" y="22"/>
                  </a:lnTo>
                  <a:lnTo>
                    <a:pt x="18" y="20"/>
                  </a:lnTo>
                  <a:lnTo>
                    <a:pt x="18" y="16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74" name="Freeform 124">
              <a:extLst>
                <a:ext uri="{FF2B5EF4-FFF2-40B4-BE49-F238E27FC236}">
                  <a16:creationId xmlns:a16="http://schemas.microsoft.com/office/drawing/2014/main" id="{B82C250A-0A5C-470D-9E79-CB7B50BAA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899" y="3096720"/>
              <a:ext cx="731206" cy="354358"/>
            </a:xfrm>
            <a:custGeom>
              <a:avLst/>
              <a:gdLst>
                <a:gd name="T0" fmla="*/ 14 w 428"/>
                <a:gd name="T1" fmla="*/ 72 h 212"/>
                <a:gd name="T2" fmla="*/ 50 w 428"/>
                <a:gd name="T3" fmla="*/ 64 h 212"/>
                <a:gd name="T4" fmla="*/ 72 w 428"/>
                <a:gd name="T5" fmla="*/ 64 h 212"/>
                <a:gd name="T6" fmla="*/ 80 w 428"/>
                <a:gd name="T7" fmla="*/ 72 h 212"/>
                <a:gd name="T8" fmla="*/ 92 w 428"/>
                <a:gd name="T9" fmla="*/ 74 h 212"/>
                <a:gd name="T10" fmla="*/ 104 w 428"/>
                <a:gd name="T11" fmla="*/ 80 h 212"/>
                <a:gd name="T12" fmla="*/ 124 w 428"/>
                <a:gd name="T13" fmla="*/ 78 h 212"/>
                <a:gd name="T14" fmla="*/ 128 w 428"/>
                <a:gd name="T15" fmla="*/ 72 h 212"/>
                <a:gd name="T16" fmla="*/ 120 w 428"/>
                <a:gd name="T17" fmla="*/ 58 h 212"/>
                <a:gd name="T18" fmla="*/ 116 w 428"/>
                <a:gd name="T19" fmla="*/ 52 h 212"/>
                <a:gd name="T20" fmla="*/ 126 w 428"/>
                <a:gd name="T21" fmla="*/ 52 h 212"/>
                <a:gd name="T22" fmla="*/ 130 w 428"/>
                <a:gd name="T23" fmla="*/ 44 h 212"/>
                <a:gd name="T24" fmla="*/ 126 w 428"/>
                <a:gd name="T25" fmla="*/ 20 h 212"/>
                <a:gd name="T26" fmla="*/ 126 w 428"/>
                <a:gd name="T27" fmla="*/ 0 h 212"/>
                <a:gd name="T28" fmla="*/ 136 w 428"/>
                <a:gd name="T29" fmla="*/ 0 h 212"/>
                <a:gd name="T30" fmla="*/ 164 w 428"/>
                <a:gd name="T31" fmla="*/ 10 h 212"/>
                <a:gd name="T32" fmla="*/ 176 w 428"/>
                <a:gd name="T33" fmla="*/ 14 h 212"/>
                <a:gd name="T34" fmla="*/ 188 w 428"/>
                <a:gd name="T35" fmla="*/ 34 h 212"/>
                <a:gd name="T36" fmla="*/ 198 w 428"/>
                <a:gd name="T37" fmla="*/ 38 h 212"/>
                <a:gd name="T38" fmla="*/ 236 w 428"/>
                <a:gd name="T39" fmla="*/ 38 h 212"/>
                <a:gd name="T40" fmla="*/ 258 w 428"/>
                <a:gd name="T41" fmla="*/ 46 h 212"/>
                <a:gd name="T42" fmla="*/ 274 w 428"/>
                <a:gd name="T43" fmla="*/ 52 h 212"/>
                <a:gd name="T44" fmla="*/ 278 w 428"/>
                <a:gd name="T45" fmla="*/ 60 h 212"/>
                <a:gd name="T46" fmla="*/ 286 w 428"/>
                <a:gd name="T47" fmla="*/ 66 h 212"/>
                <a:gd name="T48" fmla="*/ 308 w 428"/>
                <a:gd name="T49" fmla="*/ 62 h 212"/>
                <a:gd name="T50" fmla="*/ 318 w 428"/>
                <a:gd name="T51" fmla="*/ 56 h 212"/>
                <a:gd name="T52" fmla="*/ 324 w 428"/>
                <a:gd name="T53" fmla="*/ 48 h 212"/>
                <a:gd name="T54" fmla="*/ 334 w 428"/>
                <a:gd name="T55" fmla="*/ 56 h 212"/>
                <a:gd name="T56" fmla="*/ 342 w 428"/>
                <a:gd name="T57" fmla="*/ 52 h 212"/>
                <a:gd name="T58" fmla="*/ 354 w 428"/>
                <a:gd name="T59" fmla="*/ 40 h 212"/>
                <a:gd name="T60" fmla="*/ 368 w 428"/>
                <a:gd name="T61" fmla="*/ 40 h 212"/>
                <a:gd name="T62" fmla="*/ 376 w 428"/>
                <a:gd name="T63" fmla="*/ 58 h 212"/>
                <a:gd name="T64" fmla="*/ 376 w 428"/>
                <a:gd name="T65" fmla="*/ 88 h 212"/>
                <a:gd name="T66" fmla="*/ 382 w 428"/>
                <a:gd name="T67" fmla="*/ 98 h 212"/>
                <a:gd name="T68" fmla="*/ 398 w 428"/>
                <a:gd name="T69" fmla="*/ 92 h 212"/>
                <a:gd name="T70" fmla="*/ 416 w 428"/>
                <a:gd name="T71" fmla="*/ 92 h 212"/>
                <a:gd name="T72" fmla="*/ 428 w 428"/>
                <a:gd name="T73" fmla="*/ 104 h 212"/>
                <a:gd name="T74" fmla="*/ 422 w 428"/>
                <a:gd name="T75" fmla="*/ 112 h 212"/>
                <a:gd name="T76" fmla="*/ 398 w 428"/>
                <a:gd name="T77" fmla="*/ 120 h 212"/>
                <a:gd name="T78" fmla="*/ 366 w 428"/>
                <a:gd name="T79" fmla="*/ 142 h 212"/>
                <a:gd name="T80" fmla="*/ 354 w 428"/>
                <a:gd name="T81" fmla="*/ 154 h 212"/>
                <a:gd name="T82" fmla="*/ 340 w 428"/>
                <a:gd name="T83" fmla="*/ 148 h 212"/>
                <a:gd name="T84" fmla="*/ 334 w 428"/>
                <a:gd name="T85" fmla="*/ 150 h 212"/>
                <a:gd name="T86" fmla="*/ 336 w 428"/>
                <a:gd name="T87" fmla="*/ 174 h 212"/>
                <a:gd name="T88" fmla="*/ 326 w 428"/>
                <a:gd name="T89" fmla="*/ 190 h 212"/>
                <a:gd name="T90" fmla="*/ 308 w 428"/>
                <a:gd name="T91" fmla="*/ 200 h 212"/>
                <a:gd name="T92" fmla="*/ 286 w 428"/>
                <a:gd name="T93" fmla="*/ 196 h 212"/>
                <a:gd name="T94" fmla="*/ 276 w 428"/>
                <a:gd name="T95" fmla="*/ 202 h 212"/>
                <a:gd name="T96" fmla="*/ 256 w 428"/>
                <a:gd name="T97" fmla="*/ 210 h 212"/>
                <a:gd name="T98" fmla="*/ 244 w 428"/>
                <a:gd name="T99" fmla="*/ 210 h 212"/>
                <a:gd name="T100" fmla="*/ 214 w 428"/>
                <a:gd name="T101" fmla="*/ 196 h 212"/>
                <a:gd name="T102" fmla="*/ 162 w 428"/>
                <a:gd name="T103" fmla="*/ 194 h 212"/>
                <a:gd name="T104" fmla="*/ 130 w 428"/>
                <a:gd name="T105" fmla="*/ 190 h 212"/>
                <a:gd name="T106" fmla="*/ 118 w 428"/>
                <a:gd name="T107" fmla="*/ 178 h 212"/>
                <a:gd name="T108" fmla="*/ 108 w 428"/>
                <a:gd name="T109" fmla="*/ 160 h 212"/>
                <a:gd name="T110" fmla="*/ 78 w 428"/>
                <a:gd name="T111" fmla="*/ 150 h 212"/>
                <a:gd name="T112" fmla="*/ 48 w 428"/>
                <a:gd name="T113" fmla="*/ 144 h 212"/>
                <a:gd name="T114" fmla="*/ 38 w 428"/>
                <a:gd name="T115" fmla="*/ 132 h 212"/>
                <a:gd name="T116" fmla="*/ 32 w 428"/>
                <a:gd name="T117" fmla="*/ 108 h 212"/>
                <a:gd name="T118" fmla="*/ 26 w 428"/>
                <a:gd name="T119" fmla="*/ 100 h 212"/>
                <a:gd name="T120" fmla="*/ 6 w 428"/>
                <a:gd name="T121" fmla="*/ 9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8" h="212">
                  <a:moveTo>
                    <a:pt x="0" y="80"/>
                  </a:moveTo>
                  <a:lnTo>
                    <a:pt x="0" y="80"/>
                  </a:lnTo>
                  <a:lnTo>
                    <a:pt x="4" y="78"/>
                  </a:lnTo>
                  <a:lnTo>
                    <a:pt x="6" y="74"/>
                  </a:lnTo>
                  <a:lnTo>
                    <a:pt x="8" y="74"/>
                  </a:lnTo>
                  <a:lnTo>
                    <a:pt x="10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0"/>
                  </a:lnTo>
                  <a:lnTo>
                    <a:pt x="18" y="70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8" y="66"/>
                  </a:lnTo>
                  <a:lnTo>
                    <a:pt x="44" y="64"/>
                  </a:lnTo>
                  <a:lnTo>
                    <a:pt x="50" y="64"/>
                  </a:lnTo>
                  <a:lnTo>
                    <a:pt x="56" y="64"/>
                  </a:lnTo>
                  <a:lnTo>
                    <a:pt x="58" y="64"/>
                  </a:lnTo>
                  <a:lnTo>
                    <a:pt x="62" y="64"/>
                  </a:lnTo>
                  <a:lnTo>
                    <a:pt x="64" y="64"/>
                  </a:lnTo>
                  <a:lnTo>
                    <a:pt x="66" y="64"/>
                  </a:lnTo>
                  <a:lnTo>
                    <a:pt x="68" y="64"/>
                  </a:lnTo>
                  <a:lnTo>
                    <a:pt x="70" y="64"/>
                  </a:lnTo>
                  <a:lnTo>
                    <a:pt x="72" y="64"/>
                  </a:lnTo>
                  <a:lnTo>
                    <a:pt x="72" y="66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8" y="72"/>
                  </a:lnTo>
                  <a:lnTo>
                    <a:pt x="80" y="72"/>
                  </a:lnTo>
                  <a:lnTo>
                    <a:pt x="82" y="72"/>
                  </a:lnTo>
                  <a:lnTo>
                    <a:pt x="84" y="72"/>
                  </a:lnTo>
                  <a:lnTo>
                    <a:pt x="86" y="72"/>
                  </a:lnTo>
                  <a:lnTo>
                    <a:pt x="88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4" y="76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8" y="80"/>
                  </a:lnTo>
                  <a:lnTo>
                    <a:pt x="98" y="80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10" y="82"/>
                  </a:lnTo>
                  <a:lnTo>
                    <a:pt x="112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8" y="80"/>
                  </a:lnTo>
                  <a:lnTo>
                    <a:pt x="120" y="80"/>
                  </a:lnTo>
                  <a:lnTo>
                    <a:pt x="122" y="80"/>
                  </a:lnTo>
                  <a:lnTo>
                    <a:pt x="124" y="78"/>
                  </a:lnTo>
                  <a:lnTo>
                    <a:pt x="126" y="78"/>
                  </a:lnTo>
                  <a:lnTo>
                    <a:pt x="126" y="76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2"/>
                  </a:lnTo>
                  <a:lnTo>
                    <a:pt x="128" y="70"/>
                  </a:lnTo>
                  <a:lnTo>
                    <a:pt x="126" y="70"/>
                  </a:lnTo>
                  <a:lnTo>
                    <a:pt x="126" y="68"/>
                  </a:lnTo>
                  <a:lnTo>
                    <a:pt x="124" y="66"/>
                  </a:lnTo>
                  <a:lnTo>
                    <a:pt x="122" y="64"/>
                  </a:lnTo>
                  <a:lnTo>
                    <a:pt x="122" y="62"/>
                  </a:lnTo>
                  <a:lnTo>
                    <a:pt x="120" y="60"/>
                  </a:lnTo>
                  <a:lnTo>
                    <a:pt x="120" y="58"/>
                  </a:lnTo>
                  <a:lnTo>
                    <a:pt x="118" y="58"/>
                  </a:lnTo>
                  <a:lnTo>
                    <a:pt x="116" y="56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50"/>
                  </a:lnTo>
                  <a:lnTo>
                    <a:pt x="118" y="50"/>
                  </a:lnTo>
                  <a:lnTo>
                    <a:pt x="118" y="50"/>
                  </a:lnTo>
                  <a:lnTo>
                    <a:pt x="122" y="52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48"/>
                  </a:lnTo>
                  <a:lnTo>
                    <a:pt x="130" y="48"/>
                  </a:lnTo>
                  <a:lnTo>
                    <a:pt x="130" y="46"/>
                  </a:lnTo>
                  <a:lnTo>
                    <a:pt x="130" y="44"/>
                  </a:lnTo>
                  <a:lnTo>
                    <a:pt x="130" y="42"/>
                  </a:lnTo>
                  <a:lnTo>
                    <a:pt x="130" y="38"/>
                  </a:lnTo>
                  <a:lnTo>
                    <a:pt x="128" y="34"/>
                  </a:lnTo>
                  <a:lnTo>
                    <a:pt x="128" y="32"/>
                  </a:lnTo>
                  <a:lnTo>
                    <a:pt x="128" y="28"/>
                  </a:lnTo>
                  <a:lnTo>
                    <a:pt x="128" y="26"/>
                  </a:lnTo>
                  <a:lnTo>
                    <a:pt x="128" y="22"/>
                  </a:lnTo>
                  <a:lnTo>
                    <a:pt x="126" y="20"/>
                  </a:lnTo>
                  <a:lnTo>
                    <a:pt x="126" y="16"/>
                  </a:lnTo>
                  <a:lnTo>
                    <a:pt x="126" y="12"/>
                  </a:lnTo>
                  <a:lnTo>
                    <a:pt x="126" y="8"/>
                  </a:lnTo>
                  <a:lnTo>
                    <a:pt x="126" y="6"/>
                  </a:lnTo>
                  <a:lnTo>
                    <a:pt x="126" y="4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0" y="0"/>
                  </a:lnTo>
                  <a:lnTo>
                    <a:pt x="132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40" y="2"/>
                  </a:lnTo>
                  <a:lnTo>
                    <a:pt x="148" y="8"/>
                  </a:lnTo>
                  <a:lnTo>
                    <a:pt x="152" y="8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6" y="10"/>
                  </a:lnTo>
                  <a:lnTo>
                    <a:pt x="158" y="10"/>
                  </a:lnTo>
                  <a:lnTo>
                    <a:pt x="164" y="10"/>
                  </a:lnTo>
                  <a:lnTo>
                    <a:pt x="166" y="10"/>
                  </a:lnTo>
                  <a:lnTo>
                    <a:pt x="168" y="10"/>
                  </a:lnTo>
                  <a:lnTo>
                    <a:pt x="170" y="10"/>
                  </a:lnTo>
                  <a:lnTo>
                    <a:pt x="170" y="10"/>
                  </a:lnTo>
                  <a:lnTo>
                    <a:pt x="172" y="12"/>
                  </a:lnTo>
                  <a:lnTo>
                    <a:pt x="174" y="12"/>
                  </a:lnTo>
                  <a:lnTo>
                    <a:pt x="176" y="14"/>
                  </a:lnTo>
                  <a:lnTo>
                    <a:pt x="176" y="14"/>
                  </a:lnTo>
                  <a:lnTo>
                    <a:pt x="178" y="16"/>
                  </a:lnTo>
                  <a:lnTo>
                    <a:pt x="182" y="20"/>
                  </a:lnTo>
                  <a:lnTo>
                    <a:pt x="184" y="24"/>
                  </a:lnTo>
                  <a:lnTo>
                    <a:pt x="186" y="24"/>
                  </a:lnTo>
                  <a:lnTo>
                    <a:pt x="186" y="26"/>
                  </a:lnTo>
                  <a:lnTo>
                    <a:pt x="188" y="30"/>
                  </a:lnTo>
                  <a:lnTo>
                    <a:pt x="188" y="32"/>
                  </a:lnTo>
                  <a:lnTo>
                    <a:pt x="188" y="34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92" y="36"/>
                  </a:lnTo>
                  <a:lnTo>
                    <a:pt x="192" y="38"/>
                  </a:lnTo>
                  <a:lnTo>
                    <a:pt x="194" y="38"/>
                  </a:lnTo>
                  <a:lnTo>
                    <a:pt x="196" y="38"/>
                  </a:lnTo>
                  <a:lnTo>
                    <a:pt x="198" y="38"/>
                  </a:lnTo>
                  <a:lnTo>
                    <a:pt x="202" y="38"/>
                  </a:lnTo>
                  <a:lnTo>
                    <a:pt x="208" y="36"/>
                  </a:lnTo>
                  <a:lnTo>
                    <a:pt x="210" y="36"/>
                  </a:lnTo>
                  <a:lnTo>
                    <a:pt x="212" y="36"/>
                  </a:lnTo>
                  <a:lnTo>
                    <a:pt x="220" y="36"/>
                  </a:lnTo>
                  <a:lnTo>
                    <a:pt x="228" y="36"/>
                  </a:lnTo>
                  <a:lnTo>
                    <a:pt x="232" y="36"/>
                  </a:lnTo>
                  <a:lnTo>
                    <a:pt x="236" y="38"/>
                  </a:lnTo>
                  <a:lnTo>
                    <a:pt x="240" y="38"/>
                  </a:lnTo>
                  <a:lnTo>
                    <a:pt x="242" y="38"/>
                  </a:lnTo>
                  <a:lnTo>
                    <a:pt x="244" y="38"/>
                  </a:lnTo>
                  <a:lnTo>
                    <a:pt x="246" y="40"/>
                  </a:lnTo>
                  <a:lnTo>
                    <a:pt x="248" y="40"/>
                  </a:lnTo>
                  <a:lnTo>
                    <a:pt x="250" y="42"/>
                  </a:lnTo>
                  <a:lnTo>
                    <a:pt x="252" y="44"/>
                  </a:lnTo>
                  <a:lnTo>
                    <a:pt x="258" y="46"/>
                  </a:lnTo>
                  <a:lnTo>
                    <a:pt x="260" y="48"/>
                  </a:lnTo>
                  <a:lnTo>
                    <a:pt x="262" y="48"/>
                  </a:lnTo>
                  <a:lnTo>
                    <a:pt x="262" y="50"/>
                  </a:lnTo>
                  <a:lnTo>
                    <a:pt x="264" y="50"/>
                  </a:lnTo>
                  <a:lnTo>
                    <a:pt x="268" y="50"/>
                  </a:lnTo>
                  <a:lnTo>
                    <a:pt x="270" y="50"/>
                  </a:lnTo>
                  <a:lnTo>
                    <a:pt x="272" y="52"/>
                  </a:lnTo>
                  <a:lnTo>
                    <a:pt x="274" y="52"/>
                  </a:lnTo>
                  <a:lnTo>
                    <a:pt x="274" y="52"/>
                  </a:lnTo>
                  <a:lnTo>
                    <a:pt x="274" y="52"/>
                  </a:lnTo>
                  <a:lnTo>
                    <a:pt x="276" y="52"/>
                  </a:lnTo>
                  <a:lnTo>
                    <a:pt x="276" y="54"/>
                  </a:lnTo>
                  <a:lnTo>
                    <a:pt x="276" y="54"/>
                  </a:lnTo>
                  <a:lnTo>
                    <a:pt x="276" y="56"/>
                  </a:lnTo>
                  <a:lnTo>
                    <a:pt x="276" y="58"/>
                  </a:lnTo>
                  <a:lnTo>
                    <a:pt x="278" y="60"/>
                  </a:lnTo>
                  <a:lnTo>
                    <a:pt x="278" y="62"/>
                  </a:lnTo>
                  <a:lnTo>
                    <a:pt x="278" y="64"/>
                  </a:lnTo>
                  <a:lnTo>
                    <a:pt x="278" y="64"/>
                  </a:lnTo>
                  <a:lnTo>
                    <a:pt x="278" y="64"/>
                  </a:lnTo>
                  <a:lnTo>
                    <a:pt x="280" y="64"/>
                  </a:lnTo>
                  <a:lnTo>
                    <a:pt x="282" y="66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90" y="66"/>
                  </a:lnTo>
                  <a:lnTo>
                    <a:pt x="292" y="66"/>
                  </a:lnTo>
                  <a:lnTo>
                    <a:pt x="294" y="66"/>
                  </a:lnTo>
                  <a:lnTo>
                    <a:pt x="298" y="66"/>
                  </a:lnTo>
                  <a:lnTo>
                    <a:pt x="300" y="64"/>
                  </a:lnTo>
                  <a:lnTo>
                    <a:pt x="304" y="64"/>
                  </a:lnTo>
                  <a:lnTo>
                    <a:pt x="306" y="64"/>
                  </a:lnTo>
                  <a:lnTo>
                    <a:pt x="308" y="62"/>
                  </a:lnTo>
                  <a:lnTo>
                    <a:pt x="310" y="62"/>
                  </a:lnTo>
                  <a:lnTo>
                    <a:pt x="314" y="60"/>
                  </a:lnTo>
                  <a:lnTo>
                    <a:pt x="314" y="60"/>
                  </a:lnTo>
                  <a:lnTo>
                    <a:pt x="316" y="58"/>
                  </a:lnTo>
                  <a:lnTo>
                    <a:pt x="316" y="58"/>
                  </a:lnTo>
                  <a:lnTo>
                    <a:pt x="318" y="58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20" y="54"/>
                  </a:lnTo>
                  <a:lnTo>
                    <a:pt x="320" y="52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22" y="50"/>
                  </a:lnTo>
                  <a:lnTo>
                    <a:pt x="322" y="48"/>
                  </a:lnTo>
                  <a:lnTo>
                    <a:pt x="324" y="48"/>
                  </a:lnTo>
                  <a:lnTo>
                    <a:pt x="324" y="48"/>
                  </a:lnTo>
                  <a:lnTo>
                    <a:pt x="324" y="50"/>
                  </a:lnTo>
                  <a:lnTo>
                    <a:pt x="326" y="50"/>
                  </a:lnTo>
                  <a:lnTo>
                    <a:pt x="328" y="50"/>
                  </a:lnTo>
                  <a:lnTo>
                    <a:pt x="330" y="52"/>
                  </a:lnTo>
                  <a:lnTo>
                    <a:pt x="330" y="54"/>
                  </a:lnTo>
                  <a:lnTo>
                    <a:pt x="332" y="56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6" y="56"/>
                  </a:lnTo>
                  <a:lnTo>
                    <a:pt x="336" y="56"/>
                  </a:lnTo>
                  <a:lnTo>
                    <a:pt x="338" y="56"/>
                  </a:lnTo>
                  <a:lnTo>
                    <a:pt x="338" y="54"/>
                  </a:lnTo>
                  <a:lnTo>
                    <a:pt x="340" y="54"/>
                  </a:lnTo>
                  <a:lnTo>
                    <a:pt x="342" y="52"/>
                  </a:lnTo>
                  <a:lnTo>
                    <a:pt x="344" y="50"/>
                  </a:lnTo>
                  <a:lnTo>
                    <a:pt x="346" y="46"/>
                  </a:lnTo>
                  <a:lnTo>
                    <a:pt x="348" y="44"/>
                  </a:lnTo>
                  <a:lnTo>
                    <a:pt x="350" y="44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4" y="42"/>
                  </a:lnTo>
                  <a:lnTo>
                    <a:pt x="354" y="40"/>
                  </a:lnTo>
                  <a:lnTo>
                    <a:pt x="356" y="40"/>
                  </a:lnTo>
                  <a:lnTo>
                    <a:pt x="358" y="40"/>
                  </a:lnTo>
                  <a:lnTo>
                    <a:pt x="360" y="40"/>
                  </a:lnTo>
                  <a:lnTo>
                    <a:pt x="362" y="40"/>
                  </a:lnTo>
                  <a:lnTo>
                    <a:pt x="364" y="40"/>
                  </a:lnTo>
                  <a:lnTo>
                    <a:pt x="366" y="40"/>
                  </a:lnTo>
                  <a:lnTo>
                    <a:pt x="368" y="40"/>
                  </a:lnTo>
                  <a:lnTo>
                    <a:pt x="368" y="40"/>
                  </a:lnTo>
                  <a:lnTo>
                    <a:pt x="370" y="42"/>
                  </a:lnTo>
                  <a:lnTo>
                    <a:pt x="372" y="42"/>
                  </a:lnTo>
                  <a:lnTo>
                    <a:pt x="374" y="44"/>
                  </a:lnTo>
                  <a:lnTo>
                    <a:pt x="378" y="46"/>
                  </a:lnTo>
                  <a:lnTo>
                    <a:pt x="380" y="48"/>
                  </a:lnTo>
                  <a:lnTo>
                    <a:pt x="378" y="52"/>
                  </a:lnTo>
                  <a:lnTo>
                    <a:pt x="376" y="56"/>
                  </a:lnTo>
                  <a:lnTo>
                    <a:pt x="376" y="58"/>
                  </a:lnTo>
                  <a:lnTo>
                    <a:pt x="376" y="60"/>
                  </a:lnTo>
                  <a:lnTo>
                    <a:pt x="376" y="62"/>
                  </a:lnTo>
                  <a:lnTo>
                    <a:pt x="376" y="66"/>
                  </a:lnTo>
                  <a:lnTo>
                    <a:pt x="376" y="72"/>
                  </a:lnTo>
                  <a:lnTo>
                    <a:pt x="376" y="76"/>
                  </a:lnTo>
                  <a:lnTo>
                    <a:pt x="376" y="80"/>
                  </a:lnTo>
                  <a:lnTo>
                    <a:pt x="376" y="84"/>
                  </a:lnTo>
                  <a:lnTo>
                    <a:pt x="376" y="88"/>
                  </a:lnTo>
                  <a:lnTo>
                    <a:pt x="378" y="92"/>
                  </a:lnTo>
                  <a:lnTo>
                    <a:pt x="378" y="92"/>
                  </a:lnTo>
                  <a:lnTo>
                    <a:pt x="378" y="94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6"/>
                  </a:lnTo>
                  <a:lnTo>
                    <a:pt x="380" y="98"/>
                  </a:lnTo>
                  <a:lnTo>
                    <a:pt x="382" y="98"/>
                  </a:lnTo>
                  <a:lnTo>
                    <a:pt x="382" y="98"/>
                  </a:lnTo>
                  <a:lnTo>
                    <a:pt x="384" y="98"/>
                  </a:lnTo>
                  <a:lnTo>
                    <a:pt x="386" y="96"/>
                  </a:lnTo>
                  <a:lnTo>
                    <a:pt x="386" y="96"/>
                  </a:lnTo>
                  <a:lnTo>
                    <a:pt x="390" y="94"/>
                  </a:lnTo>
                  <a:lnTo>
                    <a:pt x="392" y="94"/>
                  </a:lnTo>
                  <a:lnTo>
                    <a:pt x="392" y="94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4" y="92"/>
                  </a:lnTo>
                  <a:lnTo>
                    <a:pt x="408" y="92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4" y="90"/>
                  </a:lnTo>
                  <a:lnTo>
                    <a:pt x="414" y="92"/>
                  </a:lnTo>
                  <a:lnTo>
                    <a:pt x="416" y="92"/>
                  </a:lnTo>
                  <a:lnTo>
                    <a:pt x="418" y="92"/>
                  </a:lnTo>
                  <a:lnTo>
                    <a:pt x="420" y="94"/>
                  </a:lnTo>
                  <a:lnTo>
                    <a:pt x="422" y="96"/>
                  </a:lnTo>
                  <a:lnTo>
                    <a:pt x="424" y="98"/>
                  </a:lnTo>
                  <a:lnTo>
                    <a:pt x="426" y="100"/>
                  </a:lnTo>
                  <a:lnTo>
                    <a:pt x="426" y="102"/>
                  </a:lnTo>
                  <a:lnTo>
                    <a:pt x="426" y="102"/>
                  </a:lnTo>
                  <a:lnTo>
                    <a:pt x="428" y="104"/>
                  </a:lnTo>
                  <a:lnTo>
                    <a:pt x="428" y="104"/>
                  </a:lnTo>
                  <a:lnTo>
                    <a:pt x="428" y="106"/>
                  </a:lnTo>
                  <a:lnTo>
                    <a:pt x="428" y="106"/>
                  </a:lnTo>
                  <a:lnTo>
                    <a:pt x="426" y="108"/>
                  </a:lnTo>
                  <a:lnTo>
                    <a:pt x="426" y="108"/>
                  </a:lnTo>
                  <a:lnTo>
                    <a:pt x="426" y="110"/>
                  </a:lnTo>
                  <a:lnTo>
                    <a:pt x="424" y="110"/>
                  </a:lnTo>
                  <a:lnTo>
                    <a:pt x="422" y="112"/>
                  </a:lnTo>
                  <a:lnTo>
                    <a:pt x="420" y="112"/>
                  </a:lnTo>
                  <a:lnTo>
                    <a:pt x="416" y="114"/>
                  </a:lnTo>
                  <a:lnTo>
                    <a:pt x="412" y="114"/>
                  </a:lnTo>
                  <a:lnTo>
                    <a:pt x="408" y="116"/>
                  </a:lnTo>
                  <a:lnTo>
                    <a:pt x="406" y="116"/>
                  </a:lnTo>
                  <a:lnTo>
                    <a:pt x="404" y="118"/>
                  </a:lnTo>
                  <a:lnTo>
                    <a:pt x="402" y="118"/>
                  </a:lnTo>
                  <a:lnTo>
                    <a:pt x="398" y="120"/>
                  </a:lnTo>
                  <a:lnTo>
                    <a:pt x="392" y="124"/>
                  </a:lnTo>
                  <a:lnTo>
                    <a:pt x="386" y="128"/>
                  </a:lnTo>
                  <a:lnTo>
                    <a:pt x="380" y="130"/>
                  </a:lnTo>
                  <a:lnTo>
                    <a:pt x="378" y="132"/>
                  </a:lnTo>
                  <a:lnTo>
                    <a:pt x="374" y="136"/>
                  </a:lnTo>
                  <a:lnTo>
                    <a:pt x="372" y="138"/>
                  </a:lnTo>
                  <a:lnTo>
                    <a:pt x="368" y="140"/>
                  </a:lnTo>
                  <a:lnTo>
                    <a:pt x="366" y="142"/>
                  </a:lnTo>
                  <a:lnTo>
                    <a:pt x="366" y="144"/>
                  </a:lnTo>
                  <a:lnTo>
                    <a:pt x="362" y="148"/>
                  </a:lnTo>
                  <a:lnTo>
                    <a:pt x="360" y="150"/>
                  </a:lnTo>
                  <a:lnTo>
                    <a:pt x="358" y="152"/>
                  </a:lnTo>
                  <a:lnTo>
                    <a:pt x="358" y="152"/>
                  </a:lnTo>
                  <a:lnTo>
                    <a:pt x="356" y="154"/>
                  </a:lnTo>
                  <a:lnTo>
                    <a:pt x="356" y="154"/>
                  </a:lnTo>
                  <a:lnTo>
                    <a:pt x="354" y="154"/>
                  </a:lnTo>
                  <a:lnTo>
                    <a:pt x="354" y="154"/>
                  </a:lnTo>
                  <a:lnTo>
                    <a:pt x="352" y="154"/>
                  </a:lnTo>
                  <a:lnTo>
                    <a:pt x="350" y="154"/>
                  </a:lnTo>
                  <a:lnTo>
                    <a:pt x="350" y="154"/>
                  </a:lnTo>
                  <a:lnTo>
                    <a:pt x="346" y="152"/>
                  </a:lnTo>
                  <a:lnTo>
                    <a:pt x="344" y="150"/>
                  </a:lnTo>
                  <a:lnTo>
                    <a:pt x="342" y="148"/>
                  </a:lnTo>
                  <a:lnTo>
                    <a:pt x="340" y="148"/>
                  </a:lnTo>
                  <a:lnTo>
                    <a:pt x="338" y="148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6" y="148"/>
                  </a:lnTo>
                  <a:lnTo>
                    <a:pt x="334" y="148"/>
                  </a:lnTo>
                  <a:lnTo>
                    <a:pt x="334" y="148"/>
                  </a:lnTo>
                  <a:lnTo>
                    <a:pt x="334" y="150"/>
                  </a:lnTo>
                  <a:lnTo>
                    <a:pt x="334" y="150"/>
                  </a:lnTo>
                  <a:lnTo>
                    <a:pt x="334" y="152"/>
                  </a:lnTo>
                  <a:lnTo>
                    <a:pt x="334" y="152"/>
                  </a:lnTo>
                  <a:lnTo>
                    <a:pt x="334" y="156"/>
                  </a:lnTo>
                  <a:lnTo>
                    <a:pt x="334" y="160"/>
                  </a:lnTo>
                  <a:lnTo>
                    <a:pt x="336" y="162"/>
                  </a:lnTo>
                  <a:lnTo>
                    <a:pt x="336" y="164"/>
                  </a:lnTo>
                  <a:lnTo>
                    <a:pt x="336" y="168"/>
                  </a:lnTo>
                  <a:lnTo>
                    <a:pt x="336" y="174"/>
                  </a:lnTo>
                  <a:lnTo>
                    <a:pt x="334" y="176"/>
                  </a:lnTo>
                  <a:lnTo>
                    <a:pt x="334" y="178"/>
                  </a:lnTo>
                  <a:lnTo>
                    <a:pt x="334" y="180"/>
                  </a:lnTo>
                  <a:lnTo>
                    <a:pt x="334" y="182"/>
                  </a:lnTo>
                  <a:lnTo>
                    <a:pt x="332" y="182"/>
                  </a:lnTo>
                  <a:lnTo>
                    <a:pt x="332" y="184"/>
                  </a:lnTo>
                  <a:lnTo>
                    <a:pt x="328" y="188"/>
                  </a:lnTo>
                  <a:lnTo>
                    <a:pt x="326" y="190"/>
                  </a:lnTo>
                  <a:lnTo>
                    <a:pt x="322" y="192"/>
                  </a:lnTo>
                  <a:lnTo>
                    <a:pt x="320" y="196"/>
                  </a:lnTo>
                  <a:lnTo>
                    <a:pt x="316" y="198"/>
                  </a:lnTo>
                  <a:lnTo>
                    <a:pt x="314" y="198"/>
                  </a:lnTo>
                  <a:lnTo>
                    <a:pt x="314" y="200"/>
                  </a:lnTo>
                  <a:lnTo>
                    <a:pt x="312" y="200"/>
                  </a:lnTo>
                  <a:lnTo>
                    <a:pt x="310" y="200"/>
                  </a:lnTo>
                  <a:lnTo>
                    <a:pt x="308" y="200"/>
                  </a:lnTo>
                  <a:lnTo>
                    <a:pt x="308" y="202"/>
                  </a:lnTo>
                  <a:lnTo>
                    <a:pt x="306" y="200"/>
                  </a:lnTo>
                  <a:lnTo>
                    <a:pt x="304" y="200"/>
                  </a:lnTo>
                  <a:lnTo>
                    <a:pt x="300" y="200"/>
                  </a:lnTo>
                  <a:lnTo>
                    <a:pt x="296" y="198"/>
                  </a:lnTo>
                  <a:lnTo>
                    <a:pt x="292" y="198"/>
                  </a:lnTo>
                  <a:lnTo>
                    <a:pt x="288" y="196"/>
                  </a:lnTo>
                  <a:lnTo>
                    <a:pt x="286" y="196"/>
                  </a:lnTo>
                  <a:lnTo>
                    <a:pt x="284" y="196"/>
                  </a:lnTo>
                  <a:lnTo>
                    <a:pt x="282" y="196"/>
                  </a:lnTo>
                  <a:lnTo>
                    <a:pt x="282" y="196"/>
                  </a:lnTo>
                  <a:lnTo>
                    <a:pt x="280" y="198"/>
                  </a:lnTo>
                  <a:lnTo>
                    <a:pt x="280" y="198"/>
                  </a:lnTo>
                  <a:lnTo>
                    <a:pt x="278" y="198"/>
                  </a:lnTo>
                  <a:lnTo>
                    <a:pt x="278" y="200"/>
                  </a:lnTo>
                  <a:lnTo>
                    <a:pt x="276" y="202"/>
                  </a:lnTo>
                  <a:lnTo>
                    <a:pt x="272" y="204"/>
                  </a:lnTo>
                  <a:lnTo>
                    <a:pt x="272" y="204"/>
                  </a:lnTo>
                  <a:lnTo>
                    <a:pt x="270" y="206"/>
                  </a:lnTo>
                  <a:lnTo>
                    <a:pt x="268" y="206"/>
                  </a:lnTo>
                  <a:lnTo>
                    <a:pt x="266" y="208"/>
                  </a:lnTo>
                  <a:lnTo>
                    <a:pt x="262" y="208"/>
                  </a:lnTo>
                  <a:lnTo>
                    <a:pt x="260" y="210"/>
                  </a:lnTo>
                  <a:lnTo>
                    <a:pt x="256" y="210"/>
                  </a:lnTo>
                  <a:lnTo>
                    <a:pt x="254" y="212"/>
                  </a:lnTo>
                  <a:lnTo>
                    <a:pt x="250" y="212"/>
                  </a:lnTo>
                  <a:lnTo>
                    <a:pt x="250" y="212"/>
                  </a:lnTo>
                  <a:lnTo>
                    <a:pt x="248" y="212"/>
                  </a:lnTo>
                  <a:lnTo>
                    <a:pt x="248" y="212"/>
                  </a:lnTo>
                  <a:lnTo>
                    <a:pt x="246" y="212"/>
                  </a:lnTo>
                  <a:lnTo>
                    <a:pt x="244" y="210"/>
                  </a:lnTo>
                  <a:lnTo>
                    <a:pt x="244" y="210"/>
                  </a:lnTo>
                  <a:lnTo>
                    <a:pt x="240" y="208"/>
                  </a:lnTo>
                  <a:lnTo>
                    <a:pt x="238" y="208"/>
                  </a:lnTo>
                  <a:lnTo>
                    <a:pt x="232" y="204"/>
                  </a:lnTo>
                  <a:lnTo>
                    <a:pt x="230" y="202"/>
                  </a:lnTo>
                  <a:lnTo>
                    <a:pt x="228" y="200"/>
                  </a:lnTo>
                  <a:lnTo>
                    <a:pt x="224" y="200"/>
                  </a:lnTo>
                  <a:lnTo>
                    <a:pt x="218" y="198"/>
                  </a:lnTo>
                  <a:lnTo>
                    <a:pt x="214" y="196"/>
                  </a:lnTo>
                  <a:lnTo>
                    <a:pt x="210" y="196"/>
                  </a:lnTo>
                  <a:lnTo>
                    <a:pt x="206" y="196"/>
                  </a:lnTo>
                  <a:lnTo>
                    <a:pt x="202" y="194"/>
                  </a:lnTo>
                  <a:lnTo>
                    <a:pt x="196" y="194"/>
                  </a:lnTo>
                  <a:lnTo>
                    <a:pt x="192" y="194"/>
                  </a:lnTo>
                  <a:lnTo>
                    <a:pt x="180" y="194"/>
                  </a:lnTo>
                  <a:lnTo>
                    <a:pt x="168" y="194"/>
                  </a:lnTo>
                  <a:lnTo>
                    <a:pt x="162" y="194"/>
                  </a:lnTo>
                  <a:lnTo>
                    <a:pt x="158" y="194"/>
                  </a:lnTo>
                  <a:lnTo>
                    <a:pt x="152" y="194"/>
                  </a:lnTo>
                  <a:lnTo>
                    <a:pt x="146" y="194"/>
                  </a:lnTo>
                  <a:lnTo>
                    <a:pt x="142" y="192"/>
                  </a:lnTo>
                  <a:lnTo>
                    <a:pt x="136" y="192"/>
                  </a:lnTo>
                  <a:lnTo>
                    <a:pt x="134" y="192"/>
                  </a:lnTo>
                  <a:lnTo>
                    <a:pt x="132" y="190"/>
                  </a:lnTo>
                  <a:lnTo>
                    <a:pt x="130" y="190"/>
                  </a:lnTo>
                  <a:lnTo>
                    <a:pt x="130" y="190"/>
                  </a:lnTo>
                  <a:lnTo>
                    <a:pt x="128" y="188"/>
                  </a:lnTo>
                  <a:lnTo>
                    <a:pt x="126" y="188"/>
                  </a:lnTo>
                  <a:lnTo>
                    <a:pt x="124" y="186"/>
                  </a:lnTo>
                  <a:lnTo>
                    <a:pt x="124" y="184"/>
                  </a:lnTo>
                  <a:lnTo>
                    <a:pt x="120" y="182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16" y="176"/>
                  </a:lnTo>
                  <a:lnTo>
                    <a:pt x="114" y="170"/>
                  </a:lnTo>
                  <a:lnTo>
                    <a:pt x="112" y="168"/>
                  </a:lnTo>
                  <a:lnTo>
                    <a:pt x="112" y="166"/>
                  </a:lnTo>
                  <a:lnTo>
                    <a:pt x="110" y="164"/>
                  </a:lnTo>
                  <a:lnTo>
                    <a:pt x="110" y="162"/>
                  </a:lnTo>
                  <a:lnTo>
                    <a:pt x="108" y="162"/>
                  </a:lnTo>
                  <a:lnTo>
                    <a:pt x="108" y="160"/>
                  </a:lnTo>
                  <a:lnTo>
                    <a:pt x="106" y="160"/>
                  </a:lnTo>
                  <a:lnTo>
                    <a:pt x="104" y="158"/>
                  </a:lnTo>
                  <a:lnTo>
                    <a:pt x="102" y="156"/>
                  </a:lnTo>
                  <a:lnTo>
                    <a:pt x="96" y="154"/>
                  </a:lnTo>
                  <a:lnTo>
                    <a:pt x="92" y="152"/>
                  </a:lnTo>
                  <a:lnTo>
                    <a:pt x="90" y="152"/>
                  </a:lnTo>
                  <a:lnTo>
                    <a:pt x="84" y="150"/>
                  </a:lnTo>
                  <a:lnTo>
                    <a:pt x="78" y="150"/>
                  </a:lnTo>
                  <a:lnTo>
                    <a:pt x="74" y="148"/>
                  </a:lnTo>
                  <a:lnTo>
                    <a:pt x="70" y="148"/>
                  </a:lnTo>
                  <a:lnTo>
                    <a:pt x="60" y="148"/>
                  </a:lnTo>
                  <a:lnTo>
                    <a:pt x="56" y="146"/>
                  </a:lnTo>
                  <a:lnTo>
                    <a:pt x="54" y="146"/>
                  </a:lnTo>
                  <a:lnTo>
                    <a:pt x="52" y="146"/>
                  </a:lnTo>
                  <a:lnTo>
                    <a:pt x="50" y="146"/>
                  </a:lnTo>
                  <a:lnTo>
                    <a:pt x="48" y="144"/>
                  </a:lnTo>
                  <a:lnTo>
                    <a:pt x="46" y="144"/>
                  </a:lnTo>
                  <a:lnTo>
                    <a:pt x="44" y="142"/>
                  </a:lnTo>
                  <a:lnTo>
                    <a:pt x="44" y="142"/>
                  </a:lnTo>
                  <a:lnTo>
                    <a:pt x="42" y="142"/>
                  </a:lnTo>
                  <a:lnTo>
                    <a:pt x="42" y="140"/>
                  </a:lnTo>
                  <a:lnTo>
                    <a:pt x="42" y="138"/>
                  </a:lnTo>
                  <a:lnTo>
                    <a:pt x="40" y="136"/>
                  </a:lnTo>
                  <a:lnTo>
                    <a:pt x="38" y="132"/>
                  </a:lnTo>
                  <a:lnTo>
                    <a:pt x="38" y="128"/>
                  </a:lnTo>
                  <a:lnTo>
                    <a:pt x="36" y="124"/>
                  </a:lnTo>
                  <a:lnTo>
                    <a:pt x="36" y="122"/>
                  </a:lnTo>
                  <a:lnTo>
                    <a:pt x="34" y="118"/>
                  </a:lnTo>
                  <a:lnTo>
                    <a:pt x="34" y="118"/>
                  </a:lnTo>
                  <a:lnTo>
                    <a:pt x="34" y="116"/>
                  </a:lnTo>
                  <a:lnTo>
                    <a:pt x="32" y="110"/>
                  </a:lnTo>
                  <a:lnTo>
                    <a:pt x="32" y="108"/>
                  </a:lnTo>
                  <a:lnTo>
                    <a:pt x="32" y="106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8" y="102"/>
                  </a:lnTo>
                  <a:lnTo>
                    <a:pt x="28" y="102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2" y="98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2" y="94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75" name="Freeform 126">
              <a:extLst>
                <a:ext uri="{FF2B5EF4-FFF2-40B4-BE49-F238E27FC236}">
                  <a16:creationId xmlns:a16="http://schemas.microsoft.com/office/drawing/2014/main" id="{BB001626-694F-43DE-88A7-A3607E660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6810" y="4387118"/>
              <a:ext cx="54669" cy="103634"/>
            </a:xfrm>
            <a:custGeom>
              <a:avLst/>
              <a:gdLst>
                <a:gd name="T0" fmla="*/ 10 w 32"/>
                <a:gd name="T1" fmla="*/ 0 h 62"/>
                <a:gd name="T2" fmla="*/ 8 w 32"/>
                <a:gd name="T3" fmla="*/ 2 h 62"/>
                <a:gd name="T4" fmla="*/ 6 w 32"/>
                <a:gd name="T5" fmla="*/ 2 h 62"/>
                <a:gd name="T6" fmla="*/ 6 w 32"/>
                <a:gd name="T7" fmla="*/ 6 h 62"/>
                <a:gd name="T8" fmla="*/ 2 w 32"/>
                <a:gd name="T9" fmla="*/ 10 h 62"/>
                <a:gd name="T10" fmla="*/ 0 w 32"/>
                <a:gd name="T11" fmla="*/ 18 h 62"/>
                <a:gd name="T12" fmla="*/ 0 w 32"/>
                <a:gd name="T13" fmla="*/ 24 h 62"/>
                <a:gd name="T14" fmla="*/ 0 w 32"/>
                <a:gd name="T15" fmla="*/ 30 h 62"/>
                <a:gd name="T16" fmla="*/ 0 w 32"/>
                <a:gd name="T17" fmla="*/ 36 h 62"/>
                <a:gd name="T18" fmla="*/ 0 w 32"/>
                <a:gd name="T19" fmla="*/ 40 h 62"/>
                <a:gd name="T20" fmla="*/ 0 w 32"/>
                <a:gd name="T21" fmla="*/ 46 h 62"/>
                <a:gd name="T22" fmla="*/ 2 w 32"/>
                <a:gd name="T23" fmla="*/ 52 h 62"/>
                <a:gd name="T24" fmla="*/ 6 w 32"/>
                <a:gd name="T25" fmla="*/ 56 h 62"/>
                <a:gd name="T26" fmla="*/ 6 w 32"/>
                <a:gd name="T27" fmla="*/ 58 h 62"/>
                <a:gd name="T28" fmla="*/ 8 w 32"/>
                <a:gd name="T29" fmla="*/ 60 h 62"/>
                <a:gd name="T30" fmla="*/ 10 w 32"/>
                <a:gd name="T31" fmla="*/ 60 h 62"/>
                <a:gd name="T32" fmla="*/ 14 w 32"/>
                <a:gd name="T33" fmla="*/ 62 h 62"/>
                <a:gd name="T34" fmla="*/ 20 w 32"/>
                <a:gd name="T35" fmla="*/ 60 h 62"/>
                <a:gd name="T36" fmla="*/ 26 w 32"/>
                <a:gd name="T37" fmla="*/ 58 h 62"/>
                <a:gd name="T38" fmla="*/ 28 w 32"/>
                <a:gd name="T39" fmla="*/ 58 h 62"/>
                <a:gd name="T40" fmla="*/ 30 w 32"/>
                <a:gd name="T41" fmla="*/ 56 h 62"/>
                <a:gd name="T42" fmla="*/ 32 w 32"/>
                <a:gd name="T43" fmla="*/ 54 h 62"/>
                <a:gd name="T44" fmla="*/ 32 w 32"/>
                <a:gd name="T45" fmla="*/ 50 h 62"/>
                <a:gd name="T46" fmla="*/ 32 w 32"/>
                <a:gd name="T47" fmla="*/ 44 h 62"/>
                <a:gd name="T48" fmla="*/ 32 w 32"/>
                <a:gd name="T49" fmla="*/ 38 h 62"/>
                <a:gd name="T50" fmla="*/ 32 w 32"/>
                <a:gd name="T51" fmla="*/ 28 h 62"/>
                <a:gd name="T52" fmla="*/ 30 w 32"/>
                <a:gd name="T53" fmla="*/ 20 h 62"/>
                <a:gd name="T54" fmla="*/ 28 w 32"/>
                <a:gd name="T55" fmla="*/ 18 h 62"/>
                <a:gd name="T56" fmla="*/ 24 w 32"/>
                <a:gd name="T57" fmla="*/ 14 h 62"/>
                <a:gd name="T58" fmla="*/ 20 w 32"/>
                <a:gd name="T59" fmla="*/ 8 h 62"/>
                <a:gd name="T60" fmla="*/ 16 w 32"/>
                <a:gd name="T61" fmla="*/ 4 h 62"/>
                <a:gd name="T62" fmla="*/ 14 w 32"/>
                <a:gd name="T63" fmla="*/ 2 h 62"/>
                <a:gd name="T64" fmla="*/ 12 w 32"/>
                <a:gd name="T65" fmla="*/ 0 h 62"/>
                <a:gd name="T66" fmla="*/ 10 w 32"/>
                <a:gd name="T6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62">
                  <a:moveTo>
                    <a:pt x="10" y="0"/>
                  </a:moveTo>
                  <a:lnTo>
                    <a:pt x="10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4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2" y="48"/>
                  </a:lnTo>
                  <a:lnTo>
                    <a:pt x="2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4" y="62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2" y="60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30" y="56"/>
                  </a:lnTo>
                  <a:lnTo>
                    <a:pt x="30" y="54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2" y="46"/>
                  </a:lnTo>
                  <a:lnTo>
                    <a:pt x="32" y="44"/>
                  </a:lnTo>
                  <a:lnTo>
                    <a:pt x="32" y="42"/>
                  </a:lnTo>
                  <a:lnTo>
                    <a:pt x="32" y="38"/>
                  </a:lnTo>
                  <a:lnTo>
                    <a:pt x="32" y="34"/>
                  </a:lnTo>
                  <a:lnTo>
                    <a:pt x="32" y="28"/>
                  </a:lnTo>
                  <a:lnTo>
                    <a:pt x="30" y="24"/>
                  </a:lnTo>
                  <a:lnTo>
                    <a:pt x="30" y="20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4" y="14"/>
                  </a:lnTo>
                  <a:lnTo>
                    <a:pt x="22" y="12"/>
                  </a:lnTo>
                  <a:lnTo>
                    <a:pt x="20" y="8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76" name="Freeform 128">
              <a:extLst>
                <a:ext uri="{FF2B5EF4-FFF2-40B4-BE49-F238E27FC236}">
                  <a16:creationId xmlns:a16="http://schemas.microsoft.com/office/drawing/2014/main" id="{541C2F18-B667-49DC-A865-DE08E9581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678" y="4123021"/>
              <a:ext cx="246014" cy="183865"/>
            </a:xfrm>
            <a:custGeom>
              <a:avLst/>
              <a:gdLst>
                <a:gd name="T0" fmla="*/ 50 w 144"/>
                <a:gd name="T1" fmla="*/ 48 h 110"/>
                <a:gd name="T2" fmla="*/ 52 w 144"/>
                <a:gd name="T3" fmla="*/ 40 h 110"/>
                <a:gd name="T4" fmla="*/ 50 w 144"/>
                <a:gd name="T5" fmla="*/ 38 h 110"/>
                <a:gd name="T6" fmla="*/ 48 w 144"/>
                <a:gd name="T7" fmla="*/ 36 h 110"/>
                <a:gd name="T8" fmla="*/ 42 w 144"/>
                <a:gd name="T9" fmla="*/ 34 h 110"/>
                <a:gd name="T10" fmla="*/ 30 w 144"/>
                <a:gd name="T11" fmla="*/ 34 h 110"/>
                <a:gd name="T12" fmla="*/ 18 w 144"/>
                <a:gd name="T13" fmla="*/ 34 h 110"/>
                <a:gd name="T14" fmla="*/ 10 w 144"/>
                <a:gd name="T15" fmla="*/ 34 h 110"/>
                <a:gd name="T16" fmla="*/ 4 w 144"/>
                <a:gd name="T17" fmla="*/ 38 h 110"/>
                <a:gd name="T18" fmla="*/ 0 w 144"/>
                <a:gd name="T19" fmla="*/ 66 h 110"/>
                <a:gd name="T20" fmla="*/ 0 w 144"/>
                <a:gd name="T21" fmla="*/ 84 h 110"/>
                <a:gd name="T22" fmla="*/ 0 w 144"/>
                <a:gd name="T23" fmla="*/ 90 h 110"/>
                <a:gd name="T24" fmla="*/ 2 w 144"/>
                <a:gd name="T25" fmla="*/ 94 h 110"/>
                <a:gd name="T26" fmla="*/ 6 w 144"/>
                <a:gd name="T27" fmla="*/ 102 h 110"/>
                <a:gd name="T28" fmla="*/ 10 w 144"/>
                <a:gd name="T29" fmla="*/ 106 h 110"/>
                <a:gd name="T30" fmla="*/ 16 w 144"/>
                <a:gd name="T31" fmla="*/ 108 h 110"/>
                <a:gd name="T32" fmla="*/ 22 w 144"/>
                <a:gd name="T33" fmla="*/ 110 h 110"/>
                <a:gd name="T34" fmla="*/ 24 w 144"/>
                <a:gd name="T35" fmla="*/ 110 h 110"/>
                <a:gd name="T36" fmla="*/ 26 w 144"/>
                <a:gd name="T37" fmla="*/ 106 h 110"/>
                <a:gd name="T38" fmla="*/ 32 w 144"/>
                <a:gd name="T39" fmla="*/ 100 h 110"/>
                <a:gd name="T40" fmla="*/ 44 w 144"/>
                <a:gd name="T41" fmla="*/ 88 h 110"/>
                <a:gd name="T42" fmla="*/ 50 w 144"/>
                <a:gd name="T43" fmla="*/ 82 h 110"/>
                <a:gd name="T44" fmla="*/ 52 w 144"/>
                <a:gd name="T45" fmla="*/ 80 h 110"/>
                <a:gd name="T46" fmla="*/ 58 w 144"/>
                <a:gd name="T47" fmla="*/ 78 h 110"/>
                <a:gd name="T48" fmla="*/ 72 w 144"/>
                <a:gd name="T49" fmla="*/ 80 h 110"/>
                <a:gd name="T50" fmla="*/ 84 w 144"/>
                <a:gd name="T51" fmla="*/ 80 h 110"/>
                <a:gd name="T52" fmla="*/ 90 w 144"/>
                <a:gd name="T53" fmla="*/ 78 h 110"/>
                <a:gd name="T54" fmla="*/ 92 w 144"/>
                <a:gd name="T55" fmla="*/ 76 h 110"/>
                <a:gd name="T56" fmla="*/ 98 w 144"/>
                <a:gd name="T57" fmla="*/ 70 h 110"/>
                <a:gd name="T58" fmla="*/ 102 w 144"/>
                <a:gd name="T59" fmla="*/ 68 h 110"/>
                <a:gd name="T60" fmla="*/ 108 w 144"/>
                <a:gd name="T61" fmla="*/ 66 h 110"/>
                <a:gd name="T62" fmla="*/ 122 w 144"/>
                <a:gd name="T63" fmla="*/ 66 h 110"/>
                <a:gd name="T64" fmla="*/ 130 w 144"/>
                <a:gd name="T65" fmla="*/ 66 h 110"/>
                <a:gd name="T66" fmla="*/ 134 w 144"/>
                <a:gd name="T67" fmla="*/ 62 h 110"/>
                <a:gd name="T68" fmla="*/ 134 w 144"/>
                <a:gd name="T69" fmla="*/ 62 h 110"/>
                <a:gd name="T70" fmla="*/ 134 w 144"/>
                <a:gd name="T71" fmla="*/ 56 h 110"/>
                <a:gd name="T72" fmla="*/ 134 w 144"/>
                <a:gd name="T73" fmla="*/ 52 h 110"/>
                <a:gd name="T74" fmla="*/ 134 w 144"/>
                <a:gd name="T75" fmla="*/ 50 h 110"/>
                <a:gd name="T76" fmla="*/ 140 w 144"/>
                <a:gd name="T77" fmla="*/ 44 h 110"/>
                <a:gd name="T78" fmla="*/ 142 w 144"/>
                <a:gd name="T79" fmla="*/ 32 h 110"/>
                <a:gd name="T80" fmla="*/ 130 w 144"/>
                <a:gd name="T81" fmla="*/ 0 h 110"/>
                <a:gd name="T82" fmla="*/ 112 w 144"/>
                <a:gd name="T83" fmla="*/ 2 h 110"/>
                <a:gd name="T84" fmla="*/ 98 w 144"/>
                <a:gd name="T85" fmla="*/ 4 h 110"/>
                <a:gd name="T86" fmla="*/ 90 w 144"/>
                <a:gd name="T87" fmla="*/ 8 h 110"/>
                <a:gd name="T88" fmla="*/ 84 w 144"/>
                <a:gd name="T89" fmla="*/ 12 h 110"/>
                <a:gd name="T90" fmla="*/ 78 w 144"/>
                <a:gd name="T91" fmla="*/ 18 h 110"/>
                <a:gd name="T92" fmla="*/ 74 w 144"/>
                <a:gd name="T93" fmla="*/ 24 h 110"/>
                <a:gd name="T94" fmla="*/ 74 w 144"/>
                <a:gd name="T95" fmla="*/ 28 h 110"/>
                <a:gd name="T96" fmla="*/ 72 w 144"/>
                <a:gd name="T97" fmla="*/ 38 h 110"/>
                <a:gd name="T98" fmla="*/ 70 w 144"/>
                <a:gd name="T99" fmla="*/ 44 h 110"/>
                <a:gd name="T100" fmla="*/ 68 w 144"/>
                <a:gd name="T101" fmla="*/ 46 h 110"/>
                <a:gd name="T102" fmla="*/ 58 w 144"/>
                <a:gd name="T103" fmla="*/ 5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" h="110">
                  <a:moveTo>
                    <a:pt x="50" y="60"/>
                  </a:moveTo>
                  <a:lnTo>
                    <a:pt x="50" y="60"/>
                  </a:lnTo>
                  <a:lnTo>
                    <a:pt x="50" y="48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38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6" y="36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36" y="34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4" y="34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4" y="38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0" y="7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4" y="98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8" y="102"/>
                  </a:lnTo>
                  <a:lnTo>
                    <a:pt x="8" y="104"/>
                  </a:lnTo>
                  <a:lnTo>
                    <a:pt x="10" y="106"/>
                  </a:lnTo>
                  <a:lnTo>
                    <a:pt x="12" y="106"/>
                  </a:lnTo>
                  <a:lnTo>
                    <a:pt x="14" y="108"/>
                  </a:lnTo>
                  <a:lnTo>
                    <a:pt x="16" y="108"/>
                  </a:lnTo>
                  <a:lnTo>
                    <a:pt x="18" y="110"/>
                  </a:lnTo>
                  <a:lnTo>
                    <a:pt x="20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4" y="110"/>
                  </a:lnTo>
                  <a:lnTo>
                    <a:pt x="24" y="108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8" y="106"/>
                  </a:lnTo>
                  <a:lnTo>
                    <a:pt x="30" y="102"/>
                  </a:lnTo>
                  <a:lnTo>
                    <a:pt x="32" y="100"/>
                  </a:lnTo>
                  <a:lnTo>
                    <a:pt x="34" y="98"/>
                  </a:lnTo>
                  <a:lnTo>
                    <a:pt x="40" y="92"/>
                  </a:lnTo>
                  <a:lnTo>
                    <a:pt x="44" y="88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50" y="82"/>
                  </a:lnTo>
                  <a:lnTo>
                    <a:pt x="52" y="82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4" y="80"/>
                  </a:lnTo>
                  <a:lnTo>
                    <a:pt x="56" y="78"/>
                  </a:lnTo>
                  <a:lnTo>
                    <a:pt x="58" y="78"/>
                  </a:lnTo>
                  <a:lnTo>
                    <a:pt x="62" y="78"/>
                  </a:lnTo>
                  <a:lnTo>
                    <a:pt x="66" y="78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2" y="80"/>
                  </a:lnTo>
                  <a:lnTo>
                    <a:pt x="84" y="80"/>
                  </a:lnTo>
                  <a:lnTo>
                    <a:pt x="86" y="80"/>
                  </a:lnTo>
                  <a:lnTo>
                    <a:pt x="88" y="80"/>
                  </a:lnTo>
                  <a:lnTo>
                    <a:pt x="90" y="78"/>
                  </a:lnTo>
                  <a:lnTo>
                    <a:pt x="90" y="78"/>
                  </a:lnTo>
                  <a:lnTo>
                    <a:pt x="92" y="78"/>
                  </a:lnTo>
                  <a:lnTo>
                    <a:pt x="92" y="76"/>
                  </a:lnTo>
                  <a:lnTo>
                    <a:pt x="94" y="76"/>
                  </a:lnTo>
                  <a:lnTo>
                    <a:pt x="96" y="74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0" y="68"/>
                  </a:lnTo>
                  <a:lnTo>
                    <a:pt x="102" y="68"/>
                  </a:lnTo>
                  <a:lnTo>
                    <a:pt x="104" y="68"/>
                  </a:lnTo>
                  <a:lnTo>
                    <a:pt x="106" y="68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18" y="66"/>
                  </a:lnTo>
                  <a:lnTo>
                    <a:pt x="122" y="66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30" y="66"/>
                  </a:lnTo>
                  <a:lnTo>
                    <a:pt x="132" y="64"/>
                  </a:lnTo>
                  <a:lnTo>
                    <a:pt x="132" y="64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0"/>
                  </a:lnTo>
                  <a:lnTo>
                    <a:pt x="134" y="58"/>
                  </a:lnTo>
                  <a:lnTo>
                    <a:pt x="134" y="56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40" y="44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2" y="32"/>
                  </a:lnTo>
                  <a:lnTo>
                    <a:pt x="136" y="18"/>
                  </a:lnTo>
                  <a:lnTo>
                    <a:pt x="132" y="8"/>
                  </a:lnTo>
                  <a:lnTo>
                    <a:pt x="130" y="0"/>
                  </a:lnTo>
                  <a:lnTo>
                    <a:pt x="124" y="2"/>
                  </a:lnTo>
                  <a:lnTo>
                    <a:pt x="118" y="2"/>
                  </a:lnTo>
                  <a:lnTo>
                    <a:pt x="112" y="2"/>
                  </a:lnTo>
                  <a:lnTo>
                    <a:pt x="104" y="4"/>
                  </a:lnTo>
                  <a:lnTo>
                    <a:pt x="102" y="4"/>
                  </a:lnTo>
                  <a:lnTo>
                    <a:pt x="98" y="4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4" y="12"/>
                  </a:lnTo>
                  <a:lnTo>
                    <a:pt x="82" y="14"/>
                  </a:lnTo>
                  <a:lnTo>
                    <a:pt x="80" y="16"/>
                  </a:lnTo>
                  <a:lnTo>
                    <a:pt x="78" y="18"/>
                  </a:lnTo>
                  <a:lnTo>
                    <a:pt x="76" y="20"/>
                  </a:lnTo>
                  <a:lnTo>
                    <a:pt x="76" y="22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6"/>
                  </a:lnTo>
                  <a:lnTo>
                    <a:pt x="74" y="28"/>
                  </a:lnTo>
                  <a:lnTo>
                    <a:pt x="72" y="32"/>
                  </a:lnTo>
                  <a:lnTo>
                    <a:pt x="72" y="34"/>
                  </a:lnTo>
                  <a:lnTo>
                    <a:pt x="72" y="38"/>
                  </a:lnTo>
                  <a:lnTo>
                    <a:pt x="72" y="40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6" y="50"/>
                  </a:lnTo>
                  <a:lnTo>
                    <a:pt x="62" y="52"/>
                  </a:lnTo>
                  <a:lnTo>
                    <a:pt x="58" y="54"/>
                  </a:lnTo>
                  <a:lnTo>
                    <a:pt x="54" y="58"/>
                  </a:lnTo>
                  <a:lnTo>
                    <a:pt x="50" y="6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77" name="Freeform 133">
              <a:extLst>
                <a:ext uri="{FF2B5EF4-FFF2-40B4-BE49-F238E27FC236}">
                  <a16:creationId xmlns:a16="http://schemas.microsoft.com/office/drawing/2014/main" id="{7E591C46-89F5-4ED4-BB9B-353368805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5832" y="3715176"/>
              <a:ext cx="102506" cy="120347"/>
            </a:xfrm>
            <a:custGeom>
              <a:avLst/>
              <a:gdLst>
                <a:gd name="T0" fmla="*/ 18 w 60"/>
                <a:gd name="T1" fmla="*/ 72 h 72"/>
                <a:gd name="T2" fmla="*/ 20 w 60"/>
                <a:gd name="T3" fmla="*/ 70 h 72"/>
                <a:gd name="T4" fmla="*/ 24 w 60"/>
                <a:gd name="T5" fmla="*/ 68 h 72"/>
                <a:gd name="T6" fmla="*/ 28 w 60"/>
                <a:gd name="T7" fmla="*/ 62 h 72"/>
                <a:gd name="T8" fmla="*/ 32 w 60"/>
                <a:gd name="T9" fmla="*/ 58 h 72"/>
                <a:gd name="T10" fmla="*/ 34 w 60"/>
                <a:gd name="T11" fmla="*/ 56 h 72"/>
                <a:gd name="T12" fmla="*/ 40 w 60"/>
                <a:gd name="T13" fmla="*/ 52 h 72"/>
                <a:gd name="T14" fmla="*/ 42 w 60"/>
                <a:gd name="T15" fmla="*/ 50 h 72"/>
                <a:gd name="T16" fmla="*/ 44 w 60"/>
                <a:gd name="T17" fmla="*/ 48 h 72"/>
                <a:gd name="T18" fmla="*/ 44 w 60"/>
                <a:gd name="T19" fmla="*/ 46 h 72"/>
                <a:gd name="T20" fmla="*/ 44 w 60"/>
                <a:gd name="T21" fmla="*/ 44 h 72"/>
                <a:gd name="T22" fmla="*/ 44 w 60"/>
                <a:gd name="T23" fmla="*/ 38 h 72"/>
                <a:gd name="T24" fmla="*/ 44 w 60"/>
                <a:gd name="T25" fmla="*/ 34 h 72"/>
                <a:gd name="T26" fmla="*/ 44 w 60"/>
                <a:gd name="T27" fmla="*/ 30 h 72"/>
                <a:gd name="T28" fmla="*/ 44 w 60"/>
                <a:gd name="T29" fmla="*/ 28 h 72"/>
                <a:gd name="T30" fmla="*/ 46 w 60"/>
                <a:gd name="T31" fmla="*/ 26 h 72"/>
                <a:gd name="T32" fmla="*/ 48 w 60"/>
                <a:gd name="T33" fmla="*/ 24 h 72"/>
                <a:gd name="T34" fmla="*/ 52 w 60"/>
                <a:gd name="T35" fmla="*/ 20 h 72"/>
                <a:gd name="T36" fmla="*/ 60 w 60"/>
                <a:gd name="T37" fmla="*/ 14 h 72"/>
                <a:gd name="T38" fmla="*/ 50 w 60"/>
                <a:gd name="T39" fmla="*/ 2 h 72"/>
                <a:gd name="T40" fmla="*/ 42 w 60"/>
                <a:gd name="T41" fmla="*/ 8 h 72"/>
                <a:gd name="T42" fmla="*/ 36 w 60"/>
                <a:gd name="T43" fmla="*/ 12 h 72"/>
                <a:gd name="T44" fmla="*/ 34 w 60"/>
                <a:gd name="T45" fmla="*/ 14 h 72"/>
                <a:gd name="T46" fmla="*/ 30 w 60"/>
                <a:gd name="T47" fmla="*/ 14 h 72"/>
                <a:gd name="T48" fmla="*/ 24 w 60"/>
                <a:gd name="T49" fmla="*/ 14 h 72"/>
                <a:gd name="T50" fmla="*/ 18 w 60"/>
                <a:gd name="T51" fmla="*/ 12 h 72"/>
                <a:gd name="T52" fmla="*/ 14 w 60"/>
                <a:gd name="T53" fmla="*/ 12 h 72"/>
                <a:gd name="T54" fmla="*/ 10 w 60"/>
                <a:gd name="T55" fmla="*/ 8 h 72"/>
                <a:gd name="T56" fmla="*/ 4 w 60"/>
                <a:gd name="T57" fmla="*/ 4 h 72"/>
                <a:gd name="T58" fmla="*/ 4 w 60"/>
                <a:gd name="T59" fmla="*/ 16 h 72"/>
                <a:gd name="T60" fmla="*/ 4 w 60"/>
                <a:gd name="T61" fmla="*/ 32 h 72"/>
                <a:gd name="T62" fmla="*/ 2 w 60"/>
                <a:gd name="T63" fmla="*/ 40 h 72"/>
                <a:gd name="T64" fmla="*/ 0 w 60"/>
                <a:gd name="T65" fmla="*/ 54 h 72"/>
                <a:gd name="T66" fmla="*/ 4 w 60"/>
                <a:gd name="T67" fmla="*/ 72 h 72"/>
                <a:gd name="T68" fmla="*/ 12 w 60"/>
                <a:gd name="T69" fmla="*/ 72 h 72"/>
                <a:gd name="T70" fmla="*/ 16 w 60"/>
                <a:gd name="T71" fmla="*/ 72 h 72"/>
                <a:gd name="T72" fmla="*/ 18 w 60"/>
                <a:gd name="T7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72">
                  <a:moveTo>
                    <a:pt x="18" y="72"/>
                  </a:moveTo>
                  <a:lnTo>
                    <a:pt x="18" y="72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22" y="70"/>
                  </a:lnTo>
                  <a:lnTo>
                    <a:pt x="24" y="68"/>
                  </a:lnTo>
                  <a:lnTo>
                    <a:pt x="26" y="66"/>
                  </a:lnTo>
                  <a:lnTo>
                    <a:pt x="28" y="62"/>
                  </a:lnTo>
                  <a:lnTo>
                    <a:pt x="30" y="60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40" y="52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4" y="36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8" y="24"/>
                  </a:lnTo>
                  <a:lnTo>
                    <a:pt x="50" y="22"/>
                  </a:lnTo>
                  <a:lnTo>
                    <a:pt x="52" y="20"/>
                  </a:lnTo>
                  <a:lnTo>
                    <a:pt x="58" y="16"/>
                  </a:lnTo>
                  <a:lnTo>
                    <a:pt x="60" y="14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4" y="6"/>
                  </a:lnTo>
                  <a:lnTo>
                    <a:pt x="42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4" y="12"/>
                  </a:lnTo>
                  <a:lnTo>
                    <a:pt x="34" y="14"/>
                  </a:lnTo>
                  <a:lnTo>
                    <a:pt x="32" y="14"/>
                  </a:lnTo>
                  <a:lnTo>
                    <a:pt x="30" y="14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2" y="10"/>
                  </a:lnTo>
                  <a:lnTo>
                    <a:pt x="10" y="8"/>
                  </a:lnTo>
                  <a:lnTo>
                    <a:pt x="8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16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2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18" y="7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78" name="Freeform 135">
              <a:extLst>
                <a:ext uri="{FF2B5EF4-FFF2-40B4-BE49-F238E27FC236}">
                  <a16:creationId xmlns:a16="http://schemas.microsoft.com/office/drawing/2014/main" id="{60D6D6C7-C671-4620-AEBB-04CC287AC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2667" y="3598171"/>
              <a:ext cx="143507" cy="140405"/>
            </a:xfrm>
            <a:custGeom>
              <a:avLst/>
              <a:gdLst>
                <a:gd name="T0" fmla="*/ 0 w 84"/>
                <a:gd name="T1" fmla="*/ 72 h 84"/>
                <a:gd name="T2" fmla="*/ 4 w 84"/>
                <a:gd name="T3" fmla="*/ 76 h 84"/>
                <a:gd name="T4" fmla="*/ 8 w 84"/>
                <a:gd name="T5" fmla="*/ 80 h 84"/>
                <a:gd name="T6" fmla="*/ 12 w 84"/>
                <a:gd name="T7" fmla="*/ 82 h 84"/>
                <a:gd name="T8" fmla="*/ 16 w 84"/>
                <a:gd name="T9" fmla="*/ 84 h 84"/>
                <a:gd name="T10" fmla="*/ 22 w 84"/>
                <a:gd name="T11" fmla="*/ 84 h 84"/>
                <a:gd name="T12" fmla="*/ 28 w 84"/>
                <a:gd name="T13" fmla="*/ 84 h 84"/>
                <a:gd name="T14" fmla="*/ 30 w 84"/>
                <a:gd name="T15" fmla="*/ 84 h 84"/>
                <a:gd name="T16" fmla="*/ 34 w 84"/>
                <a:gd name="T17" fmla="*/ 82 h 84"/>
                <a:gd name="T18" fmla="*/ 40 w 84"/>
                <a:gd name="T19" fmla="*/ 76 h 84"/>
                <a:gd name="T20" fmla="*/ 48 w 84"/>
                <a:gd name="T21" fmla="*/ 70 h 84"/>
                <a:gd name="T22" fmla="*/ 62 w 84"/>
                <a:gd name="T23" fmla="*/ 62 h 84"/>
                <a:gd name="T24" fmla="*/ 72 w 84"/>
                <a:gd name="T25" fmla="*/ 56 h 84"/>
                <a:gd name="T26" fmla="*/ 78 w 84"/>
                <a:gd name="T27" fmla="*/ 52 h 84"/>
                <a:gd name="T28" fmla="*/ 80 w 84"/>
                <a:gd name="T29" fmla="*/ 50 h 84"/>
                <a:gd name="T30" fmla="*/ 82 w 84"/>
                <a:gd name="T31" fmla="*/ 48 h 84"/>
                <a:gd name="T32" fmla="*/ 84 w 84"/>
                <a:gd name="T33" fmla="*/ 44 h 84"/>
                <a:gd name="T34" fmla="*/ 84 w 84"/>
                <a:gd name="T35" fmla="*/ 38 h 84"/>
                <a:gd name="T36" fmla="*/ 84 w 84"/>
                <a:gd name="T37" fmla="*/ 30 h 84"/>
                <a:gd name="T38" fmla="*/ 84 w 84"/>
                <a:gd name="T39" fmla="*/ 16 h 84"/>
                <a:gd name="T40" fmla="*/ 84 w 84"/>
                <a:gd name="T41" fmla="*/ 12 h 84"/>
                <a:gd name="T42" fmla="*/ 82 w 84"/>
                <a:gd name="T43" fmla="*/ 6 h 84"/>
                <a:gd name="T44" fmla="*/ 82 w 84"/>
                <a:gd name="T45" fmla="*/ 2 h 84"/>
                <a:gd name="T46" fmla="*/ 80 w 84"/>
                <a:gd name="T47" fmla="*/ 0 h 84"/>
                <a:gd name="T48" fmla="*/ 78 w 84"/>
                <a:gd name="T49" fmla="*/ 0 h 84"/>
                <a:gd name="T50" fmla="*/ 76 w 84"/>
                <a:gd name="T51" fmla="*/ 0 h 84"/>
                <a:gd name="T52" fmla="*/ 72 w 84"/>
                <a:gd name="T53" fmla="*/ 0 h 84"/>
                <a:gd name="T54" fmla="*/ 66 w 84"/>
                <a:gd name="T55" fmla="*/ 2 h 84"/>
                <a:gd name="T56" fmla="*/ 60 w 84"/>
                <a:gd name="T57" fmla="*/ 4 h 84"/>
                <a:gd name="T58" fmla="*/ 52 w 84"/>
                <a:gd name="T59" fmla="*/ 4 h 84"/>
                <a:gd name="T60" fmla="*/ 44 w 84"/>
                <a:gd name="T61" fmla="*/ 4 h 84"/>
                <a:gd name="T62" fmla="*/ 32 w 84"/>
                <a:gd name="T63" fmla="*/ 4 h 84"/>
                <a:gd name="T64" fmla="*/ 22 w 84"/>
                <a:gd name="T65" fmla="*/ 6 h 84"/>
                <a:gd name="T66" fmla="*/ 14 w 84"/>
                <a:gd name="T67" fmla="*/ 8 h 84"/>
                <a:gd name="T68" fmla="*/ 8 w 84"/>
                <a:gd name="T69" fmla="*/ 10 h 84"/>
                <a:gd name="T70" fmla="*/ 6 w 84"/>
                <a:gd name="T71" fmla="*/ 20 h 84"/>
                <a:gd name="T72" fmla="*/ 4 w 84"/>
                <a:gd name="T73" fmla="*/ 24 h 84"/>
                <a:gd name="T74" fmla="*/ 6 w 84"/>
                <a:gd name="T75" fmla="*/ 28 h 84"/>
                <a:gd name="T76" fmla="*/ 6 w 84"/>
                <a:gd name="T77" fmla="*/ 32 h 84"/>
                <a:gd name="T78" fmla="*/ 8 w 84"/>
                <a:gd name="T79" fmla="*/ 40 h 84"/>
                <a:gd name="T80" fmla="*/ 12 w 84"/>
                <a:gd name="T81" fmla="*/ 42 h 84"/>
                <a:gd name="T82" fmla="*/ 16 w 84"/>
                <a:gd name="T83" fmla="*/ 44 h 84"/>
                <a:gd name="T84" fmla="*/ 20 w 84"/>
                <a:gd name="T85" fmla="*/ 46 h 84"/>
                <a:gd name="T86" fmla="*/ 20 w 84"/>
                <a:gd name="T87" fmla="*/ 48 h 84"/>
                <a:gd name="T88" fmla="*/ 22 w 84"/>
                <a:gd name="T89" fmla="*/ 50 h 84"/>
                <a:gd name="T90" fmla="*/ 22 w 84"/>
                <a:gd name="T91" fmla="*/ 52 h 84"/>
                <a:gd name="T92" fmla="*/ 20 w 84"/>
                <a:gd name="T93" fmla="*/ 54 h 84"/>
                <a:gd name="T94" fmla="*/ 18 w 84"/>
                <a:gd name="T95" fmla="*/ 60 h 84"/>
                <a:gd name="T96" fmla="*/ 14 w 84"/>
                <a:gd name="T97" fmla="*/ 64 h 84"/>
                <a:gd name="T98" fmla="*/ 12 w 84"/>
                <a:gd name="T99" fmla="*/ 66 h 84"/>
                <a:gd name="T100" fmla="*/ 8 w 84"/>
                <a:gd name="T101" fmla="*/ 68 h 84"/>
                <a:gd name="T102" fmla="*/ 2 w 84"/>
                <a:gd name="T103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4" h="84">
                  <a:moveTo>
                    <a:pt x="0" y="72"/>
                  </a:moveTo>
                  <a:lnTo>
                    <a:pt x="0" y="72"/>
                  </a:lnTo>
                  <a:lnTo>
                    <a:pt x="0" y="74"/>
                  </a:lnTo>
                  <a:lnTo>
                    <a:pt x="4" y="76"/>
                  </a:lnTo>
                  <a:lnTo>
                    <a:pt x="6" y="80"/>
                  </a:lnTo>
                  <a:lnTo>
                    <a:pt x="8" y="80"/>
                  </a:lnTo>
                  <a:lnTo>
                    <a:pt x="10" y="82"/>
                  </a:lnTo>
                  <a:lnTo>
                    <a:pt x="12" y="82"/>
                  </a:lnTo>
                  <a:lnTo>
                    <a:pt x="14" y="82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2" y="84"/>
                  </a:lnTo>
                  <a:lnTo>
                    <a:pt x="26" y="84"/>
                  </a:lnTo>
                  <a:lnTo>
                    <a:pt x="28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2" y="82"/>
                  </a:lnTo>
                  <a:lnTo>
                    <a:pt x="34" y="82"/>
                  </a:lnTo>
                  <a:lnTo>
                    <a:pt x="38" y="78"/>
                  </a:lnTo>
                  <a:lnTo>
                    <a:pt x="40" y="76"/>
                  </a:lnTo>
                  <a:lnTo>
                    <a:pt x="46" y="72"/>
                  </a:lnTo>
                  <a:lnTo>
                    <a:pt x="48" y="70"/>
                  </a:lnTo>
                  <a:lnTo>
                    <a:pt x="54" y="66"/>
                  </a:lnTo>
                  <a:lnTo>
                    <a:pt x="62" y="62"/>
                  </a:lnTo>
                  <a:lnTo>
                    <a:pt x="68" y="58"/>
                  </a:lnTo>
                  <a:lnTo>
                    <a:pt x="72" y="56"/>
                  </a:lnTo>
                  <a:lnTo>
                    <a:pt x="76" y="54"/>
                  </a:lnTo>
                  <a:lnTo>
                    <a:pt x="78" y="52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2" y="46"/>
                  </a:lnTo>
                  <a:lnTo>
                    <a:pt x="84" y="44"/>
                  </a:lnTo>
                  <a:lnTo>
                    <a:pt x="84" y="42"/>
                  </a:lnTo>
                  <a:lnTo>
                    <a:pt x="84" y="38"/>
                  </a:lnTo>
                  <a:lnTo>
                    <a:pt x="84" y="34"/>
                  </a:lnTo>
                  <a:lnTo>
                    <a:pt x="84" y="30"/>
                  </a:lnTo>
                  <a:lnTo>
                    <a:pt x="84" y="24"/>
                  </a:lnTo>
                  <a:lnTo>
                    <a:pt x="84" y="16"/>
                  </a:lnTo>
                  <a:lnTo>
                    <a:pt x="84" y="14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0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38" y="4"/>
                  </a:lnTo>
                  <a:lnTo>
                    <a:pt x="32" y="4"/>
                  </a:lnTo>
                  <a:lnTo>
                    <a:pt x="26" y="6"/>
                  </a:lnTo>
                  <a:lnTo>
                    <a:pt x="22" y="6"/>
                  </a:lnTo>
                  <a:lnTo>
                    <a:pt x="18" y="8"/>
                  </a:lnTo>
                  <a:lnTo>
                    <a:pt x="14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4"/>
                  </a:lnTo>
                  <a:lnTo>
                    <a:pt x="18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2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2" y="52"/>
                  </a:lnTo>
                  <a:lnTo>
                    <a:pt x="20" y="52"/>
                  </a:lnTo>
                  <a:lnTo>
                    <a:pt x="20" y="54"/>
                  </a:lnTo>
                  <a:lnTo>
                    <a:pt x="18" y="58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79" name="Freeform 137">
              <a:extLst>
                <a:ext uri="{FF2B5EF4-FFF2-40B4-BE49-F238E27FC236}">
                  <a16:creationId xmlns:a16="http://schemas.microsoft.com/office/drawing/2014/main" id="{8D39CA30-7B46-4EEF-9533-412FB02DC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4283" y="3558055"/>
              <a:ext cx="331435" cy="290841"/>
            </a:xfrm>
            <a:custGeom>
              <a:avLst/>
              <a:gdLst>
                <a:gd name="T0" fmla="*/ 154 w 194"/>
                <a:gd name="T1" fmla="*/ 24 h 174"/>
                <a:gd name="T2" fmla="*/ 146 w 194"/>
                <a:gd name="T3" fmla="*/ 20 h 174"/>
                <a:gd name="T4" fmla="*/ 144 w 194"/>
                <a:gd name="T5" fmla="*/ 10 h 174"/>
                <a:gd name="T6" fmla="*/ 140 w 194"/>
                <a:gd name="T7" fmla="*/ 2 h 174"/>
                <a:gd name="T8" fmla="*/ 136 w 194"/>
                <a:gd name="T9" fmla="*/ 0 h 174"/>
                <a:gd name="T10" fmla="*/ 132 w 194"/>
                <a:gd name="T11" fmla="*/ 0 h 174"/>
                <a:gd name="T12" fmla="*/ 130 w 194"/>
                <a:gd name="T13" fmla="*/ 6 h 174"/>
                <a:gd name="T14" fmla="*/ 126 w 194"/>
                <a:gd name="T15" fmla="*/ 12 h 174"/>
                <a:gd name="T16" fmla="*/ 118 w 194"/>
                <a:gd name="T17" fmla="*/ 14 h 174"/>
                <a:gd name="T18" fmla="*/ 104 w 194"/>
                <a:gd name="T19" fmla="*/ 18 h 174"/>
                <a:gd name="T20" fmla="*/ 86 w 194"/>
                <a:gd name="T21" fmla="*/ 18 h 174"/>
                <a:gd name="T22" fmla="*/ 72 w 194"/>
                <a:gd name="T23" fmla="*/ 16 h 174"/>
                <a:gd name="T24" fmla="*/ 58 w 194"/>
                <a:gd name="T25" fmla="*/ 22 h 174"/>
                <a:gd name="T26" fmla="*/ 50 w 194"/>
                <a:gd name="T27" fmla="*/ 22 h 174"/>
                <a:gd name="T28" fmla="*/ 44 w 194"/>
                <a:gd name="T29" fmla="*/ 24 h 174"/>
                <a:gd name="T30" fmla="*/ 42 w 194"/>
                <a:gd name="T31" fmla="*/ 32 h 174"/>
                <a:gd name="T32" fmla="*/ 34 w 194"/>
                <a:gd name="T33" fmla="*/ 36 h 174"/>
                <a:gd name="T34" fmla="*/ 32 w 194"/>
                <a:gd name="T35" fmla="*/ 40 h 174"/>
                <a:gd name="T36" fmla="*/ 30 w 194"/>
                <a:gd name="T37" fmla="*/ 50 h 174"/>
                <a:gd name="T38" fmla="*/ 26 w 194"/>
                <a:gd name="T39" fmla="*/ 52 h 174"/>
                <a:gd name="T40" fmla="*/ 16 w 194"/>
                <a:gd name="T41" fmla="*/ 54 h 174"/>
                <a:gd name="T42" fmla="*/ 6 w 194"/>
                <a:gd name="T43" fmla="*/ 60 h 174"/>
                <a:gd name="T44" fmla="*/ 6 w 194"/>
                <a:gd name="T45" fmla="*/ 86 h 174"/>
                <a:gd name="T46" fmla="*/ 4 w 194"/>
                <a:gd name="T47" fmla="*/ 96 h 174"/>
                <a:gd name="T48" fmla="*/ 0 w 194"/>
                <a:gd name="T49" fmla="*/ 116 h 174"/>
                <a:gd name="T50" fmla="*/ 2 w 194"/>
                <a:gd name="T51" fmla="*/ 124 h 174"/>
                <a:gd name="T52" fmla="*/ 6 w 194"/>
                <a:gd name="T53" fmla="*/ 126 h 174"/>
                <a:gd name="T54" fmla="*/ 16 w 194"/>
                <a:gd name="T55" fmla="*/ 124 h 174"/>
                <a:gd name="T56" fmla="*/ 20 w 194"/>
                <a:gd name="T57" fmla="*/ 126 h 174"/>
                <a:gd name="T58" fmla="*/ 24 w 194"/>
                <a:gd name="T59" fmla="*/ 134 h 174"/>
                <a:gd name="T60" fmla="*/ 24 w 194"/>
                <a:gd name="T61" fmla="*/ 142 h 174"/>
                <a:gd name="T62" fmla="*/ 18 w 194"/>
                <a:gd name="T63" fmla="*/ 150 h 174"/>
                <a:gd name="T64" fmla="*/ 14 w 194"/>
                <a:gd name="T65" fmla="*/ 162 h 174"/>
                <a:gd name="T66" fmla="*/ 16 w 194"/>
                <a:gd name="T67" fmla="*/ 166 h 174"/>
                <a:gd name="T68" fmla="*/ 24 w 194"/>
                <a:gd name="T69" fmla="*/ 170 h 174"/>
                <a:gd name="T70" fmla="*/ 34 w 194"/>
                <a:gd name="T71" fmla="*/ 168 h 174"/>
                <a:gd name="T72" fmla="*/ 38 w 194"/>
                <a:gd name="T73" fmla="*/ 160 h 174"/>
                <a:gd name="T74" fmla="*/ 46 w 194"/>
                <a:gd name="T75" fmla="*/ 158 h 174"/>
                <a:gd name="T76" fmla="*/ 68 w 194"/>
                <a:gd name="T77" fmla="*/ 160 h 174"/>
                <a:gd name="T78" fmla="*/ 78 w 194"/>
                <a:gd name="T79" fmla="*/ 158 h 174"/>
                <a:gd name="T80" fmla="*/ 82 w 194"/>
                <a:gd name="T81" fmla="*/ 154 h 174"/>
                <a:gd name="T82" fmla="*/ 86 w 194"/>
                <a:gd name="T83" fmla="*/ 142 h 174"/>
                <a:gd name="T84" fmla="*/ 94 w 194"/>
                <a:gd name="T85" fmla="*/ 134 h 174"/>
                <a:gd name="T86" fmla="*/ 110 w 194"/>
                <a:gd name="T87" fmla="*/ 124 h 174"/>
                <a:gd name="T88" fmla="*/ 120 w 194"/>
                <a:gd name="T89" fmla="*/ 122 h 174"/>
                <a:gd name="T90" fmla="*/ 126 w 194"/>
                <a:gd name="T91" fmla="*/ 122 h 174"/>
                <a:gd name="T92" fmla="*/ 128 w 194"/>
                <a:gd name="T93" fmla="*/ 116 h 174"/>
                <a:gd name="T94" fmla="*/ 130 w 194"/>
                <a:gd name="T95" fmla="*/ 104 h 174"/>
                <a:gd name="T96" fmla="*/ 134 w 194"/>
                <a:gd name="T97" fmla="*/ 100 h 174"/>
                <a:gd name="T98" fmla="*/ 142 w 194"/>
                <a:gd name="T99" fmla="*/ 94 h 174"/>
                <a:gd name="T100" fmla="*/ 148 w 194"/>
                <a:gd name="T101" fmla="*/ 78 h 174"/>
                <a:gd name="T102" fmla="*/ 152 w 194"/>
                <a:gd name="T103" fmla="*/ 60 h 174"/>
                <a:gd name="T104" fmla="*/ 154 w 194"/>
                <a:gd name="T105" fmla="*/ 48 h 174"/>
                <a:gd name="T106" fmla="*/ 160 w 194"/>
                <a:gd name="T107" fmla="*/ 46 h 174"/>
                <a:gd name="T108" fmla="*/ 174 w 194"/>
                <a:gd name="T109" fmla="*/ 44 h 174"/>
                <a:gd name="T110" fmla="*/ 194 w 194"/>
                <a:gd name="T111" fmla="*/ 2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" h="174">
                  <a:moveTo>
                    <a:pt x="194" y="28"/>
                  </a:moveTo>
                  <a:lnTo>
                    <a:pt x="162" y="26"/>
                  </a:lnTo>
                  <a:lnTo>
                    <a:pt x="160" y="26"/>
                  </a:lnTo>
                  <a:lnTo>
                    <a:pt x="156" y="24"/>
                  </a:lnTo>
                  <a:lnTo>
                    <a:pt x="154" y="24"/>
                  </a:lnTo>
                  <a:lnTo>
                    <a:pt x="152" y="22"/>
                  </a:lnTo>
                  <a:lnTo>
                    <a:pt x="148" y="20"/>
                  </a:lnTo>
                  <a:lnTo>
                    <a:pt x="148" y="20"/>
                  </a:lnTo>
                  <a:lnTo>
                    <a:pt x="148" y="20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6"/>
                  </a:lnTo>
                  <a:lnTo>
                    <a:pt x="144" y="14"/>
                  </a:lnTo>
                  <a:lnTo>
                    <a:pt x="144" y="10"/>
                  </a:lnTo>
                  <a:lnTo>
                    <a:pt x="144" y="8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2"/>
                  </a:lnTo>
                  <a:lnTo>
                    <a:pt x="140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4"/>
                  </a:lnTo>
                  <a:lnTo>
                    <a:pt x="130" y="6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4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18" y="14"/>
                  </a:lnTo>
                  <a:lnTo>
                    <a:pt x="116" y="16"/>
                  </a:lnTo>
                  <a:lnTo>
                    <a:pt x="108" y="16"/>
                  </a:lnTo>
                  <a:lnTo>
                    <a:pt x="106" y="16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0" y="18"/>
                  </a:lnTo>
                  <a:lnTo>
                    <a:pt x="98" y="20"/>
                  </a:lnTo>
                  <a:lnTo>
                    <a:pt x="94" y="22"/>
                  </a:lnTo>
                  <a:lnTo>
                    <a:pt x="90" y="20"/>
                  </a:lnTo>
                  <a:lnTo>
                    <a:pt x="86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2" y="18"/>
                  </a:lnTo>
                  <a:lnTo>
                    <a:pt x="78" y="16"/>
                  </a:lnTo>
                  <a:lnTo>
                    <a:pt x="72" y="16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2" y="18"/>
                  </a:lnTo>
                  <a:lnTo>
                    <a:pt x="60" y="20"/>
                  </a:lnTo>
                  <a:lnTo>
                    <a:pt x="58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4" y="22"/>
                  </a:lnTo>
                  <a:lnTo>
                    <a:pt x="52" y="22"/>
                  </a:lnTo>
                  <a:lnTo>
                    <a:pt x="50" y="22"/>
                  </a:lnTo>
                  <a:lnTo>
                    <a:pt x="48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4" y="26"/>
                  </a:lnTo>
                  <a:lnTo>
                    <a:pt x="44" y="28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4" y="36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40"/>
                  </a:lnTo>
                  <a:lnTo>
                    <a:pt x="30" y="42"/>
                  </a:lnTo>
                  <a:lnTo>
                    <a:pt x="30" y="44"/>
                  </a:lnTo>
                  <a:lnTo>
                    <a:pt x="30" y="46"/>
                  </a:lnTo>
                  <a:lnTo>
                    <a:pt x="30" y="48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28" y="50"/>
                  </a:lnTo>
                  <a:lnTo>
                    <a:pt x="28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2" y="52"/>
                  </a:lnTo>
                  <a:lnTo>
                    <a:pt x="18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4" y="54"/>
                  </a:lnTo>
                  <a:lnTo>
                    <a:pt x="12" y="56"/>
                  </a:lnTo>
                  <a:lnTo>
                    <a:pt x="10" y="56"/>
                  </a:lnTo>
                  <a:lnTo>
                    <a:pt x="8" y="58"/>
                  </a:lnTo>
                  <a:lnTo>
                    <a:pt x="6" y="60"/>
                  </a:lnTo>
                  <a:lnTo>
                    <a:pt x="4" y="64"/>
                  </a:lnTo>
                  <a:lnTo>
                    <a:pt x="2" y="66"/>
                  </a:lnTo>
                  <a:lnTo>
                    <a:pt x="4" y="74"/>
                  </a:lnTo>
                  <a:lnTo>
                    <a:pt x="4" y="82"/>
                  </a:lnTo>
                  <a:lnTo>
                    <a:pt x="6" y="86"/>
                  </a:lnTo>
                  <a:lnTo>
                    <a:pt x="6" y="88"/>
                  </a:lnTo>
                  <a:lnTo>
                    <a:pt x="6" y="90"/>
                  </a:lnTo>
                  <a:lnTo>
                    <a:pt x="6" y="92"/>
                  </a:lnTo>
                  <a:lnTo>
                    <a:pt x="4" y="94"/>
                  </a:lnTo>
                  <a:lnTo>
                    <a:pt x="4" y="96"/>
                  </a:lnTo>
                  <a:lnTo>
                    <a:pt x="2" y="108"/>
                  </a:lnTo>
                  <a:lnTo>
                    <a:pt x="0" y="110"/>
                  </a:lnTo>
                  <a:lnTo>
                    <a:pt x="0" y="112"/>
                  </a:lnTo>
                  <a:lnTo>
                    <a:pt x="0" y="114"/>
                  </a:lnTo>
                  <a:lnTo>
                    <a:pt x="0" y="116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6" y="126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4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20" y="126"/>
                  </a:lnTo>
                  <a:lnTo>
                    <a:pt x="22" y="126"/>
                  </a:lnTo>
                  <a:lnTo>
                    <a:pt x="22" y="128"/>
                  </a:lnTo>
                  <a:lnTo>
                    <a:pt x="22" y="130"/>
                  </a:lnTo>
                  <a:lnTo>
                    <a:pt x="24" y="132"/>
                  </a:lnTo>
                  <a:lnTo>
                    <a:pt x="24" y="134"/>
                  </a:lnTo>
                  <a:lnTo>
                    <a:pt x="24" y="138"/>
                  </a:lnTo>
                  <a:lnTo>
                    <a:pt x="24" y="140"/>
                  </a:lnTo>
                  <a:lnTo>
                    <a:pt x="24" y="142"/>
                  </a:lnTo>
                  <a:lnTo>
                    <a:pt x="24" y="142"/>
                  </a:lnTo>
                  <a:lnTo>
                    <a:pt x="24" y="142"/>
                  </a:lnTo>
                  <a:lnTo>
                    <a:pt x="24" y="144"/>
                  </a:lnTo>
                  <a:lnTo>
                    <a:pt x="22" y="146"/>
                  </a:lnTo>
                  <a:lnTo>
                    <a:pt x="20" y="146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16" y="152"/>
                  </a:lnTo>
                  <a:lnTo>
                    <a:pt x="16" y="156"/>
                  </a:lnTo>
                  <a:lnTo>
                    <a:pt x="16" y="156"/>
                  </a:lnTo>
                  <a:lnTo>
                    <a:pt x="16" y="158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6" y="164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6" y="168"/>
                  </a:lnTo>
                  <a:lnTo>
                    <a:pt x="18" y="168"/>
                  </a:lnTo>
                  <a:lnTo>
                    <a:pt x="20" y="168"/>
                  </a:lnTo>
                  <a:lnTo>
                    <a:pt x="22" y="170"/>
                  </a:lnTo>
                  <a:lnTo>
                    <a:pt x="24" y="170"/>
                  </a:lnTo>
                  <a:lnTo>
                    <a:pt x="28" y="172"/>
                  </a:lnTo>
                  <a:lnTo>
                    <a:pt x="30" y="172"/>
                  </a:lnTo>
                  <a:lnTo>
                    <a:pt x="32" y="174"/>
                  </a:lnTo>
                  <a:lnTo>
                    <a:pt x="32" y="172"/>
                  </a:lnTo>
                  <a:lnTo>
                    <a:pt x="34" y="168"/>
                  </a:lnTo>
                  <a:lnTo>
                    <a:pt x="34" y="166"/>
                  </a:lnTo>
                  <a:lnTo>
                    <a:pt x="36" y="164"/>
                  </a:lnTo>
                  <a:lnTo>
                    <a:pt x="36" y="162"/>
                  </a:lnTo>
                  <a:lnTo>
                    <a:pt x="38" y="162"/>
                  </a:lnTo>
                  <a:lnTo>
                    <a:pt x="38" y="160"/>
                  </a:lnTo>
                  <a:lnTo>
                    <a:pt x="38" y="160"/>
                  </a:lnTo>
                  <a:lnTo>
                    <a:pt x="40" y="160"/>
                  </a:lnTo>
                  <a:lnTo>
                    <a:pt x="42" y="158"/>
                  </a:lnTo>
                  <a:lnTo>
                    <a:pt x="44" y="158"/>
                  </a:lnTo>
                  <a:lnTo>
                    <a:pt x="46" y="158"/>
                  </a:lnTo>
                  <a:lnTo>
                    <a:pt x="50" y="158"/>
                  </a:lnTo>
                  <a:lnTo>
                    <a:pt x="52" y="158"/>
                  </a:lnTo>
                  <a:lnTo>
                    <a:pt x="58" y="158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60"/>
                  </a:lnTo>
                  <a:lnTo>
                    <a:pt x="74" y="158"/>
                  </a:lnTo>
                  <a:lnTo>
                    <a:pt x="76" y="158"/>
                  </a:lnTo>
                  <a:lnTo>
                    <a:pt x="78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6"/>
                  </a:lnTo>
                  <a:lnTo>
                    <a:pt x="80" y="156"/>
                  </a:lnTo>
                  <a:lnTo>
                    <a:pt x="82" y="154"/>
                  </a:lnTo>
                  <a:lnTo>
                    <a:pt x="82" y="154"/>
                  </a:lnTo>
                  <a:lnTo>
                    <a:pt x="82" y="152"/>
                  </a:lnTo>
                  <a:lnTo>
                    <a:pt x="84" y="150"/>
                  </a:lnTo>
                  <a:lnTo>
                    <a:pt x="84" y="144"/>
                  </a:lnTo>
                  <a:lnTo>
                    <a:pt x="84" y="142"/>
                  </a:lnTo>
                  <a:lnTo>
                    <a:pt x="86" y="142"/>
                  </a:lnTo>
                  <a:lnTo>
                    <a:pt x="86" y="142"/>
                  </a:lnTo>
                  <a:lnTo>
                    <a:pt x="86" y="140"/>
                  </a:lnTo>
                  <a:lnTo>
                    <a:pt x="88" y="140"/>
                  </a:lnTo>
                  <a:lnTo>
                    <a:pt x="92" y="136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100" y="130"/>
                  </a:lnTo>
                  <a:lnTo>
                    <a:pt x="106" y="128"/>
                  </a:lnTo>
                  <a:lnTo>
                    <a:pt x="108" y="126"/>
                  </a:lnTo>
                  <a:lnTo>
                    <a:pt x="110" y="124"/>
                  </a:lnTo>
                  <a:lnTo>
                    <a:pt x="112" y="124"/>
                  </a:lnTo>
                  <a:lnTo>
                    <a:pt x="114" y="122"/>
                  </a:lnTo>
                  <a:lnTo>
                    <a:pt x="114" y="122"/>
                  </a:lnTo>
                  <a:lnTo>
                    <a:pt x="116" y="122"/>
                  </a:lnTo>
                  <a:lnTo>
                    <a:pt x="120" y="122"/>
                  </a:lnTo>
                  <a:lnTo>
                    <a:pt x="122" y="122"/>
                  </a:lnTo>
                  <a:lnTo>
                    <a:pt x="124" y="122"/>
                  </a:lnTo>
                  <a:lnTo>
                    <a:pt x="124" y="122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6" y="120"/>
                  </a:lnTo>
                  <a:lnTo>
                    <a:pt x="128" y="120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0"/>
                  </a:lnTo>
                  <a:lnTo>
                    <a:pt x="128" y="108"/>
                  </a:lnTo>
                  <a:lnTo>
                    <a:pt x="130" y="106"/>
                  </a:lnTo>
                  <a:lnTo>
                    <a:pt x="130" y="104"/>
                  </a:lnTo>
                  <a:lnTo>
                    <a:pt x="130" y="104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4" y="102"/>
                  </a:lnTo>
                  <a:lnTo>
                    <a:pt x="134" y="100"/>
                  </a:lnTo>
                  <a:lnTo>
                    <a:pt x="138" y="98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40" y="96"/>
                  </a:lnTo>
                  <a:lnTo>
                    <a:pt x="142" y="94"/>
                  </a:lnTo>
                  <a:lnTo>
                    <a:pt x="142" y="92"/>
                  </a:lnTo>
                  <a:lnTo>
                    <a:pt x="144" y="90"/>
                  </a:lnTo>
                  <a:lnTo>
                    <a:pt x="144" y="86"/>
                  </a:lnTo>
                  <a:lnTo>
                    <a:pt x="146" y="82"/>
                  </a:lnTo>
                  <a:lnTo>
                    <a:pt x="148" y="78"/>
                  </a:lnTo>
                  <a:lnTo>
                    <a:pt x="150" y="74"/>
                  </a:lnTo>
                  <a:lnTo>
                    <a:pt x="150" y="68"/>
                  </a:lnTo>
                  <a:lnTo>
                    <a:pt x="152" y="66"/>
                  </a:lnTo>
                  <a:lnTo>
                    <a:pt x="152" y="64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2" y="54"/>
                  </a:lnTo>
                  <a:lnTo>
                    <a:pt x="154" y="52"/>
                  </a:lnTo>
                  <a:lnTo>
                    <a:pt x="154" y="50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6" y="48"/>
                  </a:lnTo>
                  <a:lnTo>
                    <a:pt x="156" y="46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2" y="44"/>
                  </a:lnTo>
                  <a:lnTo>
                    <a:pt x="166" y="44"/>
                  </a:lnTo>
                  <a:lnTo>
                    <a:pt x="168" y="42"/>
                  </a:lnTo>
                  <a:lnTo>
                    <a:pt x="170" y="44"/>
                  </a:lnTo>
                  <a:lnTo>
                    <a:pt x="174" y="44"/>
                  </a:lnTo>
                  <a:lnTo>
                    <a:pt x="178" y="46"/>
                  </a:lnTo>
                  <a:lnTo>
                    <a:pt x="180" y="46"/>
                  </a:lnTo>
                  <a:lnTo>
                    <a:pt x="186" y="48"/>
                  </a:lnTo>
                  <a:lnTo>
                    <a:pt x="190" y="52"/>
                  </a:lnTo>
                  <a:lnTo>
                    <a:pt x="194" y="2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80" name="Freeform 139">
              <a:extLst>
                <a:ext uri="{FF2B5EF4-FFF2-40B4-BE49-F238E27FC236}">
                  <a16:creationId xmlns:a16="http://schemas.microsoft.com/office/drawing/2014/main" id="{0C5D7D3E-A5E4-4917-BBE1-A931A6794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2689" y="3447736"/>
              <a:ext cx="314350" cy="220637"/>
            </a:xfrm>
            <a:custGeom>
              <a:avLst/>
              <a:gdLst>
                <a:gd name="T0" fmla="*/ 176 w 184"/>
                <a:gd name="T1" fmla="*/ 88 h 132"/>
                <a:gd name="T2" fmla="*/ 164 w 184"/>
                <a:gd name="T3" fmla="*/ 90 h 132"/>
                <a:gd name="T4" fmla="*/ 162 w 184"/>
                <a:gd name="T5" fmla="*/ 96 h 132"/>
                <a:gd name="T6" fmla="*/ 154 w 184"/>
                <a:gd name="T7" fmla="*/ 102 h 132"/>
                <a:gd name="T8" fmla="*/ 150 w 184"/>
                <a:gd name="T9" fmla="*/ 106 h 132"/>
                <a:gd name="T10" fmla="*/ 148 w 184"/>
                <a:gd name="T11" fmla="*/ 116 h 132"/>
                <a:gd name="T12" fmla="*/ 140 w 184"/>
                <a:gd name="T13" fmla="*/ 118 h 132"/>
                <a:gd name="T14" fmla="*/ 128 w 184"/>
                <a:gd name="T15" fmla="*/ 122 h 132"/>
                <a:gd name="T16" fmla="*/ 122 w 184"/>
                <a:gd name="T17" fmla="*/ 122 h 132"/>
                <a:gd name="T18" fmla="*/ 126 w 184"/>
                <a:gd name="T19" fmla="*/ 102 h 132"/>
                <a:gd name="T20" fmla="*/ 122 w 184"/>
                <a:gd name="T21" fmla="*/ 96 h 132"/>
                <a:gd name="T22" fmla="*/ 104 w 184"/>
                <a:gd name="T23" fmla="*/ 88 h 132"/>
                <a:gd name="T24" fmla="*/ 84 w 184"/>
                <a:gd name="T25" fmla="*/ 74 h 132"/>
                <a:gd name="T26" fmla="*/ 74 w 184"/>
                <a:gd name="T27" fmla="*/ 72 h 132"/>
                <a:gd name="T28" fmla="*/ 52 w 184"/>
                <a:gd name="T29" fmla="*/ 66 h 132"/>
                <a:gd name="T30" fmla="*/ 42 w 184"/>
                <a:gd name="T31" fmla="*/ 66 h 132"/>
                <a:gd name="T32" fmla="*/ 38 w 184"/>
                <a:gd name="T33" fmla="*/ 70 h 132"/>
                <a:gd name="T34" fmla="*/ 34 w 184"/>
                <a:gd name="T35" fmla="*/ 78 h 132"/>
                <a:gd name="T36" fmla="*/ 20 w 184"/>
                <a:gd name="T37" fmla="*/ 84 h 132"/>
                <a:gd name="T38" fmla="*/ 14 w 184"/>
                <a:gd name="T39" fmla="*/ 54 h 132"/>
                <a:gd name="T40" fmla="*/ 10 w 184"/>
                <a:gd name="T41" fmla="*/ 40 h 132"/>
                <a:gd name="T42" fmla="*/ 8 w 184"/>
                <a:gd name="T43" fmla="*/ 30 h 132"/>
                <a:gd name="T44" fmla="*/ 2 w 184"/>
                <a:gd name="T45" fmla="*/ 26 h 132"/>
                <a:gd name="T46" fmla="*/ 6 w 184"/>
                <a:gd name="T47" fmla="*/ 22 h 132"/>
                <a:gd name="T48" fmla="*/ 8 w 184"/>
                <a:gd name="T49" fmla="*/ 18 h 132"/>
                <a:gd name="T50" fmla="*/ 0 w 184"/>
                <a:gd name="T51" fmla="*/ 14 h 132"/>
                <a:gd name="T52" fmla="*/ 0 w 184"/>
                <a:gd name="T53" fmla="*/ 6 h 132"/>
                <a:gd name="T54" fmla="*/ 2 w 184"/>
                <a:gd name="T55" fmla="*/ 4 h 132"/>
                <a:gd name="T56" fmla="*/ 6 w 184"/>
                <a:gd name="T57" fmla="*/ 8 h 132"/>
                <a:gd name="T58" fmla="*/ 14 w 184"/>
                <a:gd name="T59" fmla="*/ 18 h 132"/>
                <a:gd name="T60" fmla="*/ 18 w 184"/>
                <a:gd name="T61" fmla="*/ 18 h 132"/>
                <a:gd name="T62" fmla="*/ 24 w 184"/>
                <a:gd name="T63" fmla="*/ 6 h 132"/>
                <a:gd name="T64" fmla="*/ 38 w 184"/>
                <a:gd name="T65" fmla="*/ 0 h 132"/>
                <a:gd name="T66" fmla="*/ 46 w 184"/>
                <a:gd name="T67" fmla="*/ 2 h 132"/>
                <a:gd name="T68" fmla="*/ 50 w 184"/>
                <a:gd name="T69" fmla="*/ 8 h 132"/>
                <a:gd name="T70" fmla="*/ 50 w 184"/>
                <a:gd name="T71" fmla="*/ 14 h 132"/>
                <a:gd name="T72" fmla="*/ 58 w 184"/>
                <a:gd name="T73" fmla="*/ 18 h 132"/>
                <a:gd name="T74" fmla="*/ 74 w 184"/>
                <a:gd name="T75" fmla="*/ 24 h 132"/>
                <a:gd name="T76" fmla="*/ 82 w 184"/>
                <a:gd name="T77" fmla="*/ 24 h 132"/>
                <a:gd name="T78" fmla="*/ 82 w 184"/>
                <a:gd name="T79" fmla="*/ 18 h 132"/>
                <a:gd name="T80" fmla="*/ 86 w 184"/>
                <a:gd name="T81" fmla="*/ 12 h 132"/>
                <a:gd name="T82" fmla="*/ 94 w 184"/>
                <a:gd name="T83" fmla="*/ 10 h 132"/>
                <a:gd name="T84" fmla="*/ 102 w 184"/>
                <a:gd name="T85" fmla="*/ 6 h 132"/>
                <a:gd name="T86" fmla="*/ 106 w 184"/>
                <a:gd name="T87" fmla="*/ 10 h 132"/>
                <a:gd name="T88" fmla="*/ 112 w 184"/>
                <a:gd name="T89" fmla="*/ 18 h 132"/>
                <a:gd name="T90" fmla="*/ 114 w 184"/>
                <a:gd name="T91" fmla="*/ 22 h 132"/>
                <a:gd name="T92" fmla="*/ 112 w 184"/>
                <a:gd name="T93" fmla="*/ 26 h 132"/>
                <a:gd name="T94" fmla="*/ 112 w 184"/>
                <a:gd name="T95" fmla="*/ 30 h 132"/>
                <a:gd name="T96" fmla="*/ 126 w 184"/>
                <a:gd name="T97" fmla="*/ 30 h 132"/>
                <a:gd name="T98" fmla="*/ 136 w 184"/>
                <a:gd name="T99" fmla="*/ 32 h 132"/>
                <a:gd name="T100" fmla="*/ 138 w 184"/>
                <a:gd name="T101" fmla="*/ 38 h 132"/>
                <a:gd name="T102" fmla="*/ 134 w 184"/>
                <a:gd name="T103" fmla="*/ 46 h 132"/>
                <a:gd name="T104" fmla="*/ 142 w 184"/>
                <a:gd name="T105" fmla="*/ 56 h 132"/>
                <a:gd name="T106" fmla="*/ 156 w 184"/>
                <a:gd name="T107" fmla="*/ 68 h 132"/>
                <a:gd name="T108" fmla="*/ 168 w 184"/>
                <a:gd name="T109" fmla="*/ 72 h 132"/>
                <a:gd name="T110" fmla="*/ 176 w 184"/>
                <a:gd name="T111" fmla="*/ 68 h 132"/>
                <a:gd name="T112" fmla="*/ 180 w 184"/>
                <a:gd name="T113" fmla="*/ 70 h 132"/>
                <a:gd name="T114" fmla="*/ 184 w 184"/>
                <a:gd name="T115" fmla="*/ 7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4" h="132">
                  <a:moveTo>
                    <a:pt x="182" y="82"/>
                  </a:moveTo>
                  <a:lnTo>
                    <a:pt x="182" y="82"/>
                  </a:lnTo>
                  <a:lnTo>
                    <a:pt x="180" y="84"/>
                  </a:lnTo>
                  <a:lnTo>
                    <a:pt x="178" y="86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4" y="88"/>
                  </a:lnTo>
                  <a:lnTo>
                    <a:pt x="172" y="88"/>
                  </a:lnTo>
                  <a:lnTo>
                    <a:pt x="170" y="88"/>
                  </a:lnTo>
                  <a:lnTo>
                    <a:pt x="168" y="88"/>
                  </a:lnTo>
                  <a:lnTo>
                    <a:pt x="166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2" y="92"/>
                  </a:lnTo>
                  <a:lnTo>
                    <a:pt x="162" y="94"/>
                  </a:lnTo>
                  <a:lnTo>
                    <a:pt x="162" y="96"/>
                  </a:lnTo>
                  <a:lnTo>
                    <a:pt x="160" y="96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58" y="98"/>
                  </a:lnTo>
                  <a:lnTo>
                    <a:pt x="154" y="100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0" y="102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0" y="106"/>
                  </a:lnTo>
                  <a:lnTo>
                    <a:pt x="150" y="108"/>
                  </a:lnTo>
                  <a:lnTo>
                    <a:pt x="148" y="110"/>
                  </a:lnTo>
                  <a:lnTo>
                    <a:pt x="148" y="112"/>
                  </a:lnTo>
                  <a:lnTo>
                    <a:pt x="148" y="114"/>
                  </a:lnTo>
                  <a:lnTo>
                    <a:pt x="148" y="114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46" y="116"/>
                  </a:lnTo>
                  <a:lnTo>
                    <a:pt x="146" y="118"/>
                  </a:lnTo>
                  <a:lnTo>
                    <a:pt x="144" y="118"/>
                  </a:lnTo>
                  <a:lnTo>
                    <a:pt x="142" y="118"/>
                  </a:lnTo>
                  <a:lnTo>
                    <a:pt x="140" y="118"/>
                  </a:lnTo>
                  <a:lnTo>
                    <a:pt x="136" y="118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2" y="120"/>
                  </a:lnTo>
                  <a:lnTo>
                    <a:pt x="130" y="120"/>
                  </a:lnTo>
                  <a:lnTo>
                    <a:pt x="128" y="122"/>
                  </a:lnTo>
                  <a:lnTo>
                    <a:pt x="126" y="124"/>
                  </a:lnTo>
                  <a:lnTo>
                    <a:pt x="124" y="126"/>
                  </a:lnTo>
                  <a:lnTo>
                    <a:pt x="122" y="130"/>
                  </a:lnTo>
                  <a:lnTo>
                    <a:pt x="120" y="132"/>
                  </a:lnTo>
                  <a:lnTo>
                    <a:pt x="122" y="128"/>
                  </a:lnTo>
                  <a:lnTo>
                    <a:pt x="122" y="122"/>
                  </a:lnTo>
                  <a:lnTo>
                    <a:pt x="124" y="118"/>
                  </a:lnTo>
                  <a:lnTo>
                    <a:pt x="124" y="112"/>
                  </a:lnTo>
                  <a:lnTo>
                    <a:pt x="126" y="110"/>
                  </a:lnTo>
                  <a:lnTo>
                    <a:pt x="126" y="106"/>
                  </a:lnTo>
                  <a:lnTo>
                    <a:pt x="126" y="104"/>
                  </a:lnTo>
                  <a:lnTo>
                    <a:pt x="126" y="102"/>
                  </a:lnTo>
                  <a:lnTo>
                    <a:pt x="126" y="100"/>
                  </a:lnTo>
                  <a:lnTo>
                    <a:pt x="126" y="100"/>
                  </a:lnTo>
                  <a:lnTo>
                    <a:pt x="124" y="98"/>
                  </a:lnTo>
                  <a:lnTo>
                    <a:pt x="124" y="98"/>
                  </a:lnTo>
                  <a:lnTo>
                    <a:pt x="124" y="96"/>
                  </a:lnTo>
                  <a:lnTo>
                    <a:pt x="122" y="96"/>
                  </a:lnTo>
                  <a:lnTo>
                    <a:pt x="122" y="96"/>
                  </a:lnTo>
                  <a:lnTo>
                    <a:pt x="118" y="94"/>
                  </a:lnTo>
                  <a:lnTo>
                    <a:pt x="116" y="92"/>
                  </a:lnTo>
                  <a:lnTo>
                    <a:pt x="110" y="90"/>
                  </a:lnTo>
                  <a:lnTo>
                    <a:pt x="106" y="90"/>
                  </a:lnTo>
                  <a:lnTo>
                    <a:pt x="104" y="88"/>
                  </a:lnTo>
                  <a:lnTo>
                    <a:pt x="102" y="86"/>
                  </a:lnTo>
                  <a:lnTo>
                    <a:pt x="100" y="84"/>
                  </a:lnTo>
                  <a:lnTo>
                    <a:pt x="94" y="80"/>
                  </a:lnTo>
                  <a:lnTo>
                    <a:pt x="90" y="78"/>
                  </a:lnTo>
                  <a:lnTo>
                    <a:pt x="88" y="76"/>
                  </a:lnTo>
                  <a:lnTo>
                    <a:pt x="84" y="74"/>
                  </a:lnTo>
                  <a:lnTo>
                    <a:pt x="84" y="72"/>
                  </a:lnTo>
                  <a:lnTo>
                    <a:pt x="82" y="72"/>
                  </a:lnTo>
                  <a:lnTo>
                    <a:pt x="80" y="72"/>
                  </a:lnTo>
                  <a:lnTo>
                    <a:pt x="78" y="72"/>
                  </a:lnTo>
                  <a:lnTo>
                    <a:pt x="76" y="72"/>
                  </a:lnTo>
                  <a:lnTo>
                    <a:pt x="74" y="72"/>
                  </a:lnTo>
                  <a:lnTo>
                    <a:pt x="70" y="72"/>
                  </a:lnTo>
                  <a:lnTo>
                    <a:pt x="68" y="70"/>
                  </a:lnTo>
                  <a:lnTo>
                    <a:pt x="66" y="70"/>
                  </a:lnTo>
                  <a:lnTo>
                    <a:pt x="62" y="70"/>
                  </a:lnTo>
                  <a:lnTo>
                    <a:pt x="60" y="70"/>
                  </a:lnTo>
                  <a:lnTo>
                    <a:pt x="52" y="66"/>
                  </a:lnTo>
                  <a:lnTo>
                    <a:pt x="50" y="66"/>
                  </a:lnTo>
                  <a:lnTo>
                    <a:pt x="48" y="66"/>
                  </a:lnTo>
                  <a:lnTo>
                    <a:pt x="46" y="66"/>
                  </a:lnTo>
                  <a:lnTo>
                    <a:pt x="44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0"/>
                  </a:lnTo>
                  <a:lnTo>
                    <a:pt x="36" y="72"/>
                  </a:lnTo>
                  <a:lnTo>
                    <a:pt x="36" y="74"/>
                  </a:lnTo>
                  <a:lnTo>
                    <a:pt x="36" y="76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2" y="80"/>
                  </a:lnTo>
                  <a:lnTo>
                    <a:pt x="30" y="80"/>
                  </a:lnTo>
                  <a:lnTo>
                    <a:pt x="28" y="82"/>
                  </a:lnTo>
                  <a:lnTo>
                    <a:pt x="26" y="82"/>
                  </a:lnTo>
                  <a:lnTo>
                    <a:pt x="20" y="84"/>
                  </a:lnTo>
                  <a:lnTo>
                    <a:pt x="18" y="84"/>
                  </a:lnTo>
                  <a:lnTo>
                    <a:pt x="16" y="66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6" y="56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8" y="10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6"/>
                  </a:lnTo>
                  <a:lnTo>
                    <a:pt x="20" y="14"/>
                  </a:lnTo>
                  <a:lnTo>
                    <a:pt x="22" y="12"/>
                  </a:lnTo>
                  <a:lnTo>
                    <a:pt x="22" y="10"/>
                  </a:lnTo>
                  <a:lnTo>
                    <a:pt x="24" y="8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4" y="18"/>
                  </a:lnTo>
                  <a:lnTo>
                    <a:pt x="58" y="18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6" y="20"/>
                  </a:lnTo>
                  <a:lnTo>
                    <a:pt x="68" y="22"/>
                  </a:lnTo>
                  <a:lnTo>
                    <a:pt x="70" y="22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78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0"/>
                  </a:lnTo>
                  <a:lnTo>
                    <a:pt x="82" y="18"/>
                  </a:lnTo>
                  <a:lnTo>
                    <a:pt x="82" y="16"/>
                  </a:lnTo>
                  <a:lnTo>
                    <a:pt x="82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4" y="10"/>
                  </a:lnTo>
                  <a:lnTo>
                    <a:pt x="96" y="10"/>
                  </a:lnTo>
                  <a:lnTo>
                    <a:pt x="98" y="8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8" y="14"/>
                  </a:lnTo>
                  <a:lnTo>
                    <a:pt x="108" y="16"/>
                  </a:lnTo>
                  <a:lnTo>
                    <a:pt x="110" y="16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4"/>
                  </a:lnTo>
                  <a:lnTo>
                    <a:pt x="112" y="24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4" y="30"/>
                  </a:lnTo>
                  <a:lnTo>
                    <a:pt x="116" y="30"/>
                  </a:lnTo>
                  <a:lnTo>
                    <a:pt x="120" y="30"/>
                  </a:lnTo>
                  <a:lnTo>
                    <a:pt x="122" y="30"/>
                  </a:lnTo>
                  <a:lnTo>
                    <a:pt x="124" y="30"/>
                  </a:lnTo>
                  <a:lnTo>
                    <a:pt x="126" y="30"/>
                  </a:lnTo>
                  <a:lnTo>
                    <a:pt x="128" y="30"/>
                  </a:lnTo>
                  <a:lnTo>
                    <a:pt x="130" y="30"/>
                  </a:lnTo>
                  <a:lnTo>
                    <a:pt x="132" y="32"/>
                  </a:lnTo>
                  <a:lnTo>
                    <a:pt x="134" y="32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8" y="36"/>
                  </a:lnTo>
                  <a:lnTo>
                    <a:pt x="138" y="36"/>
                  </a:lnTo>
                  <a:lnTo>
                    <a:pt x="138" y="38"/>
                  </a:lnTo>
                  <a:lnTo>
                    <a:pt x="136" y="38"/>
                  </a:lnTo>
                  <a:lnTo>
                    <a:pt x="136" y="40"/>
                  </a:lnTo>
                  <a:lnTo>
                    <a:pt x="136" y="42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6" y="50"/>
                  </a:lnTo>
                  <a:lnTo>
                    <a:pt x="138" y="52"/>
                  </a:lnTo>
                  <a:lnTo>
                    <a:pt x="140" y="54"/>
                  </a:lnTo>
                  <a:lnTo>
                    <a:pt x="142" y="56"/>
                  </a:lnTo>
                  <a:lnTo>
                    <a:pt x="144" y="60"/>
                  </a:lnTo>
                  <a:lnTo>
                    <a:pt x="146" y="62"/>
                  </a:lnTo>
                  <a:lnTo>
                    <a:pt x="148" y="64"/>
                  </a:lnTo>
                  <a:lnTo>
                    <a:pt x="150" y="66"/>
                  </a:lnTo>
                  <a:lnTo>
                    <a:pt x="154" y="66"/>
                  </a:lnTo>
                  <a:lnTo>
                    <a:pt x="156" y="68"/>
                  </a:lnTo>
                  <a:lnTo>
                    <a:pt x="158" y="70"/>
                  </a:lnTo>
                  <a:lnTo>
                    <a:pt x="162" y="72"/>
                  </a:lnTo>
                  <a:lnTo>
                    <a:pt x="164" y="72"/>
                  </a:lnTo>
                  <a:lnTo>
                    <a:pt x="166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70" y="72"/>
                  </a:lnTo>
                  <a:lnTo>
                    <a:pt x="172" y="72"/>
                  </a:lnTo>
                  <a:lnTo>
                    <a:pt x="172" y="70"/>
                  </a:lnTo>
                  <a:lnTo>
                    <a:pt x="174" y="68"/>
                  </a:lnTo>
                  <a:lnTo>
                    <a:pt x="176" y="68"/>
                  </a:lnTo>
                  <a:lnTo>
                    <a:pt x="176" y="68"/>
                  </a:lnTo>
                  <a:lnTo>
                    <a:pt x="176" y="68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80" y="68"/>
                  </a:lnTo>
                  <a:lnTo>
                    <a:pt x="180" y="70"/>
                  </a:lnTo>
                  <a:lnTo>
                    <a:pt x="182" y="70"/>
                  </a:lnTo>
                  <a:lnTo>
                    <a:pt x="182" y="70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4"/>
                  </a:lnTo>
                  <a:lnTo>
                    <a:pt x="184" y="76"/>
                  </a:lnTo>
                  <a:lnTo>
                    <a:pt x="184" y="78"/>
                  </a:lnTo>
                  <a:lnTo>
                    <a:pt x="184" y="80"/>
                  </a:lnTo>
                  <a:lnTo>
                    <a:pt x="182" y="8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81" name="Freeform 141">
              <a:extLst>
                <a:ext uri="{FF2B5EF4-FFF2-40B4-BE49-F238E27FC236}">
                  <a16:creationId xmlns:a16="http://schemas.microsoft.com/office/drawing/2014/main" id="{285B3550-6215-4C44-B207-D0E3E3BF0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876" y="3481165"/>
              <a:ext cx="201595" cy="123692"/>
            </a:xfrm>
            <a:custGeom>
              <a:avLst/>
              <a:gdLst>
                <a:gd name="T0" fmla="*/ 32 w 118"/>
                <a:gd name="T1" fmla="*/ 16 h 74"/>
                <a:gd name="T2" fmla="*/ 28 w 118"/>
                <a:gd name="T3" fmla="*/ 24 h 74"/>
                <a:gd name="T4" fmla="*/ 22 w 118"/>
                <a:gd name="T5" fmla="*/ 32 h 74"/>
                <a:gd name="T6" fmla="*/ 16 w 118"/>
                <a:gd name="T7" fmla="*/ 40 h 74"/>
                <a:gd name="T8" fmla="*/ 6 w 118"/>
                <a:gd name="T9" fmla="*/ 58 h 74"/>
                <a:gd name="T10" fmla="*/ 6 w 118"/>
                <a:gd name="T11" fmla="*/ 66 h 74"/>
                <a:gd name="T12" fmla="*/ 12 w 118"/>
                <a:gd name="T13" fmla="*/ 64 h 74"/>
                <a:gd name="T14" fmla="*/ 24 w 118"/>
                <a:gd name="T15" fmla="*/ 62 h 74"/>
                <a:gd name="T16" fmla="*/ 30 w 118"/>
                <a:gd name="T17" fmla="*/ 60 h 74"/>
                <a:gd name="T18" fmla="*/ 32 w 118"/>
                <a:gd name="T19" fmla="*/ 58 h 74"/>
                <a:gd name="T20" fmla="*/ 34 w 118"/>
                <a:gd name="T21" fmla="*/ 54 h 74"/>
                <a:gd name="T22" fmla="*/ 36 w 118"/>
                <a:gd name="T23" fmla="*/ 48 h 74"/>
                <a:gd name="T24" fmla="*/ 38 w 118"/>
                <a:gd name="T25" fmla="*/ 48 h 74"/>
                <a:gd name="T26" fmla="*/ 40 w 118"/>
                <a:gd name="T27" fmla="*/ 46 h 74"/>
                <a:gd name="T28" fmla="*/ 42 w 118"/>
                <a:gd name="T29" fmla="*/ 46 h 74"/>
                <a:gd name="T30" fmla="*/ 46 w 118"/>
                <a:gd name="T31" fmla="*/ 48 h 74"/>
                <a:gd name="T32" fmla="*/ 48 w 118"/>
                <a:gd name="T33" fmla="*/ 50 h 74"/>
                <a:gd name="T34" fmla="*/ 50 w 118"/>
                <a:gd name="T35" fmla="*/ 58 h 74"/>
                <a:gd name="T36" fmla="*/ 52 w 118"/>
                <a:gd name="T37" fmla="*/ 64 h 74"/>
                <a:gd name="T38" fmla="*/ 54 w 118"/>
                <a:gd name="T39" fmla="*/ 66 h 74"/>
                <a:gd name="T40" fmla="*/ 58 w 118"/>
                <a:gd name="T41" fmla="*/ 70 h 74"/>
                <a:gd name="T42" fmla="*/ 64 w 118"/>
                <a:gd name="T43" fmla="*/ 72 h 74"/>
                <a:gd name="T44" fmla="*/ 88 w 118"/>
                <a:gd name="T45" fmla="*/ 74 h 74"/>
                <a:gd name="T46" fmla="*/ 100 w 118"/>
                <a:gd name="T47" fmla="*/ 72 h 74"/>
                <a:gd name="T48" fmla="*/ 102 w 118"/>
                <a:gd name="T49" fmla="*/ 64 h 74"/>
                <a:gd name="T50" fmla="*/ 100 w 118"/>
                <a:gd name="T51" fmla="*/ 62 h 74"/>
                <a:gd name="T52" fmla="*/ 100 w 118"/>
                <a:gd name="T53" fmla="*/ 62 h 74"/>
                <a:gd name="T54" fmla="*/ 98 w 118"/>
                <a:gd name="T55" fmla="*/ 64 h 74"/>
                <a:gd name="T56" fmla="*/ 96 w 118"/>
                <a:gd name="T57" fmla="*/ 64 h 74"/>
                <a:gd name="T58" fmla="*/ 88 w 118"/>
                <a:gd name="T59" fmla="*/ 60 h 74"/>
                <a:gd name="T60" fmla="*/ 84 w 118"/>
                <a:gd name="T61" fmla="*/ 56 h 74"/>
                <a:gd name="T62" fmla="*/ 82 w 118"/>
                <a:gd name="T63" fmla="*/ 52 h 74"/>
                <a:gd name="T64" fmla="*/ 82 w 118"/>
                <a:gd name="T65" fmla="*/ 48 h 74"/>
                <a:gd name="T66" fmla="*/ 82 w 118"/>
                <a:gd name="T67" fmla="*/ 38 h 74"/>
                <a:gd name="T68" fmla="*/ 84 w 118"/>
                <a:gd name="T69" fmla="*/ 30 h 74"/>
                <a:gd name="T70" fmla="*/ 88 w 118"/>
                <a:gd name="T71" fmla="*/ 26 h 74"/>
                <a:gd name="T72" fmla="*/ 94 w 118"/>
                <a:gd name="T73" fmla="*/ 22 h 74"/>
                <a:gd name="T74" fmla="*/ 96 w 118"/>
                <a:gd name="T75" fmla="*/ 22 h 74"/>
                <a:gd name="T76" fmla="*/ 100 w 118"/>
                <a:gd name="T77" fmla="*/ 24 h 74"/>
                <a:gd name="T78" fmla="*/ 106 w 118"/>
                <a:gd name="T79" fmla="*/ 26 h 74"/>
                <a:gd name="T80" fmla="*/ 116 w 118"/>
                <a:gd name="T81" fmla="*/ 34 h 74"/>
                <a:gd name="T82" fmla="*/ 116 w 118"/>
                <a:gd name="T83" fmla="*/ 26 h 74"/>
                <a:gd name="T84" fmla="*/ 112 w 118"/>
                <a:gd name="T85" fmla="*/ 12 h 74"/>
                <a:gd name="T86" fmla="*/ 108 w 118"/>
                <a:gd name="T87" fmla="*/ 4 h 74"/>
                <a:gd name="T88" fmla="*/ 106 w 118"/>
                <a:gd name="T89" fmla="*/ 2 h 74"/>
                <a:gd name="T90" fmla="*/ 104 w 118"/>
                <a:gd name="T91" fmla="*/ 0 h 74"/>
                <a:gd name="T92" fmla="*/ 100 w 118"/>
                <a:gd name="T93" fmla="*/ 0 h 74"/>
                <a:gd name="T94" fmla="*/ 98 w 118"/>
                <a:gd name="T95" fmla="*/ 2 h 74"/>
                <a:gd name="T96" fmla="*/ 88 w 118"/>
                <a:gd name="T97" fmla="*/ 10 h 74"/>
                <a:gd name="T98" fmla="*/ 86 w 118"/>
                <a:gd name="T99" fmla="*/ 12 h 74"/>
                <a:gd name="T100" fmla="*/ 76 w 118"/>
                <a:gd name="T101" fmla="*/ 14 h 74"/>
                <a:gd name="T102" fmla="*/ 68 w 118"/>
                <a:gd name="T103" fmla="*/ 14 h 74"/>
                <a:gd name="T104" fmla="*/ 50 w 118"/>
                <a:gd name="T105" fmla="*/ 1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8" h="74">
                  <a:moveTo>
                    <a:pt x="36" y="8"/>
                  </a:moveTo>
                  <a:lnTo>
                    <a:pt x="36" y="8"/>
                  </a:lnTo>
                  <a:lnTo>
                    <a:pt x="32" y="16"/>
                  </a:lnTo>
                  <a:lnTo>
                    <a:pt x="30" y="20"/>
                  </a:lnTo>
                  <a:lnTo>
                    <a:pt x="28" y="22"/>
                  </a:lnTo>
                  <a:lnTo>
                    <a:pt x="28" y="24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22" y="32"/>
                  </a:lnTo>
                  <a:lnTo>
                    <a:pt x="18" y="38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4" y="44"/>
                  </a:lnTo>
                  <a:lnTo>
                    <a:pt x="12" y="48"/>
                  </a:lnTo>
                  <a:lnTo>
                    <a:pt x="6" y="58"/>
                  </a:lnTo>
                  <a:lnTo>
                    <a:pt x="0" y="70"/>
                  </a:lnTo>
                  <a:lnTo>
                    <a:pt x="4" y="68"/>
                  </a:lnTo>
                  <a:lnTo>
                    <a:pt x="6" y="66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20" y="62"/>
                  </a:lnTo>
                  <a:lnTo>
                    <a:pt x="24" y="62"/>
                  </a:lnTo>
                  <a:lnTo>
                    <a:pt x="28" y="62"/>
                  </a:lnTo>
                  <a:lnTo>
                    <a:pt x="28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2" y="60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8" y="48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52"/>
                  </a:lnTo>
                  <a:lnTo>
                    <a:pt x="48" y="54"/>
                  </a:lnTo>
                  <a:lnTo>
                    <a:pt x="50" y="58"/>
                  </a:lnTo>
                  <a:lnTo>
                    <a:pt x="50" y="60"/>
                  </a:lnTo>
                  <a:lnTo>
                    <a:pt x="52" y="62"/>
                  </a:lnTo>
                  <a:lnTo>
                    <a:pt x="52" y="64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6" y="70"/>
                  </a:lnTo>
                  <a:lnTo>
                    <a:pt x="58" y="70"/>
                  </a:lnTo>
                  <a:lnTo>
                    <a:pt x="60" y="70"/>
                  </a:lnTo>
                  <a:lnTo>
                    <a:pt x="62" y="72"/>
                  </a:lnTo>
                  <a:lnTo>
                    <a:pt x="64" y="72"/>
                  </a:lnTo>
                  <a:lnTo>
                    <a:pt x="68" y="74"/>
                  </a:lnTo>
                  <a:lnTo>
                    <a:pt x="76" y="74"/>
                  </a:lnTo>
                  <a:lnTo>
                    <a:pt x="88" y="74"/>
                  </a:lnTo>
                  <a:lnTo>
                    <a:pt x="100" y="74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2" y="68"/>
                  </a:lnTo>
                  <a:lnTo>
                    <a:pt x="102" y="66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2" y="62"/>
                  </a:lnTo>
                  <a:lnTo>
                    <a:pt x="88" y="60"/>
                  </a:lnTo>
                  <a:lnTo>
                    <a:pt x="86" y="58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6"/>
                  </a:lnTo>
                  <a:lnTo>
                    <a:pt x="82" y="42"/>
                  </a:lnTo>
                  <a:lnTo>
                    <a:pt x="82" y="38"/>
                  </a:lnTo>
                  <a:lnTo>
                    <a:pt x="82" y="36"/>
                  </a:lnTo>
                  <a:lnTo>
                    <a:pt x="84" y="32"/>
                  </a:lnTo>
                  <a:lnTo>
                    <a:pt x="84" y="30"/>
                  </a:lnTo>
                  <a:lnTo>
                    <a:pt x="86" y="30"/>
                  </a:lnTo>
                  <a:lnTo>
                    <a:pt x="86" y="28"/>
                  </a:lnTo>
                  <a:lnTo>
                    <a:pt x="88" y="26"/>
                  </a:lnTo>
                  <a:lnTo>
                    <a:pt x="90" y="26"/>
                  </a:lnTo>
                  <a:lnTo>
                    <a:pt x="92" y="24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6"/>
                  </a:lnTo>
                  <a:lnTo>
                    <a:pt x="106" y="26"/>
                  </a:lnTo>
                  <a:lnTo>
                    <a:pt x="110" y="28"/>
                  </a:lnTo>
                  <a:lnTo>
                    <a:pt x="112" y="32"/>
                  </a:lnTo>
                  <a:lnTo>
                    <a:pt x="116" y="34"/>
                  </a:lnTo>
                  <a:lnTo>
                    <a:pt x="118" y="36"/>
                  </a:lnTo>
                  <a:lnTo>
                    <a:pt x="116" y="30"/>
                  </a:lnTo>
                  <a:lnTo>
                    <a:pt x="116" y="26"/>
                  </a:lnTo>
                  <a:lnTo>
                    <a:pt x="114" y="18"/>
                  </a:lnTo>
                  <a:lnTo>
                    <a:pt x="114" y="16"/>
                  </a:lnTo>
                  <a:lnTo>
                    <a:pt x="112" y="12"/>
                  </a:lnTo>
                  <a:lnTo>
                    <a:pt x="110" y="10"/>
                  </a:lnTo>
                  <a:lnTo>
                    <a:pt x="110" y="6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06" y="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6" y="4"/>
                  </a:lnTo>
                  <a:lnTo>
                    <a:pt x="90" y="8"/>
                  </a:lnTo>
                  <a:lnTo>
                    <a:pt x="88" y="10"/>
                  </a:lnTo>
                  <a:lnTo>
                    <a:pt x="88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4"/>
                  </a:lnTo>
                  <a:lnTo>
                    <a:pt x="70" y="14"/>
                  </a:lnTo>
                  <a:lnTo>
                    <a:pt x="68" y="14"/>
                  </a:lnTo>
                  <a:lnTo>
                    <a:pt x="62" y="14"/>
                  </a:lnTo>
                  <a:lnTo>
                    <a:pt x="56" y="12"/>
                  </a:lnTo>
                  <a:lnTo>
                    <a:pt x="50" y="10"/>
                  </a:lnTo>
                  <a:lnTo>
                    <a:pt x="40" y="10"/>
                  </a:lnTo>
                  <a:lnTo>
                    <a:pt x="36" y="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82" name="Freeform 143">
              <a:extLst>
                <a:ext uri="{FF2B5EF4-FFF2-40B4-BE49-F238E27FC236}">
                  <a16:creationId xmlns:a16="http://schemas.microsoft.com/office/drawing/2014/main" id="{4F4D1F0A-756F-4281-B14E-0DC7FD362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609" y="3317359"/>
              <a:ext cx="317767" cy="280812"/>
            </a:xfrm>
            <a:custGeom>
              <a:avLst/>
              <a:gdLst>
                <a:gd name="T0" fmla="*/ 140 w 186"/>
                <a:gd name="T1" fmla="*/ 162 h 168"/>
                <a:gd name="T2" fmla="*/ 122 w 186"/>
                <a:gd name="T3" fmla="*/ 162 h 168"/>
                <a:gd name="T4" fmla="*/ 122 w 186"/>
                <a:gd name="T5" fmla="*/ 154 h 168"/>
                <a:gd name="T6" fmla="*/ 120 w 186"/>
                <a:gd name="T7" fmla="*/ 150 h 168"/>
                <a:gd name="T8" fmla="*/ 116 w 186"/>
                <a:gd name="T9" fmla="*/ 148 h 168"/>
                <a:gd name="T10" fmla="*/ 110 w 186"/>
                <a:gd name="T11" fmla="*/ 150 h 168"/>
                <a:gd name="T12" fmla="*/ 106 w 186"/>
                <a:gd name="T13" fmla="*/ 152 h 168"/>
                <a:gd name="T14" fmla="*/ 94 w 186"/>
                <a:gd name="T15" fmla="*/ 148 h 168"/>
                <a:gd name="T16" fmla="*/ 82 w 186"/>
                <a:gd name="T17" fmla="*/ 138 h 168"/>
                <a:gd name="T18" fmla="*/ 72 w 186"/>
                <a:gd name="T19" fmla="*/ 128 h 168"/>
                <a:gd name="T20" fmla="*/ 72 w 186"/>
                <a:gd name="T21" fmla="*/ 120 h 168"/>
                <a:gd name="T22" fmla="*/ 76 w 186"/>
                <a:gd name="T23" fmla="*/ 114 h 168"/>
                <a:gd name="T24" fmla="*/ 74 w 186"/>
                <a:gd name="T25" fmla="*/ 112 h 168"/>
                <a:gd name="T26" fmla="*/ 64 w 186"/>
                <a:gd name="T27" fmla="*/ 110 h 168"/>
                <a:gd name="T28" fmla="*/ 52 w 186"/>
                <a:gd name="T29" fmla="*/ 108 h 168"/>
                <a:gd name="T30" fmla="*/ 48 w 186"/>
                <a:gd name="T31" fmla="*/ 106 h 168"/>
                <a:gd name="T32" fmla="*/ 52 w 186"/>
                <a:gd name="T33" fmla="*/ 102 h 168"/>
                <a:gd name="T34" fmla="*/ 52 w 186"/>
                <a:gd name="T35" fmla="*/ 100 h 168"/>
                <a:gd name="T36" fmla="*/ 48 w 186"/>
                <a:gd name="T37" fmla="*/ 96 h 168"/>
                <a:gd name="T38" fmla="*/ 44 w 186"/>
                <a:gd name="T39" fmla="*/ 90 h 168"/>
                <a:gd name="T40" fmla="*/ 40 w 186"/>
                <a:gd name="T41" fmla="*/ 86 h 168"/>
                <a:gd name="T42" fmla="*/ 36 w 186"/>
                <a:gd name="T43" fmla="*/ 88 h 168"/>
                <a:gd name="T44" fmla="*/ 28 w 186"/>
                <a:gd name="T45" fmla="*/ 90 h 168"/>
                <a:gd name="T46" fmla="*/ 22 w 186"/>
                <a:gd name="T47" fmla="*/ 92 h 168"/>
                <a:gd name="T48" fmla="*/ 20 w 186"/>
                <a:gd name="T49" fmla="*/ 98 h 168"/>
                <a:gd name="T50" fmla="*/ 20 w 186"/>
                <a:gd name="T51" fmla="*/ 104 h 168"/>
                <a:gd name="T52" fmla="*/ 14 w 186"/>
                <a:gd name="T53" fmla="*/ 104 h 168"/>
                <a:gd name="T54" fmla="*/ 0 w 186"/>
                <a:gd name="T55" fmla="*/ 98 h 168"/>
                <a:gd name="T56" fmla="*/ 4 w 186"/>
                <a:gd name="T57" fmla="*/ 54 h 168"/>
                <a:gd name="T58" fmla="*/ 10 w 186"/>
                <a:gd name="T59" fmla="*/ 30 h 168"/>
                <a:gd name="T60" fmla="*/ 14 w 186"/>
                <a:gd name="T61" fmla="*/ 22 h 168"/>
                <a:gd name="T62" fmla="*/ 30 w 186"/>
                <a:gd name="T63" fmla="*/ 10 h 168"/>
                <a:gd name="T64" fmla="*/ 42 w 186"/>
                <a:gd name="T65" fmla="*/ 10 h 168"/>
                <a:gd name="T66" fmla="*/ 42 w 186"/>
                <a:gd name="T67" fmla="*/ 28 h 168"/>
                <a:gd name="T68" fmla="*/ 46 w 186"/>
                <a:gd name="T69" fmla="*/ 36 h 168"/>
                <a:gd name="T70" fmla="*/ 48 w 186"/>
                <a:gd name="T71" fmla="*/ 38 h 168"/>
                <a:gd name="T72" fmla="*/ 60 w 186"/>
                <a:gd name="T73" fmla="*/ 36 h 168"/>
                <a:gd name="T74" fmla="*/ 64 w 186"/>
                <a:gd name="T75" fmla="*/ 40 h 168"/>
                <a:gd name="T76" fmla="*/ 72 w 186"/>
                <a:gd name="T77" fmla="*/ 46 h 168"/>
                <a:gd name="T78" fmla="*/ 84 w 186"/>
                <a:gd name="T79" fmla="*/ 46 h 168"/>
                <a:gd name="T80" fmla="*/ 88 w 186"/>
                <a:gd name="T81" fmla="*/ 42 h 168"/>
                <a:gd name="T82" fmla="*/ 88 w 186"/>
                <a:gd name="T83" fmla="*/ 32 h 168"/>
                <a:gd name="T84" fmla="*/ 94 w 186"/>
                <a:gd name="T85" fmla="*/ 34 h 168"/>
                <a:gd name="T86" fmla="*/ 100 w 186"/>
                <a:gd name="T87" fmla="*/ 46 h 168"/>
                <a:gd name="T88" fmla="*/ 102 w 186"/>
                <a:gd name="T89" fmla="*/ 50 h 168"/>
                <a:gd name="T90" fmla="*/ 112 w 186"/>
                <a:gd name="T91" fmla="*/ 48 h 168"/>
                <a:gd name="T92" fmla="*/ 122 w 186"/>
                <a:gd name="T93" fmla="*/ 46 h 168"/>
                <a:gd name="T94" fmla="*/ 142 w 186"/>
                <a:gd name="T95" fmla="*/ 48 h 168"/>
                <a:gd name="T96" fmla="*/ 152 w 186"/>
                <a:gd name="T97" fmla="*/ 54 h 168"/>
                <a:gd name="T98" fmla="*/ 154 w 186"/>
                <a:gd name="T99" fmla="*/ 58 h 168"/>
                <a:gd name="T100" fmla="*/ 154 w 186"/>
                <a:gd name="T101" fmla="*/ 74 h 168"/>
                <a:gd name="T102" fmla="*/ 156 w 186"/>
                <a:gd name="T103" fmla="*/ 86 h 168"/>
                <a:gd name="T104" fmla="*/ 160 w 186"/>
                <a:gd name="T105" fmla="*/ 92 h 168"/>
                <a:gd name="T106" fmla="*/ 174 w 186"/>
                <a:gd name="T107" fmla="*/ 98 h 168"/>
                <a:gd name="T108" fmla="*/ 184 w 186"/>
                <a:gd name="T109" fmla="*/ 114 h 168"/>
                <a:gd name="T110" fmla="*/ 176 w 186"/>
                <a:gd name="T111" fmla="*/ 126 h 168"/>
                <a:gd name="T112" fmla="*/ 164 w 186"/>
                <a:gd name="T113" fmla="*/ 14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6" h="168">
                  <a:moveTo>
                    <a:pt x="150" y="168"/>
                  </a:moveTo>
                  <a:lnTo>
                    <a:pt x="150" y="168"/>
                  </a:lnTo>
                  <a:lnTo>
                    <a:pt x="146" y="166"/>
                  </a:lnTo>
                  <a:lnTo>
                    <a:pt x="142" y="164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4" y="162"/>
                  </a:lnTo>
                  <a:lnTo>
                    <a:pt x="128" y="162"/>
                  </a:lnTo>
                  <a:lnTo>
                    <a:pt x="122" y="162"/>
                  </a:lnTo>
                  <a:lnTo>
                    <a:pt x="120" y="162"/>
                  </a:lnTo>
                  <a:lnTo>
                    <a:pt x="120" y="160"/>
                  </a:lnTo>
                  <a:lnTo>
                    <a:pt x="122" y="156"/>
                  </a:lnTo>
                  <a:lnTo>
                    <a:pt x="122" y="156"/>
                  </a:lnTo>
                  <a:lnTo>
                    <a:pt x="122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22" y="150"/>
                  </a:lnTo>
                  <a:lnTo>
                    <a:pt x="120" y="150"/>
                  </a:lnTo>
                  <a:lnTo>
                    <a:pt x="120" y="150"/>
                  </a:lnTo>
                  <a:lnTo>
                    <a:pt x="120" y="148"/>
                  </a:lnTo>
                  <a:lnTo>
                    <a:pt x="118" y="148"/>
                  </a:lnTo>
                  <a:lnTo>
                    <a:pt x="118" y="148"/>
                  </a:lnTo>
                  <a:lnTo>
                    <a:pt x="116" y="148"/>
                  </a:lnTo>
                  <a:lnTo>
                    <a:pt x="116" y="148"/>
                  </a:lnTo>
                  <a:lnTo>
                    <a:pt x="114" y="148"/>
                  </a:lnTo>
                  <a:lnTo>
                    <a:pt x="114" y="148"/>
                  </a:lnTo>
                  <a:lnTo>
                    <a:pt x="114" y="148"/>
                  </a:lnTo>
                  <a:lnTo>
                    <a:pt x="112" y="148"/>
                  </a:lnTo>
                  <a:lnTo>
                    <a:pt x="110" y="150"/>
                  </a:lnTo>
                  <a:lnTo>
                    <a:pt x="108" y="150"/>
                  </a:lnTo>
                  <a:lnTo>
                    <a:pt x="108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4" y="152"/>
                  </a:lnTo>
                  <a:lnTo>
                    <a:pt x="102" y="152"/>
                  </a:lnTo>
                  <a:lnTo>
                    <a:pt x="100" y="150"/>
                  </a:lnTo>
                  <a:lnTo>
                    <a:pt x="96" y="150"/>
                  </a:lnTo>
                  <a:lnTo>
                    <a:pt x="94" y="148"/>
                  </a:lnTo>
                  <a:lnTo>
                    <a:pt x="92" y="146"/>
                  </a:lnTo>
                  <a:lnTo>
                    <a:pt x="88" y="144"/>
                  </a:lnTo>
                  <a:lnTo>
                    <a:pt x="86" y="142"/>
                  </a:lnTo>
                  <a:lnTo>
                    <a:pt x="84" y="140"/>
                  </a:lnTo>
                  <a:lnTo>
                    <a:pt x="82" y="138"/>
                  </a:lnTo>
                  <a:lnTo>
                    <a:pt x="80" y="136"/>
                  </a:lnTo>
                  <a:lnTo>
                    <a:pt x="78" y="134"/>
                  </a:lnTo>
                  <a:lnTo>
                    <a:pt x="76" y="132"/>
                  </a:lnTo>
                  <a:lnTo>
                    <a:pt x="74" y="130"/>
                  </a:lnTo>
                  <a:lnTo>
                    <a:pt x="72" y="128"/>
                  </a:lnTo>
                  <a:lnTo>
                    <a:pt x="72" y="126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2"/>
                  </a:lnTo>
                  <a:lnTo>
                    <a:pt x="72" y="120"/>
                  </a:lnTo>
                  <a:lnTo>
                    <a:pt x="74" y="120"/>
                  </a:lnTo>
                  <a:lnTo>
                    <a:pt x="74" y="118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4"/>
                  </a:lnTo>
                  <a:lnTo>
                    <a:pt x="76" y="114"/>
                  </a:lnTo>
                  <a:lnTo>
                    <a:pt x="76" y="114"/>
                  </a:lnTo>
                  <a:lnTo>
                    <a:pt x="76" y="112"/>
                  </a:lnTo>
                  <a:lnTo>
                    <a:pt x="74" y="112"/>
                  </a:lnTo>
                  <a:lnTo>
                    <a:pt x="74" y="112"/>
                  </a:lnTo>
                  <a:lnTo>
                    <a:pt x="72" y="110"/>
                  </a:lnTo>
                  <a:lnTo>
                    <a:pt x="70" y="110"/>
                  </a:lnTo>
                  <a:lnTo>
                    <a:pt x="68" y="110"/>
                  </a:lnTo>
                  <a:lnTo>
                    <a:pt x="66" y="110"/>
                  </a:lnTo>
                  <a:lnTo>
                    <a:pt x="64" y="110"/>
                  </a:lnTo>
                  <a:lnTo>
                    <a:pt x="62" y="110"/>
                  </a:lnTo>
                  <a:lnTo>
                    <a:pt x="60" y="110"/>
                  </a:lnTo>
                  <a:lnTo>
                    <a:pt x="58" y="110"/>
                  </a:lnTo>
                  <a:lnTo>
                    <a:pt x="54" y="110"/>
                  </a:lnTo>
                  <a:lnTo>
                    <a:pt x="52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50" y="106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8"/>
                  </a:lnTo>
                  <a:lnTo>
                    <a:pt x="50" y="98"/>
                  </a:lnTo>
                  <a:lnTo>
                    <a:pt x="50" y="96"/>
                  </a:lnTo>
                  <a:lnTo>
                    <a:pt x="48" y="96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4" y="94"/>
                  </a:lnTo>
                  <a:lnTo>
                    <a:pt x="44" y="92"/>
                  </a:lnTo>
                  <a:lnTo>
                    <a:pt x="44" y="90"/>
                  </a:lnTo>
                  <a:lnTo>
                    <a:pt x="42" y="88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6" y="88"/>
                  </a:lnTo>
                  <a:lnTo>
                    <a:pt x="34" y="88"/>
                  </a:lnTo>
                  <a:lnTo>
                    <a:pt x="32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28" y="90"/>
                  </a:lnTo>
                  <a:lnTo>
                    <a:pt x="26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6"/>
                  </a:lnTo>
                  <a:lnTo>
                    <a:pt x="20" y="98"/>
                  </a:lnTo>
                  <a:lnTo>
                    <a:pt x="20" y="100"/>
                  </a:lnTo>
                  <a:lnTo>
                    <a:pt x="20" y="102"/>
                  </a:lnTo>
                  <a:lnTo>
                    <a:pt x="20" y="102"/>
                  </a:lnTo>
                  <a:lnTo>
                    <a:pt x="20" y="102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4" y="104"/>
                  </a:lnTo>
                  <a:lnTo>
                    <a:pt x="12" y="102"/>
                  </a:lnTo>
                  <a:lnTo>
                    <a:pt x="8" y="102"/>
                  </a:lnTo>
                  <a:lnTo>
                    <a:pt x="6" y="100"/>
                  </a:lnTo>
                  <a:lnTo>
                    <a:pt x="2" y="100"/>
                  </a:lnTo>
                  <a:lnTo>
                    <a:pt x="0" y="98"/>
                  </a:lnTo>
                  <a:lnTo>
                    <a:pt x="0" y="88"/>
                  </a:lnTo>
                  <a:lnTo>
                    <a:pt x="2" y="80"/>
                  </a:lnTo>
                  <a:lnTo>
                    <a:pt x="2" y="68"/>
                  </a:lnTo>
                  <a:lnTo>
                    <a:pt x="4" y="62"/>
                  </a:lnTo>
                  <a:lnTo>
                    <a:pt x="4" y="54"/>
                  </a:lnTo>
                  <a:lnTo>
                    <a:pt x="6" y="48"/>
                  </a:lnTo>
                  <a:lnTo>
                    <a:pt x="6" y="42"/>
                  </a:lnTo>
                  <a:lnTo>
                    <a:pt x="8" y="38"/>
                  </a:lnTo>
                  <a:lnTo>
                    <a:pt x="8" y="32"/>
                  </a:lnTo>
                  <a:lnTo>
                    <a:pt x="10" y="30"/>
                  </a:lnTo>
                  <a:lnTo>
                    <a:pt x="10" y="28"/>
                  </a:lnTo>
                  <a:lnTo>
                    <a:pt x="10" y="26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8" y="18"/>
                  </a:lnTo>
                  <a:lnTo>
                    <a:pt x="22" y="16"/>
                  </a:lnTo>
                  <a:lnTo>
                    <a:pt x="24" y="14"/>
                  </a:lnTo>
                  <a:lnTo>
                    <a:pt x="30" y="10"/>
                  </a:lnTo>
                  <a:lnTo>
                    <a:pt x="34" y="6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2" y="6"/>
                  </a:lnTo>
                  <a:lnTo>
                    <a:pt x="42" y="10"/>
                  </a:lnTo>
                  <a:lnTo>
                    <a:pt x="42" y="16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2" y="28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50" y="38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8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4" y="40"/>
                  </a:lnTo>
                  <a:lnTo>
                    <a:pt x="66" y="44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70" y="46"/>
                  </a:lnTo>
                  <a:lnTo>
                    <a:pt x="72" y="46"/>
                  </a:lnTo>
                  <a:lnTo>
                    <a:pt x="76" y="46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2" y="46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6" y="46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8"/>
                  </a:lnTo>
                  <a:lnTo>
                    <a:pt x="94" y="34"/>
                  </a:lnTo>
                  <a:lnTo>
                    <a:pt x="98" y="38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100" y="44"/>
                  </a:lnTo>
                  <a:lnTo>
                    <a:pt x="100" y="46"/>
                  </a:lnTo>
                  <a:lnTo>
                    <a:pt x="100" y="48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6" y="50"/>
                  </a:lnTo>
                  <a:lnTo>
                    <a:pt x="106" y="50"/>
                  </a:lnTo>
                  <a:lnTo>
                    <a:pt x="108" y="50"/>
                  </a:lnTo>
                  <a:lnTo>
                    <a:pt x="112" y="48"/>
                  </a:lnTo>
                  <a:lnTo>
                    <a:pt x="116" y="46"/>
                  </a:lnTo>
                  <a:lnTo>
                    <a:pt x="118" y="46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2" y="46"/>
                  </a:lnTo>
                  <a:lnTo>
                    <a:pt x="124" y="46"/>
                  </a:lnTo>
                  <a:lnTo>
                    <a:pt x="128" y="46"/>
                  </a:lnTo>
                  <a:lnTo>
                    <a:pt x="134" y="46"/>
                  </a:lnTo>
                  <a:lnTo>
                    <a:pt x="138" y="48"/>
                  </a:lnTo>
                  <a:lnTo>
                    <a:pt x="142" y="48"/>
                  </a:lnTo>
                  <a:lnTo>
                    <a:pt x="144" y="50"/>
                  </a:lnTo>
                  <a:lnTo>
                    <a:pt x="146" y="50"/>
                  </a:lnTo>
                  <a:lnTo>
                    <a:pt x="148" y="52"/>
                  </a:lnTo>
                  <a:lnTo>
                    <a:pt x="150" y="52"/>
                  </a:lnTo>
                  <a:lnTo>
                    <a:pt x="152" y="54"/>
                  </a:lnTo>
                  <a:lnTo>
                    <a:pt x="152" y="54"/>
                  </a:lnTo>
                  <a:lnTo>
                    <a:pt x="152" y="56"/>
                  </a:lnTo>
                  <a:lnTo>
                    <a:pt x="154" y="56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4" y="66"/>
                  </a:lnTo>
                  <a:lnTo>
                    <a:pt x="154" y="72"/>
                  </a:lnTo>
                  <a:lnTo>
                    <a:pt x="154" y="74"/>
                  </a:lnTo>
                  <a:lnTo>
                    <a:pt x="154" y="76"/>
                  </a:lnTo>
                  <a:lnTo>
                    <a:pt x="154" y="76"/>
                  </a:lnTo>
                  <a:lnTo>
                    <a:pt x="154" y="80"/>
                  </a:lnTo>
                  <a:lnTo>
                    <a:pt x="156" y="84"/>
                  </a:lnTo>
                  <a:lnTo>
                    <a:pt x="156" y="86"/>
                  </a:lnTo>
                  <a:lnTo>
                    <a:pt x="158" y="88"/>
                  </a:lnTo>
                  <a:lnTo>
                    <a:pt x="158" y="90"/>
                  </a:lnTo>
                  <a:lnTo>
                    <a:pt x="158" y="90"/>
                  </a:lnTo>
                  <a:lnTo>
                    <a:pt x="160" y="90"/>
                  </a:lnTo>
                  <a:lnTo>
                    <a:pt x="160" y="92"/>
                  </a:lnTo>
                  <a:lnTo>
                    <a:pt x="162" y="92"/>
                  </a:lnTo>
                  <a:lnTo>
                    <a:pt x="164" y="94"/>
                  </a:lnTo>
                  <a:lnTo>
                    <a:pt x="168" y="94"/>
                  </a:lnTo>
                  <a:lnTo>
                    <a:pt x="172" y="96"/>
                  </a:lnTo>
                  <a:lnTo>
                    <a:pt x="174" y="98"/>
                  </a:lnTo>
                  <a:lnTo>
                    <a:pt x="176" y="98"/>
                  </a:lnTo>
                  <a:lnTo>
                    <a:pt x="178" y="100"/>
                  </a:lnTo>
                  <a:lnTo>
                    <a:pt x="182" y="102"/>
                  </a:lnTo>
                  <a:lnTo>
                    <a:pt x="186" y="106"/>
                  </a:lnTo>
                  <a:lnTo>
                    <a:pt x="184" y="114"/>
                  </a:lnTo>
                  <a:lnTo>
                    <a:pt x="180" y="118"/>
                  </a:lnTo>
                  <a:lnTo>
                    <a:pt x="180" y="122"/>
                  </a:lnTo>
                  <a:lnTo>
                    <a:pt x="178" y="122"/>
                  </a:lnTo>
                  <a:lnTo>
                    <a:pt x="178" y="124"/>
                  </a:lnTo>
                  <a:lnTo>
                    <a:pt x="176" y="126"/>
                  </a:lnTo>
                  <a:lnTo>
                    <a:pt x="172" y="130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6" y="138"/>
                  </a:lnTo>
                  <a:lnTo>
                    <a:pt x="164" y="142"/>
                  </a:lnTo>
                  <a:lnTo>
                    <a:pt x="162" y="146"/>
                  </a:lnTo>
                  <a:lnTo>
                    <a:pt x="156" y="156"/>
                  </a:lnTo>
                  <a:lnTo>
                    <a:pt x="150" y="16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83" name="Freeform 145">
              <a:extLst>
                <a:ext uri="{FF2B5EF4-FFF2-40B4-BE49-F238E27FC236}">
                  <a16:creationId xmlns:a16="http://schemas.microsoft.com/office/drawing/2014/main" id="{BAAA96C8-7D9F-4603-80AD-E509F4B3D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6265" y="3805437"/>
              <a:ext cx="34169" cy="43459"/>
            </a:xfrm>
            <a:custGeom>
              <a:avLst/>
              <a:gdLst>
                <a:gd name="T0" fmla="*/ 2 w 20"/>
                <a:gd name="T1" fmla="*/ 24 h 26"/>
                <a:gd name="T2" fmla="*/ 2 w 20"/>
                <a:gd name="T3" fmla="*/ 24 h 26"/>
                <a:gd name="T4" fmla="*/ 2 w 20"/>
                <a:gd name="T5" fmla="*/ 22 h 26"/>
                <a:gd name="T6" fmla="*/ 0 w 20"/>
                <a:gd name="T7" fmla="*/ 18 h 26"/>
                <a:gd name="T8" fmla="*/ 0 w 20"/>
                <a:gd name="T9" fmla="*/ 14 h 26"/>
                <a:gd name="T10" fmla="*/ 0 w 20"/>
                <a:gd name="T11" fmla="*/ 10 h 26"/>
                <a:gd name="T12" fmla="*/ 2 w 20"/>
                <a:gd name="T13" fmla="*/ 8 h 26"/>
                <a:gd name="T14" fmla="*/ 2 w 20"/>
                <a:gd name="T15" fmla="*/ 6 h 26"/>
                <a:gd name="T16" fmla="*/ 2 w 20"/>
                <a:gd name="T17" fmla="*/ 4 h 26"/>
                <a:gd name="T18" fmla="*/ 2 w 20"/>
                <a:gd name="T19" fmla="*/ 4 h 26"/>
                <a:gd name="T20" fmla="*/ 2 w 20"/>
                <a:gd name="T21" fmla="*/ 2 h 26"/>
                <a:gd name="T22" fmla="*/ 2 w 20"/>
                <a:gd name="T23" fmla="*/ 2 h 26"/>
                <a:gd name="T24" fmla="*/ 4 w 20"/>
                <a:gd name="T25" fmla="*/ 2 h 26"/>
                <a:gd name="T26" fmla="*/ 4 w 20"/>
                <a:gd name="T27" fmla="*/ 2 h 26"/>
                <a:gd name="T28" fmla="*/ 6 w 20"/>
                <a:gd name="T29" fmla="*/ 0 h 26"/>
                <a:gd name="T30" fmla="*/ 8 w 20"/>
                <a:gd name="T31" fmla="*/ 0 h 26"/>
                <a:gd name="T32" fmla="*/ 10 w 20"/>
                <a:gd name="T33" fmla="*/ 0 h 26"/>
                <a:gd name="T34" fmla="*/ 12 w 20"/>
                <a:gd name="T35" fmla="*/ 0 h 26"/>
                <a:gd name="T36" fmla="*/ 20 w 20"/>
                <a:gd name="T37" fmla="*/ 26 h 26"/>
                <a:gd name="T38" fmla="*/ 2 w 20"/>
                <a:gd name="T39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26">
                  <a:moveTo>
                    <a:pt x="2" y="24"/>
                  </a:moveTo>
                  <a:lnTo>
                    <a:pt x="2" y="24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20" y="26"/>
                  </a:lnTo>
                  <a:lnTo>
                    <a:pt x="2" y="2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84" name="Freeform 147">
              <a:extLst>
                <a:ext uri="{FF2B5EF4-FFF2-40B4-BE49-F238E27FC236}">
                  <a16:creationId xmlns:a16="http://schemas.microsoft.com/office/drawing/2014/main" id="{C2189442-76B1-4C9E-8682-6C2149D2CA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5832" y="3738577"/>
              <a:ext cx="522778" cy="484736"/>
            </a:xfrm>
            <a:custGeom>
              <a:avLst/>
              <a:gdLst>
                <a:gd name="T0" fmla="*/ 164 w 306"/>
                <a:gd name="T1" fmla="*/ 68 h 290"/>
                <a:gd name="T2" fmla="*/ 190 w 306"/>
                <a:gd name="T3" fmla="*/ 64 h 290"/>
                <a:gd name="T4" fmla="*/ 200 w 306"/>
                <a:gd name="T5" fmla="*/ 72 h 290"/>
                <a:gd name="T6" fmla="*/ 228 w 306"/>
                <a:gd name="T7" fmla="*/ 104 h 290"/>
                <a:gd name="T8" fmla="*/ 230 w 306"/>
                <a:gd name="T9" fmla="*/ 122 h 290"/>
                <a:gd name="T10" fmla="*/ 238 w 306"/>
                <a:gd name="T11" fmla="*/ 132 h 290"/>
                <a:gd name="T12" fmla="*/ 244 w 306"/>
                <a:gd name="T13" fmla="*/ 156 h 290"/>
                <a:gd name="T14" fmla="*/ 250 w 306"/>
                <a:gd name="T15" fmla="*/ 162 h 290"/>
                <a:gd name="T16" fmla="*/ 266 w 306"/>
                <a:gd name="T17" fmla="*/ 166 h 290"/>
                <a:gd name="T18" fmla="*/ 294 w 306"/>
                <a:gd name="T19" fmla="*/ 166 h 290"/>
                <a:gd name="T20" fmla="*/ 304 w 306"/>
                <a:gd name="T21" fmla="*/ 180 h 290"/>
                <a:gd name="T22" fmla="*/ 306 w 306"/>
                <a:gd name="T23" fmla="*/ 194 h 290"/>
                <a:gd name="T24" fmla="*/ 302 w 306"/>
                <a:gd name="T25" fmla="*/ 212 h 290"/>
                <a:gd name="T26" fmla="*/ 294 w 306"/>
                <a:gd name="T27" fmla="*/ 222 h 290"/>
                <a:gd name="T28" fmla="*/ 278 w 306"/>
                <a:gd name="T29" fmla="*/ 228 h 290"/>
                <a:gd name="T30" fmla="*/ 248 w 306"/>
                <a:gd name="T31" fmla="*/ 232 h 290"/>
                <a:gd name="T32" fmla="*/ 218 w 306"/>
                <a:gd name="T33" fmla="*/ 236 h 290"/>
                <a:gd name="T34" fmla="*/ 206 w 306"/>
                <a:gd name="T35" fmla="*/ 244 h 290"/>
                <a:gd name="T36" fmla="*/ 198 w 306"/>
                <a:gd name="T37" fmla="*/ 254 h 290"/>
                <a:gd name="T38" fmla="*/ 194 w 306"/>
                <a:gd name="T39" fmla="*/ 270 h 290"/>
                <a:gd name="T40" fmla="*/ 188 w 306"/>
                <a:gd name="T41" fmla="*/ 280 h 290"/>
                <a:gd name="T42" fmla="*/ 174 w 306"/>
                <a:gd name="T43" fmla="*/ 276 h 290"/>
                <a:gd name="T44" fmla="*/ 174 w 306"/>
                <a:gd name="T45" fmla="*/ 266 h 290"/>
                <a:gd name="T46" fmla="*/ 164 w 306"/>
                <a:gd name="T47" fmla="*/ 264 h 290"/>
                <a:gd name="T48" fmla="*/ 138 w 306"/>
                <a:gd name="T49" fmla="*/ 264 h 290"/>
                <a:gd name="T50" fmla="*/ 122 w 306"/>
                <a:gd name="T51" fmla="*/ 272 h 290"/>
                <a:gd name="T52" fmla="*/ 108 w 306"/>
                <a:gd name="T53" fmla="*/ 254 h 290"/>
                <a:gd name="T54" fmla="*/ 102 w 306"/>
                <a:gd name="T55" fmla="*/ 236 h 290"/>
                <a:gd name="T56" fmla="*/ 88 w 306"/>
                <a:gd name="T57" fmla="*/ 214 h 290"/>
                <a:gd name="T58" fmla="*/ 70 w 306"/>
                <a:gd name="T59" fmla="*/ 188 h 290"/>
                <a:gd name="T60" fmla="*/ 58 w 306"/>
                <a:gd name="T61" fmla="*/ 156 h 290"/>
                <a:gd name="T62" fmla="*/ 48 w 306"/>
                <a:gd name="T63" fmla="*/ 136 h 290"/>
                <a:gd name="T64" fmla="*/ 36 w 306"/>
                <a:gd name="T65" fmla="*/ 120 h 290"/>
                <a:gd name="T66" fmla="*/ 20 w 306"/>
                <a:gd name="T67" fmla="*/ 106 h 290"/>
                <a:gd name="T68" fmla="*/ 18 w 306"/>
                <a:gd name="T69" fmla="*/ 98 h 290"/>
                <a:gd name="T70" fmla="*/ 16 w 306"/>
                <a:gd name="T71" fmla="*/ 82 h 290"/>
                <a:gd name="T72" fmla="*/ 12 w 306"/>
                <a:gd name="T73" fmla="*/ 78 h 290"/>
                <a:gd name="T74" fmla="*/ 4 w 306"/>
                <a:gd name="T75" fmla="*/ 74 h 290"/>
                <a:gd name="T76" fmla="*/ 0 w 306"/>
                <a:gd name="T77" fmla="*/ 60 h 290"/>
                <a:gd name="T78" fmla="*/ 16 w 306"/>
                <a:gd name="T79" fmla="*/ 58 h 290"/>
                <a:gd name="T80" fmla="*/ 24 w 306"/>
                <a:gd name="T81" fmla="*/ 54 h 290"/>
                <a:gd name="T82" fmla="*/ 34 w 306"/>
                <a:gd name="T83" fmla="*/ 42 h 290"/>
                <a:gd name="T84" fmla="*/ 44 w 306"/>
                <a:gd name="T85" fmla="*/ 34 h 290"/>
                <a:gd name="T86" fmla="*/ 44 w 306"/>
                <a:gd name="T87" fmla="*/ 24 h 290"/>
                <a:gd name="T88" fmla="*/ 44 w 306"/>
                <a:gd name="T89" fmla="*/ 14 h 290"/>
                <a:gd name="T90" fmla="*/ 52 w 306"/>
                <a:gd name="T91" fmla="*/ 6 h 290"/>
                <a:gd name="T92" fmla="*/ 64 w 306"/>
                <a:gd name="T93" fmla="*/ 0 h 290"/>
                <a:gd name="T94" fmla="*/ 76 w 306"/>
                <a:gd name="T95" fmla="*/ 6 h 290"/>
                <a:gd name="T96" fmla="*/ 86 w 306"/>
                <a:gd name="T97" fmla="*/ 14 h 290"/>
                <a:gd name="T98" fmla="*/ 96 w 306"/>
                <a:gd name="T99" fmla="*/ 12 h 290"/>
                <a:gd name="T100" fmla="*/ 102 w 306"/>
                <a:gd name="T101" fmla="*/ 14 h 290"/>
                <a:gd name="T102" fmla="*/ 108 w 306"/>
                <a:gd name="T103" fmla="*/ 24 h 290"/>
                <a:gd name="T104" fmla="*/ 114 w 306"/>
                <a:gd name="T105" fmla="*/ 30 h 290"/>
                <a:gd name="T106" fmla="*/ 124 w 306"/>
                <a:gd name="T107" fmla="*/ 36 h 290"/>
                <a:gd name="T108" fmla="*/ 132 w 306"/>
                <a:gd name="T109" fmla="*/ 50 h 290"/>
                <a:gd name="T110" fmla="*/ 144 w 306"/>
                <a:gd name="T111" fmla="*/ 62 h 290"/>
                <a:gd name="T112" fmla="*/ 156 w 306"/>
                <a:gd name="T113" fmla="*/ 7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6" h="290">
                  <a:moveTo>
                    <a:pt x="160" y="70"/>
                  </a:moveTo>
                  <a:lnTo>
                    <a:pt x="160" y="70"/>
                  </a:lnTo>
                  <a:lnTo>
                    <a:pt x="160" y="70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4" y="68"/>
                  </a:lnTo>
                  <a:lnTo>
                    <a:pt x="166" y="66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78" y="64"/>
                  </a:lnTo>
                  <a:lnTo>
                    <a:pt x="186" y="64"/>
                  </a:lnTo>
                  <a:lnTo>
                    <a:pt x="190" y="64"/>
                  </a:lnTo>
                  <a:lnTo>
                    <a:pt x="192" y="66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8" y="70"/>
                  </a:lnTo>
                  <a:lnTo>
                    <a:pt x="200" y="72"/>
                  </a:lnTo>
                  <a:lnTo>
                    <a:pt x="204" y="78"/>
                  </a:lnTo>
                  <a:lnTo>
                    <a:pt x="206" y="80"/>
                  </a:lnTo>
                  <a:lnTo>
                    <a:pt x="206" y="82"/>
                  </a:lnTo>
                  <a:lnTo>
                    <a:pt x="218" y="94"/>
                  </a:lnTo>
                  <a:lnTo>
                    <a:pt x="228" y="102"/>
                  </a:lnTo>
                  <a:lnTo>
                    <a:pt x="228" y="104"/>
                  </a:lnTo>
                  <a:lnTo>
                    <a:pt x="228" y="110"/>
                  </a:lnTo>
                  <a:lnTo>
                    <a:pt x="228" y="114"/>
                  </a:lnTo>
                  <a:lnTo>
                    <a:pt x="228" y="116"/>
                  </a:lnTo>
                  <a:lnTo>
                    <a:pt x="228" y="120"/>
                  </a:lnTo>
                  <a:lnTo>
                    <a:pt x="230" y="120"/>
                  </a:lnTo>
                  <a:lnTo>
                    <a:pt x="230" y="122"/>
                  </a:lnTo>
                  <a:lnTo>
                    <a:pt x="230" y="122"/>
                  </a:lnTo>
                  <a:lnTo>
                    <a:pt x="232" y="124"/>
                  </a:lnTo>
                  <a:lnTo>
                    <a:pt x="234" y="126"/>
                  </a:lnTo>
                  <a:lnTo>
                    <a:pt x="236" y="126"/>
                  </a:lnTo>
                  <a:lnTo>
                    <a:pt x="238" y="128"/>
                  </a:lnTo>
                  <a:lnTo>
                    <a:pt x="238" y="132"/>
                  </a:lnTo>
                  <a:lnTo>
                    <a:pt x="238" y="136"/>
                  </a:lnTo>
                  <a:lnTo>
                    <a:pt x="240" y="142"/>
                  </a:lnTo>
                  <a:lnTo>
                    <a:pt x="242" y="148"/>
                  </a:lnTo>
                  <a:lnTo>
                    <a:pt x="242" y="152"/>
                  </a:lnTo>
                  <a:lnTo>
                    <a:pt x="244" y="154"/>
                  </a:lnTo>
                  <a:lnTo>
                    <a:pt x="244" y="156"/>
                  </a:lnTo>
                  <a:lnTo>
                    <a:pt x="246" y="158"/>
                  </a:lnTo>
                  <a:lnTo>
                    <a:pt x="248" y="160"/>
                  </a:lnTo>
                  <a:lnTo>
                    <a:pt x="248" y="160"/>
                  </a:lnTo>
                  <a:lnTo>
                    <a:pt x="248" y="162"/>
                  </a:lnTo>
                  <a:lnTo>
                    <a:pt x="250" y="162"/>
                  </a:lnTo>
                  <a:lnTo>
                    <a:pt x="250" y="162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6" y="164"/>
                  </a:lnTo>
                  <a:lnTo>
                    <a:pt x="260" y="164"/>
                  </a:lnTo>
                  <a:lnTo>
                    <a:pt x="262" y="166"/>
                  </a:lnTo>
                  <a:lnTo>
                    <a:pt x="266" y="166"/>
                  </a:lnTo>
                  <a:lnTo>
                    <a:pt x="270" y="166"/>
                  </a:lnTo>
                  <a:lnTo>
                    <a:pt x="274" y="166"/>
                  </a:lnTo>
                  <a:lnTo>
                    <a:pt x="280" y="164"/>
                  </a:lnTo>
                  <a:lnTo>
                    <a:pt x="286" y="164"/>
                  </a:lnTo>
                  <a:lnTo>
                    <a:pt x="292" y="164"/>
                  </a:lnTo>
                  <a:lnTo>
                    <a:pt x="294" y="166"/>
                  </a:lnTo>
                  <a:lnTo>
                    <a:pt x="298" y="170"/>
                  </a:lnTo>
                  <a:lnTo>
                    <a:pt x="300" y="174"/>
                  </a:lnTo>
                  <a:lnTo>
                    <a:pt x="302" y="176"/>
                  </a:lnTo>
                  <a:lnTo>
                    <a:pt x="304" y="178"/>
                  </a:lnTo>
                  <a:lnTo>
                    <a:pt x="304" y="180"/>
                  </a:lnTo>
                  <a:lnTo>
                    <a:pt x="304" y="180"/>
                  </a:lnTo>
                  <a:lnTo>
                    <a:pt x="306" y="182"/>
                  </a:lnTo>
                  <a:lnTo>
                    <a:pt x="306" y="184"/>
                  </a:lnTo>
                  <a:lnTo>
                    <a:pt x="306" y="186"/>
                  </a:lnTo>
                  <a:lnTo>
                    <a:pt x="306" y="188"/>
                  </a:lnTo>
                  <a:lnTo>
                    <a:pt x="306" y="192"/>
                  </a:lnTo>
                  <a:lnTo>
                    <a:pt x="306" y="194"/>
                  </a:lnTo>
                  <a:lnTo>
                    <a:pt x="304" y="198"/>
                  </a:lnTo>
                  <a:lnTo>
                    <a:pt x="304" y="200"/>
                  </a:lnTo>
                  <a:lnTo>
                    <a:pt x="304" y="202"/>
                  </a:lnTo>
                  <a:lnTo>
                    <a:pt x="302" y="206"/>
                  </a:lnTo>
                  <a:lnTo>
                    <a:pt x="302" y="208"/>
                  </a:lnTo>
                  <a:lnTo>
                    <a:pt x="302" y="212"/>
                  </a:lnTo>
                  <a:lnTo>
                    <a:pt x="300" y="214"/>
                  </a:lnTo>
                  <a:lnTo>
                    <a:pt x="298" y="216"/>
                  </a:lnTo>
                  <a:lnTo>
                    <a:pt x="298" y="218"/>
                  </a:lnTo>
                  <a:lnTo>
                    <a:pt x="296" y="220"/>
                  </a:lnTo>
                  <a:lnTo>
                    <a:pt x="296" y="222"/>
                  </a:lnTo>
                  <a:lnTo>
                    <a:pt x="294" y="222"/>
                  </a:lnTo>
                  <a:lnTo>
                    <a:pt x="294" y="224"/>
                  </a:lnTo>
                  <a:lnTo>
                    <a:pt x="290" y="224"/>
                  </a:lnTo>
                  <a:lnTo>
                    <a:pt x="288" y="226"/>
                  </a:lnTo>
                  <a:lnTo>
                    <a:pt x="286" y="226"/>
                  </a:lnTo>
                  <a:lnTo>
                    <a:pt x="282" y="228"/>
                  </a:lnTo>
                  <a:lnTo>
                    <a:pt x="278" y="228"/>
                  </a:lnTo>
                  <a:lnTo>
                    <a:pt x="274" y="228"/>
                  </a:lnTo>
                  <a:lnTo>
                    <a:pt x="272" y="230"/>
                  </a:lnTo>
                  <a:lnTo>
                    <a:pt x="264" y="230"/>
                  </a:lnTo>
                  <a:lnTo>
                    <a:pt x="258" y="230"/>
                  </a:lnTo>
                  <a:lnTo>
                    <a:pt x="254" y="230"/>
                  </a:lnTo>
                  <a:lnTo>
                    <a:pt x="248" y="232"/>
                  </a:lnTo>
                  <a:lnTo>
                    <a:pt x="242" y="232"/>
                  </a:lnTo>
                  <a:lnTo>
                    <a:pt x="236" y="232"/>
                  </a:lnTo>
                  <a:lnTo>
                    <a:pt x="228" y="234"/>
                  </a:lnTo>
                  <a:lnTo>
                    <a:pt x="224" y="234"/>
                  </a:lnTo>
                  <a:lnTo>
                    <a:pt x="222" y="234"/>
                  </a:lnTo>
                  <a:lnTo>
                    <a:pt x="218" y="236"/>
                  </a:lnTo>
                  <a:lnTo>
                    <a:pt x="216" y="236"/>
                  </a:lnTo>
                  <a:lnTo>
                    <a:pt x="212" y="238"/>
                  </a:lnTo>
                  <a:lnTo>
                    <a:pt x="210" y="238"/>
                  </a:lnTo>
                  <a:lnTo>
                    <a:pt x="210" y="240"/>
                  </a:lnTo>
                  <a:lnTo>
                    <a:pt x="208" y="242"/>
                  </a:lnTo>
                  <a:lnTo>
                    <a:pt x="206" y="244"/>
                  </a:lnTo>
                  <a:lnTo>
                    <a:pt x="204" y="246"/>
                  </a:lnTo>
                  <a:lnTo>
                    <a:pt x="202" y="248"/>
                  </a:lnTo>
                  <a:lnTo>
                    <a:pt x="200" y="250"/>
                  </a:lnTo>
                  <a:lnTo>
                    <a:pt x="200" y="252"/>
                  </a:lnTo>
                  <a:lnTo>
                    <a:pt x="198" y="254"/>
                  </a:lnTo>
                  <a:lnTo>
                    <a:pt x="198" y="254"/>
                  </a:lnTo>
                  <a:lnTo>
                    <a:pt x="198" y="256"/>
                  </a:lnTo>
                  <a:lnTo>
                    <a:pt x="196" y="258"/>
                  </a:lnTo>
                  <a:lnTo>
                    <a:pt x="196" y="262"/>
                  </a:lnTo>
                  <a:lnTo>
                    <a:pt x="196" y="264"/>
                  </a:lnTo>
                  <a:lnTo>
                    <a:pt x="196" y="268"/>
                  </a:lnTo>
                  <a:lnTo>
                    <a:pt x="194" y="270"/>
                  </a:lnTo>
                  <a:lnTo>
                    <a:pt x="194" y="274"/>
                  </a:lnTo>
                  <a:lnTo>
                    <a:pt x="194" y="274"/>
                  </a:lnTo>
                  <a:lnTo>
                    <a:pt x="194" y="274"/>
                  </a:lnTo>
                  <a:lnTo>
                    <a:pt x="192" y="276"/>
                  </a:lnTo>
                  <a:lnTo>
                    <a:pt x="192" y="278"/>
                  </a:lnTo>
                  <a:lnTo>
                    <a:pt x="188" y="280"/>
                  </a:lnTo>
                  <a:lnTo>
                    <a:pt x="186" y="282"/>
                  </a:lnTo>
                  <a:lnTo>
                    <a:pt x="182" y="284"/>
                  </a:lnTo>
                  <a:lnTo>
                    <a:pt x="176" y="288"/>
                  </a:lnTo>
                  <a:lnTo>
                    <a:pt x="174" y="290"/>
                  </a:lnTo>
                  <a:lnTo>
                    <a:pt x="174" y="278"/>
                  </a:lnTo>
                  <a:lnTo>
                    <a:pt x="174" y="276"/>
                  </a:lnTo>
                  <a:lnTo>
                    <a:pt x="174" y="272"/>
                  </a:lnTo>
                  <a:lnTo>
                    <a:pt x="174" y="270"/>
                  </a:lnTo>
                  <a:lnTo>
                    <a:pt x="174" y="270"/>
                  </a:lnTo>
                  <a:lnTo>
                    <a:pt x="174" y="268"/>
                  </a:lnTo>
                  <a:lnTo>
                    <a:pt x="174" y="268"/>
                  </a:lnTo>
                  <a:lnTo>
                    <a:pt x="174" y="266"/>
                  </a:lnTo>
                  <a:lnTo>
                    <a:pt x="174" y="266"/>
                  </a:lnTo>
                  <a:lnTo>
                    <a:pt x="172" y="266"/>
                  </a:lnTo>
                  <a:lnTo>
                    <a:pt x="170" y="266"/>
                  </a:lnTo>
                  <a:lnTo>
                    <a:pt x="168" y="264"/>
                  </a:lnTo>
                  <a:lnTo>
                    <a:pt x="166" y="264"/>
                  </a:lnTo>
                  <a:lnTo>
                    <a:pt x="164" y="264"/>
                  </a:lnTo>
                  <a:lnTo>
                    <a:pt x="160" y="264"/>
                  </a:lnTo>
                  <a:lnTo>
                    <a:pt x="154" y="264"/>
                  </a:lnTo>
                  <a:lnTo>
                    <a:pt x="150" y="264"/>
                  </a:lnTo>
                  <a:lnTo>
                    <a:pt x="146" y="264"/>
                  </a:lnTo>
                  <a:lnTo>
                    <a:pt x="142" y="264"/>
                  </a:lnTo>
                  <a:lnTo>
                    <a:pt x="138" y="264"/>
                  </a:lnTo>
                  <a:lnTo>
                    <a:pt x="136" y="264"/>
                  </a:lnTo>
                  <a:lnTo>
                    <a:pt x="134" y="264"/>
                  </a:lnTo>
                  <a:lnTo>
                    <a:pt x="132" y="266"/>
                  </a:lnTo>
                  <a:lnTo>
                    <a:pt x="130" y="266"/>
                  </a:lnTo>
                  <a:lnTo>
                    <a:pt x="128" y="268"/>
                  </a:lnTo>
                  <a:lnTo>
                    <a:pt x="122" y="272"/>
                  </a:lnTo>
                  <a:lnTo>
                    <a:pt x="120" y="268"/>
                  </a:lnTo>
                  <a:lnTo>
                    <a:pt x="116" y="264"/>
                  </a:lnTo>
                  <a:lnTo>
                    <a:pt x="112" y="260"/>
                  </a:lnTo>
                  <a:lnTo>
                    <a:pt x="110" y="258"/>
                  </a:lnTo>
                  <a:lnTo>
                    <a:pt x="108" y="254"/>
                  </a:lnTo>
                  <a:lnTo>
                    <a:pt x="108" y="254"/>
                  </a:lnTo>
                  <a:lnTo>
                    <a:pt x="106" y="252"/>
                  </a:lnTo>
                  <a:lnTo>
                    <a:pt x="106" y="250"/>
                  </a:lnTo>
                  <a:lnTo>
                    <a:pt x="106" y="248"/>
                  </a:lnTo>
                  <a:lnTo>
                    <a:pt x="104" y="244"/>
                  </a:lnTo>
                  <a:lnTo>
                    <a:pt x="102" y="238"/>
                  </a:lnTo>
                  <a:lnTo>
                    <a:pt x="102" y="236"/>
                  </a:lnTo>
                  <a:lnTo>
                    <a:pt x="102" y="234"/>
                  </a:lnTo>
                  <a:lnTo>
                    <a:pt x="100" y="234"/>
                  </a:lnTo>
                  <a:lnTo>
                    <a:pt x="100" y="232"/>
                  </a:lnTo>
                  <a:lnTo>
                    <a:pt x="96" y="226"/>
                  </a:lnTo>
                  <a:lnTo>
                    <a:pt x="92" y="220"/>
                  </a:lnTo>
                  <a:lnTo>
                    <a:pt x="88" y="214"/>
                  </a:lnTo>
                  <a:lnTo>
                    <a:pt x="82" y="208"/>
                  </a:lnTo>
                  <a:lnTo>
                    <a:pt x="78" y="202"/>
                  </a:lnTo>
                  <a:lnTo>
                    <a:pt x="76" y="200"/>
                  </a:lnTo>
                  <a:lnTo>
                    <a:pt x="74" y="196"/>
                  </a:lnTo>
                  <a:lnTo>
                    <a:pt x="72" y="194"/>
                  </a:lnTo>
                  <a:lnTo>
                    <a:pt x="70" y="188"/>
                  </a:lnTo>
                  <a:lnTo>
                    <a:pt x="66" y="184"/>
                  </a:lnTo>
                  <a:lnTo>
                    <a:pt x="64" y="180"/>
                  </a:lnTo>
                  <a:lnTo>
                    <a:pt x="64" y="178"/>
                  </a:lnTo>
                  <a:lnTo>
                    <a:pt x="62" y="174"/>
                  </a:lnTo>
                  <a:lnTo>
                    <a:pt x="60" y="164"/>
                  </a:lnTo>
                  <a:lnTo>
                    <a:pt x="58" y="156"/>
                  </a:lnTo>
                  <a:lnTo>
                    <a:pt x="56" y="152"/>
                  </a:lnTo>
                  <a:lnTo>
                    <a:pt x="54" y="148"/>
                  </a:lnTo>
                  <a:lnTo>
                    <a:pt x="54" y="146"/>
                  </a:lnTo>
                  <a:lnTo>
                    <a:pt x="52" y="142"/>
                  </a:lnTo>
                  <a:lnTo>
                    <a:pt x="50" y="140"/>
                  </a:lnTo>
                  <a:lnTo>
                    <a:pt x="48" y="136"/>
                  </a:lnTo>
                  <a:lnTo>
                    <a:pt x="46" y="132"/>
                  </a:lnTo>
                  <a:lnTo>
                    <a:pt x="42" y="128"/>
                  </a:lnTo>
                  <a:lnTo>
                    <a:pt x="40" y="126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6" y="120"/>
                  </a:lnTo>
                  <a:lnTo>
                    <a:pt x="34" y="118"/>
                  </a:lnTo>
                  <a:lnTo>
                    <a:pt x="28" y="114"/>
                  </a:lnTo>
                  <a:lnTo>
                    <a:pt x="26" y="110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18" y="92"/>
                  </a:lnTo>
                  <a:lnTo>
                    <a:pt x="18" y="88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4" y="78"/>
                  </a:lnTo>
                  <a:lnTo>
                    <a:pt x="12" y="78"/>
                  </a:lnTo>
                  <a:lnTo>
                    <a:pt x="10" y="76"/>
                  </a:lnTo>
                  <a:lnTo>
                    <a:pt x="8" y="76"/>
                  </a:lnTo>
                  <a:lnTo>
                    <a:pt x="6" y="76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8"/>
                  </a:lnTo>
                  <a:lnTo>
                    <a:pt x="8" y="58"/>
                  </a:lnTo>
                  <a:lnTo>
                    <a:pt x="10" y="58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8" y="48"/>
                  </a:lnTo>
                  <a:lnTo>
                    <a:pt x="30" y="46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4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0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50" y="8"/>
                  </a:lnTo>
                  <a:lnTo>
                    <a:pt x="52" y="6"/>
                  </a:lnTo>
                  <a:lnTo>
                    <a:pt x="58" y="2"/>
                  </a:lnTo>
                  <a:lnTo>
                    <a:pt x="60" y="0"/>
                  </a:lnTo>
                  <a:lnTo>
                    <a:pt x="62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68" y="2"/>
                  </a:lnTo>
                  <a:lnTo>
                    <a:pt x="70" y="2"/>
                  </a:lnTo>
                  <a:lnTo>
                    <a:pt x="72" y="4"/>
                  </a:lnTo>
                  <a:lnTo>
                    <a:pt x="76" y="6"/>
                  </a:lnTo>
                  <a:lnTo>
                    <a:pt x="78" y="8"/>
                  </a:lnTo>
                  <a:lnTo>
                    <a:pt x="80" y="10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8" y="14"/>
                  </a:lnTo>
                  <a:lnTo>
                    <a:pt x="90" y="14"/>
                  </a:lnTo>
                  <a:lnTo>
                    <a:pt x="94" y="14"/>
                  </a:lnTo>
                  <a:lnTo>
                    <a:pt x="96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4" y="14"/>
                  </a:lnTo>
                  <a:lnTo>
                    <a:pt x="104" y="16"/>
                  </a:lnTo>
                  <a:lnTo>
                    <a:pt x="106" y="18"/>
                  </a:lnTo>
                  <a:lnTo>
                    <a:pt x="106" y="20"/>
                  </a:lnTo>
                  <a:lnTo>
                    <a:pt x="108" y="24"/>
                  </a:lnTo>
                  <a:lnTo>
                    <a:pt x="108" y="26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4" y="30"/>
                  </a:lnTo>
                  <a:lnTo>
                    <a:pt x="118" y="32"/>
                  </a:lnTo>
                  <a:lnTo>
                    <a:pt x="120" y="32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4" y="34"/>
                  </a:lnTo>
                  <a:lnTo>
                    <a:pt x="124" y="36"/>
                  </a:lnTo>
                  <a:lnTo>
                    <a:pt x="126" y="36"/>
                  </a:lnTo>
                  <a:lnTo>
                    <a:pt x="126" y="38"/>
                  </a:lnTo>
                  <a:lnTo>
                    <a:pt x="128" y="40"/>
                  </a:lnTo>
                  <a:lnTo>
                    <a:pt x="130" y="44"/>
                  </a:lnTo>
                  <a:lnTo>
                    <a:pt x="130" y="48"/>
                  </a:lnTo>
                  <a:lnTo>
                    <a:pt x="132" y="50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6" y="56"/>
                  </a:lnTo>
                  <a:lnTo>
                    <a:pt x="138" y="58"/>
                  </a:lnTo>
                  <a:lnTo>
                    <a:pt x="140" y="60"/>
                  </a:lnTo>
                  <a:lnTo>
                    <a:pt x="144" y="62"/>
                  </a:lnTo>
                  <a:lnTo>
                    <a:pt x="146" y="66"/>
                  </a:lnTo>
                  <a:lnTo>
                    <a:pt x="150" y="68"/>
                  </a:lnTo>
                  <a:lnTo>
                    <a:pt x="152" y="68"/>
                  </a:lnTo>
                  <a:lnTo>
                    <a:pt x="154" y="70"/>
                  </a:lnTo>
                  <a:lnTo>
                    <a:pt x="156" y="70"/>
                  </a:lnTo>
                  <a:lnTo>
                    <a:pt x="156" y="70"/>
                  </a:lnTo>
                  <a:lnTo>
                    <a:pt x="158" y="70"/>
                  </a:lnTo>
                  <a:lnTo>
                    <a:pt x="160" y="7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85" name="Freeform 149">
              <a:extLst>
                <a:ext uri="{FF2B5EF4-FFF2-40B4-BE49-F238E27FC236}">
                  <a16:creationId xmlns:a16="http://schemas.microsoft.com/office/drawing/2014/main" id="{E2B686A6-5975-43F6-863C-418610E33D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7404" y="3427677"/>
              <a:ext cx="457858" cy="197237"/>
            </a:xfrm>
            <a:custGeom>
              <a:avLst/>
              <a:gdLst>
                <a:gd name="T0" fmla="*/ 152 w 268"/>
                <a:gd name="T1" fmla="*/ 108 h 118"/>
                <a:gd name="T2" fmla="*/ 182 w 268"/>
                <a:gd name="T3" fmla="*/ 106 h 118"/>
                <a:gd name="T4" fmla="*/ 202 w 268"/>
                <a:gd name="T5" fmla="*/ 102 h 118"/>
                <a:gd name="T6" fmla="*/ 206 w 268"/>
                <a:gd name="T7" fmla="*/ 104 h 118"/>
                <a:gd name="T8" fmla="*/ 210 w 268"/>
                <a:gd name="T9" fmla="*/ 116 h 118"/>
                <a:gd name="T10" fmla="*/ 228 w 268"/>
                <a:gd name="T11" fmla="*/ 102 h 118"/>
                <a:gd name="T12" fmla="*/ 238 w 268"/>
                <a:gd name="T13" fmla="*/ 96 h 118"/>
                <a:gd name="T14" fmla="*/ 244 w 268"/>
                <a:gd name="T15" fmla="*/ 96 h 118"/>
                <a:gd name="T16" fmla="*/ 248 w 268"/>
                <a:gd name="T17" fmla="*/ 106 h 118"/>
                <a:gd name="T18" fmla="*/ 256 w 268"/>
                <a:gd name="T19" fmla="*/ 108 h 118"/>
                <a:gd name="T20" fmla="*/ 264 w 268"/>
                <a:gd name="T21" fmla="*/ 90 h 118"/>
                <a:gd name="T22" fmla="*/ 256 w 268"/>
                <a:gd name="T23" fmla="*/ 70 h 118"/>
                <a:gd name="T24" fmla="*/ 250 w 268"/>
                <a:gd name="T25" fmla="*/ 54 h 118"/>
                <a:gd name="T26" fmla="*/ 252 w 268"/>
                <a:gd name="T27" fmla="*/ 46 h 118"/>
                <a:gd name="T28" fmla="*/ 244 w 268"/>
                <a:gd name="T29" fmla="*/ 32 h 118"/>
                <a:gd name="T30" fmla="*/ 210 w 268"/>
                <a:gd name="T31" fmla="*/ 14 h 118"/>
                <a:gd name="T32" fmla="*/ 204 w 268"/>
                <a:gd name="T33" fmla="*/ 24 h 118"/>
                <a:gd name="T34" fmla="*/ 182 w 268"/>
                <a:gd name="T35" fmla="*/ 24 h 118"/>
                <a:gd name="T36" fmla="*/ 164 w 268"/>
                <a:gd name="T37" fmla="*/ 26 h 118"/>
                <a:gd name="T38" fmla="*/ 152 w 268"/>
                <a:gd name="T39" fmla="*/ 20 h 118"/>
                <a:gd name="T40" fmla="*/ 140 w 268"/>
                <a:gd name="T41" fmla="*/ 18 h 118"/>
                <a:gd name="T42" fmla="*/ 134 w 268"/>
                <a:gd name="T43" fmla="*/ 16 h 118"/>
                <a:gd name="T44" fmla="*/ 124 w 268"/>
                <a:gd name="T45" fmla="*/ 4 h 118"/>
                <a:gd name="T46" fmla="*/ 114 w 268"/>
                <a:gd name="T47" fmla="*/ 0 h 118"/>
                <a:gd name="T48" fmla="*/ 106 w 268"/>
                <a:gd name="T49" fmla="*/ 2 h 118"/>
                <a:gd name="T50" fmla="*/ 88 w 268"/>
                <a:gd name="T51" fmla="*/ 8 h 118"/>
                <a:gd name="T52" fmla="*/ 68 w 268"/>
                <a:gd name="T53" fmla="*/ 12 h 118"/>
                <a:gd name="T54" fmla="*/ 44 w 268"/>
                <a:gd name="T55" fmla="*/ 16 h 118"/>
                <a:gd name="T56" fmla="*/ 30 w 268"/>
                <a:gd name="T57" fmla="*/ 14 h 118"/>
                <a:gd name="T58" fmla="*/ 20 w 268"/>
                <a:gd name="T59" fmla="*/ 18 h 118"/>
                <a:gd name="T60" fmla="*/ 20 w 268"/>
                <a:gd name="T61" fmla="*/ 22 h 118"/>
                <a:gd name="T62" fmla="*/ 28 w 268"/>
                <a:gd name="T63" fmla="*/ 24 h 118"/>
                <a:gd name="T64" fmla="*/ 28 w 268"/>
                <a:gd name="T65" fmla="*/ 28 h 118"/>
                <a:gd name="T66" fmla="*/ 18 w 268"/>
                <a:gd name="T67" fmla="*/ 32 h 118"/>
                <a:gd name="T68" fmla="*/ 16 w 268"/>
                <a:gd name="T69" fmla="*/ 38 h 118"/>
                <a:gd name="T70" fmla="*/ 6 w 268"/>
                <a:gd name="T71" fmla="*/ 46 h 118"/>
                <a:gd name="T72" fmla="*/ 2 w 268"/>
                <a:gd name="T73" fmla="*/ 58 h 118"/>
                <a:gd name="T74" fmla="*/ 0 w 268"/>
                <a:gd name="T75" fmla="*/ 64 h 118"/>
                <a:gd name="T76" fmla="*/ 6 w 268"/>
                <a:gd name="T77" fmla="*/ 64 h 118"/>
                <a:gd name="T78" fmla="*/ 6 w 268"/>
                <a:gd name="T79" fmla="*/ 70 h 118"/>
                <a:gd name="T80" fmla="*/ 6 w 268"/>
                <a:gd name="T81" fmla="*/ 76 h 118"/>
                <a:gd name="T82" fmla="*/ 12 w 268"/>
                <a:gd name="T83" fmla="*/ 80 h 118"/>
                <a:gd name="T84" fmla="*/ 10 w 268"/>
                <a:gd name="T85" fmla="*/ 88 h 118"/>
                <a:gd name="T86" fmla="*/ 16 w 268"/>
                <a:gd name="T87" fmla="*/ 96 h 118"/>
                <a:gd name="T88" fmla="*/ 22 w 268"/>
                <a:gd name="T89" fmla="*/ 94 h 118"/>
                <a:gd name="T90" fmla="*/ 24 w 268"/>
                <a:gd name="T91" fmla="*/ 100 h 118"/>
                <a:gd name="T92" fmla="*/ 28 w 268"/>
                <a:gd name="T93" fmla="*/ 104 h 118"/>
                <a:gd name="T94" fmla="*/ 38 w 268"/>
                <a:gd name="T95" fmla="*/ 106 h 118"/>
                <a:gd name="T96" fmla="*/ 44 w 268"/>
                <a:gd name="T97" fmla="*/ 116 h 118"/>
                <a:gd name="T98" fmla="*/ 50 w 268"/>
                <a:gd name="T99" fmla="*/ 114 h 118"/>
                <a:gd name="T100" fmla="*/ 62 w 268"/>
                <a:gd name="T101" fmla="*/ 106 h 118"/>
                <a:gd name="T102" fmla="*/ 68 w 268"/>
                <a:gd name="T103" fmla="*/ 102 h 118"/>
                <a:gd name="T104" fmla="*/ 80 w 268"/>
                <a:gd name="T105" fmla="*/ 110 h 118"/>
                <a:gd name="T106" fmla="*/ 92 w 268"/>
                <a:gd name="T107" fmla="*/ 114 h 118"/>
                <a:gd name="T108" fmla="*/ 112 w 268"/>
                <a:gd name="T109" fmla="*/ 112 h 118"/>
                <a:gd name="T110" fmla="*/ 134 w 268"/>
                <a:gd name="T111" fmla="*/ 11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68" h="118">
                  <a:moveTo>
                    <a:pt x="134" y="112"/>
                  </a:moveTo>
                  <a:lnTo>
                    <a:pt x="134" y="112"/>
                  </a:lnTo>
                  <a:lnTo>
                    <a:pt x="140" y="110"/>
                  </a:lnTo>
                  <a:lnTo>
                    <a:pt x="144" y="110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58" y="108"/>
                  </a:lnTo>
                  <a:lnTo>
                    <a:pt x="164" y="106"/>
                  </a:lnTo>
                  <a:lnTo>
                    <a:pt x="170" y="106"/>
                  </a:lnTo>
                  <a:lnTo>
                    <a:pt x="174" y="106"/>
                  </a:lnTo>
                  <a:lnTo>
                    <a:pt x="178" y="106"/>
                  </a:lnTo>
                  <a:lnTo>
                    <a:pt x="182" y="106"/>
                  </a:lnTo>
                  <a:lnTo>
                    <a:pt x="186" y="106"/>
                  </a:lnTo>
                  <a:lnTo>
                    <a:pt x="188" y="106"/>
                  </a:lnTo>
                  <a:lnTo>
                    <a:pt x="190" y="104"/>
                  </a:lnTo>
                  <a:lnTo>
                    <a:pt x="196" y="104"/>
                  </a:lnTo>
                  <a:lnTo>
                    <a:pt x="198" y="102"/>
                  </a:lnTo>
                  <a:lnTo>
                    <a:pt x="202" y="102"/>
                  </a:lnTo>
                  <a:lnTo>
                    <a:pt x="202" y="102"/>
                  </a:lnTo>
                  <a:lnTo>
                    <a:pt x="204" y="102"/>
                  </a:lnTo>
                  <a:lnTo>
                    <a:pt x="204" y="102"/>
                  </a:lnTo>
                  <a:lnTo>
                    <a:pt x="206" y="102"/>
                  </a:lnTo>
                  <a:lnTo>
                    <a:pt x="206" y="102"/>
                  </a:lnTo>
                  <a:lnTo>
                    <a:pt x="206" y="104"/>
                  </a:lnTo>
                  <a:lnTo>
                    <a:pt x="208" y="104"/>
                  </a:lnTo>
                  <a:lnTo>
                    <a:pt x="208" y="106"/>
                  </a:lnTo>
                  <a:lnTo>
                    <a:pt x="208" y="108"/>
                  </a:lnTo>
                  <a:lnTo>
                    <a:pt x="210" y="110"/>
                  </a:lnTo>
                  <a:lnTo>
                    <a:pt x="210" y="114"/>
                  </a:lnTo>
                  <a:lnTo>
                    <a:pt x="210" y="116"/>
                  </a:lnTo>
                  <a:lnTo>
                    <a:pt x="210" y="118"/>
                  </a:lnTo>
                  <a:lnTo>
                    <a:pt x="214" y="114"/>
                  </a:lnTo>
                  <a:lnTo>
                    <a:pt x="220" y="108"/>
                  </a:lnTo>
                  <a:lnTo>
                    <a:pt x="222" y="106"/>
                  </a:lnTo>
                  <a:lnTo>
                    <a:pt x="224" y="104"/>
                  </a:lnTo>
                  <a:lnTo>
                    <a:pt x="228" y="102"/>
                  </a:lnTo>
                  <a:lnTo>
                    <a:pt x="228" y="100"/>
                  </a:lnTo>
                  <a:lnTo>
                    <a:pt x="230" y="100"/>
                  </a:lnTo>
                  <a:lnTo>
                    <a:pt x="232" y="98"/>
                  </a:lnTo>
                  <a:lnTo>
                    <a:pt x="234" y="98"/>
                  </a:lnTo>
                  <a:lnTo>
                    <a:pt x="236" y="96"/>
                  </a:lnTo>
                  <a:lnTo>
                    <a:pt x="238" y="96"/>
                  </a:lnTo>
                  <a:lnTo>
                    <a:pt x="240" y="96"/>
                  </a:lnTo>
                  <a:lnTo>
                    <a:pt x="242" y="96"/>
                  </a:lnTo>
                  <a:lnTo>
                    <a:pt x="242" y="96"/>
                  </a:lnTo>
                  <a:lnTo>
                    <a:pt x="244" y="96"/>
                  </a:lnTo>
                  <a:lnTo>
                    <a:pt x="244" y="96"/>
                  </a:lnTo>
                  <a:lnTo>
                    <a:pt x="244" y="96"/>
                  </a:lnTo>
                  <a:lnTo>
                    <a:pt x="244" y="98"/>
                  </a:lnTo>
                  <a:lnTo>
                    <a:pt x="246" y="100"/>
                  </a:lnTo>
                  <a:lnTo>
                    <a:pt x="246" y="100"/>
                  </a:lnTo>
                  <a:lnTo>
                    <a:pt x="248" y="102"/>
                  </a:lnTo>
                  <a:lnTo>
                    <a:pt x="248" y="104"/>
                  </a:lnTo>
                  <a:lnTo>
                    <a:pt x="248" y="106"/>
                  </a:lnTo>
                  <a:lnTo>
                    <a:pt x="248" y="106"/>
                  </a:lnTo>
                  <a:lnTo>
                    <a:pt x="250" y="106"/>
                  </a:lnTo>
                  <a:lnTo>
                    <a:pt x="250" y="106"/>
                  </a:lnTo>
                  <a:lnTo>
                    <a:pt x="252" y="106"/>
                  </a:lnTo>
                  <a:lnTo>
                    <a:pt x="254" y="108"/>
                  </a:lnTo>
                  <a:lnTo>
                    <a:pt x="256" y="108"/>
                  </a:lnTo>
                  <a:lnTo>
                    <a:pt x="260" y="108"/>
                  </a:lnTo>
                  <a:lnTo>
                    <a:pt x="264" y="108"/>
                  </a:lnTo>
                  <a:lnTo>
                    <a:pt x="268" y="108"/>
                  </a:lnTo>
                  <a:lnTo>
                    <a:pt x="266" y="100"/>
                  </a:lnTo>
                  <a:lnTo>
                    <a:pt x="264" y="94"/>
                  </a:lnTo>
                  <a:lnTo>
                    <a:pt x="264" y="90"/>
                  </a:lnTo>
                  <a:lnTo>
                    <a:pt x="264" y="88"/>
                  </a:lnTo>
                  <a:lnTo>
                    <a:pt x="262" y="86"/>
                  </a:lnTo>
                  <a:lnTo>
                    <a:pt x="262" y="84"/>
                  </a:lnTo>
                  <a:lnTo>
                    <a:pt x="260" y="78"/>
                  </a:lnTo>
                  <a:lnTo>
                    <a:pt x="258" y="74"/>
                  </a:lnTo>
                  <a:lnTo>
                    <a:pt x="256" y="70"/>
                  </a:lnTo>
                  <a:lnTo>
                    <a:pt x="254" y="68"/>
                  </a:lnTo>
                  <a:lnTo>
                    <a:pt x="254" y="64"/>
                  </a:lnTo>
                  <a:lnTo>
                    <a:pt x="252" y="60"/>
                  </a:lnTo>
                  <a:lnTo>
                    <a:pt x="250" y="58"/>
                  </a:lnTo>
                  <a:lnTo>
                    <a:pt x="250" y="54"/>
                  </a:lnTo>
                  <a:lnTo>
                    <a:pt x="250" y="54"/>
                  </a:lnTo>
                  <a:lnTo>
                    <a:pt x="250" y="52"/>
                  </a:lnTo>
                  <a:lnTo>
                    <a:pt x="250" y="52"/>
                  </a:lnTo>
                  <a:lnTo>
                    <a:pt x="250" y="50"/>
                  </a:lnTo>
                  <a:lnTo>
                    <a:pt x="250" y="50"/>
                  </a:lnTo>
                  <a:lnTo>
                    <a:pt x="250" y="48"/>
                  </a:lnTo>
                  <a:lnTo>
                    <a:pt x="252" y="46"/>
                  </a:lnTo>
                  <a:lnTo>
                    <a:pt x="254" y="44"/>
                  </a:lnTo>
                  <a:lnTo>
                    <a:pt x="254" y="44"/>
                  </a:lnTo>
                  <a:lnTo>
                    <a:pt x="250" y="40"/>
                  </a:lnTo>
                  <a:lnTo>
                    <a:pt x="246" y="36"/>
                  </a:lnTo>
                  <a:lnTo>
                    <a:pt x="244" y="34"/>
                  </a:lnTo>
                  <a:lnTo>
                    <a:pt x="244" y="32"/>
                  </a:lnTo>
                  <a:lnTo>
                    <a:pt x="242" y="30"/>
                  </a:lnTo>
                  <a:lnTo>
                    <a:pt x="240" y="28"/>
                  </a:lnTo>
                  <a:lnTo>
                    <a:pt x="236" y="20"/>
                  </a:lnTo>
                  <a:lnTo>
                    <a:pt x="230" y="12"/>
                  </a:lnTo>
                  <a:lnTo>
                    <a:pt x="212" y="14"/>
                  </a:lnTo>
                  <a:lnTo>
                    <a:pt x="210" y="14"/>
                  </a:lnTo>
                  <a:lnTo>
                    <a:pt x="210" y="18"/>
                  </a:lnTo>
                  <a:lnTo>
                    <a:pt x="208" y="20"/>
                  </a:lnTo>
                  <a:lnTo>
                    <a:pt x="206" y="20"/>
                  </a:lnTo>
                  <a:lnTo>
                    <a:pt x="206" y="22"/>
                  </a:lnTo>
                  <a:lnTo>
                    <a:pt x="204" y="24"/>
                  </a:lnTo>
                  <a:lnTo>
                    <a:pt x="204" y="24"/>
                  </a:lnTo>
                  <a:lnTo>
                    <a:pt x="202" y="24"/>
                  </a:lnTo>
                  <a:lnTo>
                    <a:pt x="200" y="24"/>
                  </a:lnTo>
                  <a:lnTo>
                    <a:pt x="198" y="24"/>
                  </a:lnTo>
                  <a:lnTo>
                    <a:pt x="194" y="24"/>
                  </a:lnTo>
                  <a:lnTo>
                    <a:pt x="190" y="24"/>
                  </a:lnTo>
                  <a:lnTo>
                    <a:pt x="182" y="24"/>
                  </a:lnTo>
                  <a:lnTo>
                    <a:pt x="178" y="24"/>
                  </a:lnTo>
                  <a:lnTo>
                    <a:pt x="174" y="24"/>
                  </a:lnTo>
                  <a:lnTo>
                    <a:pt x="172" y="24"/>
                  </a:lnTo>
                  <a:lnTo>
                    <a:pt x="168" y="26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2" y="26"/>
                  </a:lnTo>
                  <a:lnTo>
                    <a:pt x="160" y="26"/>
                  </a:lnTo>
                  <a:lnTo>
                    <a:pt x="158" y="24"/>
                  </a:lnTo>
                  <a:lnTo>
                    <a:pt x="156" y="24"/>
                  </a:lnTo>
                  <a:lnTo>
                    <a:pt x="154" y="22"/>
                  </a:lnTo>
                  <a:lnTo>
                    <a:pt x="152" y="20"/>
                  </a:lnTo>
                  <a:lnTo>
                    <a:pt x="150" y="18"/>
                  </a:lnTo>
                  <a:lnTo>
                    <a:pt x="148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2" y="18"/>
                  </a:lnTo>
                  <a:lnTo>
                    <a:pt x="140" y="18"/>
                  </a:lnTo>
                  <a:lnTo>
                    <a:pt x="138" y="18"/>
                  </a:lnTo>
                  <a:lnTo>
                    <a:pt x="138" y="18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4" y="16"/>
                  </a:lnTo>
                  <a:lnTo>
                    <a:pt x="132" y="14"/>
                  </a:lnTo>
                  <a:lnTo>
                    <a:pt x="132" y="12"/>
                  </a:lnTo>
                  <a:lnTo>
                    <a:pt x="128" y="10"/>
                  </a:lnTo>
                  <a:lnTo>
                    <a:pt x="128" y="8"/>
                  </a:lnTo>
                  <a:lnTo>
                    <a:pt x="126" y="6"/>
                  </a:lnTo>
                  <a:lnTo>
                    <a:pt x="124" y="4"/>
                  </a:lnTo>
                  <a:lnTo>
                    <a:pt x="122" y="4"/>
                  </a:lnTo>
                  <a:lnTo>
                    <a:pt x="120" y="2"/>
                  </a:lnTo>
                  <a:lnTo>
                    <a:pt x="118" y="0"/>
                  </a:lnTo>
                  <a:lnTo>
                    <a:pt x="116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8" y="2"/>
                  </a:lnTo>
                  <a:lnTo>
                    <a:pt x="106" y="2"/>
                  </a:lnTo>
                  <a:lnTo>
                    <a:pt x="102" y="4"/>
                  </a:lnTo>
                  <a:lnTo>
                    <a:pt x="100" y="6"/>
                  </a:lnTo>
                  <a:lnTo>
                    <a:pt x="98" y="6"/>
                  </a:lnTo>
                  <a:lnTo>
                    <a:pt x="96" y="8"/>
                  </a:lnTo>
                  <a:lnTo>
                    <a:pt x="94" y="8"/>
                  </a:lnTo>
                  <a:lnTo>
                    <a:pt x="88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78" y="10"/>
                  </a:lnTo>
                  <a:lnTo>
                    <a:pt x="76" y="10"/>
                  </a:lnTo>
                  <a:lnTo>
                    <a:pt x="72" y="12"/>
                  </a:lnTo>
                  <a:lnTo>
                    <a:pt x="68" y="12"/>
                  </a:lnTo>
                  <a:lnTo>
                    <a:pt x="64" y="14"/>
                  </a:lnTo>
                  <a:lnTo>
                    <a:pt x="60" y="14"/>
                  </a:lnTo>
                  <a:lnTo>
                    <a:pt x="56" y="14"/>
                  </a:lnTo>
                  <a:lnTo>
                    <a:pt x="50" y="16"/>
                  </a:lnTo>
                  <a:lnTo>
                    <a:pt x="46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40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30" y="14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2" y="24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6" y="28"/>
                  </a:lnTo>
                  <a:lnTo>
                    <a:pt x="24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2" y="42"/>
                  </a:lnTo>
                  <a:lnTo>
                    <a:pt x="10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50"/>
                  </a:lnTo>
                  <a:lnTo>
                    <a:pt x="4" y="52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4" y="64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6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8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8" y="76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2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2" y="90"/>
                  </a:lnTo>
                  <a:lnTo>
                    <a:pt x="12" y="92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8" y="96"/>
                  </a:lnTo>
                  <a:lnTo>
                    <a:pt x="20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8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6" y="102"/>
                  </a:lnTo>
                  <a:lnTo>
                    <a:pt x="28" y="104"/>
                  </a:lnTo>
                  <a:lnTo>
                    <a:pt x="30" y="104"/>
                  </a:lnTo>
                  <a:lnTo>
                    <a:pt x="34" y="104"/>
                  </a:lnTo>
                  <a:lnTo>
                    <a:pt x="36" y="104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8" y="106"/>
                  </a:lnTo>
                  <a:lnTo>
                    <a:pt x="38" y="108"/>
                  </a:lnTo>
                  <a:lnTo>
                    <a:pt x="40" y="110"/>
                  </a:lnTo>
                  <a:lnTo>
                    <a:pt x="42" y="112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6" y="116"/>
                  </a:lnTo>
                  <a:lnTo>
                    <a:pt x="48" y="114"/>
                  </a:lnTo>
                  <a:lnTo>
                    <a:pt x="50" y="114"/>
                  </a:lnTo>
                  <a:lnTo>
                    <a:pt x="52" y="112"/>
                  </a:lnTo>
                  <a:lnTo>
                    <a:pt x="54" y="112"/>
                  </a:lnTo>
                  <a:lnTo>
                    <a:pt x="56" y="110"/>
                  </a:lnTo>
                  <a:lnTo>
                    <a:pt x="58" y="108"/>
                  </a:lnTo>
                  <a:lnTo>
                    <a:pt x="60" y="106"/>
                  </a:lnTo>
                  <a:lnTo>
                    <a:pt x="62" y="106"/>
                  </a:lnTo>
                  <a:lnTo>
                    <a:pt x="64" y="104"/>
                  </a:lnTo>
                  <a:lnTo>
                    <a:pt x="64" y="102"/>
                  </a:lnTo>
                  <a:lnTo>
                    <a:pt x="66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70" y="102"/>
                  </a:lnTo>
                  <a:lnTo>
                    <a:pt x="70" y="102"/>
                  </a:lnTo>
                  <a:lnTo>
                    <a:pt x="72" y="102"/>
                  </a:lnTo>
                  <a:lnTo>
                    <a:pt x="74" y="104"/>
                  </a:lnTo>
                  <a:lnTo>
                    <a:pt x="76" y="106"/>
                  </a:lnTo>
                  <a:lnTo>
                    <a:pt x="80" y="110"/>
                  </a:lnTo>
                  <a:lnTo>
                    <a:pt x="82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6" y="112"/>
                  </a:lnTo>
                  <a:lnTo>
                    <a:pt x="88" y="112"/>
                  </a:lnTo>
                  <a:lnTo>
                    <a:pt x="92" y="114"/>
                  </a:lnTo>
                  <a:lnTo>
                    <a:pt x="94" y="114"/>
                  </a:lnTo>
                  <a:lnTo>
                    <a:pt x="98" y="114"/>
                  </a:lnTo>
                  <a:lnTo>
                    <a:pt x="102" y="114"/>
                  </a:lnTo>
                  <a:lnTo>
                    <a:pt x="104" y="114"/>
                  </a:lnTo>
                  <a:lnTo>
                    <a:pt x="108" y="112"/>
                  </a:lnTo>
                  <a:lnTo>
                    <a:pt x="112" y="112"/>
                  </a:lnTo>
                  <a:lnTo>
                    <a:pt x="118" y="112"/>
                  </a:lnTo>
                  <a:lnTo>
                    <a:pt x="122" y="110"/>
                  </a:lnTo>
                  <a:lnTo>
                    <a:pt x="126" y="110"/>
                  </a:lnTo>
                  <a:lnTo>
                    <a:pt x="130" y="110"/>
                  </a:lnTo>
                  <a:lnTo>
                    <a:pt x="132" y="112"/>
                  </a:lnTo>
                  <a:lnTo>
                    <a:pt x="134" y="11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86" name="Freeform 151">
              <a:extLst>
                <a:ext uri="{FF2B5EF4-FFF2-40B4-BE49-F238E27FC236}">
                  <a16:creationId xmlns:a16="http://schemas.microsoft.com/office/drawing/2014/main" id="{760C6460-B558-4B17-BC46-ED35AD326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346" y="3390905"/>
              <a:ext cx="129841" cy="147092"/>
            </a:xfrm>
            <a:custGeom>
              <a:avLst/>
              <a:gdLst>
                <a:gd name="T0" fmla="*/ 0 w 76"/>
                <a:gd name="T1" fmla="*/ 8 h 88"/>
                <a:gd name="T2" fmla="*/ 4 w 76"/>
                <a:gd name="T3" fmla="*/ 24 h 88"/>
                <a:gd name="T4" fmla="*/ 6 w 76"/>
                <a:gd name="T5" fmla="*/ 30 h 88"/>
                <a:gd name="T6" fmla="*/ 8 w 76"/>
                <a:gd name="T7" fmla="*/ 36 h 88"/>
                <a:gd name="T8" fmla="*/ 14 w 76"/>
                <a:gd name="T9" fmla="*/ 46 h 88"/>
                <a:gd name="T10" fmla="*/ 18 w 76"/>
                <a:gd name="T11" fmla="*/ 54 h 88"/>
                <a:gd name="T12" fmla="*/ 22 w 76"/>
                <a:gd name="T13" fmla="*/ 62 h 88"/>
                <a:gd name="T14" fmla="*/ 28 w 76"/>
                <a:gd name="T15" fmla="*/ 68 h 88"/>
                <a:gd name="T16" fmla="*/ 28 w 76"/>
                <a:gd name="T17" fmla="*/ 72 h 88"/>
                <a:gd name="T18" fmla="*/ 30 w 76"/>
                <a:gd name="T19" fmla="*/ 76 h 88"/>
                <a:gd name="T20" fmla="*/ 30 w 76"/>
                <a:gd name="T21" fmla="*/ 78 h 88"/>
                <a:gd name="T22" fmla="*/ 28 w 76"/>
                <a:gd name="T23" fmla="*/ 80 h 88"/>
                <a:gd name="T24" fmla="*/ 28 w 76"/>
                <a:gd name="T25" fmla="*/ 80 h 88"/>
                <a:gd name="T26" fmla="*/ 24 w 76"/>
                <a:gd name="T27" fmla="*/ 84 h 88"/>
                <a:gd name="T28" fmla="*/ 18 w 76"/>
                <a:gd name="T29" fmla="*/ 86 h 88"/>
                <a:gd name="T30" fmla="*/ 24 w 76"/>
                <a:gd name="T31" fmla="*/ 86 h 88"/>
                <a:gd name="T32" fmla="*/ 30 w 76"/>
                <a:gd name="T33" fmla="*/ 88 h 88"/>
                <a:gd name="T34" fmla="*/ 34 w 76"/>
                <a:gd name="T35" fmla="*/ 86 h 88"/>
                <a:gd name="T36" fmla="*/ 36 w 76"/>
                <a:gd name="T37" fmla="*/ 86 h 88"/>
                <a:gd name="T38" fmla="*/ 38 w 76"/>
                <a:gd name="T39" fmla="*/ 86 h 88"/>
                <a:gd name="T40" fmla="*/ 38 w 76"/>
                <a:gd name="T41" fmla="*/ 84 h 88"/>
                <a:gd name="T42" fmla="*/ 40 w 76"/>
                <a:gd name="T43" fmla="*/ 80 h 88"/>
                <a:gd name="T44" fmla="*/ 40 w 76"/>
                <a:gd name="T45" fmla="*/ 76 h 88"/>
                <a:gd name="T46" fmla="*/ 40 w 76"/>
                <a:gd name="T47" fmla="*/ 74 h 88"/>
                <a:gd name="T48" fmla="*/ 42 w 76"/>
                <a:gd name="T49" fmla="*/ 72 h 88"/>
                <a:gd name="T50" fmla="*/ 44 w 76"/>
                <a:gd name="T51" fmla="*/ 70 h 88"/>
                <a:gd name="T52" fmla="*/ 46 w 76"/>
                <a:gd name="T53" fmla="*/ 70 h 88"/>
                <a:gd name="T54" fmla="*/ 48 w 76"/>
                <a:gd name="T55" fmla="*/ 68 h 88"/>
                <a:gd name="T56" fmla="*/ 50 w 76"/>
                <a:gd name="T57" fmla="*/ 68 h 88"/>
                <a:gd name="T58" fmla="*/ 52 w 76"/>
                <a:gd name="T59" fmla="*/ 70 h 88"/>
                <a:gd name="T60" fmla="*/ 52 w 76"/>
                <a:gd name="T61" fmla="*/ 72 h 88"/>
                <a:gd name="T62" fmla="*/ 54 w 76"/>
                <a:gd name="T63" fmla="*/ 76 h 88"/>
                <a:gd name="T64" fmla="*/ 54 w 76"/>
                <a:gd name="T65" fmla="*/ 82 h 88"/>
                <a:gd name="T66" fmla="*/ 54 w 76"/>
                <a:gd name="T67" fmla="*/ 88 h 88"/>
                <a:gd name="T68" fmla="*/ 58 w 76"/>
                <a:gd name="T69" fmla="*/ 84 h 88"/>
                <a:gd name="T70" fmla="*/ 62 w 76"/>
                <a:gd name="T71" fmla="*/ 82 h 88"/>
                <a:gd name="T72" fmla="*/ 64 w 76"/>
                <a:gd name="T73" fmla="*/ 80 h 88"/>
                <a:gd name="T74" fmla="*/ 64 w 76"/>
                <a:gd name="T75" fmla="*/ 80 h 88"/>
                <a:gd name="T76" fmla="*/ 64 w 76"/>
                <a:gd name="T77" fmla="*/ 76 h 88"/>
                <a:gd name="T78" fmla="*/ 64 w 76"/>
                <a:gd name="T79" fmla="*/ 70 h 88"/>
                <a:gd name="T80" fmla="*/ 66 w 76"/>
                <a:gd name="T81" fmla="*/ 68 h 88"/>
                <a:gd name="T82" fmla="*/ 66 w 76"/>
                <a:gd name="T83" fmla="*/ 66 h 88"/>
                <a:gd name="T84" fmla="*/ 66 w 76"/>
                <a:gd name="T85" fmla="*/ 66 h 88"/>
                <a:gd name="T86" fmla="*/ 70 w 76"/>
                <a:gd name="T87" fmla="*/ 64 h 88"/>
                <a:gd name="T88" fmla="*/ 72 w 76"/>
                <a:gd name="T89" fmla="*/ 64 h 88"/>
                <a:gd name="T90" fmla="*/ 76 w 76"/>
                <a:gd name="T91" fmla="*/ 62 h 88"/>
                <a:gd name="T92" fmla="*/ 76 w 76"/>
                <a:gd name="T93" fmla="*/ 62 h 88"/>
                <a:gd name="T94" fmla="*/ 76 w 76"/>
                <a:gd name="T95" fmla="*/ 60 h 88"/>
                <a:gd name="T96" fmla="*/ 76 w 76"/>
                <a:gd name="T97" fmla="*/ 58 h 88"/>
                <a:gd name="T98" fmla="*/ 74 w 76"/>
                <a:gd name="T99" fmla="*/ 56 h 88"/>
                <a:gd name="T100" fmla="*/ 74 w 76"/>
                <a:gd name="T101" fmla="*/ 52 h 88"/>
                <a:gd name="T102" fmla="*/ 70 w 76"/>
                <a:gd name="T103" fmla="*/ 50 h 88"/>
                <a:gd name="T104" fmla="*/ 66 w 76"/>
                <a:gd name="T105" fmla="*/ 48 h 88"/>
                <a:gd name="T106" fmla="*/ 60 w 76"/>
                <a:gd name="T107" fmla="*/ 44 h 88"/>
                <a:gd name="T108" fmla="*/ 56 w 76"/>
                <a:gd name="T109" fmla="*/ 40 h 88"/>
                <a:gd name="T110" fmla="*/ 48 w 76"/>
                <a:gd name="T111" fmla="*/ 32 h 88"/>
                <a:gd name="T112" fmla="*/ 42 w 76"/>
                <a:gd name="T113" fmla="*/ 26 h 88"/>
                <a:gd name="T114" fmla="*/ 36 w 76"/>
                <a:gd name="T115" fmla="*/ 12 h 88"/>
                <a:gd name="T116" fmla="*/ 30 w 76"/>
                <a:gd name="T11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6" h="88">
                  <a:moveTo>
                    <a:pt x="0" y="8"/>
                  </a:moveTo>
                  <a:lnTo>
                    <a:pt x="0" y="8"/>
                  </a:lnTo>
                  <a:lnTo>
                    <a:pt x="2" y="18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8" y="36"/>
                  </a:lnTo>
                  <a:lnTo>
                    <a:pt x="10" y="42"/>
                  </a:lnTo>
                  <a:lnTo>
                    <a:pt x="14" y="46"/>
                  </a:lnTo>
                  <a:lnTo>
                    <a:pt x="16" y="52"/>
                  </a:lnTo>
                  <a:lnTo>
                    <a:pt x="18" y="54"/>
                  </a:lnTo>
                  <a:lnTo>
                    <a:pt x="20" y="58"/>
                  </a:lnTo>
                  <a:lnTo>
                    <a:pt x="22" y="62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2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6" y="82"/>
                  </a:lnTo>
                  <a:lnTo>
                    <a:pt x="24" y="84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20" y="86"/>
                  </a:lnTo>
                  <a:lnTo>
                    <a:pt x="24" y="86"/>
                  </a:lnTo>
                  <a:lnTo>
                    <a:pt x="26" y="86"/>
                  </a:lnTo>
                  <a:lnTo>
                    <a:pt x="30" y="88"/>
                  </a:lnTo>
                  <a:lnTo>
                    <a:pt x="32" y="88"/>
                  </a:lnTo>
                  <a:lnTo>
                    <a:pt x="34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8" y="82"/>
                  </a:lnTo>
                  <a:lnTo>
                    <a:pt x="40" y="80"/>
                  </a:lnTo>
                  <a:lnTo>
                    <a:pt x="40" y="78"/>
                  </a:lnTo>
                  <a:lnTo>
                    <a:pt x="40" y="76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6" y="70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2"/>
                  </a:lnTo>
                  <a:lnTo>
                    <a:pt x="52" y="74"/>
                  </a:lnTo>
                  <a:lnTo>
                    <a:pt x="54" y="76"/>
                  </a:lnTo>
                  <a:lnTo>
                    <a:pt x="54" y="78"/>
                  </a:lnTo>
                  <a:lnTo>
                    <a:pt x="54" y="82"/>
                  </a:lnTo>
                  <a:lnTo>
                    <a:pt x="54" y="84"/>
                  </a:lnTo>
                  <a:lnTo>
                    <a:pt x="54" y="88"/>
                  </a:lnTo>
                  <a:lnTo>
                    <a:pt x="56" y="86"/>
                  </a:lnTo>
                  <a:lnTo>
                    <a:pt x="58" y="84"/>
                  </a:lnTo>
                  <a:lnTo>
                    <a:pt x="60" y="84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8"/>
                  </a:lnTo>
                  <a:lnTo>
                    <a:pt x="64" y="76"/>
                  </a:lnTo>
                  <a:lnTo>
                    <a:pt x="64" y="74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6" y="68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8" y="64"/>
                  </a:lnTo>
                  <a:lnTo>
                    <a:pt x="70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4" y="64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4" y="56"/>
                  </a:lnTo>
                  <a:lnTo>
                    <a:pt x="74" y="54"/>
                  </a:lnTo>
                  <a:lnTo>
                    <a:pt x="74" y="52"/>
                  </a:lnTo>
                  <a:lnTo>
                    <a:pt x="72" y="52"/>
                  </a:lnTo>
                  <a:lnTo>
                    <a:pt x="70" y="50"/>
                  </a:lnTo>
                  <a:lnTo>
                    <a:pt x="68" y="50"/>
                  </a:lnTo>
                  <a:lnTo>
                    <a:pt x="66" y="48"/>
                  </a:lnTo>
                  <a:lnTo>
                    <a:pt x="62" y="46"/>
                  </a:lnTo>
                  <a:lnTo>
                    <a:pt x="60" y="44"/>
                  </a:lnTo>
                  <a:lnTo>
                    <a:pt x="58" y="44"/>
                  </a:lnTo>
                  <a:lnTo>
                    <a:pt x="56" y="40"/>
                  </a:lnTo>
                  <a:lnTo>
                    <a:pt x="52" y="36"/>
                  </a:lnTo>
                  <a:lnTo>
                    <a:pt x="48" y="32"/>
                  </a:lnTo>
                  <a:lnTo>
                    <a:pt x="44" y="28"/>
                  </a:lnTo>
                  <a:lnTo>
                    <a:pt x="42" y="26"/>
                  </a:lnTo>
                  <a:lnTo>
                    <a:pt x="40" y="22"/>
                  </a:lnTo>
                  <a:lnTo>
                    <a:pt x="36" y="12"/>
                  </a:lnTo>
                  <a:lnTo>
                    <a:pt x="32" y="4"/>
                  </a:lnTo>
                  <a:lnTo>
                    <a:pt x="3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87" name="Freeform 153">
              <a:extLst>
                <a:ext uri="{FF2B5EF4-FFF2-40B4-BE49-F238E27FC236}">
                  <a16:creationId xmlns:a16="http://schemas.microsoft.com/office/drawing/2014/main" id="{D24DAA28-5A22-4AC2-9BBF-E227C1ECD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1004" y="3340759"/>
              <a:ext cx="150342" cy="110319"/>
            </a:xfrm>
            <a:custGeom>
              <a:avLst/>
              <a:gdLst>
                <a:gd name="T0" fmla="*/ 0 w 88"/>
                <a:gd name="T1" fmla="*/ 18 h 66"/>
                <a:gd name="T2" fmla="*/ 8 w 88"/>
                <a:gd name="T3" fmla="*/ 12 h 66"/>
                <a:gd name="T4" fmla="*/ 18 w 88"/>
                <a:gd name="T5" fmla="*/ 6 h 66"/>
                <a:gd name="T6" fmla="*/ 22 w 88"/>
                <a:gd name="T7" fmla="*/ 2 h 66"/>
                <a:gd name="T8" fmla="*/ 28 w 88"/>
                <a:gd name="T9" fmla="*/ 0 h 66"/>
                <a:gd name="T10" fmla="*/ 32 w 88"/>
                <a:gd name="T11" fmla="*/ 0 h 66"/>
                <a:gd name="T12" fmla="*/ 34 w 88"/>
                <a:gd name="T13" fmla="*/ 0 h 66"/>
                <a:gd name="T14" fmla="*/ 36 w 88"/>
                <a:gd name="T15" fmla="*/ 2 h 66"/>
                <a:gd name="T16" fmla="*/ 40 w 88"/>
                <a:gd name="T17" fmla="*/ 4 h 66"/>
                <a:gd name="T18" fmla="*/ 44 w 88"/>
                <a:gd name="T19" fmla="*/ 8 h 66"/>
                <a:gd name="T20" fmla="*/ 48 w 88"/>
                <a:gd name="T21" fmla="*/ 10 h 66"/>
                <a:gd name="T22" fmla="*/ 50 w 88"/>
                <a:gd name="T23" fmla="*/ 10 h 66"/>
                <a:gd name="T24" fmla="*/ 56 w 88"/>
                <a:gd name="T25" fmla="*/ 10 h 66"/>
                <a:gd name="T26" fmla="*/ 60 w 88"/>
                <a:gd name="T27" fmla="*/ 10 h 66"/>
                <a:gd name="T28" fmla="*/ 62 w 88"/>
                <a:gd name="T29" fmla="*/ 10 h 66"/>
                <a:gd name="T30" fmla="*/ 66 w 88"/>
                <a:gd name="T31" fmla="*/ 14 h 66"/>
                <a:gd name="T32" fmla="*/ 72 w 88"/>
                <a:gd name="T33" fmla="*/ 18 h 66"/>
                <a:gd name="T34" fmla="*/ 78 w 88"/>
                <a:gd name="T35" fmla="*/ 26 h 66"/>
                <a:gd name="T36" fmla="*/ 88 w 88"/>
                <a:gd name="T37" fmla="*/ 38 h 66"/>
                <a:gd name="T38" fmla="*/ 86 w 88"/>
                <a:gd name="T39" fmla="*/ 46 h 66"/>
                <a:gd name="T40" fmla="*/ 82 w 88"/>
                <a:gd name="T41" fmla="*/ 52 h 66"/>
                <a:gd name="T42" fmla="*/ 80 w 88"/>
                <a:gd name="T43" fmla="*/ 56 h 66"/>
                <a:gd name="T44" fmla="*/ 78 w 88"/>
                <a:gd name="T45" fmla="*/ 58 h 66"/>
                <a:gd name="T46" fmla="*/ 72 w 88"/>
                <a:gd name="T47" fmla="*/ 60 h 66"/>
                <a:gd name="T48" fmla="*/ 66 w 88"/>
                <a:gd name="T49" fmla="*/ 64 h 66"/>
                <a:gd name="T50" fmla="*/ 44 w 88"/>
                <a:gd name="T51" fmla="*/ 66 h 66"/>
                <a:gd name="T52" fmla="*/ 44 w 88"/>
                <a:gd name="T53" fmla="*/ 56 h 66"/>
                <a:gd name="T54" fmla="*/ 42 w 88"/>
                <a:gd name="T55" fmla="*/ 52 h 66"/>
                <a:gd name="T56" fmla="*/ 38 w 88"/>
                <a:gd name="T57" fmla="*/ 44 h 66"/>
                <a:gd name="T58" fmla="*/ 36 w 88"/>
                <a:gd name="T59" fmla="*/ 40 h 66"/>
                <a:gd name="T60" fmla="*/ 34 w 88"/>
                <a:gd name="T61" fmla="*/ 38 h 66"/>
                <a:gd name="T62" fmla="*/ 32 w 88"/>
                <a:gd name="T63" fmla="*/ 38 h 66"/>
                <a:gd name="T64" fmla="*/ 28 w 88"/>
                <a:gd name="T65" fmla="*/ 36 h 66"/>
                <a:gd name="T66" fmla="*/ 22 w 88"/>
                <a:gd name="T67" fmla="*/ 34 h 66"/>
                <a:gd name="T68" fmla="*/ 16 w 88"/>
                <a:gd name="T69" fmla="*/ 34 h 66"/>
                <a:gd name="T70" fmla="*/ 14 w 88"/>
                <a:gd name="T71" fmla="*/ 32 h 66"/>
                <a:gd name="T72" fmla="*/ 10 w 88"/>
                <a:gd name="T73" fmla="*/ 28 h 66"/>
                <a:gd name="T74" fmla="*/ 6 w 88"/>
                <a:gd name="T75" fmla="*/ 24 h 66"/>
                <a:gd name="T76" fmla="*/ 0 w 88"/>
                <a:gd name="T77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8" h="66">
                  <a:moveTo>
                    <a:pt x="0" y="18"/>
                  </a:moveTo>
                  <a:lnTo>
                    <a:pt x="0" y="18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12" y="10"/>
                  </a:lnTo>
                  <a:lnTo>
                    <a:pt x="18" y="6"/>
                  </a:lnTo>
                  <a:lnTo>
                    <a:pt x="20" y="4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4" y="12"/>
                  </a:lnTo>
                  <a:lnTo>
                    <a:pt x="66" y="14"/>
                  </a:lnTo>
                  <a:lnTo>
                    <a:pt x="68" y="16"/>
                  </a:lnTo>
                  <a:lnTo>
                    <a:pt x="72" y="18"/>
                  </a:lnTo>
                  <a:lnTo>
                    <a:pt x="74" y="22"/>
                  </a:lnTo>
                  <a:lnTo>
                    <a:pt x="78" y="26"/>
                  </a:lnTo>
                  <a:lnTo>
                    <a:pt x="84" y="32"/>
                  </a:lnTo>
                  <a:lnTo>
                    <a:pt x="88" y="38"/>
                  </a:lnTo>
                  <a:lnTo>
                    <a:pt x="88" y="42"/>
                  </a:lnTo>
                  <a:lnTo>
                    <a:pt x="86" y="46"/>
                  </a:lnTo>
                  <a:lnTo>
                    <a:pt x="84" y="50"/>
                  </a:lnTo>
                  <a:lnTo>
                    <a:pt x="82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0" y="62"/>
                  </a:lnTo>
                  <a:lnTo>
                    <a:pt x="66" y="64"/>
                  </a:lnTo>
                  <a:lnTo>
                    <a:pt x="64" y="64"/>
                  </a:lnTo>
                  <a:lnTo>
                    <a:pt x="44" y="6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0" y="48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2" y="34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2" y="30"/>
                  </a:lnTo>
                  <a:lnTo>
                    <a:pt x="10" y="28"/>
                  </a:lnTo>
                  <a:lnTo>
                    <a:pt x="8" y="26"/>
                  </a:lnTo>
                  <a:lnTo>
                    <a:pt x="6" y="24"/>
                  </a:lnTo>
                  <a:lnTo>
                    <a:pt x="2" y="2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88" name="Freeform 155">
              <a:extLst>
                <a:ext uri="{FF2B5EF4-FFF2-40B4-BE49-F238E27FC236}">
                  <a16:creationId xmlns:a16="http://schemas.microsoft.com/office/drawing/2014/main" id="{47095802-8C2A-49F6-82E8-47A9CEA9A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342" y="3404277"/>
              <a:ext cx="92255" cy="130377"/>
            </a:xfrm>
            <a:custGeom>
              <a:avLst/>
              <a:gdLst>
                <a:gd name="T0" fmla="*/ 54 w 54"/>
                <a:gd name="T1" fmla="*/ 70 h 78"/>
                <a:gd name="T2" fmla="*/ 54 w 54"/>
                <a:gd name="T3" fmla="*/ 70 h 78"/>
                <a:gd name="T4" fmla="*/ 54 w 54"/>
                <a:gd name="T5" fmla="*/ 70 h 78"/>
                <a:gd name="T6" fmla="*/ 54 w 54"/>
                <a:gd name="T7" fmla="*/ 72 h 78"/>
                <a:gd name="T8" fmla="*/ 52 w 54"/>
                <a:gd name="T9" fmla="*/ 72 h 78"/>
                <a:gd name="T10" fmla="*/ 52 w 54"/>
                <a:gd name="T11" fmla="*/ 72 h 78"/>
                <a:gd name="T12" fmla="*/ 50 w 54"/>
                <a:gd name="T13" fmla="*/ 74 h 78"/>
                <a:gd name="T14" fmla="*/ 48 w 54"/>
                <a:gd name="T15" fmla="*/ 76 h 78"/>
                <a:gd name="T16" fmla="*/ 44 w 54"/>
                <a:gd name="T17" fmla="*/ 78 h 78"/>
                <a:gd name="T18" fmla="*/ 42 w 54"/>
                <a:gd name="T19" fmla="*/ 78 h 78"/>
                <a:gd name="T20" fmla="*/ 42 w 54"/>
                <a:gd name="T21" fmla="*/ 76 h 78"/>
                <a:gd name="T22" fmla="*/ 40 w 54"/>
                <a:gd name="T23" fmla="*/ 72 h 78"/>
                <a:gd name="T24" fmla="*/ 38 w 54"/>
                <a:gd name="T25" fmla="*/ 68 h 78"/>
                <a:gd name="T26" fmla="*/ 38 w 54"/>
                <a:gd name="T27" fmla="*/ 66 h 78"/>
                <a:gd name="T28" fmla="*/ 36 w 54"/>
                <a:gd name="T29" fmla="*/ 66 h 78"/>
                <a:gd name="T30" fmla="*/ 36 w 54"/>
                <a:gd name="T31" fmla="*/ 64 h 78"/>
                <a:gd name="T32" fmla="*/ 34 w 54"/>
                <a:gd name="T33" fmla="*/ 62 h 78"/>
                <a:gd name="T34" fmla="*/ 30 w 54"/>
                <a:gd name="T35" fmla="*/ 60 h 78"/>
                <a:gd name="T36" fmla="*/ 26 w 54"/>
                <a:gd name="T37" fmla="*/ 58 h 78"/>
                <a:gd name="T38" fmla="*/ 24 w 54"/>
                <a:gd name="T39" fmla="*/ 58 h 78"/>
                <a:gd name="T40" fmla="*/ 20 w 54"/>
                <a:gd name="T41" fmla="*/ 54 h 78"/>
                <a:gd name="T42" fmla="*/ 16 w 54"/>
                <a:gd name="T43" fmla="*/ 50 h 78"/>
                <a:gd name="T44" fmla="*/ 14 w 54"/>
                <a:gd name="T45" fmla="*/ 48 h 78"/>
                <a:gd name="T46" fmla="*/ 14 w 54"/>
                <a:gd name="T47" fmla="*/ 46 h 78"/>
                <a:gd name="T48" fmla="*/ 12 w 54"/>
                <a:gd name="T49" fmla="*/ 44 h 78"/>
                <a:gd name="T50" fmla="*/ 10 w 54"/>
                <a:gd name="T51" fmla="*/ 42 h 78"/>
                <a:gd name="T52" fmla="*/ 6 w 54"/>
                <a:gd name="T53" fmla="*/ 34 h 78"/>
                <a:gd name="T54" fmla="*/ 0 w 54"/>
                <a:gd name="T55" fmla="*/ 26 h 78"/>
                <a:gd name="T56" fmla="*/ 2 w 54"/>
                <a:gd name="T57" fmla="*/ 26 h 78"/>
                <a:gd name="T58" fmla="*/ 8 w 54"/>
                <a:gd name="T59" fmla="*/ 24 h 78"/>
                <a:gd name="T60" fmla="*/ 10 w 54"/>
                <a:gd name="T61" fmla="*/ 22 h 78"/>
                <a:gd name="T62" fmla="*/ 12 w 54"/>
                <a:gd name="T63" fmla="*/ 22 h 78"/>
                <a:gd name="T64" fmla="*/ 14 w 54"/>
                <a:gd name="T65" fmla="*/ 20 h 78"/>
                <a:gd name="T66" fmla="*/ 16 w 54"/>
                <a:gd name="T67" fmla="*/ 18 h 78"/>
                <a:gd name="T68" fmla="*/ 16 w 54"/>
                <a:gd name="T69" fmla="*/ 18 h 78"/>
                <a:gd name="T70" fmla="*/ 18 w 54"/>
                <a:gd name="T71" fmla="*/ 18 h 78"/>
                <a:gd name="T72" fmla="*/ 18 w 54"/>
                <a:gd name="T73" fmla="*/ 14 h 78"/>
                <a:gd name="T74" fmla="*/ 20 w 54"/>
                <a:gd name="T75" fmla="*/ 12 h 78"/>
                <a:gd name="T76" fmla="*/ 22 w 54"/>
                <a:gd name="T77" fmla="*/ 8 h 78"/>
                <a:gd name="T78" fmla="*/ 24 w 54"/>
                <a:gd name="T79" fmla="*/ 4 h 78"/>
                <a:gd name="T80" fmla="*/ 26 w 54"/>
                <a:gd name="T81" fmla="*/ 0 h 78"/>
                <a:gd name="T82" fmla="*/ 28 w 54"/>
                <a:gd name="T83" fmla="*/ 10 h 78"/>
                <a:gd name="T84" fmla="*/ 28 w 54"/>
                <a:gd name="T85" fmla="*/ 16 h 78"/>
                <a:gd name="T86" fmla="*/ 30 w 54"/>
                <a:gd name="T87" fmla="*/ 20 h 78"/>
                <a:gd name="T88" fmla="*/ 30 w 54"/>
                <a:gd name="T89" fmla="*/ 22 h 78"/>
                <a:gd name="T90" fmla="*/ 32 w 54"/>
                <a:gd name="T91" fmla="*/ 24 h 78"/>
                <a:gd name="T92" fmla="*/ 32 w 54"/>
                <a:gd name="T93" fmla="*/ 28 h 78"/>
                <a:gd name="T94" fmla="*/ 36 w 54"/>
                <a:gd name="T95" fmla="*/ 34 h 78"/>
                <a:gd name="T96" fmla="*/ 38 w 54"/>
                <a:gd name="T97" fmla="*/ 40 h 78"/>
                <a:gd name="T98" fmla="*/ 42 w 54"/>
                <a:gd name="T99" fmla="*/ 44 h 78"/>
                <a:gd name="T100" fmla="*/ 42 w 54"/>
                <a:gd name="T101" fmla="*/ 46 h 78"/>
                <a:gd name="T102" fmla="*/ 44 w 54"/>
                <a:gd name="T103" fmla="*/ 50 h 78"/>
                <a:gd name="T104" fmla="*/ 48 w 54"/>
                <a:gd name="T105" fmla="*/ 54 h 78"/>
                <a:gd name="T106" fmla="*/ 50 w 54"/>
                <a:gd name="T107" fmla="*/ 56 h 78"/>
                <a:gd name="T108" fmla="*/ 52 w 54"/>
                <a:gd name="T109" fmla="*/ 60 h 78"/>
                <a:gd name="T110" fmla="*/ 52 w 54"/>
                <a:gd name="T111" fmla="*/ 62 h 78"/>
                <a:gd name="T112" fmla="*/ 54 w 54"/>
                <a:gd name="T113" fmla="*/ 64 h 78"/>
                <a:gd name="T114" fmla="*/ 54 w 54"/>
                <a:gd name="T115" fmla="*/ 66 h 78"/>
                <a:gd name="T116" fmla="*/ 54 w 54"/>
                <a:gd name="T117" fmla="*/ 68 h 78"/>
                <a:gd name="T118" fmla="*/ 54 w 54"/>
                <a:gd name="T119" fmla="*/ 68 h 78"/>
                <a:gd name="T120" fmla="*/ 54 w 54"/>
                <a:gd name="T121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" h="78">
                  <a:moveTo>
                    <a:pt x="54" y="70"/>
                  </a:moveTo>
                  <a:lnTo>
                    <a:pt x="54" y="70"/>
                  </a:lnTo>
                  <a:lnTo>
                    <a:pt x="54" y="70"/>
                  </a:lnTo>
                  <a:lnTo>
                    <a:pt x="54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0" y="74"/>
                  </a:lnTo>
                  <a:lnTo>
                    <a:pt x="48" y="76"/>
                  </a:lnTo>
                  <a:lnTo>
                    <a:pt x="44" y="78"/>
                  </a:lnTo>
                  <a:lnTo>
                    <a:pt x="42" y="78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68"/>
                  </a:lnTo>
                  <a:lnTo>
                    <a:pt x="38" y="66"/>
                  </a:lnTo>
                  <a:lnTo>
                    <a:pt x="36" y="66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0" y="60"/>
                  </a:lnTo>
                  <a:lnTo>
                    <a:pt x="26" y="58"/>
                  </a:lnTo>
                  <a:lnTo>
                    <a:pt x="24" y="58"/>
                  </a:lnTo>
                  <a:lnTo>
                    <a:pt x="20" y="54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2" y="44"/>
                  </a:lnTo>
                  <a:lnTo>
                    <a:pt x="10" y="42"/>
                  </a:lnTo>
                  <a:lnTo>
                    <a:pt x="6" y="34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8" y="24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4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20" y="12"/>
                  </a:lnTo>
                  <a:lnTo>
                    <a:pt x="22" y="8"/>
                  </a:lnTo>
                  <a:lnTo>
                    <a:pt x="24" y="4"/>
                  </a:lnTo>
                  <a:lnTo>
                    <a:pt x="26" y="0"/>
                  </a:lnTo>
                  <a:lnTo>
                    <a:pt x="28" y="10"/>
                  </a:lnTo>
                  <a:lnTo>
                    <a:pt x="28" y="16"/>
                  </a:lnTo>
                  <a:lnTo>
                    <a:pt x="30" y="20"/>
                  </a:lnTo>
                  <a:lnTo>
                    <a:pt x="30" y="22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34"/>
                  </a:lnTo>
                  <a:lnTo>
                    <a:pt x="38" y="40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4" y="50"/>
                  </a:lnTo>
                  <a:lnTo>
                    <a:pt x="48" y="54"/>
                  </a:lnTo>
                  <a:lnTo>
                    <a:pt x="50" y="56"/>
                  </a:lnTo>
                  <a:lnTo>
                    <a:pt x="52" y="60"/>
                  </a:lnTo>
                  <a:lnTo>
                    <a:pt x="52" y="62"/>
                  </a:lnTo>
                  <a:lnTo>
                    <a:pt x="54" y="64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7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89" name="Freeform 183">
              <a:extLst>
                <a:ext uri="{FF2B5EF4-FFF2-40B4-BE49-F238E27FC236}">
                  <a16:creationId xmlns:a16="http://schemas.microsoft.com/office/drawing/2014/main" id="{6783A829-F808-4CDF-83B7-610929430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4967" y="3056605"/>
              <a:ext cx="1404327" cy="1022958"/>
            </a:xfrm>
            <a:custGeom>
              <a:avLst/>
              <a:gdLst>
                <a:gd name="T0" fmla="*/ 626 w 822"/>
                <a:gd name="T1" fmla="*/ 296 h 612"/>
                <a:gd name="T2" fmla="*/ 664 w 822"/>
                <a:gd name="T3" fmla="*/ 304 h 612"/>
                <a:gd name="T4" fmla="*/ 696 w 822"/>
                <a:gd name="T5" fmla="*/ 318 h 612"/>
                <a:gd name="T6" fmla="*/ 660 w 822"/>
                <a:gd name="T7" fmla="*/ 342 h 612"/>
                <a:gd name="T8" fmla="*/ 696 w 822"/>
                <a:gd name="T9" fmla="*/ 402 h 612"/>
                <a:gd name="T10" fmla="*/ 710 w 822"/>
                <a:gd name="T11" fmla="*/ 470 h 612"/>
                <a:gd name="T12" fmla="*/ 698 w 822"/>
                <a:gd name="T13" fmla="*/ 494 h 612"/>
                <a:gd name="T14" fmla="*/ 684 w 822"/>
                <a:gd name="T15" fmla="*/ 526 h 612"/>
                <a:gd name="T16" fmla="*/ 658 w 822"/>
                <a:gd name="T17" fmla="*/ 544 h 612"/>
                <a:gd name="T18" fmla="*/ 644 w 822"/>
                <a:gd name="T19" fmla="*/ 566 h 612"/>
                <a:gd name="T20" fmla="*/ 594 w 822"/>
                <a:gd name="T21" fmla="*/ 578 h 612"/>
                <a:gd name="T22" fmla="*/ 542 w 822"/>
                <a:gd name="T23" fmla="*/ 610 h 612"/>
                <a:gd name="T24" fmla="*/ 526 w 822"/>
                <a:gd name="T25" fmla="*/ 588 h 612"/>
                <a:gd name="T26" fmla="*/ 484 w 822"/>
                <a:gd name="T27" fmla="*/ 566 h 612"/>
                <a:gd name="T28" fmla="*/ 430 w 822"/>
                <a:gd name="T29" fmla="*/ 586 h 612"/>
                <a:gd name="T30" fmla="*/ 410 w 822"/>
                <a:gd name="T31" fmla="*/ 592 h 612"/>
                <a:gd name="T32" fmla="*/ 390 w 822"/>
                <a:gd name="T33" fmla="*/ 566 h 612"/>
                <a:gd name="T34" fmla="*/ 366 w 822"/>
                <a:gd name="T35" fmla="*/ 544 h 612"/>
                <a:gd name="T36" fmla="*/ 384 w 822"/>
                <a:gd name="T37" fmla="*/ 510 h 612"/>
                <a:gd name="T38" fmla="*/ 350 w 822"/>
                <a:gd name="T39" fmla="*/ 480 h 612"/>
                <a:gd name="T40" fmla="*/ 296 w 822"/>
                <a:gd name="T41" fmla="*/ 472 h 612"/>
                <a:gd name="T42" fmla="*/ 224 w 822"/>
                <a:gd name="T43" fmla="*/ 490 h 612"/>
                <a:gd name="T44" fmla="*/ 164 w 822"/>
                <a:gd name="T45" fmla="*/ 470 h 612"/>
                <a:gd name="T46" fmla="*/ 156 w 822"/>
                <a:gd name="T47" fmla="*/ 466 h 612"/>
                <a:gd name="T48" fmla="*/ 112 w 822"/>
                <a:gd name="T49" fmla="*/ 446 h 612"/>
                <a:gd name="T50" fmla="*/ 78 w 822"/>
                <a:gd name="T51" fmla="*/ 418 h 612"/>
                <a:gd name="T52" fmla="*/ 50 w 822"/>
                <a:gd name="T53" fmla="*/ 394 h 612"/>
                <a:gd name="T54" fmla="*/ 20 w 822"/>
                <a:gd name="T55" fmla="*/ 378 h 612"/>
                <a:gd name="T56" fmla="*/ 18 w 822"/>
                <a:gd name="T57" fmla="*/ 318 h 612"/>
                <a:gd name="T58" fmla="*/ 0 w 822"/>
                <a:gd name="T59" fmla="*/ 302 h 612"/>
                <a:gd name="T60" fmla="*/ 30 w 822"/>
                <a:gd name="T61" fmla="*/ 286 h 612"/>
                <a:gd name="T62" fmla="*/ 56 w 822"/>
                <a:gd name="T63" fmla="*/ 270 h 612"/>
                <a:gd name="T64" fmla="*/ 86 w 822"/>
                <a:gd name="T65" fmla="*/ 246 h 612"/>
                <a:gd name="T66" fmla="*/ 72 w 822"/>
                <a:gd name="T67" fmla="*/ 210 h 612"/>
                <a:gd name="T68" fmla="*/ 112 w 822"/>
                <a:gd name="T69" fmla="*/ 186 h 612"/>
                <a:gd name="T70" fmla="*/ 134 w 822"/>
                <a:gd name="T71" fmla="*/ 162 h 612"/>
                <a:gd name="T72" fmla="*/ 152 w 822"/>
                <a:gd name="T73" fmla="*/ 132 h 612"/>
                <a:gd name="T74" fmla="*/ 176 w 822"/>
                <a:gd name="T75" fmla="*/ 110 h 612"/>
                <a:gd name="T76" fmla="*/ 214 w 822"/>
                <a:gd name="T77" fmla="*/ 134 h 612"/>
                <a:gd name="T78" fmla="*/ 260 w 822"/>
                <a:gd name="T79" fmla="*/ 174 h 612"/>
                <a:gd name="T80" fmla="*/ 312 w 822"/>
                <a:gd name="T81" fmla="*/ 214 h 612"/>
                <a:gd name="T82" fmla="*/ 420 w 822"/>
                <a:gd name="T83" fmla="*/ 232 h 612"/>
                <a:gd name="T84" fmla="*/ 464 w 822"/>
                <a:gd name="T85" fmla="*/ 222 h 612"/>
                <a:gd name="T86" fmla="*/ 516 w 822"/>
                <a:gd name="T87" fmla="*/ 206 h 612"/>
                <a:gd name="T88" fmla="*/ 528 w 822"/>
                <a:gd name="T89" fmla="*/ 176 h 612"/>
                <a:gd name="T90" fmla="*/ 586 w 822"/>
                <a:gd name="T91" fmla="*/ 142 h 612"/>
                <a:gd name="T92" fmla="*/ 596 w 822"/>
                <a:gd name="T93" fmla="*/ 116 h 612"/>
                <a:gd name="T94" fmla="*/ 558 w 822"/>
                <a:gd name="T95" fmla="*/ 112 h 612"/>
                <a:gd name="T96" fmla="*/ 586 w 822"/>
                <a:gd name="T97" fmla="*/ 84 h 612"/>
                <a:gd name="T98" fmla="*/ 602 w 822"/>
                <a:gd name="T99" fmla="*/ 50 h 612"/>
                <a:gd name="T100" fmla="*/ 600 w 822"/>
                <a:gd name="T101" fmla="*/ 12 h 612"/>
                <a:gd name="T102" fmla="*/ 668 w 822"/>
                <a:gd name="T103" fmla="*/ 6 h 612"/>
                <a:gd name="T104" fmla="*/ 710 w 822"/>
                <a:gd name="T105" fmla="*/ 68 h 612"/>
                <a:gd name="T106" fmla="*/ 756 w 822"/>
                <a:gd name="T107" fmla="*/ 94 h 612"/>
                <a:gd name="T108" fmla="*/ 796 w 822"/>
                <a:gd name="T109" fmla="*/ 112 h 612"/>
                <a:gd name="T110" fmla="*/ 820 w 822"/>
                <a:gd name="T111" fmla="*/ 130 h 612"/>
                <a:gd name="T112" fmla="*/ 812 w 822"/>
                <a:gd name="T113" fmla="*/ 172 h 612"/>
                <a:gd name="T114" fmla="*/ 790 w 822"/>
                <a:gd name="T115" fmla="*/ 184 h 612"/>
                <a:gd name="T116" fmla="*/ 798 w 822"/>
                <a:gd name="T117" fmla="*/ 208 h 612"/>
                <a:gd name="T118" fmla="*/ 758 w 822"/>
                <a:gd name="T119" fmla="*/ 238 h 612"/>
                <a:gd name="T120" fmla="*/ 728 w 822"/>
                <a:gd name="T121" fmla="*/ 252 h 612"/>
                <a:gd name="T122" fmla="*/ 674 w 822"/>
                <a:gd name="T123" fmla="*/ 284 h 612"/>
                <a:gd name="T124" fmla="*/ 664 w 822"/>
                <a:gd name="T125" fmla="*/ 24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2" h="612">
                  <a:moveTo>
                    <a:pt x="648" y="266"/>
                  </a:moveTo>
                  <a:lnTo>
                    <a:pt x="648" y="266"/>
                  </a:lnTo>
                  <a:lnTo>
                    <a:pt x="648" y="268"/>
                  </a:lnTo>
                  <a:lnTo>
                    <a:pt x="646" y="268"/>
                  </a:lnTo>
                  <a:lnTo>
                    <a:pt x="646" y="268"/>
                  </a:lnTo>
                  <a:lnTo>
                    <a:pt x="646" y="270"/>
                  </a:lnTo>
                  <a:lnTo>
                    <a:pt x="644" y="272"/>
                  </a:lnTo>
                  <a:lnTo>
                    <a:pt x="642" y="272"/>
                  </a:lnTo>
                  <a:lnTo>
                    <a:pt x="642" y="272"/>
                  </a:lnTo>
                  <a:lnTo>
                    <a:pt x="638" y="274"/>
                  </a:lnTo>
                  <a:lnTo>
                    <a:pt x="634" y="276"/>
                  </a:lnTo>
                  <a:lnTo>
                    <a:pt x="630" y="278"/>
                  </a:lnTo>
                  <a:lnTo>
                    <a:pt x="628" y="278"/>
                  </a:lnTo>
                  <a:lnTo>
                    <a:pt x="628" y="280"/>
                  </a:lnTo>
                  <a:lnTo>
                    <a:pt x="626" y="280"/>
                  </a:lnTo>
                  <a:lnTo>
                    <a:pt x="626" y="282"/>
                  </a:lnTo>
                  <a:lnTo>
                    <a:pt x="626" y="284"/>
                  </a:lnTo>
                  <a:lnTo>
                    <a:pt x="626" y="286"/>
                  </a:lnTo>
                  <a:lnTo>
                    <a:pt x="624" y="288"/>
                  </a:lnTo>
                  <a:lnTo>
                    <a:pt x="626" y="290"/>
                  </a:lnTo>
                  <a:lnTo>
                    <a:pt x="626" y="292"/>
                  </a:lnTo>
                  <a:lnTo>
                    <a:pt x="626" y="294"/>
                  </a:lnTo>
                  <a:lnTo>
                    <a:pt x="626" y="296"/>
                  </a:lnTo>
                  <a:lnTo>
                    <a:pt x="626" y="296"/>
                  </a:lnTo>
                  <a:lnTo>
                    <a:pt x="628" y="298"/>
                  </a:lnTo>
                  <a:lnTo>
                    <a:pt x="630" y="300"/>
                  </a:lnTo>
                  <a:lnTo>
                    <a:pt x="632" y="302"/>
                  </a:lnTo>
                  <a:lnTo>
                    <a:pt x="634" y="304"/>
                  </a:lnTo>
                  <a:lnTo>
                    <a:pt x="636" y="306"/>
                  </a:lnTo>
                  <a:lnTo>
                    <a:pt x="638" y="308"/>
                  </a:lnTo>
                  <a:lnTo>
                    <a:pt x="640" y="308"/>
                  </a:lnTo>
                  <a:lnTo>
                    <a:pt x="642" y="310"/>
                  </a:lnTo>
                  <a:lnTo>
                    <a:pt x="644" y="310"/>
                  </a:lnTo>
                  <a:lnTo>
                    <a:pt x="646" y="310"/>
                  </a:lnTo>
                  <a:lnTo>
                    <a:pt x="648" y="312"/>
                  </a:lnTo>
                  <a:lnTo>
                    <a:pt x="650" y="312"/>
                  </a:lnTo>
                  <a:lnTo>
                    <a:pt x="652" y="312"/>
                  </a:lnTo>
                  <a:lnTo>
                    <a:pt x="654" y="312"/>
                  </a:lnTo>
                  <a:lnTo>
                    <a:pt x="656" y="312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58" y="310"/>
                  </a:lnTo>
                  <a:lnTo>
                    <a:pt x="660" y="308"/>
                  </a:lnTo>
                  <a:lnTo>
                    <a:pt x="662" y="308"/>
                  </a:lnTo>
                  <a:lnTo>
                    <a:pt x="662" y="306"/>
                  </a:lnTo>
                  <a:lnTo>
                    <a:pt x="664" y="304"/>
                  </a:lnTo>
                  <a:lnTo>
                    <a:pt x="666" y="302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68" y="300"/>
                  </a:lnTo>
                  <a:lnTo>
                    <a:pt x="670" y="300"/>
                  </a:lnTo>
                  <a:lnTo>
                    <a:pt x="674" y="298"/>
                  </a:lnTo>
                  <a:lnTo>
                    <a:pt x="676" y="298"/>
                  </a:lnTo>
                  <a:lnTo>
                    <a:pt x="680" y="298"/>
                  </a:lnTo>
                  <a:lnTo>
                    <a:pt x="682" y="300"/>
                  </a:lnTo>
                  <a:lnTo>
                    <a:pt x="686" y="300"/>
                  </a:lnTo>
                  <a:lnTo>
                    <a:pt x="686" y="300"/>
                  </a:lnTo>
                  <a:lnTo>
                    <a:pt x="688" y="300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0" y="302"/>
                  </a:lnTo>
                  <a:lnTo>
                    <a:pt x="692" y="304"/>
                  </a:lnTo>
                  <a:lnTo>
                    <a:pt x="692" y="304"/>
                  </a:lnTo>
                  <a:lnTo>
                    <a:pt x="692" y="306"/>
                  </a:lnTo>
                  <a:lnTo>
                    <a:pt x="694" y="308"/>
                  </a:lnTo>
                  <a:lnTo>
                    <a:pt x="694" y="312"/>
                  </a:lnTo>
                  <a:lnTo>
                    <a:pt x="696" y="314"/>
                  </a:lnTo>
                  <a:lnTo>
                    <a:pt x="696" y="316"/>
                  </a:lnTo>
                  <a:lnTo>
                    <a:pt x="696" y="318"/>
                  </a:lnTo>
                  <a:lnTo>
                    <a:pt x="696" y="318"/>
                  </a:lnTo>
                  <a:lnTo>
                    <a:pt x="696" y="320"/>
                  </a:lnTo>
                  <a:lnTo>
                    <a:pt x="696" y="322"/>
                  </a:lnTo>
                  <a:lnTo>
                    <a:pt x="696" y="322"/>
                  </a:lnTo>
                  <a:lnTo>
                    <a:pt x="694" y="322"/>
                  </a:lnTo>
                  <a:lnTo>
                    <a:pt x="694" y="324"/>
                  </a:lnTo>
                  <a:lnTo>
                    <a:pt x="692" y="324"/>
                  </a:lnTo>
                  <a:lnTo>
                    <a:pt x="692" y="324"/>
                  </a:lnTo>
                  <a:lnTo>
                    <a:pt x="690" y="326"/>
                  </a:lnTo>
                  <a:lnTo>
                    <a:pt x="686" y="326"/>
                  </a:lnTo>
                  <a:lnTo>
                    <a:pt x="680" y="328"/>
                  </a:lnTo>
                  <a:lnTo>
                    <a:pt x="678" y="328"/>
                  </a:lnTo>
                  <a:lnTo>
                    <a:pt x="676" y="328"/>
                  </a:lnTo>
                  <a:lnTo>
                    <a:pt x="676" y="328"/>
                  </a:lnTo>
                  <a:lnTo>
                    <a:pt x="672" y="330"/>
                  </a:lnTo>
                  <a:lnTo>
                    <a:pt x="670" y="332"/>
                  </a:lnTo>
                  <a:lnTo>
                    <a:pt x="666" y="334"/>
                  </a:lnTo>
                  <a:lnTo>
                    <a:pt x="664" y="336"/>
                  </a:lnTo>
                  <a:lnTo>
                    <a:pt x="662" y="338"/>
                  </a:lnTo>
                  <a:lnTo>
                    <a:pt x="662" y="340"/>
                  </a:lnTo>
                  <a:lnTo>
                    <a:pt x="660" y="340"/>
                  </a:lnTo>
                  <a:lnTo>
                    <a:pt x="660" y="342"/>
                  </a:lnTo>
                  <a:lnTo>
                    <a:pt x="660" y="342"/>
                  </a:lnTo>
                  <a:lnTo>
                    <a:pt x="660" y="344"/>
                  </a:lnTo>
                  <a:lnTo>
                    <a:pt x="660" y="344"/>
                  </a:lnTo>
                  <a:lnTo>
                    <a:pt x="660" y="346"/>
                  </a:lnTo>
                  <a:lnTo>
                    <a:pt x="660" y="346"/>
                  </a:lnTo>
                  <a:lnTo>
                    <a:pt x="660" y="350"/>
                  </a:lnTo>
                  <a:lnTo>
                    <a:pt x="662" y="352"/>
                  </a:lnTo>
                  <a:lnTo>
                    <a:pt x="662" y="354"/>
                  </a:lnTo>
                  <a:lnTo>
                    <a:pt x="664" y="356"/>
                  </a:lnTo>
                  <a:lnTo>
                    <a:pt x="666" y="362"/>
                  </a:lnTo>
                  <a:lnTo>
                    <a:pt x="668" y="368"/>
                  </a:lnTo>
                  <a:lnTo>
                    <a:pt x="672" y="374"/>
                  </a:lnTo>
                  <a:lnTo>
                    <a:pt x="674" y="378"/>
                  </a:lnTo>
                  <a:lnTo>
                    <a:pt x="676" y="380"/>
                  </a:lnTo>
                  <a:lnTo>
                    <a:pt x="676" y="384"/>
                  </a:lnTo>
                  <a:lnTo>
                    <a:pt x="678" y="386"/>
                  </a:lnTo>
                  <a:lnTo>
                    <a:pt x="680" y="388"/>
                  </a:lnTo>
                  <a:lnTo>
                    <a:pt x="680" y="388"/>
                  </a:lnTo>
                  <a:lnTo>
                    <a:pt x="682" y="390"/>
                  </a:lnTo>
                  <a:lnTo>
                    <a:pt x="688" y="396"/>
                  </a:lnTo>
                  <a:lnTo>
                    <a:pt x="692" y="398"/>
                  </a:lnTo>
                  <a:lnTo>
                    <a:pt x="694" y="400"/>
                  </a:lnTo>
                  <a:lnTo>
                    <a:pt x="696" y="402"/>
                  </a:lnTo>
                  <a:lnTo>
                    <a:pt x="696" y="402"/>
                  </a:lnTo>
                  <a:lnTo>
                    <a:pt x="696" y="404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698" y="408"/>
                  </a:lnTo>
                  <a:lnTo>
                    <a:pt x="698" y="412"/>
                  </a:lnTo>
                  <a:lnTo>
                    <a:pt x="698" y="414"/>
                  </a:lnTo>
                  <a:lnTo>
                    <a:pt x="698" y="418"/>
                  </a:lnTo>
                  <a:lnTo>
                    <a:pt x="698" y="420"/>
                  </a:lnTo>
                  <a:lnTo>
                    <a:pt x="698" y="422"/>
                  </a:lnTo>
                  <a:lnTo>
                    <a:pt x="698" y="424"/>
                  </a:lnTo>
                  <a:lnTo>
                    <a:pt x="698" y="426"/>
                  </a:lnTo>
                  <a:lnTo>
                    <a:pt x="700" y="430"/>
                  </a:lnTo>
                  <a:lnTo>
                    <a:pt x="700" y="436"/>
                  </a:lnTo>
                  <a:lnTo>
                    <a:pt x="702" y="440"/>
                  </a:lnTo>
                  <a:lnTo>
                    <a:pt x="702" y="442"/>
                  </a:lnTo>
                  <a:lnTo>
                    <a:pt x="702" y="444"/>
                  </a:lnTo>
                  <a:lnTo>
                    <a:pt x="704" y="448"/>
                  </a:lnTo>
                  <a:lnTo>
                    <a:pt x="706" y="454"/>
                  </a:lnTo>
                  <a:lnTo>
                    <a:pt x="708" y="460"/>
                  </a:lnTo>
                  <a:lnTo>
                    <a:pt x="708" y="464"/>
                  </a:lnTo>
                  <a:lnTo>
                    <a:pt x="710" y="466"/>
                  </a:lnTo>
                  <a:lnTo>
                    <a:pt x="710" y="470"/>
                  </a:lnTo>
                  <a:lnTo>
                    <a:pt x="710" y="472"/>
                  </a:lnTo>
                  <a:lnTo>
                    <a:pt x="710" y="474"/>
                  </a:lnTo>
                  <a:lnTo>
                    <a:pt x="710" y="476"/>
                  </a:lnTo>
                  <a:lnTo>
                    <a:pt x="710" y="478"/>
                  </a:lnTo>
                  <a:lnTo>
                    <a:pt x="710" y="478"/>
                  </a:lnTo>
                  <a:lnTo>
                    <a:pt x="710" y="480"/>
                  </a:lnTo>
                  <a:lnTo>
                    <a:pt x="708" y="480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8" y="482"/>
                  </a:lnTo>
                  <a:lnTo>
                    <a:pt x="706" y="482"/>
                  </a:lnTo>
                  <a:lnTo>
                    <a:pt x="704" y="482"/>
                  </a:lnTo>
                  <a:lnTo>
                    <a:pt x="702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700" y="482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4"/>
                  </a:lnTo>
                  <a:lnTo>
                    <a:pt x="698" y="486"/>
                  </a:lnTo>
                  <a:lnTo>
                    <a:pt x="698" y="488"/>
                  </a:lnTo>
                  <a:lnTo>
                    <a:pt x="698" y="490"/>
                  </a:lnTo>
                  <a:lnTo>
                    <a:pt x="698" y="494"/>
                  </a:lnTo>
                  <a:lnTo>
                    <a:pt x="696" y="496"/>
                  </a:lnTo>
                  <a:lnTo>
                    <a:pt x="696" y="496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6" y="498"/>
                  </a:lnTo>
                  <a:lnTo>
                    <a:pt x="694" y="500"/>
                  </a:lnTo>
                  <a:lnTo>
                    <a:pt x="692" y="502"/>
                  </a:lnTo>
                  <a:lnTo>
                    <a:pt x="690" y="504"/>
                  </a:lnTo>
                  <a:lnTo>
                    <a:pt x="686" y="506"/>
                  </a:lnTo>
                  <a:lnTo>
                    <a:pt x="686" y="506"/>
                  </a:lnTo>
                  <a:lnTo>
                    <a:pt x="684" y="508"/>
                  </a:lnTo>
                  <a:lnTo>
                    <a:pt x="682" y="508"/>
                  </a:lnTo>
                  <a:lnTo>
                    <a:pt x="682" y="510"/>
                  </a:lnTo>
                  <a:lnTo>
                    <a:pt x="682" y="510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2" y="514"/>
                  </a:lnTo>
                  <a:lnTo>
                    <a:pt x="682" y="516"/>
                  </a:lnTo>
                  <a:lnTo>
                    <a:pt x="684" y="520"/>
                  </a:lnTo>
                  <a:lnTo>
                    <a:pt x="684" y="522"/>
                  </a:lnTo>
                  <a:lnTo>
                    <a:pt x="684" y="524"/>
                  </a:lnTo>
                  <a:lnTo>
                    <a:pt x="684" y="526"/>
                  </a:lnTo>
                  <a:lnTo>
                    <a:pt x="684" y="526"/>
                  </a:lnTo>
                  <a:lnTo>
                    <a:pt x="684" y="528"/>
                  </a:lnTo>
                  <a:lnTo>
                    <a:pt x="684" y="528"/>
                  </a:lnTo>
                  <a:lnTo>
                    <a:pt x="684" y="530"/>
                  </a:lnTo>
                  <a:lnTo>
                    <a:pt x="682" y="530"/>
                  </a:lnTo>
                  <a:lnTo>
                    <a:pt x="682" y="532"/>
                  </a:lnTo>
                  <a:lnTo>
                    <a:pt x="680" y="532"/>
                  </a:lnTo>
                  <a:lnTo>
                    <a:pt x="678" y="534"/>
                  </a:lnTo>
                  <a:lnTo>
                    <a:pt x="676" y="536"/>
                  </a:lnTo>
                  <a:lnTo>
                    <a:pt x="674" y="538"/>
                  </a:lnTo>
                  <a:lnTo>
                    <a:pt x="672" y="538"/>
                  </a:lnTo>
                  <a:lnTo>
                    <a:pt x="670" y="538"/>
                  </a:lnTo>
                  <a:lnTo>
                    <a:pt x="668" y="538"/>
                  </a:lnTo>
                  <a:lnTo>
                    <a:pt x="668" y="538"/>
                  </a:lnTo>
                  <a:lnTo>
                    <a:pt x="664" y="538"/>
                  </a:lnTo>
                  <a:lnTo>
                    <a:pt x="664" y="538"/>
                  </a:lnTo>
                  <a:lnTo>
                    <a:pt x="662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58" y="542"/>
                  </a:lnTo>
                  <a:lnTo>
                    <a:pt x="658" y="542"/>
                  </a:lnTo>
                  <a:lnTo>
                    <a:pt x="658" y="544"/>
                  </a:lnTo>
                  <a:lnTo>
                    <a:pt x="658" y="546"/>
                  </a:lnTo>
                  <a:lnTo>
                    <a:pt x="658" y="548"/>
                  </a:lnTo>
                  <a:lnTo>
                    <a:pt x="658" y="550"/>
                  </a:lnTo>
                  <a:lnTo>
                    <a:pt x="658" y="552"/>
                  </a:lnTo>
                  <a:lnTo>
                    <a:pt x="658" y="552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8" y="554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4" y="556"/>
                  </a:lnTo>
                  <a:lnTo>
                    <a:pt x="654" y="556"/>
                  </a:lnTo>
                  <a:lnTo>
                    <a:pt x="652" y="556"/>
                  </a:lnTo>
                  <a:lnTo>
                    <a:pt x="650" y="558"/>
                  </a:lnTo>
                  <a:lnTo>
                    <a:pt x="648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58"/>
                  </a:lnTo>
                  <a:lnTo>
                    <a:pt x="646" y="560"/>
                  </a:lnTo>
                  <a:lnTo>
                    <a:pt x="646" y="560"/>
                  </a:lnTo>
                  <a:lnTo>
                    <a:pt x="644" y="562"/>
                  </a:lnTo>
                  <a:lnTo>
                    <a:pt x="644" y="564"/>
                  </a:lnTo>
                  <a:lnTo>
                    <a:pt x="644" y="566"/>
                  </a:lnTo>
                  <a:lnTo>
                    <a:pt x="644" y="568"/>
                  </a:lnTo>
                  <a:lnTo>
                    <a:pt x="644" y="570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4" y="572"/>
                  </a:lnTo>
                  <a:lnTo>
                    <a:pt x="642" y="574"/>
                  </a:lnTo>
                  <a:lnTo>
                    <a:pt x="642" y="574"/>
                  </a:lnTo>
                  <a:lnTo>
                    <a:pt x="640" y="576"/>
                  </a:lnTo>
                  <a:lnTo>
                    <a:pt x="638" y="576"/>
                  </a:lnTo>
                  <a:lnTo>
                    <a:pt x="636" y="576"/>
                  </a:lnTo>
                  <a:lnTo>
                    <a:pt x="632" y="578"/>
                  </a:lnTo>
                  <a:lnTo>
                    <a:pt x="628" y="578"/>
                  </a:lnTo>
                  <a:lnTo>
                    <a:pt x="624" y="580"/>
                  </a:lnTo>
                  <a:lnTo>
                    <a:pt x="620" y="580"/>
                  </a:lnTo>
                  <a:lnTo>
                    <a:pt x="618" y="580"/>
                  </a:lnTo>
                  <a:lnTo>
                    <a:pt x="616" y="580"/>
                  </a:lnTo>
                  <a:lnTo>
                    <a:pt x="614" y="580"/>
                  </a:lnTo>
                  <a:lnTo>
                    <a:pt x="608" y="578"/>
                  </a:lnTo>
                  <a:lnTo>
                    <a:pt x="604" y="578"/>
                  </a:lnTo>
                  <a:lnTo>
                    <a:pt x="602" y="578"/>
                  </a:lnTo>
                  <a:lnTo>
                    <a:pt x="600" y="578"/>
                  </a:lnTo>
                  <a:lnTo>
                    <a:pt x="596" y="578"/>
                  </a:lnTo>
                  <a:lnTo>
                    <a:pt x="594" y="578"/>
                  </a:lnTo>
                  <a:lnTo>
                    <a:pt x="590" y="580"/>
                  </a:lnTo>
                  <a:lnTo>
                    <a:pt x="588" y="580"/>
                  </a:lnTo>
                  <a:lnTo>
                    <a:pt x="584" y="582"/>
                  </a:lnTo>
                  <a:lnTo>
                    <a:pt x="582" y="582"/>
                  </a:lnTo>
                  <a:lnTo>
                    <a:pt x="578" y="584"/>
                  </a:lnTo>
                  <a:lnTo>
                    <a:pt x="576" y="586"/>
                  </a:lnTo>
                  <a:lnTo>
                    <a:pt x="574" y="586"/>
                  </a:lnTo>
                  <a:lnTo>
                    <a:pt x="572" y="588"/>
                  </a:lnTo>
                  <a:lnTo>
                    <a:pt x="568" y="592"/>
                  </a:lnTo>
                  <a:lnTo>
                    <a:pt x="564" y="594"/>
                  </a:lnTo>
                  <a:lnTo>
                    <a:pt x="560" y="598"/>
                  </a:lnTo>
                  <a:lnTo>
                    <a:pt x="554" y="602"/>
                  </a:lnTo>
                  <a:lnTo>
                    <a:pt x="552" y="604"/>
                  </a:lnTo>
                  <a:lnTo>
                    <a:pt x="552" y="606"/>
                  </a:lnTo>
                  <a:lnTo>
                    <a:pt x="550" y="608"/>
                  </a:lnTo>
                  <a:lnTo>
                    <a:pt x="548" y="610"/>
                  </a:lnTo>
                  <a:lnTo>
                    <a:pt x="546" y="610"/>
                  </a:lnTo>
                  <a:lnTo>
                    <a:pt x="546" y="612"/>
                  </a:lnTo>
                  <a:lnTo>
                    <a:pt x="546" y="612"/>
                  </a:lnTo>
                  <a:lnTo>
                    <a:pt x="544" y="612"/>
                  </a:lnTo>
                  <a:lnTo>
                    <a:pt x="544" y="612"/>
                  </a:lnTo>
                  <a:lnTo>
                    <a:pt x="542" y="612"/>
                  </a:lnTo>
                  <a:lnTo>
                    <a:pt x="542" y="610"/>
                  </a:lnTo>
                  <a:lnTo>
                    <a:pt x="542" y="610"/>
                  </a:lnTo>
                  <a:lnTo>
                    <a:pt x="542" y="608"/>
                  </a:lnTo>
                  <a:lnTo>
                    <a:pt x="540" y="608"/>
                  </a:lnTo>
                  <a:lnTo>
                    <a:pt x="540" y="606"/>
                  </a:lnTo>
                  <a:lnTo>
                    <a:pt x="540" y="602"/>
                  </a:lnTo>
                  <a:lnTo>
                    <a:pt x="540" y="600"/>
                  </a:lnTo>
                  <a:lnTo>
                    <a:pt x="540" y="596"/>
                  </a:lnTo>
                  <a:lnTo>
                    <a:pt x="540" y="594"/>
                  </a:lnTo>
                  <a:lnTo>
                    <a:pt x="538" y="594"/>
                  </a:lnTo>
                  <a:lnTo>
                    <a:pt x="538" y="592"/>
                  </a:lnTo>
                  <a:lnTo>
                    <a:pt x="538" y="592"/>
                  </a:lnTo>
                  <a:lnTo>
                    <a:pt x="536" y="590"/>
                  </a:lnTo>
                  <a:lnTo>
                    <a:pt x="536" y="590"/>
                  </a:lnTo>
                  <a:lnTo>
                    <a:pt x="534" y="588"/>
                  </a:lnTo>
                  <a:lnTo>
                    <a:pt x="534" y="588"/>
                  </a:lnTo>
                  <a:lnTo>
                    <a:pt x="532" y="588"/>
                  </a:lnTo>
                  <a:lnTo>
                    <a:pt x="532" y="586"/>
                  </a:lnTo>
                  <a:lnTo>
                    <a:pt x="530" y="586"/>
                  </a:lnTo>
                  <a:lnTo>
                    <a:pt x="530" y="586"/>
                  </a:lnTo>
                  <a:lnTo>
                    <a:pt x="528" y="586"/>
                  </a:lnTo>
                  <a:lnTo>
                    <a:pt x="528" y="588"/>
                  </a:lnTo>
                  <a:lnTo>
                    <a:pt x="528" y="588"/>
                  </a:lnTo>
                  <a:lnTo>
                    <a:pt x="526" y="588"/>
                  </a:lnTo>
                  <a:lnTo>
                    <a:pt x="526" y="590"/>
                  </a:lnTo>
                  <a:lnTo>
                    <a:pt x="526" y="592"/>
                  </a:lnTo>
                  <a:lnTo>
                    <a:pt x="524" y="592"/>
                  </a:lnTo>
                  <a:lnTo>
                    <a:pt x="524" y="596"/>
                  </a:lnTo>
                  <a:lnTo>
                    <a:pt x="524" y="598"/>
                  </a:lnTo>
                  <a:lnTo>
                    <a:pt x="522" y="602"/>
                  </a:lnTo>
                  <a:lnTo>
                    <a:pt x="522" y="604"/>
                  </a:lnTo>
                  <a:lnTo>
                    <a:pt x="520" y="600"/>
                  </a:lnTo>
                  <a:lnTo>
                    <a:pt x="518" y="596"/>
                  </a:lnTo>
                  <a:lnTo>
                    <a:pt x="514" y="590"/>
                  </a:lnTo>
                  <a:lnTo>
                    <a:pt x="512" y="586"/>
                  </a:lnTo>
                  <a:lnTo>
                    <a:pt x="508" y="580"/>
                  </a:lnTo>
                  <a:lnTo>
                    <a:pt x="506" y="578"/>
                  </a:lnTo>
                  <a:lnTo>
                    <a:pt x="504" y="576"/>
                  </a:lnTo>
                  <a:lnTo>
                    <a:pt x="502" y="574"/>
                  </a:lnTo>
                  <a:lnTo>
                    <a:pt x="502" y="572"/>
                  </a:lnTo>
                  <a:lnTo>
                    <a:pt x="500" y="572"/>
                  </a:lnTo>
                  <a:lnTo>
                    <a:pt x="498" y="572"/>
                  </a:lnTo>
                  <a:lnTo>
                    <a:pt x="496" y="570"/>
                  </a:lnTo>
                  <a:lnTo>
                    <a:pt x="494" y="568"/>
                  </a:lnTo>
                  <a:lnTo>
                    <a:pt x="490" y="568"/>
                  </a:lnTo>
                  <a:lnTo>
                    <a:pt x="488" y="566"/>
                  </a:lnTo>
                  <a:lnTo>
                    <a:pt x="484" y="566"/>
                  </a:lnTo>
                  <a:lnTo>
                    <a:pt x="478" y="566"/>
                  </a:lnTo>
                  <a:lnTo>
                    <a:pt x="476" y="564"/>
                  </a:lnTo>
                  <a:lnTo>
                    <a:pt x="470" y="564"/>
                  </a:lnTo>
                  <a:lnTo>
                    <a:pt x="466" y="564"/>
                  </a:lnTo>
                  <a:lnTo>
                    <a:pt x="464" y="564"/>
                  </a:lnTo>
                  <a:lnTo>
                    <a:pt x="464" y="566"/>
                  </a:lnTo>
                  <a:lnTo>
                    <a:pt x="462" y="566"/>
                  </a:lnTo>
                  <a:lnTo>
                    <a:pt x="460" y="566"/>
                  </a:lnTo>
                  <a:lnTo>
                    <a:pt x="458" y="568"/>
                  </a:lnTo>
                  <a:lnTo>
                    <a:pt x="454" y="570"/>
                  </a:lnTo>
                  <a:lnTo>
                    <a:pt x="450" y="572"/>
                  </a:lnTo>
                  <a:lnTo>
                    <a:pt x="444" y="576"/>
                  </a:lnTo>
                  <a:lnTo>
                    <a:pt x="440" y="578"/>
                  </a:lnTo>
                  <a:lnTo>
                    <a:pt x="440" y="578"/>
                  </a:lnTo>
                  <a:lnTo>
                    <a:pt x="436" y="580"/>
                  </a:lnTo>
                  <a:lnTo>
                    <a:pt x="434" y="580"/>
                  </a:lnTo>
                  <a:lnTo>
                    <a:pt x="432" y="580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2"/>
                  </a:lnTo>
                  <a:lnTo>
                    <a:pt x="430" y="584"/>
                  </a:lnTo>
                  <a:lnTo>
                    <a:pt x="428" y="584"/>
                  </a:lnTo>
                  <a:lnTo>
                    <a:pt x="430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2" y="592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2" y="598"/>
                  </a:lnTo>
                  <a:lnTo>
                    <a:pt x="430" y="600"/>
                  </a:lnTo>
                  <a:lnTo>
                    <a:pt x="428" y="600"/>
                  </a:lnTo>
                  <a:lnTo>
                    <a:pt x="428" y="600"/>
                  </a:lnTo>
                  <a:lnTo>
                    <a:pt x="426" y="600"/>
                  </a:lnTo>
                  <a:lnTo>
                    <a:pt x="424" y="600"/>
                  </a:lnTo>
                  <a:lnTo>
                    <a:pt x="420" y="600"/>
                  </a:lnTo>
                  <a:lnTo>
                    <a:pt x="418" y="600"/>
                  </a:lnTo>
                  <a:lnTo>
                    <a:pt x="414" y="600"/>
                  </a:lnTo>
                  <a:lnTo>
                    <a:pt x="412" y="600"/>
                  </a:lnTo>
                  <a:lnTo>
                    <a:pt x="412" y="600"/>
                  </a:lnTo>
                  <a:lnTo>
                    <a:pt x="410" y="596"/>
                  </a:lnTo>
                  <a:lnTo>
                    <a:pt x="410" y="594"/>
                  </a:lnTo>
                  <a:lnTo>
                    <a:pt x="410" y="592"/>
                  </a:lnTo>
                  <a:lnTo>
                    <a:pt x="408" y="592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6" y="590"/>
                  </a:lnTo>
                  <a:lnTo>
                    <a:pt x="406" y="590"/>
                  </a:lnTo>
                  <a:lnTo>
                    <a:pt x="404" y="590"/>
                  </a:lnTo>
                  <a:lnTo>
                    <a:pt x="400" y="590"/>
                  </a:lnTo>
                  <a:lnTo>
                    <a:pt x="398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94" y="588"/>
                  </a:lnTo>
                  <a:lnTo>
                    <a:pt x="394" y="588"/>
                  </a:lnTo>
                  <a:lnTo>
                    <a:pt x="394" y="586"/>
                  </a:lnTo>
                  <a:lnTo>
                    <a:pt x="392" y="586"/>
                  </a:lnTo>
                  <a:lnTo>
                    <a:pt x="392" y="584"/>
                  </a:lnTo>
                  <a:lnTo>
                    <a:pt x="392" y="582"/>
                  </a:lnTo>
                  <a:lnTo>
                    <a:pt x="392" y="580"/>
                  </a:lnTo>
                  <a:lnTo>
                    <a:pt x="392" y="576"/>
                  </a:lnTo>
                  <a:lnTo>
                    <a:pt x="392" y="570"/>
                  </a:lnTo>
                  <a:lnTo>
                    <a:pt x="390" y="566"/>
                  </a:lnTo>
                  <a:lnTo>
                    <a:pt x="390" y="566"/>
                  </a:lnTo>
                  <a:lnTo>
                    <a:pt x="390" y="564"/>
                  </a:lnTo>
                  <a:lnTo>
                    <a:pt x="390" y="560"/>
                  </a:lnTo>
                  <a:lnTo>
                    <a:pt x="388" y="558"/>
                  </a:lnTo>
                  <a:lnTo>
                    <a:pt x="388" y="556"/>
                  </a:lnTo>
                  <a:lnTo>
                    <a:pt x="386" y="554"/>
                  </a:lnTo>
                  <a:lnTo>
                    <a:pt x="386" y="552"/>
                  </a:lnTo>
                  <a:lnTo>
                    <a:pt x="384" y="550"/>
                  </a:lnTo>
                  <a:lnTo>
                    <a:pt x="384" y="550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2" y="548"/>
                  </a:lnTo>
                  <a:lnTo>
                    <a:pt x="380" y="548"/>
                  </a:lnTo>
                  <a:lnTo>
                    <a:pt x="380" y="548"/>
                  </a:lnTo>
                  <a:lnTo>
                    <a:pt x="376" y="548"/>
                  </a:lnTo>
                  <a:lnTo>
                    <a:pt x="374" y="548"/>
                  </a:lnTo>
                  <a:lnTo>
                    <a:pt x="372" y="548"/>
                  </a:lnTo>
                  <a:lnTo>
                    <a:pt x="370" y="548"/>
                  </a:lnTo>
                  <a:lnTo>
                    <a:pt x="368" y="548"/>
                  </a:lnTo>
                  <a:lnTo>
                    <a:pt x="368" y="548"/>
                  </a:lnTo>
                  <a:lnTo>
                    <a:pt x="368" y="546"/>
                  </a:lnTo>
                  <a:lnTo>
                    <a:pt x="366" y="546"/>
                  </a:lnTo>
                  <a:lnTo>
                    <a:pt x="366" y="546"/>
                  </a:lnTo>
                  <a:lnTo>
                    <a:pt x="366" y="544"/>
                  </a:lnTo>
                  <a:lnTo>
                    <a:pt x="366" y="544"/>
                  </a:lnTo>
                  <a:lnTo>
                    <a:pt x="366" y="542"/>
                  </a:lnTo>
                  <a:lnTo>
                    <a:pt x="366" y="540"/>
                  </a:lnTo>
                  <a:lnTo>
                    <a:pt x="366" y="538"/>
                  </a:lnTo>
                  <a:lnTo>
                    <a:pt x="366" y="536"/>
                  </a:lnTo>
                  <a:lnTo>
                    <a:pt x="368" y="534"/>
                  </a:lnTo>
                  <a:lnTo>
                    <a:pt x="368" y="534"/>
                  </a:lnTo>
                  <a:lnTo>
                    <a:pt x="368" y="532"/>
                  </a:lnTo>
                  <a:lnTo>
                    <a:pt x="370" y="532"/>
                  </a:lnTo>
                  <a:lnTo>
                    <a:pt x="372" y="530"/>
                  </a:lnTo>
                  <a:lnTo>
                    <a:pt x="372" y="530"/>
                  </a:lnTo>
                  <a:lnTo>
                    <a:pt x="376" y="528"/>
                  </a:lnTo>
                  <a:lnTo>
                    <a:pt x="376" y="528"/>
                  </a:lnTo>
                  <a:lnTo>
                    <a:pt x="378" y="526"/>
                  </a:lnTo>
                  <a:lnTo>
                    <a:pt x="380" y="524"/>
                  </a:lnTo>
                  <a:lnTo>
                    <a:pt x="382" y="520"/>
                  </a:lnTo>
                  <a:lnTo>
                    <a:pt x="382" y="518"/>
                  </a:lnTo>
                  <a:lnTo>
                    <a:pt x="384" y="516"/>
                  </a:lnTo>
                  <a:lnTo>
                    <a:pt x="384" y="516"/>
                  </a:lnTo>
                  <a:lnTo>
                    <a:pt x="384" y="514"/>
                  </a:lnTo>
                  <a:lnTo>
                    <a:pt x="384" y="512"/>
                  </a:lnTo>
                  <a:lnTo>
                    <a:pt x="384" y="512"/>
                  </a:lnTo>
                  <a:lnTo>
                    <a:pt x="384" y="510"/>
                  </a:lnTo>
                  <a:lnTo>
                    <a:pt x="382" y="508"/>
                  </a:lnTo>
                  <a:lnTo>
                    <a:pt x="382" y="506"/>
                  </a:lnTo>
                  <a:lnTo>
                    <a:pt x="380" y="500"/>
                  </a:lnTo>
                  <a:lnTo>
                    <a:pt x="378" y="498"/>
                  </a:lnTo>
                  <a:lnTo>
                    <a:pt x="378" y="494"/>
                  </a:lnTo>
                  <a:lnTo>
                    <a:pt x="376" y="492"/>
                  </a:lnTo>
                  <a:lnTo>
                    <a:pt x="376" y="492"/>
                  </a:lnTo>
                  <a:lnTo>
                    <a:pt x="376" y="490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4" y="488"/>
                  </a:lnTo>
                  <a:lnTo>
                    <a:pt x="372" y="488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68" y="488"/>
                  </a:lnTo>
                  <a:lnTo>
                    <a:pt x="364" y="488"/>
                  </a:lnTo>
                  <a:lnTo>
                    <a:pt x="362" y="490"/>
                  </a:lnTo>
                  <a:lnTo>
                    <a:pt x="360" y="490"/>
                  </a:lnTo>
                  <a:lnTo>
                    <a:pt x="358" y="490"/>
                  </a:lnTo>
                  <a:lnTo>
                    <a:pt x="356" y="488"/>
                  </a:lnTo>
                  <a:lnTo>
                    <a:pt x="354" y="484"/>
                  </a:lnTo>
                  <a:lnTo>
                    <a:pt x="352" y="482"/>
                  </a:lnTo>
                  <a:lnTo>
                    <a:pt x="350" y="480"/>
                  </a:lnTo>
                  <a:lnTo>
                    <a:pt x="350" y="478"/>
                  </a:lnTo>
                  <a:lnTo>
                    <a:pt x="348" y="476"/>
                  </a:lnTo>
                  <a:lnTo>
                    <a:pt x="346" y="474"/>
                  </a:lnTo>
                  <a:lnTo>
                    <a:pt x="344" y="474"/>
                  </a:lnTo>
                  <a:lnTo>
                    <a:pt x="342" y="472"/>
                  </a:lnTo>
                  <a:lnTo>
                    <a:pt x="340" y="470"/>
                  </a:lnTo>
                  <a:lnTo>
                    <a:pt x="338" y="470"/>
                  </a:lnTo>
                  <a:lnTo>
                    <a:pt x="336" y="468"/>
                  </a:lnTo>
                  <a:lnTo>
                    <a:pt x="334" y="468"/>
                  </a:lnTo>
                  <a:lnTo>
                    <a:pt x="332" y="466"/>
                  </a:lnTo>
                  <a:lnTo>
                    <a:pt x="328" y="466"/>
                  </a:lnTo>
                  <a:lnTo>
                    <a:pt x="326" y="466"/>
                  </a:lnTo>
                  <a:lnTo>
                    <a:pt x="322" y="466"/>
                  </a:lnTo>
                  <a:lnTo>
                    <a:pt x="320" y="466"/>
                  </a:lnTo>
                  <a:lnTo>
                    <a:pt x="316" y="466"/>
                  </a:lnTo>
                  <a:lnTo>
                    <a:pt x="314" y="466"/>
                  </a:lnTo>
                  <a:lnTo>
                    <a:pt x="310" y="466"/>
                  </a:lnTo>
                  <a:lnTo>
                    <a:pt x="308" y="466"/>
                  </a:lnTo>
                  <a:lnTo>
                    <a:pt x="306" y="468"/>
                  </a:lnTo>
                  <a:lnTo>
                    <a:pt x="304" y="468"/>
                  </a:lnTo>
                  <a:lnTo>
                    <a:pt x="302" y="470"/>
                  </a:lnTo>
                  <a:lnTo>
                    <a:pt x="300" y="472"/>
                  </a:lnTo>
                  <a:lnTo>
                    <a:pt x="296" y="472"/>
                  </a:lnTo>
                  <a:lnTo>
                    <a:pt x="294" y="474"/>
                  </a:lnTo>
                  <a:lnTo>
                    <a:pt x="292" y="476"/>
                  </a:lnTo>
                  <a:lnTo>
                    <a:pt x="290" y="476"/>
                  </a:lnTo>
                  <a:lnTo>
                    <a:pt x="290" y="478"/>
                  </a:lnTo>
                  <a:lnTo>
                    <a:pt x="288" y="480"/>
                  </a:lnTo>
                  <a:lnTo>
                    <a:pt x="286" y="484"/>
                  </a:lnTo>
                  <a:lnTo>
                    <a:pt x="284" y="488"/>
                  </a:lnTo>
                  <a:lnTo>
                    <a:pt x="280" y="488"/>
                  </a:lnTo>
                  <a:lnTo>
                    <a:pt x="274" y="488"/>
                  </a:lnTo>
                  <a:lnTo>
                    <a:pt x="270" y="488"/>
                  </a:lnTo>
                  <a:lnTo>
                    <a:pt x="266" y="488"/>
                  </a:lnTo>
                  <a:lnTo>
                    <a:pt x="262" y="488"/>
                  </a:lnTo>
                  <a:lnTo>
                    <a:pt x="260" y="488"/>
                  </a:lnTo>
                  <a:lnTo>
                    <a:pt x="260" y="488"/>
                  </a:lnTo>
                  <a:lnTo>
                    <a:pt x="258" y="488"/>
                  </a:lnTo>
                  <a:lnTo>
                    <a:pt x="254" y="486"/>
                  </a:lnTo>
                  <a:lnTo>
                    <a:pt x="250" y="484"/>
                  </a:lnTo>
                  <a:lnTo>
                    <a:pt x="246" y="482"/>
                  </a:lnTo>
                  <a:lnTo>
                    <a:pt x="244" y="480"/>
                  </a:lnTo>
                  <a:lnTo>
                    <a:pt x="236" y="494"/>
                  </a:lnTo>
                  <a:lnTo>
                    <a:pt x="230" y="492"/>
                  </a:lnTo>
                  <a:lnTo>
                    <a:pt x="226" y="490"/>
                  </a:lnTo>
                  <a:lnTo>
                    <a:pt x="224" y="490"/>
                  </a:lnTo>
                  <a:lnTo>
                    <a:pt x="222" y="490"/>
                  </a:lnTo>
                  <a:lnTo>
                    <a:pt x="218" y="490"/>
                  </a:lnTo>
                  <a:lnTo>
                    <a:pt x="214" y="488"/>
                  </a:lnTo>
                  <a:lnTo>
                    <a:pt x="206" y="488"/>
                  </a:lnTo>
                  <a:lnTo>
                    <a:pt x="202" y="488"/>
                  </a:lnTo>
                  <a:lnTo>
                    <a:pt x="196" y="488"/>
                  </a:lnTo>
                  <a:lnTo>
                    <a:pt x="194" y="488"/>
                  </a:lnTo>
                  <a:lnTo>
                    <a:pt x="192" y="488"/>
                  </a:lnTo>
                  <a:lnTo>
                    <a:pt x="190" y="488"/>
                  </a:lnTo>
                  <a:lnTo>
                    <a:pt x="188" y="486"/>
                  </a:lnTo>
                  <a:lnTo>
                    <a:pt x="186" y="486"/>
                  </a:lnTo>
                  <a:lnTo>
                    <a:pt x="182" y="484"/>
                  </a:lnTo>
                  <a:lnTo>
                    <a:pt x="176" y="480"/>
                  </a:lnTo>
                  <a:lnTo>
                    <a:pt x="172" y="478"/>
                  </a:lnTo>
                  <a:lnTo>
                    <a:pt x="170" y="476"/>
                  </a:lnTo>
                  <a:lnTo>
                    <a:pt x="168" y="476"/>
                  </a:lnTo>
                  <a:lnTo>
                    <a:pt x="166" y="476"/>
                  </a:lnTo>
                  <a:lnTo>
                    <a:pt x="164" y="474"/>
                  </a:lnTo>
                  <a:lnTo>
                    <a:pt x="164" y="474"/>
                  </a:lnTo>
                  <a:lnTo>
                    <a:pt x="164" y="472"/>
                  </a:lnTo>
                  <a:lnTo>
                    <a:pt x="164" y="472"/>
                  </a:lnTo>
                  <a:lnTo>
                    <a:pt x="164" y="470"/>
                  </a:lnTo>
                  <a:lnTo>
                    <a:pt x="164" y="470"/>
                  </a:lnTo>
                  <a:lnTo>
                    <a:pt x="164" y="466"/>
                  </a:lnTo>
                  <a:lnTo>
                    <a:pt x="164" y="464"/>
                  </a:lnTo>
                  <a:lnTo>
                    <a:pt x="164" y="462"/>
                  </a:lnTo>
                  <a:lnTo>
                    <a:pt x="164" y="460"/>
                  </a:lnTo>
                  <a:lnTo>
                    <a:pt x="164" y="460"/>
                  </a:lnTo>
                  <a:lnTo>
                    <a:pt x="164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6"/>
                  </a:lnTo>
                  <a:lnTo>
                    <a:pt x="162" y="458"/>
                  </a:lnTo>
                  <a:lnTo>
                    <a:pt x="160" y="458"/>
                  </a:lnTo>
                  <a:lnTo>
                    <a:pt x="160" y="460"/>
                  </a:lnTo>
                  <a:lnTo>
                    <a:pt x="160" y="462"/>
                  </a:lnTo>
                  <a:lnTo>
                    <a:pt x="160" y="464"/>
                  </a:lnTo>
                  <a:lnTo>
                    <a:pt x="160" y="464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8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6" y="466"/>
                  </a:lnTo>
                  <a:lnTo>
                    <a:pt x="154" y="466"/>
                  </a:lnTo>
                  <a:lnTo>
                    <a:pt x="152" y="466"/>
                  </a:lnTo>
                  <a:lnTo>
                    <a:pt x="150" y="464"/>
                  </a:lnTo>
                  <a:lnTo>
                    <a:pt x="148" y="464"/>
                  </a:lnTo>
                  <a:lnTo>
                    <a:pt x="146" y="462"/>
                  </a:lnTo>
                  <a:lnTo>
                    <a:pt x="142" y="460"/>
                  </a:lnTo>
                  <a:lnTo>
                    <a:pt x="140" y="458"/>
                  </a:lnTo>
                  <a:lnTo>
                    <a:pt x="140" y="456"/>
                  </a:lnTo>
                  <a:lnTo>
                    <a:pt x="136" y="454"/>
                  </a:lnTo>
                  <a:lnTo>
                    <a:pt x="134" y="452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30" y="448"/>
                  </a:lnTo>
                  <a:lnTo>
                    <a:pt x="128" y="448"/>
                  </a:lnTo>
                  <a:lnTo>
                    <a:pt x="126" y="446"/>
                  </a:lnTo>
                  <a:lnTo>
                    <a:pt x="124" y="446"/>
                  </a:lnTo>
                  <a:lnTo>
                    <a:pt x="120" y="446"/>
                  </a:lnTo>
                  <a:lnTo>
                    <a:pt x="116" y="446"/>
                  </a:lnTo>
                  <a:lnTo>
                    <a:pt x="114" y="446"/>
                  </a:lnTo>
                  <a:lnTo>
                    <a:pt x="112" y="446"/>
                  </a:lnTo>
                  <a:lnTo>
                    <a:pt x="108" y="442"/>
                  </a:lnTo>
                  <a:lnTo>
                    <a:pt x="106" y="440"/>
                  </a:lnTo>
                  <a:lnTo>
                    <a:pt x="104" y="438"/>
                  </a:lnTo>
                  <a:lnTo>
                    <a:pt x="102" y="436"/>
                  </a:lnTo>
                  <a:lnTo>
                    <a:pt x="100" y="434"/>
                  </a:lnTo>
                  <a:lnTo>
                    <a:pt x="100" y="434"/>
                  </a:lnTo>
                  <a:lnTo>
                    <a:pt x="98" y="434"/>
                  </a:lnTo>
                  <a:lnTo>
                    <a:pt x="96" y="434"/>
                  </a:lnTo>
                  <a:lnTo>
                    <a:pt x="92" y="434"/>
                  </a:lnTo>
                  <a:lnTo>
                    <a:pt x="90" y="432"/>
                  </a:lnTo>
                  <a:lnTo>
                    <a:pt x="86" y="432"/>
                  </a:lnTo>
                  <a:lnTo>
                    <a:pt x="84" y="432"/>
                  </a:lnTo>
                  <a:lnTo>
                    <a:pt x="82" y="432"/>
                  </a:lnTo>
                  <a:lnTo>
                    <a:pt x="82" y="432"/>
                  </a:lnTo>
                  <a:lnTo>
                    <a:pt x="80" y="430"/>
                  </a:lnTo>
                  <a:lnTo>
                    <a:pt x="80" y="430"/>
                  </a:lnTo>
                  <a:lnTo>
                    <a:pt x="78" y="428"/>
                  </a:lnTo>
                  <a:lnTo>
                    <a:pt x="78" y="428"/>
                  </a:lnTo>
                  <a:lnTo>
                    <a:pt x="78" y="426"/>
                  </a:lnTo>
                  <a:lnTo>
                    <a:pt x="78" y="424"/>
                  </a:lnTo>
                  <a:lnTo>
                    <a:pt x="78" y="422"/>
                  </a:lnTo>
                  <a:lnTo>
                    <a:pt x="78" y="422"/>
                  </a:lnTo>
                  <a:lnTo>
                    <a:pt x="78" y="418"/>
                  </a:lnTo>
                  <a:lnTo>
                    <a:pt x="80" y="414"/>
                  </a:lnTo>
                  <a:lnTo>
                    <a:pt x="80" y="410"/>
                  </a:lnTo>
                  <a:lnTo>
                    <a:pt x="80" y="408"/>
                  </a:lnTo>
                  <a:lnTo>
                    <a:pt x="80" y="406"/>
                  </a:lnTo>
                  <a:lnTo>
                    <a:pt x="80" y="406"/>
                  </a:lnTo>
                  <a:lnTo>
                    <a:pt x="80" y="404"/>
                  </a:lnTo>
                  <a:lnTo>
                    <a:pt x="78" y="402"/>
                  </a:lnTo>
                  <a:lnTo>
                    <a:pt x="78" y="402"/>
                  </a:lnTo>
                  <a:lnTo>
                    <a:pt x="76" y="400"/>
                  </a:lnTo>
                  <a:lnTo>
                    <a:pt x="74" y="398"/>
                  </a:lnTo>
                  <a:lnTo>
                    <a:pt x="72" y="398"/>
                  </a:lnTo>
                  <a:lnTo>
                    <a:pt x="72" y="396"/>
                  </a:lnTo>
                  <a:lnTo>
                    <a:pt x="70" y="396"/>
                  </a:lnTo>
                  <a:lnTo>
                    <a:pt x="68" y="396"/>
                  </a:lnTo>
                  <a:lnTo>
                    <a:pt x="66" y="394"/>
                  </a:lnTo>
                  <a:lnTo>
                    <a:pt x="64" y="394"/>
                  </a:lnTo>
                  <a:lnTo>
                    <a:pt x="62" y="394"/>
                  </a:lnTo>
                  <a:lnTo>
                    <a:pt x="60" y="394"/>
                  </a:lnTo>
                  <a:lnTo>
                    <a:pt x="58" y="394"/>
                  </a:lnTo>
                  <a:lnTo>
                    <a:pt x="56" y="394"/>
                  </a:lnTo>
                  <a:lnTo>
                    <a:pt x="54" y="394"/>
                  </a:lnTo>
                  <a:lnTo>
                    <a:pt x="52" y="394"/>
                  </a:lnTo>
                  <a:lnTo>
                    <a:pt x="50" y="394"/>
                  </a:lnTo>
                  <a:lnTo>
                    <a:pt x="50" y="394"/>
                  </a:lnTo>
                  <a:lnTo>
                    <a:pt x="46" y="396"/>
                  </a:lnTo>
                  <a:lnTo>
                    <a:pt x="42" y="398"/>
                  </a:lnTo>
                  <a:lnTo>
                    <a:pt x="40" y="400"/>
                  </a:lnTo>
                  <a:lnTo>
                    <a:pt x="34" y="404"/>
                  </a:lnTo>
                  <a:lnTo>
                    <a:pt x="32" y="406"/>
                  </a:lnTo>
                  <a:lnTo>
                    <a:pt x="30" y="406"/>
                  </a:lnTo>
                  <a:lnTo>
                    <a:pt x="26" y="402"/>
                  </a:lnTo>
                  <a:lnTo>
                    <a:pt x="22" y="402"/>
                  </a:lnTo>
                  <a:lnTo>
                    <a:pt x="20" y="400"/>
                  </a:lnTo>
                  <a:lnTo>
                    <a:pt x="18" y="398"/>
                  </a:lnTo>
                  <a:lnTo>
                    <a:pt x="18" y="398"/>
                  </a:lnTo>
                  <a:lnTo>
                    <a:pt x="18" y="396"/>
                  </a:lnTo>
                  <a:lnTo>
                    <a:pt x="18" y="396"/>
                  </a:lnTo>
                  <a:lnTo>
                    <a:pt x="18" y="394"/>
                  </a:lnTo>
                  <a:lnTo>
                    <a:pt x="18" y="394"/>
                  </a:lnTo>
                  <a:lnTo>
                    <a:pt x="18" y="392"/>
                  </a:lnTo>
                  <a:lnTo>
                    <a:pt x="18" y="390"/>
                  </a:lnTo>
                  <a:lnTo>
                    <a:pt x="18" y="386"/>
                  </a:lnTo>
                  <a:lnTo>
                    <a:pt x="18" y="384"/>
                  </a:lnTo>
                  <a:lnTo>
                    <a:pt x="20" y="380"/>
                  </a:lnTo>
                  <a:lnTo>
                    <a:pt x="20" y="378"/>
                  </a:lnTo>
                  <a:lnTo>
                    <a:pt x="20" y="378"/>
                  </a:lnTo>
                  <a:lnTo>
                    <a:pt x="20" y="376"/>
                  </a:lnTo>
                  <a:lnTo>
                    <a:pt x="18" y="376"/>
                  </a:lnTo>
                  <a:lnTo>
                    <a:pt x="18" y="374"/>
                  </a:lnTo>
                  <a:lnTo>
                    <a:pt x="16" y="372"/>
                  </a:lnTo>
                  <a:lnTo>
                    <a:pt x="14" y="370"/>
                  </a:lnTo>
                  <a:lnTo>
                    <a:pt x="12" y="368"/>
                  </a:lnTo>
                  <a:lnTo>
                    <a:pt x="12" y="368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4"/>
                  </a:lnTo>
                  <a:lnTo>
                    <a:pt x="12" y="362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4" y="352"/>
                  </a:lnTo>
                  <a:lnTo>
                    <a:pt x="18" y="328"/>
                  </a:lnTo>
                  <a:lnTo>
                    <a:pt x="18" y="328"/>
                  </a:lnTo>
                  <a:lnTo>
                    <a:pt x="18" y="326"/>
                  </a:lnTo>
                  <a:lnTo>
                    <a:pt x="18" y="322"/>
                  </a:lnTo>
                  <a:lnTo>
                    <a:pt x="20" y="320"/>
                  </a:lnTo>
                  <a:lnTo>
                    <a:pt x="20" y="318"/>
                  </a:lnTo>
                  <a:lnTo>
                    <a:pt x="18" y="318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16" y="316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4" y="318"/>
                  </a:lnTo>
                  <a:lnTo>
                    <a:pt x="14" y="318"/>
                  </a:lnTo>
                  <a:lnTo>
                    <a:pt x="12" y="316"/>
                  </a:lnTo>
                  <a:lnTo>
                    <a:pt x="8" y="316"/>
                  </a:lnTo>
                  <a:lnTo>
                    <a:pt x="6" y="314"/>
                  </a:lnTo>
                  <a:lnTo>
                    <a:pt x="4" y="312"/>
                  </a:lnTo>
                  <a:lnTo>
                    <a:pt x="2" y="312"/>
                  </a:lnTo>
                  <a:lnTo>
                    <a:pt x="2" y="310"/>
                  </a:lnTo>
                  <a:lnTo>
                    <a:pt x="0" y="308"/>
                  </a:lnTo>
                  <a:lnTo>
                    <a:pt x="0" y="308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04"/>
                  </a:lnTo>
                  <a:lnTo>
                    <a:pt x="0" y="302"/>
                  </a:lnTo>
                  <a:lnTo>
                    <a:pt x="0" y="300"/>
                  </a:lnTo>
                  <a:lnTo>
                    <a:pt x="0" y="296"/>
                  </a:lnTo>
                  <a:lnTo>
                    <a:pt x="0" y="292"/>
                  </a:lnTo>
                  <a:lnTo>
                    <a:pt x="0" y="290"/>
                  </a:lnTo>
                  <a:lnTo>
                    <a:pt x="2" y="288"/>
                  </a:lnTo>
                  <a:lnTo>
                    <a:pt x="2" y="284"/>
                  </a:lnTo>
                  <a:lnTo>
                    <a:pt x="4" y="284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8" y="280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12" y="276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8" y="278"/>
                  </a:lnTo>
                  <a:lnTo>
                    <a:pt x="20" y="278"/>
                  </a:lnTo>
                  <a:lnTo>
                    <a:pt x="22" y="280"/>
                  </a:lnTo>
                  <a:lnTo>
                    <a:pt x="24" y="280"/>
                  </a:lnTo>
                  <a:lnTo>
                    <a:pt x="26" y="284"/>
                  </a:lnTo>
                  <a:lnTo>
                    <a:pt x="30" y="286"/>
                  </a:lnTo>
                  <a:lnTo>
                    <a:pt x="32" y="288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8" y="288"/>
                  </a:lnTo>
                  <a:lnTo>
                    <a:pt x="40" y="284"/>
                  </a:lnTo>
                  <a:lnTo>
                    <a:pt x="42" y="284"/>
                  </a:lnTo>
                  <a:lnTo>
                    <a:pt x="42" y="282"/>
                  </a:lnTo>
                  <a:lnTo>
                    <a:pt x="42" y="282"/>
                  </a:lnTo>
                  <a:lnTo>
                    <a:pt x="42" y="280"/>
                  </a:lnTo>
                  <a:lnTo>
                    <a:pt x="40" y="278"/>
                  </a:lnTo>
                  <a:lnTo>
                    <a:pt x="40" y="276"/>
                  </a:lnTo>
                  <a:lnTo>
                    <a:pt x="40" y="276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0" y="274"/>
                  </a:lnTo>
                  <a:lnTo>
                    <a:pt x="42" y="272"/>
                  </a:lnTo>
                  <a:lnTo>
                    <a:pt x="42" y="272"/>
                  </a:lnTo>
                  <a:lnTo>
                    <a:pt x="44" y="272"/>
                  </a:lnTo>
                  <a:lnTo>
                    <a:pt x="46" y="272"/>
                  </a:lnTo>
                  <a:lnTo>
                    <a:pt x="46" y="270"/>
                  </a:lnTo>
                  <a:lnTo>
                    <a:pt x="48" y="270"/>
                  </a:lnTo>
                  <a:lnTo>
                    <a:pt x="52" y="270"/>
                  </a:lnTo>
                  <a:lnTo>
                    <a:pt x="56" y="270"/>
                  </a:lnTo>
                  <a:lnTo>
                    <a:pt x="60" y="270"/>
                  </a:lnTo>
                  <a:lnTo>
                    <a:pt x="62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6"/>
                  </a:lnTo>
                  <a:lnTo>
                    <a:pt x="68" y="264"/>
                  </a:lnTo>
                  <a:lnTo>
                    <a:pt x="70" y="262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2" y="260"/>
                  </a:lnTo>
                  <a:lnTo>
                    <a:pt x="74" y="258"/>
                  </a:lnTo>
                  <a:lnTo>
                    <a:pt x="76" y="258"/>
                  </a:lnTo>
                  <a:lnTo>
                    <a:pt x="78" y="256"/>
                  </a:lnTo>
                  <a:lnTo>
                    <a:pt x="80" y="256"/>
                  </a:lnTo>
                  <a:lnTo>
                    <a:pt x="82" y="256"/>
                  </a:lnTo>
                  <a:lnTo>
                    <a:pt x="82" y="256"/>
                  </a:lnTo>
                  <a:lnTo>
                    <a:pt x="82" y="254"/>
                  </a:lnTo>
                  <a:lnTo>
                    <a:pt x="82" y="252"/>
                  </a:lnTo>
                  <a:lnTo>
                    <a:pt x="84" y="250"/>
                  </a:lnTo>
                  <a:lnTo>
                    <a:pt x="84" y="248"/>
                  </a:lnTo>
                  <a:lnTo>
                    <a:pt x="86" y="246"/>
                  </a:lnTo>
                  <a:lnTo>
                    <a:pt x="86" y="244"/>
                  </a:lnTo>
                  <a:lnTo>
                    <a:pt x="86" y="240"/>
                  </a:lnTo>
                  <a:lnTo>
                    <a:pt x="86" y="238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28"/>
                  </a:lnTo>
                  <a:lnTo>
                    <a:pt x="86" y="226"/>
                  </a:lnTo>
                  <a:lnTo>
                    <a:pt x="86" y="224"/>
                  </a:lnTo>
                  <a:lnTo>
                    <a:pt x="86" y="220"/>
                  </a:lnTo>
                  <a:lnTo>
                    <a:pt x="84" y="218"/>
                  </a:lnTo>
                  <a:lnTo>
                    <a:pt x="84" y="216"/>
                  </a:lnTo>
                  <a:lnTo>
                    <a:pt x="84" y="214"/>
                  </a:lnTo>
                  <a:lnTo>
                    <a:pt x="82" y="214"/>
                  </a:lnTo>
                  <a:lnTo>
                    <a:pt x="82" y="214"/>
                  </a:lnTo>
                  <a:lnTo>
                    <a:pt x="80" y="212"/>
                  </a:lnTo>
                  <a:lnTo>
                    <a:pt x="80" y="212"/>
                  </a:lnTo>
                  <a:lnTo>
                    <a:pt x="78" y="212"/>
                  </a:lnTo>
                  <a:lnTo>
                    <a:pt x="76" y="212"/>
                  </a:lnTo>
                  <a:lnTo>
                    <a:pt x="74" y="212"/>
                  </a:lnTo>
                  <a:lnTo>
                    <a:pt x="74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4" y="204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6" y="200"/>
                  </a:lnTo>
                  <a:lnTo>
                    <a:pt x="76" y="200"/>
                  </a:lnTo>
                  <a:lnTo>
                    <a:pt x="78" y="198"/>
                  </a:lnTo>
                  <a:lnTo>
                    <a:pt x="80" y="198"/>
                  </a:lnTo>
                  <a:lnTo>
                    <a:pt x="82" y="198"/>
                  </a:lnTo>
                  <a:lnTo>
                    <a:pt x="84" y="198"/>
                  </a:lnTo>
                  <a:lnTo>
                    <a:pt x="88" y="196"/>
                  </a:lnTo>
                  <a:lnTo>
                    <a:pt x="94" y="196"/>
                  </a:lnTo>
                  <a:lnTo>
                    <a:pt x="98" y="196"/>
                  </a:lnTo>
                  <a:lnTo>
                    <a:pt x="102" y="196"/>
                  </a:lnTo>
                  <a:lnTo>
                    <a:pt x="106" y="196"/>
                  </a:lnTo>
                  <a:lnTo>
                    <a:pt x="108" y="192"/>
                  </a:lnTo>
                  <a:lnTo>
                    <a:pt x="110" y="190"/>
                  </a:lnTo>
                  <a:lnTo>
                    <a:pt x="110" y="190"/>
                  </a:lnTo>
                  <a:lnTo>
                    <a:pt x="110" y="188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0"/>
                  </a:lnTo>
                  <a:lnTo>
                    <a:pt x="112" y="178"/>
                  </a:lnTo>
                  <a:lnTo>
                    <a:pt x="110" y="174"/>
                  </a:lnTo>
                  <a:lnTo>
                    <a:pt x="110" y="172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6" y="164"/>
                  </a:lnTo>
                  <a:lnTo>
                    <a:pt x="118" y="162"/>
                  </a:lnTo>
                  <a:lnTo>
                    <a:pt x="122" y="162"/>
                  </a:lnTo>
                  <a:lnTo>
                    <a:pt x="124" y="162"/>
                  </a:lnTo>
                  <a:lnTo>
                    <a:pt x="126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30" y="160"/>
                  </a:lnTo>
                  <a:lnTo>
                    <a:pt x="132" y="162"/>
                  </a:lnTo>
                  <a:lnTo>
                    <a:pt x="134" y="162"/>
                  </a:lnTo>
                  <a:lnTo>
                    <a:pt x="136" y="164"/>
                  </a:lnTo>
                  <a:lnTo>
                    <a:pt x="138" y="164"/>
                  </a:lnTo>
                  <a:lnTo>
                    <a:pt x="142" y="166"/>
                  </a:lnTo>
                  <a:lnTo>
                    <a:pt x="142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2"/>
                  </a:lnTo>
                  <a:lnTo>
                    <a:pt x="148" y="162"/>
                  </a:lnTo>
                  <a:lnTo>
                    <a:pt x="148" y="160"/>
                  </a:lnTo>
                  <a:lnTo>
                    <a:pt x="148" y="158"/>
                  </a:lnTo>
                  <a:lnTo>
                    <a:pt x="148" y="156"/>
                  </a:lnTo>
                  <a:lnTo>
                    <a:pt x="150" y="150"/>
                  </a:lnTo>
                  <a:lnTo>
                    <a:pt x="150" y="146"/>
                  </a:lnTo>
                  <a:lnTo>
                    <a:pt x="150" y="140"/>
                  </a:lnTo>
                  <a:lnTo>
                    <a:pt x="150" y="138"/>
                  </a:lnTo>
                  <a:lnTo>
                    <a:pt x="150" y="136"/>
                  </a:lnTo>
                  <a:lnTo>
                    <a:pt x="150" y="134"/>
                  </a:lnTo>
                  <a:lnTo>
                    <a:pt x="152" y="132"/>
                  </a:lnTo>
                  <a:lnTo>
                    <a:pt x="152" y="132"/>
                  </a:lnTo>
                  <a:lnTo>
                    <a:pt x="152" y="130"/>
                  </a:lnTo>
                  <a:lnTo>
                    <a:pt x="154" y="128"/>
                  </a:lnTo>
                  <a:lnTo>
                    <a:pt x="156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60" y="124"/>
                  </a:lnTo>
                  <a:lnTo>
                    <a:pt x="162" y="124"/>
                  </a:lnTo>
                  <a:lnTo>
                    <a:pt x="164" y="124"/>
                  </a:lnTo>
                  <a:lnTo>
                    <a:pt x="166" y="124"/>
                  </a:lnTo>
                  <a:lnTo>
                    <a:pt x="168" y="124"/>
                  </a:lnTo>
                  <a:lnTo>
                    <a:pt x="170" y="124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72" y="120"/>
                  </a:lnTo>
                  <a:lnTo>
                    <a:pt x="172" y="118"/>
                  </a:lnTo>
                  <a:lnTo>
                    <a:pt x="172" y="118"/>
                  </a:lnTo>
                  <a:lnTo>
                    <a:pt x="172" y="114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4" y="110"/>
                  </a:lnTo>
                  <a:lnTo>
                    <a:pt x="176" y="110"/>
                  </a:lnTo>
                  <a:lnTo>
                    <a:pt x="178" y="108"/>
                  </a:lnTo>
                  <a:lnTo>
                    <a:pt x="182" y="106"/>
                  </a:lnTo>
                  <a:lnTo>
                    <a:pt x="182" y="104"/>
                  </a:lnTo>
                  <a:lnTo>
                    <a:pt x="186" y="110"/>
                  </a:lnTo>
                  <a:lnTo>
                    <a:pt x="188" y="114"/>
                  </a:lnTo>
                  <a:lnTo>
                    <a:pt x="190" y="114"/>
                  </a:lnTo>
                  <a:lnTo>
                    <a:pt x="190" y="116"/>
                  </a:lnTo>
                  <a:lnTo>
                    <a:pt x="192" y="116"/>
                  </a:lnTo>
                  <a:lnTo>
                    <a:pt x="192" y="118"/>
                  </a:lnTo>
                  <a:lnTo>
                    <a:pt x="194" y="118"/>
                  </a:lnTo>
                  <a:lnTo>
                    <a:pt x="198" y="120"/>
                  </a:lnTo>
                  <a:lnTo>
                    <a:pt x="202" y="122"/>
                  </a:lnTo>
                  <a:lnTo>
                    <a:pt x="204" y="122"/>
                  </a:lnTo>
                  <a:lnTo>
                    <a:pt x="208" y="124"/>
                  </a:lnTo>
                  <a:lnTo>
                    <a:pt x="208" y="124"/>
                  </a:lnTo>
                  <a:lnTo>
                    <a:pt x="210" y="126"/>
                  </a:lnTo>
                  <a:lnTo>
                    <a:pt x="210" y="126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4" y="130"/>
                  </a:lnTo>
                  <a:lnTo>
                    <a:pt x="214" y="132"/>
                  </a:lnTo>
                  <a:lnTo>
                    <a:pt x="214" y="134"/>
                  </a:lnTo>
                  <a:lnTo>
                    <a:pt x="216" y="140"/>
                  </a:lnTo>
                  <a:lnTo>
                    <a:pt x="216" y="142"/>
                  </a:lnTo>
                  <a:lnTo>
                    <a:pt x="216" y="144"/>
                  </a:lnTo>
                  <a:lnTo>
                    <a:pt x="218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0" y="156"/>
                  </a:lnTo>
                  <a:lnTo>
                    <a:pt x="222" y="160"/>
                  </a:lnTo>
                  <a:lnTo>
                    <a:pt x="224" y="162"/>
                  </a:lnTo>
                  <a:lnTo>
                    <a:pt x="224" y="164"/>
                  </a:lnTo>
                  <a:lnTo>
                    <a:pt x="224" y="166"/>
                  </a:lnTo>
                  <a:lnTo>
                    <a:pt x="226" y="166"/>
                  </a:lnTo>
                  <a:lnTo>
                    <a:pt x="226" y="168"/>
                  </a:lnTo>
                  <a:lnTo>
                    <a:pt x="228" y="168"/>
                  </a:lnTo>
                  <a:lnTo>
                    <a:pt x="230" y="170"/>
                  </a:lnTo>
                  <a:lnTo>
                    <a:pt x="232" y="170"/>
                  </a:lnTo>
                  <a:lnTo>
                    <a:pt x="234" y="170"/>
                  </a:lnTo>
                  <a:lnTo>
                    <a:pt x="236" y="170"/>
                  </a:lnTo>
                  <a:lnTo>
                    <a:pt x="238" y="172"/>
                  </a:lnTo>
                  <a:lnTo>
                    <a:pt x="242" y="172"/>
                  </a:lnTo>
                  <a:lnTo>
                    <a:pt x="252" y="172"/>
                  </a:lnTo>
                  <a:lnTo>
                    <a:pt x="256" y="174"/>
                  </a:lnTo>
                  <a:lnTo>
                    <a:pt x="260" y="174"/>
                  </a:lnTo>
                  <a:lnTo>
                    <a:pt x="268" y="176"/>
                  </a:lnTo>
                  <a:lnTo>
                    <a:pt x="272" y="176"/>
                  </a:lnTo>
                  <a:lnTo>
                    <a:pt x="274" y="178"/>
                  </a:lnTo>
                  <a:lnTo>
                    <a:pt x="278" y="180"/>
                  </a:lnTo>
                  <a:lnTo>
                    <a:pt x="284" y="182"/>
                  </a:lnTo>
                  <a:lnTo>
                    <a:pt x="286" y="182"/>
                  </a:lnTo>
                  <a:lnTo>
                    <a:pt x="288" y="184"/>
                  </a:lnTo>
                  <a:lnTo>
                    <a:pt x="290" y="184"/>
                  </a:lnTo>
                  <a:lnTo>
                    <a:pt x="290" y="186"/>
                  </a:lnTo>
                  <a:lnTo>
                    <a:pt x="292" y="186"/>
                  </a:lnTo>
                  <a:lnTo>
                    <a:pt x="292" y="188"/>
                  </a:lnTo>
                  <a:lnTo>
                    <a:pt x="294" y="190"/>
                  </a:lnTo>
                  <a:lnTo>
                    <a:pt x="294" y="192"/>
                  </a:lnTo>
                  <a:lnTo>
                    <a:pt x="296" y="194"/>
                  </a:lnTo>
                  <a:lnTo>
                    <a:pt x="298" y="200"/>
                  </a:lnTo>
                  <a:lnTo>
                    <a:pt x="300" y="202"/>
                  </a:lnTo>
                  <a:lnTo>
                    <a:pt x="300" y="204"/>
                  </a:lnTo>
                  <a:lnTo>
                    <a:pt x="302" y="206"/>
                  </a:lnTo>
                  <a:lnTo>
                    <a:pt x="306" y="210"/>
                  </a:lnTo>
                  <a:lnTo>
                    <a:pt x="306" y="210"/>
                  </a:lnTo>
                  <a:lnTo>
                    <a:pt x="308" y="212"/>
                  </a:lnTo>
                  <a:lnTo>
                    <a:pt x="310" y="214"/>
                  </a:lnTo>
                  <a:lnTo>
                    <a:pt x="312" y="214"/>
                  </a:lnTo>
                  <a:lnTo>
                    <a:pt x="312" y="214"/>
                  </a:lnTo>
                  <a:lnTo>
                    <a:pt x="314" y="216"/>
                  </a:lnTo>
                  <a:lnTo>
                    <a:pt x="316" y="216"/>
                  </a:lnTo>
                  <a:lnTo>
                    <a:pt x="318" y="216"/>
                  </a:lnTo>
                  <a:lnTo>
                    <a:pt x="324" y="218"/>
                  </a:lnTo>
                  <a:lnTo>
                    <a:pt x="328" y="218"/>
                  </a:lnTo>
                  <a:lnTo>
                    <a:pt x="334" y="218"/>
                  </a:lnTo>
                  <a:lnTo>
                    <a:pt x="340" y="218"/>
                  </a:lnTo>
                  <a:lnTo>
                    <a:pt x="344" y="218"/>
                  </a:lnTo>
                  <a:lnTo>
                    <a:pt x="350" y="218"/>
                  </a:lnTo>
                  <a:lnTo>
                    <a:pt x="362" y="218"/>
                  </a:lnTo>
                  <a:lnTo>
                    <a:pt x="374" y="218"/>
                  </a:lnTo>
                  <a:lnTo>
                    <a:pt x="378" y="220"/>
                  </a:lnTo>
                  <a:lnTo>
                    <a:pt x="384" y="220"/>
                  </a:lnTo>
                  <a:lnTo>
                    <a:pt x="388" y="220"/>
                  </a:lnTo>
                  <a:lnTo>
                    <a:pt x="392" y="220"/>
                  </a:lnTo>
                  <a:lnTo>
                    <a:pt x="396" y="222"/>
                  </a:lnTo>
                  <a:lnTo>
                    <a:pt x="400" y="222"/>
                  </a:lnTo>
                  <a:lnTo>
                    <a:pt x="406" y="224"/>
                  </a:lnTo>
                  <a:lnTo>
                    <a:pt x="410" y="226"/>
                  </a:lnTo>
                  <a:lnTo>
                    <a:pt x="412" y="226"/>
                  </a:lnTo>
                  <a:lnTo>
                    <a:pt x="414" y="228"/>
                  </a:lnTo>
                  <a:lnTo>
                    <a:pt x="420" y="232"/>
                  </a:lnTo>
                  <a:lnTo>
                    <a:pt x="422" y="234"/>
                  </a:lnTo>
                  <a:lnTo>
                    <a:pt x="426" y="234"/>
                  </a:lnTo>
                  <a:lnTo>
                    <a:pt x="428" y="236"/>
                  </a:lnTo>
                  <a:lnTo>
                    <a:pt x="428" y="236"/>
                  </a:lnTo>
                  <a:lnTo>
                    <a:pt x="430" y="236"/>
                  </a:lnTo>
                  <a:lnTo>
                    <a:pt x="430" y="236"/>
                  </a:lnTo>
                  <a:lnTo>
                    <a:pt x="432" y="236"/>
                  </a:lnTo>
                  <a:lnTo>
                    <a:pt x="432" y="236"/>
                  </a:lnTo>
                  <a:lnTo>
                    <a:pt x="436" y="236"/>
                  </a:lnTo>
                  <a:lnTo>
                    <a:pt x="438" y="236"/>
                  </a:lnTo>
                  <a:lnTo>
                    <a:pt x="442" y="234"/>
                  </a:lnTo>
                  <a:lnTo>
                    <a:pt x="444" y="234"/>
                  </a:lnTo>
                  <a:lnTo>
                    <a:pt x="448" y="232"/>
                  </a:lnTo>
                  <a:lnTo>
                    <a:pt x="450" y="232"/>
                  </a:lnTo>
                  <a:lnTo>
                    <a:pt x="452" y="230"/>
                  </a:lnTo>
                  <a:lnTo>
                    <a:pt x="454" y="230"/>
                  </a:lnTo>
                  <a:lnTo>
                    <a:pt x="454" y="228"/>
                  </a:lnTo>
                  <a:lnTo>
                    <a:pt x="458" y="226"/>
                  </a:lnTo>
                  <a:lnTo>
                    <a:pt x="460" y="224"/>
                  </a:lnTo>
                  <a:lnTo>
                    <a:pt x="460" y="222"/>
                  </a:lnTo>
                  <a:lnTo>
                    <a:pt x="462" y="222"/>
                  </a:lnTo>
                  <a:lnTo>
                    <a:pt x="462" y="222"/>
                  </a:lnTo>
                  <a:lnTo>
                    <a:pt x="464" y="222"/>
                  </a:lnTo>
                  <a:lnTo>
                    <a:pt x="464" y="222"/>
                  </a:lnTo>
                  <a:lnTo>
                    <a:pt x="466" y="222"/>
                  </a:lnTo>
                  <a:lnTo>
                    <a:pt x="468" y="222"/>
                  </a:lnTo>
                  <a:lnTo>
                    <a:pt x="470" y="222"/>
                  </a:lnTo>
                  <a:lnTo>
                    <a:pt x="474" y="222"/>
                  </a:lnTo>
                  <a:lnTo>
                    <a:pt x="478" y="224"/>
                  </a:lnTo>
                  <a:lnTo>
                    <a:pt x="482" y="224"/>
                  </a:lnTo>
                  <a:lnTo>
                    <a:pt x="486" y="226"/>
                  </a:lnTo>
                  <a:lnTo>
                    <a:pt x="488" y="226"/>
                  </a:lnTo>
                  <a:lnTo>
                    <a:pt x="490" y="226"/>
                  </a:lnTo>
                  <a:lnTo>
                    <a:pt x="490" y="226"/>
                  </a:lnTo>
                  <a:lnTo>
                    <a:pt x="492" y="226"/>
                  </a:lnTo>
                  <a:lnTo>
                    <a:pt x="494" y="224"/>
                  </a:lnTo>
                  <a:lnTo>
                    <a:pt x="496" y="224"/>
                  </a:lnTo>
                  <a:lnTo>
                    <a:pt x="496" y="224"/>
                  </a:lnTo>
                  <a:lnTo>
                    <a:pt x="498" y="222"/>
                  </a:lnTo>
                  <a:lnTo>
                    <a:pt x="502" y="220"/>
                  </a:lnTo>
                  <a:lnTo>
                    <a:pt x="504" y="218"/>
                  </a:lnTo>
                  <a:lnTo>
                    <a:pt x="508" y="214"/>
                  </a:lnTo>
                  <a:lnTo>
                    <a:pt x="510" y="212"/>
                  </a:lnTo>
                  <a:lnTo>
                    <a:pt x="514" y="208"/>
                  </a:lnTo>
                  <a:lnTo>
                    <a:pt x="514" y="208"/>
                  </a:lnTo>
                  <a:lnTo>
                    <a:pt x="516" y="206"/>
                  </a:lnTo>
                  <a:lnTo>
                    <a:pt x="516" y="204"/>
                  </a:lnTo>
                  <a:lnTo>
                    <a:pt x="516" y="202"/>
                  </a:lnTo>
                  <a:lnTo>
                    <a:pt x="516" y="200"/>
                  </a:lnTo>
                  <a:lnTo>
                    <a:pt x="518" y="198"/>
                  </a:lnTo>
                  <a:lnTo>
                    <a:pt x="518" y="192"/>
                  </a:lnTo>
                  <a:lnTo>
                    <a:pt x="518" y="188"/>
                  </a:lnTo>
                  <a:lnTo>
                    <a:pt x="518" y="186"/>
                  </a:lnTo>
                  <a:lnTo>
                    <a:pt x="516" y="184"/>
                  </a:lnTo>
                  <a:lnTo>
                    <a:pt x="516" y="180"/>
                  </a:lnTo>
                  <a:lnTo>
                    <a:pt x="516" y="178"/>
                  </a:lnTo>
                  <a:lnTo>
                    <a:pt x="516" y="176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4"/>
                  </a:lnTo>
                  <a:lnTo>
                    <a:pt x="516" y="172"/>
                  </a:lnTo>
                  <a:lnTo>
                    <a:pt x="518" y="172"/>
                  </a:lnTo>
                  <a:lnTo>
                    <a:pt x="518" y="172"/>
                  </a:lnTo>
                  <a:lnTo>
                    <a:pt x="520" y="172"/>
                  </a:lnTo>
                  <a:lnTo>
                    <a:pt x="520" y="172"/>
                  </a:lnTo>
                  <a:lnTo>
                    <a:pt x="522" y="172"/>
                  </a:lnTo>
                  <a:lnTo>
                    <a:pt x="524" y="174"/>
                  </a:lnTo>
                  <a:lnTo>
                    <a:pt x="526" y="174"/>
                  </a:lnTo>
                  <a:lnTo>
                    <a:pt x="528" y="176"/>
                  </a:lnTo>
                  <a:lnTo>
                    <a:pt x="532" y="178"/>
                  </a:lnTo>
                  <a:lnTo>
                    <a:pt x="532" y="178"/>
                  </a:lnTo>
                  <a:lnTo>
                    <a:pt x="534" y="178"/>
                  </a:lnTo>
                  <a:lnTo>
                    <a:pt x="536" y="178"/>
                  </a:lnTo>
                  <a:lnTo>
                    <a:pt x="536" y="178"/>
                  </a:lnTo>
                  <a:lnTo>
                    <a:pt x="538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40" y="176"/>
                  </a:lnTo>
                  <a:lnTo>
                    <a:pt x="542" y="174"/>
                  </a:lnTo>
                  <a:lnTo>
                    <a:pt x="544" y="172"/>
                  </a:lnTo>
                  <a:lnTo>
                    <a:pt x="548" y="168"/>
                  </a:lnTo>
                  <a:lnTo>
                    <a:pt x="548" y="166"/>
                  </a:lnTo>
                  <a:lnTo>
                    <a:pt x="550" y="164"/>
                  </a:lnTo>
                  <a:lnTo>
                    <a:pt x="554" y="162"/>
                  </a:lnTo>
                  <a:lnTo>
                    <a:pt x="556" y="160"/>
                  </a:lnTo>
                  <a:lnTo>
                    <a:pt x="560" y="156"/>
                  </a:lnTo>
                  <a:lnTo>
                    <a:pt x="562" y="154"/>
                  </a:lnTo>
                  <a:lnTo>
                    <a:pt x="568" y="152"/>
                  </a:lnTo>
                  <a:lnTo>
                    <a:pt x="574" y="148"/>
                  </a:lnTo>
                  <a:lnTo>
                    <a:pt x="580" y="144"/>
                  </a:lnTo>
                  <a:lnTo>
                    <a:pt x="584" y="142"/>
                  </a:lnTo>
                  <a:lnTo>
                    <a:pt x="586" y="142"/>
                  </a:lnTo>
                  <a:lnTo>
                    <a:pt x="588" y="142"/>
                  </a:lnTo>
                  <a:lnTo>
                    <a:pt x="590" y="140"/>
                  </a:lnTo>
                  <a:lnTo>
                    <a:pt x="594" y="140"/>
                  </a:lnTo>
                  <a:lnTo>
                    <a:pt x="598" y="138"/>
                  </a:lnTo>
                  <a:lnTo>
                    <a:pt x="602" y="136"/>
                  </a:lnTo>
                  <a:lnTo>
                    <a:pt x="604" y="136"/>
                  </a:lnTo>
                  <a:lnTo>
                    <a:pt x="606" y="134"/>
                  </a:lnTo>
                  <a:lnTo>
                    <a:pt x="608" y="134"/>
                  </a:lnTo>
                  <a:lnTo>
                    <a:pt x="608" y="134"/>
                  </a:lnTo>
                  <a:lnTo>
                    <a:pt x="608" y="132"/>
                  </a:lnTo>
                  <a:lnTo>
                    <a:pt x="610" y="130"/>
                  </a:lnTo>
                  <a:lnTo>
                    <a:pt x="610" y="130"/>
                  </a:lnTo>
                  <a:lnTo>
                    <a:pt x="610" y="128"/>
                  </a:lnTo>
                  <a:lnTo>
                    <a:pt x="610" y="128"/>
                  </a:lnTo>
                  <a:lnTo>
                    <a:pt x="608" y="126"/>
                  </a:lnTo>
                  <a:lnTo>
                    <a:pt x="608" y="126"/>
                  </a:lnTo>
                  <a:lnTo>
                    <a:pt x="608" y="124"/>
                  </a:lnTo>
                  <a:lnTo>
                    <a:pt x="606" y="122"/>
                  </a:lnTo>
                  <a:lnTo>
                    <a:pt x="604" y="120"/>
                  </a:lnTo>
                  <a:lnTo>
                    <a:pt x="602" y="118"/>
                  </a:lnTo>
                  <a:lnTo>
                    <a:pt x="600" y="116"/>
                  </a:lnTo>
                  <a:lnTo>
                    <a:pt x="598" y="116"/>
                  </a:lnTo>
                  <a:lnTo>
                    <a:pt x="596" y="116"/>
                  </a:lnTo>
                  <a:lnTo>
                    <a:pt x="596" y="116"/>
                  </a:lnTo>
                  <a:lnTo>
                    <a:pt x="594" y="114"/>
                  </a:lnTo>
                  <a:lnTo>
                    <a:pt x="592" y="114"/>
                  </a:lnTo>
                  <a:lnTo>
                    <a:pt x="590" y="116"/>
                  </a:lnTo>
                  <a:lnTo>
                    <a:pt x="586" y="116"/>
                  </a:lnTo>
                  <a:lnTo>
                    <a:pt x="584" y="116"/>
                  </a:lnTo>
                  <a:lnTo>
                    <a:pt x="580" y="118"/>
                  </a:lnTo>
                  <a:lnTo>
                    <a:pt x="574" y="118"/>
                  </a:lnTo>
                  <a:lnTo>
                    <a:pt x="574" y="118"/>
                  </a:lnTo>
                  <a:lnTo>
                    <a:pt x="572" y="120"/>
                  </a:lnTo>
                  <a:lnTo>
                    <a:pt x="568" y="120"/>
                  </a:lnTo>
                  <a:lnTo>
                    <a:pt x="568" y="122"/>
                  </a:lnTo>
                  <a:lnTo>
                    <a:pt x="566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2" y="122"/>
                  </a:lnTo>
                  <a:lnTo>
                    <a:pt x="562" y="122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0" y="118"/>
                  </a:lnTo>
                  <a:lnTo>
                    <a:pt x="560" y="118"/>
                  </a:lnTo>
                  <a:lnTo>
                    <a:pt x="560" y="116"/>
                  </a:lnTo>
                  <a:lnTo>
                    <a:pt x="558" y="112"/>
                  </a:lnTo>
                  <a:lnTo>
                    <a:pt x="558" y="108"/>
                  </a:lnTo>
                  <a:lnTo>
                    <a:pt x="558" y="104"/>
                  </a:lnTo>
                  <a:lnTo>
                    <a:pt x="558" y="100"/>
                  </a:lnTo>
                  <a:lnTo>
                    <a:pt x="558" y="96"/>
                  </a:lnTo>
                  <a:lnTo>
                    <a:pt x="558" y="90"/>
                  </a:lnTo>
                  <a:lnTo>
                    <a:pt x="558" y="88"/>
                  </a:lnTo>
                  <a:lnTo>
                    <a:pt x="558" y="84"/>
                  </a:lnTo>
                  <a:lnTo>
                    <a:pt x="558" y="82"/>
                  </a:lnTo>
                  <a:lnTo>
                    <a:pt x="558" y="80"/>
                  </a:lnTo>
                  <a:lnTo>
                    <a:pt x="560" y="76"/>
                  </a:lnTo>
                  <a:lnTo>
                    <a:pt x="562" y="72"/>
                  </a:lnTo>
                  <a:lnTo>
                    <a:pt x="562" y="74"/>
                  </a:lnTo>
                  <a:lnTo>
                    <a:pt x="566" y="76"/>
                  </a:lnTo>
                  <a:lnTo>
                    <a:pt x="568" y="78"/>
                  </a:lnTo>
                  <a:lnTo>
                    <a:pt x="570" y="80"/>
                  </a:lnTo>
                  <a:lnTo>
                    <a:pt x="572" y="82"/>
                  </a:lnTo>
                  <a:lnTo>
                    <a:pt x="572" y="82"/>
                  </a:lnTo>
                  <a:lnTo>
                    <a:pt x="572" y="84"/>
                  </a:lnTo>
                  <a:lnTo>
                    <a:pt x="574" y="84"/>
                  </a:lnTo>
                  <a:lnTo>
                    <a:pt x="578" y="84"/>
                  </a:lnTo>
                  <a:lnTo>
                    <a:pt x="580" y="84"/>
                  </a:lnTo>
                  <a:lnTo>
                    <a:pt x="582" y="84"/>
                  </a:lnTo>
                  <a:lnTo>
                    <a:pt x="586" y="84"/>
                  </a:lnTo>
                  <a:lnTo>
                    <a:pt x="588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0" y="84"/>
                  </a:lnTo>
                  <a:lnTo>
                    <a:pt x="592" y="84"/>
                  </a:lnTo>
                  <a:lnTo>
                    <a:pt x="592" y="82"/>
                  </a:lnTo>
                  <a:lnTo>
                    <a:pt x="594" y="80"/>
                  </a:lnTo>
                  <a:lnTo>
                    <a:pt x="594" y="80"/>
                  </a:lnTo>
                  <a:lnTo>
                    <a:pt x="594" y="78"/>
                  </a:lnTo>
                  <a:lnTo>
                    <a:pt x="594" y="76"/>
                  </a:lnTo>
                  <a:lnTo>
                    <a:pt x="594" y="74"/>
                  </a:lnTo>
                  <a:lnTo>
                    <a:pt x="594" y="70"/>
                  </a:lnTo>
                  <a:lnTo>
                    <a:pt x="594" y="66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6" y="56"/>
                  </a:lnTo>
                  <a:lnTo>
                    <a:pt x="596" y="56"/>
                  </a:lnTo>
                  <a:lnTo>
                    <a:pt x="596" y="54"/>
                  </a:lnTo>
                  <a:lnTo>
                    <a:pt x="596" y="54"/>
                  </a:lnTo>
                  <a:lnTo>
                    <a:pt x="598" y="52"/>
                  </a:lnTo>
                  <a:lnTo>
                    <a:pt x="600" y="52"/>
                  </a:lnTo>
                  <a:lnTo>
                    <a:pt x="602" y="50"/>
                  </a:lnTo>
                  <a:lnTo>
                    <a:pt x="604" y="50"/>
                  </a:lnTo>
                  <a:lnTo>
                    <a:pt x="604" y="48"/>
                  </a:lnTo>
                  <a:lnTo>
                    <a:pt x="606" y="48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6" y="46"/>
                  </a:lnTo>
                  <a:lnTo>
                    <a:pt x="608" y="44"/>
                  </a:lnTo>
                  <a:lnTo>
                    <a:pt x="606" y="42"/>
                  </a:lnTo>
                  <a:lnTo>
                    <a:pt x="606" y="42"/>
                  </a:lnTo>
                  <a:lnTo>
                    <a:pt x="606" y="40"/>
                  </a:lnTo>
                  <a:lnTo>
                    <a:pt x="606" y="38"/>
                  </a:lnTo>
                  <a:lnTo>
                    <a:pt x="604" y="36"/>
                  </a:lnTo>
                  <a:lnTo>
                    <a:pt x="602" y="32"/>
                  </a:lnTo>
                  <a:lnTo>
                    <a:pt x="600" y="30"/>
                  </a:lnTo>
                  <a:lnTo>
                    <a:pt x="598" y="26"/>
                  </a:lnTo>
                  <a:lnTo>
                    <a:pt x="598" y="24"/>
                  </a:lnTo>
                  <a:lnTo>
                    <a:pt x="598" y="22"/>
                  </a:lnTo>
                  <a:lnTo>
                    <a:pt x="596" y="22"/>
                  </a:lnTo>
                  <a:lnTo>
                    <a:pt x="596" y="20"/>
                  </a:lnTo>
                  <a:lnTo>
                    <a:pt x="598" y="18"/>
                  </a:lnTo>
                  <a:lnTo>
                    <a:pt x="598" y="16"/>
                  </a:lnTo>
                  <a:lnTo>
                    <a:pt x="598" y="14"/>
                  </a:lnTo>
                  <a:lnTo>
                    <a:pt x="600" y="12"/>
                  </a:lnTo>
                  <a:lnTo>
                    <a:pt x="600" y="10"/>
                  </a:lnTo>
                  <a:lnTo>
                    <a:pt x="602" y="8"/>
                  </a:lnTo>
                  <a:lnTo>
                    <a:pt x="604" y="6"/>
                  </a:lnTo>
                  <a:lnTo>
                    <a:pt x="604" y="6"/>
                  </a:lnTo>
                  <a:lnTo>
                    <a:pt x="604" y="4"/>
                  </a:lnTo>
                  <a:lnTo>
                    <a:pt x="606" y="4"/>
                  </a:lnTo>
                  <a:lnTo>
                    <a:pt x="608" y="4"/>
                  </a:lnTo>
                  <a:lnTo>
                    <a:pt x="610" y="2"/>
                  </a:lnTo>
                  <a:lnTo>
                    <a:pt x="614" y="2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40" y="0"/>
                  </a:lnTo>
                  <a:lnTo>
                    <a:pt x="644" y="2"/>
                  </a:lnTo>
                  <a:lnTo>
                    <a:pt x="648" y="2"/>
                  </a:lnTo>
                  <a:lnTo>
                    <a:pt x="652" y="2"/>
                  </a:lnTo>
                  <a:lnTo>
                    <a:pt x="656" y="4"/>
                  </a:lnTo>
                  <a:lnTo>
                    <a:pt x="660" y="4"/>
                  </a:lnTo>
                  <a:lnTo>
                    <a:pt x="664" y="6"/>
                  </a:lnTo>
                  <a:lnTo>
                    <a:pt x="666" y="6"/>
                  </a:lnTo>
                  <a:lnTo>
                    <a:pt x="668" y="6"/>
                  </a:lnTo>
                  <a:lnTo>
                    <a:pt x="668" y="8"/>
                  </a:lnTo>
                  <a:lnTo>
                    <a:pt x="670" y="10"/>
                  </a:lnTo>
                  <a:lnTo>
                    <a:pt x="672" y="12"/>
                  </a:lnTo>
                  <a:lnTo>
                    <a:pt x="674" y="14"/>
                  </a:lnTo>
                  <a:lnTo>
                    <a:pt x="678" y="18"/>
                  </a:lnTo>
                  <a:lnTo>
                    <a:pt x="680" y="20"/>
                  </a:lnTo>
                  <a:lnTo>
                    <a:pt x="682" y="22"/>
                  </a:lnTo>
                  <a:lnTo>
                    <a:pt x="684" y="26"/>
                  </a:lnTo>
                  <a:lnTo>
                    <a:pt x="688" y="28"/>
                  </a:lnTo>
                  <a:lnTo>
                    <a:pt x="692" y="32"/>
                  </a:lnTo>
                  <a:lnTo>
                    <a:pt x="696" y="36"/>
                  </a:lnTo>
                  <a:lnTo>
                    <a:pt x="698" y="38"/>
                  </a:lnTo>
                  <a:lnTo>
                    <a:pt x="700" y="42"/>
                  </a:lnTo>
                  <a:lnTo>
                    <a:pt x="704" y="44"/>
                  </a:lnTo>
                  <a:lnTo>
                    <a:pt x="704" y="46"/>
                  </a:lnTo>
                  <a:lnTo>
                    <a:pt x="706" y="48"/>
                  </a:lnTo>
                  <a:lnTo>
                    <a:pt x="706" y="50"/>
                  </a:lnTo>
                  <a:lnTo>
                    <a:pt x="706" y="52"/>
                  </a:lnTo>
                  <a:lnTo>
                    <a:pt x="708" y="56"/>
                  </a:lnTo>
                  <a:lnTo>
                    <a:pt x="708" y="62"/>
                  </a:lnTo>
                  <a:lnTo>
                    <a:pt x="708" y="64"/>
                  </a:lnTo>
                  <a:lnTo>
                    <a:pt x="708" y="66"/>
                  </a:lnTo>
                  <a:lnTo>
                    <a:pt x="710" y="68"/>
                  </a:lnTo>
                  <a:lnTo>
                    <a:pt x="710" y="68"/>
                  </a:lnTo>
                  <a:lnTo>
                    <a:pt x="712" y="70"/>
                  </a:lnTo>
                  <a:lnTo>
                    <a:pt x="714" y="74"/>
                  </a:lnTo>
                  <a:lnTo>
                    <a:pt x="716" y="74"/>
                  </a:lnTo>
                  <a:lnTo>
                    <a:pt x="718" y="76"/>
                  </a:lnTo>
                  <a:lnTo>
                    <a:pt x="718" y="78"/>
                  </a:lnTo>
                  <a:lnTo>
                    <a:pt x="720" y="80"/>
                  </a:lnTo>
                  <a:lnTo>
                    <a:pt x="722" y="80"/>
                  </a:lnTo>
                  <a:lnTo>
                    <a:pt x="722" y="80"/>
                  </a:lnTo>
                  <a:lnTo>
                    <a:pt x="724" y="80"/>
                  </a:lnTo>
                  <a:lnTo>
                    <a:pt x="726" y="82"/>
                  </a:lnTo>
                  <a:lnTo>
                    <a:pt x="730" y="82"/>
                  </a:lnTo>
                  <a:lnTo>
                    <a:pt x="732" y="82"/>
                  </a:lnTo>
                  <a:lnTo>
                    <a:pt x="736" y="82"/>
                  </a:lnTo>
                  <a:lnTo>
                    <a:pt x="740" y="82"/>
                  </a:lnTo>
                  <a:lnTo>
                    <a:pt x="742" y="84"/>
                  </a:lnTo>
                  <a:lnTo>
                    <a:pt x="744" y="84"/>
                  </a:lnTo>
                  <a:lnTo>
                    <a:pt x="746" y="84"/>
                  </a:lnTo>
                  <a:lnTo>
                    <a:pt x="746" y="86"/>
                  </a:lnTo>
                  <a:lnTo>
                    <a:pt x="748" y="86"/>
                  </a:lnTo>
                  <a:lnTo>
                    <a:pt x="752" y="90"/>
                  </a:lnTo>
                  <a:lnTo>
                    <a:pt x="754" y="92"/>
                  </a:lnTo>
                  <a:lnTo>
                    <a:pt x="756" y="94"/>
                  </a:lnTo>
                  <a:lnTo>
                    <a:pt x="756" y="94"/>
                  </a:lnTo>
                  <a:lnTo>
                    <a:pt x="760" y="96"/>
                  </a:lnTo>
                  <a:lnTo>
                    <a:pt x="764" y="98"/>
                  </a:lnTo>
                  <a:lnTo>
                    <a:pt x="766" y="102"/>
                  </a:lnTo>
                  <a:lnTo>
                    <a:pt x="768" y="102"/>
                  </a:lnTo>
                  <a:lnTo>
                    <a:pt x="770" y="104"/>
                  </a:lnTo>
                  <a:lnTo>
                    <a:pt x="770" y="104"/>
                  </a:lnTo>
                  <a:lnTo>
                    <a:pt x="770" y="106"/>
                  </a:lnTo>
                  <a:lnTo>
                    <a:pt x="772" y="108"/>
                  </a:lnTo>
                  <a:lnTo>
                    <a:pt x="772" y="110"/>
                  </a:lnTo>
                  <a:lnTo>
                    <a:pt x="772" y="110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4" y="112"/>
                  </a:lnTo>
                  <a:lnTo>
                    <a:pt x="776" y="112"/>
                  </a:lnTo>
                  <a:lnTo>
                    <a:pt x="778" y="114"/>
                  </a:lnTo>
                  <a:lnTo>
                    <a:pt x="780" y="114"/>
                  </a:lnTo>
                  <a:lnTo>
                    <a:pt x="782" y="114"/>
                  </a:lnTo>
                  <a:lnTo>
                    <a:pt x="786" y="114"/>
                  </a:lnTo>
                  <a:lnTo>
                    <a:pt x="790" y="114"/>
                  </a:lnTo>
                  <a:lnTo>
                    <a:pt x="790" y="114"/>
                  </a:lnTo>
                  <a:lnTo>
                    <a:pt x="792" y="112"/>
                  </a:lnTo>
                  <a:lnTo>
                    <a:pt x="796" y="112"/>
                  </a:lnTo>
                  <a:lnTo>
                    <a:pt x="802" y="110"/>
                  </a:lnTo>
                  <a:lnTo>
                    <a:pt x="806" y="108"/>
                  </a:lnTo>
                  <a:lnTo>
                    <a:pt x="808" y="108"/>
                  </a:lnTo>
                  <a:lnTo>
                    <a:pt x="808" y="108"/>
                  </a:lnTo>
                  <a:lnTo>
                    <a:pt x="810" y="108"/>
                  </a:lnTo>
                  <a:lnTo>
                    <a:pt x="812" y="108"/>
                  </a:lnTo>
                  <a:lnTo>
                    <a:pt x="814" y="108"/>
                  </a:lnTo>
                  <a:lnTo>
                    <a:pt x="814" y="108"/>
                  </a:lnTo>
                  <a:lnTo>
                    <a:pt x="816" y="108"/>
                  </a:lnTo>
                  <a:lnTo>
                    <a:pt x="816" y="110"/>
                  </a:lnTo>
                  <a:lnTo>
                    <a:pt x="816" y="110"/>
                  </a:lnTo>
                  <a:lnTo>
                    <a:pt x="818" y="112"/>
                  </a:lnTo>
                  <a:lnTo>
                    <a:pt x="818" y="114"/>
                  </a:lnTo>
                  <a:lnTo>
                    <a:pt x="820" y="116"/>
                  </a:lnTo>
                  <a:lnTo>
                    <a:pt x="820" y="118"/>
                  </a:lnTo>
                  <a:lnTo>
                    <a:pt x="822" y="122"/>
                  </a:lnTo>
                  <a:lnTo>
                    <a:pt x="822" y="124"/>
                  </a:lnTo>
                  <a:lnTo>
                    <a:pt x="822" y="126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28"/>
                  </a:lnTo>
                  <a:lnTo>
                    <a:pt x="822" y="130"/>
                  </a:lnTo>
                  <a:lnTo>
                    <a:pt x="820" y="130"/>
                  </a:lnTo>
                  <a:lnTo>
                    <a:pt x="818" y="132"/>
                  </a:lnTo>
                  <a:lnTo>
                    <a:pt x="818" y="132"/>
                  </a:lnTo>
                  <a:lnTo>
                    <a:pt x="816" y="134"/>
                  </a:lnTo>
                  <a:lnTo>
                    <a:pt x="814" y="134"/>
                  </a:lnTo>
                  <a:lnTo>
                    <a:pt x="812" y="134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6"/>
                  </a:lnTo>
                  <a:lnTo>
                    <a:pt x="812" y="138"/>
                  </a:lnTo>
                  <a:lnTo>
                    <a:pt x="812" y="140"/>
                  </a:lnTo>
                  <a:lnTo>
                    <a:pt x="812" y="142"/>
                  </a:lnTo>
                  <a:lnTo>
                    <a:pt x="812" y="144"/>
                  </a:lnTo>
                  <a:lnTo>
                    <a:pt x="812" y="146"/>
                  </a:lnTo>
                  <a:lnTo>
                    <a:pt x="812" y="150"/>
                  </a:lnTo>
                  <a:lnTo>
                    <a:pt x="812" y="156"/>
                  </a:lnTo>
                  <a:lnTo>
                    <a:pt x="814" y="160"/>
                  </a:lnTo>
                  <a:lnTo>
                    <a:pt x="814" y="164"/>
                  </a:lnTo>
                  <a:lnTo>
                    <a:pt x="814" y="166"/>
                  </a:lnTo>
                  <a:lnTo>
                    <a:pt x="814" y="168"/>
                  </a:lnTo>
                  <a:lnTo>
                    <a:pt x="812" y="170"/>
                  </a:lnTo>
                  <a:lnTo>
                    <a:pt x="812" y="170"/>
                  </a:lnTo>
                  <a:lnTo>
                    <a:pt x="812" y="172"/>
                  </a:lnTo>
                  <a:lnTo>
                    <a:pt x="812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10" y="172"/>
                  </a:lnTo>
                  <a:lnTo>
                    <a:pt x="808" y="172"/>
                  </a:lnTo>
                  <a:lnTo>
                    <a:pt x="808" y="172"/>
                  </a:lnTo>
                  <a:lnTo>
                    <a:pt x="806" y="172"/>
                  </a:lnTo>
                  <a:lnTo>
                    <a:pt x="804" y="172"/>
                  </a:lnTo>
                  <a:lnTo>
                    <a:pt x="802" y="170"/>
                  </a:lnTo>
                  <a:lnTo>
                    <a:pt x="800" y="170"/>
                  </a:lnTo>
                  <a:lnTo>
                    <a:pt x="800" y="170"/>
                  </a:lnTo>
                  <a:lnTo>
                    <a:pt x="798" y="170"/>
                  </a:lnTo>
                  <a:lnTo>
                    <a:pt x="798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6" y="170"/>
                  </a:lnTo>
                  <a:lnTo>
                    <a:pt x="794" y="172"/>
                  </a:lnTo>
                  <a:lnTo>
                    <a:pt x="794" y="172"/>
                  </a:lnTo>
                  <a:lnTo>
                    <a:pt x="794" y="174"/>
                  </a:lnTo>
                  <a:lnTo>
                    <a:pt x="792" y="176"/>
                  </a:lnTo>
                  <a:lnTo>
                    <a:pt x="792" y="178"/>
                  </a:lnTo>
                  <a:lnTo>
                    <a:pt x="790" y="182"/>
                  </a:lnTo>
                  <a:lnTo>
                    <a:pt x="790" y="184"/>
                  </a:lnTo>
                  <a:lnTo>
                    <a:pt x="790" y="184"/>
                  </a:lnTo>
                  <a:lnTo>
                    <a:pt x="790" y="186"/>
                  </a:lnTo>
                  <a:lnTo>
                    <a:pt x="788" y="188"/>
                  </a:lnTo>
                  <a:lnTo>
                    <a:pt x="788" y="192"/>
                  </a:lnTo>
                  <a:lnTo>
                    <a:pt x="788" y="194"/>
                  </a:lnTo>
                  <a:lnTo>
                    <a:pt x="788" y="196"/>
                  </a:lnTo>
                  <a:lnTo>
                    <a:pt x="790" y="198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0"/>
                  </a:lnTo>
                  <a:lnTo>
                    <a:pt x="790" y="202"/>
                  </a:lnTo>
                  <a:lnTo>
                    <a:pt x="792" y="202"/>
                  </a:lnTo>
                  <a:lnTo>
                    <a:pt x="792" y="202"/>
                  </a:lnTo>
                  <a:lnTo>
                    <a:pt x="794" y="202"/>
                  </a:lnTo>
                  <a:lnTo>
                    <a:pt x="796" y="202"/>
                  </a:lnTo>
                  <a:lnTo>
                    <a:pt x="798" y="204"/>
                  </a:lnTo>
                  <a:lnTo>
                    <a:pt x="802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4" y="204"/>
                  </a:lnTo>
                  <a:lnTo>
                    <a:pt x="802" y="204"/>
                  </a:lnTo>
                  <a:lnTo>
                    <a:pt x="800" y="206"/>
                  </a:lnTo>
                  <a:lnTo>
                    <a:pt x="798" y="208"/>
                  </a:lnTo>
                  <a:lnTo>
                    <a:pt x="796" y="210"/>
                  </a:lnTo>
                  <a:lnTo>
                    <a:pt x="792" y="212"/>
                  </a:lnTo>
                  <a:lnTo>
                    <a:pt x="790" y="214"/>
                  </a:lnTo>
                  <a:lnTo>
                    <a:pt x="790" y="216"/>
                  </a:lnTo>
                  <a:lnTo>
                    <a:pt x="788" y="216"/>
                  </a:lnTo>
                  <a:lnTo>
                    <a:pt x="786" y="216"/>
                  </a:lnTo>
                  <a:lnTo>
                    <a:pt x="782" y="218"/>
                  </a:lnTo>
                  <a:lnTo>
                    <a:pt x="778" y="218"/>
                  </a:lnTo>
                  <a:lnTo>
                    <a:pt x="776" y="220"/>
                  </a:lnTo>
                  <a:lnTo>
                    <a:pt x="776" y="220"/>
                  </a:lnTo>
                  <a:lnTo>
                    <a:pt x="774" y="220"/>
                  </a:lnTo>
                  <a:lnTo>
                    <a:pt x="774" y="222"/>
                  </a:lnTo>
                  <a:lnTo>
                    <a:pt x="772" y="224"/>
                  </a:lnTo>
                  <a:lnTo>
                    <a:pt x="770" y="226"/>
                  </a:lnTo>
                  <a:lnTo>
                    <a:pt x="768" y="228"/>
                  </a:lnTo>
                  <a:lnTo>
                    <a:pt x="766" y="232"/>
                  </a:lnTo>
                  <a:lnTo>
                    <a:pt x="764" y="234"/>
                  </a:lnTo>
                  <a:lnTo>
                    <a:pt x="764" y="234"/>
                  </a:lnTo>
                  <a:lnTo>
                    <a:pt x="762" y="236"/>
                  </a:lnTo>
                  <a:lnTo>
                    <a:pt x="762" y="236"/>
                  </a:lnTo>
                  <a:lnTo>
                    <a:pt x="760" y="236"/>
                  </a:lnTo>
                  <a:lnTo>
                    <a:pt x="758" y="236"/>
                  </a:lnTo>
                  <a:lnTo>
                    <a:pt x="758" y="238"/>
                  </a:lnTo>
                  <a:lnTo>
                    <a:pt x="756" y="238"/>
                  </a:lnTo>
                  <a:lnTo>
                    <a:pt x="754" y="238"/>
                  </a:lnTo>
                  <a:lnTo>
                    <a:pt x="750" y="238"/>
                  </a:lnTo>
                  <a:lnTo>
                    <a:pt x="746" y="236"/>
                  </a:lnTo>
                  <a:lnTo>
                    <a:pt x="746" y="236"/>
                  </a:lnTo>
                  <a:lnTo>
                    <a:pt x="744" y="236"/>
                  </a:lnTo>
                  <a:lnTo>
                    <a:pt x="740" y="234"/>
                  </a:lnTo>
                  <a:lnTo>
                    <a:pt x="738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6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4" y="232"/>
                  </a:lnTo>
                  <a:lnTo>
                    <a:pt x="732" y="234"/>
                  </a:lnTo>
                  <a:lnTo>
                    <a:pt x="732" y="234"/>
                  </a:lnTo>
                  <a:lnTo>
                    <a:pt x="730" y="236"/>
                  </a:lnTo>
                  <a:lnTo>
                    <a:pt x="730" y="238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6"/>
                  </a:lnTo>
                  <a:lnTo>
                    <a:pt x="728" y="250"/>
                  </a:lnTo>
                  <a:lnTo>
                    <a:pt x="728" y="252"/>
                  </a:lnTo>
                  <a:lnTo>
                    <a:pt x="728" y="254"/>
                  </a:lnTo>
                  <a:lnTo>
                    <a:pt x="728" y="254"/>
                  </a:lnTo>
                  <a:lnTo>
                    <a:pt x="726" y="256"/>
                  </a:lnTo>
                  <a:lnTo>
                    <a:pt x="726" y="256"/>
                  </a:lnTo>
                  <a:lnTo>
                    <a:pt x="724" y="258"/>
                  </a:lnTo>
                  <a:lnTo>
                    <a:pt x="722" y="260"/>
                  </a:lnTo>
                  <a:lnTo>
                    <a:pt x="720" y="260"/>
                  </a:lnTo>
                  <a:lnTo>
                    <a:pt x="716" y="262"/>
                  </a:lnTo>
                  <a:lnTo>
                    <a:pt x="712" y="264"/>
                  </a:lnTo>
                  <a:lnTo>
                    <a:pt x="704" y="270"/>
                  </a:lnTo>
                  <a:lnTo>
                    <a:pt x="700" y="274"/>
                  </a:lnTo>
                  <a:lnTo>
                    <a:pt x="696" y="274"/>
                  </a:lnTo>
                  <a:lnTo>
                    <a:pt x="696" y="276"/>
                  </a:lnTo>
                  <a:lnTo>
                    <a:pt x="692" y="276"/>
                  </a:lnTo>
                  <a:lnTo>
                    <a:pt x="690" y="278"/>
                  </a:lnTo>
                  <a:lnTo>
                    <a:pt x="688" y="280"/>
                  </a:lnTo>
                  <a:lnTo>
                    <a:pt x="684" y="282"/>
                  </a:lnTo>
                  <a:lnTo>
                    <a:pt x="680" y="282"/>
                  </a:lnTo>
                  <a:lnTo>
                    <a:pt x="680" y="284"/>
                  </a:lnTo>
                  <a:lnTo>
                    <a:pt x="678" y="284"/>
                  </a:lnTo>
                  <a:lnTo>
                    <a:pt x="676" y="284"/>
                  </a:lnTo>
                  <a:lnTo>
                    <a:pt x="676" y="284"/>
                  </a:lnTo>
                  <a:lnTo>
                    <a:pt x="674" y="284"/>
                  </a:lnTo>
                  <a:lnTo>
                    <a:pt x="674" y="284"/>
                  </a:lnTo>
                  <a:lnTo>
                    <a:pt x="674" y="282"/>
                  </a:lnTo>
                  <a:lnTo>
                    <a:pt x="672" y="282"/>
                  </a:lnTo>
                  <a:lnTo>
                    <a:pt x="672" y="280"/>
                  </a:lnTo>
                  <a:lnTo>
                    <a:pt x="672" y="280"/>
                  </a:lnTo>
                  <a:lnTo>
                    <a:pt x="672" y="278"/>
                  </a:lnTo>
                  <a:lnTo>
                    <a:pt x="672" y="278"/>
                  </a:lnTo>
                  <a:lnTo>
                    <a:pt x="672" y="276"/>
                  </a:lnTo>
                  <a:lnTo>
                    <a:pt x="672" y="270"/>
                  </a:lnTo>
                  <a:lnTo>
                    <a:pt x="672" y="268"/>
                  </a:lnTo>
                  <a:lnTo>
                    <a:pt x="672" y="266"/>
                  </a:lnTo>
                  <a:lnTo>
                    <a:pt x="672" y="262"/>
                  </a:lnTo>
                  <a:lnTo>
                    <a:pt x="672" y="256"/>
                  </a:lnTo>
                  <a:lnTo>
                    <a:pt x="670" y="254"/>
                  </a:lnTo>
                  <a:lnTo>
                    <a:pt x="670" y="252"/>
                  </a:lnTo>
                  <a:lnTo>
                    <a:pt x="670" y="250"/>
                  </a:lnTo>
                  <a:lnTo>
                    <a:pt x="670" y="250"/>
                  </a:lnTo>
                  <a:lnTo>
                    <a:pt x="668" y="250"/>
                  </a:lnTo>
                  <a:lnTo>
                    <a:pt x="668" y="248"/>
                  </a:lnTo>
                  <a:lnTo>
                    <a:pt x="668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4" y="248"/>
                  </a:lnTo>
                  <a:lnTo>
                    <a:pt x="662" y="248"/>
                  </a:lnTo>
                  <a:lnTo>
                    <a:pt x="662" y="248"/>
                  </a:lnTo>
                  <a:lnTo>
                    <a:pt x="660" y="250"/>
                  </a:lnTo>
                  <a:lnTo>
                    <a:pt x="658" y="250"/>
                  </a:lnTo>
                  <a:lnTo>
                    <a:pt x="658" y="252"/>
                  </a:lnTo>
                  <a:lnTo>
                    <a:pt x="656" y="254"/>
                  </a:lnTo>
                  <a:lnTo>
                    <a:pt x="654" y="256"/>
                  </a:lnTo>
                  <a:lnTo>
                    <a:pt x="652" y="258"/>
                  </a:lnTo>
                  <a:lnTo>
                    <a:pt x="650" y="260"/>
                  </a:lnTo>
                  <a:lnTo>
                    <a:pt x="648" y="262"/>
                  </a:lnTo>
                  <a:lnTo>
                    <a:pt x="648" y="264"/>
                  </a:lnTo>
                  <a:lnTo>
                    <a:pt x="648" y="266"/>
                  </a:lnTo>
                  <a:lnTo>
                    <a:pt x="648" y="266"/>
                  </a:lnTo>
                  <a:close/>
                </a:path>
              </a:pathLst>
            </a:custGeom>
            <a:solidFill>
              <a:srgbClr val="FF2929">
                <a:alpha val="40000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90" name="Freeform 188">
              <a:extLst>
                <a:ext uri="{FF2B5EF4-FFF2-40B4-BE49-F238E27FC236}">
                  <a16:creationId xmlns:a16="http://schemas.microsoft.com/office/drawing/2014/main" id="{E3338F5C-455F-462A-AC24-BDA87611D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7267" y="4089591"/>
              <a:ext cx="51253" cy="70204"/>
            </a:xfrm>
            <a:custGeom>
              <a:avLst/>
              <a:gdLst>
                <a:gd name="T0" fmla="*/ 10 w 30"/>
                <a:gd name="T1" fmla="*/ 10 h 42"/>
                <a:gd name="T2" fmla="*/ 10 w 30"/>
                <a:gd name="T3" fmla="*/ 10 h 42"/>
                <a:gd name="T4" fmla="*/ 8 w 30"/>
                <a:gd name="T5" fmla="*/ 12 h 42"/>
                <a:gd name="T6" fmla="*/ 6 w 30"/>
                <a:gd name="T7" fmla="*/ 16 h 42"/>
                <a:gd name="T8" fmla="*/ 4 w 30"/>
                <a:gd name="T9" fmla="*/ 18 h 42"/>
                <a:gd name="T10" fmla="*/ 2 w 30"/>
                <a:gd name="T11" fmla="*/ 20 h 42"/>
                <a:gd name="T12" fmla="*/ 2 w 30"/>
                <a:gd name="T13" fmla="*/ 22 h 42"/>
                <a:gd name="T14" fmla="*/ 2 w 30"/>
                <a:gd name="T15" fmla="*/ 22 h 42"/>
                <a:gd name="T16" fmla="*/ 0 w 30"/>
                <a:gd name="T17" fmla="*/ 24 h 42"/>
                <a:gd name="T18" fmla="*/ 0 w 30"/>
                <a:gd name="T19" fmla="*/ 28 h 42"/>
                <a:gd name="T20" fmla="*/ 0 w 30"/>
                <a:gd name="T21" fmla="*/ 30 h 42"/>
                <a:gd name="T22" fmla="*/ 0 w 30"/>
                <a:gd name="T23" fmla="*/ 32 h 42"/>
                <a:gd name="T24" fmla="*/ 0 w 30"/>
                <a:gd name="T25" fmla="*/ 36 h 42"/>
                <a:gd name="T26" fmla="*/ 0 w 30"/>
                <a:gd name="T27" fmla="*/ 38 h 42"/>
                <a:gd name="T28" fmla="*/ 0 w 30"/>
                <a:gd name="T29" fmla="*/ 38 h 42"/>
                <a:gd name="T30" fmla="*/ 2 w 30"/>
                <a:gd name="T31" fmla="*/ 40 h 42"/>
                <a:gd name="T32" fmla="*/ 2 w 30"/>
                <a:gd name="T33" fmla="*/ 40 h 42"/>
                <a:gd name="T34" fmla="*/ 2 w 30"/>
                <a:gd name="T35" fmla="*/ 42 h 42"/>
                <a:gd name="T36" fmla="*/ 2 w 30"/>
                <a:gd name="T37" fmla="*/ 42 h 42"/>
                <a:gd name="T38" fmla="*/ 4 w 30"/>
                <a:gd name="T39" fmla="*/ 42 h 42"/>
                <a:gd name="T40" fmla="*/ 6 w 30"/>
                <a:gd name="T41" fmla="*/ 42 h 42"/>
                <a:gd name="T42" fmla="*/ 6 w 30"/>
                <a:gd name="T43" fmla="*/ 42 h 42"/>
                <a:gd name="T44" fmla="*/ 8 w 30"/>
                <a:gd name="T45" fmla="*/ 42 h 42"/>
                <a:gd name="T46" fmla="*/ 10 w 30"/>
                <a:gd name="T47" fmla="*/ 42 h 42"/>
                <a:gd name="T48" fmla="*/ 12 w 30"/>
                <a:gd name="T49" fmla="*/ 42 h 42"/>
                <a:gd name="T50" fmla="*/ 14 w 30"/>
                <a:gd name="T51" fmla="*/ 42 h 42"/>
                <a:gd name="T52" fmla="*/ 16 w 30"/>
                <a:gd name="T53" fmla="*/ 42 h 42"/>
                <a:gd name="T54" fmla="*/ 16 w 30"/>
                <a:gd name="T55" fmla="*/ 40 h 42"/>
                <a:gd name="T56" fmla="*/ 18 w 30"/>
                <a:gd name="T57" fmla="*/ 40 h 42"/>
                <a:gd name="T58" fmla="*/ 20 w 30"/>
                <a:gd name="T59" fmla="*/ 38 h 42"/>
                <a:gd name="T60" fmla="*/ 22 w 30"/>
                <a:gd name="T61" fmla="*/ 36 h 42"/>
                <a:gd name="T62" fmla="*/ 24 w 30"/>
                <a:gd name="T63" fmla="*/ 34 h 42"/>
                <a:gd name="T64" fmla="*/ 26 w 30"/>
                <a:gd name="T65" fmla="*/ 32 h 42"/>
                <a:gd name="T66" fmla="*/ 28 w 30"/>
                <a:gd name="T67" fmla="*/ 28 h 42"/>
                <a:gd name="T68" fmla="*/ 28 w 30"/>
                <a:gd name="T69" fmla="*/ 26 h 42"/>
                <a:gd name="T70" fmla="*/ 30 w 30"/>
                <a:gd name="T71" fmla="*/ 26 h 42"/>
                <a:gd name="T72" fmla="*/ 30 w 30"/>
                <a:gd name="T73" fmla="*/ 24 h 42"/>
                <a:gd name="T74" fmla="*/ 30 w 30"/>
                <a:gd name="T75" fmla="*/ 22 h 42"/>
                <a:gd name="T76" fmla="*/ 30 w 30"/>
                <a:gd name="T77" fmla="*/ 22 h 42"/>
                <a:gd name="T78" fmla="*/ 30 w 30"/>
                <a:gd name="T79" fmla="*/ 18 h 42"/>
                <a:gd name="T80" fmla="*/ 28 w 30"/>
                <a:gd name="T81" fmla="*/ 14 h 42"/>
                <a:gd name="T82" fmla="*/ 28 w 30"/>
                <a:gd name="T83" fmla="*/ 10 h 42"/>
                <a:gd name="T84" fmla="*/ 28 w 30"/>
                <a:gd name="T85" fmla="*/ 8 h 42"/>
                <a:gd name="T86" fmla="*/ 26 w 30"/>
                <a:gd name="T87" fmla="*/ 8 h 42"/>
                <a:gd name="T88" fmla="*/ 26 w 30"/>
                <a:gd name="T89" fmla="*/ 6 h 42"/>
                <a:gd name="T90" fmla="*/ 24 w 30"/>
                <a:gd name="T91" fmla="*/ 4 h 42"/>
                <a:gd name="T92" fmla="*/ 24 w 30"/>
                <a:gd name="T93" fmla="*/ 2 h 42"/>
                <a:gd name="T94" fmla="*/ 22 w 30"/>
                <a:gd name="T95" fmla="*/ 2 h 42"/>
                <a:gd name="T96" fmla="*/ 22 w 30"/>
                <a:gd name="T97" fmla="*/ 2 h 42"/>
                <a:gd name="T98" fmla="*/ 20 w 30"/>
                <a:gd name="T99" fmla="*/ 0 h 42"/>
                <a:gd name="T100" fmla="*/ 20 w 30"/>
                <a:gd name="T101" fmla="*/ 0 h 42"/>
                <a:gd name="T102" fmla="*/ 20 w 30"/>
                <a:gd name="T103" fmla="*/ 0 h 42"/>
                <a:gd name="T104" fmla="*/ 18 w 30"/>
                <a:gd name="T105" fmla="*/ 0 h 42"/>
                <a:gd name="T106" fmla="*/ 18 w 30"/>
                <a:gd name="T107" fmla="*/ 2 h 42"/>
                <a:gd name="T108" fmla="*/ 16 w 30"/>
                <a:gd name="T109" fmla="*/ 2 h 42"/>
                <a:gd name="T110" fmla="*/ 14 w 30"/>
                <a:gd name="T111" fmla="*/ 4 h 42"/>
                <a:gd name="T112" fmla="*/ 14 w 30"/>
                <a:gd name="T113" fmla="*/ 6 h 42"/>
                <a:gd name="T114" fmla="*/ 12 w 30"/>
                <a:gd name="T115" fmla="*/ 6 h 42"/>
                <a:gd name="T116" fmla="*/ 10 w 30"/>
                <a:gd name="T117" fmla="*/ 1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" h="42">
                  <a:moveTo>
                    <a:pt x="10" y="10"/>
                  </a:moveTo>
                  <a:lnTo>
                    <a:pt x="10" y="10"/>
                  </a:lnTo>
                  <a:lnTo>
                    <a:pt x="8" y="12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38"/>
                  </a:lnTo>
                  <a:lnTo>
                    <a:pt x="22" y="36"/>
                  </a:lnTo>
                  <a:lnTo>
                    <a:pt x="24" y="34"/>
                  </a:lnTo>
                  <a:lnTo>
                    <a:pt x="26" y="32"/>
                  </a:lnTo>
                  <a:lnTo>
                    <a:pt x="28" y="28"/>
                  </a:lnTo>
                  <a:lnTo>
                    <a:pt x="28" y="26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18"/>
                  </a:lnTo>
                  <a:lnTo>
                    <a:pt x="28" y="14"/>
                  </a:lnTo>
                  <a:lnTo>
                    <a:pt x="28" y="10"/>
                  </a:lnTo>
                  <a:lnTo>
                    <a:pt x="28" y="8"/>
                  </a:lnTo>
                  <a:lnTo>
                    <a:pt x="26" y="8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1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91" name="Freeform 190">
              <a:extLst>
                <a:ext uri="{FF2B5EF4-FFF2-40B4-BE49-F238E27FC236}">
                  <a16:creationId xmlns:a16="http://schemas.microsoft.com/office/drawing/2014/main" id="{1AEB1628-14D3-4F4E-AA42-46C1368C5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709" y="4694675"/>
              <a:ext cx="30752" cy="10029"/>
            </a:xfrm>
            <a:custGeom>
              <a:avLst/>
              <a:gdLst>
                <a:gd name="T0" fmla="*/ 8 w 18"/>
                <a:gd name="T1" fmla="*/ 6 h 6"/>
                <a:gd name="T2" fmla="*/ 8 w 18"/>
                <a:gd name="T3" fmla="*/ 6 h 6"/>
                <a:gd name="T4" fmla="*/ 6 w 18"/>
                <a:gd name="T5" fmla="*/ 6 h 6"/>
                <a:gd name="T6" fmla="*/ 6 w 18"/>
                <a:gd name="T7" fmla="*/ 6 h 6"/>
                <a:gd name="T8" fmla="*/ 4 w 18"/>
                <a:gd name="T9" fmla="*/ 6 h 6"/>
                <a:gd name="T10" fmla="*/ 2 w 18"/>
                <a:gd name="T11" fmla="*/ 6 h 6"/>
                <a:gd name="T12" fmla="*/ 2 w 18"/>
                <a:gd name="T13" fmla="*/ 4 h 6"/>
                <a:gd name="T14" fmla="*/ 0 w 18"/>
                <a:gd name="T15" fmla="*/ 4 h 6"/>
                <a:gd name="T16" fmla="*/ 0 w 18"/>
                <a:gd name="T17" fmla="*/ 4 h 6"/>
                <a:gd name="T18" fmla="*/ 0 w 18"/>
                <a:gd name="T19" fmla="*/ 4 h 6"/>
                <a:gd name="T20" fmla="*/ 0 w 18"/>
                <a:gd name="T21" fmla="*/ 2 h 6"/>
                <a:gd name="T22" fmla="*/ 0 w 18"/>
                <a:gd name="T23" fmla="*/ 2 h 6"/>
                <a:gd name="T24" fmla="*/ 2 w 18"/>
                <a:gd name="T25" fmla="*/ 2 h 6"/>
                <a:gd name="T26" fmla="*/ 2 w 18"/>
                <a:gd name="T27" fmla="*/ 0 h 6"/>
                <a:gd name="T28" fmla="*/ 4 w 18"/>
                <a:gd name="T29" fmla="*/ 0 h 6"/>
                <a:gd name="T30" fmla="*/ 6 w 18"/>
                <a:gd name="T31" fmla="*/ 0 h 6"/>
                <a:gd name="T32" fmla="*/ 6 w 18"/>
                <a:gd name="T33" fmla="*/ 0 h 6"/>
                <a:gd name="T34" fmla="*/ 8 w 18"/>
                <a:gd name="T35" fmla="*/ 0 h 6"/>
                <a:gd name="T36" fmla="*/ 10 w 18"/>
                <a:gd name="T37" fmla="*/ 0 h 6"/>
                <a:gd name="T38" fmla="*/ 12 w 18"/>
                <a:gd name="T39" fmla="*/ 0 h 6"/>
                <a:gd name="T40" fmla="*/ 14 w 18"/>
                <a:gd name="T41" fmla="*/ 0 h 6"/>
                <a:gd name="T42" fmla="*/ 14 w 18"/>
                <a:gd name="T43" fmla="*/ 0 h 6"/>
                <a:gd name="T44" fmla="*/ 16 w 18"/>
                <a:gd name="T45" fmla="*/ 2 h 6"/>
                <a:gd name="T46" fmla="*/ 16 w 18"/>
                <a:gd name="T47" fmla="*/ 2 h 6"/>
                <a:gd name="T48" fmla="*/ 18 w 18"/>
                <a:gd name="T49" fmla="*/ 2 h 6"/>
                <a:gd name="T50" fmla="*/ 18 w 18"/>
                <a:gd name="T51" fmla="*/ 4 h 6"/>
                <a:gd name="T52" fmla="*/ 18 w 18"/>
                <a:gd name="T53" fmla="*/ 4 h 6"/>
                <a:gd name="T54" fmla="*/ 16 w 18"/>
                <a:gd name="T55" fmla="*/ 4 h 6"/>
                <a:gd name="T56" fmla="*/ 16 w 18"/>
                <a:gd name="T57" fmla="*/ 4 h 6"/>
                <a:gd name="T58" fmla="*/ 14 w 18"/>
                <a:gd name="T59" fmla="*/ 6 h 6"/>
                <a:gd name="T60" fmla="*/ 14 w 18"/>
                <a:gd name="T61" fmla="*/ 6 h 6"/>
                <a:gd name="T62" fmla="*/ 12 w 18"/>
                <a:gd name="T63" fmla="*/ 6 h 6"/>
                <a:gd name="T64" fmla="*/ 10 w 18"/>
                <a:gd name="T65" fmla="*/ 6 h 6"/>
                <a:gd name="T66" fmla="*/ 8 w 18"/>
                <a:gd name="T6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" h="6">
                  <a:moveTo>
                    <a:pt x="8" y="6"/>
                  </a:moveTo>
                  <a:lnTo>
                    <a:pt x="8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92" name="Freeform 203">
              <a:extLst>
                <a:ext uri="{FF2B5EF4-FFF2-40B4-BE49-F238E27FC236}">
                  <a16:creationId xmlns:a16="http://schemas.microsoft.com/office/drawing/2014/main" id="{28A98A25-4343-4B3A-B03E-CB621C494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196" y="4878540"/>
              <a:ext cx="10251" cy="13373"/>
            </a:xfrm>
            <a:custGeom>
              <a:avLst/>
              <a:gdLst>
                <a:gd name="T0" fmla="*/ 4 w 6"/>
                <a:gd name="T1" fmla="*/ 8 h 8"/>
                <a:gd name="T2" fmla="*/ 4 w 6"/>
                <a:gd name="T3" fmla="*/ 8 h 8"/>
                <a:gd name="T4" fmla="*/ 2 w 6"/>
                <a:gd name="T5" fmla="*/ 8 h 8"/>
                <a:gd name="T6" fmla="*/ 2 w 6"/>
                <a:gd name="T7" fmla="*/ 8 h 8"/>
                <a:gd name="T8" fmla="*/ 2 w 6"/>
                <a:gd name="T9" fmla="*/ 8 h 8"/>
                <a:gd name="T10" fmla="*/ 2 w 6"/>
                <a:gd name="T11" fmla="*/ 6 h 8"/>
                <a:gd name="T12" fmla="*/ 2 w 6"/>
                <a:gd name="T13" fmla="*/ 6 h 8"/>
                <a:gd name="T14" fmla="*/ 0 w 6"/>
                <a:gd name="T15" fmla="*/ 6 h 8"/>
                <a:gd name="T16" fmla="*/ 0 w 6"/>
                <a:gd name="T17" fmla="*/ 4 h 8"/>
                <a:gd name="T18" fmla="*/ 0 w 6"/>
                <a:gd name="T19" fmla="*/ 4 h 8"/>
                <a:gd name="T20" fmla="*/ 0 w 6"/>
                <a:gd name="T21" fmla="*/ 4 h 8"/>
                <a:gd name="T22" fmla="*/ 0 w 6"/>
                <a:gd name="T23" fmla="*/ 2 h 8"/>
                <a:gd name="T24" fmla="*/ 2 w 6"/>
                <a:gd name="T25" fmla="*/ 2 h 8"/>
                <a:gd name="T26" fmla="*/ 2 w 6"/>
                <a:gd name="T27" fmla="*/ 2 h 8"/>
                <a:gd name="T28" fmla="*/ 2 w 6"/>
                <a:gd name="T29" fmla="*/ 0 h 8"/>
                <a:gd name="T30" fmla="*/ 2 w 6"/>
                <a:gd name="T31" fmla="*/ 0 h 8"/>
                <a:gd name="T32" fmla="*/ 2 w 6"/>
                <a:gd name="T33" fmla="*/ 0 h 8"/>
                <a:gd name="T34" fmla="*/ 4 w 6"/>
                <a:gd name="T35" fmla="*/ 0 h 8"/>
                <a:gd name="T36" fmla="*/ 4 w 6"/>
                <a:gd name="T37" fmla="*/ 0 h 8"/>
                <a:gd name="T38" fmla="*/ 4 w 6"/>
                <a:gd name="T39" fmla="*/ 0 h 8"/>
                <a:gd name="T40" fmla="*/ 4 w 6"/>
                <a:gd name="T41" fmla="*/ 0 h 8"/>
                <a:gd name="T42" fmla="*/ 6 w 6"/>
                <a:gd name="T43" fmla="*/ 2 h 8"/>
                <a:gd name="T44" fmla="*/ 6 w 6"/>
                <a:gd name="T45" fmla="*/ 2 h 8"/>
                <a:gd name="T46" fmla="*/ 6 w 6"/>
                <a:gd name="T47" fmla="*/ 2 h 8"/>
                <a:gd name="T48" fmla="*/ 6 w 6"/>
                <a:gd name="T49" fmla="*/ 4 h 8"/>
                <a:gd name="T50" fmla="*/ 6 w 6"/>
                <a:gd name="T51" fmla="*/ 4 h 8"/>
                <a:gd name="T52" fmla="*/ 6 w 6"/>
                <a:gd name="T53" fmla="*/ 4 h 8"/>
                <a:gd name="T54" fmla="*/ 6 w 6"/>
                <a:gd name="T55" fmla="*/ 6 h 8"/>
                <a:gd name="T56" fmla="*/ 6 w 6"/>
                <a:gd name="T57" fmla="*/ 6 h 8"/>
                <a:gd name="T58" fmla="*/ 6 w 6"/>
                <a:gd name="T59" fmla="*/ 6 h 8"/>
                <a:gd name="T60" fmla="*/ 4 w 6"/>
                <a:gd name="T61" fmla="*/ 8 h 8"/>
                <a:gd name="T62" fmla="*/ 4 w 6"/>
                <a:gd name="T63" fmla="*/ 8 h 8"/>
                <a:gd name="T64" fmla="*/ 4 w 6"/>
                <a:gd name="T65" fmla="*/ 8 h 8"/>
                <a:gd name="T66" fmla="*/ 4 w 6"/>
                <a:gd name="T6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" h="8">
                  <a:moveTo>
                    <a:pt x="4" y="8"/>
                  </a:move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93" name="Freeform 222">
              <a:extLst>
                <a:ext uri="{FF2B5EF4-FFF2-40B4-BE49-F238E27FC236}">
                  <a16:creationId xmlns:a16="http://schemas.microsoft.com/office/drawing/2014/main" id="{92C57443-3F5D-4A85-8B2C-D5E18E3A0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371" y="4698017"/>
              <a:ext cx="47835" cy="6685"/>
            </a:xfrm>
            <a:custGeom>
              <a:avLst/>
              <a:gdLst>
                <a:gd name="T0" fmla="*/ 14 w 28"/>
                <a:gd name="T1" fmla="*/ 4 h 4"/>
                <a:gd name="T2" fmla="*/ 14 w 28"/>
                <a:gd name="T3" fmla="*/ 4 h 4"/>
                <a:gd name="T4" fmla="*/ 12 w 28"/>
                <a:gd name="T5" fmla="*/ 4 h 4"/>
                <a:gd name="T6" fmla="*/ 8 w 28"/>
                <a:gd name="T7" fmla="*/ 4 h 4"/>
                <a:gd name="T8" fmla="*/ 6 w 28"/>
                <a:gd name="T9" fmla="*/ 4 h 4"/>
                <a:gd name="T10" fmla="*/ 4 w 28"/>
                <a:gd name="T11" fmla="*/ 4 h 4"/>
                <a:gd name="T12" fmla="*/ 4 w 28"/>
                <a:gd name="T13" fmla="*/ 4 h 4"/>
                <a:gd name="T14" fmla="*/ 2 w 28"/>
                <a:gd name="T15" fmla="*/ 2 h 4"/>
                <a:gd name="T16" fmla="*/ 2 w 28"/>
                <a:gd name="T17" fmla="*/ 2 h 4"/>
                <a:gd name="T18" fmla="*/ 0 w 28"/>
                <a:gd name="T19" fmla="*/ 2 h 4"/>
                <a:gd name="T20" fmla="*/ 0 w 28"/>
                <a:gd name="T21" fmla="*/ 2 h 4"/>
                <a:gd name="T22" fmla="*/ 0 w 28"/>
                <a:gd name="T23" fmla="*/ 2 h 4"/>
                <a:gd name="T24" fmla="*/ 2 w 28"/>
                <a:gd name="T25" fmla="*/ 2 h 4"/>
                <a:gd name="T26" fmla="*/ 2 w 28"/>
                <a:gd name="T27" fmla="*/ 0 h 4"/>
                <a:gd name="T28" fmla="*/ 4 w 28"/>
                <a:gd name="T29" fmla="*/ 0 h 4"/>
                <a:gd name="T30" fmla="*/ 4 w 28"/>
                <a:gd name="T31" fmla="*/ 0 h 4"/>
                <a:gd name="T32" fmla="*/ 6 w 28"/>
                <a:gd name="T33" fmla="*/ 0 h 4"/>
                <a:gd name="T34" fmla="*/ 8 w 28"/>
                <a:gd name="T35" fmla="*/ 0 h 4"/>
                <a:gd name="T36" fmla="*/ 12 w 28"/>
                <a:gd name="T37" fmla="*/ 0 h 4"/>
                <a:gd name="T38" fmla="*/ 14 w 28"/>
                <a:gd name="T39" fmla="*/ 0 h 4"/>
                <a:gd name="T40" fmla="*/ 16 w 28"/>
                <a:gd name="T41" fmla="*/ 0 h 4"/>
                <a:gd name="T42" fmla="*/ 20 w 28"/>
                <a:gd name="T43" fmla="*/ 0 h 4"/>
                <a:gd name="T44" fmla="*/ 22 w 28"/>
                <a:gd name="T45" fmla="*/ 0 h 4"/>
                <a:gd name="T46" fmla="*/ 24 w 28"/>
                <a:gd name="T47" fmla="*/ 0 h 4"/>
                <a:gd name="T48" fmla="*/ 26 w 28"/>
                <a:gd name="T49" fmla="*/ 0 h 4"/>
                <a:gd name="T50" fmla="*/ 26 w 28"/>
                <a:gd name="T51" fmla="*/ 0 h 4"/>
                <a:gd name="T52" fmla="*/ 28 w 28"/>
                <a:gd name="T53" fmla="*/ 2 h 4"/>
                <a:gd name="T54" fmla="*/ 28 w 28"/>
                <a:gd name="T55" fmla="*/ 2 h 4"/>
                <a:gd name="T56" fmla="*/ 28 w 28"/>
                <a:gd name="T57" fmla="*/ 2 h 4"/>
                <a:gd name="T58" fmla="*/ 28 w 28"/>
                <a:gd name="T59" fmla="*/ 2 h 4"/>
                <a:gd name="T60" fmla="*/ 28 w 28"/>
                <a:gd name="T61" fmla="*/ 2 h 4"/>
                <a:gd name="T62" fmla="*/ 26 w 28"/>
                <a:gd name="T63" fmla="*/ 2 h 4"/>
                <a:gd name="T64" fmla="*/ 26 w 28"/>
                <a:gd name="T65" fmla="*/ 4 h 4"/>
                <a:gd name="T66" fmla="*/ 24 w 28"/>
                <a:gd name="T67" fmla="*/ 4 h 4"/>
                <a:gd name="T68" fmla="*/ 22 w 28"/>
                <a:gd name="T69" fmla="*/ 4 h 4"/>
                <a:gd name="T70" fmla="*/ 20 w 28"/>
                <a:gd name="T71" fmla="*/ 4 h 4"/>
                <a:gd name="T72" fmla="*/ 16 w 28"/>
                <a:gd name="T73" fmla="*/ 4 h 4"/>
                <a:gd name="T74" fmla="*/ 14 w 28"/>
                <a:gd name="T7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" h="4">
                  <a:moveTo>
                    <a:pt x="14" y="4"/>
                  </a:moveTo>
                  <a:lnTo>
                    <a:pt x="14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2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94" name="Freeform 223">
              <a:extLst>
                <a:ext uri="{FF2B5EF4-FFF2-40B4-BE49-F238E27FC236}">
                  <a16:creationId xmlns:a16="http://schemas.microsoft.com/office/drawing/2014/main" id="{31BF1E38-A525-4511-BF03-B806FCD9D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371" y="4698017"/>
              <a:ext cx="47835" cy="6685"/>
            </a:xfrm>
            <a:custGeom>
              <a:avLst/>
              <a:gdLst>
                <a:gd name="T0" fmla="*/ 14 w 28"/>
                <a:gd name="T1" fmla="*/ 4 h 4"/>
                <a:gd name="T2" fmla="*/ 14 w 28"/>
                <a:gd name="T3" fmla="*/ 4 h 4"/>
                <a:gd name="T4" fmla="*/ 12 w 28"/>
                <a:gd name="T5" fmla="*/ 4 h 4"/>
                <a:gd name="T6" fmla="*/ 8 w 28"/>
                <a:gd name="T7" fmla="*/ 4 h 4"/>
                <a:gd name="T8" fmla="*/ 6 w 28"/>
                <a:gd name="T9" fmla="*/ 4 h 4"/>
                <a:gd name="T10" fmla="*/ 4 w 28"/>
                <a:gd name="T11" fmla="*/ 4 h 4"/>
                <a:gd name="T12" fmla="*/ 4 w 28"/>
                <a:gd name="T13" fmla="*/ 4 h 4"/>
                <a:gd name="T14" fmla="*/ 2 w 28"/>
                <a:gd name="T15" fmla="*/ 2 h 4"/>
                <a:gd name="T16" fmla="*/ 2 w 28"/>
                <a:gd name="T17" fmla="*/ 2 h 4"/>
                <a:gd name="T18" fmla="*/ 0 w 28"/>
                <a:gd name="T19" fmla="*/ 2 h 4"/>
                <a:gd name="T20" fmla="*/ 0 w 28"/>
                <a:gd name="T21" fmla="*/ 2 h 4"/>
                <a:gd name="T22" fmla="*/ 0 w 28"/>
                <a:gd name="T23" fmla="*/ 2 h 4"/>
                <a:gd name="T24" fmla="*/ 2 w 28"/>
                <a:gd name="T25" fmla="*/ 2 h 4"/>
                <a:gd name="T26" fmla="*/ 2 w 28"/>
                <a:gd name="T27" fmla="*/ 0 h 4"/>
                <a:gd name="T28" fmla="*/ 4 w 28"/>
                <a:gd name="T29" fmla="*/ 0 h 4"/>
                <a:gd name="T30" fmla="*/ 4 w 28"/>
                <a:gd name="T31" fmla="*/ 0 h 4"/>
                <a:gd name="T32" fmla="*/ 6 w 28"/>
                <a:gd name="T33" fmla="*/ 0 h 4"/>
                <a:gd name="T34" fmla="*/ 8 w 28"/>
                <a:gd name="T35" fmla="*/ 0 h 4"/>
                <a:gd name="T36" fmla="*/ 12 w 28"/>
                <a:gd name="T37" fmla="*/ 0 h 4"/>
                <a:gd name="T38" fmla="*/ 14 w 28"/>
                <a:gd name="T39" fmla="*/ 0 h 4"/>
                <a:gd name="T40" fmla="*/ 16 w 28"/>
                <a:gd name="T41" fmla="*/ 0 h 4"/>
                <a:gd name="T42" fmla="*/ 20 w 28"/>
                <a:gd name="T43" fmla="*/ 0 h 4"/>
                <a:gd name="T44" fmla="*/ 22 w 28"/>
                <a:gd name="T45" fmla="*/ 0 h 4"/>
                <a:gd name="T46" fmla="*/ 24 w 28"/>
                <a:gd name="T47" fmla="*/ 0 h 4"/>
                <a:gd name="T48" fmla="*/ 26 w 28"/>
                <a:gd name="T49" fmla="*/ 0 h 4"/>
                <a:gd name="T50" fmla="*/ 26 w 28"/>
                <a:gd name="T51" fmla="*/ 0 h 4"/>
                <a:gd name="T52" fmla="*/ 28 w 28"/>
                <a:gd name="T53" fmla="*/ 2 h 4"/>
                <a:gd name="T54" fmla="*/ 28 w 28"/>
                <a:gd name="T55" fmla="*/ 2 h 4"/>
                <a:gd name="T56" fmla="*/ 28 w 28"/>
                <a:gd name="T57" fmla="*/ 2 h 4"/>
                <a:gd name="T58" fmla="*/ 28 w 28"/>
                <a:gd name="T59" fmla="*/ 2 h 4"/>
                <a:gd name="T60" fmla="*/ 28 w 28"/>
                <a:gd name="T61" fmla="*/ 2 h 4"/>
                <a:gd name="T62" fmla="*/ 26 w 28"/>
                <a:gd name="T63" fmla="*/ 2 h 4"/>
                <a:gd name="T64" fmla="*/ 26 w 28"/>
                <a:gd name="T65" fmla="*/ 4 h 4"/>
                <a:gd name="T66" fmla="*/ 24 w 28"/>
                <a:gd name="T67" fmla="*/ 4 h 4"/>
                <a:gd name="T68" fmla="*/ 22 w 28"/>
                <a:gd name="T69" fmla="*/ 4 h 4"/>
                <a:gd name="T70" fmla="*/ 20 w 28"/>
                <a:gd name="T71" fmla="*/ 4 h 4"/>
                <a:gd name="T72" fmla="*/ 16 w 28"/>
                <a:gd name="T73" fmla="*/ 4 h 4"/>
                <a:gd name="T74" fmla="*/ 14 w 28"/>
                <a:gd name="T7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" h="4">
                  <a:moveTo>
                    <a:pt x="14" y="4"/>
                  </a:moveTo>
                  <a:lnTo>
                    <a:pt x="14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2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95" name="Freeform 228">
              <a:extLst>
                <a:ext uri="{FF2B5EF4-FFF2-40B4-BE49-F238E27FC236}">
                  <a16:creationId xmlns:a16="http://schemas.microsoft.com/office/drawing/2014/main" id="{0D378FA6-C833-4CD2-B1CE-A34BBFBE5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671" y="4370404"/>
              <a:ext cx="126425" cy="234009"/>
            </a:xfrm>
            <a:custGeom>
              <a:avLst/>
              <a:gdLst>
                <a:gd name="T0" fmla="*/ 48 w 74"/>
                <a:gd name="T1" fmla="*/ 46 h 140"/>
                <a:gd name="T2" fmla="*/ 46 w 74"/>
                <a:gd name="T3" fmla="*/ 46 h 140"/>
                <a:gd name="T4" fmla="*/ 46 w 74"/>
                <a:gd name="T5" fmla="*/ 44 h 140"/>
                <a:gd name="T6" fmla="*/ 42 w 74"/>
                <a:gd name="T7" fmla="*/ 42 h 140"/>
                <a:gd name="T8" fmla="*/ 38 w 74"/>
                <a:gd name="T9" fmla="*/ 40 h 140"/>
                <a:gd name="T10" fmla="*/ 30 w 74"/>
                <a:gd name="T11" fmla="*/ 38 h 140"/>
                <a:gd name="T12" fmla="*/ 28 w 74"/>
                <a:gd name="T13" fmla="*/ 36 h 140"/>
                <a:gd name="T14" fmla="*/ 26 w 74"/>
                <a:gd name="T15" fmla="*/ 34 h 140"/>
                <a:gd name="T16" fmla="*/ 24 w 74"/>
                <a:gd name="T17" fmla="*/ 32 h 140"/>
                <a:gd name="T18" fmla="*/ 22 w 74"/>
                <a:gd name="T19" fmla="*/ 26 h 140"/>
                <a:gd name="T20" fmla="*/ 18 w 74"/>
                <a:gd name="T21" fmla="*/ 14 h 140"/>
                <a:gd name="T22" fmla="*/ 14 w 74"/>
                <a:gd name="T23" fmla="*/ 4 h 140"/>
                <a:gd name="T24" fmla="*/ 0 w 74"/>
                <a:gd name="T25" fmla="*/ 12 h 140"/>
                <a:gd name="T26" fmla="*/ 2 w 74"/>
                <a:gd name="T27" fmla="*/ 30 h 140"/>
                <a:gd name="T28" fmla="*/ 2 w 74"/>
                <a:gd name="T29" fmla="*/ 42 h 140"/>
                <a:gd name="T30" fmla="*/ 4 w 74"/>
                <a:gd name="T31" fmla="*/ 56 h 140"/>
                <a:gd name="T32" fmla="*/ 6 w 74"/>
                <a:gd name="T33" fmla="*/ 72 h 140"/>
                <a:gd name="T34" fmla="*/ 6 w 74"/>
                <a:gd name="T35" fmla="*/ 84 h 140"/>
                <a:gd name="T36" fmla="*/ 8 w 74"/>
                <a:gd name="T37" fmla="*/ 90 h 140"/>
                <a:gd name="T38" fmla="*/ 10 w 74"/>
                <a:gd name="T39" fmla="*/ 94 h 140"/>
                <a:gd name="T40" fmla="*/ 12 w 74"/>
                <a:gd name="T41" fmla="*/ 98 h 140"/>
                <a:gd name="T42" fmla="*/ 18 w 74"/>
                <a:gd name="T43" fmla="*/ 104 h 140"/>
                <a:gd name="T44" fmla="*/ 28 w 74"/>
                <a:gd name="T45" fmla="*/ 116 h 140"/>
                <a:gd name="T46" fmla="*/ 34 w 74"/>
                <a:gd name="T47" fmla="*/ 126 h 140"/>
                <a:gd name="T48" fmla="*/ 38 w 74"/>
                <a:gd name="T49" fmla="*/ 130 h 140"/>
                <a:gd name="T50" fmla="*/ 40 w 74"/>
                <a:gd name="T51" fmla="*/ 134 h 140"/>
                <a:gd name="T52" fmla="*/ 44 w 74"/>
                <a:gd name="T53" fmla="*/ 136 h 140"/>
                <a:gd name="T54" fmla="*/ 52 w 74"/>
                <a:gd name="T55" fmla="*/ 138 h 140"/>
                <a:gd name="T56" fmla="*/ 60 w 74"/>
                <a:gd name="T57" fmla="*/ 140 h 140"/>
                <a:gd name="T58" fmla="*/ 64 w 74"/>
                <a:gd name="T59" fmla="*/ 140 h 140"/>
                <a:gd name="T60" fmla="*/ 68 w 74"/>
                <a:gd name="T61" fmla="*/ 140 h 140"/>
                <a:gd name="T62" fmla="*/ 70 w 74"/>
                <a:gd name="T63" fmla="*/ 138 h 140"/>
                <a:gd name="T64" fmla="*/ 72 w 74"/>
                <a:gd name="T65" fmla="*/ 138 h 140"/>
                <a:gd name="T66" fmla="*/ 74 w 74"/>
                <a:gd name="T67" fmla="*/ 136 h 140"/>
                <a:gd name="T68" fmla="*/ 74 w 74"/>
                <a:gd name="T69" fmla="*/ 134 h 140"/>
                <a:gd name="T70" fmla="*/ 74 w 74"/>
                <a:gd name="T71" fmla="*/ 128 h 140"/>
                <a:gd name="T72" fmla="*/ 74 w 74"/>
                <a:gd name="T73" fmla="*/ 116 h 140"/>
                <a:gd name="T74" fmla="*/ 74 w 74"/>
                <a:gd name="T75" fmla="*/ 102 h 140"/>
                <a:gd name="T76" fmla="*/ 72 w 74"/>
                <a:gd name="T77" fmla="*/ 90 h 140"/>
                <a:gd name="T78" fmla="*/ 70 w 74"/>
                <a:gd name="T79" fmla="*/ 84 h 140"/>
                <a:gd name="T80" fmla="*/ 70 w 74"/>
                <a:gd name="T81" fmla="*/ 78 h 140"/>
                <a:gd name="T82" fmla="*/ 68 w 74"/>
                <a:gd name="T83" fmla="*/ 74 h 140"/>
                <a:gd name="T84" fmla="*/ 64 w 74"/>
                <a:gd name="T85" fmla="*/ 70 h 140"/>
                <a:gd name="T86" fmla="*/ 56 w 74"/>
                <a:gd name="T87" fmla="*/ 62 h 140"/>
                <a:gd name="T88" fmla="*/ 52 w 74"/>
                <a:gd name="T89" fmla="*/ 56 h 140"/>
                <a:gd name="T90" fmla="*/ 48 w 74"/>
                <a:gd name="T91" fmla="*/ 52 h 140"/>
                <a:gd name="T92" fmla="*/ 48 w 74"/>
                <a:gd name="T93" fmla="*/ 48 h 140"/>
                <a:gd name="T94" fmla="*/ 48 w 74"/>
                <a:gd name="T95" fmla="*/ 4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" h="140">
                  <a:moveTo>
                    <a:pt x="48" y="46"/>
                  </a:moveTo>
                  <a:lnTo>
                    <a:pt x="48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38" y="40"/>
                  </a:lnTo>
                  <a:lnTo>
                    <a:pt x="34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6" y="34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2" y="28"/>
                  </a:lnTo>
                  <a:lnTo>
                    <a:pt x="22" y="26"/>
                  </a:lnTo>
                  <a:lnTo>
                    <a:pt x="20" y="20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2" y="30"/>
                  </a:lnTo>
                  <a:lnTo>
                    <a:pt x="2" y="36"/>
                  </a:lnTo>
                  <a:lnTo>
                    <a:pt x="2" y="42"/>
                  </a:lnTo>
                  <a:lnTo>
                    <a:pt x="4" y="50"/>
                  </a:lnTo>
                  <a:lnTo>
                    <a:pt x="4" y="56"/>
                  </a:lnTo>
                  <a:lnTo>
                    <a:pt x="4" y="64"/>
                  </a:lnTo>
                  <a:lnTo>
                    <a:pt x="6" y="72"/>
                  </a:lnTo>
                  <a:lnTo>
                    <a:pt x="6" y="80"/>
                  </a:lnTo>
                  <a:lnTo>
                    <a:pt x="6" y="84"/>
                  </a:lnTo>
                  <a:lnTo>
                    <a:pt x="8" y="86"/>
                  </a:lnTo>
                  <a:lnTo>
                    <a:pt x="8" y="90"/>
                  </a:lnTo>
                  <a:lnTo>
                    <a:pt x="10" y="92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12" y="98"/>
                  </a:lnTo>
                  <a:lnTo>
                    <a:pt x="16" y="102"/>
                  </a:lnTo>
                  <a:lnTo>
                    <a:pt x="18" y="104"/>
                  </a:lnTo>
                  <a:lnTo>
                    <a:pt x="22" y="112"/>
                  </a:lnTo>
                  <a:lnTo>
                    <a:pt x="28" y="116"/>
                  </a:lnTo>
                  <a:lnTo>
                    <a:pt x="30" y="120"/>
                  </a:lnTo>
                  <a:lnTo>
                    <a:pt x="34" y="126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0" y="132"/>
                  </a:lnTo>
                  <a:lnTo>
                    <a:pt x="40" y="134"/>
                  </a:lnTo>
                  <a:lnTo>
                    <a:pt x="42" y="134"/>
                  </a:lnTo>
                  <a:lnTo>
                    <a:pt x="44" y="136"/>
                  </a:lnTo>
                  <a:lnTo>
                    <a:pt x="48" y="136"/>
                  </a:lnTo>
                  <a:lnTo>
                    <a:pt x="52" y="138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4" y="140"/>
                  </a:lnTo>
                  <a:lnTo>
                    <a:pt x="66" y="140"/>
                  </a:lnTo>
                  <a:lnTo>
                    <a:pt x="68" y="140"/>
                  </a:lnTo>
                  <a:lnTo>
                    <a:pt x="70" y="140"/>
                  </a:lnTo>
                  <a:lnTo>
                    <a:pt x="70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4" y="136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0"/>
                  </a:lnTo>
                  <a:lnTo>
                    <a:pt x="74" y="128"/>
                  </a:lnTo>
                  <a:lnTo>
                    <a:pt x="74" y="122"/>
                  </a:lnTo>
                  <a:lnTo>
                    <a:pt x="74" y="116"/>
                  </a:lnTo>
                  <a:lnTo>
                    <a:pt x="74" y="110"/>
                  </a:lnTo>
                  <a:lnTo>
                    <a:pt x="74" y="102"/>
                  </a:lnTo>
                  <a:lnTo>
                    <a:pt x="72" y="96"/>
                  </a:lnTo>
                  <a:lnTo>
                    <a:pt x="72" y="90"/>
                  </a:lnTo>
                  <a:lnTo>
                    <a:pt x="72" y="86"/>
                  </a:lnTo>
                  <a:lnTo>
                    <a:pt x="70" y="84"/>
                  </a:lnTo>
                  <a:lnTo>
                    <a:pt x="70" y="80"/>
                  </a:lnTo>
                  <a:lnTo>
                    <a:pt x="70" y="78"/>
                  </a:lnTo>
                  <a:lnTo>
                    <a:pt x="68" y="76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4" y="70"/>
                  </a:lnTo>
                  <a:lnTo>
                    <a:pt x="60" y="66"/>
                  </a:lnTo>
                  <a:lnTo>
                    <a:pt x="56" y="62"/>
                  </a:lnTo>
                  <a:lnTo>
                    <a:pt x="54" y="58"/>
                  </a:lnTo>
                  <a:lnTo>
                    <a:pt x="52" y="56"/>
                  </a:lnTo>
                  <a:lnTo>
                    <a:pt x="50" y="54"/>
                  </a:lnTo>
                  <a:lnTo>
                    <a:pt x="48" y="52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48" y="46"/>
                  </a:lnTo>
                  <a:lnTo>
                    <a:pt x="48" y="4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96" name="Freeform 234">
              <a:extLst>
                <a:ext uri="{FF2B5EF4-FFF2-40B4-BE49-F238E27FC236}">
                  <a16:creationId xmlns:a16="http://schemas.microsoft.com/office/drawing/2014/main" id="{9C175E8A-224B-405E-A7FD-12044C48FA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382" y="1976816"/>
              <a:ext cx="287015" cy="170494"/>
            </a:xfrm>
            <a:custGeom>
              <a:avLst/>
              <a:gdLst>
                <a:gd name="T0" fmla="*/ 64 w 168"/>
                <a:gd name="T1" fmla="*/ 8 h 102"/>
                <a:gd name="T2" fmla="*/ 64 w 168"/>
                <a:gd name="T3" fmla="*/ 20 h 102"/>
                <a:gd name="T4" fmla="*/ 60 w 168"/>
                <a:gd name="T5" fmla="*/ 26 h 102"/>
                <a:gd name="T6" fmla="*/ 56 w 168"/>
                <a:gd name="T7" fmla="*/ 24 h 102"/>
                <a:gd name="T8" fmla="*/ 46 w 168"/>
                <a:gd name="T9" fmla="*/ 14 h 102"/>
                <a:gd name="T10" fmla="*/ 42 w 168"/>
                <a:gd name="T11" fmla="*/ 12 h 102"/>
                <a:gd name="T12" fmla="*/ 34 w 168"/>
                <a:gd name="T13" fmla="*/ 20 h 102"/>
                <a:gd name="T14" fmla="*/ 28 w 168"/>
                <a:gd name="T15" fmla="*/ 22 h 102"/>
                <a:gd name="T16" fmla="*/ 26 w 168"/>
                <a:gd name="T17" fmla="*/ 16 h 102"/>
                <a:gd name="T18" fmla="*/ 22 w 168"/>
                <a:gd name="T19" fmla="*/ 6 h 102"/>
                <a:gd name="T20" fmla="*/ 18 w 168"/>
                <a:gd name="T21" fmla="*/ 4 h 102"/>
                <a:gd name="T22" fmla="*/ 10 w 168"/>
                <a:gd name="T23" fmla="*/ 8 h 102"/>
                <a:gd name="T24" fmla="*/ 4 w 168"/>
                <a:gd name="T25" fmla="*/ 14 h 102"/>
                <a:gd name="T26" fmla="*/ 0 w 168"/>
                <a:gd name="T27" fmla="*/ 20 h 102"/>
                <a:gd name="T28" fmla="*/ 4 w 168"/>
                <a:gd name="T29" fmla="*/ 28 h 102"/>
                <a:gd name="T30" fmla="*/ 6 w 168"/>
                <a:gd name="T31" fmla="*/ 40 h 102"/>
                <a:gd name="T32" fmla="*/ 8 w 168"/>
                <a:gd name="T33" fmla="*/ 48 h 102"/>
                <a:gd name="T34" fmla="*/ 12 w 168"/>
                <a:gd name="T35" fmla="*/ 50 h 102"/>
                <a:gd name="T36" fmla="*/ 26 w 168"/>
                <a:gd name="T37" fmla="*/ 52 h 102"/>
                <a:gd name="T38" fmla="*/ 32 w 168"/>
                <a:gd name="T39" fmla="*/ 50 h 102"/>
                <a:gd name="T40" fmla="*/ 38 w 168"/>
                <a:gd name="T41" fmla="*/ 42 h 102"/>
                <a:gd name="T42" fmla="*/ 44 w 168"/>
                <a:gd name="T43" fmla="*/ 38 h 102"/>
                <a:gd name="T44" fmla="*/ 50 w 168"/>
                <a:gd name="T45" fmla="*/ 38 h 102"/>
                <a:gd name="T46" fmla="*/ 54 w 168"/>
                <a:gd name="T47" fmla="*/ 42 h 102"/>
                <a:gd name="T48" fmla="*/ 52 w 168"/>
                <a:gd name="T49" fmla="*/ 48 h 102"/>
                <a:gd name="T50" fmla="*/ 46 w 168"/>
                <a:gd name="T51" fmla="*/ 62 h 102"/>
                <a:gd name="T52" fmla="*/ 46 w 168"/>
                <a:gd name="T53" fmla="*/ 68 h 102"/>
                <a:gd name="T54" fmla="*/ 52 w 168"/>
                <a:gd name="T55" fmla="*/ 74 h 102"/>
                <a:gd name="T56" fmla="*/ 60 w 168"/>
                <a:gd name="T57" fmla="*/ 82 h 102"/>
                <a:gd name="T58" fmla="*/ 68 w 168"/>
                <a:gd name="T59" fmla="*/ 96 h 102"/>
                <a:gd name="T60" fmla="*/ 76 w 168"/>
                <a:gd name="T61" fmla="*/ 100 h 102"/>
                <a:gd name="T62" fmla="*/ 84 w 168"/>
                <a:gd name="T63" fmla="*/ 102 h 102"/>
                <a:gd name="T64" fmla="*/ 86 w 168"/>
                <a:gd name="T65" fmla="*/ 96 h 102"/>
                <a:gd name="T66" fmla="*/ 88 w 168"/>
                <a:gd name="T67" fmla="*/ 82 h 102"/>
                <a:gd name="T68" fmla="*/ 90 w 168"/>
                <a:gd name="T69" fmla="*/ 72 h 102"/>
                <a:gd name="T70" fmla="*/ 100 w 168"/>
                <a:gd name="T71" fmla="*/ 58 h 102"/>
                <a:gd name="T72" fmla="*/ 108 w 168"/>
                <a:gd name="T73" fmla="*/ 54 h 102"/>
                <a:gd name="T74" fmla="*/ 114 w 168"/>
                <a:gd name="T75" fmla="*/ 54 h 102"/>
                <a:gd name="T76" fmla="*/ 122 w 168"/>
                <a:gd name="T77" fmla="*/ 60 h 102"/>
                <a:gd name="T78" fmla="*/ 122 w 168"/>
                <a:gd name="T79" fmla="*/ 68 h 102"/>
                <a:gd name="T80" fmla="*/ 120 w 168"/>
                <a:gd name="T81" fmla="*/ 76 h 102"/>
                <a:gd name="T82" fmla="*/ 126 w 168"/>
                <a:gd name="T83" fmla="*/ 80 h 102"/>
                <a:gd name="T84" fmla="*/ 138 w 168"/>
                <a:gd name="T85" fmla="*/ 78 h 102"/>
                <a:gd name="T86" fmla="*/ 148 w 168"/>
                <a:gd name="T87" fmla="*/ 76 h 102"/>
                <a:gd name="T88" fmla="*/ 154 w 168"/>
                <a:gd name="T89" fmla="*/ 80 h 102"/>
                <a:gd name="T90" fmla="*/ 160 w 168"/>
                <a:gd name="T91" fmla="*/ 80 h 102"/>
                <a:gd name="T92" fmla="*/ 164 w 168"/>
                <a:gd name="T93" fmla="*/ 74 h 102"/>
                <a:gd name="T94" fmla="*/ 168 w 168"/>
                <a:gd name="T95" fmla="*/ 66 h 102"/>
                <a:gd name="T96" fmla="*/ 166 w 168"/>
                <a:gd name="T97" fmla="*/ 58 h 102"/>
                <a:gd name="T98" fmla="*/ 158 w 168"/>
                <a:gd name="T99" fmla="*/ 54 h 102"/>
                <a:gd name="T100" fmla="*/ 132 w 168"/>
                <a:gd name="T101" fmla="*/ 44 h 102"/>
                <a:gd name="T102" fmla="*/ 114 w 168"/>
                <a:gd name="T103" fmla="*/ 36 h 102"/>
                <a:gd name="T104" fmla="*/ 106 w 168"/>
                <a:gd name="T105" fmla="*/ 30 h 102"/>
                <a:gd name="T106" fmla="*/ 98 w 168"/>
                <a:gd name="T107" fmla="*/ 12 h 102"/>
                <a:gd name="T108" fmla="*/ 92 w 168"/>
                <a:gd name="T109" fmla="*/ 4 h 102"/>
                <a:gd name="T110" fmla="*/ 86 w 168"/>
                <a:gd name="T111" fmla="*/ 0 h 102"/>
                <a:gd name="T112" fmla="*/ 72 w 168"/>
                <a:gd name="T113" fmla="*/ 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" h="102">
                  <a:moveTo>
                    <a:pt x="66" y="4"/>
                  </a:moveTo>
                  <a:lnTo>
                    <a:pt x="66" y="4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8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8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2" y="20"/>
                  </a:lnTo>
                  <a:lnTo>
                    <a:pt x="50" y="16"/>
                  </a:lnTo>
                  <a:lnTo>
                    <a:pt x="48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4" y="20"/>
                  </a:lnTo>
                  <a:lnTo>
                    <a:pt x="32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8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6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6" y="40"/>
                  </a:lnTo>
                  <a:lnTo>
                    <a:pt x="6" y="42"/>
                  </a:lnTo>
                  <a:lnTo>
                    <a:pt x="6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28" y="52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6" y="46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50" y="38"/>
                  </a:lnTo>
                  <a:lnTo>
                    <a:pt x="52" y="38"/>
                  </a:lnTo>
                  <a:lnTo>
                    <a:pt x="52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4"/>
                  </a:lnTo>
                  <a:lnTo>
                    <a:pt x="52" y="46"/>
                  </a:lnTo>
                  <a:lnTo>
                    <a:pt x="52" y="48"/>
                  </a:lnTo>
                  <a:lnTo>
                    <a:pt x="50" y="52"/>
                  </a:lnTo>
                  <a:lnTo>
                    <a:pt x="48" y="54"/>
                  </a:lnTo>
                  <a:lnTo>
                    <a:pt x="48" y="56"/>
                  </a:lnTo>
                  <a:lnTo>
                    <a:pt x="48" y="58"/>
                  </a:lnTo>
                  <a:lnTo>
                    <a:pt x="46" y="62"/>
                  </a:lnTo>
                  <a:lnTo>
                    <a:pt x="46" y="64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70"/>
                  </a:lnTo>
                  <a:lnTo>
                    <a:pt x="48" y="70"/>
                  </a:lnTo>
                  <a:lnTo>
                    <a:pt x="50" y="72"/>
                  </a:lnTo>
                  <a:lnTo>
                    <a:pt x="52" y="74"/>
                  </a:lnTo>
                  <a:lnTo>
                    <a:pt x="56" y="76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60" y="80"/>
                  </a:lnTo>
                  <a:lnTo>
                    <a:pt x="60" y="82"/>
                  </a:lnTo>
                  <a:lnTo>
                    <a:pt x="64" y="88"/>
                  </a:lnTo>
                  <a:lnTo>
                    <a:pt x="64" y="90"/>
                  </a:lnTo>
                  <a:lnTo>
                    <a:pt x="66" y="92"/>
                  </a:lnTo>
                  <a:lnTo>
                    <a:pt x="68" y="94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70" y="98"/>
                  </a:lnTo>
                  <a:lnTo>
                    <a:pt x="72" y="98"/>
                  </a:lnTo>
                  <a:lnTo>
                    <a:pt x="74" y="100"/>
                  </a:lnTo>
                  <a:lnTo>
                    <a:pt x="76" y="100"/>
                  </a:lnTo>
                  <a:lnTo>
                    <a:pt x="78" y="102"/>
                  </a:lnTo>
                  <a:lnTo>
                    <a:pt x="80" y="102"/>
                  </a:lnTo>
                  <a:lnTo>
                    <a:pt x="82" y="102"/>
                  </a:lnTo>
                  <a:lnTo>
                    <a:pt x="82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6" y="100"/>
                  </a:lnTo>
                  <a:lnTo>
                    <a:pt x="86" y="98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8" y="94"/>
                  </a:lnTo>
                  <a:lnTo>
                    <a:pt x="88" y="90"/>
                  </a:lnTo>
                  <a:lnTo>
                    <a:pt x="88" y="86"/>
                  </a:lnTo>
                  <a:lnTo>
                    <a:pt x="88" y="82"/>
                  </a:lnTo>
                  <a:lnTo>
                    <a:pt x="88" y="80"/>
                  </a:lnTo>
                  <a:lnTo>
                    <a:pt x="88" y="78"/>
                  </a:lnTo>
                  <a:lnTo>
                    <a:pt x="88" y="78"/>
                  </a:lnTo>
                  <a:lnTo>
                    <a:pt x="88" y="76"/>
                  </a:lnTo>
                  <a:lnTo>
                    <a:pt x="90" y="72"/>
                  </a:lnTo>
                  <a:lnTo>
                    <a:pt x="92" y="70"/>
                  </a:lnTo>
                  <a:lnTo>
                    <a:pt x="94" y="66"/>
                  </a:lnTo>
                  <a:lnTo>
                    <a:pt x="98" y="62"/>
                  </a:lnTo>
                  <a:lnTo>
                    <a:pt x="98" y="60"/>
                  </a:lnTo>
                  <a:lnTo>
                    <a:pt x="100" y="58"/>
                  </a:lnTo>
                  <a:lnTo>
                    <a:pt x="102" y="58"/>
                  </a:lnTo>
                  <a:lnTo>
                    <a:pt x="104" y="56"/>
                  </a:lnTo>
                  <a:lnTo>
                    <a:pt x="104" y="54"/>
                  </a:lnTo>
                  <a:lnTo>
                    <a:pt x="106" y="54"/>
                  </a:lnTo>
                  <a:lnTo>
                    <a:pt x="108" y="54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2" y="54"/>
                  </a:lnTo>
                  <a:lnTo>
                    <a:pt x="114" y="54"/>
                  </a:lnTo>
                  <a:lnTo>
                    <a:pt x="116" y="56"/>
                  </a:lnTo>
                  <a:lnTo>
                    <a:pt x="118" y="56"/>
                  </a:lnTo>
                  <a:lnTo>
                    <a:pt x="120" y="58"/>
                  </a:lnTo>
                  <a:lnTo>
                    <a:pt x="120" y="60"/>
                  </a:lnTo>
                  <a:lnTo>
                    <a:pt x="122" y="60"/>
                  </a:lnTo>
                  <a:lnTo>
                    <a:pt x="122" y="62"/>
                  </a:lnTo>
                  <a:lnTo>
                    <a:pt x="122" y="62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2" y="68"/>
                  </a:lnTo>
                  <a:lnTo>
                    <a:pt x="122" y="70"/>
                  </a:lnTo>
                  <a:lnTo>
                    <a:pt x="120" y="72"/>
                  </a:lnTo>
                  <a:lnTo>
                    <a:pt x="120" y="74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2" y="78"/>
                  </a:lnTo>
                  <a:lnTo>
                    <a:pt x="122" y="78"/>
                  </a:lnTo>
                  <a:lnTo>
                    <a:pt x="122" y="80"/>
                  </a:lnTo>
                  <a:lnTo>
                    <a:pt x="124" y="80"/>
                  </a:lnTo>
                  <a:lnTo>
                    <a:pt x="126" y="80"/>
                  </a:lnTo>
                  <a:lnTo>
                    <a:pt x="126" y="80"/>
                  </a:lnTo>
                  <a:lnTo>
                    <a:pt x="128" y="80"/>
                  </a:lnTo>
                  <a:lnTo>
                    <a:pt x="130" y="80"/>
                  </a:lnTo>
                  <a:lnTo>
                    <a:pt x="134" y="78"/>
                  </a:lnTo>
                  <a:lnTo>
                    <a:pt x="138" y="78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44" y="76"/>
                  </a:lnTo>
                  <a:lnTo>
                    <a:pt x="146" y="76"/>
                  </a:lnTo>
                  <a:lnTo>
                    <a:pt x="148" y="76"/>
                  </a:lnTo>
                  <a:lnTo>
                    <a:pt x="148" y="76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0"/>
                  </a:lnTo>
                  <a:lnTo>
                    <a:pt x="154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8" y="80"/>
                  </a:lnTo>
                  <a:lnTo>
                    <a:pt x="158" y="80"/>
                  </a:lnTo>
                  <a:lnTo>
                    <a:pt x="160" y="80"/>
                  </a:lnTo>
                  <a:lnTo>
                    <a:pt x="160" y="80"/>
                  </a:lnTo>
                  <a:lnTo>
                    <a:pt x="160" y="78"/>
                  </a:lnTo>
                  <a:lnTo>
                    <a:pt x="162" y="78"/>
                  </a:lnTo>
                  <a:lnTo>
                    <a:pt x="162" y="76"/>
                  </a:lnTo>
                  <a:lnTo>
                    <a:pt x="164" y="74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8" y="64"/>
                  </a:lnTo>
                  <a:lnTo>
                    <a:pt x="168" y="64"/>
                  </a:lnTo>
                  <a:lnTo>
                    <a:pt x="166" y="62"/>
                  </a:lnTo>
                  <a:lnTo>
                    <a:pt x="166" y="60"/>
                  </a:lnTo>
                  <a:lnTo>
                    <a:pt x="166" y="58"/>
                  </a:lnTo>
                  <a:lnTo>
                    <a:pt x="164" y="58"/>
                  </a:lnTo>
                  <a:lnTo>
                    <a:pt x="162" y="56"/>
                  </a:lnTo>
                  <a:lnTo>
                    <a:pt x="162" y="56"/>
                  </a:lnTo>
                  <a:lnTo>
                    <a:pt x="160" y="54"/>
                  </a:lnTo>
                  <a:lnTo>
                    <a:pt x="158" y="54"/>
                  </a:lnTo>
                  <a:lnTo>
                    <a:pt x="154" y="52"/>
                  </a:lnTo>
                  <a:lnTo>
                    <a:pt x="150" y="50"/>
                  </a:lnTo>
                  <a:lnTo>
                    <a:pt x="146" y="48"/>
                  </a:lnTo>
                  <a:lnTo>
                    <a:pt x="140" y="46"/>
                  </a:lnTo>
                  <a:lnTo>
                    <a:pt x="132" y="44"/>
                  </a:lnTo>
                  <a:lnTo>
                    <a:pt x="126" y="42"/>
                  </a:lnTo>
                  <a:lnTo>
                    <a:pt x="122" y="40"/>
                  </a:lnTo>
                  <a:lnTo>
                    <a:pt x="118" y="38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2" y="34"/>
                  </a:lnTo>
                  <a:lnTo>
                    <a:pt x="110" y="34"/>
                  </a:lnTo>
                  <a:lnTo>
                    <a:pt x="110" y="32"/>
                  </a:lnTo>
                  <a:lnTo>
                    <a:pt x="108" y="32"/>
                  </a:lnTo>
                  <a:lnTo>
                    <a:pt x="106" y="30"/>
                  </a:lnTo>
                  <a:lnTo>
                    <a:pt x="106" y="28"/>
                  </a:lnTo>
                  <a:lnTo>
                    <a:pt x="104" y="26"/>
                  </a:lnTo>
                  <a:lnTo>
                    <a:pt x="102" y="22"/>
                  </a:lnTo>
                  <a:lnTo>
                    <a:pt x="100" y="16"/>
                  </a:lnTo>
                  <a:lnTo>
                    <a:pt x="98" y="12"/>
                  </a:lnTo>
                  <a:lnTo>
                    <a:pt x="98" y="10"/>
                  </a:lnTo>
                  <a:lnTo>
                    <a:pt x="96" y="8"/>
                  </a:lnTo>
                  <a:lnTo>
                    <a:pt x="96" y="6"/>
                  </a:lnTo>
                  <a:lnTo>
                    <a:pt x="94" y="4"/>
                  </a:lnTo>
                  <a:lnTo>
                    <a:pt x="92" y="4"/>
                  </a:lnTo>
                  <a:lnTo>
                    <a:pt x="92" y="2"/>
                  </a:lnTo>
                  <a:lnTo>
                    <a:pt x="90" y="2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86" y="0"/>
                  </a:lnTo>
                  <a:lnTo>
                    <a:pt x="82" y="0"/>
                  </a:lnTo>
                  <a:lnTo>
                    <a:pt x="78" y="0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6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97" name="Freeform 236">
              <a:extLst>
                <a:ext uri="{FF2B5EF4-FFF2-40B4-BE49-F238E27FC236}">
                  <a16:creationId xmlns:a16="http://schemas.microsoft.com/office/drawing/2014/main" id="{4D66A452-6D3B-4078-84BF-2B029F255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5310" y="1956758"/>
              <a:ext cx="164008" cy="66860"/>
            </a:xfrm>
            <a:custGeom>
              <a:avLst/>
              <a:gdLst>
                <a:gd name="T0" fmla="*/ 2 w 96"/>
                <a:gd name="T1" fmla="*/ 4 h 40"/>
                <a:gd name="T2" fmla="*/ 0 w 96"/>
                <a:gd name="T3" fmla="*/ 6 h 40"/>
                <a:gd name="T4" fmla="*/ 0 w 96"/>
                <a:gd name="T5" fmla="*/ 10 h 40"/>
                <a:gd name="T6" fmla="*/ 0 w 96"/>
                <a:gd name="T7" fmla="*/ 14 h 40"/>
                <a:gd name="T8" fmla="*/ 0 w 96"/>
                <a:gd name="T9" fmla="*/ 18 h 40"/>
                <a:gd name="T10" fmla="*/ 2 w 96"/>
                <a:gd name="T11" fmla="*/ 24 h 40"/>
                <a:gd name="T12" fmla="*/ 4 w 96"/>
                <a:gd name="T13" fmla="*/ 28 h 40"/>
                <a:gd name="T14" fmla="*/ 6 w 96"/>
                <a:gd name="T15" fmla="*/ 30 h 40"/>
                <a:gd name="T16" fmla="*/ 10 w 96"/>
                <a:gd name="T17" fmla="*/ 32 h 40"/>
                <a:gd name="T18" fmla="*/ 14 w 96"/>
                <a:gd name="T19" fmla="*/ 34 h 40"/>
                <a:gd name="T20" fmla="*/ 18 w 96"/>
                <a:gd name="T21" fmla="*/ 36 h 40"/>
                <a:gd name="T22" fmla="*/ 24 w 96"/>
                <a:gd name="T23" fmla="*/ 38 h 40"/>
                <a:gd name="T24" fmla="*/ 34 w 96"/>
                <a:gd name="T25" fmla="*/ 40 h 40"/>
                <a:gd name="T26" fmla="*/ 44 w 96"/>
                <a:gd name="T27" fmla="*/ 40 h 40"/>
                <a:gd name="T28" fmla="*/ 48 w 96"/>
                <a:gd name="T29" fmla="*/ 40 h 40"/>
                <a:gd name="T30" fmla="*/ 54 w 96"/>
                <a:gd name="T31" fmla="*/ 38 h 40"/>
                <a:gd name="T32" fmla="*/ 62 w 96"/>
                <a:gd name="T33" fmla="*/ 34 h 40"/>
                <a:gd name="T34" fmla="*/ 70 w 96"/>
                <a:gd name="T35" fmla="*/ 32 h 40"/>
                <a:gd name="T36" fmla="*/ 80 w 96"/>
                <a:gd name="T37" fmla="*/ 26 h 40"/>
                <a:gd name="T38" fmla="*/ 88 w 96"/>
                <a:gd name="T39" fmla="*/ 20 h 40"/>
                <a:gd name="T40" fmla="*/ 90 w 96"/>
                <a:gd name="T41" fmla="*/ 16 h 40"/>
                <a:gd name="T42" fmla="*/ 94 w 96"/>
                <a:gd name="T43" fmla="*/ 12 h 40"/>
                <a:gd name="T44" fmla="*/ 96 w 96"/>
                <a:gd name="T45" fmla="*/ 10 h 40"/>
                <a:gd name="T46" fmla="*/ 96 w 96"/>
                <a:gd name="T47" fmla="*/ 8 h 40"/>
                <a:gd name="T48" fmla="*/ 94 w 96"/>
                <a:gd name="T49" fmla="*/ 6 h 40"/>
                <a:gd name="T50" fmla="*/ 94 w 96"/>
                <a:gd name="T51" fmla="*/ 6 h 40"/>
                <a:gd name="T52" fmla="*/ 92 w 96"/>
                <a:gd name="T53" fmla="*/ 4 h 40"/>
                <a:gd name="T54" fmla="*/ 90 w 96"/>
                <a:gd name="T55" fmla="*/ 4 h 40"/>
                <a:gd name="T56" fmla="*/ 86 w 96"/>
                <a:gd name="T57" fmla="*/ 2 h 40"/>
                <a:gd name="T58" fmla="*/ 80 w 96"/>
                <a:gd name="T59" fmla="*/ 4 h 40"/>
                <a:gd name="T60" fmla="*/ 70 w 96"/>
                <a:gd name="T61" fmla="*/ 4 h 40"/>
                <a:gd name="T62" fmla="*/ 62 w 96"/>
                <a:gd name="T63" fmla="*/ 6 h 40"/>
                <a:gd name="T64" fmla="*/ 56 w 96"/>
                <a:gd name="T65" fmla="*/ 6 h 40"/>
                <a:gd name="T66" fmla="*/ 52 w 96"/>
                <a:gd name="T67" fmla="*/ 6 h 40"/>
                <a:gd name="T68" fmla="*/ 42 w 96"/>
                <a:gd name="T69" fmla="*/ 4 h 40"/>
                <a:gd name="T70" fmla="*/ 34 w 96"/>
                <a:gd name="T71" fmla="*/ 2 h 40"/>
                <a:gd name="T72" fmla="*/ 24 w 96"/>
                <a:gd name="T73" fmla="*/ 2 h 40"/>
                <a:gd name="T74" fmla="*/ 16 w 96"/>
                <a:gd name="T75" fmla="*/ 0 h 40"/>
                <a:gd name="T76" fmla="*/ 10 w 96"/>
                <a:gd name="T77" fmla="*/ 0 h 40"/>
                <a:gd name="T78" fmla="*/ 6 w 96"/>
                <a:gd name="T79" fmla="*/ 2 h 40"/>
                <a:gd name="T80" fmla="*/ 4 w 96"/>
                <a:gd name="T81" fmla="*/ 2 h 40"/>
                <a:gd name="T82" fmla="*/ 2 w 96"/>
                <a:gd name="T83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6" h="40">
                  <a:moveTo>
                    <a:pt x="2" y="4"/>
                  </a:move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4" y="28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0" y="32"/>
                  </a:lnTo>
                  <a:lnTo>
                    <a:pt x="12" y="34"/>
                  </a:lnTo>
                  <a:lnTo>
                    <a:pt x="14" y="34"/>
                  </a:lnTo>
                  <a:lnTo>
                    <a:pt x="16" y="36"/>
                  </a:lnTo>
                  <a:lnTo>
                    <a:pt x="18" y="36"/>
                  </a:lnTo>
                  <a:lnTo>
                    <a:pt x="22" y="36"/>
                  </a:lnTo>
                  <a:lnTo>
                    <a:pt x="24" y="38"/>
                  </a:lnTo>
                  <a:lnTo>
                    <a:pt x="30" y="38"/>
                  </a:lnTo>
                  <a:lnTo>
                    <a:pt x="3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6" y="40"/>
                  </a:lnTo>
                  <a:lnTo>
                    <a:pt x="48" y="40"/>
                  </a:lnTo>
                  <a:lnTo>
                    <a:pt x="50" y="38"/>
                  </a:lnTo>
                  <a:lnTo>
                    <a:pt x="54" y="38"/>
                  </a:lnTo>
                  <a:lnTo>
                    <a:pt x="58" y="36"/>
                  </a:lnTo>
                  <a:lnTo>
                    <a:pt x="62" y="34"/>
                  </a:lnTo>
                  <a:lnTo>
                    <a:pt x="66" y="32"/>
                  </a:lnTo>
                  <a:lnTo>
                    <a:pt x="70" y="32"/>
                  </a:lnTo>
                  <a:lnTo>
                    <a:pt x="72" y="30"/>
                  </a:lnTo>
                  <a:lnTo>
                    <a:pt x="80" y="26"/>
                  </a:lnTo>
                  <a:lnTo>
                    <a:pt x="84" y="22"/>
                  </a:lnTo>
                  <a:lnTo>
                    <a:pt x="88" y="20"/>
                  </a:lnTo>
                  <a:lnTo>
                    <a:pt x="90" y="18"/>
                  </a:lnTo>
                  <a:lnTo>
                    <a:pt x="90" y="16"/>
                  </a:lnTo>
                  <a:lnTo>
                    <a:pt x="92" y="14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6" y="2"/>
                  </a:lnTo>
                  <a:lnTo>
                    <a:pt x="84" y="4"/>
                  </a:lnTo>
                  <a:lnTo>
                    <a:pt x="80" y="4"/>
                  </a:lnTo>
                  <a:lnTo>
                    <a:pt x="78" y="4"/>
                  </a:lnTo>
                  <a:lnTo>
                    <a:pt x="70" y="4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6"/>
                  </a:lnTo>
                  <a:lnTo>
                    <a:pt x="56" y="6"/>
                  </a:lnTo>
                  <a:lnTo>
                    <a:pt x="54" y="6"/>
                  </a:lnTo>
                  <a:lnTo>
                    <a:pt x="52" y="6"/>
                  </a:lnTo>
                  <a:lnTo>
                    <a:pt x="50" y="6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24" y="2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 dirty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98" name="Freeform 238">
              <a:extLst>
                <a:ext uri="{FF2B5EF4-FFF2-40B4-BE49-F238E27FC236}">
                  <a16:creationId xmlns:a16="http://schemas.microsoft.com/office/drawing/2014/main" id="{B7FD93C6-353D-4C24-8E40-53BA1CF94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9728" y="3417648"/>
              <a:ext cx="44420" cy="66860"/>
            </a:xfrm>
            <a:custGeom>
              <a:avLst/>
              <a:gdLst>
                <a:gd name="T0" fmla="*/ 26 w 26"/>
                <a:gd name="T1" fmla="*/ 28 h 40"/>
                <a:gd name="T2" fmla="*/ 12 w 26"/>
                <a:gd name="T3" fmla="*/ 40 h 40"/>
                <a:gd name="T4" fmla="*/ 10 w 26"/>
                <a:gd name="T5" fmla="*/ 38 h 40"/>
                <a:gd name="T6" fmla="*/ 8 w 26"/>
                <a:gd name="T7" fmla="*/ 36 h 40"/>
                <a:gd name="T8" fmla="*/ 6 w 26"/>
                <a:gd name="T9" fmla="*/ 36 h 40"/>
                <a:gd name="T10" fmla="*/ 6 w 26"/>
                <a:gd name="T11" fmla="*/ 36 h 40"/>
                <a:gd name="T12" fmla="*/ 6 w 26"/>
                <a:gd name="T13" fmla="*/ 34 h 40"/>
                <a:gd name="T14" fmla="*/ 4 w 26"/>
                <a:gd name="T15" fmla="*/ 34 h 40"/>
                <a:gd name="T16" fmla="*/ 2 w 26"/>
                <a:gd name="T17" fmla="*/ 32 h 40"/>
                <a:gd name="T18" fmla="*/ 2 w 26"/>
                <a:gd name="T19" fmla="*/ 32 h 40"/>
                <a:gd name="T20" fmla="*/ 0 w 26"/>
                <a:gd name="T21" fmla="*/ 32 h 40"/>
                <a:gd name="T22" fmla="*/ 0 w 26"/>
                <a:gd name="T23" fmla="*/ 30 h 40"/>
                <a:gd name="T24" fmla="*/ 0 w 26"/>
                <a:gd name="T25" fmla="*/ 30 h 40"/>
                <a:gd name="T26" fmla="*/ 0 w 26"/>
                <a:gd name="T27" fmla="*/ 28 h 40"/>
                <a:gd name="T28" fmla="*/ 2 w 26"/>
                <a:gd name="T29" fmla="*/ 28 h 40"/>
                <a:gd name="T30" fmla="*/ 2 w 26"/>
                <a:gd name="T31" fmla="*/ 26 h 40"/>
                <a:gd name="T32" fmla="*/ 2 w 26"/>
                <a:gd name="T33" fmla="*/ 24 h 40"/>
                <a:gd name="T34" fmla="*/ 4 w 26"/>
                <a:gd name="T35" fmla="*/ 22 h 40"/>
                <a:gd name="T36" fmla="*/ 6 w 26"/>
                <a:gd name="T37" fmla="*/ 18 h 40"/>
                <a:gd name="T38" fmla="*/ 8 w 26"/>
                <a:gd name="T39" fmla="*/ 16 h 40"/>
                <a:gd name="T40" fmla="*/ 8 w 26"/>
                <a:gd name="T41" fmla="*/ 16 h 40"/>
                <a:gd name="T42" fmla="*/ 8 w 26"/>
                <a:gd name="T43" fmla="*/ 14 h 40"/>
                <a:gd name="T44" fmla="*/ 8 w 26"/>
                <a:gd name="T45" fmla="*/ 10 h 40"/>
                <a:gd name="T46" fmla="*/ 6 w 26"/>
                <a:gd name="T47" fmla="*/ 8 h 40"/>
                <a:gd name="T48" fmla="*/ 6 w 26"/>
                <a:gd name="T49" fmla="*/ 6 h 40"/>
                <a:gd name="T50" fmla="*/ 6 w 26"/>
                <a:gd name="T51" fmla="*/ 4 h 40"/>
                <a:gd name="T52" fmla="*/ 6 w 26"/>
                <a:gd name="T53" fmla="*/ 4 h 40"/>
                <a:gd name="T54" fmla="*/ 6 w 26"/>
                <a:gd name="T55" fmla="*/ 4 h 40"/>
                <a:gd name="T56" fmla="*/ 6 w 26"/>
                <a:gd name="T57" fmla="*/ 4 h 40"/>
                <a:gd name="T58" fmla="*/ 6 w 26"/>
                <a:gd name="T59" fmla="*/ 2 h 40"/>
                <a:gd name="T60" fmla="*/ 8 w 26"/>
                <a:gd name="T61" fmla="*/ 2 h 40"/>
                <a:gd name="T62" fmla="*/ 10 w 26"/>
                <a:gd name="T63" fmla="*/ 2 h 40"/>
                <a:gd name="T64" fmla="*/ 12 w 26"/>
                <a:gd name="T65" fmla="*/ 0 h 40"/>
                <a:gd name="T66" fmla="*/ 14 w 26"/>
                <a:gd name="T67" fmla="*/ 0 h 40"/>
                <a:gd name="T68" fmla="*/ 16 w 26"/>
                <a:gd name="T69" fmla="*/ 0 h 40"/>
                <a:gd name="T70" fmla="*/ 22 w 26"/>
                <a:gd name="T71" fmla="*/ 14 h 40"/>
                <a:gd name="T72" fmla="*/ 24 w 26"/>
                <a:gd name="T73" fmla="*/ 16 h 40"/>
                <a:gd name="T74" fmla="*/ 24 w 26"/>
                <a:gd name="T75" fmla="*/ 18 h 40"/>
                <a:gd name="T76" fmla="*/ 24 w 26"/>
                <a:gd name="T77" fmla="*/ 22 h 40"/>
                <a:gd name="T78" fmla="*/ 26 w 26"/>
                <a:gd name="T79" fmla="*/ 26 h 40"/>
                <a:gd name="T80" fmla="*/ 26 w 26"/>
                <a:gd name="T81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" h="40">
                  <a:moveTo>
                    <a:pt x="26" y="28"/>
                  </a:moveTo>
                  <a:lnTo>
                    <a:pt x="12" y="40"/>
                  </a:lnTo>
                  <a:lnTo>
                    <a:pt x="10" y="38"/>
                  </a:lnTo>
                  <a:lnTo>
                    <a:pt x="8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4" y="34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4" y="22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8" y="10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2" y="14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24" y="22"/>
                  </a:lnTo>
                  <a:lnTo>
                    <a:pt x="26" y="26"/>
                  </a:lnTo>
                  <a:lnTo>
                    <a:pt x="26" y="2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799" name="Freeform 240">
              <a:extLst>
                <a:ext uri="{FF2B5EF4-FFF2-40B4-BE49-F238E27FC236}">
                  <a16:creationId xmlns:a16="http://schemas.microsoft.com/office/drawing/2014/main" id="{A4A7692C-4FD7-402D-B129-E229EB70C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140" y="3227098"/>
              <a:ext cx="150342" cy="83575"/>
            </a:xfrm>
            <a:custGeom>
              <a:avLst/>
              <a:gdLst>
                <a:gd name="T0" fmla="*/ 88 w 88"/>
                <a:gd name="T1" fmla="*/ 12 h 50"/>
                <a:gd name="T2" fmla="*/ 80 w 88"/>
                <a:gd name="T3" fmla="*/ 6 h 50"/>
                <a:gd name="T4" fmla="*/ 76 w 88"/>
                <a:gd name="T5" fmla="*/ 2 h 50"/>
                <a:gd name="T6" fmla="*/ 72 w 88"/>
                <a:gd name="T7" fmla="*/ 2 h 50"/>
                <a:gd name="T8" fmla="*/ 70 w 88"/>
                <a:gd name="T9" fmla="*/ 0 h 50"/>
                <a:gd name="T10" fmla="*/ 66 w 88"/>
                <a:gd name="T11" fmla="*/ 0 h 50"/>
                <a:gd name="T12" fmla="*/ 60 w 88"/>
                <a:gd name="T13" fmla="*/ 2 h 50"/>
                <a:gd name="T14" fmla="*/ 50 w 88"/>
                <a:gd name="T15" fmla="*/ 4 h 50"/>
                <a:gd name="T16" fmla="*/ 46 w 88"/>
                <a:gd name="T17" fmla="*/ 6 h 50"/>
                <a:gd name="T18" fmla="*/ 38 w 88"/>
                <a:gd name="T19" fmla="*/ 6 h 50"/>
                <a:gd name="T20" fmla="*/ 28 w 88"/>
                <a:gd name="T21" fmla="*/ 6 h 50"/>
                <a:gd name="T22" fmla="*/ 18 w 88"/>
                <a:gd name="T23" fmla="*/ 4 h 50"/>
                <a:gd name="T24" fmla="*/ 10 w 88"/>
                <a:gd name="T25" fmla="*/ 4 h 50"/>
                <a:gd name="T26" fmla="*/ 10 w 88"/>
                <a:gd name="T27" fmla="*/ 10 h 50"/>
                <a:gd name="T28" fmla="*/ 10 w 88"/>
                <a:gd name="T29" fmla="*/ 14 h 50"/>
                <a:gd name="T30" fmla="*/ 10 w 88"/>
                <a:gd name="T31" fmla="*/ 18 h 50"/>
                <a:gd name="T32" fmla="*/ 8 w 88"/>
                <a:gd name="T33" fmla="*/ 20 h 50"/>
                <a:gd name="T34" fmla="*/ 6 w 88"/>
                <a:gd name="T35" fmla="*/ 24 h 50"/>
                <a:gd name="T36" fmla="*/ 4 w 88"/>
                <a:gd name="T37" fmla="*/ 26 h 50"/>
                <a:gd name="T38" fmla="*/ 4 w 88"/>
                <a:gd name="T39" fmla="*/ 28 h 50"/>
                <a:gd name="T40" fmla="*/ 4 w 88"/>
                <a:gd name="T41" fmla="*/ 30 h 50"/>
                <a:gd name="T42" fmla="*/ 2 w 88"/>
                <a:gd name="T43" fmla="*/ 34 h 50"/>
                <a:gd name="T44" fmla="*/ 2 w 88"/>
                <a:gd name="T45" fmla="*/ 36 h 50"/>
                <a:gd name="T46" fmla="*/ 6 w 88"/>
                <a:gd name="T47" fmla="*/ 38 h 50"/>
                <a:gd name="T48" fmla="*/ 8 w 88"/>
                <a:gd name="T49" fmla="*/ 38 h 50"/>
                <a:gd name="T50" fmla="*/ 18 w 88"/>
                <a:gd name="T51" fmla="*/ 44 h 50"/>
                <a:gd name="T52" fmla="*/ 22 w 88"/>
                <a:gd name="T53" fmla="*/ 46 h 50"/>
                <a:gd name="T54" fmla="*/ 26 w 88"/>
                <a:gd name="T55" fmla="*/ 46 h 50"/>
                <a:gd name="T56" fmla="*/ 38 w 88"/>
                <a:gd name="T57" fmla="*/ 50 h 50"/>
                <a:gd name="T58" fmla="*/ 40 w 88"/>
                <a:gd name="T59" fmla="*/ 46 h 50"/>
                <a:gd name="T60" fmla="*/ 44 w 88"/>
                <a:gd name="T61" fmla="*/ 44 h 50"/>
                <a:gd name="T62" fmla="*/ 46 w 88"/>
                <a:gd name="T63" fmla="*/ 42 h 50"/>
                <a:gd name="T64" fmla="*/ 50 w 88"/>
                <a:gd name="T65" fmla="*/ 42 h 50"/>
                <a:gd name="T66" fmla="*/ 52 w 88"/>
                <a:gd name="T67" fmla="*/ 42 h 50"/>
                <a:gd name="T68" fmla="*/ 58 w 88"/>
                <a:gd name="T69" fmla="*/ 42 h 50"/>
                <a:gd name="T70" fmla="*/ 64 w 88"/>
                <a:gd name="T71" fmla="*/ 42 h 50"/>
                <a:gd name="T72" fmla="*/ 68 w 88"/>
                <a:gd name="T73" fmla="*/ 40 h 50"/>
                <a:gd name="T74" fmla="*/ 70 w 88"/>
                <a:gd name="T75" fmla="*/ 40 h 50"/>
                <a:gd name="T76" fmla="*/ 72 w 88"/>
                <a:gd name="T77" fmla="*/ 38 h 50"/>
                <a:gd name="T78" fmla="*/ 74 w 88"/>
                <a:gd name="T79" fmla="*/ 36 h 50"/>
                <a:gd name="T80" fmla="*/ 78 w 88"/>
                <a:gd name="T81" fmla="*/ 30 h 50"/>
                <a:gd name="T82" fmla="*/ 80 w 88"/>
                <a:gd name="T83" fmla="*/ 24 h 50"/>
                <a:gd name="T84" fmla="*/ 88 w 88"/>
                <a:gd name="T85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8" h="50">
                  <a:moveTo>
                    <a:pt x="88" y="12"/>
                  </a:moveTo>
                  <a:lnTo>
                    <a:pt x="88" y="12"/>
                  </a:lnTo>
                  <a:lnTo>
                    <a:pt x="84" y="8"/>
                  </a:lnTo>
                  <a:lnTo>
                    <a:pt x="80" y="6"/>
                  </a:lnTo>
                  <a:lnTo>
                    <a:pt x="78" y="4"/>
                  </a:lnTo>
                  <a:lnTo>
                    <a:pt x="76" y="2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60" y="2"/>
                  </a:lnTo>
                  <a:lnTo>
                    <a:pt x="58" y="2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28" y="6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8" y="20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2" y="34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30" y="48"/>
                  </a:lnTo>
                  <a:lnTo>
                    <a:pt x="38" y="50"/>
                  </a:lnTo>
                  <a:lnTo>
                    <a:pt x="38" y="48"/>
                  </a:lnTo>
                  <a:lnTo>
                    <a:pt x="40" y="46"/>
                  </a:lnTo>
                  <a:lnTo>
                    <a:pt x="42" y="44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6" y="42"/>
                  </a:lnTo>
                  <a:lnTo>
                    <a:pt x="48" y="42"/>
                  </a:lnTo>
                  <a:lnTo>
                    <a:pt x="50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6" y="42"/>
                  </a:lnTo>
                  <a:lnTo>
                    <a:pt x="58" y="42"/>
                  </a:lnTo>
                  <a:lnTo>
                    <a:pt x="60" y="42"/>
                  </a:lnTo>
                  <a:lnTo>
                    <a:pt x="64" y="42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4" y="38"/>
                  </a:lnTo>
                  <a:lnTo>
                    <a:pt x="74" y="36"/>
                  </a:lnTo>
                  <a:lnTo>
                    <a:pt x="76" y="34"/>
                  </a:lnTo>
                  <a:lnTo>
                    <a:pt x="78" y="30"/>
                  </a:lnTo>
                  <a:lnTo>
                    <a:pt x="80" y="26"/>
                  </a:lnTo>
                  <a:lnTo>
                    <a:pt x="80" y="24"/>
                  </a:lnTo>
                  <a:lnTo>
                    <a:pt x="82" y="22"/>
                  </a:lnTo>
                  <a:lnTo>
                    <a:pt x="88" y="1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00" name="Freeform 242">
              <a:extLst>
                <a:ext uri="{FF2B5EF4-FFF2-40B4-BE49-F238E27FC236}">
                  <a16:creationId xmlns:a16="http://schemas.microsoft.com/office/drawing/2014/main" id="{482AB380-B680-494F-9C4F-DE0660E80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0458" y="3126807"/>
              <a:ext cx="78587" cy="60175"/>
            </a:xfrm>
            <a:custGeom>
              <a:avLst/>
              <a:gdLst>
                <a:gd name="T0" fmla="*/ 2 w 46"/>
                <a:gd name="T1" fmla="*/ 2 h 36"/>
                <a:gd name="T2" fmla="*/ 2 w 46"/>
                <a:gd name="T3" fmla="*/ 2 h 36"/>
                <a:gd name="T4" fmla="*/ 2 w 46"/>
                <a:gd name="T5" fmla="*/ 4 h 36"/>
                <a:gd name="T6" fmla="*/ 0 w 46"/>
                <a:gd name="T7" fmla="*/ 6 h 36"/>
                <a:gd name="T8" fmla="*/ 0 w 46"/>
                <a:gd name="T9" fmla="*/ 8 h 36"/>
                <a:gd name="T10" fmla="*/ 0 w 46"/>
                <a:gd name="T11" fmla="*/ 8 h 36"/>
                <a:gd name="T12" fmla="*/ 0 w 46"/>
                <a:gd name="T13" fmla="*/ 10 h 36"/>
                <a:gd name="T14" fmla="*/ 0 w 46"/>
                <a:gd name="T15" fmla="*/ 12 h 36"/>
                <a:gd name="T16" fmla="*/ 0 w 46"/>
                <a:gd name="T17" fmla="*/ 12 h 36"/>
                <a:gd name="T18" fmla="*/ 2 w 46"/>
                <a:gd name="T19" fmla="*/ 12 h 36"/>
                <a:gd name="T20" fmla="*/ 2 w 46"/>
                <a:gd name="T21" fmla="*/ 14 h 36"/>
                <a:gd name="T22" fmla="*/ 4 w 46"/>
                <a:gd name="T23" fmla="*/ 14 h 36"/>
                <a:gd name="T24" fmla="*/ 6 w 46"/>
                <a:gd name="T25" fmla="*/ 14 h 36"/>
                <a:gd name="T26" fmla="*/ 10 w 46"/>
                <a:gd name="T27" fmla="*/ 16 h 36"/>
                <a:gd name="T28" fmla="*/ 10 w 46"/>
                <a:gd name="T29" fmla="*/ 16 h 36"/>
                <a:gd name="T30" fmla="*/ 12 w 46"/>
                <a:gd name="T31" fmla="*/ 18 h 36"/>
                <a:gd name="T32" fmla="*/ 12 w 46"/>
                <a:gd name="T33" fmla="*/ 18 h 36"/>
                <a:gd name="T34" fmla="*/ 14 w 46"/>
                <a:gd name="T35" fmla="*/ 20 h 36"/>
                <a:gd name="T36" fmla="*/ 14 w 46"/>
                <a:gd name="T37" fmla="*/ 24 h 36"/>
                <a:gd name="T38" fmla="*/ 16 w 46"/>
                <a:gd name="T39" fmla="*/ 26 h 36"/>
                <a:gd name="T40" fmla="*/ 16 w 46"/>
                <a:gd name="T41" fmla="*/ 28 h 36"/>
                <a:gd name="T42" fmla="*/ 18 w 46"/>
                <a:gd name="T43" fmla="*/ 28 h 36"/>
                <a:gd name="T44" fmla="*/ 18 w 46"/>
                <a:gd name="T45" fmla="*/ 30 h 36"/>
                <a:gd name="T46" fmla="*/ 18 w 46"/>
                <a:gd name="T47" fmla="*/ 30 h 36"/>
                <a:gd name="T48" fmla="*/ 18 w 46"/>
                <a:gd name="T49" fmla="*/ 30 h 36"/>
                <a:gd name="T50" fmla="*/ 20 w 46"/>
                <a:gd name="T51" fmla="*/ 30 h 36"/>
                <a:gd name="T52" fmla="*/ 22 w 46"/>
                <a:gd name="T53" fmla="*/ 32 h 36"/>
                <a:gd name="T54" fmla="*/ 24 w 46"/>
                <a:gd name="T55" fmla="*/ 34 h 36"/>
                <a:gd name="T56" fmla="*/ 28 w 46"/>
                <a:gd name="T57" fmla="*/ 34 h 36"/>
                <a:gd name="T58" fmla="*/ 32 w 46"/>
                <a:gd name="T59" fmla="*/ 36 h 36"/>
                <a:gd name="T60" fmla="*/ 34 w 46"/>
                <a:gd name="T61" fmla="*/ 36 h 36"/>
                <a:gd name="T62" fmla="*/ 34 w 46"/>
                <a:gd name="T63" fmla="*/ 34 h 36"/>
                <a:gd name="T64" fmla="*/ 36 w 46"/>
                <a:gd name="T65" fmla="*/ 30 h 36"/>
                <a:gd name="T66" fmla="*/ 36 w 46"/>
                <a:gd name="T67" fmla="*/ 30 h 36"/>
                <a:gd name="T68" fmla="*/ 36 w 46"/>
                <a:gd name="T69" fmla="*/ 28 h 36"/>
                <a:gd name="T70" fmla="*/ 38 w 46"/>
                <a:gd name="T71" fmla="*/ 28 h 36"/>
                <a:gd name="T72" fmla="*/ 38 w 46"/>
                <a:gd name="T73" fmla="*/ 26 h 36"/>
                <a:gd name="T74" fmla="*/ 42 w 46"/>
                <a:gd name="T75" fmla="*/ 22 h 36"/>
                <a:gd name="T76" fmla="*/ 46 w 46"/>
                <a:gd name="T77" fmla="*/ 18 h 36"/>
                <a:gd name="T78" fmla="*/ 36 w 46"/>
                <a:gd name="T79" fmla="*/ 14 h 36"/>
                <a:gd name="T80" fmla="*/ 36 w 46"/>
                <a:gd name="T81" fmla="*/ 12 h 36"/>
                <a:gd name="T82" fmla="*/ 36 w 46"/>
                <a:gd name="T83" fmla="*/ 8 h 36"/>
                <a:gd name="T84" fmla="*/ 36 w 46"/>
                <a:gd name="T85" fmla="*/ 6 h 36"/>
                <a:gd name="T86" fmla="*/ 36 w 46"/>
                <a:gd name="T87" fmla="*/ 4 h 36"/>
                <a:gd name="T88" fmla="*/ 34 w 46"/>
                <a:gd name="T89" fmla="*/ 2 h 36"/>
                <a:gd name="T90" fmla="*/ 34 w 46"/>
                <a:gd name="T91" fmla="*/ 2 h 36"/>
                <a:gd name="T92" fmla="*/ 34 w 46"/>
                <a:gd name="T93" fmla="*/ 2 h 36"/>
                <a:gd name="T94" fmla="*/ 34 w 46"/>
                <a:gd name="T95" fmla="*/ 0 h 36"/>
                <a:gd name="T96" fmla="*/ 32 w 46"/>
                <a:gd name="T97" fmla="*/ 0 h 36"/>
                <a:gd name="T98" fmla="*/ 30 w 46"/>
                <a:gd name="T99" fmla="*/ 0 h 36"/>
                <a:gd name="T100" fmla="*/ 30 w 46"/>
                <a:gd name="T101" fmla="*/ 0 h 36"/>
                <a:gd name="T102" fmla="*/ 26 w 46"/>
                <a:gd name="T103" fmla="*/ 0 h 36"/>
                <a:gd name="T104" fmla="*/ 24 w 46"/>
                <a:gd name="T105" fmla="*/ 0 h 36"/>
                <a:gd name="T106" fmla="*/ 24 w 46"/>
                <a:gd name="T107" fmla="*/ 0 h 36"/>
                <a:gd name="T108" fmla="*/ 22 w 46"/>
                <a:gd name="T109" fmla="*/ 0 h 36"/>
                <a:gd name="T110" fmla="*/ 20 w 46"/>
                <a:gd name="T111" fmla="*/ 2 h 36"/>
                <a:gd name="T112" fmla="*/ 16 w 46"/>
                <a:gd name="T113" fmla="*/ 2 h 36"/>
                <a:gd name="T114" fmla="*/ 2 w 46"/>
                <a:gd name="T115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" h="36">
                  <a:moveTo>
                    <a:pt x="2" y="2"/>
                  </a:moveTo>
                  <a:lnTo>
                    <a:pt x="2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20"/>
                  </a:lnTo>
                  <a:lnTo>
                    <a:pt x="14" y="24"/>
                  </a:lnTo>
                  <a:lnTo>
                    <a:pt x="16" y="26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2" y="32"/>
                  </a:lnTo>
                  <a:lnTo>
                    <a:pt x="24" y="34"/>
                  </a:lnTo>
                  <a:lnTo>
                    <a:pt x="28" y="34"/>
                  </a:lnTo>
                  <a:lnTo>
                    <a:pt x="32" y="36"/>
                  </a:lnTo>
                  <a:lnTo>
                    <a:pt x="34" y="36"/>
                  </a:lnTo>
                  <a:lnTo>
                    <a:pt x="34" y="34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28"/>
                  </a:lnTo>
                  <a:lnTo>
                    <a:pt x="38" y="28"/>
                  </a:lnTo>
                  <a:lnTo>
                    <a:pt x="38" y="26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36" y="14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01" name="Freeform 244">
              <a:extLst>
                <a:ext uri="{FF2B5EF4-FFF2-40B4-BE49-F238E27FC236}">
                  <a16:creationId xmlns:a16="http://schemas.microsoft.com/office/drawing/2014/main" id="{2E10C061-FBD8-4EA0-8DCF-647E2DB91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9046" y="3250498"/>
              <a:ext cx="82005" cy="50145"/>
            </a:xfrm>
            <a:custGeom>
              <a:avLst/>
              <a:gdLst>
                <a:gd name="T0" fmla="*/ 8 w 48"/>
                <a:gd name="T1" fmla="*/ 30 h 30"/>
                <a:gd name="T2" fmla="*/ 4 w 48"/>
                <a:gd name="T3" fmla="*/ 28 h 30"/>
                <a:gd name="T4" fmla="*/ 2 w 48"/>
                <a:gd name="T5" fmla="*/ 26 h 30"/>
                <a:gd name="T6" fmla="*/ 0 w 48"/>
                <a:gd name="T7" fmla="*/ 24 h 30"/>
                <a:gd name="T8" fmla="*/ 0 w 48"/>
                <a:gd name="T9" fmla="*/ 22 h 30"/>
                <a:gd name="T10" fmla="*/ 0 w 48"/>
                <a:gd name="T11" fmla="*/ 20 h 30"/>
                <a:gd name="T12" fmla="*/ 2 w 48"/>
                <a:gd name="T13" fmla="*/ 16 h 30"/>
                <a:gd name="T14" fmla="*/ 4 w 48"/>
                <a:gd name="T15" fmla="*/ 10 h 30"/>
                <a:gd name="T16" fmla="*/ 8 w 48"/>
                <a:gd name="T17" fmla="*/ 6 h 30"/>
                <a:gd name="T18" fmla="*/ 8 w 48"/>
                <a:gd name="T19" fmla="*/ 4 h 30"/>
                <a:gd name="T20" fmla="*/ 12 w 48"/>
                <a:gd name="T21" fmla="*/ 2 h 30"/>
                <a:gd name="T22" fmla="*/ 18 w 48"/>
                <a:gd name="T23" fmla="*/ 2 h 30"/>
                <a:gd name="T24" fmla="*/ 24 w 48"/>
                <a:gd name="T25" fmla="*/ 2 h 30"/>
                <a:gd name="T26" fmla="*/ 28 w 48"/>
                <a:gd name="T27" fmla="*/ 2 h 30"/>
                <a:gd name="T28" fmla="*/ 30 w 48"/>
                <a:gd name="T29" fmla="*/ 2 h 30"/>
                <a:gd name="T30" fmla="*/ 36 w 48"/>
                <a:gd name="T31" fmla="*/ 0 h 30"/>
                <a:gd name="T32" fmla="*/ 38 w 48"/>
                <a:gd name="T33" fmla="*/ 0 h 30"/>
                <a:gd name="T34" fmla="*/ 40 w 48"/>
                <a:gd name="T35" fmla="*/ 0 h 30"/>
                <a:gd name="T36" fmla="*/ 44 w 48"/>
                <a:gd name="T37" fmla="*/ 4 h 30"/>
                <a:gd name="T38" fmla="*/ 48 w 48"/>
                <a:gd name="T39" fmla="*/ 16 h 30"/>
                <a:gd name="T40" fmla="*/ 46 w 48"/>
                <a:gd name="T41" fmla="*/ 22 h 30"/>
                <a:gd name="T42" fmla="*/ 46 w 48"/>
                <a:gd name="T43" fmla="*/ 26 h 30"/>
                <a:gd name="T44" fmla="*/ 44 w 48"/>
                <a:gd name="T45" fmla="*/ 26 h 30"/>
                <a:gd name="T46" fmla="*/ 44 w 48"/>
                <a:gd name="T47" fmla="*/ 28 h 30"/>
                <a:gd name="T48" fmla="*/ 42 w 48"/>
                <a:gd name="T49" fmla="*/ 28 h 30"/>
                <a:gd name="T50" fmla="*/ 38 w 48"/>
                <a:gd name="T51" fmla="*/ 26 h 30"/>
                <a:gd name="T52" fmla="*/ 38 w 48"/>
                <a:gd name="T53" fmla="*/ 26 h 30"/>
                <a:gd name="T54" fmla="*/ 36 w 48"/>
                <a:gd name="T55" fmla="*/ 26 h 30"/>
                <a:gd name="T56" fmla="*/ 36 w 48"/>
                <a:gd name="T57" fmla="*/ 28 h 30"/>
                <a:gd name="T58" fmla="*/ 34 w 48"/>
                <a:gd name="T59" fmla="*/ 30 h 30"/>
                <a:gd name="T60" fmla="*/ 34 w 48"/>
                <a:gd name="T61" fmla="*/ 30 h 30"/>
                <a:gd name="T62" fmla="*/ 32 w 48"/>
                <a:gd name="T63" fmla="*/ 30 h 30"/>
                <a:gd name="T64" fmla="*/ 32 w 48"/>
                <a:gd name="T65" fmla="*/ 30 h 30"/>
                <a:gd name="T66" fmla="*/ 30 w 48"/>
                <a:gd name="T67" fmla="*/ 28 h 30"/>
                <a:gd name="T68" fmla="*/ 30 w 48"/>
                <a:gd name="T69" fmla="*/ 24 h 30"/>
                <a:gd name="T70" fmla="*/ 28 w 48"/>
                <a:gd name="T71" fmla="*/ 24 h 30"/>
                <a:gd name="T72" fmla="*/ 28 w 48"/>
                <a:gd name="T73" fmla="*/ 24 h 30"/>
                <a:gd name="T74" fmla="*/ 26 w 48"/>
                <a:gd name="T75" fmla="*/ 24 h 30"/>
                <a:gd name="T76" fmla="*/ 26 w 48"/>
                <a:gd name="T77" fmla="*/ 26 h 30"/>
                <a:gd name="T78" fmla="*/ 22 w 48"/>
                <a:gd name="T79" fmla="*/ 28 h 30"/>
                <a:gd name="T80" fmla="*/ 20 w 48"/>
                <a:gd name="T81" fmla="*/ 30 h 30"/>
                <a:gd name="T82" fmla="*/ 16 w 48"/>
                <a:gd name="T83" fmla="*/ 30 h 30"/>
                <a:gd name="T84" fmla="*/ 10 w 48"/>
                <a:gd name="T8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" h="30">
                  <a:moveTo>
                    <a:pt x="8" y="30"/>
                  </a:moveTo>
                  <a:lnTo>
                    <a:pt x="8" y="30"/>
                  </a:lnTo>
                  <a:lnTo>
                    <a:pt x="8" y="30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6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2"/>
                  </a:lnTo>
                  <a:lnTo>
                    <a:pt x="44" y="4"/>
                  </a:lnTo>
                  <a:lnTo>
                    <a:pt x="46" y="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6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0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8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28"/>
                  </a:lnTo>
                  <a:lnTo>
                    <a:pt x="30" y="28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18" y="30"/>
                  </a:lnTo>
                  <a:lnTo>
                    <a:pt x="16" y="30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8" y="3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02" name="Freeform 246">
              <a:extLst>
                <a:ext uri="{FF2B5EF4-FFF2-40B4-BE49-F238E27FC236}">
                  <a16:creationId xmlns:a16="http://schemas.microsoft.com/office/drawing/2014/main" id="{6C1D22C1-DD3C-4676-9CB6-8C5EAC0333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9796" y="2912856"/>
              <a:ext cx="71755" cy="106976"/>
            </a:xfrm>
            <a:custGeom>
              <a:avLst/>
              <a:gdLst>
                <a:gd name="T0" fmla="*/ 18 w 42"/>
                <a:gd name="T1" fmla="*/ 64 h 64"/>
                <a:gd name="T2" fmla="*/ 16 w 42"/>
                <a:gd name="T3" fmla="*/ 56 h 64"/>
                <a:gd name="T4" fmla="*/ 14 w 42"/>
                <a:gd name="T5" fmla="*/ 52 h 64"/>
                <a:gd name="T6" fmla="*/ 12 w 42"/>
                <a:gd name="T7" fmla="*/ 50 h 64"/>
                <a:gd name="T8" fmla="*/ 10 w 42"/>
                <a:gd name="T9" fmla="*/ 48 h 64"/>
                <a:gd name="T10" fmla="*/ 6 w 42"/>
                <a:gd name="T11" fmla="*/ 46 h 64"/>
                <a:gd name="T12" fmla="*/ 4 w 42"/>
                <a:gd name="T13" fmla="*/ 46 h 64"/>
                <a:gd name="T14" fmla="*/ 2 w 42"/>
                <a:gd name="T15" fmla="*/ 44 h 64"/>
                <a:gd name="T16" fmla="*/ 2 w 42"/>
                <a:gd name="T17" fmla="*/ 44 h 64"/>
                <a:gd name="T18" fmla="*/ 0 w 42"/>
                <a:gd name="T19" fmla="*/ 40 h 64"/>
                <a:gd name="T20" fmla="*/ 0 w 42"/>
                <a:gd name="T21" fmla="*/ 36 h 64"/>
                <a:gd name="T22" fmla="*/ 0 w 42"/>
                <a:gd name="T23" fmla="*/ 30 h 64"/>
                <a:gd name="T24" fmla="*/ 0 w 42"/>
                <a:gd name="T25" fmla="*/ 26 h 64"/>
                <a:gd name="T26" fmla="*/ 0 w 42"/>
                <a:gd name="T27" fmla="*/ 22 h 64"/>
                <a:gd name="T28" fmla="*/ 2 w 42"/>
                <a:gd name="T29" fmla="*/ 20 h 64"/>
                <a:gd name="T30" fmla="*/ 4 w 42"/>
                <a:gd name="T31" fmla="*/ 18 h 64"/>
                <a:gd name="T32" fmla="*/ 4 w 42"/>
                <a:gd name="T33" fmla="*/ 18 h 64"/>
                <a:gd name="T34" fmla="*/ 8 w 42"/>
                <a:gd name="T35" fmla="*/ 18 h 64"/>
                <a:gd name="T36" fmla="*/ 14 w 42"/>
                <a:gd name="T37" fmla="*/ 18 h 64"/>
                <a:gd name="T38" fmla="*/ 18 w 42"/>
                <a:gd name="T39" fmla="*/ 18 h 64"/>
                <a:gd name="T40" fmla="*/ 20 w 42"/>
                <a:gd name="T41" fmla="*/ 18 h 64"/>
                <a:gd name="T42" fmla="*/ 22 w 42"/>
                <a:gd name="T43" fmla="*/ 18 h 64"/>
                <a:gd name="T44" fmla="*/ 24 w 42"/>
                <a:gd name="T45" fmla="*/ 16 h 64"/>
                <a:gd name="T46" fmla="*/ 24 w 42"/>
                <a:gd name="T47" fmla="*/ 10 h 64"/>
                <a:gd name="T48" fmla="*/ 26 w 42"/>
                <a:gd name="T49" fmla="*/ 4 h 64"/>
                <a:gd name="T50" fmla="*/ 28 w 42"/>
                <a:gd name="T51" fmla="*/ 2 h 64"/>
                <a:gd name="T52" fmla="*/ 28 w 42"/>
                <a:gd name="T53" fmla="*/ 0 h 64"/>
                <a:gd name="T54" fmla="*/ 30 w 42"/>
                <a:gd name="T55" fmla="*/ 0 h 64"/>
                <a:gd name="T56" fmla="*/ 32 w 42"/>
                <a:gd name="T57" fmla="*/ 0 h 64"/>
                <a:gd name="T58" fmla="*/ 34 w 42"/>
                <a:gd name="T59" fmla="*/ 2 h 64"/>
                <a:gd name="T60" fmla="*/ 36 w 42"/>
                <a:gd name="T61" fmla="*/ 4 h 64"/>
                <a:gd name="T62" fmla="*/ 38 w 42"/>
                <a:gd name="T63" fmla="*/ 10 h 64"/>
                <a:gd name="T64" fmla="*/ 40 w 42"/>
                <a:gd name="T65" fmla="*/ 16 h 64"/>
                <a:gd name="T66" fmla="*/ 42 w 42"/>
                <a:gd name="T67" fmla="*/ 20 h 64"/>
                <a:gd name="T68" fmla="*/ 40 w 42"/>
                <a:gd name="T69" fmla="*/ 22 h 64"/>
                <a:gd name="T70" fmla="*/ 38 w 42"/>
                <a:gd name="T71" fmla="*/ 26 h 64"/>
                <a:gd name="T72" fmla="*/ 34 w 42"/>
                <a:gd name="T73" fmla="*/ 34 h 64"/>
                <a:gd name="T74" fmla="*/ 32 w 42"/>
                <a:gd name="T75" fmla="*/ 40 h 64"/>
                <a:gd name="T76" fmla="*/ 32 w 42"/>
                <a:gd name="T77" fmla="*/ 44 h 64"/>
                <a:gd name="T78" fmla="*/ 32 w 42"/>
                <a:gd name="T79" fmla="*/ 48 h 64"/>
                <a:gd name="T80" fmla="*/ 32 w 42"/>
                <a:gd name="T81" fmla="*/ 5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" h="64">
                  <a:moveTo>
                    <a:pt x="34" y="60"/>
                  </a:moveTo>
                  <a:lnTo>
                    <a:pt x="18" y="64"/>
                  </a:lnTo>
                  <a:lnTo>
                    <a:pt x="16" y="62"/>
                  </a:lnTo>
                  <a:lnTo>
                    <a:pt x="16" y="56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12" y="18"/>
                  </a:lnTo>
                  <a:lnTo>
                    <a:pt x="14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6" y="8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4"/>
                  </a:lnTo>
                  <a:lnTo>
                    <a:pt x="38" y="6"/>
                  </a:lnTo>
                  <a:lnTo>
                    <a:pt x="38" y="10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38" y="26"/>
                  </a:lnTo>
                  <a:lnTo>
                    <a:pt x="36" y="30"/>
                  </a:lnTo>
                  <a:lnTo>
                    <a:pt x="34" y="34"/>
                  </a:lnTo>
                  <a:lnTo>
                    <a:pt x="34" y="38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2" y="44"/>
                  </a:lnTo>
                  <a:lnTo>
                    <a:pt x="32" y="46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8"/>
                  </a:lnTo>
                  <a:lnTo>
                    <a:pt x="34" y="6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03" name="Freeform 248">
              <a:extLst>
                <a:ext uri="{FF2B5EF4-FFF2-40B4-BE49-F238E27FC236}">
                  <a16:creationId xmlns:a16="http://schemas.microsoft.com/office/drawing/2014/main" id="{A21A27D1-4782-4C0E-A66E-F079B4516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132" y="2896141"/>
              <a:ext cx="34169" cy="13373"/>
            </a:xfrm>
            <a:custGeom>
              <a:avLst/>
              <a:gdLst>
                <a:gd name="T0" fmla="*/ 2 w 20"/>
                <a:gd name="T1" fmla="*/ 8 h 8"/>
                <a:gd name="T2" fmla="*/ 2 w 20"/>
                <a:gd name="T3" fmla="*/ 8 h 8"/>
                <a:gd name="T4" fmla="*/ 2 w 20"/>
                <a:gd name="T5" fmla="*/ 8 h 8"/>
                <a:gd name="T6" fmla="*/ 2 w 20"/>
                <a:gd name="T7" fmla="*/ 6 h 8"/>
                <a:gd name="T8" fmla="*/ 0 w 20"/>
                <a:gd name="T9" fmla="*/ 6 h 8"/>
                <a:gd name="T10" fmla="*/ 2 w 20"/>
                <a:gd name="T11" fmla="*/ 4 h 8"/>
                <a:gd name="T12" fmla="*/ 2 w 20"/>
                <a:gd name="T13" fmla="*/ 4 h 8"/>
                <a:gd name="T14" fmla="*/ 2 w 20"/>
                <a:gd name="T15" fmla="*/ 2 h 8"/>
                <a:gd name="T16" fmla="*/ 2 w 20"/>
                <a:gd name="T17" fmla="*/ 2 h 8"/>
                <a:gd name="T18" fmla="*/ 4 w 20"/>
                <a:gd name="T19" fmla="*/ 0 h 8"/>
                <a:gd name="T20" fmla="*/ 4 w 20"/>
                <a:gd name="T21" fmla="*/ 0 h 8"/>
                <a:gd name="T22" fmla="*/ 4 w 20"/>
                <a:gd name="T23" fmla="*/ 0 h 8"/>
                <a:gd name="T24" fmla="*/ 6 w 20"/>
                <a:gd name="T25" fmla="*/ 0 h 8"/>
                <a:gd name="T26" fmla="*/ 8 w 20"/>
                <a:gd name="T27" fmla="*/ 0 h 8"/>
                <a:gd name="T28" fmla="*/ 8 w 20"/>
                <a:gd name="T29" fmla="*/ 0 h 8"/>
                <a:gd name="T30" fmla="*/ 12 w 20"/>
                <a:gd name="T31" fmla="*/ 0 h 8"/>
                <a:gd name="T32" fmla="*/ 14 w 20"/>
                <a:gd name="T33" fmla="*/ 0 h 8"/>
                <a:gd name="T34" fmla="*/ 14 w 20"/>
                <a:gd name="T35" fmla="*/ 0 h 8"/>
                <a:gd name="T36" fmla="*/ 18 w 20"/>
                <a:gd name="T37" fmla="*/ 0 h 8"/>
                <a:gd name="T38" fmla="*/ 18 w 20"/>
                <a:gd name="T39" fmla="*/ 0 h 8"/>
                <a:gd name="T40" fmla="*/ 20 w 20"/>
                <a:gd name="T41" fmla="*/ 0 h 8"/>
                <a:gd name="T42" fmla="*/ 20 w 20"/>
                <a:gd name="T43" fmla="*/ 0 h 8"/>
                <a:gd name="T44" fmla="*/ 20 w 20"/>
                <a:gd name="T45" fmla="*/ 0 h 8"/>
                <a:gd name="T46" fmla="*/ 20 w 20"/>
                <a:gd name="T47" fmla="*/ 0 h 8"/>
                <a:gd name="T48" fmla="*/ 20 w 20"/>
                <a:gd name="T49" fmla="*/ 0 h 8"/>
                <a:gd name="T50" fmla="*/ 20 w 20"/>
                <a:gd name="T51" fmla="*/ 2 h 8"/>
                <a:gd name="T52" fmla="*/ 18 w 20"/>
                <a:gd name="T53" fmla="*/ 2 h 8"/>
                <a:gd name="T54" fmla="*/ 18 w 20"/>
                <a:gd name="T55" fmla="*/ 4 h 8"/>
                <a:gd name="T56" fmla="*/ 16 w 20"/>
                <a:gd name="T57" fmla="*/ 4 h 8"/>
                <a:gd name="T58" fmla="*/ 16 w 20"/>
                <a:gd name="T59" fmla="*/ 6 h 8"/>
                <a:gd name="T60" fmla="*/ 14 w 20"/>
                <a:gd name="T61" fmla="*/ 6 h 8"/>
                <a:gd name="T62" fmla="*/ 12 w 20"/>
                <a:gd name="T63" fmla="*/ 6 h 8"/>
                <a:gd name="T64" fmla="*/ 10 w 20"/>
                <a:gd name="T65" fmla="*/ 8 h 8"/>
                <a:gd name="T66" fmla="*/ 10 w 20"/>
                <a:gd name="T67" fmla="*/ 8 h 8"/>
                <a:gd name="T68" fmla="*/ 8 w 20"/>
                <a:gd name="T69" fmla="*/ 8 h 8"/>
                <a:gd name="T70" fmla="*/ 6 w 20"/>
                <a:gd name="T71" fmla="*/ 8 h 8"/>
                <a:gd name="T72" fmla="*/ 4 w 20"/>
                <a:gd name="T73" fmla="*/ 8 h 8"/>
                <a:gd name="T74" fmla="*/ 4 w 20"/>
                <a:gd name="T75" fmla="*/ 8 h 8"/>
                <a:gd name="T76" fmla="*/ 2 w 20"/>
                <a:gd name="T77" fmla="*/ 8 h 8"/>
                <a:gd name="T78" fmla="*/ 2 w 20"/>
                <a:gd name="T7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" h="8"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04" name="Freeform 250">
              <a:extLst>
                <a:ext uri="{FF2B5EF4-FFF2-40B4-BE49-F238E27FC236}">
                  <a16:creationId xmlns:a16="http://schemas.microsoft.com/office/drawing/2014/main" id="{DE22417A-12BE-4B36-960A-58A563007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7792" y="3059947"/>
              <a:ext cx="75170" cy="90261"/>
            </a:xfrm>
            <a:custGeom>
              <a:avLst/>
              <a:gdLst>
                <a:gd name="T0" fmla="*/ 0 w 44"/>
                <a:gd name="T1" fmla="*/ 42 h 54"/>
                <a:gd name="T2" fmla="*/ 6 w 44"/>
                <a:gd name="T3" fmla="*/ 40 h 54"/>
                <a:gd name="T4" fmla="*/ 8 w 44"/>
                <a:gd name="T5" fmla="*/ 40 h 54"/>
                <a:gd name="T6" fmla="*/ 14 w 44"/>
                <a:gd name="T7" fmla="*/ 40 h 54"/>
                <a:gd name="T8" fmla="*/ 16 w 44"/>
                <a:gd name="T9" fmla="*/ 40 h 54"/>
                <a:gd name="T10" fmla="*/ 18 w 44"/>
                <a:gd name="T11" fmla="*/ 40 h 54"/>
                <a:gd name="T12" fmla="*/ 20 w 44"/>
                <a:gd name="T13" fmla="*/ 42 h 54"/>
                <a:gd name="T14" fmla="*/ 20 w 44"/>
                <a:gd name="T15" fmla="*/ 46 h 54"/>
                <a:gd name="T16" fmla="*/ 20 w 44"/>
                <a:gd name="T17" fmla="*/ 52 h 54"/>
                <a:gd name="T18" fmla="*/ 22 w 44"/>
                <a:gd name="T19" fmla="*/ 52 h 54"/>
                <a:gd name="T20" fmla="*/ 22 w 44"/>
                <a:gd name="T21" fmla="*/ 44 h 54"/>
                <a:gd name="T22" fmla="*/ 22 w 44"/>
                <a:gd name="T23" fmla="*/ 38 h 54"/>
                <a:gd name="T24" fmla="*/ 22 w 44"/>
                <a:gd name="T25" fmla="*/ 36 h 54"/>
                <a:gd name="T26" fmla="*/ 24 w 44"/>
                <a:gd name="T27" fmla="*/ 36 h 54"/>
                <a:gd name="T28" fmla="*/ 26 w 44"/>
                <a:gd name="T29" fmla="*/ 34 h 54"/>
                <a:gd name="T30" fmla="*/ 32 w 44"/>
                <a:gd name="T31" fmla="*/ 32 h 54"/>
                <a:gd name="T32" fmla="*/ 34 w 44"/>
                <a:gd name="T33" fmla="*/ 30 h 54"/>
                <a:gd name="T34" fmla="*/ 36 w 44"/>
                <a:gd name="T35" fmla="*/ 26 h 54"/>
                <a:gd name="T36" fmla="*/ 40 w 44"/>
                <a:gd name="T37" fmla="*/ 22 h 54"/>
                <a:gd name="T38" fmla="*/ 42 w 44"/>
                <a:gd name="T39" fmla="*/ 18 h 54"/>
                <a:gd name="T40" fmla="*/ 44 w 44"/>
                <a:gd name="T41" fmla="*/ 14 h 54"/>
                <a:gd name="T42" fmla="*/ 44 w 44"/>
                <a:gd name="T43" fmla="*/ 10 h 54"/>
                <a:gd name="T44" fmla="*/ 44 w 44"/>
                <a:gd name="T45" fmla="*/ 2 h 54"/>
                <a:gd name="T46" fmla="*/ 40 w 44"/>
                <a:gd name="T47" fmla="*/ 0 h 54"/>
                <a:gd name="T48" fmla="*/ 32 w 44"/>
                <a:gd name="T49" fmla="*/ 2 h 54"/>
                <a:gd name="T50" fmla="*/ 26 w 44"/>
                <a:gd name="T51" fmla="*/ 4 h 54"/>
                <a:gd name="T52" fmla="*/ 24 w 44"/>
                <a:gd name="T53" fmla="*/ 4 h 54"/>
                <a:gd name="T54" fmla="*/ 22 w 44"/>
                <a:gd name="T55" fmla="*/ 6 h 54"/>
                <a:gd name="T56" fmla="*/ 20 w 44"/>
                <a:gd name="T57" fmla="*/ 8 h 54"/>
                <a:gd name="T58" fmla="*/ 18 w 44"/>
                <a:gd name="T59" fmla="*/ 12 h 54"/>
                <a:gd name="T60" fmla="*/ 18 w 44"/>
                <a:gd name="T61" fmla="*/ 14 h 54"/>
                <a:gd name="T62" fmla="*/ 18 w 44"/>
                <a:gd name="T63" fmla="*/ 16 h 54"/>
                <a:gd name="T64" fmla="*/ 18 w 44"/>
                <a:gd name="T65" fmla="*/ 18 h 54"/>
                <a:gd name="T66" fmla="*/ 16 w 44"/>
                <a:gd name="T67" fmla="*/ 18 h 54"/>
                <a:gd name="T68" fmla="*/ 16 w 44"/>
                <a:gd name="T69" fmla="*/ 16 h 54"/>
                <a:gd name="T70" fmla="*/ 14 w 44"/>
                <a:gd name="T71" fmla="*/ 14 h 54"/>
                <a:gd name="T72" fmla="*/ 10 w 44"/>
                <a:gd name="T73" fmla="*/ 12 h 54"/>
                <a:gd name="T74" fmla="*/ 10 w 44"/>
                <a:gd name="T75" fmla="*/ 12 h 54"/>
                <a:gd name="T76" fmla="*/ 8 w 44"/>
                <a:gd name="T77" fmla="*/ 12 h 54"/>
                <a:gd name="T78" fmla="*/ 8 w 44"/>
                <a:gd name="T79" fmla="*/ 14 h 54"/>
                <a:gd name="T80" fmla="*/ 6 w 44"/>
                <a:gd name="T81" fmla="*/ 14 h 54"/>
                <a:gd name="T82" fmla="*/ 4 w 44"/>
                <a:gd name="T83" fmla="*/ 20 h 54"/>
                <a:gd name="T84" fmla="*/ 2 w 44"/>
                <a:gd name="T85" fmla="*/ 24 h 54"/>
                <a:gd name="T86" fmla="*/ 2 w 44"/>
                <a:gd name="T87" fmla="*/ 28 h 54"/>
                <a:gd name="T88" fmla="*/ 2 w 44"/>
                <a:gd name="T89" fmla="*/ 28 h 54"/>
                <a:gd name="T90" fmla="*/ 4 w 44"/>
                <a:gd name="T91" fmla="*/ 30 h 54"/>
                <a:gd name="T92" fmla="*/ 6 w 44"/>
                <a:gd name="T93" fmla="*/ 30 h 54"/>
                <a:gd name="T94" fmla="*/ 6 w 44"/>
                <a:gd name="T95" fmla="*/ 32 h 54"/>
                <a:gd name="T96" fmla="*/ 6 w 44"/>
                <a:gd name="T97" fmla="*/ 34 h 54"/>
                <a:gd name="T98" fmla="*/ 4 w 44"/>
                <a:gd name="T99" fmla="*/ 38 h 54"/>
                <a:gd name="T100" fmla="*/ 0 w 44"/>
                <a:gd name="T10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4" h="54">
                  <a:moveTo>
                    <a:pt x="0" y="42"/>
                  </a:moveTo>
                  <a:lnTo>
                    <a:pt x="0" y="42"/>
                  </a:lnTo>
                  <a:lnTo>
                    <a:pt x="4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2"/>
                  </a:lnTo>
                  <a:lnTo>
                    <a:pt x="20" y="42"/>
                  </a:lnTo>
                  <a:lnTo>
                    <a:pt x="20" y="44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2" y="54"/>
                  </a:lnTo>
                  <a:lnTo>
                    <a:pt x="22" y="52"/>
                  </a:lnTo>
                  <a:lnTo>
                    <a:pt x="22" y="46"/>
                  </a:lnTo>
                  <a:lnTo>
                    <a:pt x="22" y="44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0"/>
                  </a:lnTo>
                  <a:lnTo>
                    <a:pt x="34" y="30"/>
                  </a:lnTo>
                  <a:lnTo>
                    <a:pt x="34" y="28"/>
                  </a:lnTo>
                  <a:lnTo>
                    <a:pt x="36" y="26"/>
                  </a:lnTo>
                  <a:lnTo>
                    <a:pt x="40" y="24"/>
                  </a:lnTo>
                  <a:lnTo>
                    <a:pt x="40" y="22"/>
                  </a:lnTo>
                  <a:lnTo>
                    <a:pt x="42" y="20"/>
                  </a:lnTo>
                  <a:lnTo>
                    <a:pt x="42" y="18"/>
                  </a:lnTo>
                  <a:lnTo>
                    <a:pt x="42" y="16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2" y="6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2" y="40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05" name="Freeform 253">
              <a:extLst>
                <a:ext uri="{FF2B5EF4-FFF2-40B4-BE49-F238E27FC236}">
                  <a16:creationId xmlns:a16="http://schemas.microsoft.com/office/drawing/2014/main" id="{2D95E967-83EA-4A0D-B092-8C093F3FC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675" y="2571871"/>
              <a:ext cx="228929" cy="133720"/>
            </a:xfrm>
            <a:custGeom>
              <a:avLst/>
              <a:gdLst>
                <a:gd name="T0" fmla="*/ 38 w 134"/>
                <a:gd name="T1" fmla="*/ 14 h 80"/>
                <a:gd name="T2" fmla="*/ 34 w 134"/>
                <a:gd name="T3" fmla="*/ 10 h 80"/>
                <a:gd name="T4" fmla="*/ 28 w 134"/>
                <a:gd name="T5" fmla="*/ 2 h 80"/>
                <a:gd name="T6" fmla="*/ 22 w 134"/>
                <a:gd name="T7" fmla="*/ 0 h 80"/>
                <a:gd name="T8" fmla="*/ 16 w 134"/>
                <a:gd name="T9" fmla="*/ 2 h 80"/>
                <a:gd name="T10" fmla="*/ 8 w 134"/>
                <a:gd name="T11" fmla="*/ 8 h 80"/>
                <a:gd name="T12" fmla="*/ 4 w 134"/>
                <a:gd name="T13" fmla="*/ 18 h 80"/>
                <a:gd name="T14" fmla="*/ 0 w 134"/>
                <a:gd name="T15" fmla="*/ 24 h 80"/>
                <a:gd name="T16" fmla="*/ 0 w 134"/>
                <a:gd name="T17" fmla="*/ 32 h 80"/>
                <a:gd name="T18" fmla="*/ 2 w 134"/>
                <a:gd name="T19" fmla="*/ 36 h 80"/>
                <a:gd name="T20" fmla="*/ 4 w 134"/>
                <a:gd name="T21" fmla="*/ 38 h 80"/>
                <a:gd name="T22" fmla="*/ 12 w 134"/>
                <a:gd name="T23" fmla="*/ 36 h 80"/>
                <a:gd name="T24" fmla="*/ 22 w 134"/>
                <a:gd name="T25" fmla="*/ 32 h 80"/>
                <a:gd name="T26" fmla="*/ 28 w 134"/>
                <a:gd name="T27" fmla="*/ 32 h 80"/>
                <a:gd name="T28" fmla="*/ 30 w 134"/>
                <a:gd name="T29" fmla="*/ 34 h 80"/>
                <a:gd name="T30" fmla="*/ 30 w 134"/>
                <a:gd name="T31" fmla="*/ 42 h 80"/>
                <a:gd name="T32" fmla="*/ 28 w 134"/>
                <a:gd name="T33" fmla="*/ 52 h 80"/>
                <a:gd name="T34" fmla="*/ 22 w 134"/>
                <a:gd name="T35" fmla="*/ 58 h 80"/>
                <a:gd name="T36" fmla="*/ 20 w 134"/>
                <a:gd name="T37" fmla="*/ 64 h 80"/>
                <a:gd name="T38" fmla="*/ 20 w 134"/>
                <a:gd name="T39" fmla="*/ 66 h 80"/>
                <a:gd name="T40" fmla="*/ 26 w 134"/>
                <a:gd name="T41" fmla="*/ 66 h 80"/>
                <a:gd name="T42" fmla="*/ 38 w 134"/>
                <a:gd name="T43" fmla="*/ 60 h 80"/>
                <a:gd name="T44" fmla="*/ 42 w 134"/>
                <a:gd name="T45" fmla="*/ 60 h 80"/>
                <a:gd name="T46" fmla="*/ 54 w 134"/>
                <a:gd name="T47" fmla="*/ 64 h 80"/>
                <a:gd name="T48" fmla="*/ 66 w 134"/>
                <a:gd name="T49" fmla="*/ 70 h 80"/>
                <a:gd name="T50" fmla="*/ 70 w 134"/>
                <a:gd name="T51" fmla="*/ 78 h 80"/>
                <a:gd name="T52" fmla="*/ 72 w 134"/>
                <a:gd name="T53" fmla="*/ 80 h 80"/>
                <a:gd name="T54" fmla="*/ 76 w 134"/>
                <a:gd name="T55" fmla="*/ 80 h 80"/>
                <a:gd name="T56" fmla="*/ 80 w 134"/>
                <a:gd name="T57" fmla="*/ 74 h 80"/>
                <a:gd name="T58" fmla="*/ 90 w 134"/>
                <a:gd name="T59" fmla="*/ 62 h 80"/>
                <a:gd name="T60" fmla="*/ 94 w 134"/>
                <a:gd name="T61" fmla="*/ 60 h 80"/>
                <a:gd name="T62" fmla="*/ 102 w 134"/>
                <a:gd name="T63" fmla="*/ 60 h 80"/>
                <a:gd name="T64" fmla="*/ 110 w 134"/>
                <a:gd name="T65" fmla="*/ 60 h 80"/>
                <a:gd name="T66" fmla="*/ 118 w 134"/>
                <a:gd name="T67" fmla="*/ 56 h 80"/>
                <a:gd name="T68" fmla="*/ 126 w 134"/>
                <a:gd name="T69" fmla="*/ 48 h 80"/>
                <a:gd name="T70" fmla="*/ 132 w 134"/>
                <a:gd name="T71" fmla="*/ 40 h 80"/>
                <a:gd name="T72" fmla="*/ 132 w 134"/>
                <a:gd name="T73" fmla="*/ 30 h 80"/>
                <a:gd name="T74" fmla="*/ 132 w 134"/>
                <a:gd name="T75" fmla="*/ 18 h 80"/>
                <a:gd name="T76" fmla="*/ 130 w 134"/>
                <a:gd name="T77" fmla="*/ 8 h 80"/>
                <a:gd name="T78" fmla="*/ 128 w 134"/>
                <a:gd name="T79" fmla="*/ 4 h 80"/>
                <a:gd name="T80" fmla="*/ 122 w 134"/>
                <a:gd name="T81" fmla="*/ 2 h 80"/>
                <a:gd name="T82" fmla="*/ 112 w 134"/>
                <a:gd name="T83" fmla="*/ 2 h 80"/>
                <a:gd name="T84" fmla="*/ 100 w 134"/>
                <a:gd name="T85" fmla="*/ 4 h 80"/>
                <a:gd name="T86" fmla="*/ 84 w 134"/>
                <a:gd name="T87" fmla="*/ 10 h 80"/>
                <a:gd name="T88" fmla="*/ 76 w 134"/>
                <a:gd name="T89" fmla="*/ 12 h 80"/>
                <a:gd name="T90" fmla="*/ 68 w 134"/>
                <a:gd name="T91" fmla="*/ 8 h 80"/>
                <a:gd name="T92" fmla="*/ 56 w 134"/>
                <a:gd name="T93" fmla="*/ 2 h 80"/>
                <a:gd name="T94" fmla="*/ 50 w 134"/>
                <a:gd name="T95" fmla="*/ 2 h 80"/>
                <a:gd name="T96" fmla="*/ 48 w 134"/>
                <a:gd name="T97" fmla="*/ 4 h 80"/>
                <a:gd name="T98" fmla="*/ 42 w 134"/>
                <a:gd name="T99" fmla="*/ 12 h 80"/>
                <a:gd name="T100" fmla="*/ 40 w 134"/>
                <a:gd name="T101" fmla="*/ 1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4" h="80">
                  <a:moveTo>
                    <a:pt x="40" y="14"/>
                  </a:moveTo>
                  <a:lnTo>
                    <a:pt x="40" y="14"/>
                  </a:lnTo>
                  <a:lnTo>
                    <a:pt x="40" y="14"/>
                  </a:lnTo>
                  <a:lnTo>
                    <a:pt x="38" y="14"/>
                  </a:lnTo>
                  <a:lnTo>
                    <a:pt x="36" y="14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2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8" y="38"/>
                  </a:lnTo>
                  <a:lnTo>
                    <a:pt x="10" y="36"/>
                  </a:lnTo>
                  <a:lnTo>
                    <a:pt x="12" y="36"/>
                  </a:lnTo>
                  <a:lnTo>
                    <a:pt x="16" y="34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2" y="32"/>
                  </a:lnTo>
                  <a:lnTo>
                    <a:pt x="24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4"/>
                  </a:lnTo>
                  <a:lnTo>
                    <a:pt x="30" y="34"/>
                  </a:lnTo>
                  <a:lnTo>
                    <a:pt x="30" y="36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42"/>
                  </a:lnTo>
                  <a:lnTo>
                    <a:pt x="30" y="44"/>
                  </a:lnTo>
                  <a:lnTo>
                    <a:pt x="28" y="48"/>
                  </a:lnTo>
                  <a:lnTo>
                    <a:pt x="28" y="50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4"/>
                  </a:lnTo>
                  <a:lnTo>
                    <a:pt x="26" y="56"/>
                  </a:lnTo>
                  <a:lnTo>
                    <a:pt x="22" y="58"/>
                  </a:lnTo>
                  <a:lnTo>
                    <a:pt x="22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2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8" y="66"/>
                  </a:lnTo>
                  <a:lnTo>
                    <a:pt x="30" y="64"/>
                  </a:lnTo>
                  <a:lnTo>
                    <a:pt x="34" y="62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40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6" y="60"/>
                  </a:lnTo>
                  <a:lnTo>
                    <a:pt x="48" y="62"/>
                  </a:lnTo>
                  <a:lnTo>
                    <a:pt x="52" y="62"/>
                  </a:lnTo>
                  <a:lnTo>
                    <a:pt x="54" y="64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4" y="68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6" y="80"/>
                  </a:lnTo>
                  <a:lnTo>
                    <a:pt x="76" y="78"/>
                  </a:lnTo>
                  <a:lnTo>
                    <a:pt x="78" y="78"/>
                  </a:lnTo>
                  <a:lnTo>
                    <a:pt x="80" y="76"/>
                  </a:lnTo>
                  <a:lnTo>
                    <a:pt x="80" y="74"/>
                  </a:lnTo>
                  <a:lnTo>
                    <a:pt x="84" y="70"/>
                  </a:lnTo>
                  <a:lnTo>
                    <a:pt x="86" y="68"/>
                  </a:lnTo>
                  <a:lnTo>
                    <a:pt x="88" y="64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92" y="60"/>
                  </a:lnTo>
                  <a:lnTo>
                    <a:pt x="92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2" y="60"/>
                  </a:lnTo>
                  <a:lnTo>
                    <a:pt x="104" y="60"/>
                  </a:lnTo>
                  <a:lnTo>
                    <a:pt x="106" y="60"/>
                  </a:lnTo>
                  <a:lnTo>
                    <a:pt x="108" y="60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12" y="58"/>
                  </a:lnTo>
                  <a:lnTo>
                    <a:pt x="114" y="58"/>
                  </a:lnTo>
                  <a:lnTo>
                    <a:pt x="118" y="56"/>
                  </a:lnTo>
                  <a:lnTo>
                    <a:pt x="120" y="54"/>
                  </a:lnTo>
                  <a:lnTo>
                    <a:pt x="122" y="52"/>
                  </a:lnTo>
                  <a:lnTo>
                    <a:pt x="124" y="50"/>
                  </a:lnTo>
                  <a:lnTo>
                    <a:pt x="126" y="48"/>
                  </a:lnTo>
                  <a:lnTo>
                    <a:pt x="128" y="48"/>
                  </a:lnTo>
                  <a:lnTo>
                    <a:pt x="130" y="46"/>
                  </a:lnTo>
                  <a:lnTo>
                    <a:pt x="130" y="42"/>
                  </a:lnTo>
                  <a:lnTo>
                    <a:pt x="132" y="40"/>
                  </a:lnTo>
                  <a:lnTo>
                    <a:pt x="132" y="38"/>
                  </a:lnTo>
                  <a:lnTo>
                    <a:pt x="132" y="34"/>
                  </a:lnTo>
                  <a:lnTo>
                    <a:pt x="132" y="32"/>
                  </a:lnTo>
                  <a:lnTo>
                    <a:pt x="132" y="30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2" y="22"/>
                  </a:lnTo>
                  <a:lnTo>
                    <a:pt x="132" y="18"/>
                  </a:lnTo>
                  <a:lnTo>
                    <a:pt x="132" y="14"/>
                  </a:lnTo>
                  <a:lnTo>
                    <a:pt x="132" y="12"/>
                  </a:lnTo>
                  <a:lnTo>
                    <a:pt x="132" y="10"/>
                  </a:lnTo>
                  <a:lnTo>
                    <a:pt x="130" y="8"/>
                  </a:lnTo>
                  <a:lnTo>
                    <a:pt x="130" y="8"/>
                  </a:lnTo>
                  <a:lnTo>
                    <a:pt x="130" y="6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6" y="4"/>
                  </a:lnTo>
                  <a:lnTo>
                    <a:pt x="124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0" y="2"/>
                  </a:lnTo>
                  <a:lnTo>
                    <a:pt x="116" y="2"/>
                  </a:lnTo>
                  <a:lnTo>
                    <a:pt x="112" y="2"/>
                  </a:lnTo>
                  <a:lnTo>
                    <a:pt x="108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0" y="4"/>
                  </a:lnTo>
                  <a:lnTo>
                    <a:pt x="98" y="6"/>
                  </a:lnTo>
                  <a:lnTo>
                    <a:pt x="90" y="8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78" y="12"/>
                  </a:lnTo>
                  <a:lnTo>
                    <a:pt x="76" y="12"/>
                  </a:lnTo>
                  <a:lnTo>
                    <a:pt x="74" y="12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4" y="10"/>
                  </a:lnTo>
                  <a:lnTo>
                    <a:pt x="42" y="12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0" y="1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06" name="Freeform 254">
              <a:extLst>
                <a:ext uri="{FF2B5EF4-FFF2-40B4-BE49-F238E27FC236}">
                  <a16:creationId xmlns:a16="http://schemas.microsoft.com/office/drawing/2014/main" id="{8EE51CC6-B334-4030-97A5-666386B63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314" y="2859367"/>
              <a:ext cx="201595" cy="93604"/>
            </a:xfrm>
            <a:custGeom>
              <a:avLst/>
              <a:gdLst>
                <a:gd name="T0" fmla="*/ 86 w 118"/>
                <a:gd name="T1" fmla="*/ 56 h 56"/>
                <a:gd name="T2" fmla="*/ 86 w 118"/>
                <a:gd name="T3" fmla="*/ 48 h 56"/>
                <a:gd name="T4" fmla="*/ 84 w 118"/>
                <a:gd name="T5" fmla="*/ 46 h 56"/>
                <a:gd name="T6" fmla="*/ 80 w 118"/>
                <a:gd name="T7" fmla="*/ 42 h 56"/>
                <a:gd name="T8" fmla="*/ 72 w 118"/>
                <a:gd name="T9" fmla="*/ 38 h 56"/>
                <a:gd name="T10" fmla="*/ 62 w 118"/>
                <a:gd name="T11" fmla="*/ 34 h 56"/>
                <a:gd name="T12" fmla="*/ 56 w 118"/>
                <a:gd name="T13" fmla="*/ 34 h 56"/>
                <a:gd name="T14" fmla="*/ 50 w 118"/>
                <a:gd name="T15" fmla="*/ 36 h 56"/>
                <a:gd name="T16" fmla="*/ 46 w 118"/>
                <a:gd name="T17" fmla="*/ 40 h 56"/>
                <a:gd name="T18" fmla="*/ 34 w 118"/>
                <a:gd name="T19" fmla="*/ 48 h 56"/>
                <a:gd name="T20" fmla="*/ 28 w 118"/>
                <a:gd name="T21" fmla="*/ 52 h 56"/>
                <a:gd name="T22" fmla="*/ 24 w 118"/>
                <a:gd name="T23" fmla="*/ 54 h 56"/>
                <a:gd name="T24" fmla="*/ 12 w 118"/>
                <a:gd name="T25" fmla="*/ 54 h 56"/>
                <a:gd name="T26" fmla="*/ 2 w 118"/>
                <a:gd name="T27" fmla="*/ 50 h 56"/>
                <a:gd name="T28" fmla="*/ 0 w 118"/>
                <a:gd name="T29" fmla="*/ 38 h 56"/>
                <a:gd name="T30" fmla="*/ 0 w 118"/>
                <a:gd name="T31" fmla="*/ 30 h 56"/>
                <a:gd name="T32" fmla="*/ 2 w 118"/>
                <a:gd name="T33" fmla="*/ 26 h 56"/>
                <a:gd name="T34" fmla="*/ 6 w 118"/>
                <a:gd name="T35" fmla="*/ 22 h 56"/>
                <a:gd name="T36" fmla="*/ 8 w 118"/>
                <a:gd name="T37" fmla="*/ 18 h 56"/>
                <a:gd name="T38" fmla="*/ 10 w 118"/>
                <a:gd name="T39" fmla="*/ 18 h 56"/>
                <a:gd name="T40" fmla="*/ 14 w 118"/>
                <a:gd name="T41" fmla="*/ 20 h 56"/>
                <a:gd name="T42" fmla="*/ 16 w 118"/>
                <a:gd name="T43" fmla="*/ 22 h 56"/>
                <a:gd name="T44" fmla="*/ 20 w 118"/>
                <a:gd name="T45" fmla="*/ 32 h 56"/>
                <a:gd name="T46" fmla="*/ 22 w 118"/>
                <a:gd name="T47" fmla="*/ 34 h 56"/>
                <a:gd name="T48" fmla="*/ 26 w 118"/>
                <a:gd name="T49" fmla="*/ 36 h 56"/>
                <a:gd name="T50" fmla="*/ 32 w 118"/>
                <a:gd name="T51" fmla="*/ 36 h 56"/>
                <a:gd name="T52" fmla="*/ 36 w 118"/>
                <a:gd name="T53" fmla="*/ 36 h 56"/>
                <a:gd name="T54" fmla="*/ 38 w 118"/>
                <a:gd name="T55" fmla="*/ 34 h 56"/>
                <a:gd name="T56" fmla="*/ 40 w 118"/>
                <a:gd name="T57" fmla="*/ 28 h 56"/>
                <a:gd name="T58" fmla="*/ 42 w 118"/>
                <a:gd name="T59" fmla="*/ 20 h 56"/>
                <a:gd name="T60" fmla="*/ 40 w 118"/>
                <a:gd name="T61" fmla="*/ 18 h 56"/>
                <a:gd name="T62" fmla="*/ 38 w 118"/>
                <a:gd name="T63" fmla="*/ 16 h 56"/>
                <a:gd name="T64" fmla="*/ 30 w 118"/>
                <a:gd name="T65" fmla="*/ 14 h 56"/>
                <a:gd name="T66" fmla="*/ 28 w 118"/>
                <a:gd name="T67" fmla="*/ 14 h 56"/>
                <a:gd name="T68" fmla="*/ 26 w 118"/>
                <a:gd name="T69" fmla="*/ 8 h 56"/>
                <a:gd name="T70" fmla="*/ 28 w 118"/>
                <a:gd name="T71" fmla="*/ 2 h 56"/>
                <a:gd name="T72" fmla="*/ 40 w 118"/>
                <a:gd name="T73" fmla="*/ 0 h 56"/>
                <a:gd name="T74" fmla="*/ 50 w 118"/>
                <a:gd name="T75" fmla="*/ 0 h 56"/>
                <a:gd name="T76" fmla="*/ 54 w 118"/>
                <a:gd name="T77" fmla="*/ 0 h 56"/>
                <a:gd name="T78" fmla="*/ 58 w 118"/>
                <a:gd name="T79" fmla="*/ 4 h 56"/>
                <a:gd name="T80" fmla="*/ 64 w 118"/>
                <a:gd name="T81" fmla="*/ 10 h 56"/>
                <a:gd name="T82" fmla="*/ 66 w 118"/>
                <a:gd name="T83" fmla="*/ 12 h 56"/>
                <a:gd name="T84" fmla="*/ 74 w 118"/>
                <a:gd name="T85" fmla="*/ 14 h 56"/>
                <a:gd name="T86" fmla="*/ 92 w 118"/>
                <a:gd name="T87" fmla="*/ 14 h 56"/>
                <a:gd name="T88" fmla="*/ 116 w 118"/>
                <a:gd name="T89" fmla="*/ 36 h 56"/>
                <a:gd name="T90" fmla="*/ 110 w 118"/>
                <a:gd name="T91" fmla="*/ 40 h 56"/>
                <a:gd name="T92" fmla="*/ 106 w 118"/>
                <a:gd name="T93" fmla="*/ 42 h 56"/>
                <a:gd name="T94" fmla="*/ 104 w 118"/>
                <a:gd name="T95" fmla="*/ 40 h 56"/>
                <a:gd name="T96" fmla="*/ 98 w 118"/>
                <a:gd name="T97" fmla="*/ 38 h 56"/>
                <a:gd name="T98" fmla="*/ 94 w 118"/>
                <a:gd name="T99" fmla="*/ 36 h 56"/>
                <a:gd name="T100" fmla="*/ 92 w 118"/>
                <a:gd name="T101" fmla="*/ 38 h 56"/>
                <a:gd name="T102" fmla="*/ 90 w 118"/>
                <a:gd name="T103" fmla="*/ 40 h 56"/>
                <a:gd name="T104" fmla="*/ 88 w 118"/>
                <a:gd name="T105" fmla="*/ 48 h 56"/>
                <a:gd name="T106" fmla="*/ 86 w 118"/>
                <a:gd name="T10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8" h="56">
                  <a:moveTo>
                    <a:pt x="86" y="56"/>
                  </a:moveTo>
                  <a:lnTo>
                    <a:pt x="86" y="56"/>
                  </a:lnTo>
                  <a:lnTo>
                    <a:pt x="86" y="56"/>
                  </a:lnTo>
                  <a:lnTo>
                    <a:pt x="86" y="52"/>
                  </a:lnTo>
                  <a:lnTo>
                    <a:pt x="86" y="50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78" y="40"/>
                  </a:lnTo>
                  <a:lnTo>
                    <a:pt x="76" y="40"/>
                  </a:lnTo>
                  <a:lnTo>
                    <a:pt x="72" y="38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2" y="34"/>
                  </a:lnTo>
                  <a:lnTo>
                    <a:pt x="60" y="34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4" y="34"/>
                  </a:lnTo>
                  <a:lnTo>
                    <a:pt x="52" y="36"/>
                  </a:lnTo>
                  <a:lnTo>
                    <a:pt x="50" y="36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6" y="40"/>
                  </a:lnTo>
                  <a:lnTo>
                    <a:pt x="42" y="42"/>
                  </a:lnTo>
                  <a:lnTo>
                    <a:pt x="38" y="46"/>
                  </a:lnTo>
                  <a:lnTo>
                    <a:pt x="34" y="48"/>
                  </a:lnTo>
                  <a:lnTo>
                    <a:pt x="32" y="50"/>
                  </a:lnTo>
                  <a:lnTo>
                    <a:pt x="30" y="52"/>
                  </a:lnTo>
                  <a:lnTo>
                    <a:pt x="28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20" y="54"/>
                  </a:lnTo>
                  <a:lnTo>
                    <a:pt x="16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6" y="22"/>
                  </a:lnTo>
                  <a:lnTo>
                    <a:pt x="16" y="26"/>
                  </a:lnTo>
                  <a:lnTo>
                    <a:pt x="18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4" y="36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30" y="36"/>
                  </a:lnTo>
                  <a:lnTo>
                    <a:pt x="32" y="36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40" y="32"/>
                  </a:lnTo>
                  <a:lnTo>
                    <a:pt x="40" y="30"/>
                  </a:lnTo>
                  <a:lnTo>
                    <a:pt x="40" y="28"/>
                  </a:lnTo>
                  <a:lnTo>
                    <a:pt x="42" y="26"/>
                  </a:lnTo>
                  <a:lnTo>
                    <a:pt x="42" y="22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8" y="14"/>
                  </a:lnTo>
                  <a:lnTo>
                    <a:pt x="28" y="12"/>
                  </a:lnTo>
                  <a:lnTo>
                    <a:pt x="28" y="10"/>
                  </a:lnTo>
                  <a:lnTo>
                    <a:pt x="26" y="8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8" y="2"/>
                  </a:lnTo>
                  <a:lnTo>
                    <a:pt x="32" y="2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6" y="2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2" y="8"/>
                  </a:lnTo>
                  <a:lnTo>
                    <a:pt x="64" y="10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8" y="12"/>
                  </a:lnTo>
                  <a:lnTo>
                    <a:pt x="70" y="14"/>
                  </a:lnTo>
                  <a:lnTo>
                    <a:pt x="74" y="14"/>
                  </a:lnTo>
                  <a:lnTo>
                    <a:pt x="78" y="14"/>
                  </a:lnTo>
                  <a:lnTo>
                    <a:pt x="84" y="14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118" y="34"/>
                  </a:lnTo>
                  <a:lnTo>
                    <a:pt x="116" y="36"/>
                  </a:lnTo>
                  <a:lnTo>
                    <a:pt x="114" y="38"/>
                  </a:lnTo>
                  <a:lnTo>
                    <a:pt x="112" y="40"/>
                  </a:lnTo>
                  <a:lnTo>
                    <a:pt x="110" y="40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2" y="40"/>
                  </a:lnTo>
                  <a:lnTo>
                    <a:pt x="100" y="38"/>
                  </a:lnTo>
                  <a:lnTo>
                    <a:pt x="98" y="38"/>
                  </a:lnTo>
                  <a:lnTo>
                    <a:pt x="96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8"/>
                  </a:lnTo>
                  <a:lnTo>
                    <a:pt x="90" y="38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6" y="50"/>
                  </a:lnTo>
                  <a:lnTo>
                    <a:pt x="86" y="54"/>
                  </a:lnTo>
                  <a:lnTo>
                    <a:pt x="86" y="5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07" name="Freeform 256">
              <a:extLst>
                <a:ext uri="{FF2B5EF4-FFF2-40B4-BE49-F238E27FC236}">
                  <a16:creationId xmlns:a16="http://schemas.microsoft.com/office/drawing/2014/main" id="{82E4225C-FDF3-4351-82DE-803696041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065" y="3357476"/>
              <a:ext cx="136674" cy="103634"/>
            </a:xfrm>
            <a:custGeom>
              <a:avLst/>
              <a:gdLst>
                <a:gd name="T0" fmla="*/ 44 w 80"/>
                <a:gd name="T1" fmla="*/ 54 h 62"/>
                <a:gd name="T2" fmla="*/ 40 w 80"/>
                <a:gd name="T3" fmla="*/ 54 h 62"/>
                <a:gd name="T4" fmla="*/ 36 w 80"/>
                <a:gd name="T5" fmla="*/ 58 h 62"/>
                <a:gd name="T6" fmla="*/ 32 w 80"/>
                <a:gd name="T7" fmla="*/ 62 h 62"/>
                <a:gd name="T8" fmla="*/ 28 w 80"/>
                <a:gd name="T9" fmla="*/ 62 h 62"/>
                <a:gd name="T10" fmla="*/ 20 w 80"/>
                <a:gd name="T11" fmla="*/ 58 h 62"/>
                <a:gd name="T12" fmla="*/ 16 w 80"/>
                <a:gd name="T13" fmla="*/ 58 h 62"/>
                <a:gd name="T14" fmla="*/ 10 w 80"/>
                <a:gd name="T15" fmla="*/ 46 h 62"/>
                <a:gd name="T16" fmla="*/ 8 w 80"/>
                <a:gd name="T17" fmla="*/ 36 h 62"/>
                <a:gd name="T18" fmla="*/ 8 w 80"/>
                <a:gd name="T19" fmla="*/ 32 h 62"/>
                <a:gd name="T20" fmla="*/ 2 w 80"/>
                <a:gd name="T21" fmla="*/ 22 h 62"/>
                <a:gd name="T22" fmla="*/ 0 w 80"/>
                <a:gd name="T23" fmla="*/ 16 h 62"/>
                <a:gd name="T24" fmla="*/ 0 w 80"/>
                <a:gd name="T25" fmla="*/ 12 h 62"/>
                <a:gd name="T26" fmla="*/ 0 w 80"/>
                <a:gd name="T27" fmla="*/ 10 h 62"/>
                <a:gd name="T28" fmla="*/ 6 w 80"/>
                <a:gd name="T29" fmla="*/ 6 h 62"/>
                <a:gd name="T30" fmla="*/ 12 w 80"/>
                <a:gd name="T31" fmla="*/ 2 h 62"/>
                <a:gd name="T32" fmla="*/ 16 w 80"/>
                <a:gd name="T33" fmla="*/ 6 h 62"/>
                <a:gd name="T34" fmla="*/ 18 w 80"/>
                <a:gd name="T35" fmla="*/ 6 h 62"/>
                <a:gd name="T36" fmla="*/ 18 w 80"/>
                <a:gd name="T37" fmla="*/ 2 h 62"/>
                <a:gd name="T38" fmla="*/ 20 w 80"/>
                <a:gd name="T39" fmla="*/ 0 h 62"/>
                <a:gd name="T40" fmla="*/ 24 w 80"/>
                <a:gd name="T41" fmla="*/ 0 h 62"/>
                <a:gd name="T42" fmla="*/ 32 w 80"/>
                <a:gd name="T43" fmla="*/ 2 h 62"/>
                <a:gd name="T44" fmla="*/ 38 w 80"/>
                <a:gd name="T45" fmla="*/ 6 h 62"/>
                <a:gd name="T46" fmla="*/ 38 w 80"/>
                <a:gd name="T47" fmla="*/ 8 h 62"/>
                <a:gd name="T48" fmla="*/ 40 w 80"/>
                <a:gd name="T49" fmla="*/ 14 h 62"/>
                <a:gd name="T50" fmla="*/ 40 w 80"/>
                <a:gd name="T51" fmla="*/ 18 h 62"/>
                <a:gd name="T52" fmla="*/ 42 w 80"/>
                <a:gd name="T53" fmla="*/ 18 h 62"/>
                <a:gd name="T54" fmla="*/ 46 w 80"/>
                <a:gd name="T55" fmla="*/ 18 h 62"/>
                <a:gd name="T56" fmla="*/ 58 w 80"/>
                <a:gd name="T57" fmla="*/ 16 h 62"/>
                <a:gd name="T58" fmla="*/ 76 w 80"/>
                <a:gd name="T59" fmla="*/ 14 h 62"/>
                <a:gd name="T60" fmla="*/ 80 w 80"/>
                <a:gd name="T61" fmla="*/ 20 h 62"/>
                <a:gd name="T62" fmla="*/ 80 w 80"/>
                <a:gd name="T63" fmla="*/ 26 h 62"/>
                <a:gd name="T64" fmla="*/ 80 w 80"/>
                <a:gd name="T65" fmla="*/ 30 h 62"/>
                <a:gd name="T66" fmla="*/ 76 w 80"/>
                <a:gd name="T67" fmla="*/ 36 h 62"/>
                <a:gd name="T68" fmla="*/ 72 w 80"/>
                <a:gd name="T69" fmla="*/ 40 h 62"/>
                <a:gd name="T70" fmla="*/ 70 w 80"/>
                <a:gd name="T71" fmla="*/ 42 h 62"/>
                <a:gd name="T72" fmla="*/ 70 w 80"/>
                <a:gd name="T73" fmla="*/ 44 h 62"/>
                <a:gd name="T74" fmla="*/ 72 w 80"/>
                <a:gd name="T75" fmla="*/ 48 h 62"/>
                <a:gd name="T76" fmla="*/ 74 w 80"/>
                <a:gd name="T77" fmla="*/ 50 h 62"/>
                <a:gd name="T78" fmla="*/ 74 w 80"/>
                <a:gd name="T79" fmla="*/ 52 h 62"/>
                <a:gd name="T80" fmla="*/ 72 w 80"/>
                <a:gd name="T81" fmla="*/ 52 h 62"/>
                <a:gd name="T82" fmla="*/ 64 w 80"/>
                <a:gd name="T83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0" h="62">
                  <a:moveTo>
                    <a:pt x="60" y="52"/>
                  </a:moveTo>
                  <a:lnTo>
                    <a:pt x="48" y="56"/>
                  </a:lnTo>
                  <a:lnTo>
                    <a:pt x="44" y="54"/>
                  </a:lnTo>
                  <a:lnTo>
                    <a:pt x="42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6" y="58"/>
                  </a:lnTo>
                  <a:lnTo>
                    <a:pt x="34" y="60"/>
                  </a:lnTo>
                  <a:lnTo>
                    <a:pt x="32" y="60"/>
                  </a:lnTo>
                  <a:lnTo>
                    <a:pt x="32" y="62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28" y="62"/>
                  </a:lnTo>
                  <a:lnTo>
                    <a:pt x="26" y="60"/>
                  </a:lnTo>
                  <a:lnTo>
                    <a:pt x="24" y="60"/>
                  </a:lnTo>
                  <a:lnTo>
                    <a:pt x="20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6" y="58"/>
                  </a:lnTo>
                  <a:lnTo>
                    <a:pt x="14" y="58"/>
                  </a:lnTo>
                  <a:lnTo>
                    <a:pt x="10" y="58"/>
                  </a:lnTo>
                  <a:lnTo>
                    <a:pt x="10" y="46"/>
                  </a:lnTo>
                  <a:lnTo>
                    <a:pt x="10" y="42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8"/>
                  </a:lnTo>
                  <a:lnTo>
                    <a:pt x="4" y="8"/>
                  </a:lnTo>
                  <a:lnTo>
                    <a:pt x="6" y="6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4" y="4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4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8"/>
                  </a:lnTo>
                  <a:lnTo>
                    <a:pt x="52" y="18"/>
                  </a:lnTo>
                  <a:lnTo>
                    <a:pt x="58" y="16"/>
                  </a:lnTo>
                  <a:lnTo>
                    <a:pt x="60" y="16"/>
                  </a:lnTo>
                  <a:lnTo>
                    <a:pt x="62" y="16"/>
                  </a:lnTo>
                  <a:lnTo>
                    <a:pt x="76" y="14"/>
                  </a:lnTo>
                  <a:lnTo>
                    <a:pt x="76" y="16"/>
                  </a:lnTo>
                  <a:lnTo>
                    <a:pt x="78" y="18"/>
                  </a:lnTo>
                  <a:lnTo>
                    <a:pt x="80" y="20"/>
                  </a:lnTo>
                  <a:lnTo>
                    <a:pt x="80" y="22"/>
                  </a:lnTo>
                  <a:lnTo>
                    <a:pt x="80" y="24"/>
                  </a:lnTo>
                  <a:lnTo>
                    <a:pt x="80" y="26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0"/>
                  </a:lnTo>
                  <a:lnTo>
                    <a:pt x="78" y="32"/>
                  </a:lnTo>
                  <a:lnTo>
                    <a:pt x="78" y="34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4" y="38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2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4" y="48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0" y="52"/>
                  </a:lnTo>
                  <a:lnTo>
                    <a:pt x="68" y="54"/>
                  </a:lnTo>
                  <a:lnTo>
                    <a:pt x="64" y="54"/>
                  </a:lnTo>
                  <a:lnTo>
                    <a:pt x="62" y="52"/>
                  </a:lnTo>
                  <a:lnTo>
                    <a:pt x="60" y="5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08" name="Freeform 258">
              <a:extLst>
                <a:ext uri="{FF2B5EF4-FFF2-40B4-BE49-F238E27FC236}">
                  <a16:creationId xmlns:a16="http://schemas.microsoft.com/office/drawing/2014/main" id="{C3E6372F-3C49-4728-83B8-B84CC445B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8317" y="2832624"/>
              <a:ext cx="119590" cy="50145"/>
            </a:xfrm>
            <a:custGeom>
              <a:avLst/>
              <a:gdLst>
                <a:gd name="T0" fmla="*/ 70 w 70"/>
                <a:gd name="T1" fmla="*/ 30 h 30"/>
                <a:gd name="T2" fmla="*/ 70 w 70"/>
                <a:gd name="T3" fmla="*/ 30 h 30"/>
                <a:gd name="T4" fmla="*/ 68 w 70"/>
                <a:gd name="T5" fmla="*/ 30 h 30"/>
                <a:gd name="T6" fmla="*/ 58 w 70"/>
                <a:gd name="T7" fmla="*/ 30 h 30"/>
                <a:gd name="T8" fmla="*/ 54 w 70"/>
                <a:gd name="T9" fmla="*/ 30 h 30"/>
                <a:gd name="T10" fmla="*/ 50 w 70"/>
                <a:gd name="T11" fmla="*/ 30 h 30"/>
                <a:gd name="T12" fmla="*/ 46 w 70"/>
                <a:gd name="T13" fmla="*/ 30 h 30"/>
                <a:gd name="T14" fmla="*/ 44 w 70"/>
                <a:gd name="T15" fmla="*/ 30 h 30"/>
                <a:gd name="T16" fmla="*/ 42 w 70"/>
                <a:gd name="T17" fmla="*/ 28 h 30"/>
                <a:gd name="T18" fmla="*/ 42 w 70"/>
                <a:gd name="T19" fmla="*/ 28 h 30"/>
                <a:gd name="T20" fmla="*/ 40 w 70"/>
                <a:gd name="T21" fmla="*/ 28 h 30"/>
                <a:gd name="T22" fmla="*/ 40 w 70"/>
                <a:gd name="T23" fmla="*/ 26 h 30"/>
                <a:gd name="T24" fmla="*/ 38 w 70"/>
                <a:gd name="T25" fmla="*/ 24 h 30"/>
                <a:gd name="T26" fmla="*/ 36 w 70"/>
                <a:gd name="T27" fmla="*/ 22 h 30"/>
                <a:gd name="T28" fmla="*/ 34 w 70"/>
                <a:gd name="T29" fmla="*/ 20 h 30"/>
                <a:gd name="T30" fmla="*/ 32 w 70"/>
                <a:gd name="T31" fmla="*/ 18 h 30"/>
                <a:gd name="T32" fmla="*/ 30 w 70"/>
                <a:gd name="T33" fmla="*/ 18 h 30"/>
                <a:gd name="T34" fmla="*/ 30 w 70"/>
                <a:gd name="T35" fmla="*/ 18 h 30"/>
                <a:gd name="T36" fmla="*/ 28 w 70"/>
                <a:gd name="T37" fmla="*/ 16 h 30"/>
                <a:gd name="T38" fmla="*/ 26 w 70"/>
                <a:gd name="T39" fmla="*/ 16 h 30"/>
                <a:gd name="T40" fmla="*/ 26 w 70"/>
                <a:gd name="T41" fmla="*/ 16 h 30"/>
                <a:gd name="T42" fmla="*/ 24 w 70"/>
                <a:gd name="T43" fmla="*/ 16 h 30"/>
                <a:gd name="T44" fmla="*/ 22 w 70"/>
                <a:gd name="T45" fmla="*/ 16 h 30"/>
                <a:gd name="T46" fmla="*/ 16 w 70"/>
                <a:gd name="T47" fmla="*/ 16 h 30"/>
                <a:gd name="T48" fmla="*/ 12 w 70"/>
                <a:gd name="T49" fmla="*/ 18 h 30"/>
                <a:gd name="T50" fmla="*/ 8 w 70"/>
                <a:gd name="T51" fmla="*/ 18 h 30"/>
                <a:gd name="T52" fmla="*/ 4 w 70"/>
                <a:gd name="T53" fmla="*/ 18 h 30"/>
                <a:gd name="T54" fmla="*/ 0 w 70"/>
                <a:gd name="T55" fmla="*/ 20 h 30"/>
                <a:gd name="T56" fmla="*/ 4 w 70"/>
                <a:gd name="T57" fmla="*/ 16 h 30"/>
                <a:gd name="T58" fmla="*/ 8 w 70"/>
                <a:gd name="T59" fmla="*/ 12 h 30"/>
                <a:gd name="T60" fmla="*/ 10 w 70"/>
                <a:gd name="T61" fmla="*/ 10 h 30"/>
                <a:gd name="T62" fmla="*/ 12 w 70"/>
                <a:gd name="T63" fmla="*/ 10 h 30"/>
                <a:gd name="T64" fmla="*/ 16 w 70"/>
                <a:gd name="T65" fmla="*/ 6 h 30"/>
                <a:gd name="T66" fmla="*/ 18 w 70"/>
                <a:gd name="T67" fmla="*/ 4 h 30"/>
                <a:gd name="T68" fmla="*/ 22 w 70"/>
                <a:gd name="T69" fmla="*/ 4 h 30"/>
                <a:gd name="T70" fmla="*/ 24 w 70"/>
                <a:gd name="T71" fmla="*/ 2 h 30"/>
                <a:gd name="T72" fmla="*/ 26 w 70"/>
                <a:gd name="T73" fmla="*/ 0 h 30"/>
                <a:gd name="T74" fmla="*/ 30 w 70"/>
                <a:gd name="T75" fmla="*/ 0 h 30"/>
                <a:gd name="T76" fmla="*/ 30 w 70"/>
                <a:gd name="T77" fmla="*/ 0 h 30"/>
                <a:gd name="T78" fmla="*/ 32 w 70"/>
                <a:gd name="T79" fmla="*/ 0 h 30"/>
                <a:gd name="T80" fmla="*/ 34 w 70"/>
                <a:gd name="T81" fmla="*/ 0 h 30"/>
                <a:gd name="T82" fmla="*/ 34 w 70"/>
                <a:gd name="T83" fmla="*/ 0 h 30"/>
                <a:gd name="T84" fmla="*/ 36 w 70"/>
                <a:gd name="T85" fmla="*/ 0 h 30"/>
                <a:gd name="T86" fmla="*/ 38 w 70"/>
                <a:gd name="T87" fmla="*/ 0 h 30"/>
                <a:gd name="T88" fmla="*/ 42 w 70"/>
                <a:gd name="T89" fmla="*/ 2 h 30"/>
                <a:gd name="T90" fmla="*/ 46 w 70"/>
                <a:gd name="T91" fmla="*/ 4 h 30"/>
                <a:gd name="T92" fmla="*/ 52 w 70"/>
                <a:gd name="T93" fmla="*/ 6 h 30"/>
                <a:gd name="T94" fmla="*/ 54 w 70"/>
                <a:gd name="T95" fmla="*/ 8 h 30"/>
                <a:gd name="T96" fmla="*/ 70 w 70"/>
                <a:gd name="T9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0" h="30">
                  <a:moveTo>
                    <a:pt x="70" y="30"/>
                  </a:moveTo>
                  <a:lnTo>
                    <a:pt x="70" y="30"/>
                  </a:lnTo>
                  <a:lnTo>
                    <a:pt x="68" y="30"/>
                  </a:lnTo>
                  <a:lnTo>
                    <a:pt x="58" y="30"/>
                  </a:lnTo>
                  <a:lnTo>
                    <a:pt x="54" y="30"/>
                  </a:lnTo>
                  <a:lnTo>
                    <a:pt x="50" y="30"/>
                  </a:lnTo>
                  <a:lnTo>
                    <a:pt x="46" y="30"/>
                  </a:lnTo>
                  <a:lnTo>
                    <a:pt x="44" y="30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0" y="28"/>
                  </a:lnTo>
                  <a:lnTo>
                    <a:pt x="40" y="26"/>
                  </a:lnTo>
                  <a:lnTo>
                    <a:pt x="38" y="24"/>
                  </a:lnTo>
                  <a:lnTo>
                    <a:pt x="36" y="22"/>
                  </a:lnTo>
                  <a:lnTo>
                    <a:pt x="34" y="20"/>
                  </a:lnTo>
                  <a:lnTo>
                    <a:pt x="32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4" y="16"/>
                  </a:lnTo>
                  <a:lnTo>
                    <a:pt x="22" y="16"/>
                  </a:lnTo>
                  <a:lnTo>
                    <a:pt x="16" y="16"/>
                  </a:lnTo>
                  <a:lnTo>
                    <a:pt x="12" y="18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10" y="10"/>
                  </a:lnTo>
                  <a:lnTo>
                    <a:pt x="12" y="10"/>
                  </a:lnTo>
                  <a:lnTo>
                    <a:pt x="16" y="6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4" y="2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2" y="2"/>
                  </a:lnTo>
                  <a:lnTo>
                    <a:pt x="46" y="4"/>
                  </a:lnTo>
                  <a:lnTo>
                    <a:pt x="52" y="6"/>
                  </a:lnTo>
                  <a:lnTo>
                    <a:pt x="54" y="8"/>
                  </a:lnTo>
                  <a:lnTo>
                    <a:pt x="70" y="3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09" name="Freeform 260">
              <a:extLst>
                <a:ext uri="{FF2B5EF4-FFF2-40B4-BE49-F238E27FC236}">
                  <a16:creationId xmlns:a16="http://schemas.microsoft.com/office/drawing/2014/main" id="{680DC252-D4D0-4D08-9AF4-7E4152712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0230" y="2428121"/>
              <a:ext cx="239180" cy="411188"/>
            </a:xfrm>
            <a:custGeom>
              <a:avLst/>
              <a:gdLst>
                <a:gd name="T0" fmla="*/ 26 w 140"/>
                <a:gd name="T1" fmla="*/ 100 h 246"/>
                <a:gd name="T2" fmla="*/ 30 w 140"/>
                <a:gd name="T3" fmla="*/ 94 h 246"/>
                <a:gd name="T4" fmla="*/ 32 w 140"/>
                <a:gd name="T5" fmla="*/ 86 h 246"/>
                <a:gd name="T6" fmla="*/ 28 w 140"/>
                <a:gd name="T7" fmla="*/ 64 h 246"/>
                <a:gd name="T8" fmla="*/ 26 w 140"/>
                <a:gd name="T9" fmla="*/ 54 h 246"/>
                <a:gd name="T10" fmla="*/ 18 w 140"/>
                <a:gd name="T11" fmla="*/ 46 h 246"/>
                <a:gd name="T12" fmla="*/ 8 w 140"/>
                <a:gd name="T13" fmla="*/ 32 h 246"/>
                <a:gd name="T14" fmla="*/ 28 w 140"/>
                <a:gd name="T15" fmla="*/ 36 h 246"/>
                <a:gd name="T16" fmla="*/ 44 w 140"/>
                <a:gd name="T17" fmla="*/ 36 h 246"/>
                <a:gd name="T18" fmla="*/ 50 w 140"/>
                <a:gd name="T19" fmla="*/ 34 h 246"/>
                <a:gd name="T20" fmla="*/ 54 w 140"/>
                <a:gd name="T21" fmla="*/ 22 h 246"/>
                <a:gd name="T22" fmla="*/ 62 w 140"/>
                <a:gd name="T23" fmla="*/ 10 h 246"/>
                <a:gd name="T24" fmla="*/ 70 w 140"/>
                <a:gd name="T25" fmla="*/ 2 h 246"/>
                <a:gd name="T26" fmla="*/ 78 w 140"/>
                <a:gd name="T27" fmla="*/ 0 h 246"/>
                <a:gd name="T28" fmla="*/ 90 w 140"/>
                <a:gd name="T29" fmla="*/ 6 h 246"/>
                <a:gd name="T30" fmla="*/ 96 w 140"/>
                <a:gd name="T31" fmla="*/ 12 h 246"/>
                <a:gd name="T32" fmla="*/ 94 w 140"/>
                <a:gd name="T33" fmla="*/ 20 h 246"/>
                <a:gd name="T34" fmla="*/ 88 w 140"/>
                <a:gd name="T35" fmla="*/ 34 h 246"/>
                <a:gd name="T36" fmla="*/ 102 w 140"/>
                <a:gd name="T37" fmla="*/ 66 h 246"/>
                <a:gd name="T38" fmla="*/ 106 w 140"/>
                <a:gd name="T39" fmla="*/ 84 h 246"/>
                <a:gd name="T40" fmla="*/ 108 w 140"/>
                <a:gd name="T41" fmla="*/ 100 h 246"/>
                <a:gd name="T42" fmla="*/ 110 w 140"/>
                <a:gd name="T43" fmla="*/ 116 h 246"/>
                <a:gd name="T44" fmla="*/ 120 w 140"/>
                <a:gd name="T45" fmla="*/ 146 h 246"/>
                <a:gd name="T46" fmla="*/ 124 w 140"/>
                <a:gd name="T47" fmla="*/ 156 h 246"/>
                <a:gd name="T48" fmla="*/ 136 w 140"/>
                <a:gd name="T49" fmla="*/ 168 h 246"/>
                <a:gd name="T50" fmla="*/ 126 w 140"/>
                <a:gd name="T51" fmla="*/ 186 h 246"/>
                <a:gd name="T52" fmla="*/ 104 w 140"/>
                <a:gd name="T53" fmla="*/ 210 h 246"/>
                <a:gd name="T54" fmla="*/ 98 w 140"/>
                <a:gd name="T55" fmla="*/ 222 h 246"/>
                <a:gd name="T56" fmla="*/ 98 w 140"/>
                <a:gd name="T57" fmla="*/ 238 h 246"/>
                <a:gd name="T58" fmla="*/ 90 w 140"/>
                <a:gd name="T59" fmla="*/ 232 h 246"/>
                <a:gd name="T60" fmla="*/ 84 w 140"/>
                <a:gd name="T61" fmla="*/ 224 h 246"/>
                <a:gd name="T62" fmla="*/ 78 w 140"/>
                <a:gd name="T63" fmla="*/ 222 h 246"/>
                <a:gd name="T64" fmla="*/ 66 w 140"/>
                <a:gd name="T65" fmla="*/ 226 h 246"/>
                <a:gd name="T66" fmla="*/ 58 w 140"/>
                <a:gd name="T67" fmla="*/ 232 h 246"/>
                <a:gd name="T68" fmla="*/ 52 w 140"/>
                <a:gd name="T69" fmla="*/ 236 h 246"/>
                <a:gd name="T70" fmla="*/ 36 w 140"/>
                <a:gd name="T71" fmla="*/ 236 h 246"/>
                <a:gd name="T72" fmla="*/ 24 w 140"/>
                <a:gd name="T73" fmla="*/ 230 h 246"/>
                <a:gd name="T74" fmla="*/ 12 w 140"/>
                <a:gd name="T75" fmla="*/ 222 h 246"/>
                <a:gd name="T76" fmla="*/ 6 w 140"/>
                <a:gd name="T77" fmla="*/ 204 h 246"/>
                <a:gd name="T78" fmla="*/ 0 w 140"/>
                <a:gd name="T79" fmla="*/ 186 h 246"/>
                <a:gd name="T80" fmla="*/ 2 w 140"/>
                <a:gd name="T81" fmla="*/ 166 h 246"/>
                <a:gd name="T82" fmla="*/ 6 w 140"/>
                <a:gd name="T83" fmla="*/ 160 h 246"/>
                <a:gd name="T84" fmla="*/ 14 w 140"/>
                <a:gd name="T85" fmla="*/ 156 h 246"/>
                <a:gd name="T86" fmla="*/ 24 w 140"/>
                <a:gd name="T87" fmla="*/ 152 h 246"/>
                <a:gd name="T88" fmla="*/ 34 w 140"/>
                <a:gd name="T89" fmla="*/ 142 h 246"/>
                <a:gd name="T90" fmla="*/ 36 w 140"/>
                <a:gd name="T91" fmla="*/ 132 h 246"/>
                <a:gd name="T92" fmla="*/ 38 w 140"/>
                <a:gd name="T93" fmla="*/ 124 h 246"/>
                <a:gd name="T94" fmla="*/ 44 w 140"/>
                <a:gd name="T95" fmla="*/ 124 h 246"/>
                <a:gd name="T96" fmla="*/ 56 w 140"/>
                <a:gd name="T97" fmla="*/ 128 h 246"/>
                <a:gd name="T98" fmla="*/ 60 w 140"/>
                <a:gd name="T99" fmla="*/ 126 h 246"/>
                <a:gd name="T100" fmla="*/ 60 w 140"/>
                <a:gd name="T101" fmla="*/ 120 h 246"/>
                <a:gd name="T102" fmla="*/ 52 w 140"/>
                <a:gd name="T103" fmla="*/ 110 h 246"/>
                <a:gd name="T104" fmla="*/ 44 w 140"/>
                <a:gd name="T105" fmla="*/ 104 h 246"/>
                <a:gd name="T106" fmla="*/ 28 w 140"/>
                <a:gd name="T107" fmla="*/ 10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0" h="246">
                  <a:moveTo>
                    <a:pt x="20" y="102"/>
                  </a:moveTo>
                  <a:lnTo>
                    <a:pt x="20" y="102"/>
                  </a:lnTo>
                  <a:lnTo>
                    <a:pt x="22" y="102"/>
                  </a:lnTo>
                  <a:lnTo>
                    <a:pt x="24" y="100"/>
                  </a:lnTo>
                  <a:lnTo>
                    <a:pt x="26" y="100"/>
                  </a:lnTo>
                  <a:lnTo>
                    <a:pt x="28" y="98"/>
                  </a:lnTo>
                  <a:lnTo>
                    <a:pt x="30" y="98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4"/>
                  </a:lnTo>
                  <a:lnTo>
                    <a:pt x="32" y="94"/>
                  </a:lnTo>
                  <a:lnTo>
                    <a:pt x="32" y="92"/>
                  </a:lnTo>
                  <a:lnTo>
                    <a:pt x="32" y="90"/>
                  </a:lnTo>
                  <a:lnTo>
                    <a:pt x="32" y="88"/>
                  </a:lnTo>
                  <a:lnTo>
                    <a:pt x="32" y="86"/>
                  </a:lnTo>
                  <a:lnTo>
                    <a:pt x="30" y="80"/>
                  </a:lnTo>
                  <a:lnTo>
                    <a:pt x="30" y="76"/>
                  </a:lnTo>
                  <a:lnTo>
                    <a:pt x="30" y="72"/>
                  </a:lnTo>
                  <a:lnTo>
                    <a:pt x="30" y="68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4"/>
                  </a:lnTo>
                  <a:lnTo>
                    <a:pt x="26" y="54"/>
                  </a:lnTo>
                  <a:lnTo>
                    <a:pt x="26" y="52"/>
                  </a:lnTo>
                  <a:lnTo>
                    <a:pt x="24" y="50"/>
                  </a:lnTo>
                  <a:lnTo>
                    <a:pt x="22" y="50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6" y="44"/>
                  </a:lnTo>
                  <a:lnTo>
                    <a:pt x="14" y="42"/>
                  </a:lnTo>
                  <a:lnTo>
                    <a:pt x="10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14" y="34"/>
                  </a:lnTo>
                  <a:lnTo>
                    <a:pt x="22" y="36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8" y="36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2"/>
                  </a:lnTo>
                  <a:lnTo>
                    <a:pt x="52" y="30"/>
                  </a:lnTo>
                  <a:lnTo>
                    <a:pt x="52" y="28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8" y="16"/>
                  </a:lnTo>
                  <a:lnTo>
                    <a:pt x="60" y="14"/>
                  </a:lnTo>
                  <a:lnTo>
                    <a:pt x="62" y="10"/>
                  </a:lnTo>
                  <a:lnTo>
                    <a:pt x="64" y="8"/>
                  </a:lnTo>
                  <a:lnTo>
                    <a:pt x="66" y="6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8" y="4"/>
                  </a:lnTo>
                  <a:lnTo>
                    <a:pt x="90" y="6"/>
                  </a:lnTo>
                  <a:lnTo>
                    <a:pt x="90" y="8"/>
                  </a:lnTo>
                  <a:lnTo>
                    <a:pt x="92" y="8"/>
                  </a:lnTo>
                  <a:lnTo>
                    <a:pt x="94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4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4" y="20"/>
                  </a:lnTo>
                  <a:lnTo>
                    <a:pt x="94" y="22"/>
                  </a:lnTo>
                  <a:lnTo>
                    <a:pt x="94" y="24"/>
                  </a:lnTo>
                  <a:lnTo>
                    <a:pt x="92" y="28"/>
                  </a:lnTo>
                  <a:lnTo>
                    <a:pt x="90" y="30"/>
                  </a:lnTo>
                  <a:lnTo>
                    <a:pt x="88" y="34"/>
                  </a:lnTo>
                  <a:lnTo>
                    <a:pt x="86" y="36"/>
                  </a:lnTo>
                  <a:lnTo>
                    <a:pt x="102" y="52"/>
                  </a:lnTo>
                  <a:lnTo>
                    <a:pt x="102" y="58"/>
                  </a:lnTo>
                  <a:lnTo>
                    <a:pt x="102" y="64"/>
                  </a:lnTo>
                  <a:lnTo>
                    <a:pt x="102" y="66"/>
                  </a:lnTo>
                  <a:lnTo>
                    <a:pt x="102" y="68"/>
                  </a:lnTo>
                  <a:lnTo>
                    <a:pt x="104" y="70"/>
                  </a:lnTo>
                  <a:lnTo>
                    <a:pt x="104" y="72"/>
                  </a:lnTo>
                  <a:lnTo>
                    <a:pt x="106" y="78"/>
                  </a:lnTo>
                  <a:lnTo>
                    <a:pt x="106" y="84"/>
                  </a:lnTo>
                  <a:lnTo>
                    <a:pt x="108" y="86"/>
                  </a:lnTo>
                  <a:lnTo>
                    <a:pt x="108" y="88"/>
                  </a:lnTo>
                  <a:lnTo>
                    <a:pt x="108" y="90"/>
                  </a:lnTo>
                  <a:lnTo>
                    <a:pt x="108" y="94"/>
                  </a:lnTo>
                  <a:lnTo>
                    <a:pt x="108" y="100"/>
                  </a:lnTo>
                  <a:lnTo>
                    <a:pt x="108" y="106"/>
                  </a:lnTo>
                  <a:lnTo>
                    <a:pt x="108" y="110"/>
                  </a:lnTo>
                  <a:lnTo>
                    <a:pt x="110" y="112"/>
                  </a:lnTo>
                  <a:lnTo>
                    <a:pt x="110" y="114"/>
                  </a:lnTo>
                  <a:lnTo>
                    <a:pt x="110" y="116"/>
                  </a:lnTo>
                  <a:lnTo>
                    <a:pt x="112" y="122"/>
                  </a:lnTo>
                  <a:lnTo>
                    <a:pt x="116" y="132"/>
                  </a:lnTo>
                  <a:lnTo>
                    <a:pt x="118" y="138"/>
                  </a:lnTo>
                  <a:lnTo>
                    <a:pt x="118" y="144"/>
                  </a:lnTo>
                  <a:lnTo>
                    <a:pt x="120" y="146"/>
                  </a:lnTo>
                  <a:lnTo>
                    <a:pt x="120" y="150"/>
                  </a:lnTo>
                  <a:lnTo>
                    <a:pt x="122" y="152"/>
                  </a:lnTo>
                  <a:lnTo>
                    <a:pt x="124" y="154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6" y="160"/>
                  </a:lnTo>
                  <a:lnTo>
                    <a:pt x="128" y="162"/>
                  </a:lnTo>
                  <a:lnTo>
                    <a:pt x="130" y="164"/>
                  </a:lnTo>
                  <a:lnTo>
                    <a:pt x="134" y="166"/>
                  </a:lnTo>
                  <a:lnTo>
                    <a:pt x="136" y="168"/>
                  </a:lnTo>
                  <a:lnTo>
                    <a:pt x="140" y="172"/>
                  </a:lnTo>
                  <a:lnTo>
                    <a:pt x="136" y="176"/>
                  </a:lnTo>
                  <a:lnTo>
                    <a:pt x="132" y="180"/>
                  </a:lnTo>
                  <a:lnTo>
                    <a:pt x="130" y="182"/>
                  </a:lnTo>
                  <a:lnTo>
                    <a:pt x="126" y="186"/>
                  </a:lnTo>
                  <a:lnTo>
                    <a:pt x="122" y="190"/>
                  </a:lnTo>
                  <a:lnTo>
                    <a:pt x="114" y="198"/>
                  </a:lnTo>
                  <a:lnTo>
                    <a:pt x="108" y="206"/>
                  </a:lnTo>
                  <a:lnTo>
                    <a:pt x="106" y="208"/>
                  </a:lnTo>
                  <a:lnTo>
                    <a:pt x="104" y="210"/>
                  </a:lnTo>
                  <a:lnTo>
                    <a:pt x="102" y="212"/>
                  </a:lnTo>
                  <a:lnTo>
                    <a:pt x="100" y="214"/>
                  </a:lnTo>
                  <a:lnTo>
                    <a:pt x="100" y="216"/>
                  </a:lnTo>
                  <a:lnTo>
                    <a:pt x="100" y="218"/>
                  </a:lnTo>
                  <a:lnTo>
                    <a:pt x="98" y="222"/>
                  </a:lnTo>
                  <a:lnTo>
                    <a:pt x="98" y="226"/>
                  </a:lnTo>
                  <a:lnTo>
                    <a:pt x="96" y="228"/>
                  </a:lnTo>
                  <a:lnTo>
                    <a:pt x="96" y="230"/>
                  </a:lnTo>
                  <a:lnTo>
                    <a:pt x="96" y="234"/>
                  </a:lnTo>
                  <a:lnTo>
                    <a:pt x="98" y="238"/>
                  </a:lnTo>
                  <a:lnTo>
                    <a:pt x="98" y="246"/>
                  </a:lnTo>
                  <a:lnTo>
                    <a:pt x="96" y="242"/>
                  </a:lnTo>
                  <a:lnTo>
                    <a:pt x="94" y="238"/>
                  </a:lnTo>
                  <a:lnTo>
                    <a:pt x="92" y="236"/>
                  </a:lnTo>
                  <a:lnTo>
                    <a:pt x="90" y="232"/>
                  </a:lnTo>
                  <a:lnTo>
                    <a:pt x="90" y="230"/>
                  </a:lnTo>
                  <a:lnTo>
                    <a:pt x="88" y="228"/>
                  </a:lnTo>
                  <a:lnTo>
                    <a:pt x="86" y="226"/>
                  </a:lnTo>
                  <a:lnTo>
                    <a:pt x="86" y="224"/>
                  </a:lnTo>
                  <a:lnTo>
                    <a:pt x="84" y="224"/>
                  </a:lnTo>
                  <a:lnTo>
                    <a:pt x="84" y="222"/>
                  </a:lnTo>
                  <a:lnTo>
                    <a:pt x="82" y="222"/>
                  </a:lnTo>
                  <a:lnTo>
                    <a:pt x="82" y="222"/>
                  </a:lnTo>
                  <a:lnTo>
                    <a:pt x="80" y="222"/>
                  </a:lnTo>
                  <a:lnTo>
                    <a:pt x="78" y="222"/>
                  </a:lnTo>
                  <a:lnTo>
                    <a:pt x="76" y="222"/>
                  </a:lnTo>
                  <a:lnTo>
                    <a:pt x="74" y="222"/>
                  </a:lnTo>
                  <a:lnTo>
                    <a:pt x="70" y="224"/>
                  </a:lnTo>
                  <a:lnTo>
                    <a:pt x="68" y="224"/>
                  </a:lnTo>
                  <a:lnTo>
                    <a:pt x="66" y="226"/>
                  </a:lnTo>
                  <a:lnTo>
                    <a:pt x="64" y="226"/>
                  </a:lnTo>
                  <a:lnTo>
                    <a:pt x="62" y="228"/>
                  </a:lnTo>
                  <a:lnTo>
                    <a:pt x="62" y="228"/>
                  </a:lnTo>
                  <a:lnTo>
                    <a:pt x="60" y="230"/>
                  </a:lnTo>
                  <a:lnTo>
                    <a:pt x="58" y="232"/>
                  </a:lnTo>
                  <a:lnTo>
                    <a:pt x="58" y="234"/>
                  </a:lnTo>
                  <a:lnTo>
                    <a:pt x="56" y="234"/>
                  </a:lnTo>
                  <a:lnTo>
                    <a:pt x="56" y="236"/>
                  </a:lnTo>
                  <a:lnTo>
                    <a:pt x="54" y="236"/>
                  </a:lnTo>
                  <a:lnTo>
                    <a:pt x="52" y="236"/>
                  </a:lnTo>
                  <a:lnTo>
                    <a:pt x="50" y="236"/>
                  </a:lnTo>
                  <a:lnTo>
                    <a:pt x="46" y="236"/>
                  </a:lnTo>
                  <a:lnTo>
                    <a:pt x="42" y="236"/>
                  </a:lnTo>
                  <a:lnTo>
                    <a:pt x="40" y="236"/>
                  </a:lnTo>
                  <a:lnTo>
                    <a:pt x="36" y="236"/>
                  </a:lnTo>
                  <a:lnTo>
                    <a:pt x="32" y="234"/>
                  </a:lnTo>
                  <a:lnTo>
                    <a:pt x="30" y="234"/>
                  </a:lnTo>
                  <a:lnTo>
                    <a:pt x="28" y="232"/>
                  </a:lnTo>
                  <a:lnTo>
                    <a:pt x="26" y="232"/>
                  </a:lnTo>
                  <a:lnTo>
                    <a:pt x="24" y="230"/>
                  </a:lnTo>
                  <a:lnTo>
                    <a:pt x="20" y="228"/>
                  </a:lnTo>
                  <a:lnTo>
                    <a:pt x="18" y="226"/>
                  </a:lnTo>
                  <a:lnTo>
                    <a:pt x="16" y="224"/>
                  </a:lnTo>
                  <a:lnTo>
                    <a:pt x="14" y="222"/>
                  </a:lnTo>
                  <a:lnTo>
                    <a:pt x="12" y="222"/>
                  </a:lnTo>
                  <a:lnTo>
                    <a:pt x="12" y="220"/>
                  </a:lnTo>
                  <a:lnTo>
                    <a:pt x="10" y="218"/>
                  </a:lnTo>
                  <a:lnTo>
                    <a:pt x="10" y="216"/>
                  </a:lnTo>
                  <a:lnTo>
                    <a:pt x="8" y="214"/>
                  </a:lnTo>
                  <a:lnTo>
                    <a:pt x="6" y="204"/>
                  </a:lnTo>
                  <a:lnTo>
                    <a:pt x="2" y="196"/>
                  </a:lnTo>
                  <a:lnTo>
                    <a:pt x="2" y="192"/>
                  </a:lnTo>
                  <a:lnTo>
                    <a:pt x="2" y="190"/>
                  </a:lnTo>
                  <a:lnTo>
                    <a:pt x="2" y="188"/>
                  </a:lnTo>
                  <a:lnTo>
                    <a:pt x="0" y="186"/>
                  </a:lnTo>
                  <a:lnTo>
                    <a:pt x="0" y="182"/>
                  </a:lnTo>
                  <a:lnTo>
                    <a:pt x="0" y="178"/>
                  </a:lnTo>
                  <a:lnTo>
                    <a:pt x="2" y="174"/>
                  </a:lnTo>
                  <a:lnTo>
                    <a:pt x="2" y="170"/>
                  </a:lnTo>
                  <a:lnTo>
                    <a:pt x="2" y="166"/>
                  </a:lnTo>
                  <a:lnTo>
                    <a:pt x="2" y="164"/>
                  </a:lnTo>
                  <a:lnTo>
                    <a:pt x="4" y="164"/>
                  </a:lnTo>
                  <a:lnTo>
                    <a:pt x="4" y="162"/>
                  </a:lnTo>
                  <a:lnTo>
                    <a:pt x="4" y="160"/>
                  </a:lnTo>
                  <a:lnTo>
                    <a:pt x="6" y="160"/>
                  </a:lnTo>
                  <a:lnTo>
                    <a:pt x="6" y="160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10" y="158"/>
                  </a:lnTo>
                  <a:lnTo>
                    <a:pt x="14" y="156"/>
                  </a:lnTo>
                  <a:lnTo>
                    <a:pt x="18" y="154"/>
                  </a:lnTo>
                  <a:lnTo>
                    <a:pt x="20" y="154"/>
                  </a:lnTo>
                  <a:lnTo>
                    <a:pt x="22" y="154"/>
                  </a:lnTo>
                  <a:lnTo>
                    <a:pt x="22" y="154"/>
                  </a:lnTo>
                  <a:lnTo>
                    <a:pt x="24" y="152"/>
                  </a:lnTo>
                  <a:lnTo>
                    <a:pt x="26" y="150"/>
                  </a:lnTo>
                  <a:lnTo>
                    <a:pt x="30" y="148"/>
                  </a:lnTo>
                  <a:lnTo>
                    <a:pt x="32" y="146"/>
                  </a:lnTo>
                  <a:lnTo>
                    <a:pt x="32" y="144"/>
                  </a:lnTo>
                  <a:lnTo>
                    <a:pt x="34" y="142"/>
                  </a:lnTo>
                  <a:lnTo>
                    <a:pt x="34" y="140"/>
                  </a:lnTo>
                  <a:lnTo>
                    <a:pt x="36" y="140"/>
                  </a:lnTo>
                  <a:lnTo>
                    <a:pt x="36" y="138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0"/>
                  </a:lnTo>
                  <a:lnTo>
                    <a:pt x="38" y="128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2" y="124"/>
                  </a:lnTo>
                  <a:lnTo>
                    <a:pt x="44" y="124"/>
                  </a:lnTo>
                  <a:lnTo>
                    <a:pt x="46" y="124"/>
                  </a:lnTo>
                  <a:lnTo>
                    <a:pt x="50" y="126"/>
                  </a:lnTo>
                  <a:lnTo>
                    <a:pt x="54" y="126"/>
                  </a:lnTo>
                  <a:lnTo>
                    <a:pt x="54" y="128"/>
                  </a:lnTo>
                  <a:lnTo>
                    <a:pt x="56" y="128"/>
                  </a:lnTo>
                  <a:lnTo>
                    <a:pt x="58" y="128"/>
                  </a:lnTo>
                  <a:lnTo>
                    <a:pt x="58" y="128"/>
                  </a:lnTo>
                  <a:lnTo>
                    <a:pt x="60" y="128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4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0"/>
                  </a:lnTo>
                  <a:lnTo>
                    <a:pt x="60" y="118"/>
                  </a:lnTo>
                  <a:lnTo>
                    <a:pt x="58" y="116"/>
                  </a:lnTo>
                  <a:lnTo>
                    <a:pt x="58" y="116"/>
                  </a:lnTo>
                  <a:lnTo>
                    <a:pt x="54" y="112"/>
                  </a:lnTo>
                  <a:lnTo>
                    <a:pt x="52" y="110"/>
                  </a:lnTo>
                  <a:lnTo>
                    <a:pt x="50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36" y="102"/>
                  </a:lnTo>
                  <a:lnTo>
                    <a:pt x="32" y="102"/>
                  </a:lnTo>
                  <a:lnTo>
                    <a:pt x="28" y="102"/>
                  </a:lnTo>
                  <a:lnTo>
                    <a:pt x="24" y="102"/>
                  </a:lnTo>
                  <a:lnTo>
                    <a:pt x="20" y="10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10" name="Freeform 262">
              <a:extLst>
                <a:ext uri="{FF2B5EF4-FFF2-40B4-BE49-F238E27FC236}">
                  <a16:creationId xmlns:a16="http://schemas.microsoft.com/office/drawing/2014/main" id="{90100FA4-EEED-42E2-AEEC-0D23C2B1A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633" y="3203697"/>
              <a:ext cx="160593" cy="93604"/>
            </a:xfrm>
            <a:custGeom>
              <a:avLst/>
              <a:gdLst>
                <a:gd name="T0" fmla="*/ 2 w 94"/>
                <a:gd name="T1" fmla="*/ 34 h 56"/>
                <a:gd name="T2" fmla="*/ 10 w 94"/>
                <a:gd name="T3" fmla="*/ 36 h 56"/>
                <a:gd name="T4" fmla="*/ 14 w 94"/>
                <a:gd name="T5" fmla="*/ 36 h 56"/>
                <a:gd name="T6" fmla="*/ 24 w 94"/>
                <a:gd name="T7" fmla="*/ 30 h 56"/>
                <a:gd name="T8" fmla="*/ 36 w 94"/>
                <a:gd name="T9" fmla="*/ 24 h 56"/>
                <a:gd name="T10" fmla="*/ 44 w 94"/>
                <a:gd name="T11" fmla="*/ 18 h 56"/>
                <a:gd name="T12" fmla="*/ 46 w 94"/>
                <a:gd name="T13" fmla="*/ 16 h 56"/>
                <a:gd name="T14" fmla="*/ 48 w 94"/>
                <a:gd name="T15" fmla="*/ 10 h 56"/>
                <a:gd name="T16" fmla="*/ 48 w 94"/>
                <a:gd name="T17" fmla="*/ 0 h 56"/>
                <a:gd name="T18" fmla="*/ 54 w 94"/>
                <a:gd name="T19" fmla="*/ 6 h 56"/>
                <a:gd name="T20" fmla="*/ 58 w 94"/>
                <a:gd name="T21" fmla="*/ 10 h 56"/>
                <a:gd name="T22" fmla="*/ 60 w 94"/>
                <a:gd name="T23" fmla="*/ 10 h 56"/>
                <a:gd name="T24" fmla="*/ 66 w 94"/>
                <a:gd name="T25" fmla="*/ 10 h 56"/>
                <a:gd name="T26" fmla="*/ 68 w 94"/>
                <a:gd name="T27" fmla="*/ 10 h 56"/>
                <a:gd name="T28" fmla="*/ 70 w 94"/>
                <a:gd name="T29" fmla="*/ 8 h 56"/>
                <a:gd name="T30" fmla="*/ 70 w 94"/>
                <a:gd name="T31" fmla="*/ 2 h 56"/>
                <a:gd name="T32" fmla="*/ 72 w 94"/>
                <a:gd name="T33" fmla="*/ 0 h 56"/>
                <a:gd name="T34" fmla="*/ 76 w 94"/>
                <a:gd name="T35" fmla="*/ 0 h 56"/>
                <a:gd name="T36" fmla="*/ 82 w 94"/>
                <a:gd name="T37" fmla="*/ 0 h 56"/>
                <a:gd name="T38" fmla="*/ 84 w 94"/>
                <a:gd name="T39" fmla="*/ 2 h 56"/>
                <a:gd name="T40" fmla="*/ 84 w 94"/>
                <a:gd name="T41" fmla="*/ 4 h 56"/>
                <a:gd name="T42" fmla="*/ 84 w 94"/>
                <a:gd name="T43" fmla="*/ 8 h 56"/>
                <a:gd name="T44" fmla="*/ 82 w 94"/>
                <a:gd name="T45" fmla="*/ 10 h 56"/>
                <a:gd name="T46" fmla="*/ 84 w 94"/>
                <a:gd name="T47" fmla="*/ 12 h 56"/>
                <a:gd name="T48" fmla="*/ 88 w 94"/>
                <a:gd name="T49" fmla="*/ 16 h 56"/>
                <a:gd name="T50" fmla="*/ 92 w 94"/>
                <a:gd name="T51" fmla="*/ 18 h 56"/>
                <a:gd name="T52" fmla="*/ 94 w 94"/>
                <a:gd name="T53" fmla="*/ 28 h 56"/>
                <a:gd name="T54" fmla="*/ 94 w 94"/>
                <a:gd name="T55" fmla="*/ 32 h 56"/>
                <a:gd name="T56" fmla="*/ 90 w 94"/>
                <a:gd name="T57" fmla="*/ 38 h 56"/>
                <a:gd name="T58" fmla="*/ 88 w 94"/>
                <a:gd name="T59" fmla="*/ 40 h 56"/>
                <a:gd name="T60" fmla="*/ 88 w 94"/>
                <a:gd name="T61" fmla="*/ 44 h 56"/>
                <a:gd name="T62" fmla="*/ 84 w 94"/>
                <a:gd name="T63" fmla="*/ 48 h 56"/>
                <a:gd name="T64" fmla="*/ 76 w 94"/>
                <a:gd name="T65" fmla="*/ 54 h 56"/>
                <a:gd name="T66" fmla="*/ 70 w 94"/>
                <a:gd name="T67" fmla="*/ 56 h 56"/>
                <a:gd name="T68" fmla="*/ 66 w 94"/>
                <a:gd name="T69" fmla="*/ 56 h 56"/>
                <a:gd name="T70" fmla="*/ 54 w 94"/>
                <a:gd name="T71" fmla="*/ 54 h 56"/>
                <a:gd name="T72" fmla="*/ 44 w 94"/>
                <a:gd name="T73" fmla="*/ 50 h 56"/>
                <a:gd name="T74" fmla="*/ 38 w 94"/>
                <a:gd name="T75" fmla="*/ 44 h 56"/>
                <a:gd name="T76" fmla="*/ 36 w 94"/>
                <a:gd name="T77" fmla="*/ 42 h 56"/>
                <a:gd name="T78" fmla="*/ 34 w 94"/>
                <a:gd name="T79" fmla="*/ 42 h 56"/>
                <a:gd name="T80" fmla="*/ 30 w 94"/>
                <a:gd name="T81" fmla="*/ 44 h 56"/>
                <a:gd name="T82" fmla="*/ 24 w 94"/>
                <a:gd name="T83" fmla="*/ 48 h 56"/>
                <a:gd name="T84" fmla="*/ 16 w 94"/>
                <a:gd name="T85" fmla="*/ 48 h 56"/>
                <a:gd name="T86" fmla="*/ 8 w 94"/>
                <a:gd name="T87" fmla="*/ 48 h 56"/>
                <a:gd name="T88" fmla="*/ 4 w 94"/>
                <a:gd name="T89" fmla="*/ 4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4" h="56">
                  <a:moveTo>
                    <a:pt x="2" y="44"/>
                  </a:moveTo>
                  <a:lnTo>
                    <a:pt x="0" y="34"/>
                  </a:lnTo>
                  <a:lnTo>
                    <a:pt x="2" y="34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8" y="34"/>
                  </a:lnTo>
                  <a:lnTo>
                    <a:pt x="20" y="32"/>
                  </a:lnTo>
                  <a:lnTo>
                    <a:pt x="24" y="30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8" y="22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48" y="6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52" y="4"/>
                  </a:lnTo>
                  <a:lnTo>
                    <a:pt x="54" y="6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4" y="22"/>
                  </a:lnTo>
                  <a:lnTo>
                    <a:pt x="94" y="24"/>
                  </a:lnTo>
                  <a:lnTo>
                    <a:pt x="94" y="28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2" y="36"/>
                  </a:lnTo>
                  <a:lnTo>
                    <a:pt x="90" y="38"/>
                  </a:lnTo>
                  <a:lnTo>
                    <a:pt x="88" y="38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6" y="46"/>
                  </a:lnTo>
                  <a:lnTo>
                    <a:pt x="84" y="48"/>
                  </a:lnTo>
                  <a:lnTo>
                    <a:pt x="82" y="50"/>
                  </a:lnTo>
                  <a:lnTo>
                    <a:pt x="80" y="52"/>
                  </a:lnTo>
                  <a:lnTo>
                    <a:pt x="76" y="54"/>
                  </a:lnTo>
                  <a:lnTo>
                    <a:pt x="74" y="54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6" y="56"/>
                  </a:lnTo>
                  <a:lnTo>
                    <a:pt x="62" y="56"/>
                  </a:lnTo>
                  <a:lnTo>
                    <a:pt x="58" y="54"/>
                  </a:lnTo>
                  <a:lnTo>
                    <a:pt x="54" y="54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0" y="44"/>
                  </a:lnTo>
                  <a:lnTo>
                    <a:pt x="26" y="46"/>
                  </a:lnTo>
                  <a:lnTo>
                    <a:pt x="26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2" y="4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11" name="Freeform 267">
              <a:extLst>
                <a:ext uri="{FF2B5EF4-FFF2-40B4-BE49-F238E27FC236}">
                  <a16:creationId xmlns:a16="http://schemas.microsoft.com/office/drawing/2014/main" id="{3BBB1938-02FB-4112-B153-9BE6334DC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524" y="3003117"/>
              <a:ext cx="102506" cy="127034"/>
            </a:xfrm>
            <a:custGeom>
              <a:avLst/>
              <a:gdLst>
                <a:gd name="T0" fmla="*/ 32 w 60"/>
                <a:gd name="T1" fmla="*/ 0 h 76"/>
                <a:gd name="T2" fmla="*/ 30 w 60"/>
                <a:gd name="T3" fmla="*/ 2 h 76"/>
                <a:gd name="T4" fmla="*/ 28 w 60"/>
                <a:gd name="T5" fmla="*/ 8 h 76"/>
                <a:gd name="T6" fmla="*/ 28 w 60"/>
                <a:gd name="T7" fmla="*/ 12 h 76"/>
                <a:gd name="T8" fmla="*/ 28 w 60"/>
                <a:gd name="T9" fmla="*/ 16 h 76"/>
                <a:gd name="T10" fmla="*/ 26 w 60"/>
                <a:gd name="T11" fmla="*/ 18 h 76"/>
                <a:gd name="T12" fmla="*/ 22 w 60"/>
                <a:gd name="T13" fmla="*/ 18 h 76"/>
                <a:gd name="T14" fmla="*/ 12 w 60"/>
                <a:gd name="T15" fmla="*/ 18 h 76"/>
                <a:gd name="T16" fmla="*/ 6 w 60"/>
                <a:gd name="T17" fmla="*/ 18 h 76"/>
                <a:gd name="T18" fmla="*/ 4 w 60"/>
                <a:gd name="T19" fmla="*/ 18 h 76"/>
                <a:gd name="T20" fmla="*/ 2 w 60"/>
                <a:gd name="T21" fmla="*/ 22 h 76"/>
                <a:gd name="T22" fmla="*/ 0 w 60"/>
                <a:gd name="T23" fmla="*/ 28 h 76"/>
                <a:gd name="T24" fmla="*/ 0 w 60"/>
                <a:gd name="T25" fmla="*/ 36 h 76"/>
                <a:gd name="T26" fmla="*/ 2 w 60"/>
                <a:gd name="T27" fmla="*/ 38 h 76"/>
                <a:gd name="T28" fmla="*/ 2 w 60"/>
                <a:gd name="T29" fmla="*/ 38 h 76"/>
                <a:gd name="T30" fmla="*/ 6 w 60"/>
                <a:gd name="T31" fmla="*/ 38 h 76"/>
                <a:gd name="T32" fmla="*/ 8 w 60"/>
                <a:gd name="T33" fmla="*/ 40 h 76"/>
                <a:gd name="T34" fmla="*/ 10 w 60"/>
                <a:gd name="T35" fmla="*/ 42 h 76"/>
                <a:gd name="T36" fmla="*/ 10 w 60"/>
                <a:gd name="T37" fmla="*/ 44 h 76"/>
                <a:gd name="T38" fmla="*/ 8 w 60"/>
                <a:gd name="T39" fmla="*/ 48 h 76"/>
                <a:gd name="T40" fmla="*/ 6 w 60"/>
                <a:gd name="T41" fmla="*/ 50 h 76"/>
                <a:gd name="T42" fmla="*/ 2 w 60"/>
                <a:gd name="T43" fmla="*/ 52 h 76"/>
                <a:gd name="T44" fmla="*/ 0 w 60"/>
                <a:gd name="T45" fmla="*/ 54 h 76"/>
                <a:gd name="T46" fmla="*/ 2 w 60"/>
                <a:gd name="T47" fmla="*/ 60 h 76"/>
                <a:gd name="T48" fmla="*/ 2 w 60"/>
                <a:gd name="T49" fmla="*/ 66 h 76"/>
                <a:gd name="T50" fmla="*/ 2 w 60"/>
                <a:gd name="T51" fmla="*/ 70 h 76"/>
                <a:gd name="T52" fmla="*/ 2 w 60"/>
                <a:gd name="T53" fmla="*/ 74 h 76"/>
                <a:gd name="T54" fmla="*/ 4 w 60"/>
                <a:gd name="T55" fmla="*/ 74 h 76"/>
                <a:gd name="T56" fmla="*/ 6 w 60"/>
                <a:gd name="T57" fmla="*/ 76 h 76"/>
                <a:gd name="T58" fmla="*/ 12 w 60"/>
                <a:gd name="T59" fmla="*/ 74 h 76"/>
                <a:gd name="T60" fmla="*/ 20 w 60"/>
                <a:gd name="T61" fmla="*/ 72 h 76"/>
                <a:gd name="T62" fmla="*/ 26 w 60"/>
                <a:gd name="T63" fmla="*/ 68 h 76"/>
                <a:gd name="T64" fmla="*/ 32 w 60"/>
                <a:gd name="T65" fmla="*/ 64 h 76"/>
                <a:gd name="T66" fmla="*/ 36 w 60"/>
                <a:gd name="T67" fmla="*/ 62 h 76"/>
                <a:gd name="T68" fmla="*/ 44 w 60"/>
                <a:gd name="T69" fmla="*/ 64 h 76"/>
                <a:gd name="T70" fmla="*/ 50 w 60"/>
                <a:gd name="T71" fmla="*/ 62 h 76"/>
                <a:gd name="T72" fmla="*/ 54 w 60"/>
                <a:gd name="T73" fmla="*/ 62 h 76"/>
                <a:gd name="T74" fmla="*/ 58 w 60"/>
                <a:gd name="T75" fmla="*/ 60 h 76"/>
                <a:gd name="T76" fmla="*/ 60 w 60"/>
                <a:gd name="T77" fmla="*/ 56 h 76"/>
                <a:gd name="T78" fmla="*/ 60 w 60"/>
                <a:gd name="T79" fmla="*/ 48 h 76"/>
                <a:gd name="T80" fmla="*/ 60 w 60"/>
                <a:gd name="T81" fmla="*/ 40 h 76"/>
                <a:gd name="T82" fmla="*/ 58 w 60"/>
                <a:gd name="T83" fmla="*/ 32 h 76"/>
                <a:gd name="T84" fmla="*/ 54 w 60"/>
                <a:gd name="T85" fmla="*/ 24 h 76"/>
                <a:gd name="T86" fmla="*/ 48 w 60"/>
                <a:gd name="T87" fmla="*/ 24 h 76"/>
                <a:gd name="T88" fmla="*/ 42 w 60"/>
                <a:gd name="T89" fmla="*/ 24 h 76"/>
                <a:gd name="T90" fmla="*/ 38 w 60"/>
                <a:gd name="T91" fmla="*/ 24 h 76"/>
                <a:gd name="T92" fmla="*/ 38 w 60"/>
                <a:gd name="T93" fmla="*/ 22 h 76"/>
                <a:gd name="T94" fmla="*/ 36 w 60"/>
                <a:gd name="T95" fmla="*/ 16 h 76"/>
                <a:gd name="T96" fmla="*/ 38 w 60"/>
                <a:gd name="T97" fmla="*/ 8 h 76"/>
                <a:gd name="T98" fmla="*/ 40 w 60"/>
                <a:gd name="T99" fmla="*/ 4 h 76"/>
                <a:gd name="T100" fmla="*/ 34 w 60"/>
                <a:gd name="T101" fmla="*/ 0 h 76"/>
                <a:gd name="T102" fmla="*/ 32 w 60"/>
                <a:gd name="T10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" h="76"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6" y="18"/>
                  </a:lnTo>
                  <a:lnTo>
                    <a:pt x="12" y="18"/>
                  </a:lnTo>
                  <a:lnTo>
                    <a:pt x="10" y="16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6" y="50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2" y="70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6"/>
                  </a:lnTo>
                  <a:lnTo>
                    <a:pt x="6" y="76"/>
                  </a:lnTo>
                  <a:lnTo>
                    <a:pt x="8" y="76"/>
                  </a:lnTo>
                  <a:lnTo>
                    <a:pt x="10" y="74"/>
                  </a:lnTo>
                  <a:lnTo>
                    <a:pt x="12" y="74"/>
                  </a:lnTo>
                  <a:lnTo>
                    <a:pt x="16" y="74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2" y="70"/>
                  </a:lnTo>
                  <a:lnTo>
                    <a:pt x="24" y="70"/>
                  </a:lnTo>
                  <a:lnTo>
                    <a:pt x="26" y="68"/>
                  </a:lnTo>
                  <a:lnTo>
                    <a:pt x="28" y="66"/>
                  </a:lnTo>
                  <a:lnTo>
                    <a:pt x="30" y="64"/>
                  </a:lnTo>
                  <a:lnTo>
                    <a:pt x="32" y="64"/>
                  </a:lnTo>
                  <a:lnTo>
                    <a:pt x="34" y="64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8" y="62"/>
                  </a:lnTo>
                  <a:lnTo>
                    <a:pt x="40" y="62"/>
                  </a:lnTo>
                  <a:lnTo>
                    <a:pt x="44" y="64"/>
                  </a:lnTo>
                  <a:lnTo>
                    <a:pt x="46" y="64"/>
                  </a:lnTo>
                  <a:lnTo>
                    <a:pt x="46" y="62"/>
                  </a:lnTo>
                  <a:lnTo>
                    <a:pt x="50" y="62"/>
                  </a:lnTo>
                  <a:lnTo>
                    <a:pt x="52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8" y="60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60" y="56"/>
                  </a:lnTo>
                  <a:lnTo>
                    <a:pt x="60" y="54"/>
                  </a:lnTo>
                  <a:lnTo>
                    <a:pt x="60" y="50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2"/>
                  </a:lnTo>
                  <a:lnTo>
                    <a:pt x="60" y="40"/>
                  </a:lnTo>
                  <a:lnTo>
                    <a:pt x="60" y="38"/>
                  </a:lnTo>
                  <a:lnTo>
                    <a:pt x="60" y="36"/>
                  </a:lnTo>
                  <a:lnTo>
                    <a:pt x="58" y="32"/>
                  </a:lnTo>
                  <a:lnTo>
                    <a:pt x="58" y="30"/>
                  </a:lnTo>
                  <a:lnTo>
                    <a:pt x="56" y="26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6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6" y="20"/>
                  </a:lnTo>
                  <a:lnTo>
                    <a:pt x="36" y="18"/>
                  </a:lnTo>
                  <a:lnTo>
                    <a:pt x="36" y="16"/>
                  </a:lnTo>
                  <a:lnTo>
                    <a:pt x="36" y="14"/>
                  </a:lnTo>
                  <a:lnTo>
                    <a:pt x="36" y="12"/>
                  </a:lnTo>
                  <a:lnTo>
                    <a:pt x="38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12" name="Freeform 270">
              <a:extLst>
                <a:ext uri="{FF2B5EF4-FFF2-40B4-BE49-F238E27FC236}">
                  <a16:creationId xmlns:a16="http://schemas.microsoft.com/office/drawing/2014/main" id="{3E3D76FD-BDBD-4661-8692-10CDF17CA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9637" y="2461551"/>
              <a:ext cx="30752" cy="20058"/>
            </a:xfrm>
            <a:custGeom>
              <a:avLst/>
              <a:gdLst>
                <a:gd name="T0" fmla="*/ 6 w 18"/>
                <a:gd name="T1" fmla="*/ 0 h 12"/>
                <a:gd name="T2" fmla="*/ 6 w 18"/>
                <a:gd name="T3" fmla="*/ 0 h 12"/>
                <a:gd name="T4" fmla="*/ 6 w 18"/>
                <a:gd name="T5" fmla="*/ 2 h 12"/>
                <a:gd name="T6" fmla="*/ 4 w 18"/>
                <a:gd name="T7" fmla="*/ 2 h 12"/>
                <a:gd name="T8" fmla="*/ 4 w 18"/>
                <a:gd name="T9" fmla="*/ 2 h 12"/>
                <a:gd name="T10" fmla="*/ 2 w 18"/>
                <a:gd name="T11" fmla="*/ 4 h 12"/>
                <a:gd name="T12" fmla="*/ 2 w 18"/>
                <a:gd name="T13" fmla="*/ 6 h 12"/>
                <a:gd name="T14" fmla="*/ 0 w 18"/>
                <a:gd name="T15" fmla="*/ 6 h 12"/>
                <a:gd name="T16" fmla="*/ 0 w 18"/>
                <a:gd name="T17" fmla="*/ 8 h 12"/>
                <a:gd name="T18" fmla="*/ 0 w 18"/>
                <a:gd name="T19" fmla="*/ 8 h 12"/>
                <a:gd name="T20" fmla="*/ 0 w 18"/>
                <a:gd name="T21" fmla="*/ 8 h 12"/>
                <a:gd name="T22" fmla="*/ 0 w 18"/>
                <a:gd name="T23" fmla="*/ 10 h 12"/>
                <a:gd name="T24" fmla="*/ 0 w 18"/>
                <a:gd name="T25" fmla="*/ 10 h 12"/>
                <a:gd name="T26" fmla="*/ 2 w 18"/>
                <a:gd name="T27" fmla="*/ 10 h 12"/>
                <a:gd name="T28" fmla="*/ 2 w 18"/>
                <a:gd name="T29" fmla="*/ 10 h 12"/>
                <a:gd name="T30" fmla="*/ 4 w 18"/>
                <a:gd name="T31" fmla="*/ 12 h 12"/>
                <a:gd name="T32" fmla="*/ 6 w 18"/>
                <a:gd name="T33" fmla="*/ 12 h 12"/>
                <a:gd name="T34" fmla="*/ 8 w 18"/>
                <a:gd name="T35" fmla="*/ 12 h 12"/>
                <a:gd name="T36" fmla="*/ 10 w 18"/>
                <a:gd name="T37" fmla="*/ 12 h 12"/>
                <a:gd name="T38" fmla="*/ 12 w 18"/>
                <a:gd name="T39" fmla="*/ 10 h 12"/>
                <a:gd name="T40" fmla="*/ 12 w 18"/>
                <a:gd name="T41" fmla="*/ 10 h 12"/>
                <a:gd name="T42" fmla="*/ 14 w 18"/>
                <a:gd name="T43" fmla="*/ 10 h 12"/>
                <a:gd name="T44" fmla="*/ 14 w 18"/>
                <a:gd name="T45" fmla="*/ 8 h 12"/>
                <a:gd name="T46" fmla="*/ 16 w 18"/>
                <a:gd name="T47" fmla="*/ 8 h 12"/>
                <a:gd name="T48" fmla="*/ 16 w 18"/>
                <a:gd name="T49" fmla="*/ 6 h 12"/>
                <a:gd name="T50" fmla="*/ 18 w 18"/>
                <a:gd name="T51" fmla="*/ 4 h 12"/>
                <a:gd name="T52" fmla="*/ 18 w 18"/>
                <a:gd name="T53" fmla="*/ 2 h 12"/>
                <a:gd name="T54" fmla="*/ 18 w 18"/>
                <a:gd name="T55" fmla="*/ 2 h 12"/>
                <a:gd name="T56" fmla="*/ 18 w 18"/>
                <a:gd name="T57" fmla="*/ 2 h 12"/>
                <a:gd name="T58" fmla="*/ 18 w 18"/>
                <a:gd name="T59" fmla="*/ 0 h 12"/>
                <a:gd name="T60" fmla="*/ 18 w 18"/>
                <a:gd name="T61" fmla="*/ 0 h 12"/>
                <a:gd name="T62" fmla="*/ 16 w 18"/>
                <a:gd name="T63" fmla="*/ 0 h 12"/>
                <a:gd name="T64" fmla="*/ 16 w 18"/>
                <a:gd name="T65" fmla="*/ 0 h 12"/>
                <a:gd name="T66" fmla="*/ 16 w 18"/>
                <a:gd name="T67" fmla="*/ 0 h 12"/>
                <a:gd name="T68" fmla="*/ 14 w 18"/>
                <a:gd name="T69" fmla="*/ 0 h 12"/>
                <a:gd name="T70" fmla="*/ 12 w 18"/>
                <a:gd name="T71" fmla="*/ 0 h 12"/>
                <a:gd name="T72" fmla="*/ 10 w 18"/>
                <a:gd name="T73" fmla="*/ 0 h 12"/>
                <a:gd name="T74" fmla="*/ 10 w 18"/>
                <a:gd name="T75" fmla="*/ 0 h 12"/>
                <a:gd name="T76" fmla="*/ 8 w 18"/>
                <a:gd name="T77" fmla="*/ 0 h 12"/>
                <a:gd name="T78" fmla="*/ 6 w 18"/>
                <a:gd name="T7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" h="12">
                  <a:moveTo>
                    <a:pt x="6" y="0"/>
                  </a:moveTo>
                  <a:lnTo>
                    <a:pt x="6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13" name="Freeform 271">
              <a:extLst>
                <a:ext uri="{FF2B5EF4-FFF2-40B4-BE49-F238E27FC236}">
                  <a16:creationId xmlns:a16="http://schemas.microsoft.com/office/drawing/2014/main" id="{F799EE86-C02F-495A-929F-E749CFB62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472" y="2438151"/>
              <a:ext cx="27335" cy="56832"/>
            </a:xfrm>
            <a:custGeom>
              <a:avLst/>
              <a:gdLst>
                <a:gd name="T0" fmla="*/ 2 w 16"/>
                <a:gd name="T1" fmla="*/ 2 h 34"/>
                <a:gd name="T2" fmla="*/ 2 w 16"/>
                <a:gd name="T3" fmla="*/ 2 h 34"/>
                <a:gd name="T4" fmla="*/ 2 w 16"/>
                <a:gd name="T5" fmla="*/ 2 h 34"/>
                <a:gd name="T6" fmla="*/ 0 w 16"/>
                <a:gd name="T7" fmla="*/ 2 h 34"/>
                <a:gd name="T8" fmla="*/ 0 w 16"/>
                <a:gd name="T9" fmla="*/ 4 h 34"/>
                <a:gd name="T10" fmla="*/ 0 w 16"/>
                <a:gd name="T11" fmla="*/ 4 h 34"/>
                <a:gd name="T12" fmla="*/ 0 w 16"/>
                <a:gd name="T13" fmla="*/ 6 h 34"/>
                <a:gd name="T14" fmla="*/ 0 w 16"/>
                <a:gd name="T15" fmla="*/ 8 h 34"/>
                <a:gd name="T16" fmla="*/ 0 w 16"/>
                <a:gd name="T17" fmla="*/ 10 h 34"/>
                <a:gd name="T18" fmla="*/ 2 w 16"/>
                <a:gd name="T19" fmla="*/ 12 h 34"/>
                <a:gd name="T20" fmla="*/ 2 w 16"/>
                <a:gd name="T21" fmla="*/ 14 h 34"/>
                <a:gd name="T22" fmla="*/ 4 w 16"/>
                <a:gd name="T23" fmla="*/ 14 h 34"/>
                <a:gd name="T24" fmla="*/ 4 w 16"/>
                <a:gd name="T25" fmla="*/ 16 h 34"/>
                <a:gd name="T26" fmla="*/ 4 w 16"/>
                <a:gd name="T27" fmla="*/ 16 h 34"/>
                <a:gd name="T28" fmla="*/ 6 w 16"/>
                <a:gd name="T29" fmla="*/ 16 h 34"/>
                <a:gd name="T30" fmla="*/ 8 w 16"/>
                <a:gd name="T31" fmla="*/ 16 h 34"/>
                <a:gd name="T32" fmla="*/ 10 w 16"/>
                <a:gd name="T33" fmla="*/ 16 h 34"/>
                <a:gd name="T34" fmla="*/ 10 w 16"/>
                <a:gd name="T35" fmla="*/ 18 h 34"/>
                <a:gd name="T36" fmla="*/ 10 w 16"/>
                <a:gd name="T37" fmla="*/ 18 h 34"/>
                <a:gd name="T38" fmla="*/ 12 w 16"/>
                <a:gd name="T39" fmla="*/ 18 h 34"/>
                <a:gd name="T40" fmla="*/ 12 w 16"/>
                <a:gd name="T41" fmla="*/ 20 h 34"/>
                <a:gd name="T42" fmla="*/ 12 w 16"/>
                <a:gd name="T43" fmla="*/ 22 h 34"/>
                <a:gd name="T44" fmla="*/ 12 w 16"/>
                <a:gd name="T45" fmla="*/ 24 h 34"/>
                <a:gd name="T46" fmla="*/ 12 w 16"/>
                <a:gd name="T47" fmla="*/ 26 h 34"/>
                <a:gd name="T48" fmla="*/ 12 w 16"/>
                <a:gd name="T49" fmla="*/ 28 h 34"/>
                <a:gd name="T50" fmla="*/ 12 w 16"/>
                <a:gd name="T51" fmla="*/ 30 h 34"/>
                <a:gd name="T52" fmla="*/ 12 w 16"/>
                <a:gd name="T53" fmla="*/ 32 h 34"/>
                <a:gd name="T54" fmla="*/ 12 w 16"/>
                <a:gd name="T55" fmla="*/ 32 h 34"/>
                <a:gd name="T56" fmla="*/ 12 w 16"/>
                <a:gd name="T57" fmla="*/ 32 h 34"/>
                <a:gd name="T58" fmla="*/ 12 w 16"/>
                <a:gd name="T59" fmla="*/ 34 h 34"/>
                <a:gd name="T60" fmla="*/ 12 w 16"/>
                <a:gd name="T61" fmla="*/ 34 h 34"/>
                <a:gd name="T62" fmla="*/ 14 w 16"/>
                <a:gd name="T63" fmla="*/ 34 h 34"/>
                <a:gd name="T64" fmla="*/ 14 w 16"/>
                <a:gd name="T65" fmla="*/ 32 h 34"/>
                <a:gd name="T66" fmla="*/ 14 w 16"/>
                <a:gd name="T67" fmla="*/ 32 h 34"/>
                <a:gd name="T68" fmla="*/ 14 w 16"/>
                <a:gd name="T69" fmla="*/ 32 h 34"/>
                <a:gd name="T70" fmla="*/ 16 w 16"/>
                <a:gd name="T71" fmla="*/ 30 h 34"/>
                <a:gd name="T72" fmla="*/ 16 w 16"/>
                <a:gd name="T73" fmla="*/ 30 h 34"/>
                <a:gd name="T74" fmla="*/ 16 w 16"/>
                <a:gd name="T75" fmla="*/ 26 h 34"/>
                <a:gd name="T76" fmla="*/ 16 w 16"/>
                <a:gd name="T77" fmla="*/ 26 h 34"/>
                <a:gd name="T78" fmla="*/ 16 w 16"/>
                <a:gd name="T79" fmla="*/ 22 h 34"/>
                <a:gd name="T80" fmla="*/ 16 w 16"/>
                <a:gd name="T81" fmla="*/ 20 h 34"/>
                <a:gd name="T82" fmla="*/ 16 w 16"/>
                <a:gd name="T83" fmla="*/ 18 h 34"/>
                <a:gd name="T84" fmla="*/ 16 w 16"/>
                <a:gd name="T85" fmla="*/ 12 h 34"/>
                <a:gd name="T86" fmla="*/ 16 w 16"/>
                <a:gd name="T87" fmla="*/ 10 h 34"/>
                <a:gd name="T88" fmla="*/ 16 w 16"/>
                <a:gd name="T89" fmla="*/ 6 h 34"/>
                <a:gd name="T90" fmla="*/ 16 w 16"/>
                <a:gd name="T91" fmla="*/ 4 h 34"/>
                <a:gd name="T92" fmla="*/ 16 w 16"/>
                <a:gd name="T93" fmla="*/ 4 h 34"/>
                <a:gd name="T94" fmla="*/ 16 w 16"/>
                <a:gd name="T95" fmla="*/ 2 h 34"/>
                <a:gd name="T96" fmla="*/ 16 w 16"/>
                <a:gd name="T97" fmla="*/ 2 h 34"/>
                <a:gd name="T98" fmla="*/ 16 w 16"/>
                <a:gd name="T99" fmla="*/ 2 h 34"/>
                <a:gd name="T100" fmla="*/ 14 w 16"/>
                <a:gd name="T101" fmla="*/ 0 h 34"/>
                <a:gd name="T102" fmla="*/ 14 w 16"/>
                <a:gd name="T103" fmla="*/ 0 h 34"/>
                <a:gd name="T104" fmla="*/ 12 w 16"/>
                <a:gd name="T105" fmla="*/ 0 h 34"/>
                <a:gd name="T106" fmla="*/ 10 w 16"/>
                <a:gd name="T107" fmla="*/ 0 h 34"/>
                <a:gd name="T108" fmla="*/ 8 w 16"/>
                <a:gd name="T109" fmla="*/ 0 h 34"/>
                <a:gd name="T110" fmla="*/ 6 w 16"/>
                <a:gd name="T111" fmla="*/ 0 h 34"/>
                <a:gd name="T112" fmla="*/ 4 w 16"/>
                <a:gd name="T113" fmla="*/ 0 h 34"/>
                <a:gd name="T114" fmla="*/ 2 w 16"/>
                <a:gd name="T115" fmla="*/ 0 h 34"/>
                <a:gd name="T116" fmla="*/ 2 w 16"/>
                <a:gd name="T117" fmla="*/ 0 h 34"/>
                <a:gd name="T118" fmla="*/ 2 w 16"/>
                <a:gd name="T11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" h="34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12" y="28"/>
                  </a:lnTo>
                  <a:lnTo>
                    <a:pt x="12" y="30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14" name="Freeform 273">
              <a:extLst>
                <a:ext uri="{FF2B5EF4-FFF2-40B4-BE49-F238E27FC236}">
                  <a16:creationId xmlns:a16="http://schemas.microsoft.com/office/drawing/2014/main" id="{2004428D-D81F-40A4-9CF6-3D0A9BBAD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1892" y="2441494"/>
              <a:ext cx="17084" cy="20058"/>
            </a:xfrm>
            <a:custGeom>
              <a:avLst/>
              <a:gdLst>
                <a:gd name="T0" fmla="*/ 0 w 10"/>
                <a:gd name="T1" fmla="*/ 4 h 12"/>
                <a:gd name="T2" fmla="*/ 0 w 10"/>
                <a:gd name="T3" fmla="*/ 4 h 12"/>
                <a:gd name="T4" fmla="*/ 0 w 10"/>
                <a:gd name="T5" fmla="*/ 4 h 12"/>
                <a:gd name="T6" fmla="*/ 0 w 10"/>
                <a:gd name="T7" fmla="*/ 4 h 12"/>
                <a:gd name="T8" fmla="*/ 0 w 10"/>
                <a:gd name="T9" fmla="*/ 6 h 12"/>
                <a:gd name="T10" fmla="*/ 2 w 10"/>
                <a:gd name="T11" fmla="*/ 6 h 12"/>
                <a:gd name="T12" fmla="*/ 2 w 10"/>
                <a:gd name="T13" fmla="*/ 8 h 12"/>
                <a:gd name="T14" fmla="*/ 4 w 10"/>
                <a:gd name="T15" fmla="*/ 10 h 12"/>
                <a:gd name="T16" fmla="*/ 4 w 10"/>
                <a:gd name="T17" fmla="*/ 10 h 12"/>
                <a:gd name="T18" fmla="*/ 6 w 10"/>
                <a:gd name="T19" fmla="*/ 10 h 12"/>
                <a:gd name="T20" fmla="*/ 6 w 10"/>
                <a:gd name="T21" fmla="*/ 12 h 12"/>
                <a:gd name="T22" fmla="*/ 6 w 10"/>
                <a:gd name="T23" fmla="*/ 12 h 12"/>
                <a:gd name="T24" fmla="*/ 6 w 10"/>
                <a:gd name="T25" fmla="*/ 10 h 12"/>
                <a:gd name="T26" fmla="*/ 8 w 10"/>
                <a:gd name="T27" fmla="*/ 10 h 12"/>
                <a:gd name="T28" fmla="*/ 8 w 10"/>
                <a:gd name="T29" fmla="*/ 10 h 12"/>
                <a:gd name="T30" fmla="*/ 10 w 10"/>
                <a:gd name="T31" fmla="*/ 8 h 12"/>
                <a:gd name="T32" fmla="*/ 10 w 10"/>
                <a:gd name="T33" fmla="*/ 6 h 12"/>
                <a:gd name="T34" fmla="*/ 10 w 10"/>
                <a:gd name="T35" fmla="*/ 6 h 12"/>
                <a:gd name="T36" fmla="*/ 10 w 10"/>
                <a:gd name="T37" fmla="*/ 4 h 12"/>
                <a:gd name="T38" fmla="*/ 10 w 10"/>
                <a:gd name="T39" fmla="*/ 2 h 12"/>
                <a:gd name="T40" fmla="*/ 10 w 10"/>
                <a:gd name="T41" fmla="*/ 2 h 12"/>
                <a:gd name="T42" fmla="*/ 10 w 10"/>
                <a:gd name="T43" fmla="*/ 2 h 12"/>
                <a:gd name="T44" fmla="*/ 10 w 10"/>
                <a:gd name="T45" fmla="*/ 2 h 12"/>
                <a:gd name="T46" fmla="*/ 10 w 10"/>
                <a:gd name="T47" fmla="*/ 0 h 12"/>
                <a:gd name="T48" fmla="*/ 10 w 10"/>
                <a:gd name="T49" fmla="*/ 0 h 12"/>
                <a:gd name="T50" fmla="*/ 10 w 10"/>
                <a:gd name="T51" fmla="*/ 0 h 12"/>
                <a:gd name="T52" fmla="*/ 8 w 10"/>
                <a:gd name="T53" fmla="*/ 0 h 12"/>
                <a:gd name="T54" fmla="*/ 6 w 10"/>
                <a:gd name="T55" fmla="*/ 0 h 12"/>
                <a:gd name="T56" fmla="*/ 6 w 10"/>
                <a:gd name="T57" fmla="*/ 0 h 12"/>
                <a:gd name="T58" fmla="*/ 4 w 10"/>
                <a:gd name="T59" fmla="*/ 0 h 12"/>
                <a:gd name="T60" fmla="*/ 2 w 10"/>
                <a:gd name="T61" fmla="*/ 2 h 12"/>
                <a:gd name="T62" fmla="*/ 2 w 10"/>
                <a:gd name="T63" fmla="*/ 2 h 12"/>
                <a:gd name="T64" fmla="*/ 0 w 10"/>
                <a:gd name="T65" fmla="*/ 2 h 12"/>
                <a:gd name="T66" fmla="*/ 0 w 10"/>
                <a:gd name="T67" fmla="*/ 4 h 12"/>
                <a:gd name="T68" fmla="*/ 0 w 10"/>
                <a:gd name="T6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" h="12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15" name="Line 275">
              <a:extLst>
                <a:ext uri="{FF2B5EF4-FFF2-40B4-BE49-F238E27FC236}">
                  <a16:creationId xmlns:a16="http://schemas.microsoft.com/office/drawing/2014/main" id="{173529D8-2FB1-4FE3-BBC4-CBA3820814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04238" y="2451524"/>
              <a:ext cx="3417" cy="0"/>
            </a:xfrm>
            <a:prstGeom prst="line">
              <a:avLst/>
            </a:prstGeom>
            <a:gradFill>
              <a:gsLst>
                <a:gs pos="0">
                  <a:srgbClr val="00ACEE">
                    <a:alpha val="34000"/>
                  </a:srgbClr>
                </a:gs>
                <a:gs pos="100000">
                  <a:srgbClr val="0C071E">
                    <a:alpha val="41000"/>
                  </a:srgbClr>
                </a:gs>
              </a:gsLst>
              <a:lin ang="13500000" scaled="1"/>
            </a:gradFill>
            <a:ln w="6350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16" name="Line 276">
              <a:extLst>
                <a:ext uri="{FF2B5EF4-FFF2-40B4-BE49-F238E27FC236}">
                  <a16:creationId xmlns:a16="http://schemas.microsoft.com/office/drawing/2014/main" id="{160D91F5-84A0-40C5-9C7E-1F581FAD2A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04238" y="2451524"/>
              <a:ext cx="3417" cy="0"/>
            </a:xfrm>
            <a:prstGeom prst="line">
              <a:avLst/>
            </a:prstGeom>
            <a:gradFill>
              <a:gsLst>
                <a:gs pos="0">
                  <a:srgbClr val="00ACEE">
                    <a:alpha val="34000"/>
                  </a:srgbClr>
                </a:gs>
                <a:gs pos="100000">
                  <a:srgbClr val="0C071E">
                    <a:alpha val="41000"/>
                  </a:srgbClr>
                </a:gs>
              </a:gsLst>
              <a:lin ang="13500000" scaled="1"/>
            </a:gradFill>
            <a:ln w="6350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17" name="Freeform 277">
              <a:extLst>
                <a:ext uri="{FF2B5EF4-FFF2-40B4-BE49-F238E27FC236}">
                  <a16:creationId xmlns:a16="http://schemas.microsoft.com/office/drawing/2014/main" id="{EDDA91A5-EAF6-46C7-8386-9738482E5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4626" y="2377975"/>
              <a:ext cx="611616" cy="518164"/>
            </a:xfrm>
            <a:custGeom>
              <a:avLst/>
              <a:gdLst>
                <a:gd name="T0" fmla="*/ 310 w 358"/>
                <a:gd name="T1" fmla="*/ 44 h 310"/>
                <a:gd name="T2" fmla="*/ 290 w 358"/>
                <a:gd name="T3" fmla="*/ 30 h 310"/>
                <a:gd name="T4" fmla="*/ 270 w 358"/>
                <a:gd name="T5" fmla="*/ 50 h 310"/>
                <a:gd name="T6" fmla="*/ 260 w 358"/>
                <a:gd name="T7" fmla="*/ 66 h 310"/>
                <a:gd name="T8" fmla="*/ 216 w 358"/>
                <a:gd name="T9" fmla="*/ 66 h 310"/>
                <a:gd name="T10" fmla="*/ 198 w 358"/>
                <a:gd name="T11" fmla="*/ 80 h 310"/>
                <a:gd name="T12" fmla="*/ 174 w 358"/>
                <a:gd name="T13" fmla="*/ 86 h 310"/>
                <a:gd name="T14" fmla="*/ 158 w 358"/>
                <a:gd name="T15" fmla="*/ 88 h 310"/>
                <a:gd name="T16" fmla="*/ 154 w 358"/>
                <a:gd name="T17" fmla="*/ 100 h 310"/>
                <a:gd name="T18" fmla="*/ 146 w 358"/>
                <a:gd name="T19" fmla="*/ 110 h 310"/>
                <a:gd name="T20" fmla="*/ 138 w 358"/>
                <a:gd name="T21" fmla="*/ 120 h 310"/>
                <a:gd name="T22" fmla="*/ 130 w 358"/>
                <a:gd name="T23" fmla="*/ 132 h 310"/>
                <a:gd name="T24" fmla="*/ 120 w 358"/>
                <a:gd name="T25" fmla="*/ 142 h 310"/>
                <a:gd name="T26" fmla="*/ 114 w 358"/>
                <a:gd name="T27" fmla="*/ 166 h 310"/>
                <a:gd name="T28" fmla="*/ 122 w 358"/>
                <a:gd name="T29" fmla="*/ 176 h 310"/>
                <a:gd name="T30" fmla="*/ 110 w 358"/>
                <a:gd name="T31" fmla="*/ 178 h 310"/>
                <a:gd name="T32" fmla="*/ 100 w 358"/>
                <a:gd name="T33" fmla="*/ 184 h 310"/>
                <a:gd name="T34" fmla="*/ 104 w 358"/>
                <a:gd name="T35" fmla="*/ 230 h 310"/>
                <a:gd name="T36" fmla="*/ 116 w 358"/>
                <a:gd name="T37" fmla="*/ 262 h 310"/>
                <a:gd name="T38" fmla="*/ 104 w 358"/>
                <a:gd name="T39" fmla="*/ 270 h 310"/>
                <a:gd name="T40" fmla="*/ 94 w 358"/>
                <a:gd name="T41" fmla="*/ 296 h 310"/>
                <a:gd name="T42" fmla="*/ 72 w 358"/>
                <a:gd name="T43" fmla="*/ 294 h 310"/>
                <a:gd name="T44" fmla="*/ 44 w 358"/>
                <a:gd name="T45" fmla="*/ 306 h 310"/>
                <a:gd name="T46" fmla="*/ 20 w 358"/>
                <a:gd name="T47" fmla="*/ 308 h 310"/>
                <a:gd name="T48" fmla="*/ 18 w 358"/>
                <a:gd name="T49" fmla="*/ 290 h 310"/>
                <a:gd name="T50" fmla="*/ 14 w 358"/>
                <a:gd name="T51" fmla="*/ 274 h 310"/>
                <a:gd name="T52" fmla="*/ 12 w 358"/>
                <a:gd name="T53" fmla="*/ 260 h 310"/>
                <a:gd name="T54" fmla="*/ 0 w 358"/>
                <a:gd name="T55" fmla="*/ 246 h 310"/>
                <a:gd name="T56" fmla="*/ 6 w 358"/>
                <a:gd name="T57" fmla="*/ 220 h 310"/>
                <a:gd name="T58" fmla="*/ 18 w 358"/>
                <a:gd name="T59" fmla="*/ 210 h 310"/>
                <a:gd name="T60" fmla="*/ 40 w 358"/>
                <a:gd name="T61" fmla="*/ 204 h 310"/>
                <a:gd name="T62" fmla="*/ 52 w 358"/>
                <a:gd name="T63" fmla="*/ 192 h 310"/>
                <a:gd name="T64" fmla="*/ 66 w 358"/>
                <a:gd name="T65" fmla="*/ 190 h 310"/>
                <a:gd name="T66" fmla="*/ 70 w 358"/>
                <a:gd name="T67" fmla="*/ 172 h 310"/>
                <a:gd name="T68" fmla="*/ 88 w 358"/>
                <a:gd name="T69" fmla="*/ 166 h 310"/>
                <a:gd name="T70" fmla="*/ 98 w 358"/>
                <a:gd name="T71" fmla="*/ 148 h 310"/>
                <a:gd name="T72" fmla="*/ 106 w 358"/>
                <a:gd name="T73" fmla="*/ 120 h 310"/>
                <a:gd name="T74" fmla="*/ 134 w 358"/>
                <a:gd name="T75" fmla="*/ 90 h 310"/>
                <a:gd name="T76" fmla="*/ 164 w 358"/>
                <a:gd name="T77" fmla="*/ 76 h 310"/>
                <a:gd name="T78" fmla="*/ 192 w 358"/>
                <a:gd name="T79" fmla="*/ 68 h 310"/>
                <a:gd name="T80" fmla="*/ 204 w 358"/>
                <a:gd name="T81" fmla="*/ 58 h 310"/>
                <a:gd name="T82" fmla="*/ 216 w 358"/>
                <a:gd name="T83" fmla="*/ 48 h 310"/>
                <a:gd name="T84" fmla="*/ 214 w 358"/>
                <a:gd name="T85" fmla="*/ 32 h 310"/>
                <a:gd name="T86" fmla="*/ 206 w 358"/>
                <a:gd name="T87" fmla="*/ 24 h 310"/>
                <a:gd name="T88" fmla="*/ 220 w 358"/>
                <a:gd name="T89" fmla="*/ 18 h 310"/>
                <a:gd name="T90" fmla="*/ 226 w 358"/>
                <a:gd name="T91" fmla="*/ 14 h 310"/>
                <a:gd name="T92" fmla="*/ 232 w 358"/>
                <a:gd name="T93" fmla="*/ 26 h 310"/>
                <a:gd name="T94" fmla="*/ 234 w 358"/>
                <a:gd name="T95" fmla="*/ 18 h 310"/>
                <a:gd name="T96" fmla="*/ 244 w 358"/>
                <a:gd name="T97" fmla="*/ 22 h 310"/>
                <a:gd name="T98" fmla="*/ 256 w 358"/>
                <a:gd name="T99" fmla="*/ 26 h 310"/>
                <a:gd name="T100" fmla="*/ 258 w 358"/>
                <a:gd name="T101" fmla="*/ 14 h 310"/>
                <a:gd name="T102" fmla="*/ 256 w 358"/>
                <a:gd name="T103" fmla="*/ 6 h 310"/>
                <a:gd name="T104" fmla="*/ 272 w 358"/>
                <a:gd name="T105" fmla="*/ 10 h 310"/>
                <a:gd name="T106" fmla="*/ 282 w 358"/>
                <a:gd name="T107" fmla="*/ 4 h 310"/>
                <a:gd name="T108" fmla="*/ 288 w 358"/>
                <a:gd name="T109" fmla="*/ 10 h 310"/>
                <a:gd name="T110" fmla="*/ 300 w 358"/>
                <a:gd name="T111" fmla="*/ 16 h 310"/>
                <a:gd name="T112" fmla="*/ 316 w 358"/>
                <a:gd name="T113" fmla="*/ 6 h 310"/>
                <a:gd name="T114" fmla="*/ 332 w 358"/>
                <a:gd name="T115" fmla="*/ 16 h 310"/>
                <a:gd name="T116" fmla="*/ 332 w 358"/>
                <a:gd name="T117" fmla="*/ 30 h 310"/>
                <a:gd name="T118" fmla="*/ 340 w 358"/>
                <a:gd name="T119" fmla="*/ 48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8" h="310">
                  <a:moveTo>
                    <a:pt x="302" y="68"/>
                  </a:moveTo>
                  <a:lnTo>
                    <a:pt x="302" y="68"/>
                  </a:lnTo>
                  <a:lnTo>
                    <a:pt x="304" y="64"/>
                  </a:lnTo>
                  <a:lnTo>
                    <a:pt x="304" y="62"/>
                  </a:lnTo>
                  <a:lnTo>
                    <a:pt x="306" y="58"/>
                  </a:lnTo>
                  <a:lnTo>
                    <a:pt x="308" y="54"/>
                  </a:lnTo>
                  <a:lnTo>
                    <a:pt x="308" y="52"/>
                  </a:lnTo>
                  <a:lnTo>
                    <a:pt x="310" y="50"/>
                  </a:lnTo>
                  <a:lnTo>
                    <a:pt x="310" y="48"/>
                  </a:lnTo>
                  <a:lnTo>
                    <a:pt x="310" y="46"/>
                  </a:lnTo>
                  <a:lnTo>
                    <a:pt x="310" y="44"/>
                  </a:lnTo>
                  <a:lnTo>
                    <a:pt x="310" y="44"/>
                  </a:lnTo>
                  <a:lnTo>
                    <a:pt x="310" y="42"/>
                  </a:lnTo>
                  <a:lnTo>
                    <a:pt x="310" y="42"/>
                  </a:lnTo>
                  <a:lnTo>
                    <a:pt x="308" y="40"/>
                  </a:lnTo>
                  <a:lnTo>
                    <a:pt x="308" y="40"/>
                  </a:lnTo>
                  <a:lnTo>
                    <a:pt x="306" y="38"/>
                  </a:lnTo>
                  <a:lnTo>
                    <a:pt x="304" y="36"/>
                  </a:lnTo>
                  <a:lnTo>
                    <a:pt x="302" y="36"/>
                  </a:lnTo>
                  <a:lnTo>
                    <a:pt x="298" y="34"/>
                  </a:lnTo>
                  <a:lnTo>
                    <a:pt x="296" y="32"/>
                  </a:lnTo>
                  <a:lnTo>
                    <a:pt x="294" y="32"/>
                  </a:lnTo>
                  <a:lnTo>
                    <a:pt x="292" y="32"/>
                  </a:lnTo>
                  <a:lnTo>
                    <a:pt x="290" y="30"/>
                  </a:lnTo>
                  <a:lnTo>
                    <a:pt x="288" y="30"/>
                  </a:lnTo>
                  <a:lnTo>
                    <a:pt x="288" y="30"/>
                  </a:lnTo>
                  <a:lnTo>
                    <a:pt x="286" y="32"/>
                  </a:lnTo>
                  <a:lnTo>
                    <a:pt x="286" y="32"/>
                  </a:lnTo>
                  <a:lnTo>
                    <a:pt x="284" y="32"/>
                  </a:lnTo>
                  <a:lnTo>
                    <a:pt x="282" y="34"/>
                  </a:lnTo>
                  <a:lnTo>
                    <a:pt x="280" y="36"/>
                  </a:lnTo>
                  <a:lnTo>
                    <a:pt x="278" y="38"/>
                  </a:lnTo>
                  <a:lnTo>
                    <a:pt x="276" y="40"/>
                  </a:lnTo>
                  <a:lnTo>
                    <a:pt x="274" y="44"/>
                  </a:lnTo>
                  <a:lnTo>
                    <a:pt x="272" y="48"/>
                  </a:lnTo>
                  <a:lnTo>
                    <a:pt x="270" y="50"/>
                  </a:lnTo>
                  <a:lnTo>
                    <a:pt x="270" y="52"/>
                  </a:lnTo>
                  <a:lnTo>
                    <a:pt x="268" y="54"/>
                  </a:lnTo>
                  <a:lnTo>
                    <a:pt x="268" y="58"/>
                  </a:lnTo>
                  <a:lnTo>
                    <a:pt x="266" y="60"/>
                  </a:lnTo>
                  <a:lnTo>
                    <a:pt x="266" y="62"/>
                  </a:lnTo>
                  <a:lnTo>
                    <a:pt x="264" y="64"/>
                  </a:lnTo>
                  <a:lnTo>
                    <a:pt x="264" y="64"/>
                  </a:lnTo>
                  <a:lnTo>
                    <a:pt x="264" y="64"/>
                  </a:lnTo>
                  <a:lnTo>
                    <a:pt x="262" y="66"/>
                  </a:lnTo>
                  <a:lnTo>
                    <a:pt x="262" y="66"/>
                  </a:lnTo>
                  <a:lnTo>
                    <a:pt x="260" y="66"/>
                  </a:lnTo>
                  <a:lnTo>
                    <a:pt x="260" y="66"/>
                  </a:lnTo>
                  <a:lnTo>
                    <a:pt x="256" y="68"/>
                  </a:lnTo>
                  <a:lnTo>
                    <a:pt x="254" y="68"/>
                  </a:lnTo>
                  <a:lnTo>
                    <a:pt x="252" y="68"/>
                  </a:lnTo>
                  <a:lnTo>
                    <a:pt x="248" y="68"/>
                  </a:lnTo>
                  <a:lnTo>
                    <a:pt x="244" y="68"/>
                  </a:lnTo>
                  <a:lnTo>
                    <a:pt x="242" y="68"/>
                  </a:lnTo>
                  <a:lnTo>
                    <a:pt x="240" y="68"/>
                  </a:lnTo>
                  <a:lnTo>
                    <a:pt x="236" y="66"/>
                  </a:lnTo>
                  <a:lnTo>
                    <a:pt x="230" y="64"/>
                  </a:lnTo>
                  <a:lnTo>
                    <a:pt x="224" y="64"/>
                  </a:lnTo>
                  <a:lnTo>
                    <a:pt x="220" y="62"/>
                  </a:lnTo>
                  <a:lnTo>
                    <a:pt x="216" y="66"/>
                  </a:lnTo>
                  <a:lnTo>
                    <a:pt x="214" y="68"/>
                  </a:lnTo>
                  <a:lnTo>
                    <a:pt x="210" y="70"/>
                  </a:lnTo>
                  <a:lnTo>
                    <a:pt x="210" y="70"/>
                  </a:lnTo>
                  <a:lnTo>
                    <a:pt x="208" y="72"/>
                  </a:lnTo>
                  <a:lnTo>
                    <a:pt x="208" y="74"/>
                  </a:lnTo>
                  <a:lnTo>
                    <a:pt x="206" y="76"/>
                  </a:lnTo>
                  <a:lnTo>
                    <a:pt x="206" y="78"/>
                  </a:lnTo>
                  <a:lnTo>
                    <a:pt x="204" y="78"/>
                  </a:lnTo>
                  <a:lnTo>
                    <a:pt x="204" y="78"/>
                  </a:lnTo>
                  <a:lnTo>
                    <a:pt x="202" y="80"/>
                  </a:lnTo>
                  <a:lnTo>
                    <a:pt x="200" y="80"/>
                  </a:lnTo>
                  <a:lnTo>
                    <a:pt x="198" y="80"/>
                  </a:lnTo>
                  <a:lnTo>
                    <a:pt x="196" y="80"/>
                  </a:lnTo>
                  <a:lnTo>
                    <a:pt x="192" y="78"/>
                  </a:lnTo>
                  <a:lnTo>
                    <a:pt x="190" y="78"/>
                  </a:lnTo>
                  <a:lnTo>
                    <a:pt x="190" y="78"/>
                  </a:lnTo>
                  <a:lnTo>
                    <a:pt x="184" y="80"/>
                  </a:lnTo>
                  <a:lnTo>
                    <a:pt x="182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78" y="80"/>
                  </a:lnTo>
                  <a:lnTo>
                    <a:pt x="178" y="82"/>
                  </a:lnTo>
                  <a:lnTo>
                    <a:pt x="176" y="84"/>
                  </a:lnTo>
                  <a:lnTo>
                    <a:pt x="174" y="86"/>
                  </a:lnTo>
                  <a:lnTo>
                    <a:pt x="172" y="86"/>
                  </a:lnTo>
                  <a:lnTo>
                    <a:pt x="172" y="88"/>
                  </a:lnTo>
                  <a:lnTo>
                    <a:pt x="170" y="88"/>
                  </a:lnTo>
                  <a:lnTo>
                    <a:pt x="168" y="90"/>
                  </a:lnTo>
                  <a:lnTo>
                    <a:pt x="166" y="90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2" y="90"/>
                  </a:lnTo>
                  <a:lnTo>
                    <a:pt x="160" y="90"/>
                  </a:lnTo>
                  <a:lnTo>
                    <a:pt x="158" y="90"/>
                  </a:lnTo>
                  <a:lnTo>
                    <a:pt x="158" y="88"/>
                  </a:lnTo>
                  <a:lnTo>
                    <a:pt x="156" y="88"/>
                  </a:lnTo>
                  <a:lnTo>
                    <a:pt x="156" y="88"/>
                  </a:lnTo>
                  <a:lnTo>
                    <a:pt x="156" y="88"/>
                  </a:lnTo>
                  <a:lnTo>
                    <a:pt x="154" y="90"/>
                  </a:lnTo>
                  <a:lnTo>
                    <a:pt x="154" y="90"/>
                  </a:lnTo>
                  <a:lnTo>
                    <a:pt x="154" y="90"/>
                  </a:lnTo>
                  <a:lnTo>
                    <a:pt x="154" y="92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6"/>
                  </a:lnTo>
                  <a:lnTo>
                    <a:pt x="154" y="98"/>
                  </a:lnTo>
                  <a:lnTo>
                    <a:pt x="154" y="100"/>
                  </a:lnTo>
                  <a:lnTo>
                    <a:pt x="154" y="100"/>
                  </a:lnTo>
                  <a:lnTo>
                    <a:pt x="154" y="102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0" y="104"/>
                  </a:lnTo>
                  <a:lnTo>
                    <a:pt x="148" y="106"/>
                  </a:lnTo>
                  <a:lnTo>
                    <a:pt x="148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10"/>
                  </a:lnTo>
                  <a:lnTo>
                    <a:pt x="146" y="110"/>
                  </a:lnTo>
                  <a:lnTo>
                    <a:pt x="146" y="112"/>
                  </a:lnTo>
                  <a:lnTo>
                    <a:pt x="146" y="114"/>
                  </a:lnTo>
                  <a:lnTo>
                    <a:pt x="146" y="116"/>
                  </a:lnTo>
                  <a:lnTo>
                    <a:pt x="144" y="118"/>
                  </a:lnTo>
                  <a:lnTo>
                    <a:pt x="144" y="118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2" y="120"/>
                  </a:lnTo>
                  <a:lnTo>
                    <a:pt x="140" y="120"/>
                  </a:lnTo>
                  <a:lnTo>
                    <a:pt x="140" y="120"/>
                  </a:lnTo>
                  <a:lnTo>
                    <a:pt x="138" y="120"/>
                  </a:lnTo>
                  <a:lnTo>
                    <a:pt x="136" y="120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34" y="122"/>
                  </a:lnTo>
                  <a:lnTo>
                    <a:pt x="132" y="122"/>
                  </a:lnTo>
                  <a:lnTo>
                    <a:pt x="132" y="124"/>
                  </a:lnTo>
                  <a:lnTo>
                    <a:pt x="132" y="126"/>
                  </a:lnTo>
                  <a:lnTo>
                    <a:pt x="132" y="130"/>
                  </a:lnTo>
                  <a:lnTo>
                    <a:pt x="130" y="130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28" y="132"/>
                  </a:lnTo>
                  <a:lnTo>
                    <a:pt x="126" y="134"/>
                  </a:lnTo>
                  <a:lnTo>
                    <a:pt x="124" y="134"/>
                  </a:lnTo>
                  <a:lnTo>
                    <a:pt x="124" y="134"/>
                  </a:lnTo>
                  <a:lnTo>
                    <a:pt x="122" y="136"/>
                  </a:lnTo>
                  <a:lnTo>
                    <a:pt x="122" y="136"/>
                  </a:lnTo>
                  <a:lnTo>
                    <a:pt x="122" y="136"/>
                  </a:lnTo>
                  <a:lnTo>
                    <a:pt x="122" y="138"/>
                  </a:lnTo>
                  <a:lnTo>
                    <a:pt x="122" y="140"/>
                  </a:lnTo>
                  <a:lnTo>
                    <a:pt x="120" y="142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20" y="152"/>
                  </a:lnTo>
                  <a:lnTo>
                    <a:pt x="120" y="154"/>
                  </a:lnTo>
                  <a:lnTo>
                    <a:pt x="120" y="156"/>
                  </a:lnTo>
                  <a:lnTo>
                    <a:pt x="118" y="158"/>
                  </a:lnTo>
                  <a:lnTo>
                    <a:pt x="116" y="160"/>
                  </a:lnTo>
                  <a:lnTo>
                    <a:pt x="116" y="162"/>
                  </a:lnTo>
                  <a:lnTo>
                    <a:pt x="114" y="164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6" y="168"/>
                  </a:lnTo>
                  <a:lnTo>
                    <a:pt x="116" y="170"/>
                  </a:lnTo>
                  <a:lnTo>
                    <a:pt x="118" y="170"/>
                  </a:lnTo>
                  <a:lnTo>
                    <a:pt x="120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0" y="178"/>
                  </a:lnTo>
                  <a:lnTo>
                    <a:pt x="120" y="178"/>
                  </a:lnTo>
                  <a:lnTo>
                    <a:pt x="118" y="178"/>
                  </a:lnTo>
                  <a:lnTo>
                    <a:pt x="118" y="180"/>
                  </a:lnTo>
                  <a:lnTo>
                    <a:pt x="116" y="180"/>
                  </a:lnTo>
                  <a:lnTo>
                    <a:pt x="116" y="180"/>
                  </a:lnTo>
                  <a:lnTo>
                    <a:pt x="114" y="180"/>
                  </a:lnTo>
                  <a:lnTo>
                    <a:pt x="114" y="180"/>
                  </a:lnTo>
                  <a:lnTo>
                    <a:pt x="112" y="178"/>
                  </a:lnTo>
                  <a:lnTo>
                    <a:pt x="110" y="178"/>
                  </a:lnTo>
                  <a:lnTo>
                    <a:pt x="108" y="178"/>
                  </a:lnTo>
                  <a:lnTo>
                    <a:pt x="106" y="176"/>
                  </a:lnTo>
                  <a:lnTo>
                    <a:pt x="104" y="176"/>
                  </a:lnTo>
                  <a:lnTo>
                    <a:pt x="104" y="176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102" y="178"/>
                  </a:lnTo>
                  <a:lnTo>
                    <a:pt x="102" y="178"/>
                  </a:lnTo>
                  <a:lnTo>
                    <a:pt x="100" y="178"/>
                  </a:lnTo>
                  <a:lnTo>
                    <a:pt x="100" y="180"/>
                  </a:lnTo>
                  <a:lnTo>
                    <a:pt x="100" y="182"/>
                  </a:lnTo>
                  <a:lnTo>
                    <a:pt x="100" y="184"/>
                  </a:lnTo>
                  <a:lnTo>
                    <a:pt x="98" y="188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94"/>
                  </a:lnTo>
                  <a:lnTo>
                    <a:pt x="100" y="196"/>
                  </a:lnTo>
                  <a:lnTo>
                    <a:pt x="100" y="200"/>
                  </a:lnTo>
                  <a:lnTo>
                    <a:pt x="102" y="208"/>
                  </a:lnTo>
                  <a:lnTo>
                    <a:pt x="102" y="214"/>
                  </a:lnTo>
                  <a:lnTo>
                    <a:pt x="104" y="222"/>
                  </a:lnTo>
                  <a:lnTo>
                    <a:pt x="104" y="226"/>
                  </a:lnTo>
                  <a:lnTo>
                    <a:pt x="104" y="228"/>
                  </a:lnTo>
                  <a:lnTo>
                    <a:pt x="104" y="230"/>
                  </a:lnTo>
                  <a:lnTo>
                    <a:pt x="106" y="232"/>
                  </a:lnTo>
                  <a:lnTo>
                    <a:pt x="106" y="234"/>
                  </a:lnTo>
                  <a:lnTo>
                    <a:pt x="108" y="238"/>
                  </a:lnTo>
                  <a:lnTo>
                    <a:pt x="110" y="242"/>
                  </a:lnTo>
                  <a:lnTo>
                    <a:pt x="112" y="244"/>
                  </a:lnTo>
                  <a:lnTo>
                    <a:pt x="112" y="246"/>
                  </a:lnTo>
                  <a:lnTo>
                    <a:pt x="114" y="250"/>
                  </a:lnTo>
                  <a:lnTo>
                    <a:pt x="114" y="252"/>
                  </a:lnTo>
                  <a:lnTo>
                    <a:pt x="116" y="256"/>
                  </a:lnTo>
                  <a:lnTo>
                    <a:pt x="116" y="258"/>
                  </a:lnTo>
                  <a:lnTo>
                    <a:pt x="116" y="260"/>
                  </a:lnTo>
                  <a:lnTo>
                    <a:pt x="116" y="262"/>
                  </a:lnTo>
                  <a:lnTo>
                    <a:pt x="116" y="262"/>
                  </a:lnTo>
                  <a:lnTo>
                    <a:pt x="116" y="262"/>
                  </a:lnTo>
                  <a:lnTo>
                    <a:pt x="116" y="264"/>
                  </a:lnTo>
                  <a:lnTo>
                    <a:pt x="116" y="264"/>
                  </a:lnTo>
                  <a:lnTo>
                    <a:pt x="116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2" y="268"/>
                  </a:lnTo>
                  <a:lnTo>
                    <a:pt x="110" y="268"/>
                  </a:lnTo>
                  <a:lnTo>
                    <a:pt x="108" y="268"/>
                  </a:lnTo>
                  <a:lnTo>
                    <a:pt x="106" y="270"/>
                  </a:lnTo>
                  <a:lnTo>
                    <a:pt x="104" y="270"/>
                  </a:lnTo>
                  <a:lnTo>
                    <a:pt x="102" y="270"/>
                  </a:lnTo>
                  <a:lnTo>
                    <a:pt x="102" y="272"/>
                  </a:lnTo>
                  <a:lnTo>
                    <a:pt x="102" y="272"/>
                  </a:lnTo>
                  <a:lnTo>
                    <a:pt x="102" y="274"/>
                  </a:lnTo>
                  <a:lnTo>
                    <a:pt x="100" y="276"/>
                  </a:lnTo>
                  <a:lnTo>
                    <a:pt x="100" y="278"/>
                  </a:lnTo>
                  <a:lnTo>
                    <a:pt x="100" y="280"/>
                  </a:lnTo>
                  <a:lnTo>
                    <a:pt x="98" y="284"/>
                  </a:lnTo>
                  <a:lnTo>
                    <a:pt x="98" y="288"/>
                  </a:lnTo>
                  <a:lnTo>
                    <a:pt x="98" y="290"/>
                  </a:lnTo>
                  <a:lnTo>
                    <a:pt x="96" y="292"/>
                  </a:lnTo>
                  <a:lnTo>
                    <a:pt x="94" y="296"/>
                  </a:lnTo>
                  <a:lnTo>
                    <a:pt x="92" y="300"/>
                  </a:lnTo>
                  <a:lnTo>
                    <a:pt x="92" y="298"/>
                  </a:lnTo>
                  <a:lnTo>
                    <a:pt x="88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4" y="294"/>
                  </a:lnTo>
                  <a:lnTo>
                    <a:pt x="82" y="292"/>
                  </a:lnTo>
                  <a:lnTo>
                    <a:pt x="82" y="292"/>
                  </a:lnTo>
                  <a:lnTo>
                    <a:pt x="80" y="292"/>
                  </a:lnTo>
                  <a:lnTo>
                    <a:pt x="78" y="292"/>
                  </a:lnTo>
                  <a:lnTo>
                    <a:pt x="74" y="294"/>
                  </a:lnTo>
                  <a:lnTo>
                    <a:pt x="72" y="294"/>
                  </a:lnTo>
                  <a:lnTo>
                    <a:pt x="68" y="294"/>
                  </a:lnTo>
                  <a:lnTo>
                    <a:pt x="66" y="296"/>
                  </a:lnTo>
                  <a:lnTo>
                    <a:pt x="64" y="296"/>
                  </a:lnTo>
                  <a:lnTo>
                    <a:pt x="60" y="296"/>
                  </a:lnTo>
                  <a:lnTo>
                    <a:pt x="60" y="298"/>
                  </a:lnTo>
                  <a:lnTo>
                    <a:pt x="58" y="298"/>
                  </a:lnTo>
                  <a:lnTo>
                    <a:pt x="56" y="300"/>
                  </a:lnTo>
                  <a:lnTo>
                    <a:pt x="52" y="302"/>
                  </a:lnTo>
                  <a:lnTo>
                    <a:pt x="50" y="304"/>
                  </a:lnTo>
                  <a:lnTo>
                    <a:pt x="50" y="304"/>
                  </a:lnTo>
                  <a:lnTo>
                    <a:pt x="46" y="306"/>
                  </a:lnTo>
                  <a:lnTo>
                    <a:pt x="44" y="306"/>
                  </a:lnTo>
                  <a:lnTo>
                    <a:pt x="40" y="308"/>
                  </a:lnTo>
                  <a:lnTo>
                    <a:pt x="38" y="308"/>
                  </a:lnTo>
                  <a:lnTo>
                    <a:pt x="34" y="308"/>
                  </a:lnTo>
                  <a:lnTo>
                    <a:pt x="32" y="310"/>
                  </a:lnTo>
                  <a:lnTo>
                    <a:pt x="30" y="310"/>
                  </a:lnTo>
                  <a:lnTo>
                    <a:pt x="26" y="310"/>
                  </a:lnTo>
                  <a:lnTo>
                    <a:pt x="24" y="310"/>
                  </a:lnTo>
                  <a:lnTo>
                    <a:pt x="24" y="310"/>
                  </a:lnTo>
                  <a:lnTo>
                    <a:pt x="22" y="310"/>
                  </a:lnTo>
                  <a:lnTo>
                    <a:pt x="22" y="310"/>
                  </a:lnTo>
                  <a:lnTo>
                    <a:pt x="20" y="310"/>
                  </a:lnTo>
                  <a:lnTo>
                    <a:pt x="20" y="308"/>
                  </a:lnTo>
                  <a:lnTo>
                    <a:pt x="20" y="308"/>
                  </a:lnTo>
                  <a:lnTo>
                    <a:pt x="20" y="306"/>
                  </a:lnTo>
                  <a:lnTo>
                    <a:pt x="20" y="306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0" y="298"/>
                  </a:lnTo>
                  <a:lnTo>
                    <a:pt x="20" y="296"/>
                  </a:lnTo>
                  <a:lnTo>
                    <a:pt x="20" y="294"/>
                  </a:lnTo>
                  <a:lnTo>
                    <a:pt x="20" y="294"/>
                  </a:lnTo>
                  <a:lnTo>
                    <a:pt x="20" y="292"/>
                  </a:lnTo>
                  <a:lnTo>
                    <a:pt x="20" y="292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6" y="290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2" y="288"/>
                  </a:lnTo>
                  <a:lnTo>
                    <a:pt x="12" y="286"/>
                  </a:lnTo>
                  <a:lnTo>
                    <a:pt x="12" y="286"/>
                  </a:lnTo>
                  <a:lnTo>
                    <a:pt x="12" y="284"/>
                  </a:lnTo>
                  <a:lnTo>
                    <a:pt x="12" y="282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4" y="274"/>
                  </a:lnTo>
                  <a:lnTo>
                    <a:pt x="16" y="270"/>
                  </a:lnTo>
                  <a:lnTo>
                    <a:pt x="16" y="268"/>
                  </a:lnTo>
                  <a:lnTo>
                    <a:pt x="16" y="266"/>
                  </a:lnTo>
                  <a:lnTo>
                    <a:pt x="16" y="264"/>
                  </a:lnTo>
                  <a:lnTo>
                    <a:pt x="16" y="262"/>
                  </a:lnTo>
                  <a:lnTo>
                    <a:pt x="16" y="262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2" y="260"/>
                  </a:lnTo>
                  <a:lnTo>
                    <a:pt x="10" y="260"/>
                  </a:lnTo>
                  <a:lnTo>
                    <a:pt x="8" y="260"/>
                  </a:lnTo>
                  <a:lnTo>
                    <a:pt x="8" y="260"/>
                  </a:lnTo>
                  <a:lnTo>
                    <a:pt x="6" y="260"/>
                  </a:lnTo>
                  <a:lnTo>
                    <a:pt x="6" y="260"/>
                  </a:lnTo>
                  <a:lnTo>
                    <a:pt x="6" y="258"/>
                  </a:lnTo>
                  <a:lnTo>
                    <a:pt x="4" y="258"/>
                  </a:lnTo>
                  <a:lnTo>
                    <a:pt x="4" y="256"/>
                  </a:lnTo>
                  <a:lnTo>
                    <a:pt x="2" y="254"/>
                  </a:lnTo>
                  <a:lnTo>
                    <a:pt x="2" y="252"/>
                  </a:lnTo>
                  <a:lnTo>
                    <a:pt x="2" y="248"/>
                  </a:lnTo>
                  <a:lnTo>
                    <a:pt x="0" y="246"/>
                  </a:lnTo>
                  <a:lnTo>
                    <a:pt x="0" y="244"/>
                  </a:lnTo>
                  <a:lnTo>
                    <a:pt x="0" y="240"/>
                  </a:lnTo>
                  <a:lnTo>
                    <a:pt x="0" y="238"/>
                  </a:lnTo>
                  <a:lnTo>
                    <a:pt x="0" y="234"/>
                  </a:lnTo>
                  <a:lnTo>
                    <a:pt x="0" y="232"/>
                  </a:lnTo>
                  <a:lnTo>
                    <a:pt x="2" y="230"/>
                  </a:lnTo>
                  <a:lnTo>
                    <a:pt x="2" y="226"/>
                  </a:lnTo>
                  <a:lnTo>
                    <a:pt x="2" y="224"/>
                  </a:lnTo>
                  <a:lnTo>
                    <a:pt x="4" y="222"/>
                  </a:lnTo>
                  <a:lnTo>
                    <a:pt x="4" y="222"/>
                  </a:lnTo>
                  <a:lnTo>
                    <a:pt x="4" y="220"/>
                  </a:lnTo>
                  <a:lnTo>
                    <a:pt x="6" y="220"/>
                  </a:lnTo>
                  <a:lnTo>
                    <a:pt x="6" y="220"/>
                  </a:lnTo>
                  <a:lnTo>
                    <a:pt x="8" y="220"/>
                  </a:lnTo>
                  <a:lnTo>
                    <a:pt x="10" y="218"/>
                  </a:lnTo>
                  <a:lnTo>
                    <a:pt x="12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8" y="210"/>
                  </a:lnTo>
                  <a:lnTo>
                    <a:pt x="18" y="210"/>
                  </a:lnTo>
                  <a:lnTo>
                    <a:pt x="18" y="208"/>
                  </a:lnTo>
                  <a:lnTo>
                    <a:pt x="20" y="208"/>
                  </a:lnTo>
                  <a:lnTo>
                    <a:pt x="20" y="206"/>
                  </a:lnTo>
                  <a:lnTo>
                    <a:pt x="22" y="206"/>
                  </a:lnTo>
                  <a:lnTo>
                    <a:pt x="24" y="206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8" y="204"/>
                  </a:lnTo>
                  <a:lnTo>
                    <a:pt x="40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2"/>
                  </a:lnTo>
                  <a:lnTo>
                    <a:pt x="46" y="202"/>
                  </a:lnTo>
                  <a:lnTo>
                    <a:pt x="46" y="200"/>
                  </a:lnTo>
                  <a:lnTo>
                    <a:pt x="48" y="198"/>
                  </a:lnTo>
                  <a:lnTo>
                    <a:pt x="48" y="196"/>
                  </a:lnTo>
                  <a:lnTo>
                    <a:pt x="50" y="196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2" y="194"/>
                  </a:lnTo>
                  <a:lnTo>
                    <a:pt x="52" y="192"/>
                  </a:lnTo>
                  <a:lnTo>
                    <a:pt x="54" y="192"/>
                  </a:lnTo>
                  <a:lnTo>
                    <a:pt x="56" y="192"/>
                  </a:lnTo>
                  <a:lnTo>
                    <a:pt x="58" y="194"/>
                  </a:lnTo>
                  <a:lnTo>
                    <a:pt x="60" y="194"/>
                  </a:lnTo>
                  <a:lnTo>
                    <a:pt x="62" y="194"/>
                  </a:lnTo>
                  <a:lnTo>
                    <a:pt x="64" y="194"/>
                  </a:lnTo>
                  <a:lnTo>
                    <a:pt x="64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0"/>
                  </a:lnTo>
                  <a:lnTo>
                    <a:pt x="66" y="190"/>
                  </a:lnTo>
                  <a:lnTo>
                    <a:pt x="66" y="188"/>
                  </a:lnTo>
                  <a:lnTo>
                    <a:pt x="66" y="186"/>
                  </a:lnTo>
                  <a:lnTo>
                    <a:pt x="66" y="184"/>
                  </a:lnTo>
                  <a:lnTo>
                    <a:pt x="66" y="180"/>
                  </a:lnTo>
                  <a:lnTo>
                    <a:pt x="66" y="178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70" y="172"/>
                  </a:lnTo>
                  <a:lnTo>
                    <a:pt x="72" y="172"/>
                  </a:lnTo>
                  <a:lnTo>
                    <a:pt x="74" y="172"/>
                  </a:lnTo>
                  <a:lnTo>
                    <a:pt x="78" y="172"/>
                  </a:lnTo>
                  <a:lnTo>
                    <a:pt x="80" y="170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6" y="170"/>
                  </a:lnTo>
                  <a:lnTo>
                    <a:pt x="86" y="168"/>
                  </a:lnTo>
                  <a:lnTo>
                    <a:pt x="88" y="168"/>
                  </a:lnTo>
                  <a:lnTo>
                    <a:pt x="88" y="168"/>
                  </a:lnTo>
                  <a:lnTo>
                    <a:pt x="88" y="166"/>
                  </a:lnTo>
                  <a:lnTo>
                    <a:pt x="88" y="166"/>
                  </a:lnTo>
                  <a:lnTo>
                    <a:pt x="88" y="164"/>
                  </a:lnTo>
                  <a:lnTo>
                    <a:pt x="88" y="162"/>
                  </a:lnTo>
                  <a:lnTo>
                    <a:pt x="88" y="160"/>
                  </a:lnTo>
                  <a:lnTo>
                    <a:pt x="88" y="158"/>
                  </a:lnTo>
                  <a:lnTo>
                    <a:pt x="90" y="156"/>
                  </a:lnTo>
                  <a:lnTo>
                    <a:pt x="90" y="154"/>
                  </a:lnTo>
                  <a:lnTo>
                    <a:pt x="90" y="154"/>
                  </a:lnTo>
                  <a:lnTo>
                    <a:pt x="90" y="154"/>
                  </a:lnTo>
                  <a:lnTo>
                    <a:pt x="92" y="152"/>
                  </a:lnTo>
                  <a:lnTo>
                    <a:pt x="94" y="152"/>
                  </a:lnTo>
                  <a:lnTo>
                    <a:pt x="94" y="150"/>
                  </a:lnTo>
                  <a:lnTo>
                    <a:pt x="98" y="148"/>
                  </a:lnTo>
                  <a:lnTo>
                    <a:pt x="100" y="148"/>
                  </a:lnTo>
                  <a:lnTo>
                    <a:pt x="100" y="146"/>
                  </a:lnTo>
                  <a:lnTo>
                    <a:pt x="100" y="146"/>
                  </a:lnTo>
                  <a:lnTo>
                    <a:pt x="102" y="144"/>
                  </a:lnTo>
                  <a:lnTo>
                    <a:pt x="102" y="142"/>
                  </a:lnTo>
                  <a:lnTo>
                    <a:pt x="102" y="140"/>
                  </a:lnTo>
                  <a:lnTo>
                    <a:pt x="102" y="136"/>
                  </a:lnTo>
                  <a:lnTo>
                    <a:pt x="104" y="132"/>
                  </a:lnTo>
                  <a:lnTo>
                    <a:pt x="104" y="130"/>
                  </a:lnTo>
                  <a:lnTo>
                    <a:pt x="106" y="126"/>
                  </a:lnTo>
                  <a:lnTo>
                    <a:pt x="106" y="122"/>
                  </a:lnTo>
                  <a:lnTo>
                    <a:pt x="106" y="120"/>
                  </a:lnTo>
                  <a:lnTo>
                    <a:pt x="108" y="120"/>
                  </a:lnTo>
                  <a:lnTo>
                    <a:pt x="108" y="118"/>
                  </a:lnTo>
                  <a:lnTo>
                    <a:pt x="110" y="116"/>
                  </a:lnTo>
                  <a:lnTo>
                    <a:pt x="112" y="114"/>
                  </a:lnTo>
                  <a:lnTo>
                    <a:pt x="114" y="112"/>
                  </a:lnTo>
                  <a:lnTo>
                    <a:pt x="120" y="108"/>
                  </a:lnTo>
                  <a:lnTo>
                    <a:pt x="120" y="106"/>
                  </a:lnTo>
                  <a:lnTo>
                    <a:pt x="122" y="104"/>
                  </a:lnTo>
                  <a:lnTo>
                    <a:pt x="126" y="100"/>
                  </a:lnTo>
                  <a:lnTo>
                    <a:pt x="128" y="96"/>
                  </a:lnTo>
                  <a:lnTo>
                    <a:pt x="132" y="92"/>
                  </a:lnTo>
                  <a:lnTo>
                    <a:pt x="134" y="90"/>
                  </a:lnTo>
                  <a:lnTo>
                    <a:pt x="136" y="88"/>
                  </a:lnTo>
                  <a:lnTo>
                    <a:pt x="138" y="86"/>
                  </a:lnTo>
                  <a:lnTo>
                    <a:pt x="142" y="84"/>
                  </a:lnTo>
                  <a:lnTo>
                    <a:pt x="144" y="82"/>
                  </a:lnTo>
                  <a:lnTo>
                    <a:pt x="146" y="80"/>
                  </a:lnTo>
                  <a:lnTo>
                    <a:pt x="148" y="80"/>
                  </a:lnTo>
                  <a:lnTo>
                    <a:pt x="150" y="78"/>
                  </a:lnTo>
                  <a:lnTo>
                    <a:pt x="152" y="78"/>
                  </a:lnTo>
                  <a:lnTo>
                    <a:pt x="154" y="78"/>
                  </a:lnTo>
                  <a:lnTo>
                    <a:pt x="156" y="78"/>
                  </a:lnTo>
                  <a:lnTo>
                    <a:pt x="158" y="78"/>
                  </a:lnTo>
                  <a:lnTo>
                    <a:pt x="164" y="76"/>
                  </a:lnTo>
                  <a:lnTo>
                    <a:pt x="168" y="76"/>
                  </a:lnTo>
                  <a:lnTo>
                    <a:pt x="170" y="76"/>
                  </a:lnTo>
                  <a:lnTo>
                    <a:pt x="170" y="76"/>
                  </a:lnTo>
                  <a:lnTo>
                    <a:pt x="172" y="74"/>
                  </a:lnTo>
                  <a:lnTo>
                    <a:pt x="174" y="74"/>
                  </a:lnTo>
                  <a:lnTo>
                    <a:pt x="178" y="72"/>
                  </a:lnTo>
                  <a:lnTo>
                    <a:pt x="180" y="70"/>
                  </a:lnTo>
                  <a:lnTo>
                    <a:pt x="180" y="70"/>
                  </a:lnTo>
                  <a:lnTo>
                    <a:pt x="182" y="70"/>
                  </a:lnTo>
                  <a:lnTo>
                    <a:pt x="182" y="70"/>
                  </a:lnTo>
                  <a:lnTo>
                    <a:pt x="186" y="70"/>
                  </a:lnTo>
                  <a:lnTo>
                    <a:pt x="192" y="68"/>
                  </a:lnTo>
                  <a:lnTo>
                    <a:pt x="194" y="68"/>
                  </a:lnTo>
                  <a:lnTo>
                    <a:pt x="198" y="68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2" y="66"/>
                  </a:lnTo>
                  <a:lnTo>
                    <a:pt x="202" y="66"/>
                  </a:lnTo>
                  <a:lnTo>
                    <a:pt x="202" y="66"/>
                  </a:lnTo>
                  <a:lnTo>
                    <a:pt x="202" y="64"/>
                  </a:lnTo>
                  <a:lnTo>
                    <a:pt x="204" y="64"/>
                  </a:lnTo>
                  <a:lnTo>
                    <a:pt x="204" y="62"/>
                  </a:lnTo>
                  <a:lnTo>
                    <a:pt x="204" y="60"/>
                  </a:lnTo>
                  <a:lnTo>
                    <a:pt x="204" y="58"/>
                  </a:lnTo>
                  <a:lnTo>
                    <a:pt x="204" y="56"/>
                  </a:lnTo>
                  <a:lnTo>
                    <a:pt x="206" y="54"/>
                  </a:lnTo>
                  <a:lnTo>
                    <a:pt x="206" y="54"/>
                  </a:lnTo>
                  <a:lnTo>
                    <a:pt x="206" y="54"/>
                  </a:lnTo>
                  <a:lnTo>
                    <a:pt x="206" y="54"/>
                  </a:lnTo>
                  <a:lnTo>
                    <a:pt x="206" y="52"/>
                  </a:lnTo>
                  <a:lnTo>
                    <a:pt x="208" y="52"/>
                  </a:lnTo>
                  <a:lnTo>
                    <a:pt x="210" y="52"/>
                  </a:lnTo>
                  <a:lnTo>
                    <a:pt x="212" y="50"/>
                  </a:lnTo>
                  <a:lnTo>
                    <a:pt x="214" y="50"/>
                  </a:lnTo>
                  <a:lnTo>
                    <a:pt x="216" y="50"/>
                  </a:lnTo>
                  <a:lnTo>
                    <a:pt x="216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8" y="46"/>
                  </a:lnTo>
                  <a:lnTo>
                    <a:pt x="218" y="46"/>
                  </a:lnTo>
                  <a:lnTo>
                    <a:pt x="218" y="44"/>
                  </a:lnTo>
                  <a:lnTo>
                    <a:pt x="218" y="42"/>
                  </a:lnTo>
                  <a:lnTo>
                    <a:pt x="218" y="40"/>
                  </a:lnTo>
                  <a:lnTo>
                    <a:pt x="218" y="38"/>
                  </a:lnTo>
                  <a:lnTo>
                    <a:pt x="216" y="36"/>
                  </a:lnTo>
                  <a:lnTo>
                    <a:pt x="216" y="34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2" y="30"/>
                  </a:lnTo>
                  <a:lnTo>
                    <a:pt x="208" y="28"/>
                  </a:lnTo>
                  <a:lnTo>
                    <a:pt x="208" y="28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4"/>
                  </a:lnTo>
                  <a:lnTo>
                    <a:pt x="204" y="24"/>
                  </a:lnTo>
                  <a:lnTo>
                    <a:pt x="206" y="24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8" y="22"/>
                  </a:lnTo>
                  <a:lnTo>
                    <a:pt x="212" y="22"/>
                  </a:lnTo>
                  <a:lnTo>
                    <a:pt x="214" y="22"/>
                  </a:lnTo>
                  <a:lnTo>
                    <a:pt x="216" y="20"/>
                  </a:lnTo>
                  <a:lnTo>
                    <a:pt x="218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2" y="14"/>
                  </a:lnTo>
                  <a:lnTo>
                    <a:pt x="222" y="12"/>
                  </a:lnTo>
                  <a:lnTo>
                    <a:pt x="222" y="10"/>
                  </a:lnTo>
                  <a:lnTo>
                    <a:pt x="224" y="10"/>
                  </a:lnTo>
                  <a:lnTo>
                    <a:pt x="224" y="10"/>
                  </a:lnTo>
                  <a:lnTo>
                    <a:pt x="224" y="10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0"/>
                  </a:lnTo>
                  <a:lnTo>
                    <a:pt x="226" y="12"/>
                  </a:lnTo>
                  <a:lnTo>
                    <a:pt x="226" y="14"/>
                  </a:lnTo>
                  <a:lnTo>
                    <a:pt x="226" y="16"/>
                  </a:lnTo>
                  <a:lnTo>
                    <a:pt x="226" y="18"/>
                  </a:lnTo>
                  <a:lnTo>
                    <a:pt x="226" y="20"/>
                  </a:lnTo>
                  <a:lnTo>
                    <a:pt x="226" y="20"/>
                  </a:lnTo>
                  <a:lnTo>
                    <a:pt x="226" y="22"/>
                  </a:lnTo>
                  <a:lnTo>
                    <a:pt x="226" y="22"/>
                  </a:lnTo>
                  <a:lnTo>
                    <a:pt x="228" y="24"/>
                  </a:lnTo>
                  <a:lnTo>
                    <a:pt x="228" y="24"/>
                  </a:lnTo>
                  <a:lnTo>
                    <a:pt x="228" y="24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4" y="26"/>
                  </a:lnTo>
                  <a:lnTo>
                    <a:pt x="234" y="26"/>
                  </a:lnTo>
                  <a:lnTo>
                    <a:pt x="236" y="26"/>
                  </a:lnTo>
                  <a:lnTo>
                    <a:pt x="236" y="26"/>
                  </a:lnTo>
                  <a:lnTo>
                    <a:pt x="236" y="24"/>
                  </a:lnTo>
                  <a:lnTo>
                    <a:pt x="236" y="24"/>
                  </a:lnTo>
                  <a:lnTo>
                    <a:pt x="234" y="22"/>
                  </a:lnTo>
                  <a:lnTo>
                    <a:pt x="234" y="20"/>
                  </a:lnTo>
                  <a:lnTo>
                    <a:pt x="234" y="20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8" y="18"/>
                  </a:lnTo>
                  <a:lnTo>
                    <a:pt x="238" y="18"/>
                  </a:lnTo>
                  <a:lnTo>
                    <a:pt x="240" y="18"/>
                  </a:lnTo>
                  <a:lnTo>
                    <a:pt x="240" y="18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2" y="20"/>
                  </a:lnTo>
                  <a:lnTo>
                    <a:pt x="244" y="22"/>
                  </a:lnTo>
                  <a:lnTo>
                    <a:pt x="244" y="24"/>
                  </a:lnTo>
                  <a:lnTo>
                    <a:pt x="244" y="24"/>
                  </a:lnTo>
                  <a:lnTo>
                    <a:pt x="244" y="24"/>
                  </a:lnTo>
                  <a:lnTo>
                    <a:pt x="246" y="26"/>
                  </a:lnTo>
                  <a:lnTo>
                    <a:pt x="246" y="26"/>
                  </a:lnTo>
                  <a:lnTo>
                    <a:pt x="248" y="26"/>
                  </a:lnTo>
                  <a:lnTo>
                    <a:pt x="250" y="26"/>
                  </a:lnTo>
                  <a:lnTo>
                    <a:pt x="252" y="28"/>
                  </a:lnTo>
                  <a:lnTo>
                    <a:pt x="252" y="28"/>
                  </a:lnTo>
                  <a:lnTo>
                    <a:pt x="254" y="28"/>
                  </a:lnTo>
                  <a:lnTo>
                    <a:pt x="254" y="28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8" y="24"/>
                  </a:lnTo>
                  <a:lnTo>
                    <a:pt x="258" y="22"/>
                  </a:lnTo>
                  <a:lnTo>
                    <a:pt x="260" y="20"/>
                  </a:lnTo>
                  <a:lnTo>
                    <a:pt x="260" y="18"/>
                  </a:lnTo>
                  <a:lnTo>
                    <a:pt x="260" y="18"/>
                  </a:lnTo>
                  <a:lnTo>
                    <a:pt x="260" y="16"/>
                  </a:lnTo>
                  <a:lnTo>
                    <a:pt x="260" y="16"/>
                  </a:lnTo>
                  <a:lnTo>
                    <a:pt x="260" y="16"/>
                  </a:lnTo>
                  <a:lnTo>
                    <a:pt x="260" y="16"/>
                  </a:lnTo>
                  <a:lnTo>
                    <a:pt x="258" y="14"/>
                  </a:lnTo>
                  <a:lnTo>
                    <a:pt x="258" y="14"/>
                  </a:lnTo>
                  <a:lnTo>
                    <a:pt x="256" y="14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2" y="12"/>
                  </a:lnTo>
                  <a:lnTo>
                    <a:pt x="252" y="12"/>
                  </a:lnTo>
                  <a:lnTo>
                    <a:pt x="252" y="10"/>
                  </a:lnTo>
                  <a:lnTo>
                    <a:pt x="252" y="10"/>
                  </a:lnTo>
                  <a:lnTo>
                    <a:pt x="252" y="10"/>
                  </a:lnTo>
                  <a:lnTo>
                    <a:pt x="254" y="8"/>
                  </a:lnTo>
                  <a:lnTo>
                    <a:pt x="254" y="8"/>
                  </a:lnTo>
                  <a:lnTo>
                    <a:pt x="256" y="6"/>
                  </a:lnTo>
                  <a:lnTo>
                    <a:pt x="258" y="6"/>
                  </a:lnTo>
                  <a:lnTo>
                    <a:pt x="260" y="4"/>
                  </a:lnTo>
                  <a:lnTo>
                    <a:pt x="262" y="4"/>
                  </a:lnTo>
                  <a:lnTo>
                    <a:pt x="264" y="4"/>
                  </a:lnTo>
                  <a:lnTo>
                    <a:pt x="264" y="4"/>
                  </a:lnTo>
                  <a:lnTo>
                    <a:pt x="266" y="4"/>
                  </a:lnTo>
                  <a:lnTo>
                    <a:pt x="266" y="4"/>
                  </a:lnTo>
                  <a:lnTo>
                    <a:pt x="268" y="4"/>
                  </a:lnTo>
                  <a:lnTo>
                    <a:pt x="268" y="4"/>
                  </a:lnTo>
                  <a:lnTo>
                    <a:pt x="270" y="6"/>
                  </a:lnTo>
                  <a:lnTo>
                    <a:pt x="272" y="8"/>
                  </a:lnTo>
                  <a:lnTo>
                    <a:pt x="272" y="10"/>
                  </a:lnTo>
                  <a:lnTo>
                    <a:pt x="274" y="12"/>
                  </a:lnTo>
                  <a:lnTo>
                    <a:pt x="276" y="12"/>
                  </a:lnTo>
                  <a:lnTo>
                    <a:pt x="276" y="12"/>
                  </a:lnTo>
                  <a:lnTo>
                    <a:pt x="276" y="14"/>
                  </a:lnTo>
                  <a:lnTo>
                    <a:pt x="278" y="14"/>
                  </a:lnTo>
                  <a:lnTo>
                    <a:pt x="278" y="12"/>
                  </a:lnTo>
                  <a:lnTo>
                    <a:pt x="278" y="12"/>
                  </a:lnTo>
                  <a:lnTo>
                    <a:pt x="280" y="12"/>
                  </a:lnTo>
                  <a:lnTo>
                    <a:pt x="280" y="10"/>
                  </a:lnTo>
                  <a:lnTo>
                    <a:pt x="280" y="8"/>
                  </a:lnTo>
                  <a:lnTo>
                    <a:pt x="282" y="6"/>
                  </a:lnTo>
                  <a:lnTo>
                    <a:pt x="282" y="4"/>
                  </a:lnTo>
                  <a:lnTo>
                    <a:pt x="282" y="2"/>
                  </a:lnTo>
                  <a:lnTo>
                    <a:pt x="284" y="2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8" y="4"/>
                  </a:lnTo>
                  <a:lnTo>
                    <a:pt x="288" y="6"/>
                  </a:lnTo>
                  <a:lnTo>
                    <a:pt x="288" y="10"/>
                  </a:lnTo>
                  <a:lnTo>
                    <a:pt x="288" y="12"/>
                  </a:lnTo>
                  <a:lnTo>
                    <a:pt x="288" y="12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90" y="16"/>
                  </a:lnTo>
                  <a:lnTo>
                    <a:pt x="292" y="16"/>
                  </a:lnTo>
                  <a:lnTo>
                    <a:pt x="294" y="16"/>
                  </a:lnTo>
                  <a:lnTo>
                    <a:pt x="294" y="16"/>
                  </a:lnTo>
                  <a:lnTo>
                    <a:pt x="296" y="16"/>
                  </a:lnTo>
                  <a:lnTo>
                    <a:pt x="298" y="16"/>
                  </a:lnTo>
                  <a:lnTo>
                    <a:pt x="300" y="16"/>
                  </a:lnTo>
                  <a:lnTo>
                    <a:pt x="302" y="16"/>
                  </a:lnTo>
                  <a:lnTo>
                    <a:pt x="302" y="16"/>
                  </a:lnTo>
                  <a:lnTo>
                    <a:pt x="304" y="16"/>
                  </a:lnTo>
                  <a:lnTo>
                    <a:pt x="304" y="14"/>
                  </a:lnTo>
                  <a:lnTo>
                    <a:pt x="306" y="12"/>
                  </a:lnTo>
                  <a:lnTo>
                    <a:pt x="308" y="10"/>
                  </a:lnTo>
                  <a:lnTo>
                    <a:pt x="310" y="8"/>
                  </a:lnTo>
                  <a:lnTo>
                    <a:pt x="312" y="8"/>
                  </a:lnTo>
                  <a:lnTo>
                    <a:pt x="312" y="6"/>
                  </a:lnTo>
                  <a:lnTo>
                    <a:pt x="314" y="6"/>
                  </a:lnTo>
                  <a:lnTo>
                    <a:pt x="314" y="6"/>
                  </a:lnTo>
                  <a:lnTo>
                    <a:pt x="316" y="6"/>
                  </a:lnTo>
                  <a:lnTo>
                    <a:pt x="316" y="6"/>
                  </a:lnTo>
                  <a:lnTo>
                    <a:pt x="318" y="6"/>
                  </a:lnTo>
                  <a:lnTo>
                    <a:pt x="320" y="6"/>
                  </a:lnTo>
                  <a:lnTo>
                    <a:pt x="322" y="8"/>
                  </a:lnTo>
                  <a:lnTo>
                    <a:pt x="324" y="10"/>
                  </a:lnTo>
                  <a:lnTo>
                    <a:pt x="326" y="10"/>
                  </a:lnTo>
                  <a:lnTo>
                    <a:pt x="330" y="12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2" y="14"/>
                  </a:lnTo>
                  <a:lnTo>
                    <a:pt x="332" y="16"/>
                  </a:lnTo>
                  <a:lnTo>
                    <a:pt x="332" y="16"/>
                  </a:lnTo>
                  <a:lnTo>
                    <a:pt x="332" y="16"/>
                  </a:lnTo>
                  <a:lnTo>
                    <a:pt x="332" y="18"/>
                  </a:lnTo>
                  <a:lnTo>
                    <a:pt x="332" y="20"/>
                  </a:lnTo>
                  <a:lnTo>
                    <a:pt x="330" y="22"/>
                  </a:lnTo>
                  <a:lnTo>
                    <a:pt x="330" y="24"/>
                  </a:lnTo>
                  <a:lnTo>
                    <a:pt x="330" y="24"/>
                  </a:lnTo>
                  <a:lnTo>
                    <a:pt x="328" y="26"/>
                  </a:lnTo>
                  <a:lnTo>
                    <a:pt x="328" y="26"/>
                  </a:lnTo>
                  <a:lnTo>
                    <a:pt x="330" y="28"/>
                  </a:lnTo>
                  <a:lnTo>
                    <a:pt x="330" y="28"/>
                  </a:lnTo>
                  <a:lnTo>
                    <a:pt x="330" y="28"/>
                  </a:lnTo>
                  <a:lnTo>
                    <a:pt x="332" y="30"/>
                  </a:lnTo>
                  <a:lnTo>
                    <a:pt x="334" y="30"/>
                  </a:lnTo>
                  <a:lnTo>
                    <a:pt x="336" y="32"/>
                  </a:lnTo>
                  <a:lnTo>
                    <a:pt x="338" y="32"/>
                  </a:lnTo>
                  <a:lnTo>
                    <a:pt x="340" y="34"/>
                  </a:lnTo>
                  <a:lnTo>
                    <a:pt x="344" y="34"/>
                  </a:lnTo>
                  <a:lnTo>
                    <a:pt x="350" y="36"/>
                  </a:lnTo>
                  <a:lnTo>
                    <a:pt x="354" y="38"/>
                  </a:lnTo>
                  <a:lnTo>
                    <a:pt x="358" y="38"/>
                  </a:lnTo>
                  <a:lnTo>
                    <a:pt x="350" y="42"/>
                  </a:lnTo>
                  <a:lnTo>
                    <a:pt x="344" y="46"/>
                  </a:lnTo>
                  <a:lnTo>
                    <a:pt x="342" y="48"/>
                  </a:lnTo>
                  <a:lnTo>
                    <a:pt x="340" y="48"/>
                  </a:lnTo>
                  <a:lnTo>
                    <a:pt x="336" y="52"/>
                  </a:lnTo>
                  <a:lnTo>
                    <a:pt x="332" y="58"/>
                  </a:lnTo>
                  <a:lnTo>
                    <a:pt x="330" y="60"/>
                  </a:lnTo>
                  <a:lnTo>
                    <a:pt x="328" y="62"/>
                  </a:lnTo>
                  <a:lnTo>
                    <a:pt x="326" y="64"/>
                  </a:lnTo>
                  <a:lnTo>
                    <a:pt x="324" y="66"/>
                  </a:lnTo>
                  <a:lnTo>
                    <a:pt x="322" y="68"/>
                  </a:lnTo>
                  <a:lnTo>
                    <a:pt x="322" y="70"/>
                  </a:lnTo>
                  <a:lnTo>
                    <a:pt x="320" y="76"/>
                  </a:lnTo>
                  <a:lnTo>
                    <a:pt x="318" y="82"/>
                  </a:lnTo>
                  <a:lnTo>
                    <a:pt x="302" y="6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18" name="Freeform 279">
              <a:extLst>
                <a:ext uri="{FF2B5EF4-FFF2-40B4-BE49-F238E27FC236}">
                  <a16:creationId xmlns:a16="http://schemas.microsoft.com/office/drawing/2014/main" id="{E9B19AF6-B33B-49E1-A835-F6592F962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025" y="3377534"/>
              <a:ext cx="300683" cy="240696"/>
            </a:xfrm>
            <a:custGeom>
              <a:avLst/>
              <a:gdLst>
                <a:gd name="T0" fmla="*/ 166 w 176"/>
                <a:gd name="T1" fmla="*/ 30 h 144"/>
                <a:gd name="T2" fmla="*/ 150 w 176"/>
                <a:gd name="T3" fmla="*/ 30 h 144"/>
                <a:gd name="T4" fmla="*/ 146 w 176"/>
                <a:gd name="T5" fmla="*/ 28 h 144"/>
                <a:gd name="T6" fmla="*/ 138 w 176"/>
                <a:gd name="T7" fmla="*/ 22 h 144"/>
                <a:gd name="T8" fmla="*/ 124 w 176"/>
                <a:gd name="T9" fmla="*/ 20 h 144"/>
                <a:gd name="T10" fmla="*/ 108 w 176"/>
                <a:gd name="T11" fmla="*/ 18 h 144"/>
                <a:gd name="T12" fmla="*/ 86 w 176"/>
                <a:gd name="T13" fmla="*/ 8 h 144"/>
                <a:gd name="T14" fmla="*/ 76 w 176"/>
                <a:gd name="T15" fmla="*/ 6 h 144"/>
                <a:gd name="T16" fmla="*/ 66 w 176"/>
                <a:gd name="T17" fmla="*/ 10 h 144"/>
                <a:gd name="T18" fmla="*/ 62 w 176"/>
                <a:gd name="T19" fmla="*/ 8 h 144"/>
                <a:gd name="T20" fmla="*/ 50 w 176"/>
                <a:gd name="T21" fmla="*/ 2 h 144"/>
                <a:gd name="T22" fmla="*/ 28 w 176"/>
                <a:gd name="T23" fmla="*/ 0 h 144"/>
                <a:gd name="T24" fmla="*/ 12 w 176"/>
                <a:gd name="T25" fmla="*/ 2 h 144"/>
                <a:gd name="T26" fmla="*/ 6 w 176"/>
                <a:gd name="T27" fmla="*/ 4 h 144"/>
                <a:gd name="T28" fmla="*/ 6 w 176"/>
                <a:gd name="T29" fmla="*/ 8 h 144"/>
                <a:gd name="T30" fmla="*/ 8 w 176"/>
                <a:gd name="T31" fmla="*/ 12 h 144"/>
                <a:gd name="T32" fmla="*/ 6 w 176"/>
                <a:gd name="T33" fmla="*/ 14 h 144"/>
                <a:gd name="T34" fmla="*/ 2 w 176"/>
                <a:gd name="T35" fmla="*/ 16 h 144"/>
                <a:gd name="T36" fmla="*/ 0 w 176"/>
                <a:gd name="T37" fmla="*/ 20 h 144"/>
                <a:gd name="T38" fmla="*/ 2 w 176"/>
                <a:gd name="T39" fmla="*/ 26 h 144"/>
                <a:gd name="T40" fmla="*/ 10 w 176"/>
                <a:gd name="T41" fmla="*/ 34 h 144"/>
                <a:gd name="T42" fmla="*/ 12 w 176"/>
                <a:gd name="T43" fmla="*/ 44 h 144"/>
                <a:gd name="T44" fmla="*/ 16 w 176"/>
                <a:gd name="T45" fmla="*/ 46 h 144"/>
                <a:gd name="T46" fmla="*/ 28 w 176"/>
                <a:gd name="T47" fmla="*/ 42 h 144"/>
                <a:gd name="T48" fmla="*/ 36 w 176"/>
                <a:gd name="T49" fmla="*/ 40 h 144"/>
                <a:gd name="T50" fmla="*/ 38 w 176"/>
                <a:gd name="T51" fmla="*/ 40 h 144"/>
                <a:gd name="T52" fmla="*/ 40 w 176"/>
                <a:gd name="T53" fmla="*/ 44 h 144"/>
                <a:gd name="T54" fmla="*/ 36 w 176"/>
                <a:gd name="T55" fmla="*/ 52 h 144"/>
                <a:gd name="T56" fmla="*/ 32 w 176"/>
                <a:gd name="T57" fmla="*/ 60 h 144"/>
                <a:gd name="T58" fmla="*/ 30 w 176"/>
                <a:gd name="T59" fmla="*/ 78 h 144"/>
                <a:gd name="T60" fmla="*/ 28 w 176"/>
                <a:gd name="T61" fmla="*/ 84 h 144"/>
                <a:gd name="T62" fmla="*/ 22 w 176"/>
                <a:gd name="T63" fmla="*/ 88 h 144"/>
                <a:gd name="T64" fmla="*/ 24 w 176"/>
                <a:gd name="T65" fmla="*/ 90 h 144"/>
                <a:gd name="T66" fmla="*/ 30 w 176"/>
                <a:gd name="T67" fmla="*/ 96 h 144"/>
                <a:gd name="T68" fmla="*/ 32 w 176"/>
                <a:gd name="T69" fmla="*/ 114 h 144"/>
                <a:gd name="T70" fmla="*/ 32 w 176"/>
                <a:gd name="T71" fmla="*/ 124 h 144"/>
                <a:gd name="T72" fmla="*/ 34 w 176"/>
                <a:gd name="T73" fmla="*/ 126 h 144"/>
                <a:gd name="T74" fmla="*/ 40 w 176"/>
                <a:gd name="T75" fmla="*/ 126 h 144"/>
                <a:gd name="T76" fmla="*/ 42 w 176"/>
                <a:gd name="T77" fmla="*/ 128 h 144"/>
                <a:gd name="T78" fmla="*/ 42 w 176"/>
                <a:gd name="T79" fmla="*/ 134 h 144"/>
                <a:gd name="T80" fmla="*/ 44 w 176"/>
                <a:gd name="T81" fmla="*/ 140 h 144"/>
                <a:gd name="T82" fmla="*/ 50 w 176"/>
                <a:gd name="T83" fmla="*/ 144 h 144"/>
                <a:gd name="T84" fmla="*/ 56 w 176"/>
                <a:gd name="T85" fmla="*/ 142 h 144"/>
                <a:gd name="T86" fmla="*/ 64 w 176"/>
                <a:gd name="T87" fmla="*/ 138 h 144"/>
                <a:gd name="T88" fmla="*/ 72 w 176"/>
                <a:gd name="T89" fmla="*/ 136 h 144"/>
                <a:gd name="T90" fmla="*/ 90 w 176"/>
                <a:gd name="T91" fmla="*/ 138 h 144"/>
                <a:gd name="T92" fmla="*/ 104 w 176"/>
                <a:gd name="T93" fmla="*/ 138 h 144"/>
                <a:gd name="T94" fmla="*/ 110 w 176"/>
                <a:gd name="T95" fmla="*/ 132 h 144"/>
                <a:gd name="T96" fmla="*/ 110 w 176"/>
                <a:gd name="T97" fmla="*/ 126 h 144"/>
                <a:gd name="T98" fmla="*/ 112 w 176"/>
                <a:gd name="T99" fmla="*/ 122 h 144"/>
                <a:gd name="T100" fmla="*/ 120 w 176"/>
                <a:gd name="T101" fmla="*/ 116 h 144"/>
                <a:gd name="T102" fmla="*/ 128 w 176"/>
                <a:gd name="T103" fmla="*/ 108 h 144"/>
                <a:gd name="T104" fmla="*/ 132 w 176"/>
                <a:gd name="T105" fmla="*/ 100 h 144"/>
                <a:gd name="T106" fmla="*/ 130 w 176"/>
                <a:gd name="T107" fmla="*/ 94 h 144"/>
                <a:gd name="T108" fmla="*/ 122 w 176"/>
                <a:gd name="T109" fmla="*/ 86 h 144"/>
                <a:gd name="T110" fmla="*/ 122 w 176"/>
                <a:gd name="T111" fmla="*/ 84 h 144"/>
                <a:gd name="T112" fmla="*/ 128 w 176"/>
                <a:gd name="T113" fmla="*/ 76 h 144"/>
                <a:gd name="T114" fmla="*/ 132 w 176"/>
                <a:gd name="T115" fmla="*/ 68 h 144"/>
                <a:gd name="T116" fmla="*/ 138 w 176"/>
                <a:gd name="T117" fmla="*/ 64 h 144"/>
                <a:gd name="T118" fmla="*/ 146 w 176"/>
                <a:gd name="T119" fmla="*/ 64 h 144"/>
                <a:gd name="T120" fmla="*/ 152 w 176"/>
                <a:gd name="T121" fmla="*/ 56 h 144"/>
                <a:gd name="T122" fmla="*/ 162 w 176"/>
                <a:gd name="T12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" h="144">
                  <a:moveTo>
                    <a:pt x="176" y="30"/>
                  </a:moveTo>
                  <a:lnTo>
                    <a:pt x="176" y="30"/>
                  </a:lnTo>
                  <a:lnTo>
                    <a:pt x="174" y="30"/>
                  </a:lnTo>
                  <a:lnTo>
                    <a:pt x="170" y="30"/>
                  </a:lnTo>
                  <a:lnTo>
                    <a:pt x="166" y="30"/>
                  </a:lnTo>
                  <a:lnTo>
                    <a:pt x="160" y="30"/>
                  </a:lnTo>
                  <a:lnTo>
                    <a:pt x="156" y="32"/>
                  </a:lnTo>
                  <a:lnTo>
                    <a:pt x="154" y="32"/>
                  </a:lnTo>
                  <a:lnTo>
                    <a:pt x="152" y="30"/>
                  </a:lnTo>
                  <a:lnTo>
                    <a:pt x="150" y="30"/>
                  </a:lnTo>
                  <a:lnTo>
                    <a:pt x="150" y="30"/>
                  </a:lnTo>
                  <a:lnTo>
                    <a:pt x="148" y="30"/>
                  </a:lnTo>
                  <a:lnTo>
                    <a:pt x="148" y="30"/>
                  </a:lnTo>
                  <a:lnTo>
                    <a:pt x="146" y="28"/>
                  </a:lnTo>
                  <a:lnTo>
                    <a:pt x="146" y="28"/>
                  </a:lnTo>
                  <a:lnTo>
                    <a:pt x="144" y="26"/>
                  </a:lnTo>
                  <a:lnTo>
                    <a:pt x="142" y="24"/>
                  </a:lnTo>
                  <a:lnTo>
                    <a:pt x="140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6" y="22"/>
                  </a:lnTo>
                  <a:lnTo>
                    <a:pt x="134" y="20"/>
                  </a:lnTo>
                  <a:lnTo>
                    <a:pt x="132" y="20"/>
                  </a:lnTo>
                  <a:lnTo>
                    <a:pt x="128" y="20"/>
                  </a:lnTo>
                  <a:lnTo>
                    <a:pt x="124" y="20"/>
                  </a:lnTo>
                  <a:lnTo>
                    <a:pt x="120" y="20"/>
                  </a:lnTo>
                  <a:lnTo>
                    <a:pt x="118" y="20"/>
                  </a:lnTo>
                  <a:lnTo>
                    <a:pt x="116" y="20"/>
                  </a:lnTo>
                  <a:lnTo>
                    <a:pt x="114" y="20"/>
                  </a:lnTo>
                  <a:lnTo>
                    <a:pt x="108" y="18"/>
                  </a:lnTo>
                  <a:lnTo>
                    <a:pt x="100" y="14"/>
                  </a:lnTo>
                  <a:lnTo>
                    <a:pt x="98" y="14"/>
                  </a:lnTo>
                  <a:lnTo>
                    <a:pt x="94" y="12"/>
                  </a:lnTo>
                  <a:lnTo>
                    <a:pt x="88" y="10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2" y="8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8"/>
                  </a:lnTo>
                  <a:lnTo>
                    <a:pt x="60" y="8"/>
                  </a:lnTo>
                  <a:lnTo>
                    <a:pt x="58" y="6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0" y="2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12" y="42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4" y="44"/>
                  </a:lnTo>
                  <a:lnTo>
                    <a:pt x="16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4" y="44"/>
                  </a:lnTo>
                  <a:lnTo>
                    <a:pt x="26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8" y="50"/>
                  </a:lnTo>
                  <a:lnTo>
                    <a:pt x="36" y="50"/>
                  </a:lnTo>
                  <a:lnTo>
                    <a:pt x="36" y="52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0" y="72"/>
                  </a:lnTo>
                  <a:lnTo>
                    <a:pt x="30" y="76"/>
                  </a:lnTo>
                  <a:lnTo>
                    <a:pt x="30" y="78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8" y="84"/>
                  </a:lnTo>
                  <a:lnTo>
                    <a:pt x="26" y="84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6" y="92"/>
                  </a:lnTo>
                  <a:lnTo>
                    <a:pt x="28" y="92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2" y="114"/>
                  </a:lnTo>
                  <a:lnTo>
                    <a:pt x="32" y="116"/>
                  </a:lnTo>
                  <a:lnTo>
                    <a:pt x="32" y="118"/>
                  </a:lnTo>
                  <a:lnTo>
                    <a:pt x="32" y="120"/>
                  </a:lnTo>
                  <a:lnTo>
                    <a:pt x="32" y="122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8" y="126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2" y="126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30"/>
                  </a:lnTo>
                  <a:lnTo>
                    <a:pt x="42" y="130"/>
                  </a:lnTo>
                  <a:lnTo>
                    <a:pt x="42" y="132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6"/>
                  </a:lnTo>
                  <a:lnTo>
                    <a:pt x="42" y="136"/>
                  </a:lnTo>
                  <a:lnTo>
                    <a:pt x="42" y="138"/>
                  </a:lnTo>
                  <a:lnTo>
                    <a:pt x="42" y="138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6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0" y="144"/>
                  </a:lnTo>
                  <a:lnTo>
                    <a:pt x="52" y="144"/>
                  </a:lnTo>
                  <a:lnTo>
                    <a:pt x="52" y="144"/>
                  </a:lnTo>
                  <a:lnTo>
                    <a:pt x="54" y="144"/>
                  </a:lnTo>
                  <a:lnTo>
                    <a:pt x="56" y="144"/>
                  </a:lnTo>
                  <a:lnTo>
                    <a:pt x="56" y="142"/>
                  </a:lnTo>
                  <a:lnTo>
                    <a:pt x="60" y="142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4" y="140"/>
                  </a:lnTo>
                  <a:lnTo>
                    <a:pt x="64" y="138"/>
                  </a:lnTo>
                  <a:lnTo>
                    <a:pt x="66" y="136"/>
                  </a:lnTo>
                  <a:lnTo>
                    <a:pt x="68" y="136"/>
                  </a:lnTo>
                  <a:lnTo>
                    <a:pt x="68" y="136"/>
                  </a:lnTo>
                  <a:lnTo>
                    <a:pt x="70" y="136"/>
                  </a:lnTo>
                  <a:lnTo>
                    <a:pt x="72" y="136"/>
                  </a:lnTo>
                  <a:lnTo>
                    <a:pt x="74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6" y="136"/>
                  </a:lnTo>
                  <a:lnTo>
                    <a:pt x="90" y="138"/>
                  </a:lnTo>
                  <a:lnTo>
                    <a:pt x="96" y="138"/>
                  </a:lnTo>
                  <a:lnTo>
                    <a:pt x="98" y="138"/>
                  </a:lnTo>
                  <a:lnTo>
                    <a:pt x="100" y="138"/>
                  </a:lnTo>
                  <a:lnTo>
                    <a:pt x="102" y="138"/>
                  </a:lnTo>
                  <a:lnTo>
                    <a:pt x="104" y="138"/>
                  </a:lnTo>
                  <a:lnTo>
                    <a:pt x="104" y="136"/>
                  </a:lnTo>
                  <a:lnTo>
                    <a:pt x="106" y="136"/>
                  </a:lnTo>
                  <a:lnTo>
                    <a:pt x="108" y="134"/>
                  </a:lnTo>
                  <a:lnTo>
                    <a:pt x="108" y="134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12" y="130"/>
                  </a:lnTo>
                  <a:lnTo>
                    <a:pt x="112" y="128"/>
                  </a:lnTo>
                  <a:lnTo>
                    <a:pt x="110" y="126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2"/>
                  </a:lnTo>
                  <a:lnTo>
                    <a:pt x="112" y="122"/>
                  </a:lnTo>
                  <a:lnTo>
                    <a:pt x="112" y="122"/>
                  </a:lnTo>
                  <a:lnTo>
                    <a:pt x="112" y="120"/>
                  </a:lnTo>
                  <a:lnTo>
                    <a:pt x="114" y="120"/>
                  </a:lnTo>
                  <a:lnTo>
                    <a:pt x="116" y="118"/>
                  </a:lnTo>
                  <a:lnTo>
                    <a:pt x="118" y="118"/>
                  </a:lnTo>
                  <a:lnTo>
                    <a:pt x="120" y="116"/>
                  </a:lnTo>
                  <a:lnTo>
                    <a:pt x="122" y="116"/>
                  </a:lnTo>
                  <a:lnTo>
                    <a:pt x="124" y="114"/>
                  </a:lnTo>
                  <a:lnTo>
                    <a:pt x="126" y="112"/>
                  </a:lnTo>
                  <a:lnTo>
                    <a:pt x="128" y="110"/>
                  </a:lnTo>
                  <a:lnTo>
                    <a:pt x="128" y="108"/>
                  </a:lnTo>
                  <a:lnTo>
                    <a:pt x="128" y="106"/>
                  </a:lnTo>
                  <a:lnTo>
                    <a:pt x="130" y="104"/>
                  </a:lnTo>
                  <a:lnTo>
                    <a:pt x="130" y="102"/>
                  </a:lnTo>
                  <a:lnTo>
                    <a:pt x="130" y="100"/>
                  </a:lnTo>
                  <a:lnTo>
                    <a:pt x="132" y="100"/>
                  </a:lnTo>
                  <a:lnTo>
                    <a:pt x="132" y="98"/>
                  </a:lnTo>
                  <a:lnTo>
                    <a:pt x="132" y="96"/>
                  </a:lnTo>
                  <a:lnTo>
                    <a:pt x="130" y="96"/>
                  </a:lnTo>
                  <a:lnTo>
                    <a:pt x="130" y="96"/>
                  </a:lnTo>
                  <a:lnTo>
                    <a:pt x="130" y="94"/>
                  </a:lnTo>
                  <a:lnTo>
                    <a:pt x="128" y="92"/>
                  </a:lnTo>
                  <a:lnTo>
                    <a:pt x="126" y="90"/>
                  </a:lnTo>
                  <a:lnTo>
                    <a:pt x="124" y="90"/>
                  </a:lnTo>
                  <a:lnTo>
                    <a:pt x="122" y="88"/>
                  </a:lnTo>
                  <a:lnTo>
                    <a:pt x="122" y="86"/>
                  </a:lnTo>
                  <a:lnTo>
                    <a:pt x="122" y="86"/>
                  </a:lnTo>
                  <a:lnTo>
                    <a:pt x="122" y="86"/>
                  </a:lnTo>
                  <a:lnTo>
                    <a:pt x="122" y="84"/>
                  </a:lnTo>
                  <a:lnTo>
                    <a:pt x="122" y="84"/>
                  </a:lnTo>
                  <a:lnTo>
                    <a:pt x="122" y="84"/>
                  </a:lnTo>
                  <a:lnTo>
                    <a:pt x="122" y="82"/>
                  </a:lnTo>
                  <a:lnTo>
                    <a:pt x="124" y="80"/>
                  </a:lnTo>
                  <a:lnTo>
                    <a:pt x="124" y="80"/>
                  </a:lnTo>
                  <a:lnTo>
                    <a:pt x="126" y="78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2" y="70"/>
                  </a:lnTo>
                  <a:lnTo>
                    <a:pt x="132" y="68"/>
                  </a:lnTo>
                  <a:lnTo>
                    <a:pt x="134" y="68"/>
                  </a:lnTo>
                  <a:lnTo>
                    <a:pt x="134" y="66"/>
                  </a:lnTo>
                  <a:lnTo>
                    <a:pt x="136" y="66"/>
                  </a:lnTo>
                  <a:lnTo>
                    <a:pt x="136" y="64"/>
                  </a:lnTo>
                  <a:lnTo>
                    <a:pt x="138" y="64"/>
                  </a:lnTo>
                  <a:lnTo>
                    <a:pt x="140" y="64"/>
                  </a:lnTo>
                  <a:lnTo>
                    <a:pt x="140" y="64"/>
                  </a:lnTo>
                  <a:lnTo>
                    <a:pt x="144" y="64"/>
                  </a:lnTo>
                  <a:lnTo>
                    <a:pt x="146" y="64"/>
                  </a:lnTo>
                  <a:lnTo>
                    <a:pt x="146" y="64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50" y="60"/>
                  </a:lnTo>
                  <a:lnTo>
                    <a:pt x="150" y="58"/>
                  </a:lnTo>
                  <a:lnTo>
                    <a:pt x="152" y="56"/>
                  </a:lnTo>
                  <a:lnTo>
                    <a:pt x="156" y="52"/>
                  </a:lnTo>
                  <a:lnTo>
                    <a:pt x="156" y="50"/>
                  </a:lnTo>
                  <a:lnTo>
                    <a:pt x="158" y="48"/>
                  </a:lnTo>
                  <a:lnTo>
                    <a:pt x="160" y="46"/>
                  </a:lnTo>
                  <a:lnTo>
                    <a:pt x="162" y="44"/>
                  </a:lnTo>
                  <a:lnTo>
                    <a:pt x="166" y="40"/>
                  </a:lnTo>
                  <a:lnTo>
                    <a:pt x="176" y="3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19" name="Freeform 281">
              <a:extLst>
                <a:ext uri="{FF2B5EF4-FFF2-40B4-BE49-F238E27FC236}">
                  <a16:creationId xmlns:a16="http://schemas.microsoft.com/office/drawing/2014/main" id="{D6E3EFE3-1AD0-4A13-8A96-79343D54B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941" y="3434364"/>
              <a:ext cx="85422" cy="160464"/>
            </a:xfrm>
            <a:custGeom>
              <a:avLst/>
              <a:gdLst>
                <a:gd name="T0" fmla="*/ 42 w 50"/>
                <a:gd name="T1" fmla="*/ 80 h 96"/>
                <a:gd name="T2" fmla="*/ 42 w 50"/>
                <a:gd name="T3" fmla="*/ 66 h 96"/>
                <a:gd name="T4" fmla="*/ 40 w 50"/>
                <a:gd name="T5" fmla="*/ 62 h 96"/>
                <a:gd name="T6" fmla="*/ 36 w 50"/>
                <a:gd name="T7" fmla="*/ 58 h 96"/>
                <a:gd name="T8" fmla="*/ 34 w 50"/>
                <a:gd name="T9" fmla="*/ 56 h 96"/>
                <a:gd name="T10" fmla="*/ 34 w 50"/>
                <a:gd name="T11" fmla="*/ 54 h 96"/>
                <a:gd name="T12" fmla="*/ 34 w 50"/>
                <a:gd name="T13" fmla="*/ 52 h 96"/>
                <a:gd name="T14" fmla="*/ 38 w 50"/>
                <a:gd name="T15" fmla="*/ 50 h 96"/>
                <a:gd name="T16" fmla="*/ 40 w 50"/>
                <a:gd name="T17" fmla="*/ 46 h 96"/>
                <a:gd name="T18" fmla="*/ 42 w 50"/>
                <a:gd name="T19" fmla="*/ 38 h 96"/>
                <a:gd name="T20" fmla="*/ 42 w 50"/>
                <a:gd name="T21" fmla="*/ 26 h 96"/>
                <a:gd name="T22" fmla="*/ 44 w 50"/>
                <a:gd name="T23" fmla="*/ 20 h 96"/>
                <a:gd name="T24" fmla="*/ 48 w 50"/>
                <a:gd name="T25" fmla="*/ 16 h 96"/>
                <a:gd name="T26" fmla="*/ 50 w 50"/>
                <a:gd name="T27" fmla="*/ 12 h 96"/>
                <a:gd name="T28" fmla="*/ 50 w 50"/>
                <a:gd name="T29" fmla="*/ 10 h 96"/>
                <a:gd name="T30" fmla="*/ 48 w 50"/>
                <a:gd name="T31" fmla="*/ 6 h 96"/>
                <a:gd name="T32" fmla="*/ 48 w 50"/>
                <a:gd name="T33" fmla="*/ 6 h 96"/>
                <a:gd name="T34" fmla="*/ 44 w 50"/>
                <a:gd name="T35" fmla="*/ 6 h 96"/>
                <a:gd name="T36" fmla="*/ 40 w 50"/>
                <a:gd name="T37" fmla="*/ 8 h 96"/>
                <a:gd name="T38" fmla="*/ 34 w 50"/>
                <a:gd name="T39" fmla="*/ 10 h 96"/>
                <a:gd name="T40" fmla="*/ 26 w 50"/>
                <a:gd name="T41" fmla="*/ 12 h 96"/>
                <a:gd name="T42" fmla="*/ 24 w 50"/>
                <a:gd name="T43" fmla="*/ 10 h 96"/>
                <a:gd name="T44" fmla="*/ 22 w 50"/>
                <a:gd name="T45" fmla="*/ 8 h 96"/>
                <a:gd name="T46" fmla="*/ 20 w 50"/>
                <a:gd name="T47" fmla="*/ 2 h 96"/>
                <a:gd name="T48" fmla="*/ 16 w 50"/>
                <a:gd name="T49" fmla="*/ 10 h 96"/>
                <a:gd name="T50" fmla="*/ 14 w 50"/>
                <a:gd name="T51" fmla="*/ 14 h 96"/>
                <a:gd name="T52" fmla="*/ 14 w 50"/>
                <a:gd name="T53" fmla="*/ 24 h 96"/>
                <a:gd name="T54" fmla="*/ 14 w 50"/>
                <a:gd name="T55" fmla="*/ 28 h 96"/>
                <a:gd name="T56" fmla="*/ 16 w 50"/>
                <a:gd name="T57" fmla="*/ 34 h 96"/>
                <a:gd name="T58" fmla="*/ 16 w 50"/>
                <a:gd name="T59" fmla="*/ 36 h 96"/>
                <a:gd name="T60" fmla="*/ 14 w 50"/>
                <a:gd name="T61" fmla="*/ 40 h 96"/>
                <a:gd name="T62" fmla="*/ 10 w 50"/>
                <a:gd name="T63" fmla="*/ 46 h 96"/>
                <a:gd name="T64" fmla="*/ 4 w 50"/>
                <a:gd name="T65" fmla="*/ 48 h 96"/>
                <a:gd name="T66" fmla="*/ 2 w 50"/>
                <a:gd name="T67" fmla="*/ 52 h 96"/>
                <a:gd name="T68" fmla="*/ 0 w 50"/>
                <a:gd name="T69" fmla="*/ 56 h 96"/>
                <a:gd name="T70" fmla="*/ 0 w 50"/>
                <a:gd name="T71" fmla="*/ 64 h 96"/>
                <a:gd name="T72" fmla="*/ 0 w 50"/>
                <a:gd name="T73" fmla="*/ 66 h 96"/>
                <a:gd name="T74" fmla="*/ 2 w 50"/>
                <a:gd name="T75" fmla="*/ 68 h 96"/>
                <a:gd name="T76" fmla="*/ 6 w 50"/>
                <a:gd name="T77" fmla="*/ 70 h 96"/>
                <a:gd name="T78" fmla="*/ 10 w 50"/>
                <a:gd name="T79" fmla="*/ 70 h 96"/>
                <a:gd name="T80" fmla="*/ 12 w 50"/>
                <a:gd name="T81" fmla="*/ 74 h 96"/>
                <a:gd name="T82" fmla="*/ 12 w 50"/>
                <a:gd name="T83" fmla="*/ 80 h 96"/>
                <a:gd name="T84" fmla="*/ 12 w 50"/>
                <a:gd name="T85" fmla="*/ 86 h 96"/>
                <a:gd name="T86" fmla="*/ 12 w 50"/>
                <a:gd name="T87" fmla="*/ 90 h 96"/>
                <a:gd name="T88" fmla="*/ 14 w 50"/>
                <a:gd name="T89" fmla="*/ 94 h 96"/>
                <a:gd name="T90" fmla="*/ 20 w 50"/>
                <a:gd name="T91" fmla="*/ 94 h 96"/>
                <a:gd name="T92" fmla="*/ 28 w 50"/>
                <a:gd name="T93" fmla="*/ 96 h 96"/>
                <a:gd name="T94" fmla="*/ 34 w 50"/>
                <a:gd name="T95" fmla="*/ 96 h 96"/>
                <a:gd name="T96" fmla="*/ 36 w 50"/>
                <a:gd name="T97" fmla="*/ 94 h 96"/>
                <a:gd name="T98" fmla="*/ 40 w 50"/>
                <a:gd name="T99" fmla="*/ 8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" h="96">
                  <a:moveTo>
                    <a:pt x="42" y="82"/>
                  </a:moveTo>
                  <a:lnTo>
                    <a:pt x="42" y="82"/>
                  </a:lnTo>
                  <a:lnTo>
                    <a:pt x="42" y="80"/>
                  </a:lnTo>
                  <a:lnTo>
                    <a:pt x="42" y="74"/>
                  </a:lnTo>
                  <a:lnTo>
                    <a:pt x="42" y="70"/>
                  </a:lnTo>
                  <a:lnTo>
                    <a:pt x="42" y="66"/>
                  </a:lnTo>
                  <a:lnTo>
                    <a:pt x="42" y="64"/>
                  </a:lnTo>
                  <a:lnTo>
                    <a:pt x="42" y="62"/>
                  </a:lnTo>
                  <a:lnTo>
                    <a:pt x="40" y="62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6"/>
                  </a:lnTo>
                  <a:lnTo>
                    <a:pt x="40" y="44"/>
                  </a:lnTo>
                  <a:lnTo>
                    <a:pt x="42" y="42"/>
                  </a:lnTo>
                  <a:lnTo>
                    <a:pt x="42" y="38"/>
                  </a:lnTo>
                  <a:lnTo>
                    <a:pt x="42" y="34"/>
                  </a:lnTo>
                  <a:lnTo>
                    <a:pt x="42" y="30"/>
                  </a:lnTo>
                  <a:lnTo>
                    <a:pt x="42" y="26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6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4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8" y="6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4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30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4" y="40"/>
                  </a:lnTo>
                  <a:lnTo>
                    <a:pt x="12" y="42"/>
                  </a:lnTo>
                  <a:lnTo>
                    <a:pt x="10" y="44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6" y="48"/>
                  </a:lnTo>
                  <a:lnTo>
                    <a:pt x="4" y="48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4" y="68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8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2"/>
                  </a:lnTo>
                  <a:lnTo>
                    <a:pt x="12" y="72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2"/>
                  </a:lnTo>
                  <a:lnTo>
                    <a:pt x="12" y="84"/>
                  </a:lnTo>
                  <a:lnTo>
                    <a:pt x="12" y="86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4"/>
                  </a:lnTo>
                  <a:lnTo>
                    <a:pt x="16" y="94"/>
                  </a:lnTo>
                  <a:lnTo>
                    <a:pt x="18" y="94"/>
                  </a:lnTo>
                  <a:lnTo>
                    <a:pt x="20" y="94"/>
                  </a:lnTo>
                  <a:lnTo>
                    <a:pt x="24" y="96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0" y="96"/>
                  </a:lnTo>
                  <a:lnTo>
                    <a:pt x="32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2"/>
                  </a:lnTo>
                  <a:lnTo>
                    <a:pt x="38" y="90"/>
                  </a:lnTo>
                  <a:lnTo>
                    <a:pt x="40" y="88"/>
                  </a:lnTo>
                  <a:lnTo>
                    <a:pt x="42" y="84"/>
                  </a:lnTo>
                  <a:lnTo>
                    <a:pt x="42" y="8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20" name="Freeform 283">
              <a:extLst>
                <a:ext uri="{FF2B5EF4-FFF2-40B4-BE49-F238E27FC236}">
                  <a16:creationId xmlns:a16="http://schemas.microsoft.com/office/drawing/2014/main" id="{601E6A2F-7093-4117-8AD3-FC02E3FD7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199" y="3130151"/>
              <a:ext cx="290433" cy="300870"/>
            </a:xfrm>
            <a:custGeom>
              <a:avLst/>
              <a:gdLst>
                <a:gd name="T0" fmla="*/ 88 w 170"/>
                <a:gd name="T1" fmla="*/ 8 h 180"/>
                <a:gd name="T2" fmla="*/ 84 w 170"/>
                <a:gd name="T3" fmla="*/ 18 h 180"/>
                <a:gd name="T4" fmla="*/ 78 w 170"/>
                <a:gd name="T5" fmla="*/ 24 h 180"/>
                <a:gd name="T6" fmla="*/ 74 w 170"/>
                <a:gd name="T7" fmla="*/ 30 h 180"/>
                <a:gd name="T8" fmla="*/ 66 w 170"/>
                <a:gd name="T9" fmla="*/ 28 h 180"/>
                <a:gd name="T10" fmla="*/ 64 w 170"/>
                <a:gd name="T11" fmla="*/ 30 h 180"/>
                <a:gd name="T12" fmla="*/ 62 w 170"/>
                <a:gd name="T13" fmla="*/ 38 h 180"/>
                <a:gd name="T14" fmla="*/ 54 w 170"/>
                <a:gd name="T15" fmla="*/ 40 h 180"/>
                <a:gd name="T16" fmla="*/ 48 w 170"/>
                <a:gd name="T17" fmla="*/ 38 h 180"/>
                <a:gd name="T18" fmla="*/ 44 w 170"/>
                <a:gd name="T19" fmla="*/ 30 h 180"/>
                <a:gd name="T20" fmla="*/ 38 w 170"/>
                <a:gd name="T21" fmla="*/ 30 h 180"/>
                <a:gd name="T22" fmla="*/ 36 w 170"/>
                <a:gd name="T23" fmla="*/ 34 h 180"/>
                <a:gd name="T24" fmla="*/ 38 w 170"/>
                <a:gd name="T25" fmla="*/ 42 h 180"/>
                <a:gd name="T26" fmla="*/ 36 w 170"/>
                <a:gd name="T27" fmla="*/ 50 h 180"/>
                <a:gd name="T28" fmla="*/ 26 w 170"/>
                <a:gd name="T29" fmla="*/ 50 h 180"/>
                <a:gd name="T30" fmla="*/ 18 w 170"/>
                <a:gd name="T31" fmla="*/ 54 h 180"/>
                <a:gd name="T32" fmla="*/ 6 w 170"/>
                <a:gd name="T33" fmla="*/ 56 h 180"/>
                <a:gd name="T34" fmla="*/ 0 w 170"/>
                <a:gd name="T35" fmla="*/ 58 h 180"/>
                <a:gd name="T36" fmla="*/ 0 w 170"/>
                <a:gd name="T37" fmla="*/ 66 h 180"/>
                <a:gd name="T38" fmla="*/ 2 w 170"/>
                <a:gd name="T39" fmla="*/ 70 h 180"/>
                <a:gd name="T40" fmla="*/ 18 w 170"/>
                <a:gd name="T41" fmla="*/ 76 h 180"/>
                <a:gd name="T42" fmla="*/ 32 w 170"/>
                <a:gd name="T43" fmla="*/ 86 h 180"/>
                <a:gd name="T44" fmla="*/ 38 w 170"/>
                <a:gd name="T45" fmla="*/ 102 h 180"/>
                <a:gd name="T46" fmla="*/ 46 w 170"/>
                <a:gd name="T47" fmla="*/ 110 h 180"/>
                <a:gd name="T48" fmla="*/ 48 w 170"/>
                <a:gd name="T49" fmla="*/ 114 h 180"/>
                <a:gd name="T50" fmla="*/ 42 w 170"/>
                <a:gd name="T51" fmla="*/ 116 h 180"/>
                <a:gd name="T52" fmla="*/ 38 w 170"/>
                <a:gd name="T53" fmla="*/ 128 h 180"/>
                <a:gd name="T54" fmla="*/ 38 w 170"/>
                <a:gd name="T55" fmla="*/ 150 h 180"/>
                <a:gd name="T56" fmla="*/ 32 w 170"/>
                <a:gd name="T57" fmla="*/ 162 h 180"/>
                <a:gd name="T58" fmla="*/ 54 w 170"/>
                <a:gd name="T59" fmla="*/ 170 h 180"/>
                <a:gd name="T60" fmla="*/ 70 w 170"/>
                <a:gd name="T61" fmla="*/ 170 h 180"/>
                <a:gd name="T62" fmla="*/ 80 w 170"/>
                <a:gd name="T63" fmla="*/ 178 h 180"/>
                <a:gd name="T64" fmla="*/ 88 w 170"/>
                <a:gd name="T65" fmla="*/ 180 h 180"/>
                <a:gd name="T66" fmla="*/ 108 w 170"/>
                <a:gd name="T67" fmla="*/ 176 h 180"/>
                <a:gd name="T68" fmla="*/ 106 w 170"/>
                <a:gd name="T69" fmla="*/ 164 h 180"/>
                <a:gd name="T70" fmla="*/ 110 w 170"/>
                <a:gd name="T71" fmla="*/ 156 h 180"/>
                <a:gd name="T72" fmla="*/ 122 w 170"/>
                <a:gd name="T73" fmla="*/ 156 h 180"/>
                <a:gd name="T74" fmla="*/ 136 w 170"/>
                <a:gd name="T75" fmla="*/ 156 h 180"/>
                <a:gd name="T76" fmla="*/ 150 w 170"/>
                <a:gd name="T77" fmla="*/ 164 h 180"/>
                <a:gd name="T78" fmla="*/ 156 w 170"/>
                <a:gd name="T79" fmla="*/ 164 h 180"/>
                <a:gd name="T80" fmla="*/ 162 w 170"/>
                <a:gd name="T81" fmla="*/ 154 h 180"/>
                <a:gd name="T82" fmla="*/ 164 w 170"/>
                <a:gd name="T83" fmla="*/ 144 h 180"/>
                <a:gd name="T84" fmla="*/ 162 w 170"/>
                <a:gd name="T85" fmla="*/ 140 h 180"/>
                <a:gd name="T86" fmla="*/ 152 w 170"/>
                <a:gd name="T87" fmla="*/ 136 h 180"/>
                <a:gd name="T88" fmla="*/ 150 w 170"/>
                <a:gd name="T89" fmla="*/ 126 h 180"/>
                <a:gd name="T90" fmla="*/ 154 w 170"/>
                <a:gd name="T91" fmla="*/ 118 h 180"/>
                <a:gd name="T92" fmla="*/ 158 w 170"/>
                <a:gd name="T93" fmla="*/ 106 h 180"/>
                <a:gd name="T94" fmla="*/ 150 w 170"/>
                <a:gd name="T95" fmla="*/ 98 h 180"/>
                <a:gd name="T96" fmla="*/ 150 w 170"/>
                <a:gd name="T97" fmla="*/ 92 h 180"/>
                <a:gd name="T98" fmla="*/ 156 w 170"/>
                <a:gd name="T99" fmla="*/ 78 h 180"/>
                <a:gd name="T100" fmla="*/ 168 w 170"/>
                <a:gd name="T101" fmla="*/ 74 h 180"/>
                <a:gd name="T102" fmla="*/ 164 w 170"/>
                <a:gd name="T103" fmla="*/ 54 h 180"/>
                <a:gd name="T104" fmla="*/ 170 w 170"/>
                <a:gd name="T105" fmla="*/ 46 h 180"/>
                <a:gd name="T106" fmla="*/ 170 w 170"/>
                <a:gd name="T107" fmla="*/ 42 h 180"/>
                <a:gd name="T108" fmla="*/ 158 w 170"/>
                <a:gd name="T109" fmla="*/ 34 h 180"/>
                <a:gd name="T110" fmla="*/ 122 w 170"/>
                <a:gd name="T111" fmla="*/ 30 h 180"/>
                <a:gd name="T112" fmla="*/ 118 w 170"/>
                <a:gd name="T113" fmla="*/ 24 h 180"/>
                <a:gd name="T114" fmla="*/ 112 w 170"/>
                <a:gd name="T115" fmla="*/ 14 h 180"/>
                <a:gd name="T116" fmla="*/ 102 w 170"/>
                <a:gd name="T117" fmla="*/ 10 h 180"/>
                <a:gd name="T118" fmla="*/ 104 w 170"/>
                <a:gd name="T119" fmla="*/ 0 h 180"/>
                <a:gd name="T120" fmla="*/ 90 w 170"/>
                <a:gd name="T121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0" h="180">
                  <a:moveTo>
                    <a:pt x="90" y="4"/>
                  </a:moveTo>
                  <a:lnTo>
                    <a:pt x="90" y="4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8" y="6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86" y="14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8"/>
                  </a:lnTo>
                  <a:lnTo>
                    <a:pt x="84" y="18"/>
                  </a:lnTo>
                  <a:lnTo>
                    <a:pt x="82" y="20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8" y="26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68" y="30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4" y="28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8" y="40"/>
                  </a:lnTo>
                  <a:lnTo>
                    <a:pt x="56" y="40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4" y="32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8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8" y="48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4" y="50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52"/>
                  </a:lnTo>
                  <a:lnTo>
                    <a:pt x="20" y="52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6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8" y="74"/>
                  </a:lnTo>
                  <a:lnTo>
                    <a:pt x="14" y="76"/>
                  </a:lnTo>
                  <a:lnTo>
                    <a:pt x="16" y="76"/>
                  </a:lnTo>
                  <a:lnTo>
                    <a:pt x="18" y="76"/>
                  </a:lnTo>
                  <a:lnTo>
                    <a:pt x="22" y="78"/>
                  </a:lnTo>
                  <a:lnTo>
                    <a:pt x="24" y="80"/>
                  </a:lnTo>
                  <a:lnTo>
                    <a:pt x="26" y="80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6" y="90"/>
                  </a:lnTo>
                  <a:lnTo>
                    <a:pt x="36" y="92"/>
                  </a:lnTo>
                  <a:lnTo>
                    <a:pt x="36" y="94"/>
                  </a:lnTo>
                  <a:lnTo>
                    <a:pt x="38" y="98"/>
                  </a:lnTo>
                  <a:lnTo>
                    <a:pt x="38" y="102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6"/>
                  </a:lnTo>
                  <a:lnTo>
                    <a:pt x="42" y="106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2" y="118"/>
                  </a:lnTo>
                  <a:lnTo>
                    <a:pt x="40" y="118"/>
                  </a:lnTo>
                  <a:lnTo>
                    <a:pt x="40" y="120"/>
                  </a:lnTo>
                  <a:lnTo>
                    <a:pt x="40" y="122"/>
                  </a:lnTo>
                  <a:lnTo>
                    <a:pt x="38" y="126"/>
                  </a:lnTo>
                  <a:lnTo>
                    <a:pt x="38" y="128"/>
                  </a:lnTo>
                  <a:lnTo>
                    <a:pt x="38" y="130"/>
                  </a:lnTo>
                  <a:lnTo>
                    <a:pt x="38" y="136"/>
                  </a:lnTo>
                  <a:lnTo>
                    <a:pt x="38" y="140"/>
                  </a:lnTo>
                  <a:lnTo>
                    <a:pt x="38" y="146"/>
                  </a:lnTo>
                  <a:lnTo>
                    <a:pt x="38" y="148"/>
                  </a:lnTo>
                  <a:lnTo>
                    <a:pt x="38" y="150"/>
                  </a:lnTo>
                  <a:lnTo>
                    <a:pt x="36" y="152"/>
                  </a:lnTo>
                  <a:lnTo>
                    <a:pt x="36" y="154"/>
                  </a:lnTo>
                  <a:lnTo>
                    <a:pt x="36" y="154"/>
                  </a:lnTo>
                  <a:lnTo>
                    <a:pt x="36" y="156"/>
                  </a:lnTo>
                  <a:lnTo>
                    <a:pt x="34" y="160"/>
                  </a:lnTo>
                  <a:lnTo>
                    <a:pt x="32" y="162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48" y="168"/>
                  </a:lnTo>
                  <a:lnTo>
                    <a:pt x="50" y="170"/>
                  </a:lnTo>
                  <a:lnTo>
                    <a:pt x="52" y="170"/>
                  </a:lnTo>
                  <a:lnTo>
                    <a:pt x="54" y="170"/>
                  </a:lnTo>
                  <a:lnTo>
                    <a:pt x="60" y="170"/>
                  </a:lnTo>
                  <a:lnTo>
                    <a:pt x="64" y="170"/>
                  </a:lnTo>
                  <a:lnTo>
                    <a:pt x="66" y="170"/>
                  </a:lnTo>
                  <a:lnTo>
                    <a:pt x="68" y="170"/>
                  </a:lnTo>
                  <a:lnTo>
                    <a:pt x="70" y="170"/>
                  </a:lnTo>
                  <a:lnTo>
                    <a:pt x="70" y="170"/>
                  </a:lnTo>
                  <a:lnTo>
                    <a:pt x="72" y="170"/>
                  </a:lnTo>
                  <a:lnTo>
                    <a:pt x="72" y="172"/>
                  </a:lnTo>
                  <a:lnTo>
                    <a:pt x="76" y="174"/>
                  </a:lnTo>
                  <a:lnTo>
                    <a:pt x="76" y="176"/>
                  </a:lnTo>
                  <a:lnTo>
                    <a:pt x="78" y="178"/>
                  </a:lnTo>
                  <a:lnTo>
                    <a:pt x="80" y="178"/>
                  </a:lnTo>
                  <a:lnTo>
                    <a:pt x="80" y="178"/>
                  </a:lnTo>
                  <a:lnTo>
                    <a:pt x="80" y="180"/>
                  </a:lnTo>
                  <a:lnTo>
                    <a:pt x="82" y="180"/>
                  </a:lnTo>
                  <a:lnTo>
                    <a:pt x="84" y="180"/>
                  </a:lnTo>
                  <a:lnTo>
                    <a:pt x="86" y="180"/>
                  </a:lnTo>
                  <a:lnTo>
                    <a:pt x="88" y="180"/>
                  </a:lnTo>
                  <a:lnTo>
                    <a:pt x="92" y="180"/>
                  </a:lnTo>
                  <a:lnTo>
                    <a:pt x="96" y="180"/>
                  </a:lnTo>
                  <a:lnTo>
                    <a:pt x="102" y="178"/>
                  </a:lnTo>
                  <a:lnTo>
                    <a:pt x="104" y="178"/>
                  </a:lnTo>
                  <a:lnTo>
                    <a:pt x="108" y="178"/>
                  </a:lnTo>
                  <a:lnTo>
                    <a:pt x="108" y="176"/>
                  </a:lnTo>
                  <a:lnTo>
                    <a:pt x="108" y="174"/>
                  </a:lnTo>
                  <a:lnTo>
                    <a:pt x="106" y="170"/>
                  </a:lnTo>
                  <a:lnTo>
                    <a:pt x="106" y="170"/>
                  </a:lnTo>
                  <a:lnTo>
                    <a:pt x="106" y="168"/>
                  </a:lnTo>
                  <a:lnTo>
                    <a:pt x="106" y="166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8" y="162"/>
                  </a:lnTo>
                  <a:lnTo>
                    <a:pt x="108" y="160"/>
                  </a:lnTo>
                  <a:lnTo>
                    <a:pt x="108" y="158"/>
                  </a:lnTo>
                  <a:lnTo>
                    <a:pt x="110" y="158"/>
                  </a:lnTo>
                  <a:lnTo>
                    <a:pt x="110" y="156"/>
                  </a:lnTo>
                  <a:lnTo>
                    <a:pt x="112" y="156"/>
                  </a:lnTo>
                  <a:lnTo>
                    <a:pt x="114" y="156"/>
                  </a:lnTo>
                  <a:lnTo>
                    <a:pt x="114" y="156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2" y="156"/>
                  </a:lnTo>
                  <a:lnTo>
                    <a:pt x="128" y="154"/>
                  </a:lnTo>
                  <a:lnTo>
                    <a:pt x="132" y="154"/>
                  </a:lnTo>
                  <a:lnTo>
                    <a:pt x="134" y="154"/>
                  </a:lnTo>
                  <a:lnTo>
                    <a:pt x="134" y="156"/>
                  </a:lnTo>
                  <a:lnTo>
                    <a:pt x="136" y="156"/>
                  </a:lnTo>
                  <a:lnTo>
                    <a:pt x="136" y="156"/>
                  </a:lnTo>
                  <a:lnTo>
                    <a:pt x="140" y="158"/>
                  </a:lnTo>
                  <a:lnTo>
                    <a:pt x="142" y="160"/>
                  </a:lnTo>
                  <a:lnTo>
                    <a:pt x="142" y="162"/>
                  </a:lnTo>
                  <a:lnTo>
                    <a:pt x="144" y="162"/>
                  </a:lnTo>
                  <a:lnTo>
                    <a:pt x="146" y="164"/>
                  </a:lnTo>
                  <a:lnTo>
                    <a:pt x="150" y="164"/>
                  </a:lnTo>
                  <a:lnTo>
                    <a:pt x="152" y="164"/>
                  </a:lnTo>
                  <a:lnTo>
                    <a:pt x="152" y="166"/>
                  </a:lnTo>
                  <a:lnTo>
                    <a:pt x="154" y="166"/>
                  </a:lnTo>
                  <a:lnTo>
                    <a:pt x="154" y="166"/>
                  </a:lnTo>
                  <a:lnTo>
                    <a:pt x="156" y="166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58" y="164"/>
                  </a:lnTo>
                  <a:lnTo>
                    <a:pt x="158" y="162"/>
                  </a:lnTo>
                  <a:lnTo>
                    <a:pt x="160" y="160"/>
                  </a:lnTo>
                  <a:lnTo>
                    <a:pt x="160" y="158"/>
                  </a:lnTo>
                  <a:lnTo>
                    <a:pt x="162" y="154"/>
                  </a:lnTo>
                  <a:lnTo>
                    <a:pt x="162" y="152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4" y="146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0"/>
                  </a:lnTo>
                  <a:lnTo>
                    <a:pt x="162" y="140"/>
                  </a:lnTo>
                  <a:lnTo>
                    <a:pt x="162" y="140"/>
                  </a:lnTo>
                  <a:lnTo>
                    <a:pt x="162" y="140"/>
                  </a:lnTo>
                  <a:lnTo>
                    <a:pt x="160" y="138"/>
                  </a:lnTo>
                  <a:lnTo>
                    <a:pt x="158" y="138"/>
                  </a:lnTo>
                  <a:lnTo>
                    <a:pt x="156" y="138"/>
                  </a:lnTo>
                  <a:lnTo>
                    <a:pt x="154" y="138"/>
                  </a:lnTo>
                  <a:lnTo>
                    <a:pt x="152" y="136"/>
                  </a:lnTo>
                  <a:lnTo>
                    <a:pt x="152" y="136"/>
                  </a:lnTo>
                  <a:lnTo>
                    <a:pt x="152" y="136"/>
                  </a:lnTo>
                  <a:lnTo>
                    <a:pt x="152" y="134"/>
                  </a:lnTo>
                  <a:lnTo>
                    <a:pt x="150" y="132"/>
                  </a:lnTo>
                  <a:lnTo>
                    <a:pt x="150" y="130"/>
                  </a:lnTo>
                  <a:lnTo>
                    <a:pt x="150" y="128"/>
                  </a:lnTo>
                  <a:lnTo>
                    <a:pt x="150" y="126"/>
                  </a:lnTo>
                  <a:lnTo>
                    <a:pt x="150" y="124"/>
                  </a:lnTo>
                  <a:lnTo>
                    <a:pt x="150" y="124"/>
                  </a:lnTo>
                  <a:lnTo>
                    <a:pt x="150" y="122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4" y="118"/>
                  </a:lnTo>
                  <a:lnTo>
                    <a:pt x="156" y="116"/>
                  </a:lnTo>
                  <a:lnTo>
                    <a:pt x="156" y="114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58" y="110"/>
                  </a:lnTo>
                  <a:lnTo>
                    <a:pt x="158" y="106"/>
                  </a:lnTo>
                  <a:lnTo>
                    <a:pt x="158" y="104"/>
                  </a:lnTo>
                  <a:lnTo>
                    <a:pt x="158" y="102"/>
                  </a:lnTo>
                  <a:lnTo>
                    <a:pt x="156" y="102"/>
                  </a:lnTo>
                  <a:lnTo>
                    <a:pt x="154" y="100"/>
                  </a:lnTo>
                  <a:lnTo>
                    <a:pt x="152" y="98"/>
                  </a:lnTo>
                  <a:lnTo>
                    <a:pt x="150" y="98"/>
                  </a:lnTo>
                  <a:lnTo>
                    <a:pt x="150" y="96"/>
                  </a:lnTo>
                  <a:lnTo>
                    <a:pt x="150" y="96"/>
                  </a:lnTo>
                  <a:lnTo>
                    <a:pt x="148" y="96"/>
                  </a:lnTo>
                  <a:lnTo>
                    <a:pt x="148" y="94"/>
                  </a:lnTo>
                  <a:lnTo>
                    <a:pt x="148" y="94"/>
                  </a:lnTo>
                  <a:lnTo>
                    <a:pt x="150" y="92"/>
                  </a:lnTo>
                  <a:lnTo>
                    <a:pt x="150" y="90"/>
                  </a:lnTo>
                  <a:lnTo>
                    <a:pt x="150" y="88"/>
                  </a:lnTo>
                  <a:lnTo>
                    <a:pt x="152" y="86"/>
                  </a:lnTo>
                  <a:lnTo>
                    <a:pt x="152" y="84"/>
                  </a:lnTo>
                  <a:lnTo>
                    <a:pt x="154" y="80"/>
                  </a:lnTo>
                  <a:lnTo>
                    <a:pt x="156" y="78"/>
                  </a:lnTo>
                  <a:lnTo>
                    <a:pt x="158" y="78"/>
                  </a:lnTo>
                  <a:lnTo>
                    <a:pt x="158" y="76"/>
                  </a:lnTo>
                  <a:lnTo>
                    <a:pt x="158" y="76"/>
                  </a:lnTo>
                  <a:lnTo>
                    <a:pt x="160" y="76"/>
                  </a:lnTo>
                  <a:lnTo>
                    <a:pt x="164" y="74"/>
                  </a:lnTo>
                  <a:lnTo>
                    <a:pt x="168" y="74"/>
                  </a:lnTo>
                  <a:lnTo>
                    <a:pt x="166" y="72"/>
                  </a:lnTo>
                  <a:lnTo>
                    <a:pt x="166" y="66"/>
                  </a:lnTo>
                  <a:lnTo>
                    <a:pt x="164" y="62"/>
                  </a:lnTo>
                  <a:lnTo>
                    <a:pt x="164" y="58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6" y="50"/>
                  </a:lnTo>
                  <a:lnTo>
                    <a:pt x="168" y="48"/>
                  </a:lnTo>
                  <a:lnTo>
                    <a:pt x="170" y="48"/>
                  </a:lnTo>
                  <a:lnTo>
                    <a:pt x="170" y="46"/>
                  </a:lnTo>
                  <a:lnTo>
                    <a:pt x="170" y="46"/>
                  </a:lnTo>
                  <a:lnTo>
                    <a:pt x="170" y="46"/>
                  </a:lnTo>
                  <a:lnTo>
                    <a:pt x="170" y="44"/>
                  </a:lnTo>
                  <a:lnTo>
                    <a:pt x="170" y="44"/>
                  </a:lnTo>
                  <a:lnTo>
                    <a:pt x="170" y="44"/>
                  </a:lnTo>
                  <a:lnTo>
                    <a:pt x="170" y="42"/>
                  </a:lnTo>
                  <a:lnTo>
                    <a:pt x="168" y="42"/>
                  </a:lnTo>
                  <a:lnTo>
                    <a:pt x="166" y="40"/>
                  </a:lnTo>
                  <a:lnTo>
                    <a:pt x="164" y="38"/>
                  </a:lnTo>
                  <a:lnTo>
                    <a:pt x="162" y="36"/>
                  </a:lnTo>
                  <a:lnTo>
                    <a:pt x="160" y="34"/>
                  </a:lnTo>
                  <a:lnTo>
                    <a:pt x="158" y="34"/>
                  </a:lnTo>
                  <a:lnTo>
                    <a:pt x="136" y="34"/>
                  </a:lnTo>
                  <a:lnTo>
                    <a:pt x="134" y="34"/>
                  </a:lnTo>
                  <a:lnTo>
                    <a:pt x="130" y="32"/>
                  </a:lnTo>
                  <a:lnTo>
                    <a:pt x="128" y="32"/>
                  </a:lnTo>
                  <a:lnTo>
                    <a:pt x="124" y="30"/>
                  </a:lnTo>
                  <a:lnTo>
                    <a:pt x="122" y="30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18" y="26"/>
                  </a:lnTo>
                  <a:lnTo>
                    <a:pt x="118" y="24"/>
                  </a:lnTo>
                  <a:lnTo>
                    <a:pt x="118" y="22"/>
                  </a:lnTo>
                  <a:lnTo>
                    <a:pt x="116" y="18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4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2" y="6"/>
                  </a:lnTo>
                  <a:lnTo>
                    <a:pt x="102" y="4"/>
                  </a:lnTo>
                  <a:lnTo>
                    <a:pt x="104" y="2"/>
                  </a:lnTo>
                  <a:lnTo>
                    <a:pt x="104" y="0"/>
                  </a:lnTo>
                  <a:lnTo>
                    <a:pt x="102" y="0"/>
                  </a:lnTo>
                  <a:lnTo>
                    <a:pt x="98" y="2"/>
                  </a:lnTo>
                  <a:lnTo>
                    <a:pt x="96" y="2"/>
                  </a:lnTo>
                  <a:lnTo>
                    <a:pt x="92" y="2"/>
                  </a:lnTo>
                  <a:lnTo>
                    <a:pt x="90" y="2"/>
                  </a:lnTo>
                  <a:lnTo>
                    <a:pt x="90" y="4"/>
                  </a:lnTo>
                  <a:lnTo>
                    <a:pt x="90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21" name="Freeform 285">
              <a:extLst>
                <a:ext uri="{FF2B5EF4-FFF2-40B4-BE49-F238E27FC236}">
                  <a16:creationId xmlns:a16="http://schemas.microsoft.com/office/drawing/2014/main" id="{C274CD74-4B31-451D-B1AC-7BAFA5CCB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0550" y="3414305"/>
              <a:ext cx="27335" cy="46802"/>
            </a:xfrm>
            <a:custGeom>
              <a:avLst/>
              <a:gdLst>
                <a:gd name="T0" fmla="*/ 12 w 16"/>
                <a:gd name="T1" fmla="*/ 0 h 28"/>
                <a:gd name="T2" fmla="*/ 12 w 16"/>
                <a:gd name="T3" fmla="*/ 0 h 28"/>
                <a:gd name="T4" fmla="*/ 12 w 16"/>
                <a:gd name="T5" fmla="*/ 0 h 28"/>
                <a:gd name="T6" fmla="*/ 12 w 16"/>
                <a:gd name="T7" fmla="*/ 0 h 28"/>
                <a:gd name="T8" fmla="*/ 12 w 16"/>
                <a:gd name="T9" fmla="*/ 0 h 28"/>
                <a:gd name="T10" fmla="*/ 12 w 16"/>
                <a:gd name="T11" fmla="*/ 2 h 28"/>
                <a:gd name="T12" fmla="*/ 10 w 16"/>
                <a:gd name="T13" fmla="*/ 2 h 28"/>
                <a:gd name="T14" fmla="*/ 10 w 16"/>
                <a:gd name="T15" fmla="*/ 4 h 28"/>
                <a:gd name="T16" fmla="*/ 10 w 16"/>
                <a:gd name="T17" fmla="*/ 4 h 28"/>
                <a:gd name="T18" fmla="*/ 10 w 16"/>
                <a:gd name="T19" fmla="*/ 6 h 28"/>
                <a:gd name="T20" fmla="*/ 8 w 16"/>
                <a:gd name="T21" fmla="*/ 6 h 28"/>
                <a:gd name="T22" fmla="*/ 8 w 16"/>
                <a:gd name="T23" fmla="*/ 6 h 28"/>
                <a:gd name="T24" fmla="*/ 4 w 16"/>
                <a:gd name="T25" fmla="*/ 8 h 28"/>
                <a:gd name="T26" fmla="*/ 4 w 16"/>
                <a:gd name="T27" fmla="*/ 8 h 28"/>
                <a:gd name="T28" fmla="*/ 2 w 16"/>
                <a:gd name="T29" fmla="*/ 10 h 28"/>
                <a:gd name="T30" fmla="*/ 2 w 16"/>
                <a:gd name="T31" fmla="*/ 10 h 28"/>
                <a:gd name="T32" fmla="*/ 0 w 16"/>
                <a:gd name="T33" fmla="*/ 12 h 28"/>
                <a:gd name="T34" fmla="*/ 0 w 16"/>
                <a:gd name="T35" fmla="*/ 12 h 28"/>
                <a:gd name="T36" fmla="*/ 0 w 16"/>
                <a:gd name="T37" fmla="*/ 14 h 28"/>
                <a:gd name="T38" fmla="*/ 0 w 16"/>
                <a:gd name="T39" fmla="*/ 14 h 28"/>
                <a:gd name="T40" fmla="*/ 0 w 16"/>
                <a:gd name="T41" fmla="*/ 16 h 28"/>
                <a:gd name="T42" fmla="*/ 2 w 16"/>
                <a:gd name="T43" fmla="*/ 18 h 28"/>
                <a:gd name="T44" fmla="*/ 2 w 16"/>
                <a:gd name="T45" fmla="*/ 18 h 28"/>
                <a:gd name="T46" fmla="*/ 2 w 16"/>
                <a:gd name="T47" fmla="*/ 20 h 28"/>
                <a:gd name="T48" fmla="*/ 2 w 16"/>
                <a:gd name="T49" fmla="*/ 22 h 28"/>
                <a:gd name="T50" fmla="*/ 4 w 16"/>
                <a:gd name="T51" fmla="*/ 22 h 28"/>
                <a:gd name="T52" fmla="*/ 6 w 16"/>
                <a:gd name="T53" fmla="*/ 24 h 28"/>
                <a:gd name="T54" fmla="*/ 6 w 16"/>
                <a:gd name="T55" fmla="*/ 26 h 28"/>
                <a:gd name="T56" fmla="*/ 8 w 16"/>
                <a:gd name="T57" fmla="*/ 26 h 28"/>
                <a:gd name="T58" fmla="*/ 8 w 16"/>
                <a:gd name="T59" fmla="*/ 28 h 28"/>
                <a:gd name="T60" fmla="*/ 10 w 16"/>
                <a:gd name="T61" fmla="*/ 28 h 28"/>
                <a:gd name="T62" fmla="*/ 10 w 16"/>
                <a:gd name="T63" fmla="*/ 28 h 28"/>
                <a:gd name="T64" fmla="*/ 10 w 16"/>
                <a:gd name="T65" fmla="*/ 28 h 28"/>
                <a:gd name="T66" fmla="*/ 10 w 16"/>
                <a:gd name="T67" fmla="*/ 28 h 28"/>
                <a:gd name="T68" fmla="*/ 12 w 16"/>
                <a:gd name="T69" fmla="*/ 26 h 28"/>
                <a:gd name="T70" fmla="*/ 12 w 16"/>
                <a:gd name="T71" fmla="*/ 26 h 28"/>
                <a:gd name="T72" fmla="*/ 14 w 16"/>
                <a:gd name="T73" fmla="*/ 24 h 28"/>
                <a:gd name="T74" fmla="*/ 14 w 16"/>
                <a:gd name="T75" fmla="*/ 22 h 28"/>
                <a:gd name="T76" fmla="*/ 16 w 16"/>
                <a:gd name="T77" fmla="*/ 20 h 28"/>
                <a:gd name="T78" fmla="*/ 16 w 16"/>
                <a:gd name="T79" fmla="*/ 18 h 28"/>
                <a:gd name="T80" fmla="*/ 16 w 16"/>
                <a:gd name="T81" fmla="*/ 16 h 28"/>
                <a:gd name="T82" fmla="*/ 16 w 16"/>
                <a:gd name="T83" fmla="*/ 14 h 28"/>
                <a:gd name="T84" fmla="*/ 16 w 16"/>
                <a:gd name="T85" fmla="*/ 12 h 28"/>
                <a:gd name="T86" fmla="*/ 16 w 16"/>
                <a:gd name="T87" fmla="*/ 10 h 28"/>
                <a:gd name="T88" fmla="*/ 16 w 16"/>
                <a:gd name="T89" fmla="*/ 8 h 28"/>
                <a:gd name="T90" fmla="*/ 16 w 16"/>
                <a:gd name="T91" fmla="*/ 6 h 28"/>
                <a:gd name="T92" fmla="*/ 16 w 16"/>
                <a:gd name="T93" fmla="*/ 4 h 28"/>
                <a:gd name="T94" fmla="*/ 14 w 16"/>
                <a:gd name="T95" fmla="*/ 2 h 28"/>
                <a:gd name="T96" fmla="*/ 14 w 16"/>
                <a:gd name="T97" fmla="*/ 2 h 28"/>
                <a:gd name="T98" fmla="*/ 14 w 16"/>
                <a:gd name="T99" fmla="*/ 2 h 28"/>
                <a:gd name="T100" fmla="*/ 14 w 16"/>
                <a:gd name="T101" fmla="*/ 0 h 28"/>
                <a:gd name="T102" fmla="*/ 12 w 16"/>
                <a:gd name="T10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6" y="26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22" name="Freeform 288">
              <a:extLst>
                <a:ext uri="{FF2B5EF4-FFF2-40B4-BE49-F238E27FC236}">
                  <a16:creationId xmlns:a16="http://schemas.microsoft.com/office/drawing/2014/main" id="{E6256315-E8C6-4626-A590-D5D7A4463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3305" y="3558055"/>
              <a:ext cx="54669" cy="33429"/>
            </a:xfrm>
            <a:custGeom>
              <a:avLst/>
              <a:gdLst>
                <a:gd name="T0" fmla="*/ 28 w 32"/>
                <a:gd name="T1" fmla="*/ 2 h 20"/>
                <a:gd name="T2" fmla="*/ 28 w 32"/>
                <a:gd name="T3" fmla="*/ 2 h 20"/>
                <a:gd name="T4" fmla="*/ 26 w 32"/>
                <a:gd name="T5" fmla="*/ 0 h 20"/>
                <a:gd name="T6" fmla="*/ 26 w 32"/>
                <a:gd name="T7" fmla="*/ 0 h 20"/>
                <a:gd name="T8" fmla="*/ 24 w 32"/>
                <a:gd name="T9" fmla="*/ 0 h 20"/>
                <a:gd name="T10" fmla="*/ 24 w 32"/>
                <a:gd name="T11" fmla="*/ 2 h 20"/>
                <a:gd name="T12" fmla="*/ 22 w 32"/>
                <a:gd name="T13" fmla="*/ 2 h 20"/>
                <a:gd name="T14" fmla="*/ 18 w 32"/>
                <a:gd name="T15" fmla="*/ 2 h 20"/>
                <a:gd name="T16" fmla="*/ 18 w 32"/>
                <a:gd name="T17" fmla="*/ 4 h 20"/>
                <a:gd name="T18" fmla="*/ 16 w 32"/>
                <a:gd name="T19" fmla="*/ 4 h 20"/>
                <a:gd name="T20" fmla="*/ 16 w 32"/>
                <a:gd name="T21" fmla="*/ 4 h 20"/>
                <a:gd name="T22" fmla="*/ 14 w 32"/>
                <a:gd name="T23" fmla="*/ 4 h 20"/>
                <a:gd name="T24" fmla="*/ 12 w 32"/>
                <a:gd name="T25" fmla="*/ 2 h 20"/>
                <a:gd name="T26" fmla="*/ 8 w 32"/>
                <a:gd name="T27" fmla="*/ 2 h 20"/>
                <a:gd name="T28" fmla="*/ 6 w 32"/>
                <a:gd name="T29" fmla="*/ 2 h 20"/>
                <a:gd name="T30" fmla="*/ 4 w 32"/>
                <a:gd name="T31" fmla="*/ 2 h 20"/>
                <a:gd name="T32" fmla="*/ 2 w 32"/>
                <a:gd name="T33" fmla="*/ 2 h 20"/>
                <a:gd name="T34" fmla="*/ 2 w 32"/>
                <a:gd name="T35" fmla="*/ 2 h 20"/>
                <a:gd name="T36" fmla="*/ 0 w 32"/>
                <a:gd name="T37" fmla="*/ 2 h 20"/>
                <a:gd name="T38" fmla="*/ 0 w 32"/>
                <a:gd name="T39" fmla="*/ 2 h 20"/>
                <a:gd name="T40" fmla="*/ 0 w 32"/>
                <a:gd name="T41" fmla="*/ 2 h 20"/>
                <a:gd name="T42" fmla="*/ 0 w 32"/>
                <a:gd name="T43" fmla="*/ 4 h 20"/>
                <a:gd name="T44" fmla="*/ 0 w 32"/>
                <a:gd name="T45" fmla="*/ 4 h 20"/>
                <a:gd name="T46" fmla="*/ 2 w 32"/>
                <a:gd name="T47" fmla="*/ 4 h 20"/>
                <a:gd name="T48" fmla="*/ 2 w 32"/>
                <a:gd name="T49" fmla="*/ 6 h 20"/>
                <a:gd name="T50" fmla="*/ 4 w 32"/>
                <a:gd name="T51" fmla="*/ 6 h 20"/>
                <a:gd name="T52" fmla="*/ 4 w 32"/>
                <a:gd name="T53" fmla="*/ 8 h 20"/>
                <a:gd name="T54" fmla="*/ 4 w 32"/>
                <a:gd name="T55" fmla="*/ 10 h 20"/>
                <a:gd name="T56" fmla="*/ 6 w 32"/>
                <a:gd name="T57" fmla="*/ 12 h 20"/>
                <a:gd name="T58" fmla="*/ 6 w 32"/>
                <a:gd name="T59" fmla="*/ 14 h 20"/>
                <a:gd name="T60" fmla="*/ 6 w 32"/>
                <a:gd name="T61" fmla="*/ 14 h 20"/>
                <a:gd name="T62" fmla="*/ 6 w 32"/>
                <a:gd name="T63" fmla="*/ 14 h 20"/>
                <a:gd name="T64" fmla="*/ 8 w 32"/>
                <a:gd name="T65" fmla="*/ 14 h 20"/>
                <a:gd name="T66" fmla="*/ 10 w 32"/>
                <a:gd name="T67" fmla="*/ 14 h 20"/>
                <a:gd name="T68" fmla="*/ 12 w 32"/>
                <a:gd name="T69" fmla="*/ 14 h 20"/>
                <a:gd name="T70" fmla="*/ 14 w 32"/>
                <a:gd name="T71" fmla="*/ 14 h 20"/>
                <a:gd name="T72" fmla="*/ 14 w 32"/>
                <a:gd name="T73" fmla="*/ 14 h 20"/>
                <a:gd name="T74" fmla="*/ 16 w 32"/>
                <a:gd name="T75" fmla="*/ 16 h 20"/>
                <a:gd name="T76" fmla="*/ 18 w 32"/>
                <a:gd name="T77" fmla="*/ 16 h 20"/>
                <a:gd name="T78" fmla="*/ 22 w 32"/>
                <a:gd name="T79" fmla="*/ 18 h 20"/>
                <a:gd name="T80" fmla="*/ 26 w 32"/>
                <a:gd name="T81" fmla="*/ 20 h 20"/>
                <a:gd name="T82" fmla="*/ 26 w 32"/>
                <a:gd name="T83" fmla="*/ 20 h 20"/>
                <a:gd name="T84" fmla="*/ 28 w 32"/>
                <a:gd name="T85" fmla="*/ 20 h 20"/>
                <a:gd name="T86" fmla="*/ 28 w 32"/>
                <a:gd name="T87" fmla="*/ 20 h 20"/>
                <a:gd name="T88" fmla="*/ 30 w 32"/>
                <a:gd name="T89" fmla="*/ 20 h 20"/>
                <a:gd name="T90" fmla="*/ 30 w 32"/>
                <a:gd name="T91" fmla="*/ 20 h 20"/>
                <a:gd name="T92" fmla="*/ 30 w 32"/>
                <a:gd name="T93" fmla="*/ 20 h 20"/>
                <a:gd name="T94" fmla="*/ 30 w 32"/>
                <a:gd name="T95" fmla="*/ 20 h 20"/>
                <a:gd name="T96" fmla="*/ 32 w 32"/>
                <a:gd name="T97" fmla="*/ 20 h 20"/>
                <a:gd name="T98" fmla="*/ 32 w 32"/>
                <a:gd name="T99" fmla="*/ 20 h 20"/>
                <a:gd name="T100" fmla="*/ 32 w 32"/>
                <a:gd name="T101" fmla="*/ 18 h 20"/>
                <a:gd name="T102" fmla="*/ 32 w 32"/>
                <a:gd name="T103" fmla="*/ 18 h 20"/>
                <a:gd name="T104" fmla="*/ 30 w 32"/>
                <a:gd name="T105" fmla="*/ 16 h 20"/>
                <a:gd name="T106" fmla="*/ 30 w 32"/>
                <a:gd name="T107" fmla="*/ 12 h 20"/>
                <a:gd name="T108" fmla="*/ 30 w 32"/>
                <a:gd name="T109" fmla="*/ 10 h 20"/>
                <a:gd name="T110" fmla="*/ 30 w 32"/>
                <a:gd name="T111" fmla="*/ 8 h 20"/>
                <a:gd name="T112" fmla="*/ 30 w 32"/>
                <a:gd name="T113" fmla="*/ 6 h 20"/>
                <a:gd name="T114" fmla="*/ 28 w 32"/>
                <a:gd name="T115" fmla="*/ 4 h 20"/>
                <a:gd name="T116" fmla="*/ 28 w 32"/>
                <a:gd name="T117" fmla="*/ 2 h 20"/>
                <a:gd name="T118" fmla="*/ 28 w 32"/>
                <a:gd name="T119" fmla="*/ 2 h 20"/>
                <a:gd name="T120" fmla="*/ 28 w 32"/>
                <a:gd name="T121" fmla="*/ 2 h 20"/>
                <a:gd name="T122" fmla="*/ 28 w 32"/>
                <a:gd name="T12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" h="20">
                  <a:moveTo>
                    <a:pt x="28" y="2"/>
                  </a:moveTo>
                  <a:lnTo>
                    <a:pt x="28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2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2" y="18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6"/>
                  </a:lnTo>
                  <a:lnTo>
                    <a:pt x="28" y="4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23" name="Freeform 289">
              <a:extLst>
                <a:ext uri="{FF2B5EF4-FFF2-40B4-BE49-F238E27FC236}">
                  <a16:creationId xmlns:a16="http://schemas.microsoft.com/office/drawing/2014/main" id="{2D4B7308-1E42-4B87-8324-7ABF2C639C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2461" y="3273900"/>
              <a:ext cx="297266" cy="284156"/>
            </a:xfrm>
            <a:custGeom>
              <a:avLst/>
              <a:gdLst>
                <a:gd name="T0" fmla="*/ 14 w 174"/>
                <a:gd name="T1" fmla="*/ 58 h 170"/>
                <a:gd name="T2" fmla="*/ 10 w 174"/>
                <a:gd name="T3" fmla="*/ 54 h 170"/>
                <a:gd name="T4" fmla="*/ 2 w 174"/>
                <a:gd name="T5" fmla="*/ 50 h 170"/>
                <a:gd name="T6" fmla="*/ 0 w 174"/>
                <a:gd name="T7" fmla="*/ 40 h 170"/>
                <a:gd name="T8" fmla="*/ 4 w 174"/>
                <a:gd name="T9" fmla="*/ 32 h 170"/>
                <a:gd name="T10" fmla="*/ 6 w 174"/>
                <a:gd name="T11" fmla="*/ 20 h 170"/>
                <a:gd name="T12" fmla="*/ 16 w 174"/>
                <a:gd name="T13" fmla="*/ 16 h 170"/>
                <a:gd name="T14" fmla="*/ 24 w 174"/>
                <a:gd name="T15" fmla="*/ 12 h 170"/>
                <a:gd name="T16" fmla="*/ 26 w 174"/>
                <a:gd name="T17" fmla="*/ 10 h 170"/>
                <a:gd name="T18" fmla="*/ 30 w 174"/>
                <a:gd name="T19" fmla="*/ 16 h 170"/>
                <a:gd name="T20" fmla="*/ 32 w 174"/>
                <a:gd name="T21" fmla="*/ 16 h 170"/>
                <a:gd name="T22" fmla="*/ 36 w 174"/>
                <a:gd name="T23" fmla="*/ 12 h 170"/>
                <a:gd name="T24" fmla="*/ 42 w 174"/>
                <a:gd name="T25" fmla="*/ 14 h 170"/>
                <a:gd name="T26" fmla="*/ 46 w 174"/>
                <a:gd name="T27" fmla="*/ 4 h 170"/>
                <a:gd name="T28" fmla="*/ 54 w 174"/>
                <a:gd name="T29" fmla="*/ 6 h 170"/>
                <a:gd name="T30" fmla="*/ 70 w 174"/>
                <a:gd name="T31" fmla="*/ 6 h 170"/>
                <a:gd name="T32" fmla="*/ 80 w 174"/>
                <a:gd name="T33" fmla="*/ 0 h 170"/>
                <a:gd name="T34" fmla="*/ 84 w 174"/>
                <a:gd name="T35" fmla="*/ 2 h 170"/>
                <a:gd name="T36" fmla="*/ 86 w 174"/>
                <a:gd name="T37" fmla="*/ 26 h 170"/>
                <a:gd name="T38" fmla="*/ 82 w 174"/>
                <a:gd name="T39" fmla="*/ 38 h 170"/>
                <a:gd name="T40" fmla="*/ 80 w 174"/>
                <a:gd name="T41" fmla="*/ 48 h 170"/>
                <a:gd name="T42" fmla="*/ 86 w 174"/>
                <a:gd name="T43" fmla="*/ 52 h 170"/>
                <a:gd name="T44" fmla="*/ 92 w 174"/>
                <a:gd name="T45" fmla="*/ 62 h 170"/>
                <a:gd name="T46" fmla="*/ 104 w 174"/>
                <a:gd name="T47" fmla="*/ 80 h 170"/>
                <a:gd name="T48" fmla="*/ 120 w 174"/>
                <a:gd name="T49" fmla="*/ 98 h 170"/>
                <a:gd name="T50" fmla="*/ 130 w 174"/>
                <a:gd name="T51" fmla="*/ 102 h 170"/>
                <a:gd name="T52" fmla="*/ 138 w 174"/>
                <a:gd name="T53" fmla="*/ 100 h 170"/>
                <a:gd name="T54" fmla="*/ 142 w 174"/>
                <a:gd name="T55" fmla="*/ 100 h 170"/>
                <a:gd name="T56" fmla="*/ 142 w 174"/>
                <a:gd name="T57" fmla="*/ 106 h 170"/>
                <a:gd name="T58" fmla="*/ 150 w 174"/>
                <a:gd name="T59" fmla="*/ 114 h 170"/>
                <a:gd name="T60" fmla="*/ 154 w 174"/>
                <a:gd name="T61" fmla="*/ 122 h 170"/>
                <a:gd name="T62" fmla="*/ 170 w 174"/>
                <a:gd name="T63" fmla="*/ 134 h 170"/>
                <a:gd name="T64" fmla="*/ 174 w 174"/>
                <a:gd name="T65" fmla="*/ 140 h 170"/>
                <a:gd name="T66" fmla="*/ 170 w 174"/>
                <a:gd name="T67" fmla="*/ 142 h 170"/>
                <a:gd name="T68" fmla="*/ 164 w 174"/>
                <a:gd name="T69" fmla="*/ 142 h 170"/>
                <a:gd name="T70" fmla="*/ 156 w 174"/>
                <a:gd name="T71" fmla="*/ 134 h 170"/>
                <a:gd name="T72" fmla="*/ 150 w 174"/>
                <a:gd name="T73" fmla="*/ 136 h 170"/>
                <a:gd name="T74" fmla="*/ 144 w 174"/>
                <a:gd name="T75" fmla="*/ 142 h 170"/>
                <a:gd name="T76" fmla="*/ 148 w 174"/>
                <a:gd name="T77" fmla="*/ 150 h 170"/>
                <a:gd name="T78" fmla="*/ 150 w 174"/>
                <a:gd name="T79" fmla="*/ 156 h 170"/>
                <a:gd name="T80" fmla="*/ 144 w 174"/>
                <a:gd name="T81" fmla="*/ 162 h 170"/>
                <a:gd name="T82" fmla="*/ 140 w 174"/>
                <a:gd name="T83" fmla="*/ 170 h 170"/>
                <a:gd name="T84" fmla="*/ 134 w 174"/>
                <a:gd name="T85" fmla="*/ 170 h 170"/>
                <a:gd name="T86" fmla="*/ 130 w 174"/>
                <a:gd name="T87" fmla="*/ 166 h 170"/>
                <a:gd name="T88" fmla="*/ 132 w 174"/>
                <a:gd name="T89" fmla="*/ 150 h 170"/>
                <a:gd name="T90" fmla="*/ 132 w 174"/>
                <a:gd name="T91" fmla="*/ 144 h 170"/>
                <a:gd name="T92" fmla="*/ 124 w 174"/>
                <a:gd name="T93" fmla="*/ 138 h 170"/>
                <a:gd name="T94" fmla="*/ 120 w 174"/>
                <a:gd name="T95" fmla="*/ 130 h 170"/>
                <a:gd name="T96" fmla="*/ 112 w 174"/>
                <a:gd name="T97" fmla="*/ 128 h 170"/>
                <a:gd name="T98" fmla="*/ 108 w 174"/>
                <a:gd name="T99" fmla="*/ 126 h 170"/>
                <a:gd name="T100" fmla="*/ 110 w 174"/>
                <a:gd name="T101" fmla="*/ 118 h 170"/>
                <a:gd name="T102" fmla="*/ 106 w 174"/>
                <a:gd name="T103" fmla="*/ 116 h 170"/>
                <a:gd name="T104" fmla="*/ 88 w 174"/>
                <a:gd name="T105" fmla="*/ 112 h 170"/>
                <a:gd name="T106" fmla="*/ 70 w 174"/>
                <a:gd name="T107" fmla="*/ 96 h 170"/>
                <a:gd name="T108" fmla="*/ 58 w 174"/>
                <a:gd name="T109" fmla="*/ 86 h 170"/>
                <a:gd name="T110" fmla="*/ 54 w 174"/>
                <a:gd name="T111" fmla="*/ 74 h 170"/>
                <a:gd name="T112" fmla="*/ 52 w 174"/>
                <a:gd name="T113" fmla="*/ 62 h 170"/>
                <a:gd name="T114" fmla="*/ 42 w 174"/>
                <a:gd name="T115" fmla="*/ 56 h 170"/>
                <a:gd name="T116" fmla="*/ 32 w 174"/>
                <a:gd name="T117" fmla="*/ 56 h 170"/>
                <a:gd name="T118" fmla="*/ 30 w 174"/>
                <a:gd name="T119" fmla="*/ 62 h 170"/>
                <a:gd name="T120" fmla="*/ 26 w 174"/>
                <a:gd name="T121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4" h="170">
                  <a:moveTo>
                    <a:pt x="12" y="64"/>
                  </a:move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0" y="54"/>
                  </a:lnTo>
                  <a:lnTo>
                    <a:pt x="8" y="52"/>
                  </a:lnTo>
                  <a:lnTo>
                    <a:pt x="6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4" y="14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8" y="12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4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60" y="6"/>
                  </a:lnTo>
                  <a:lnTo>
                    <a:pt x="64" y="6"/>
                  </a:lnTo>
                  <a:lnTo>
                    <a:pt x="66" y="6"/>
                  </a:lnTo>
                  <a:lnTo>
                    <a:pt x="68" y="6"/>
                  </a:lnTo>
                  <a:lnTo>
                    <a:pt x="70" y="6"/>
                  </a:lnTo>
                  <a:lnTo>
                    <a:pt x="70" y="4"/>
                  </a:lnTo>
                  <a:lnTo>
                    <a:pt x="74" y="2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6" y="4"/>
                  </a:lnTo>
                  <a:lnTo>
                    <a:pt x="88" y="8"/>
                  </a:lnTo>
                  <a:lnTo>
                    <a:pt x="90" y="10"/>
                  </a:lnTo>
                  <a:lnTo>
                    <a:pt x="92" y="20"/>
                  </a:lnTo>
                  <a:lnTo>
                    <a:pt x="90" y="24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0"/>
                  </a:lnTo>
                  <a:lnTo>
                    <a:pt x="82" y="34"/>
                  </a:lnTo>
                  <a:lnTo>
                    <a:pt x="82" y="38"/>
                  </a:lnTo>
                  <a:lnTo>
                    <a:pt x="80" y="38"/>
                  </a:lnTo>
                  <a:lnTo>
                    <a:pt x="80" y="40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8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4" y="52"/>
                  </a:lnTo>
                  <a:lnTo>
                    <a:pt x="86" y="52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90" y="56"/>
                  </a:lnTo>
                  <a:lnTo>
                    <a:pt x="90" y="58"/>
                  </a:lnTo>
                  <a:lnTo>
                    <a:pt x="92" y="60"/>
                  </a:lnTo>
                  <a:lnTo>
                    <a:pt x="92" y="62"/>
                  </a:lnTo>
                  <a:lnTo>
                    <a:pt x="94" y="66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8" y="72"/>
                  </a:lnTo>
                  <a:lnTo>
                    <a:pt x="102" y="76"/>
                  </a:lnTo>
                  <a:lnTo>
                    <a:pt x="104" y="80"/>
                  </a:lnTo>
                  <a:lnTo>
                    <a:pt x="108" y="84"/>
                  </a:lnTo>
                  <a:lnTo>
                    <a:pt x="110" y="88"/>
                  </a:lnTo>
                  <a:lnTo>
                    <a:pt x="112" y="90"/>
                  </a:lnTo>
                  <a:lnTo>
                    <a:pt x="116" y="94"/>
                  </a:lnTo>
                  <a:lnTo>
                    <a:pt x="118" y="96"/>
                  </a:lnTo>
                  <a:lnTo>
                    <a:pt x="120" y="98"/>
                  </a:lnTo>
                  <a:lnTo>
                    <a:pt x="122" y="100"/>
                  </a:lnTo>
                  <a:lnTo>
                    <a:pt x="124" y="100"/>
                  </a:lnTo>
                  <a:lnTo>
                    <a:pt x="124" y="102"/>
                  </a:lnTo>
                  <a:lnTo>
                    <a:pt x="126" y="102"/>
                  </a:lnTo>
                  <a:lnTo>
                    <a:pt x="126" y="102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6" y="102"/>
                  </a:lnTo>
                  <a:lnTo>
                    <a:pt x="138" y="100"/>
                  </a:lnTo>
                  <a:lnTo>
                    <a:pt x="138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4"/>
                  </a:lnTo>
                  <a:lnTo>
                    <a:pt x="142" y="104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4" y="106"/>
                  </a:lnTo>
                  <a:lnTo>
                    <a:pt x="144" y="108"/>
                  </a:lnTo>
                  <a:lnTo>
                    <a:pt x="146" y="110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50" y="114"/>
                  </a:lnTo>
                  <a:lnTo>
                    <a:pt x="150" y="116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4" y="122"/>
                  </a:lnTo>
                  <a:lnTo>
                    <a:pt x="156" y="122"/>
                  </a:lnTo>
                  <a:lnTo>
                    <a:pt x="158" y="124"/>
                  </a:lnTo>
                  <a:lnTo>
                    <a:pt x="162" y="126"/>
                  </a:lnTo>
                  <a:lnTo>
                    <a:pt x="166" y="130"/>
                  </a:lnTo>
                  <a:lnTo>
                    <a:pt x="168" y="132"/>
                  </a:lnTo>
                  <a:lnTo>
                    <a:pt x="170" y="134"/>
                  </a:lnTo>
                  <a:lnTo>
                    <a:pt x="172" y="136"/>
                  </a:lnTo>
                  <a:lnTo>
                    <a:pt x="172" y="136"/>
                  </a:lnTo>
                  <a:lnTo>
                    <a:pt x="172" y="138"/>
                  </a:lnTo>
                  <a:lnTo>
                    <a:pt x="172" y="138"/>
                  </a:lnTo>
                  <a:lnTo>
                    <a:pt x="174" y="138"/>
                  </a:lnTo>
                  <a:lnTo>
                    <a:pt x="174" y="140"/>
                  </a:lnTo>
                  <a:lnTo>
                    <a:pt x="172" y="140"/>
                  </a:lnTo>
                  <a:lnTo>
                    <a:pt x="172" y="140"/>
                  </a:lnTo>
                  <a:lnTo>
                    <a:pt x="172" y="142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68" y="142"/>
                  </a:lnTo>
                  <a:lnTo>
                    <a:pt x="168" y="144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4" y="142"/>
                  </a:lnTo>
                  <a:lnTo>
                    <a:pt x="164" y="140"/>
                  </a:lnTo>
                  <a:lnTo>
                    <a:pt x="162" y="140"/>
                  </a:lnTo>
                  <a:lnTo>
                    <a:pt x="160" y="138"/>
                  </a:lnTo>
                  <a:lnTo>
                    <a:pt x="158" y="136"/>
                  </a:lnTo>
                  <a:lnTo>
                    <a:pt x="158" y="134"/>
                  </a:lnTo>
                  <a:lnTo>
                    <a:pt x="156" y="134"/>
                  </a:lnTo>
                  <a:lnTo>
                    <a:pt x="156" y="134"/>
                  </a:lnTo>
                  <a:lnTo>
                    <a:pt x="154" y="134"/>
                  </a:lnTo>
                  <a:lnTo>
                    <a:pt x="154" y="134"/>
                  </a:lnTo>
                  <a:lnTo>
                    <a:pt x="152" y="134"/>
                  </a:lnTo>
                  <a:lnTo>
                    <a:pt x="150" y="136"/>
                  </a:lnTo>
                  <a:lnTo>
                    <a:pt x="150" y="136"/>
                  </a:lnTo>
                  <a:lnTo>
                    <a:pt x="148" y="136"/>
                  </a:lnTo>
                  <a:lnTo>
                    <a:pt x="148" y="138"/>
                  </a:lnTo>
                  <a:lnTo>
                    <a:pt x="146" y="138"/>
                  </a:lnTo>
                  <a:lnTo>
                    <a:pt x="146" y="138"/>
                  </a:lnTo>
                  <a:lnTo>
                    <a:pt x="146" y="140"/>
                  </a:lnTo>
                  <a:lnTo>
                    <a:pt x="144" y="142"/>
                  </a:lnTo>
                  <a:lnTo>
                    <a:pt x="144" y="144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6" y="148"/>
                  </a:lnTo>
                  <a:lnTo>
                    <a:pt x="148" y="150"/>
                  </a:lnTo>
                  <a:lnTo>
                    <a:pt x="148" y="152"/>
                  </a:lnTo>
                  <a:lnTo>
                    <a:pt x="148" y="154"/>
                  </a:lnTo>
                  <a:lnTo>
                    <a:pt x="150" y="154"/>
                  </a:lnTo>
                  <a:lnTo>
                    <a:pt x="150" y="156"/>
                  </a:lnTo>
                  <a:lnTo>
                    <a:pt x="150" y="156"/>
                  </a:lnTo>
                  <a:lnTo>
                    <a:pt x="150" y="156"/>
                  </a:lnTo>
                  <a:lnTo>
                    <a:pt x="148" y="158"/>
                  </a:lnTo>
                  <a:lnTo>
                    <a:pt x="148" y="160"/>
                  </a:lnTo>
                  <a:lnTo>
                    <a:pt x="146" y="160"/>
                  </a:lnTo>
                  <a:lnTo>
                    <a:pt x="144" y="162"/>
                  </a:lnTo>
                  <a:lnTo>
                    <a:pt x="144" y="162"/>
                  </a:lnTo>
                  <a:lnTo>
                    <a:pt x="144" y="162"/>
                  </a:lnTo>
                  <a:lnTo>
                    <a:pt x="144" y="164"/>
                  </a:lnTo>
                  <a:lnTo>
                    <a:pt x="142" y="166"/>
                  </a:lnTo>
                  <a:lnTo>
                    <a:pt x="142" y="168"/>
                  </a:lnTo>
                  <a:lnTo>
                    <a:pt x="142" y="168"/>
                  </a:lnTo>
                  <a:lnTo>
                    <a:pt x="140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36" y="170"/>
                  </a:lnTo>
                  <a:lnTo>
                    <a:pt x="136" y="170"/>
                  </a:lnTo>
                  <a:lnTo>
                    <a:pt x="134" y="170"/>
                  </a:lnTo>
                  <a:lnTo>
                    <a:pt x="134" y="170"/>
                  </a:lnTo>
                  <a:lnTo>
                    <a:pt x="132" y="170"/>
                  </a:lnTo>
                  <a:lnTo>
                    <a:pt x="132" y="170"/>
                  </a:lnTo>
                  <a:lnTo>
                    <a:pt x="132" y="168"/>
                  </a:lnTo>
                  <a:lnTo>
                    <a:pt x="130" y="168"/>
                  </a:lnTo>
                  <a:lnTo>
                    <a:pt x="130" y="168"/>
                  </a:lnTo>
                  <a:lnTo>
                    <a:pt x="130" y="166"/>
                  </a:lnTo>
                  <a:lnTo>
                    <a:pt x="130" y="164"/>
                  </a:lnTo>
                  <a:lnTo>
                    <a:pt x="132" y="162"/>
                  </a:lnTo>
                  <a:lnTo>
                    <a:pt x="132" y="156"/>
                  </a:lnTo>
                  <a:lnTo>
                    <a:pt x="132" y="154"/>
                  </a:lnTo>
                  <a:lnTo>
                    <a:pt x="132" y="154"/>
                  </a:lnTo>
                  <a:lnTo>
                    <a:pt x="132" y="150"/>
                  </a:lnTo>
                  <a:lnTo>
                    <a:pt x="134" y="148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4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2"/>
                  </a:lnTo>
                  <a:lnTo>
                    <a:pt x="130" y="142"/>
                  </a:lnTo>
                  <a:lnTo>
                    <a:pt x="130" y="142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8"/>
                  </a:lnTo>
                  <a:lnTo>
                    <a:pt x="122" y="138"/>
                  </a:lnTo>
                  <a:lnTo>
                    <a:pt x="122" y="136"/>
                  </a:lnTo>
                  <a:lnTo>
                    <a:pt x="122" y="136"/>
                  </a:lnTo>
                  <a:lnTo>
                    <a:pt x="120" y="132"/>
                  </a:lnTo>
                  <a:lnTo>
                    <a:pt x="120" y="132"/>
                  </a:lnTo>
                  <a:lnTo>
                    <a:pt x="120" y="130"/>
                  </a:lnTo>
                  <a:lnTo>
                    <a:pt x="118" y="128"/>
                  </a:lnTo>
                  <a:lnTo>
                    <a:pt x="118" y="128"/>
                  </a:lnTo>
                  <a:lnTo>
                    <a:pt x="116" y="128"/>
                  </a:lnTo>
                  <a:lnTo>
                    <a:pt x="116" y="128"/>
                  </a:lnTo>
                  <a:lnTo>
                    <a:pt x="114" y="128"/>
                  </a:lnTo>
                  <a:lnTo>
                    <a:pt x="112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10" y="122"/>
                  </a:lnTo>
                  <a:lnTo>
                    <a:pt x="110" y="122"/>
                  </a:lnTo>
                  <a:lnTo>
                    <a:pt x="110" y="120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08" y="118"/>
                  </a:lnTo>
                  <a:lnTo>
                    <a:pt x="108" y="116"/>
                  </a:lnTo>
                  <a:lnTo>
                    <a:pt x="106" y="116"/>
                  </a:lnTo>
                  <a:lnTo>
                    <a:pt x="106" y="116"/>
                  </a:lnTo>
                  <a:lnTo>
                    <a:pt x="102" y="114"/>
                  </a:lnTo>
                  <a:lnTo>
                    <a:pt x="100" y="114"/>
                  </a:lnTo>
                  <a:lnTo>
                    <a:pt x="94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88" y="112"/>
                  </a:lnTo>
                  <a:lnTo>
                    <a:pt x="88" y="110"/>
                  </a:lnTo>
                  <a:lnTo>
                    <a:pt x="86" y="108"/>
                  </a:lnTo>
                  <a:lnTo>
                    <a:pt x="82" y="106"/>
                  </a:lnTo>
                  <a:lnTo>
                    <a:pt x="78" y="102"/>
                  </a:lnTo>
                  <a:lnTo>
                    <a:pt x="74" y="100"/>
                  </a:lnTo>
                  <a:lnTo>
                    <a:pt x="70" y="96"/>
                  </a:lnTo>
                  <a:lnTo>
                    <a:pt x="68" y="94"/>
                  </a:lnTo>
                  <a:lnTo>
                    <a:pt x="66" y="92"/>
                  </a:lnTo>
                  <a:lnTo>
                    <a:pt x="62" y="90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6" y="78"/>
                  </a:lnTo>
                  <a:lnTo>
                    <a:pt x="54" y="74"/>
                  </a:lnTo>
                  <a:lnTo>
                    <a:pt x="54" y="70"/>
                  </a:lnTo>
                  <a:lnTo>
                    <a:pt x="54" y="68"/>
                  </a:lnTo>
                  <a:lnTo>
                    <a:pt x="54" y="66"/>
                  </a:lnTo>
                  <a:lnTo>
                    <a:pt x="52" y="64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0" y="60"/>
                  </a:lnTo>
                  <a:lnTo>
                    <a:pt x="50" y="58"/>
                  </a:lnTo>
                  <a:lnTo>
                    <a:pt x="48" y="58"/>
                  </a:lnTo>
                  <a:lnTo>
                    <a:pt x="46" y="58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60"/>
                  </a:lnTo>
                  <a:lnTo>
                    <a:pt x="32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6" y="64"/>
                  </a:lnTo>
                  <a:lnTo>
                    <a:pt x="26" y="66"/>
                  </a:lnTo>
                  <a:lnTo>
                    <a:pt x="22" y="66"/>
                  </a:lnTo>
                  <a:lnTo>
                    <a:pt x="20" y="66"/>
                  </a:lnTo>
                  <a:lnTo>
                    <a:pt x="14" y="64"/>
                  </a:lnTo>
                  <a:lnTo>
                    <a:pt x="12" y="6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24" name="Freeform 291">
              <a:extLst>
                <a:ext uri="{FF2B5EF4-FFF2-40B4-BE49-F238E27FC236}">
                  <a16:creationId xmlns:a16="http://schemas.microsoft.com/office/drawing/2014/main" id="{955E2DE5-3E74-4FEA-B042-A252D0C31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299" y="3474479"/>
              <a:ext cx="34169" cy="56832"/>
            </a:xfrm>
            <a:custGeom>
              <a:avLst/>
              <a:gdLst>
                <a:gd name="T0" fmla="*/ 2 w 20"/>
                <a:gd name="T1" fmla="*/ 4 h 34"/>
                <a:gd name="T2" fmla="*/ 2 w 20"/>
                <a:gd name="T3" fmla="*/ 4 h 34"/>
                <a:gd name="T4" fmla="*/ 2 w 20"/>
                <a:gd name="T5" fmla="*/ 2 h 34"/>
                <a:gd name="T6" fmla="*/ 4 w 20"/>
                <a:gd name="T7" fmla="*/ 2 h 34"/>
                <a:gd name="T8" fmla="*/ 6 w 20"/>
                <a:gd name="T9" fmla="*/ 2 h 34"/>
                <a:gd name="T10" fmla="*/ 10 w 20"/>
                <a:gd name="T11" fmla="*/ 2 h 34"/>
                <a:gd name="T12" fmla="*/ 12 w 20"/>
                <a:gd name="T13" fmla="*/ 0 h 34"/>
                <a:gd name="T14" fmla="*/ 14 w 20"/>
                <a:gd name="T15" fmla="*/ 0 h 34"/>
                <a:gd name="T16" fmla="*/ 16 w 20"/>
                <a:gd name="T17" fmla="*/ 0 h 34"/>
                <a:gd name="T18" fmla="*/ 16 w 20"/>
                <a:gd name="T19" fmla="*/ 0 h 34"/>
                <a:gd name="T20" fmla="*/ 18 w 20"/>
                <a:gd name="T21" fmla="*/ 0 h 34"/>
                <a:gd name="T22" fmla="*/ 18 w 20"/>
                <a:gd name="T23" fmla="*/ 0 h 34"/>
                <a:gd name="T24" fmla="*/ 18 w 20"/>
                <a:gd name="T25" fmla="*/ 0 h 34"/>
                <a:gd name="T26" fmla="*/ 18 w 20"/>
                <a:gd name="T27" fmla="*/ 2 h 34"/>
                <a:gd name="T28" fmla="*/ 18 w 20"/>
                <a:gd name="T29" fmla="*/ 4 h 34"/>
                <a:gd name="T30" fmla="*/ 20 w 20"/>
                <a:gd name="T31" fmla="*/ 4 h 34"/>
                <a:gd name="T32" fmla="*/ 20 w 20"/>
                <a:gd name="T33" fmla="*/ 6 h 34"/>
                <a:gd name="T34" fmla="*/ 20 w 20"/>
                <a:gd name="T35" fmla="*/ 10 h 34"/>
                <a:gd name="T36" fmla="*/ 20 w 20"/>
                <a:gd name="T37" fmla="*/ 14 h 34"/>
                <a:gd name="T38" fmla="*/ 20 w 20"/>
                <a:gd name="T39" fmla="*/ 18 h 34"/>
                <a:gd name="T40" fmla="*/ 18 w 20"/>
                <a:gd name="T41" fmla="*/ 22 h 34"/>
                <a:gd name="T42" fmla="*/ 18 w 20"/>
                <a:gd name="T43" fmla="*/ 24 h 34"/>
                <a:gd name="T44" fmla="*/ 18 w 20"/>
                <a:gd name="T45" fmla="*/ 28 h 34"/>
                <a:gd name="T46" fmla="*/ 18 w 20"/>
                <a:gd name="T47" fmla="*/ 28 h 34"/>
                <a:gd name="T48" fmla="*/ 18 w 20"/>
                <a:gd name="T49" fmla="*/ 30 h 34"/>
                <a:gd name="T50" fmla="*/ 18 w 20"/>
                <a:gd name="T51" fmla="*/ 32 h 34"/>
                <a:gd name="T52" fmla="*/ 18 w 20"/>
                <a:gd name="T53" fmla="*/ 32 h 34"/>
                <a:gd name="T54" fmla="*/ 16 w 20"/>
                <a:gd name="T55" fmla="*/ 34 h 34"/>
                <a:gd name="T56" fmla="*/ 16 w 20"/>
                <a:gd name="T57" fmla="*/ 34 h 34"/>
                <a:gd name="T58" fmla="*/ 14 w 20"/>
                <a:gd name="T59" fmla="*/ 34 h 34"/>
                <a:gd name="T60" fmla="*/ 14 w 20"/>
                <a:gd name="T61" fmla="*/ 34 h 34"/>
                <a:gd name="T62" fmla="*/ 12 w 20"/>
                <a:gd name="T63" fmla="*/ 34 h 34"/>
                <a:gd name="T64" fmla="*/ 10 w 20"/>
                <a:gd name="T65" fmla="*/ 34 h 34"/>
                <a:gd name="T66" fmla="*/ 8 w 20"/>
                <a:gd name="T67" fmla="*/ 34 h 34"/>
                <a:gd name="T68" fmla="*/ 6 w 20"/>
                <a:gd name="T69" fmla="*/ 34 h 34"/>
                <a:gd name="T70" fmla="*/ 4 w 20"/>
                <a:gd name="T71" fmla="*/ 32 h 34"/>
                <a:gd name="T72" fmla="*/ 4 w 20"/>
                <a:gd name="T73" fmla="*/ 32 h 34"/>
                <a:gd name="T74" fmla="*/ 4 w 20"/>
                <a:gd name="T75" fmla="*/ 32 h 34"/>
                <a:gd name="T76" fmla="*/ 4 w 20"/>
                <a:gd name="T77" fmla="*/ 32 h 34"/>
                <a:gd name="T78" fmla="*/ 4 w 20"/>
                <a:gd name="T79" fmla="*/ 30 h 34"/>
                <a:gd name="T80" fmla="*/ 4 w 20"/>
                <a:gd name="T81" fmla="*/ 30 h 34"/>
                <a:gd name="T82" fmla="*/ 4 w 20"/>
                <a:gd name="T83" fmla="*/ 28 h 34"/>
                <a:gd name="T84" fmla="*/ 4 w 20"/>
                <a:gd name="T85" fmla="*/ 26 h 34"/>
                <a:gd name="T86" fmla="*/ 4 w 20"/>
                <a:gd name="T87" fmla="*/ 24 h 34"/>
                <a:gd name="T88" fmla="*/ 4 w 20"/>
                <a:gd name="T89" fmla="*/ 20 h 34"/>
                <a:gd name="T90" fmla="*/ 4 w 20"/>
                <a:gd name="T91" fmla="*/ 16 h 34"/>
                <a:gd name="T92" fmla="*/ 4 w 20"/>
                <a:gd name="T93" fmla="*/ 14 h 34"/>
                <a:gd name="T94" fmla="*/ 2 w 20"/>
                <a:gd name="T95" fmla="*/ 12 h 34"/>
                <a:gd name="T96" fmla="*/ 2 w 20"/>
                <a:gd name="T97" fmla="*/ 12 h 34"/>
                <a:gd name="T98" fmla="*/ 2 w 20"/>
                <a:gd name="T99" fmla="*/ 10 h 34"/>
                <a:gd name="T100" fmla="*/ 0 w 20"/>
                <a:gd name="T101" fmla="*/ 8 h 34"/>
                <a:gd name="T102" fmla="*/ 0 w 20"/>
                <a:gd name="T103" fmla="*/ 8 h 34"/>
                <a:gd name="T104" fmla="*/ 0 w 20"/>
                <a:gd name="T105" fmla="*/ 6 h 34"/>
                <a:gd name="T106" fmla="*/ 2 w 20"/>
                <a:gd name="T107" fmla="*/ 6 h 34"/>
                <a:gd name="T108" fmla="*/ 2 w 20"/>
                <a:gd name="T109" fmla="*/ 4 h 34"/>
                <a:gd name="T110" fmla="*/ 2 w 20"/>
                <a:gd name="T111" fmla="*/ 4 h 34"/>
                <a:gd name="T112" fmla="*/ 2 w 20"/>
                <a:gd name="T11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" h="34">
                  <a:moveTo>
                    <a:pt x="2" y="4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20" y="10"/>
                  </a:lnTo>
                  <a:lnTo>
                    <a:pt x="20" y="14"/>
                  </a:lnTo>
                  <a:lnTo>
                    <a:pt x="20" y="18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6" y="34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25" name="Freeform 293">
              <a:extLst>
                <a:ext uri="{FF2B5EF4-FFF2-40B4-BE49-F238E27FC236}">
                  <a16:creationId xmlns:a16="http://schemas.microsoft.com/office/drawing/2014/main" id="{9C4DAE07-94B7-4D97-BFDE-D24E654E4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960" y="3013146"/>
              <a:ext cx="208428" cy="250726"/>
            </a:xfrm>
            <a:custGeom>
              <a:avLst/>
              <a:gdLst>
                <a:gd name="T0" fmla="*/ 118 w 122"/>
                <a:gd name="T1" fmla="*/ 62 h 150"/>
                <a:gd name="T2" fmla="*/ 112 w 122"/>
                <a:gd name="T3" fmla="*/ 48 h 150"/>
                <a:gd name="T4" fmla="*/ 112 w 122"/>
                <a:gd name="T5" fmla="*/ 38 h 150"/>
                <a:gd name="T6" fmla="*/ 114 w 122"/>
                <a:gd name="T7" fmla="*/ 18 h 150"/>
                <a:gd name="T8" fmla="*/ 110 w 122"/>
                <a:gd name="T9" fmla="*/ 12 h 150"/>
                <a:gd name="T10" fmla="*/ 102 w 122"/>
                <a:gd name="T11" fmla="*/ 12 h 150"/>
                <a:gd name="T12" fmla="*/ 88 w 122"/>
                <a:gd name="T13" fmla="*/ 18 h 150"/>
                <a:gd name="T14" fmla="*/ 78 w 122"/>
                <a:gd name="T15" fmla="*/ 20 h 150"/>
                <a:gd name="T16" fmla="*/ 74 w 122"/>
                <a:gd name="T17" fmla="*/ 18 h 150"/>
                <a:gd name="T18" fmla="*/ 70 w 122"/>
                <a:gd name="T19" fmla="*/ 12 h 150"/>
                <a:gd name="T20" fmla="*/ 62 w 122"/>
                <a:gd name="T21" fmla="*/ 0 h 150"/>
                <a:gd name="T22" fmla="*/ 44 w 122"/>
                <a:gd name="T23" fmla="*/ 16 h 150"/>
                <a:gd name="T24" fmla="*/ 46 w 122"/>
                <a:gd name="T25" fmla="*/ 20 h 150"/>
                <a:gd name="T26" fmla="*/ 46 w 122"/>
                <a:gd name="T27" fmla="*/ 24 h 150"/>
                <a:gd name="T28" fmla="*/ 42 w 122"/>
                <a:gd name="T29" fmla="*/ 24 h 150"/>
                <a:gd name="T30" fmla="*/ 38 w 122"/>
                <a:gd name="T31" fmla="*/ 24 h 150"/>
                <a:gd name="T32" fmla="*/ 22 w 122"/>
                <a:gd name="T33" fmla="*/ 32 h 150"/>
                <a:gd name="T34" fmla="*/ 22 w 122"/>
                <a:gd name="T35" fmla="*/ 42 h 150"/>
                <a:gd name="T36" fmla="*/ 20 w 122"/>
                <a:gd name="T37" fmla="*/ 50 h 150"/>
                <a:gd name="T38" fmla="*/ 14 w 122"/>
                <a:gd name="T39" fmla="*/ 58 h 150"/>
                <a:gd name="T40" fmla="*/ 6 w 122"/>
                <a:gd name="T41" fmla="*/ 62 h 150"/>
                <a:gd name="T42" fmla="*/ 2 w 122"/>
                <a:gd name="T43" fmla="*/ 66 h 150"/>
                <a:gd name="T44" fmla="*/ 0 w 122"/>
                <a:gd name="T45" fmla="*/ 72 h 150"/>
                <a:gd name="T46" fmla="*/ 10 w 122"/>
                <a:gd name="T47" fmla="*/ 88 h 150"/>
                <a:gd name="T48" fmla="*/ 8 w 122"/>
                <a:gd name="T49" fmla="*/ 94 h 150"/>
                <a:gd name="T50" fmla="*/ 8 w 122"/>
                <a:gd name="T51" fmla="*/ 98 h 150"/>
                <a:gd name="T52" fmla="*/ 14 w 122"/>
                <a:gd name="T53" fmla="*/ 102 h 150"/>
                <a:gd name="T54" fmla="*/ 22 w 122"/>
                <a:gd name="T55" fmla="*/ 106 h 150"/>
                <a:gd name="T56" fmla="*/ 30 w 122"/>
                <a:gd name="T57" fmla="*/ 112 h 150"/>
                <a:gd name="T58" fmla="*/ 32 w 122"/>
                <a:gd name="T59" fmla="*/ 116 h 150"/>
                <a:gd name="T60" fmla="*/ 30 w 122"/>
                <a:gd name="T61" fmla="*/ 118 h 150"/>
                <a:gd name="T62" fmla="*/ 26 w 122"/>
                <a:gd name="T63" fmla="*/ 124 h 150"/>
                <a:gd name="T64" fmla="*/ 26 w 122"/>
                <a:gd name="T65" fmla="*/ 136 h 150"/>
                <a:gd name="T66" fmla="*/ 36 w 122"/>
                <a:gd name="T67" fmla="*/ 146 h 150"/>
                <a:gd name="T68" fmla="*/ 40 w 122"/>
                <a:gd name="T69" fmla="*/ 146 h 150"/>
                <a:gd name="T70" fmla="*/ 48 w 122"/>
                <a:gd name="T71" fmla="*/ 142 h 150"/>
                <a:gd name="T72" fmla="*/ 54 w 122"/>
                <a:gd name="T73" fmla="*/ 148 h 150"/>
                <a:gd name="T74" fmla="*/ 64 w 122"/>
                <a:gd name="T75" fmla="*/ 150 h 150"/>
                <a:gd name="T76" fmla="*/ 72 w 122"/>
                <a:gd name="T77" fmla="*/ 150 h 150"/>
                <a:gd name="T78" fmla="*/ 84 w 122"/>
                <a:gd name="T79" fmla="*/ 142 h 150"/>
                <a:gd name="T80" fmla="*/ 98 w 122"/>
                <a:gd name="T81" fmla="*/ 134 h 150"/>
                <a:gd name="T82" fmla="*/ 104 w 122"/>
                <a:gd name="T83" fmla="*/ 130 h 150"/>
                <a:gd name="T84" fmla="*/ 104 w 122"/>
                <a:gd name="T85" fmla="*/ 120 h 150"/>
                <a:gd name="T86" fmla="*/ 96 w 122"/>
                <a:gd name="T87" fmla="*/ 108 h 150"/>
                <a:gd name="T88" fmla="*/ 86 w 122"/>
                <a:gd name="T89" fmla="*/ 98 h 150"/>
                <a:gd name="T90" fmla="*/ 82 w 122"/>
                <a:gd name="T91" fmla="*/ 92 h 150"/>
                <a:gd name="T92" fmla="*/ 82 w 122"/>
                <a:gd name="T93" fmla="*/ 88 h 150"/>
                <a:gd name="T94" fmla="*/ 84 w 122"/>
                <a:gd name="T95" fmla="*/ 84 h 150"/>
                <a:gd name="T96" fmla="*/ 96 w 122"/>
                <a:gd name="T97" fmla="*/ 78 h 150"/>
                <a:gd name="T98" fmla="*/ 110 w 122"/>
                <a:gd name="T99" fmla="*/ 7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2" h="150">
                  <a:moveTo>
                    <a:pt x="122" y="72"/>
                  </a:moveTo>
                  <a:lnTo>
                    <a:pt x="122" y="72"/>
                  </a:lnTo>
                  <a:lnTo>
                    <a:pt x="120" y="70"/>
                  </a:lnTo>
                  <a:lnTo>
                    <a:pt x="118" y="62"/>
                  </a:lnTo>
                  <a:lnTo>
                    <a:pt x="116" y="58"/>
                  </a:lnTo>
                  <a:lnTo>
                    <a:pt x="114" y="54"/>
                  </a:lnTo>
                  <a:lnTo>
                    <a:pt x="114" y="50"/>
                  </a:lnTo>
                  <a:lnTo>
                    <a:pt x="112" y="48"/>
                  </a:lnTo>
                  <a:lnTo>
                    <a:pt x="112" y="46"/>
                  </a:lnTo>
                  <a:lnTo>
                    <a:pt x="112" y="44"/>
                  </a:lnTo>
                  <a:lnTo>
                    <a:pt x="112" y="42"/>
                  </a:lnTo>
                  <a:lnTo>
                    <a:pt x="112" y="38"/>
                  </a:lnTo>
                  <a:lnTo>
                    <a:pt x="112" y="34"/>
                  </a:lnTo>
                  <a:lnTo>
                    <a:pt x="114" y="30"/>
                  </a:lnTo>
                  <a:lnTo>
                    <a:pt x="114" y="20"/>
                  </a:lnTo>
                  <a:lnTo>
                    <a:pt x="114" y="18"/>
                  </a:lnTo>
                  <a:lnTo>
                    <a:pt x="114" y="16"/>
                  </a:lnTo>
                  <a:lnTo>
                    <a:pt x="112" y="14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08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8" y="14"/>
                  </a:lnTo>
                  <a:lnTo>
                    <a:pt x="92" y="16"/>
                  </a:lnTo>
                  <a:lnTo>
                    <a:pt x="88" y="18"/>
                  </a:lnTo>
                  <a:lnTo>
                    <a:pt x="86" y="18"/>
                  </a:lnTo>
                  <a:lnTo>
                    <a:pt x="84" y="20"/>
                  </a:lnTo>
                  <a:lnTo>
                    <a:pt x="82" y="20"/>
                  </a:lnTo>
                  <a:lnTo>
                    <a:pt x="78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6" y="8"/>
                  </a:lnTo>
                  <a:lnTo>
                    <a:pt x="64" y="4"/>
                  </a:lnTo>
                  <a:lnTo>
                    <a:pt x="62" y="0"/>
                  </a:lnTo>
                  <a:lnTo>
                    <a:pt x="46" y="4"/>
                  </a:lnTo>
                  <a:lnTo>
                    <a:pt x="44" y="8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6" y="24"/>
                  </a:lnTo>
                  <a:lnTo>
                    <a:pt x="30" y="26"/>
                  </a:lnTo>
                  <a:lnTo>
                    <a:pt x="22" y="30"/>
                  </a:lnTo>
                  <a:lnTo>
                    <a:pt x="22" y="32"/>
                  </a:lnTo>
                  <a:lnTo>
                    <a:pt x="22" y="36"/>
                  </a:lnTo>
                  <a:lnTo>
                    <a:pt x="22" y="38"/>
                  </a:lnTo>
                  <a:lnTo>
                    <a:pt x="22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2" y="46"/>
                  </a:lnTo>
                  <a:lnTo>
                    <a:pt x="20" y="48"/>
                  </a:lnTo>
                  <a:lnTo>
                    <a:pt x="20" y="50"/>
                  </a:lnTo>
                  <a:lnTo>
                    <a:pt x="18" y="52"/>
                  </a:lnTo>
                  <a:lnTo>
                    <a:pt x="16" y="56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2" y="60"/>
                  </a:lnTo>
                  <a:lnTo>
                    <a:pt x="10" y="60"/>
                  </a:lnTo>
                  <a:lnTo>
                    <a:pt x="8" y="6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2" y="70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82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8" y="92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10" y="100"/>
                  </a:lnTo>
                  <a:lnTo>
                    <a:pt x="12" y="100"/>
                  </a:lnTo>
                  <a:lnTo>
                    <a:pt x="14" y="102"/>
                  </a:lnTo>
                  <a:lnTo>
                    <a:pt x="16" y="104"/>
                  </a:lnTo>
                  <a:lnTo>
                    <a:pt x="18" y="104"/>
                  </a:lnTo>
                  <a:lnTo>
                    <a:pt x="20" y="104"/>
                  </a:lnTo>
                  <a:lnTo>
                    <a:pt x="22" y="106"/>
                  </a:lnTo>
                  <a:lnTo>
                    <a:pt x="26" y="108"/>
                  </a:lnTo>
                  <a:lnTo>
                    <a:pt x="28" y="110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2" y="114"/>
                  </a:lnTo>
                  <a:lnTo>
                    <a:pt x="32" y="114"/>
                  </a:lnTo>
                  <a:lnTo>
                    <a:pt x="32" y="114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0" y="118"/>
                  </a:lnTo>
                  <a:lnTo>
                    <a:pt x="30" y="118"/>
                  </a:lnTo>
                  <a:lnTo>
                    <a:pt x="28" y="120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8"/>
                  </a:lnTo>
                  <a:lnTo>
                    <a:pt x="26" y="132"/>
                  </a:lnTo>
                  <a:lnTo>
                    <a:pt x="26" y="136"/>
                  </a:lnTo>
                  <a:lnTo>
                    <a:pt x="28" y="142"/>
                  </a:lnTo>
                  <a:lnTo>
                    <a:pt x="28" y="144"/>
                  </a:lnTo>
                  <a:lnTo>
                    <a:pt x="32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40" y="146"/>
                  </a:lnTo>
                  <a:lnTo>
                    <a:pt x="42" y="144"/>
                  </a:lnTo>
                  <a:lnTo>
                    <a:pt x="46" y="144"/>
                  </a:lnTo>
                  <a:lnTo>
                    <a:pt x="46" y="142"/>
                  </a:lnTo>
                  <a:lnTo>
                    <a:pt x="48" y="142"/>
                  </a:lnTo>
                  <a:lnTo>
                    <a:pt x="48" y="144"/>
                  </a:lnTo>
                  <a:lnTo>
                    <a:pt x="50" y="144"/>
                  </a:lnTo>
                  <a:lnTo>
                    <a:pt x="52" y="146"/>
                  </a:lnTo>
                  <a:lnTo>
                    <a:pt x="54" y="148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62" y="150"/>
                  </a:lnTo>
                  <a:lnTo>
                    <a:pt x="64" y="150"/>
                  </a:lnTo>
                  <a:lnTo>
                    <a:pt x="66" y="150"/>
                  </a:lnTo>
                  <a:lnTo>
                    <a:pt x="68" y="150"/>
                  </a:lnTo>
                  <a:lnTo>
                    <a:pt x="70" y="150"/>
                  </a:lnTo>
                  <a:lnTo>
                    <a:pt x="72" y="150"/>
                  </a:lnTo>
                  <a:lnTo>
                    <a:pt x="74" y="148"/>
                  </a:lnTo>
                  <a:lnTo>
                    <a:pt x="76" y="146"/>
                  </a:lnTo>
                  <a:lnTo>
                    <a:pt x="82" y="144"/>
                  </a:lnTo>
                  <a:lnTo>
                    <a:pt x="84" y="142"/>
                  </a:lnTo>
                  <a:lnTo>
                    <a:pt x="88" y="142"/>
                  </a:lnTo>
                  <a:lnTo>
                    <a:pt x="92" y="138"/>
                  </a:lnTo>
                  <a:lnTo>
                    <a:pt x="96" y="136"/>
                  </a:lnTo>
                  <a:lnTo>
                    <a:pt x="98" y="134"/>
                  </a:lnTo>
                  <a:lnTo>
                    <a:pt x="102" y="132"/>
                  </a:lnTo>
                  <a:lnTo>
                    <a:pt x="102" y="130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4" y="128"/>
                  </a:lnTo>
                  <a:lnTo>
                    <a:pt x="104" y="126"/>
                  </a:lnTo>
                  <a:lnTo>
                    <a:pt x="104" y="124"/>
                  </a:lnTo>
                  <a:lnTo>
                    <a:pt x="104" y="120"/>
                  </a:lnTo>
                  <a:lnTo>
                    <a:pt x="104" y="116"/>
                  </a:lnTo>
                  <a:lnTo>
                    <a:pt x="104" y="114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8" y="100"/>
                  </a:lnTo>
                  <a:lnTo>
                    <a:pt x="86" y="98"/>
                  </a:lnTo>
                  <a:lnTo>
                    <a:pt x="84" y="96"/>
                  </a:lnTo>
                  <a:lnTo>
                    <a:pt x="82" y="94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86"/>
                  </a:lnTo>
                  <a:lnTo>
                    <a:pt x="82" y="86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6" y="84"/>
                  </a:lnTo>
                  <a:lnTo>
                    <a:pt x="88" y="82"/>
                  </a:lnTo>
                  <a:lnTo>
                    <a:pt x="92" y="80"/>
                  </a:lnTo>
                  <a:lnTo>
                    <a:pt x="96" y="78"/>
                  </a:lnTo>
                  <a:lnTo>
                    <a:pt x="98" y="78"/>
                  </a:lnTo>
                  <a:lnTo>
                    <a:pt x="102" y="76"/>
                  </a:lnTo>
                  <a:lnTo>
                    <a:pt x="106" y="76"/>
                  </a:lnTo>
                  <a:lnTo>
                    <a:pt x="110" y="74"/>
                  </a:lnTo>
                  <a:lnTo>
                    <a:pt x="116" y="74"/>
                  </a:lnTo>
                  <a:lnTo>
                    <a:pt x="122" y="7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26" name="Freeform 295">
              <a:extLst>
                <a:ext uri="{FF2B5EF4-FFF2-40B4-BE49-F238E27FC236}">
                  <a16:creationId xmlns:a16="http://schemas.microsoft.com/office/drawing/2014/main" id="{6E6D5E47-6B59-4958-B0FE-59BA781E3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3305" y="3009804"/>
              <a:ext cx="225512" cy="173835"/>
            </a:xfrm>
            <a:custGeom>
              <a:avLst/>
              <a:gdLst>
                <a:gd name="T0" fmla="*/ 10 w 132"/>
                <a:gd name="T1" fmla="*/ 74 h 104"/>
                <a:gd name="T2" fmla="*/ 6 w 132"/>
                <a:gd name="T3" fmla="*/ 64 h 104"/>
                <a:gd name="T4" fmla="*/ 2 w 132"/>
                <a:gd name="T5" fmla="*/ 54 h 104"/>
                <a:gd name="T6" fmla="*/ 0 w 132"/>
                <a:gd name="T7" fmla="*/ 48 h 104"/>
                <a:gd name="T8" fmla="*/ 0 w 132"/>
                <a:gd name="T9" fmla="*/ 46 h 104"/>
                <a:gd name="T10" fmla="*/ 0 w 132"/>
                <a:gd name="T11" fmla="*/ 40 h 104"/>
                <a:gd name="T12" fmla="*/ 2 w 132"/>
                <a:gd name="T13" fmla="*/ 30 h 104"/>
                <a:gd name="T14" fmla="*/ 4 w 132"/>
                <a:gd name="T15" fmla="*/ 18 h 104"/>
                <a:gd name="T16" fmla="*/ 14 w 132"/>
                <a:gd name="T17" fmla="*/ 12 h 104"/>
                <a:gd name="T18" fmla="*/ 26 w 132"/>
                <a:gd name="T19" fmla="*/ 6 h 104"/>
                <a:gd name="T20" fmla="*/ 32 w 132"/>
                <a:gd name="T21" fmla="*/ 2 h 104"/>
                <a:gd name="T22" fmla="*/ 38 w 132"/>
                <a:gd name="T23" fmla="*/ 0 h 104"/>
                <a:gd name="T24" fmla="*/ 44 w 132"/>
                <a:gd name="T25" fmla="*/ 0 h 104"/>
                <a:gd name="T26" fmla="*/ 46 w 132"/>
                <a:gd name="T27" fmla="*/ 0 h 104"/>
                <a:gd name="T28" fmla="*/ 48 w 132"/>
                <a:gd name="T29" fmla="*/ 2 h 104"/>
                <a:gd name="T30" fmla="*/ 54 w 132"/>
                <a:gd name="T31" fmla="*/ 4 h 104"/>
                <a:gd name="T32" fmla="*/ 58 w 132"/>
                <a:gd name="T33" fmla="*/ 6 h 104"/>
                <a:gd name="T34" fmla="*/ 62 w 132"/>
                <a:gd name="T35" fmla="*/ 6 h 104"/>
                <a:gd name="T36" fmla="*/ 70 w 132"/>
                <a:gd name="T37" fmla="*/ 4 h 104"/>
                <a:gd name="T38" fmla="*/ 78 w 132"/>
                <a:gd name="T39" fmla="*/ 4 h 104"/>
                <a:gd name="T40" fmla="*/ 88 w 132"/>
                <a:gd name="T41" fmla="*/ 6 h 104"/>
                <a:gd name="T42" fmla="*/ 96 w 132"/>
                <a:gd name="T43" fmla="*/ 10 h 104"/>
                <a:gd name="T44" fmla="*/ 102 w 132"/>
                <a:gd name="T45" fmla="*/ 12 h 104"/>
                <a:gd name="T46" fmla="*/ 106 w 132"/>
                <a:gd name="T47" fmla="*/ 16 h 104"/>
                <a:gd name="T48" fmla="*/ 114 w 132"/>
                <a:gd name="T49" fmla="*/ 22 h 104"/>
                <a:gd name="T50" fmla="*/ 122 w 132"/>
                <a:gd name="T51" fmla="*/ 30 h 104"/>
                <a:gd name="T52" fmla="*/ 120 w 132"/>
                <a:gd name="T53" fmla="*/ 36 h 104"/>
                <a:gd name="T54" fmla="*/ 120 w 132"/>
                <a:gd name="T55" fmla="*/ 42 h 104"/>
                <a:gd name="T56" fmla="*/ 120 w 132"/>
                <a:gd name="T57" fmla="*/ 46 h 104"/>
                <a:gd name="T58" fmla="*/ 120 w 132"/>
                <a:gd name="T59" fmla="*/ 48 h 104"/>
                <a:gd name="T60" fmla="*/ 122 w 132"/>
                <a:gd name="T61" fmla="*/ 50 h 104"/>
                <a:gd name="T62" fmla="*/ 122 w 132"/>
                <a:gd name="T63" fmla="*/ 50 h 104"/>
                <a:gd name="T64" fmla="*/ 124 w 132"/>
                <a:gd name="T65" fmla="*/ 50 h 104"/>
                <a:gd name="T66" fmla="*/ 128 w 132"/>
                <a:gd name="T67" fmla="*/ 50 h 104"/>
                <a:gd name="T68" fmla="*/ 130 w 132"/>
                <a:gd name="T69" fmla="*/ 50 h 104"/>
                <a:gd name="T70" fmla="*/ 130 w 132"/>
                <a:gd name="T71" fmla="*/ 50 h 104"/>
                <a:gd name="T72" fmla="*/ 132 w 132"/>
                <a:gd name="T73" fmla="*/ 52 h 104"/>
                <a:gd name="T74" fmla="*/ 132 w 132"/>
                <a:gd name="T75" fmla="*/ 54 h 104"/>
                <a:gd name="T76" fmla="*/ 132 w 132"/>
                <a:gd name="T77" fmla="*/ 60 h 104"/>
                <a:gd name="T78" fmla="*/ 132 w 132"/>
                <a:gd name="T79" fmla="*/ 64 h 104"/>
                <a:gd name="T80" fmla="*/ 132 w 132"/>
                <a:gd name="T81" fmla="*/ 70 h 104"/>
                <a:gd name="T82" fmla="*/ 132 w 132"/>
                <a:gd name="T83" fmla="*/ 78 h 104"/>
                <a:gd name="T84" fmla="*/ 132 w 132"/>
                <a:gd name="T85" fmla="*/ 86 h 104"/>
                <a:gd name="T86" fmla="*/ 132 w 132"/>
                <a:gd name="T87" fmla="*/ 90 h 104"/>
                <a:gd name="T88" fmla="*/ 132 w 132"/>
                <a:gd name="T89" fmla="*/ 92 h 104"/>
                <a:gd name="T90" fmla="*/ 130 w 132"/>
                <a:gd name="T91" fmla="*/ 94 h 104"/>
                <a:gd name="T92" fmla="*/ 128 w 132"/>
                <a:gd name="T93" fmla="*/ 96 h 104"/>
                <a:gd name="T94" fmla="*/ 122 w 132"/>
                <a:gd name="T95" fmla="*/ 100 h 104"/>
                <a:gd name="T96" fmla="*/ 96 w 132"/>
                <a:gd name="T97" fmla="*/ 102 h 104"/>
                <a:gd name="T98" fmla="*/ 68 w 132"/>
                <a:gd name="T99" fmla="*/ 100 h 104"/>
                <a:gd name="T100" fmla="*/ 58 w 132"/>
                <a:gd name="T101" fmla="*/ 94 h 104"/>
                <a:gd name="T102" fmla="*/ 50 w 132"/>
                <a:gd name="T103" fmla="*/ 92 h 104"/>
                <a:gd name="T104" fmla="*/ 30 w 132"/>
                <a:gd name="T105" fmla="*/ 86 h 104"/>
                <a:gd name="T106" fmla="*/ 24 w 132"/>
                <a:gd name="T107" fmla="*/ 82 h 104"/>
                <a:gd name="T108" fmla="*/ 20 w 132"/>
                <a:gd name="T109" fmla="*/ 80 h 104"/>
                <a:gd name="T110" fmla="*/ 10 w 132"/>
                <a:gd name="T111" fmla="*/ 7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2" h="104">
                  <a:moveTo>
                    <a:pt x="10" y="74"/>
                  </a:moveTo>
                  <a:lnTo>
                    <a:pt x="10" y="74"/>
                  </a:lnTo>
                  <a:lnTo>
                    <a:pt x="8" y="70"/>
                  </a:lnTo>
                  <a:lnTo>
                    <a:pt x="6" y="64"/>
                  </a:lnTo>
                  <a:lnTo>
                    <a:pt x="4" y="58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2" y="36"/>
                  </a:lnTo>
                  <a:lnTo>
                    <a:pt x="2" y="30"/>
                  </a:lnTo>
                  <a:lnTo>
                    <a:pt x="2" y="22"/>
                  </a:lnTo>
                  <a:lnTo>
                    <a:pt x="4" y="18"/>
                  </a:lnTo>
                  <a:lnTo>
                    <a:pt x="8" y="16"/>
                  </a:lnTo>
                  <a:lnTo>
                    <a:pt x="14" y="12"/>
                  </a:lnTo>
                  <a:lnTo>
                    <a:pt x="20" y="10"/>
                  </a:lnTo>
                  <a:lnTo>
                    <a:pt x="26" y="6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6" y="6"/>
                  </a:lnTo>
                  <a:lnTo>
                    <a:pt x="70" y="4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80" y="4"/>
                  </a:lnTo>
                  <a:lnTo>
                    <a:pt x="88" y="6"/>
                  </a:lnTo>
                  <a:lnTo>
                    <a:pt x="92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102" y="12"/>
                  </a:lnTo>
                  <a:lnTo>
                    <a:pt x="104" y="14"/>
                  </a:lnTo>
                  <a:lnTo>
                    <a:pt x="106" y="16"/>
                  </a:lnTo>
                  <a:lnTo>
                    <a:pt x="110" y="18"/>
                  </a:lnTo>
                  <a:lnTo>
                    <a:pt x="114" y="22"/>
                  </a:lnTo>
                  <a:lnTo>
                    <a:pt x="120" y="28"/>
                  </a:lnTo>
                  <a:lnTo>
                    <a:pt x="122" y="30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0" y="38"/>
                  </a:lnTo>
                  <a:lnTo>
                    <a:pt x="120" y="42"/>
                  </a:lnTo>
                  <a:lnTo>
                    <a:pt x="120" y="44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60"/>
                  </a:lnTo>
                  <a:lnTo>
                    <a:pt x="132" y="62"/>
                  </a:lnTo>
                  <a:lnTo>
                    <a:pt x="132" y="64"/>
                  </a:lnTo>
                  <a:lnTo>
                    <a:pt x="130" y="66"/>
                  </a:lnTo>
                  <a:lnTo>
                    <a:pt x="132" y="70"/>
                  </a:lnTo>
                  <a:lnTo>
                    <a:pt x="132" y="74"/>
                  </a:lnTo>
                  <a:lnTo>
                    <a:pt x="132" y="78"/>
                  </a:lnTo>
                  <a:lnTo>
                    <a:pt x="132" y="82"/>
                  </a:lnTo>
                  <a:lnTo>
                    <a:pt x="132" y="86"/>
                  </a:lnTo>
                  <a:lnTo>
                    <a:pt x="132" y="88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2" y="92"/>
                  </a:lnTo>
                  <a:lnTo>
                    <a:pt x="132" y="94"/>
                  </a:lnTo>
                  <a:lnTo>
                    <a:pt x="130" y="94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6" y="98"/>
                  </a:lnTo>
                  <a:lnTo>
                    <a:pt x="122" y="100"/>
                  </a:lnTo>
                  <a:lnTo>
                    <a:pt x="120" y="100"/>
                  </a:lnTo>
                  <a:lnTo>
                    <a:pt x="96" y="102"/>
                  </a:lnTo>
                  <a:lnTo>
                    <a:pt x="74" y="104"/>
                  </a:lnTo>
                  <a:lnTo>
                    <a:pt x="68" y="100"/>
                  </a:lnTo>
                  <a:lnTo>
                    <a:pt x="62" y="96"/>
                  </a:lnTo>
                  <a:lnTo>
                    <a:pt x="58" y="94"/>
                  </a:lnTo>
                  <a:lnTo>
                    <a:pt x="54" y="94"/>
                  </a:lnTo>
                  <a:lnTo>
                    <a:pt x="50" y="92"/>
                  </a:lnTo>
                  <a:lnTo>
                    <a:pt x="40" y="90"/>
                  </a:lnTo>
                  <a:lnTo>
                    <a:pt x="30" y="86"/>
                  </a:lnTo>
                  <a:lnTo>
                    <a:pt x="26" y="84"/>
                  </a:lnTo>
                  <a:lnTo>
                    <a:pt x="24" y="82"/>
                  </a:lnTo>
                  <a:lnTo>
                    <a:pt x="22" y="82"/>
                  </a:lnTo>
                  <a:lnTo>
                    <a:pt x="20" y="80"/>
                  </a:lnTo>
                  <a:lnTo>
                    <a:pt x="16" y="78"/>
                  </a:lnTo>
                  <a:lnTo>
                    <a:pt x="10" y="7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27" name="Freeform 300">
              <a:extLst>
                <a:ext uri="{FF2B5EF4-FFF2-40B4-BE49-F238E27FC236}">
                  <a16:creationId xmlns:a16="http://schemas.microsoft.com/office/drawing/2014/main" id="{A7DF5E1F-4BE7-46FA-9DCC-8A4A57F86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1801" y="2481608"/>
              <a:ext cx="263098" cy="508136"/>
            </a:xfrm>
            <a:custGeom>
              <a:avLst/>
              <a:gdLst>
                <a:gd name="T0" fmla="*/ 6 w 154"/>
                <a:gd name="T1" fmla="*/ 222 h 304"/>
                <a:gd name="T2" fmla="*/ 10 w 154"/>
                <a:gd name="T3" fmla="*/ 208 h 304"/>
                <a:gd name="T4" fmla="*/ 22 w 154"/>
                <a:gd name="T5" fmla="*/ 204 h 304"/>
                <a:gd name="T6" fmla="*/ 24 w 154"/>
                <a:gd name="T7" fmla="*/ 198 h 304"/>
                <a:gd name="T8" fmla="*/ 18 w 154"/>
                <a:gd name="T9" fmla="*/ 180 h 304"/>
                <a:gd name="T10" fmla="*/ 12 w 154"/>
                <a:gd name="T11" fmla="*/ 160 h 304"/>
                <a:gd name="T12" fmla="*/ 6 w 154"/>
                <a:gd name="T13" fmla="*/ 126 h 304"/>
                <a:gd name="T14" fmla="*/ 10 w 154"/>
                <a:gd name="T15" fmla="*/ 116 h 304"/>
                <a:gd name="T16" fmla="*/ 16 w 154"/>
                <a:gd name="T17" fmla="*/ 116 h 304"/>
                <a:gd name="T18" fmla="*/ 26 w 154"/>
                <a:gd name="T19" fmla="*/ 116 h 304"/>
                <a:gd name="T20" fmla="*/ 30 w 154"/>
                <a:gd name="T21" fmla="*/ 112 h 304"/>
                <a:gd name="T22" fmla="*/ 22 w 154"/>
                <a:gd name="T23" fmla="*/ 106 h 304"/>
                <a:gd name="T24" fmla="*/ 22 w 154"/>
                <a:gd name="T25" fmla="*/ 100 h 304"/>
                <a:gd name="T26" fmla="*/ 28 w 154"/>
                <a:gd name="T27" fmla="*/ 82 h 304"/>
                <a:gd name="T28" fmla="*/ 30 w 154"/>
                <a:gd name="T29" fmla="*/ 72 h 304"/>
                <a:gd name="T30" fmla="*/ 38 w 154"/>
                <a:gd name="T31" fmla="*/ 68 h 304"/>
                <a:gd name="T32" fmla="*/ 42 w 154"/>
                <a:gd name="T33" fmla="*/ 58 h 304"/>
                <a:gd name="T34" fmla="*/ 50 w 154"/>
                <a:gd name="T35" fmla="*/ 58 h 304"/>
                <a:gd name="T36" fmla="*/ 52 w 154"/>
                <a:gd name="T37" fmla="*/ 52 h 304"/>
                <a:gd name="T38" fmla="*/ 54 w 154"/>
                <a:gd name="T39" fmla="*/ 44 h 304"/>
                <a:gd name="T40" fmla="*/ 62 w 154"/>
                <a:gd name="T41" fmla="*/ 38 h 304"/>
                <a:gd name="T42" fmla="*/ 62 w 154"/>
                <a:gd name="T43" fmla="*/ 28 h 304"/>
                <a:gd name="T44" fmla="*/ 68 w 154"/>
                <a:gd name="T45" fmla="*/ 28 h 304"/>
                <a:gd name="T46" fmla="*/ 78 w 154"/>
                <a:gd name="T47" fmla="*/ 26 h 304"/>
                <a:gd name="T48" fmla="*/ 86 w 154"/>
                <a:gd name="T49" fmla="*/ 18 h 304"/>
                <a:gd name="T50" fmla="*/ 104 w 154"/>
                <a:gd name="T51" fmla="*/ 18 h 304"/>
                <a:gd name="T52" fmla="*/ 114 w 154"/>
                <a:gd name="T53" fmla="*/ 14 h 304"/>
                <a:gd name="T54" fmla="*/ 128 w 154"/>
                <a:gd name="T55" fmla="*/ 0 h 304"/>
                <a:gd name="T56" fmla="*/ 146 w 154"/>
                <a:gd name="T57" fmla="*/ 20 h 304"/>
                <a:gd name="T58" fmla="*/ 150 w 154"/>
                <a:gd name="T59" fmla="*/ 34 h 304"/>
                <a:gd name="T60" fmla="*/ 154 w 154"/>
                <a:gd name="T61" fmla="*/ 58 h 304"/>
                <a:gd name="T62" fmla="*/ 150 w 154"/>
                <a:gd name="T63" fmla="*/ 66 h 304"/>
                <a:gd name="T64" fmla="*/ 136 w 154"/>
                <a:gd name="T65" fmla="*/ 76 h 304"/>
                <a:gd name="T66" fmla="*/ 128 w 154"/>
                <a:gd name="T67" fmla="*/ 88 h 304"/>
                <a:gd name="T68" fmla="*/ 128 w 154"/>
                <a:gd name="T69" fmla="*/ 106 h 304"/>
                <a:gd name="T70" fmla="*/ 126 w 154"/>
                <a:gd name="T71" fmla="*/ 112 h 304"/>
                <a:gd name="T72" fmla="*/ 112 w 154"/>
                <a:gd name="T73" fmla="*/ 122 h 304"/>
                <a:gd name="T74" fmla="*/ 102 w 154"/>
                <a:gd name="T75" fmla="*/ 130 h 304"/>
                <a:gd name="T76" fmla="*/ 86 w 154"/>
                <a:gd name="T77" fmla="*/ 132 h 304"/>
                <a:gd name="T78" fmla="*/ 80 w 154"/>
                <a:gd name="T79" fmla="*/ 142 h 304"/>
                <a:gd name="T80" fmla="*/ 76 w 154"/>
                <a:gd name="T81" fmla="*/ 164 h 304"/>
                <a:gd name="T82" fmla="*/ 78 w 154"/>
                <a:gd name="T83" fmla="*/ 180 h 304"/>
                <a:gd name="T84" fmla="*/ 90 w 154"/>
                <a:gd name="T85" fmla="*/ 194 h 304"/>
                <a:gd name="T86" fmla="*/ 92 w 154"/>
                <a:gd name="T87" fmla="*/ 204 h 304"/>
                <a:gd name="T88" fmla="*/ 80 w 154"/>
                <a:gd name="T89" fmla="*/ 208 h 304"/>
                <a:gd name="T90" fmla="*/ 70 w 154"/>
                <a:gd name="T91" fmla="*/ 212 h 304"/>
                <a:gd name="T92" fmla="*/ 72 w 154"/>
                <a:gd name="T93" fmla="*/ 216 h 304"/>
                <a:gd name="T94" fmla="*/ 82 w 154"/>
                <a:gd name="T95" fmla="*/ 216 h 304"/>
                <a:gd name="T96" fmla="*/ 90 w 154"/>
                <a:gd name="T97" fmla="*/ 228 h 304"/>
                <a:gd name="T98" fmla="*/ 86 w 154"/>
                <a:gd name="T99" fmla="*/ 234 h 304"/>
                <a:gd name="T100" fmla="*/ 74 w 154"/>
                <a:gd name="T101" fmla="*/ 246 h 304"/>
                <a:gd name="T102" fmla="*/ 72 w 154"/>
                <a:gd name="T103" fmla="*/ 258 h 304"/>
                <a:gd name="T104" fmla="*/ 72 w 154"/>
                <a:gd name="T105" fmla="*/ 268 h 304"/>
                <a:gd name="T106" fmla="*/ 60 w 154"/>
                <a:gd name="T107" fmla="*/ 276 h 304"/>
                <a:gd name="T108" fmla="*/ 56 w 154"/>
                <a:gd name="T109" fmla="*/ 286 h 304"/>
                <a:gd name="T110" fmla="*/ 44 w 154"/>
                <a:gd name="T111" fmla="*/ 296 h 304"/>
                <a:gd name="T112" fmla="*/ 38 w 154"/>
                <a:gd name="T113" fmla="*/ 304 h 304"/>
                <a:gd name="T114" fmla="*/ 26 w 154"/>
                <a:gd name="T115" fmla="*/ 300 h 304"/>
                <a:gd name="T116" fmla="*/ 22 w 154"/>
                <a:gd name="T117" fmla="*/ 294 h 304"/>
                <a:gd name="T118" fmla="*/ 24 w 154"/>
                <a:gd name="T119" fmla="*/ 280 h 304"/>
                <a:gd name="T120" fmla="*/ 16 w 154"/>
                <a:gd name="T121" fmla="*/ 276 h 304"/>
                <a:gd name="T122" fmla="*/ 14 w 154"/>
                <a:gd name="T123" fmla="*/ 272 h 304"/>
                <a:gd name="T124" fmla="*/ 6 w 154"/>
                <a:gd name="T125" fmla="*/ 25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4" h="304">
                  <a:moveTo>
                    <a:pt x="0" y="236"/>
                  </a:moveTo>
                  <a:lnTo>
                    <a:pt x="0" y="236"/>
                  </a:lnTo>
                  <a:lnTo>
                    <a:pt x="2" y="232"/>
                  </a:lnTo>
                  <a:lnTo>
                    <a:pt x="4" y="230"/>
                  </a:lnTo>
                  <a:lnTo>
                    <a:pt x="6" y="226"/>
                  </a:lnTo>
                  <a:lnTo>
                    <a:pt x="6" y="224"/>
                  </a:lnTo>
                  <a:lnTo>
                    <a:pt x="6" y="222"/>
                  </a:lnTo>
                  <a:lnTo>
                    <a:pt x="6" y="218"/>
                  </a:lnTo>
                  <a:lnTo>
                    <a:pt x="8" y="216"/>
                  </a:lnTo>
                  <a:lnTo>
                    <a:pt x="8" y="212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08"/>
                  </a:lnTo>
                  <a:lnTo>
                    <a:pt x="12" y="208"/>
                  </a:lnTo>
                  <a:lnTo>
                    <a:pt x="12" y="208"/>
                  </a:lnTo>
                  <a:lnTo>
                    <a:pt x="16" y="206"/>
                  </a:lnTo>
                  <a:lnTo>
                    <a:pt x="18" y="206"/>
                  </a:lnTo>
                  <a:lnTo>
                    <a:pt x="20" y="204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4" y="198"/>
                  </a:lnTo>
                  <a:lnTo>
                    <a:pt x="24" y="198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2" y="190"/>
                  </a:lnTo>
                  <a:lnTo>
                    <a:pt x="22" y="188"/>
                  </a:lnTo>
                  <a:lnTo>
                    <a:pt x="20" y="184"/>
                  </a:lnTo>
                  <a:lnTo>
                    <a:pt x="20" y="182"/>
                  </a:lnTo>
                  <a:lnTo>
                    <a:pt x="18" y="180"/>
                  </a:lnTo>
                  <a:lnTo>
                    <a:pt x="16" y="176"/>
                  </a:lnTo>
                  <a:lnTo>
                    <a:pt x="14" y="172"/>
                  </a:lnTo>
                  <a:lnTo>
                    <a:pt x="14" y="170"/>
                  </a:lnTo>
                  <a:lnTo>
                    <a:pt x="12" y="168"/>
                  </a:lnTo>
                  <a:lnTo>
                    <a:pt x="12" y="166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0" y="152"/>
                  </a:lnTo>
                  <a:lnTo>
                    <a:pt x="8" y="146"/>
                  </a:lnTo>
                  <a:lnTo>
                    <a:pt x="8" y="138"/>
                  </a:lnTo>
                  <a:lnTo>
                    <a:pt x="6" y="134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6" y="126"/>
                  </a:lnTo>
                  <a:lnTo>
                    <a:pt x="6" y="124"/>
                  </a:lnTo>
                  <a:lnTo>
                    <a:pt x="6" y="122"/>
                  </a:lnTo>
                  <a:lnTo>
                    <a:pt x="8" y="120"/>
                  </a:lnTo>
                  <a:lnTo>
                    <a:pt x="8" y="118"/>
                  </a:lnTo>
                  <a:lnTo>
                    <a:pt x="8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4" y="116"/>
                  </a:lnTo>
                  <a:lnTo>
                    <a:pt x="16" y="116"/>
                  </a:lnTo>
                  <a:lnTo>
                    <a:pt x="18" y="116"/>
                  </a:lnTo>
                  <a:lnTo>
                    <a:pt x="20" y="118"/>
                  </a:lnTo>
                  <a:lnTo>
                    <a:pt x="22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6" y="116"/>
                  </a:lnTo>
                  <a:lnTo>
                    <a:pt x="26" y="116"/>
                  </a:lnTo>
                  <a:lnTo>
                    <a:pt x="28" y="116"/>
                  </a:lnTo>
                  <a:lnTo>
                    <a:pt x="28" y="114"/>
                  </a:lnTo>
                  <a:lnTo>
                    <a:pt x="30" y="114"/>
                  </a:lnTo>
                  <a:lnTo>
                    <a:pt x="30" y="114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0"/>
                  </a:lnTo>
                  <a:lnTo>
                    <a:pt x="28" y="110"/>
                  </a:lnTo>
                  <a:lnTo>
                    <a:pt x="28" y="110"/>
                  </a:lnTo>
                  <a:lnTo>
                    <a:pt x="26" y="108"/>
                  </a:lnTo>
                  <a:lnTo>
                    <a:pt x="24" y="108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2"/>
                  </a:lnTo>
                  <a:lnTo>
                    <a:pt x="22" y="100"/>
                  </a:lnTo>
                  <a:lnTo>
                    <a:pt x="24" y="98"/>
                  </a:lnTo>
                  <a:lnTo>
                    <a:pt x="26" y="96"/>
                  </a:lnTo>
                  <a:lnTo>
                    <a:pt x="28" y="94"/>
                  </a:lnTo>
                  <a:lnTo>
                    <a:pt x="28" y="92"/>
                  </a:lnTo>
                  <a:lnTo>
                    <a:pt x="28" y="90"/>
                  </a:lnTo>
                  <a:lnTo>
                    <a:pt x="28" y="88"/>
                  </a:lnTo>
                  <a:lnTo>
                    <a:pt x="28" y="82"/>
                  </a:lnTo>
                  <a:lnTo>
                    <a:pt x="28" y="80"/>
                  </a:lnTo>
                  <a:lnTo>
                    <a:pt x="28" y="78"/>
                  </a:lnTo>
                  <a:lnTo>
                    <a:pt x="28" y="76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2"/>
                  </a:lnTo>
                  <a:lnTo>
                    <a:pt x="32" y="72"/>
                  </a:lnTo>
                  <a:lnTo>
                    <a:pt x="34" y="72"/>
                  </a:lnTo>
                  <a:lnTo>
                    <a:pt x="36" y="70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64"/>
                  </a:lnTo>
                  <a:lnTo>
                    <a:pt x="40" y="62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6" y="44"/>
                  </a:lnTo>
                  <a:lnTo>
                    <a:pt x="58" y="42"/>
                  </a:lnTo>
                  <a:lnTo>
                    <a:pt x="60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6"/>
                  </a:lnTo>
                  <a:lnTo>
                    <a:pt x="62" y="34"/>
                  </a:lnTo>
                  <a:lnTo>
                    <a:pt x="62" y="32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6" y="28"/>
                  </a:lnTo>
                  <a:lnTo>
                    <a:pt x="68" y="28"/>
                  </a:lnTo>
                  <a:lnTo>
                    <a:pt x="70" y="28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4" y="28"/>
                  </a:lnTo>
                  <a:lnTo>
                    <a:pt x="76" y="28"/>
                  </a:lnTo>
                  <a:lnTo>
                    <a:pt x="78" y="26"/>
                  </a:lnTo>
                  <a:lnTo>
                    <a:pt x="80" y="26"/>
                  </a:lnTo>
                  <a:lnTo>
                    <a:pt x="80" y="24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4" y="20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8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6" y="16"/>
                  </a:lnTo>
                  <a:lnTo>
                    <a:pt x="98" y="16"/>
                  </a:lnTo>
                  <a:lnTo>
                    <a:pt x="100" y="16"/>
                  </a:lnTo>
                  <a:lnTo>
                    <a:pt x="104" y="18"/>
                  </a:lnTo>
                  <a:lnTo>
                    <a:pt x="106" y="18"/>
                  </a:lnTo>
                  <a:lnTo>
                    <a:pt x="108" y="18"/>
                  </a:lnTo>
                  <a:lnTo>
                    <a:pt x="110" y="18"/>
                  </a:lnTo>
                  <a:lnTo>
                    <a:pt x="110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4" y="14"/>
                  </a:lnTo>
                  <a:lnTo>
                    <a:pt x="114" y="12"/>
                  </a:lnTo>
                  <a:lnTo>
                    <a:pt x="116" y="10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20" y="6"/>
                  </a:lnTo>
                  <a:lnTo>
                    <a:pt x="124" y="4"/>
                  </a:lnTo>
                  <a:lnTo>
                    <a:pt x="128" y="0"/>
                  </a:lnTo>
                  <a:lnTo>
                    <a:pt x="132" y="6"/>
                  </a:lnTo>
                  <a:lnTo>
                    <a:pt x="136" y="10"/>
                  </a:lnTo>
                  <a:lnTo>
                    <a:pt x="138" y="14"/>
                  </a:lnTo>
                  <a:lnTo>
                    <a:pt x="140" y="14"/>
                  </a:lnTo>
                  <a:lnTo>
                    <a:pt x="142" y="16"/>
                  </a:lnTo>
                  <a:lnTo>
                    <a:pt x="144" y="18"/>
                  </a:lnTo>
                  <a:lnTo>
                    <a:pt x="146" y="20"/>
                  </a:lnTo>
                  <a:lnTo>
                    <a:pt x="148" y="20"/>
                  </a:lnTo>
                  <a:lnTo>
                    <a:pt x="148" y="22"/>
                  </a:lnTo>
                  <a:lnTo>
                    <a:pt x="150" y="24"/>
                  </a:lnTo>
                  <a:lnTo>
                    <a:pt x="150" y="24"/>
                  </a:lnTo>
                  <a:lnTo>
                    <a:pt x="150" y="26"/>
                  </a:lnTo>
                  <a:lnTo>
                    <a:pt x="150" y="28"/>
                  </a:lnTo>
                  <a:lnTo>
                    <a:pt x="150" y="34"/>
                  </a:lnTo>
                  <a:lnTo>
                    <a:pt x="152" y="36"/>
                  </a:lnTo>
                  <a:lnTo>
                    <a:pt x="152" y="40"/>
                  </a:lnTo>
                  <a:lnTo>
                    <a:pt x="152" y="44"/>
                  </a:lnTo>
                  <a:lnTo>
                    <a:pt x="154" y="50"/>
                  </a:lnTo>
                  <a:lnTo>
                    <a:pt x="154" y="54"/>
                  </a:lnTo>
                  <a:lnTo>
                    <a:pt x="154" y="56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52" y="66"/>
                  </a:lnTo>
                  <a:lnTo>
                    <a:pt x="150" y="66"/>
                  </a:lnTo>
                  <a:lnTo>
                    <a:pt x="148" y="68"/>
                  </a:lnTo>
                  <a:lnTo>
                    <a:pt x="146" y="68"/>
                  </a:lnTo>
                  <a:lnTo>
                    <a:pt x="144" y="70"/>
                  </a:lnTo>
                  <a:lnTo>
                    <a:pt x="142" y="70"/>
                  </a:lnTo>
                  <a:lnTo>
                    <a:pt x="140" y="72"/>
                  </a:lnTo>
                  <a:lnTo>
                    <a:pt x="138" y="74"/>
                  </a:lnTo>
                  <a:lnTo>
                    <a:pt x="136" y="76"/>
                  </a:lnTo>
                  <a:lnTo>
                    <a:pt x="134" y="76"/>
                  </a:lnTo>
                  <a:lnTo>
                    <a:pt x="132" y="78"/>
                  </a:lnTo>
                  <a:lnTo>
                    <a:pt x="130" y="80"/>
                  </a:lnTo>
                  <a:lnTo>
                    <a:pt x="130" y="82"/>
                  </a:lnTo>
                  <a:lnTo>
                    <a:pt x="130" y="84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28" y="94"/>
                  </a:lnTo>
                  <a:lnTo>
                    <a:pt x="128" y="98"/>
                  </a:lnTo>
                  <a:lnTo>
                    <a:pt x="128" y="98"/>
                  </a:lnTo>
                  <a:lnTo>
                    <a:pt x="128" y="100"/>
                  </a:lnTo>
                  <a:lnTo>
                    <a:pt x="128" y="102"/>
                  </a:lnTo>
                  <a:lnTo>
                    <a:pt x="128" y="104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08"/>
                  </a:lnTo>
                  <a:lnTo>
                    <a:pt x="128" y="108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6" y="110"/>
                  </a:lnTo>
                  <a:lnTo>
                    <a:pt x="126" y="112"/>
                  </a:lnTo>
                  <a:lnTo>
                    <a:pt x="124" y="112"/>
                  </a:lnTo>
                  <a:lnTo>
                    <a:pt x="122" y="114"/>
                  </a:lnTo>
                  <a:lnTo>
                    <a:pt x="116" y="116"/>
                  </a:lnTo>
                  <a:lnTo>
                    <a:pt x="114" y="118"/>
                  </a:lnTo>
                  <a:lnTo>
                    <a:pt x="114" y="118"/>
                  </a:lnTo>
                  <a:lnTo>
                    <a:pt x="112" y="120"/>
                  </a:lnTo>
                  <a:lnTo>
                    <a:pt x="112" y="122"/>
                  </a:lnTo>
                  <a:lnTo>
                    <a:pt x="108" y="124"/>
                  </a:lnTo>
                  <a:lnTo>
                    <a:pt x="108" y="126"/>
                  </a:lnTo>
                  <a:lnTo>
                    <a:pt x="106" y="128"/>
                  </a:lnTo>
                  <a:lnTo>
                    <a:pt x="106" y="130"/>
                  </a:lnTo>
                  <a:lnTo>
                    <a:pt x="104" y="130"/>
                  </a:lnTo>
                  <a:lnTo>
                    <a:pt x="104" y="130"/>
                  </a:lnTo>
                  <a:lnTo>
                    <a:pt x="102" y="130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32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4"/>
                  </a:lnTo>
                  <a:lnTo>
                    <a:pt x="84" y="134"/>
                  </a:lnTo>
                  <a:lnTo>
                    <a:pt x="84" y="134"/>
                  </a:lnTo>
                  <a:lnTo>
                    <a:pt x="82" y="136"/>
                  </a:lnTo>
                  <a:lnTo>
                    <a:pt x="82" y="136"/>
                  </a:lnTo>
                  <a:lnTo>
                    <a:pt x="80" y="138"/>
                  </a:lnTo>
                  <a:lnTo>
                    <a:pt x="80" y="142"/>
                  </a:lnTo>
                  <a:lnTo>
                    <a:pt x="78" y="144"/>
                  </a:lnTo>
                  <a:lnTo>
                    <a:pt x="78" y="146"/>
                  </a:lnTo>
                  <a:lnTo>
                    <a:pt x="76" y="150"/>
                  </a:lnTo>
                  <a:lnTo>
                    <a:pt x="76" y="152"/>
                  </a:lnTo>
                  <a:lnTo>
                    <a:pt x="76" y="156"/>
                  </a:lnTo>
                  <a:lnTo>
                    <a:pt x="76" y="160"/>
                  </a:lnTo>
                  <a:lnTo>
                    <a:pt x="76" y="164"/>
                  </a:lnTo>
                  <a:lnTo>
                    <a:pt x="76" y="168"/>
                  </a:lnTo>
                  <a:lnTo>
                    <a:pt x="76" y="172"/>
                  </a:lnTo>
                  <a:lnTo>
                    <a:pt x="76" y="174"/>
                  </a:lnTo>
                  <a:lnTo>
                    <a:pt x="76" y="176"/>
                  </a:lnTo>
                  <a:lnTo>
                    <a:pt x="76" y="178"/>
                  </a:lnTo>
                  <a:lnTo>
                    <a:pt x="78" y="178"/>
                  </a:lnTo>
                  <a:lnTo>
                    <a:pt x="78" y="180"/>
                  </a:lnTo>
                  <a:lnTo>
                    <a:pt x="78" y="182"/>
                  </a:lnTo>
                  <a:lnTo>
                    <a:pt x="80" y="182"/>
                  </a:lnTo>
                  <a:lnTo>
                    <a:pt x="82" y="184"/>
                  </a:lnTo>
                  <a:lnTo>
                    <a:pt x="86" y="188"/>
                  </a:lnTo>
                  <a:lnTo>
                    <a:pt x="88" y="190"/>
                  </a:lnTo>
                  <a:lnTo>
                    <a:pt x="88" y="192"/>
                  </a:lnTo>
                  <a:lnTo>
                    <a:pt x="90" y="194"/>
                  </a:lnTo>
                  <a:lnTo>
                    <a:pt x="92" y="198"/>
                  </a:lnTo>
                  <a:lnTo>
                    <a:pt x="92" y="198"/>
                  </a:lnTo>
                  <a:lnTo>
                    <a:pt x="92" y="200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2" y="204"/>
                  </a:lnTo>
                  <a:lnTo>
                    <a:pt x="92" y="204"/>
                  </a:lnTo>
                  <a:lnTo>
                    <a:pt x="92" y="204"/>
                  </a:lnTo>
                  <a:lnTo>
                    <a:pt x="90" y="206"/>
                  </a:lnTo>
                  <a:lnTo>
                    <a:pt x="88" y="206"/>
                  </a:lnTo>
                  <a:lnTo>
                    <a:pt x="86" y="206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10"/>
                  </a:lnTo>
                  <a:lnTo>
                    <a:pt x="74" y="210"/>
                  </a:lnTo>
                  <a:lnTo>
                    <a:pt x="72" y="210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6"/>
                  </a:lnTo>
                  <a:lnTo>
                    <a:pt x="70" y="216"/>
                  </a:lnTo>
                  <a:lnTo>
                    <a:pt x="72" y="216"/>
                  </a:lnTo>
                  <a:lnTo>
                    <a:pt x="74" y="214"/>
                  </a:lnTo>
                  <a:lnTo>
                    <a:pt x="78" y="214"/>
                  </a:lnTo>
                  <a:lnTo>
                    <a:pt x="80" y="214"/>
                  </a:lnTo>
                  <a:lnTo>
                    <a:pt x="80" y="214"/>
                  </a:lnTo>
                  <a:lnTo>
                    <a:pt x="80" y="214"/>
                  </a:lnTo>
                  <a:lnTo>
                    <a:pt x="82" y="214"/>
                  </a:lnTo>
                  <a:lnTo>
                    <a:pt x="82" y="216"/>
                  </a:lnTo>
                  <a:lnTo>
                    <a:pt x="84" y="216"/>
                  </a:lnTo>
                  <a:lnTo>
                    <a:pt x="86" y="218"/>
                  </a:lnTo>
                  <a:lnTo>
                    <a:pt x="86" y="220"/>
                  </a:lnTo>
                  <a:lnTo>
                    <a:pt x="88" y="222"/>
                  </a:lnTo>
                  <a:lnTo>
                    <a:pt x="90" y="226"/>
                  </a:lnTo>
                  <a:lnTo>
                    <a:pt x="90" y="226"/>
                  </a:lnTo>
                  <a:lnTo>
                    <a:pt x="90" y="228"/>
                  </a:lnTo>
                  <a:lnTo>
                    <a:pt x="90" y="230"/>
                  </a:lnTo>
                  <a:lnTo>
                    <a:pt x="90" y="230"/>
                  </a:lnTo>
                  <a:lnTo>
                    <a:pt x="90" y="230"/>
                  </a:lnTo>
                  <a:lnTo>
                    <a:pt x="90" y="232"/>
                  </a:lnTo>
                  <a:lnTo>
                    <a:pt x="90" y="232"/>
                  </a:lnTo>
                  <a:lnTo>
                    <a:pt x="88" y="234"/>
                  </a:lnTo>
                  <a:lnTo>
                    <a:pt x="86" y="234"/>
                  </a:lnTo>
                  <a:lnTo>
                    <a:pt x="84" y="236"/>
                  </a:lnTo>
                  <a:lnTo>
                    <a:pt x="82" y="236"/>
                  </a:lnTo>
                  <a:lnTo>
                    <a:pt x="82" y="236"/>
                  </a:lnTo>
                  <a:lnTo>
                    <a:pt x="80" y="240"/>
                  </a:lnTo>
                  <a:lnTo>
                    <a:pt x="76" y="242"/>
                  </a:lnTo>
                  <a:lnTo>
                    <a:pt x="74" y="244"/>
                  </a:lnTo>
                  <a:lnTo>
                    <a:pt x="74" y="246"/>
                  </a:lnTo>
                  <a:lnTo>
                    <a:pt x="72" y="246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72" y="250"/>
                  </a:lnTo>
                  <a:lnTo>
                    <a:pt x="72" y="252"/>
                  </a:lnTo>
                  <a:lnTo>
                    <a:pt x="72" y="254"/>
                  </a:lnTo>
                  <a:lnTo>
                    <a:pt x="72" y="258"/>
                  </a:lnTo>
                  <a:lnTo>
                    <a:pt x="72" y="260"/>
                  </a:lnTo>
                  <a:lnTo>
                    <a:pt x="72" y="262"/>
                  </a:lnTo>
                  <a:lnTo>
                    <a:pt x="72" y="264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0" y="268"/>
                  </a:lnTo>
                  <a:lnTo>
                    <a:pt x="70" y="270"/>
                  </a:lnTo>
                  <a:lnTo>
                    <a:pt x="68" y="270"/>
                  </a:lnTo>
                  <a:lnTo>
                    <a:pt x="66" y="272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0" y="276"/>
                  </a:lnTo>
                  <a:lnTo>
                    <a:pt x="60" y="276"/>
                  </a:lnTo>
                  <a:lnTo>
                    <a:pt x="60" y="278"/>
                  </a:lnTo>
                  <a:lnTo>
                    <a:pt x="58" y="280"/>
                  </a:lnTo>
                  <a:lnTo>
                    <a:pt x="58" y="284"/>
                  </a:lnTo>
                  <a:lnTo>
                    <a:pt x="58" y="284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4" y="288"/>
                  </a:lnTo>
                  <a:lnTo>
                    <a:pt x="50" y="290"/>
                  </a:lnTo>
                  <a:lnTo>
                    <a:pt x="48" y="292"/>
                  </a:lnTo>
                  <a:lnTo>
                    <a:pt x="46" y="292"/>
                  </a:lnTo>
                  <a:lnTo>
                    <a:pt x="46" y="294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2" y="298"/>
                  </a:lnTo>
                  <a:lnTo>
                    <a:pt x="42" y="300"/>
                  </a:lnTo>
                  <a:lnTo>
                    <a:pt x="40" y="302"/>
                  </a:lnTo>
                  <a:lnTo>
                    <a:pt x="40" y="302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38" y="304"/>
                  </a:lnTo>
                  <a:lnTo>
                    <a:pt x="38" y="304"/>
                  </a:lnTo>
                  <a:lnTo>
                    <a:pt x="36" y="304"/>
                  </a:lnTo>
                  <a:lnTo>
                    <a:pt x="34" y="304"/>
                  </a:lnTo>
                  <a:lnTo>
                    <a:pt x="32" y="302"/>
                  </a:lnTo>
                  <a:lnTo>
                    <a:pt x="30" y="302"/>
                  </a:lnTo>
                  <a:lnTo>
                    <a:pt x="28" y="302"/>
                  </a:lnTo>
                  <a:lnTo>
                    <a:pt x="26" y="300"/>
                  </a:lnTo>
                  <a:lnTo>
                    <a:pt x="24" y="298"/>
                  </a:lnTo>
                  <a:lnTo>
                    <a:pt x="24" y="298"/>
                  </a:lnTo>
                  <a:lnTo>
                    <a:pt x="22" y="298"/>
                  </a:lnTo>
                  <a:lnTo>
                    <a:pt x="22" y="296"/>
                  </a:lnTo>
                  <a:lnTo>
                    <a:pt x="22" y="296"/>
                  </a:lnTo>
                  <a:lnTo>
                    <a:pt x="22" y="294"/>
                  </a:lnTo>
                  <a:lnTo>
                    <a:pt x="22" y="294"/>
                  </a:lnTo>
                  <a:lnTo>
                    <a:pt x="22" y="290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2"/>
                  </a:lnTo>
                  <a:lnTo>
                    <a:pt x="24" y="282"/>
                  </a:lnTo>
                  <a:lnTo>
                    <a:pt x="24" y="280"/>
                  </a:lnTo>
                  <a:lnTo>
                    <a:pt x="24" y="280"/>
                  </a:lnTo>
                  <a:lnTo>
                    <a:pt x="24" y="278"/>
                  </a:lnTo>
                  <a:lnTo>
                    <a:pt x="24" y="278"/>
                  </a:lnTo>
                  <a:lnTo>
                    <a:pt x="24" y="278"/>
                  </a:lnTo>
                  <a:lnTo>
                    <a:pt x="22" y="278"/>
                  </a:lnTo>
                  <a:lnTo>
                    <a:pt x="22" y="278"/>
                  </a:lnTo>
                  <a:lnTo>
                    <a:pt x="20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4" y="276"/>
                  </a:lnTo>
                  <a:lnTo>
                    <a:pt x="14" y="274"/>
                  </a:lnTo>
                  <a:lnTo>
                    <a:pt x="14" y="274"/>
                  </a:lnTo>
                  <a:lnTo>
                    <a:pt x="14" y="272"/>
                  </a:lnTo>
                  <a:lnTo>
                    <a:pt x="14" y="270"/>
                  </a:lnTo>
                  <a:lnTo>
                    <a:pt x="12" y="268"/>
                  </a:lnTo>
                  <a:lnTo>
                    <a:pt x="12" y="266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0" y="256"/>
                  </a:lnTo>
                  <a:lnTo>
                    <a:pt x="6" y="250"/>
                  </a:lnTo>
                  <a:lnTo>
                    <a:pt x="2" y="242"/>
                  </a:lnTo>
                  <a:lnTo>
                    <a:pt x="0" y="23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28" name="Freeform 302">
              <a:extLst>
                <a:ext uri="{FF2B5EF4-FFF2-40B4-BE49-F238E27FC236}">
                  <a16:creationId xmlns:a16="http://schemas.microsoft.com/office/drawing/2014/main" id="{99CAA10F-5E78-4A92-925E-438FFA83A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693" y="2381319"/>
              <a:ext cx="41003" cy="46802"/>
            </a:xfrm>
            <a:custGeom>
              <a:avLst/>
              <a:gdLst>
                <a:gd name="T0" fmla="*/ 10 w 24"/>
                <a:gd name="T1" fmla="*/ 0 h 28"/>
                <a:gd name="T2" fmla="*/ 10 w 24"/>
                <a:gd name="T3" fmla="*/ 0 h 28"/>
                <a:gd name="T4" fmla="*/ 8 w 24"/>
                <a:gd name="T5" fmla="*/ 0 h 28"/>
                <a:gd name="T6" fmla="*/ 6 w 24"/>
                <a:gd name="T7" fmla="*/ 2 h 28"/>
                <a:gd name="T8" fmla="*/ 6 w 24"/>
                <a:gd name="T9" fmla="*/ 4 h 28"/>
                <a:gd name="T10" fmla="*/ 4 w 24"/>
                <a:gd name="T11" fmla="*/ 4 h 28"/>
                <a:gd name="T12" fmla="*/ 4 w 24"/>
                <a:gd name="T13" fmla="*/ 6 h 28"/>
                <a:gd name="T14" fmla="*/ 2 w 24"/>
                <a:gd name="T15" fmla="*/ 8 h 28"/>
                <a:gd name="T16" fmla="*/ 2 w 24"/>
                <a:gd name="T17" fmla="*/ 12 h 28"/>
                <a:gd name="T18" fmla="*/ 0 w 24"/>
                <a:gd name="T19" fmla="*/ 14 h 28"/>
                <a:gd name="T20" fmla="*/ 0 w 24"/>
                <a:gd name="T21" fmla="*/ 16 h 28"/>
                <a:gd name="T22" fmla="*/ 0 w 24"/>
                <a:gd name="T23" fmla="*/ 18 h 28"/>
                <a:gd name="T24" fmla="*/ 0 w 24"/>
                <a:gd name="T25" fmla="*/ 20 h 28"/>
                <a:gd name="T26" fmla="*/ 0 w 24"/>
                <a:gd name="T27" fmla="*/ 22 h 28"/>
                <a:gd name="T28" fmla="*/ 0 w 24"/>
                <a:gd name="T29" fmla="*/ 24 h 28"/>
                <a:gd name="T30" fmla="*/ 0 w 24"/>
                <a:gd name="T31" fmla="*/ 26 h 28"/>
                <a:gd name="T32" fmla="*/ 0 w 24"/>
                <a:gd name="T33" fmla="*/ 26 h 28"/>
                <a:gd name="T34" fmla="*/ 0 w 24"/>
                <a:gd name="T35" fmla="*/ 26 h 28"/>
                <a:gd name="T36" fmla="*/ 0 w 24"/>
                <a:gd name="T37" fmla="*/ 28 h 28"/>
                <a:gd name="T38" fmla="*/ 2 w 24"/>
                <a:gd name="T39" fmla="*/ 28 h 28"/>
                <a:gd name="T40" fmla="*/ 2 w 24"/>
                <a:gd name="T41" fmla="*/ 28 h 28"/>
                <a:gd name="T42" fmla="*/ 2 w 24"/>
                <a:gd name="T43" fmla="*/ 28 h 28"/>
                <a:gd name="T44" fmla="*/ 4 w 24"/>
                <a:gd name="T45" fmla="*/ 28 h 28"/>
                <a:gd name="T46" fmla="*/ 4 w 24"/>
                <a:gd name="T47" fmla="*/ 28 h 28"/>
                <a:gd name="T48" fmla="*/ 6 w 24"/>
                <a:gd name="T49" fmla="*/ 28 h 28"/>
                <a:gd name="T50" fmla="*/ 8 w 24"/>
                <a:gd name="T51" fmla="*/ 28 h 28"/>
                <a:gd name="T52" fmla="*/ 10 w 24"/>
                <a:gd name="T53" fmla="*/ 26 h 28"/>
                <a:gd name="T54" fmla="*/ 12 w 24"/>
                <a:gd name="T55" fmla="*/ 26 h 28"/>
                <a:gd name="T56" fmla="*/ 14 w 24"/>
                <a:gd name="T57" fmla="*/ 24 h 28"/>
                <a:gd name="T58" fmla="*/ 16 w 24"/>
                <a:gd name="T59" fmla="*/ 22 h 28"/>
                <a:gd name="T60" fmla="*/ 18 w 24"/>
                <a:gd name="T61" fmla="*/ 22 h 28"/>
                <a:gd name="T62" fmla="*/ 20 w 24"/>
                <a:gd name="T63" fmla="*/ 20 h 28"/>
                <a:gd name="T64" fmla="*/ 20 w 24"/>
                <a:gd name="T65" fmla="*/ 18 h 28"/>
                <a:gd name="T66" fmla="*/ 22 w 24"/>
                <a:gd name="T67" fmla="*/ 16 h 28"/>
                <a:gd name="T68" fmla="*/ 24 w 24"/>
                <a:gd name="T69" fmla="*/ 14 h 28"/>
                <a:gd name="T70" fmla="*/ 24 w 24"/>
                <a:gd name="T71" fmla="*/ 14 h 28"/>
                <a:gd name="T72" fmla="*/ 24 w 24"/>
                <a:gd name="T73" fmla="*/ 12 h 28"/>
                <a:gd name="T74" fmla="*/ 24 w 24"/>
                <a:gd name="T75" fmla="*/ 10 h 28"/>
                <a:gd name="T76" fmla="*/ 24 w 24"/>
                <a:gd name="T77" fmla="*/ 10 h 28"/>
                <a:gd name="T78" fmla="*/ 24 w 24"/>
                <a:gd name="T79" fmla="*/ 8 h 28"/>
                <a:gd name="T80" fmla="*/ 24 w 24"/>
                <a:gd name="T81" fmla="*/ 8 h 28"/>
                <a:gd name="T82" fmla="*/ 22 w 24"/>
                <a:gd name="T83" fmla="*/ 6 h 28"/>
                <a:gd name="T84" fmla="*/ 22 w 24"/>
                <a:gd name="T85" fmla="*/ 6 h 28"/>
                <a:gd name="T86" fmla="*/ 20 w 24"/>
                <a:gd name="T87" fmla="*/ 4 h 28"/>
                <a:gd name="T88" fmla="*/ 18 w 24"/>
                <a:gd name="T89" fmla="*/ 2 h 28"/>
                <a:gd name="T90" fmla="*/ 16 w 24"/>
                <a:gd name="T91" fmla="*/ 2 h 28"/>
                <a:gd name="T92" fmla="*/ 14 w 24"/>
                <a:gd name="T93" fmla="*/ 0 h 28"/>
                <a:gd name="T94" fmla="*/ 14 w 24"/>
                <a:gd name="T95" fmla="*/ 0 h 28"/>
                <a:gd name="T96" fmla="*/ 12 w 24"/>
                <a:gd name="T97" fmla="*/ 0 h 28"/>
                <a:gd name="T98" fmla="*/ 12 w 24"/>
                <a:gd name="T99" fmla="*/ 0 h 28"/>
                <a:gd name="T100" fmla="*/ 10 w 24"/>
                <a:gd name="T101" fmla="*/ 0 h 28"/>
                <a:gd name="T102" fmla="*/ 10 w 24"/>
                <a:gd name="T10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" h="28">
                  <a:moveTo>
                    <a:pt x="10" y="0"/>
                  </a:moveTo>
                  <a:lnTo>
                    <a:pt x="10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8"/>
                  </a:lnTo>
                  <a:lnTo>
                    <a:pt x="2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6" y="28"/>
                  </a:lnTo>
                  <a:lnTo>
                    <a:pt x="8" y="28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6" y="22"/>
                  </a:lnTo>
                  <a:lnTo>
                    <a:pt x="18" y="22"/>
                  </a:lnTo>
                  <a:lnTo>
                    <a:pt x="20" y="20"/>
                  </a:lnTo>
                  <a:lnTo>
                    <a:pt x="20" y="18"/>
                  </a:lnTo>
                  <a:lnTo>
                    <a:pt x="22" y="16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29" name="Freeform 304">
              <a:extLst>
                <a:ext uri="{FF2B5EF4-FFF2-40B4-BE49-F238E27FC236}">
                  <a16:creationId xmlns:a16="http://schemas.microsoft.com/office/drawing/2014/main" id="{89A63857-17F4-44BC-8837-899681376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0230" y="3247156"/>
              <a:ext cx="201595" cy="140405"/>
            </a:xfrm>
            <a:custGeom>
              <a:avLst/>
              <a:gdLst>
                <a:gd name="T0" fmla="*/ 38 w 118"/>
                <a:gd name="T1" fmla="*/ 64 h 84"/>
                <a:gd name="T2" fmla="*/ 30 w 118"/>
                <a:gd name="T3" fmla="*/ 58 h 84"/>
                <a:gd name="T4" fmla="*/ 6 w 118"/>
                <a:gd name="T5" fmla="*/ 46 h 84"/>
                <a:gd name="T6" fmla="*/ 4 w 118"/>
                <a:gd name="T7" fmla="*/ 44 h 84"/>
                <a:gd name="T8" fmla="*/ 2 w 118"/>
                <a:gd name="T9" fmla="*/ 44 h 84"/>
                <a:gd name="T10" fmla="*/ 0 w 118"/>
                <a:gd name="T11" fmla="*/ 36 h 84"/>
                <a:gd name="T12" fmla="*/ 2 w 118"/>
                <a:gd name="T13" fmla="*/ 30 h 84"/>
                <a:gd name="T14" fmla="*/ 10 w 118"/>
                <a:gd name="T15" fmla="*/ 28 h 84"/>
                <a:gd name="T16" fmla="*/ 14 w 118"/>
                <a:gd name="T17" fmla="*/ 26 h 84"/>
                <a:gd name="T18" fmla="*/ 16 w 118"/>
                <a:gd name="T19" fmla="*/ 24 h 84"/>
                <a:gd name="T20" fmla="*/ 22 w 118"/>
                <a:gd name="T21" fmla="*/ 14 h 84"/>
                <a:gd name="T22" fmla="*/ 30 w 118"/>
                <a:gd name="T23" fmla="*/ 0 h 84"/>
                <a:gd name="T24" fmla="*/ 42 w 118"/>
                <a:gd name="T25" fmla="*/ 0 h 84"/>
                <a:gd name="T26" fmla="*/ 50 w 118"/>
                <a:gd name="T27" fmla="*/ 0 h 84"/>
                <a:gd name="T28" fmla="*/ 52 w 118"/>
                <a:gd name="T29" fmla="*/ 2 h 84"/>
                <a:gd name="T30" fmla="*/ 58 w 118"/>
                <a:gd name="T31" fmla="*/ 6 h 84"/>
                <a:gd name="T32" fmla="*/ 64 w 118"/>
                <a:gd name="T33" fmla="*/ 6 h 84"/>
                <a:gd name="T34" fmla="*/ 72 w 118"/>
                <a:gd name="T35" fmla="*/ 8 h 84"/>
                <a:gd name="T36" fmla="*/ 80 w 118"/>
                <a:gd name="T37" fmla="*/ 8 h 84"/>
                <a:gd name="T38" fmla="*/ 86 w 118"/>
                <a:gd name="T39" fmla="*/ 6 h 84"/>
                <a:gd name="T40" fmla="*/ 98 w 118"/>
                <a:gd name="T41" fmla="*/ 12 h 84"/>
                <a:gd name="T42" fmla="*/ 106 w 118"/>
                <a:gd name="T43" fmla="*/ 22 h 84"/>
                <a:gd name="T44" fmla="*/ 108 w 118"/>
                <a:gd name="T45" fmla="*/ 26 h 84"/>
                <a:gd name="T46" fmla="*/ 110 w 118"/>
                <a:gd name="T47" fmla="*/ 32 h 84"/>
                <a:gd name="T48" fmla="*/ 110 w 118"/>
                <a:gd name="T49" fmla="*/ 40 h 84"/>
                <a:gd name="T50" fmla="*/ 114 w 118"/>
                <a:gd name="T51" fmla="*/ 52 h 84"/>
                <a:gd name="T52" fmla="*/ 116 w 118"/>
                <a:gd name="T53" fmla="*/ 66 h 84"/>
                <a:gd name="T54" fmla="*/ 114 w 118"/>
                <a:gd name="T55" fmla="*/ 70 h 84"/>
                <a:gd name="T56" fmla="*/ 110 w 118"/>
                <a:gd name="T57" fmla="*/ 76 h 84"/>
                <a:gd name="T58" fmla="*/ 92 w 118"/>
                <a:gd name="T59" fmla="*/ 80 h 84"/>
                <a:gd name="T60" fmla="*/ 80 w 118"/>
                <a:gd name="T61" fmla="*/ 84 h 84"/>
                <a:gd name="T62" fmla="*/ 74 w 118"/>
                <a:gd name="T63" fmla="*/ 84 h 84"/>
                <a:gd name="T64" fmla="*/ 70 w 118"/>
                <a:gd name="T65" fmla="*/ 84 h 84"/>
                <a:gd name="T66" fmla="*/ 68 w 118"/>
                <a:gd name="T67" fmla="*/ 82 h 84"/>
                <a:gd name="T68" fmla="*/ 68 w 118"/>
                <a:gd name="T69" fmla="*/ 78 h 84"/>
                <a:gd name="T70" fmla="*/ 66 w 118"/>
                <a:gd name="T71" fmla="*/ 72 h 84"/>
                <a:gd name="T72" fmla="*/ 64 w 118"/>
                <a:gd name="T73" fmla="*/ 70 h 84"/>
                <a:gd name="T74" fmla="*/ 58 w 118"/>
                <a:gd name="T75" fmla="*/ 66 h 84"/>
                <a:gd name="T76" fmla="*/ 52 w 118"/>
                <a:gd name="T77" fmla="*/ 64 h 84"/>
                <a:gd name="T78" fmla="*/ 48 w 118"/>
                <a:gd name="T79" fmla="*/ 66 h 84"/>
                <a:gd name="T80" fmla="*/ 46 w 118"/>
                <a:gd name="T81" fmla="*/ 70 h 84"/>
                <a:gd name="T82" fmla="*/ 46 w 118"/>
                <a:gd name="T83" fmla="*/ 70 h 84"/>
                <a:gd name="T84" fmla="*/ 44 w 118"/>
                <a:gd name="T85" fmla="*/ 70 h 84"/>
                <a:gd name="T86" fmla="*/ 40 w 118"/>
                <a:gd name="T87" fmla="*/ 6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84">
                  <a:moveTo>
                    <a:pt x="40" y="68"/>
                  </a:moveTo>
                  <a:lnTo>
                    <a:pt x="40" y="68"/>
                  </a:lnTo>
                  <a:lnTo>
                    <a:pt x="38" y="64"/>
                  </a:lnTo>
                  <a:lnTo>
                    <a:pt x="34" y="62"/>
                  </a:lnTo>
                  <a:lnTo>
                    <a:pt x="32" y="60"/>
                  </a:lnTo>
                  <a:lnTo>
                    <a:pt x="30" y="58"/>
                  </a:lnTo>
                  <a:lnTo>
                    <a:pt x="26" y="56"/>
                  </a:lnTo>
                  <a:lnTo>
                    <a:pt x="18" y="5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2" y="38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6" y="30"/>
                  </a:lnTo>
                  <a:lnTo>
                    <a:pt x="8" y="28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6" y="24"/>
                  </a:lnTo>
                  <a:lnTo>
                    <a:pt x="18" y="22"/>
                  </a:lnTo>
                  <a:lnTo>
                    <a:pt x="18" y="18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4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60" y="6"/>
                  </a:lnTo>
                  <a:lnTo>
                    <a:pt x="64" y="6"/>
                  </a:lnTo>
                  <a:lnTo>
                    <a:pt x="66" y="8"/>
                  </a:lnTo>
                  <a:lnTo>
                    <a:pt x="70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8" y="8"/>
                  </a:lnTo>
                  <a:lnTo>
                    <a:pt x="80" y="8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6" y="6"/>
                  </a:lnTo>
                  <a:lnTo>
                    <a:pt x="88" y="4"/>
                  </a:lnTo>
                  <a:lnTo>
                    <a:pt x="92" y="6"/>
                  </a:lnTo>
                  <a:lnTo>
                    <a:pt x="98" y="12"/>
                  </a:lnTo>
                  <a:lnTo>
                    <a:pt x="100" y="16"/>
                  </a:lnTo>
                  <a:lnTo>
                    <a:pt x="104" y="18"/>
                  </a:lnTo>
                  <a:lnTo>
                    <a:pt x="106" y="22"/>
                  </a:lnTo>
                  <a:lnTo>
                    <a:pt x="108" y="22"/>
                  </a:lnTo>
                  <a:lnTo>
                    <a:pt x="108" y="24"/>
                  </a:lnTo>
                  <a:lnTo>
                    <a:pt x="108" y="26"/>
                  </a:lnTo>
                  <a:lnTo>
                    <a:pt x="110" y="28"/>
                  </a:lnTo>
                  <a:lnTo>
                    <a:pt x="110" y="30"/>
                  </a:lnTo>
                  <a:lnTo>
                    <a:pt x="110" y="32"/>
                  </a:lnTo>
                  <a:lnTo>
                    <a:pt x="110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42"/>
                  </a:lnTo>
                  <a:lnTo>
                    <a:pt x="112" y="46"/>
                  </a:lnTo>
                  <a:lnTo>
                    <a:pt x="114" y="52"/>
                  </a:lnTo>
                  <a:lnTo>
                    <a:pt x="118" y="58"/>
                  </a:lnTo>
                  <a:lnTo>
                    <a:pt x="118" y="64"/>
                  </a:lnTo>
                  <a:lnTo>
                    <a:pt x="116" y="66"/>
                  </a:lnTo>
                  <a:lnTo>
                    <a:pt x="116" y="68"/>
                  </a:lnTo>
                  <a:lnTo>
                    <a:pt x="116" y="70"/>
                  </a:lnTo>
                  <a:lnTo>
                    <a:pt x="114" y="70"/>
                  </a:lnTo>
                  <a:lnTo>
                    <a:pt x="114" y="72"/>
                  </a:lnTo>
                  <a:lnTo>
                    <a:pt x="112" y="74"/>
                  </a:lnTo>
                  <a:lnTo>
                    <a:pt x="110" y="76"/>
                  </a:lnTo>
                  <a:lnTo>
                    <a:pt x="106" y="78"/>
                  </a:lnTo>
                  <a:lnTo>
                    <a:pt x="104" y="80"/>
                  </a:lnTo>
                  <a:lnTo>
                    <a:pt x="92" y="80"/>
                  </a:lnTo>
                  <a:lnTo>
                    <a:pt x="90" y="82"/>
                  </a:lnTo>
                  <a:lnTo>
                    <a:pt x="86" y="82"/>
                  </a:lnTo>
                  <a:lnTo>
                    <a:pt x="80" y="84"/>
                  </a:lnTo>
                  <a:lnTo>
                    <a:pt x="78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0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0"/>
                  </a:lnTo>
                  <a:lnTo>
                    <a:pt x="68" y="78"/>
                  </a:lnTo>
                  <a:lnTo>
                    <a:pt x="68" y="76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0"/>
                  </a:lnTo>
                  <a:lnTo>
                    <a:pt x="64" y="70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58" y="66"/>
                  </a:lnTo>
                  <a:lnTo>
                    <a:pt x="56" y="66"/>
                  </a:lnTo>
                  <a:lnTo>
                    <a:pt x="54" y="66"/>
                  </a:lnTo>
                  <a:lnTo>
                    <a:pt x="52" y="64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8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0" y="6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30" name="Freeform 306">
              <a:extLst>
                <a:ext uri="{FF2B5EF4-FFF2-40B4-BE49-F238E27FC236}">
                  <a16:creationId xmlns:a16="http://schemas.microsoft.com/office/drawing/2014/main" id="{44400155-FBC4-4DFF-A14E-958D56607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6562" y="2916199"/>
              <a:ext cx="177676" cy="143749"/>
            </a:xfrm>
            <a:custGeom>
              <a:avLst/>
              <a:gdLst>
                <a:gd name="T0" fmla="*/ 12 w 104"/>
                <a:gd name="T1" fmla="*/ 38 h 86"/>
                <a:gd name="T2" fmla="*/ 10 w 104"/>
                <a:gd name="T3" fmla="*/ 42 h 86"/>
                <a:gd name="T4" fmla="*/ 4 w 104"/>
                <a:gd name="T5" fmla="*/ 54 h 86"/>
                <a:gd name="T6" fmla="*/ 2 w 104"/>
                <a:gd name="T7" fmla="*/ 60 h 86"/>
                <a:gd name="T8" fmla="*/ 18 w 104"/>
                <a:gd name="T9" fmla="*/ 66 h 86"/>
                <a:gd name="T10" fmla="*/ 26 w 104"/>
                <a:gd name="T11" fmla="*/ 70 h 86"/>
                <a:gd name="T12" fmla="*/ 36 w 104"/>
                <a:gd name="T13" fmla="*/ 78 h 86"/>
                <a:gd name="T14" fmla="*/ 42 w 104"/>
                <a:gd name="T15" fmla="*/ 84 h 86"/>
                <a:gd name="T16" fmla="*/ 42 w 104"/>
                <a:gd name="T17" fmla="*/ 76 h 86"/>
                <a:gd name="T18" fmla="*/ 42 w 104"/>
                <a:gd name="T19" fmla="*/ 72 h 86"/>
                <a:gd name="T20" fmla="*/ 44 w 104"/>
                <a:gd name="T21" fmla="*/ 70 h 86"/>
                <a:gd name="T22" fmla="*/ 48 w 104"/>
                <a:gd name="T23" fmla="*/ 68 h 86"/>
                <a:gd name="T24" fmla="*/ 58 w 104"/>
                <a:gd name="T25" fmla="*/ 66 h 86"/>
                <a:gd name="T26" fmla="*/ 62 w 104"/>
                <a:gd name="T27" fmla="*/ 66 h 86"/>
                <a:gd name="T28" fmla="*/ 72 w 104"/>
                <a:gd name="T29" fmla="*/ 68 h 86"/>
                <a:gd name="T30" fmla="*/ 74 w 104"/>
                <a:gd name="T31" fmla="*/ 68 h 86"/>
                <a:gd name="T32" fmla="*/ 76 w 104"/>
                <a:gd name="T33" fmla="*/ 68 h 86"/>
                <a:gd name="T34" fmla="*/ 76 w 104"/>
                <a:gd name="T35" fmla="*/ 64 h 86"/>
                <a:gd name="T36" fmla="*/ 78 w 104"/>
                <a:gd name="T37" fmla="*/ 58 h 86"/>
                <a:gd name="T38" fmla="*/ 78 w 104"/>
                <a:gd name="T39" fmla="*/ 56 h 86"/>
                <a:gd name="T40" fmla="*/ 82 w 104"/>
                <a:gd name="T41" fmla="*/ 54 h 86"/>
                <a:gd name="T42" fmla="*/ 90 w 104"/>
                <a:gd name="T43" fmla="*/ 52 h 86"/>
                <a:gd name="T44" fmla="*/ 94 w 104"/>
                <a:gd name="T45" fmla="*/ 52 h 86"/>
                <a:gd name="T46" fmla="*/ 98 w 104"/>
                <a:gd name="T47" fmla="*/ 50 h 86"/>
                <a:gd name="T48" fmla="*/ 98 w 104"/>
                <a:gd name="T49" fmla="*/ 48 h 86"/>
                <a:gd name="T50" fmla="*/ 96 w 104"/>
                <a:gd name="T51" fmla="*/ 44 h 86"/>
                <a:gd name="T52" fmla="*/ 92 w 104"/>
                <a:gd name="T53" fmla="*/ 40 h 86"/>
                <a:gd name="T54" fmla="*/ 90 w 104"/>
                <a:gd name="T55" fmla="*/ 38 h 86"/>
                <a:gd name="T56" fmla="*/ 92 w 104"/>
                <a:gd name="T57" fmla="*/ 32 h 86"/>
                <a:gd name="T58" fmla="*/ 96 w 104"/>
                <a:gd name="T59" fmla="*/ 24 h 86"/>
                <a:gd name="T60" fmla="*/ 98 w 104"/>
                <a:gd name="T61" fmla="*/ 20 h 86"/>
                <a:gd name="T62" fmla="*/ 100 w 104"/>
                <a:gd name="T63" fmla="*/ 18 h 86"/>
                <a:gd name="T64" fmla="*/ 102 w 104"/>
                <a:gd name="T65" fmla="*/ 20 h 86"/>
                <a:gd name="T66" fmla="*/ 104 w 104"/>
                <a:gd name="T67" fmla="*/ 16 h 86"/>
                <a:gd name="T68" fmla="*/ 104 w 104"/>
                <a:gd name="T69" fmla="*/ 12 h 86"/>
                <a:gd name="T70" fmla="*/ 100 w 104"/>
                <a:gd name="T71" fmla="*/ 8 h 86"/>
                <a:gd name="T72" fmla="*/ 96 w 104"/>
                <a:gd name="T73" fmla="*/ 6 h 86"/>
                <a:gd name="T74" fmla="*/ 86 w 104"/>
                <a:gd name="T75" fmla="*/ 2 h 86"/>
                <a:gd name="T76" fmla="*/ 78 w 104"/>
                <a:gd name="T77" fmla="*/ 0 h 86"/>
                <a:gd name="T78" fmla="*/ 72 w 104"/>
                <a:gd name="T79" fmla="*/ 0 h 86"/>
                <a:gd name="T80" fmla="*/ 66 w 104"/>
                <a:gd name="T81" fmla="*/ 2 h 86"/>
                <a:gd name="T82" fmla="*/ 58 w 104"/>
                <a:gd name="T83" fmla="*/ 8 h 86"/>
                <a:gd name="T84" fmla="*/ 48 w 104"/>
                <a:gd name="T85" fmla="*/ 14 h 86"/>
                <a:gd name="T86" fmla="*/ 44 w 104"/>
                <a:gd name="T87" fmla="*/ 18 h 86"/>
                <a:gd name="T88" fmla="*/ 38 w 104"/>
                <a:gd name="T89" fmla="*/ 18 h 86"/>
                <a:gd name="T90" fmla="*/ 22 w 104"/>
                <a:gd name="T91" fmla="*/ 18 h 86"/>
                <a:gd name="T92" fmla="*/ 16 w 104"/>
                <a:gd name="T93" fmla="*/ 26 h 86"/>
                <a:gd name="T94" fmla="*/ 12 w 104"/>
                <a:gd name="T95" fmla="*/ 3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86">
                  <a:moveTo>
                    <a:pt x="12" y="36"/>
                  </a:moveTo>
                  <a:lnTo>
                    <a:pt x="12" y="36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8" y="46"/>
                  </a:lnTo>
                  <a:lnTo>
                    <a:pt x="6" y="50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2" y="60"/>
                  </a:lnTo>
                  <a:lnTo>
                    <a:pt x="10" y="62"/>
                  </a:lnTo>
                  <a:lnTo>
                    <a:pt x="14" y="64"/>
                  </a:lnTo>
                  <a:lnTo>
                    <a:pt x="18" y="66"/>
                  </a:lnTo>
                  <a:lnTo>
                    <a:pt x="20" y="66"/>
                  </a:lnTo>
                  <a:lnTo>
                    <a:pt x="24" y="68"/>
                  </a:lnTo>
                  <a:lnTo>
                    <a:pt x="26" y="70"/>
                  </a:lnTo>
                  <a:lnTo>
                    <a:pt x="28" y="72"/>
                  </a:lnTo>
                  <a:lnTo>
                    <a:pt x="32" y="74"/>
                  </a:lnTo>
                  <a:lnTo>
                    <a:pt x="36" y="78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2" y="84"/>
                  </a:lnTo>
                  <a:lnTo>
                    <a:pt x="42" y="80"/>
                  </a:lnTo>
                  <a:lnTo>
                    <a:pt x="42" y="78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6" y="68"/>
                  </a:lnTo>
                  <a:lnTo>
                    <a:pt x="48" y="68"/>
                  </a:lnTo>
                  <a:lnTo>
                    <a:pt x="50" y="66"/>
                  </a:lnTo>
                  <a:lnTo>
                    <a:pt x="54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2" y="66"/>
                  </a:lnTo>
                  <a:lnTo>
                    <a:pt x="66" y="68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4"/>
                  </a:lnTo>
                  <a:lnTo>
                    <a:pt x="78" y="62"/>
                  </a:lnTo>
                  <a:lnTo>
                    <a:pt x="78" y="60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80" y="56"/>
                  </a:lnTo>
                  <a:lnTo>
                    <a:pt x="80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90" y="52"/>
                  </a:lnTo>
                  <a:lnTo>
                    <a:pt x="92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6" y="5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6"/>
                  </a:lnTo>
                  <a:lnTo>
                    <a:pt x="98" y="46"/>
                  </a:lnTo>
                  <a:lnTo>
                    <a:pt x="96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8"/>
                  </a:lnTo>
                  <a:lnTo>
                    <a:pt x="90" y="38"/>
                  </a:lnTo>
                  <a:lnTo>
                    <a:pt x="90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2" y="30"/>
                  </a:lnTo>
                  <a:lnTo>
                    <a:pt x="94" y="26"/>
                  </a:lnTo>
                  <a:lnTo>
                    <a:pt x="96" y="24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4" y="14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2" y="10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4" y="4"/>
                  </a:lnTo>
                  <a:lnTo>
                    <a:pt x="90" y="2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58" y="8"/>
                  </a:lnTo>
                  <a:lnTo>
                    <a:pt x="54" y="10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46" y="16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30" y="18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8" y="20"/>
                  </a:lnTo>
                  <a:lnTo>
                    <a:pt x="16" y="26"/>
                  </a:lnTo>
                  <a:lnTo>
                    <a:pt x="14" y="28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6"/>
                  </a:lnTo>
                  <a:lnTo>
                    <a:pt x="12" y="3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31" name="Freeform 311">
              <a:extLst>
                <a:ext uri="{FF2B5EF4-FFF2-40B4-BE49-F238E27FC236}">
                  <a16:creationId xmlns:a16="http://schemas.microsoft.com/office/drawing/2014/main" id="{48171526-29A8-4CC5-B51D-C925053EE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4900" y="2916199"/>
              <a:ext cx="242597" cy="207266"/>
            </a:xfrm>
            <a:custGeom>
              <a:avLst/>
              <a:gdLst>
                <a:gd name="T0" fmla="*/ 26 w 142"/>
                <a:gd name="T1" fmla="*/ 124 h 124"/>
                <a:gd name="T2" fmla="*/ 64 w 142"/>
                <a:gd name="T3" fmla="*/ 122 h 124"/>
                <a:gd name="T4" fmla="*/ 94 w 142"/>
                <a:gd name="T5" fmla="*/ 118 h 124"/>
                <a:gd name="T6" fmla="*/ 108 w 142"/>
                <a:gd name="T7" fmla="*/ 116 h 124"/>
                <a:gd name="T8" fmla="*/ 116 w 142"/>
                <a:gd name="T9" fmla="*/ 112 h 124"/>
                <a:gd name="T10" fmla="*/ 122 w 142"/>
                <a:gd name="T11" fmla="*/ 102 h 124"/>
                <a:gd name="T12" fmla="*/ 128 w 142"/>
                <a:gd name="T13" fmla="*/ 86 h 124"/>
                <a:gd name="T14" fmla="*/ 134 w 142"/>
                <a:gd name="T15" fmla="*/ 74 h 124"/>
                <a:gd name="T16" fmla="*/ 138 w 142"/>
                <a:gd name="T17" fmla="*/ 70 h 124"/>
                <a:gd name="T18" fmla="*/ 140 w 142"/>
                <a:gd name="T19" fmla="*/ 64 h 124"/>
                <a:gd name="T20" fmla="*/ 142 w 142"/>
                <a:gd name="T21" fmla="*/ 50 h 124"/>
                <a:gd name="T22" fmla="*/ 142 w 142"/>
                <a:gd name="T23" fmla="*/ 34 h 124"/>
                <a:gd name="T24" fmla="*/ 138 w 142"/>
                <a:gd name="T25" fmla="*/ 22 h 124"/>
                <a:gd name="T26" fmla="*/ 134 w 142"/>
                <a:gd name="T27" fmla="*/ 14 h 124"/>
                <a:gd name="T28" fmla="*/ 124 w 142"/>
                <a:gd name="T29" fmla="*/ 10 h 124"/>
                <a:gd name="T30" fmla="*/ 102 w 142"/>
                <a:gd name="T31" fmla="*/ 2 h 124"/>
                <a:gd name="T32" fmla="*/ 90 w 142"/>
                <a:gd name="T33" fmla="*/ 6 h 124"/>
                <a:gd name="T34" fmla="*/ 86 w 142"/>
                <a:gd name="T35" fmla="*/ 8 h 124"/>
                <a:gd name="T36" fmla="*/ 80 w 142"/>
                <a:gd name="T37" fmla="*/ 6 h 124"/>
                <a:gd name="T38" fmla="*/ 72 w 142"/>
                <a:gd name="T39" fmla="*/ 2 h 124"/>
                <a:gd name="T40" fmla="*/ 70 w 142"/>
                <a:gd name="T41" fmla="*/ 4 h 124"/>
                <a:gd name="T42" fmla="*/ 68 w 142"/>
                <a:gd name="T43" fmla="*/ 8 h 124"/>
                <a:gd name="T44" fmla="*/ 64 w 142"/>
                <a:gd name="T45" fmla="*/ 20 h 124"/>
                <a:gd name="T46" fmla="*/ 62 w 142"/>
                <a:gd name="T47" fmla="*/ 20 h 124"/>
                <a:gd name="T48" fmla="*/ 58 w 142"/>
                <a:gd name="T49" fmla="*/ 22 h 124"/>
                <a:gd name="T50" fmla="*/ 54 w 142"/>
                <a:gd name="T51" fmla="*/ 28 h 124"/>
                <a:gd name="T52" fmla="*/ 52 w 142"/>
                <a:gd name="T53" fmla="*/ 38 h 124"/>
                <a:gd name="T54" fmla="*/ 52 w 142"/>
                <a:gd name="T55" fmla="*/ 42 h 124"/>
                <a:gd name="T56" fmla="*/ 58 w 142"/>
                <a:gd name="T57" fmla="*/ 48 h 124"/>
                <a:gd name="T58" fmla="*/ 58 w 142"/>
                <a:gd name="T59" fmla="*/ 50 h 124"/>
                <a:gd name="T60" fmla="*/ 56 w 142"/>
                <a:gd name="T61" fmla="*/ 52 h 124"/>
                <a:gd name="T62" fmla="*/ 46 w 142"/>
                <a:gd name="T63" fmla="*/ 54 h 124"/>
                <a:gd name="T64" fmla="*/ 40 w 142"/>
                <a:gd name="T65" fmla="*/ 56 h 124"/>
                <a:gd name="T66" fmla="*/ 38 w 142"/>
                <a:gd name="T67" fmla="*/ 60 h 124"/>
                <a:gd name="T68" fmla="*/ 36 w 142"/>
                <a:gd name="T69" fmla="*/ 66 h 124"/>
                <a:gd name="T70" fmla="*/ 36 w 142"/>
                <a:gd name="T71" fmla="*/ 68 h 124"/>
                <a:gd name="T72" fmla="*/ 32 w 142"/>
                <a:gd name="T73" fmla="*/ 70 h 124"/>
                <a:gd name="T74" fmla="*/ 20 w 142"/>
                <a:gd name="T75" fmla="*/ 66 h 124"/>
                <a:gd name="T76" fmla="*/ 10 w 142"/>
                <a:gd name="T77" fmla="*/ 68 h 124"/>
                <a:gd name="T78" fmla="*/ 4 w 142"/>
                <a:gd name="T79" fmla="*/ 70 h 124"/>
                <a:gd name="T80" fmla="*/ 2 w 142"/>
                <a:gd name="T81" fmla="*/ 74 h 124"/>
                <a:gd name="T82" fmla="*/ 2 w 142"/>
                <a:gd name="T83" fmla="*/ 80 h 124"/>
                <a:gd name="T84" fmla="*/ 2 w 142"/>
                <a:gd name="T85" fmla="*/ 92 h 124"/>
                <a:gd name="T86" fmla="*/ 2 w 142"/>
                <a:gd name="T87" fmla="*/ 102 h 124"/>
                <a:gd name="T88" fmla="*/ 4 w 142"/>
                <a:gd name="T89" fmla="*/ 106 h 124"/>
                <a:gd name="T90" fmla="*/ 6 w 142"/>
                <a:gd name="T91" fmla="*/ 106 h 124"/>
                <a:gd name="T92" fmla="*/ 12 w 142"/>
                <a:gd name="T93" fmla="*/ 106 h 124"/>
                <a:gd name="T94" fmla="*/ 14 w 142"/>
                <a:gd name="T95" fmla="*/ 108 h 124"/>
                <a:gd name="T96" fmla="*/ 14 w 142"/>
                <a:gd name="T97" fmla="*/ 11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2" h="124">
                  <a:moveTo>
                    <a:pt x="12" y="124"/>
                  </a:moveTo>
                  <a:lnTo>
                    <a:pt x="12" y="124"/>
                  </a:lnTo>
                  <a:lnTo>
                    <a:pt x="16" y="124"/>
                  </a:lnTo>
                  <a:lnTo>
                    <a:pt x="26" y="124"/>
                  </a:lnTo>
                  <a:lnTo>
                    <a:pt x="40" y="124"/>
                  </a:lnTo>
                  <a:lnTo>
                    <a:pt x="48" y="122"/>
                  </a:lnTo>
                  <a:lnTo>
                    <a:pt x="56" y="122"/>
                  </a:lnTo>
                  <a:lnTo>
                    <a:pt x="64" y="122"/>
                  </a:lnTo>
                  <a:lnTo>
                    <a:pt x="74" y="122"/>
                  </a:lnTo>
                  <a:lnTo>
                    <a:pt x="82" y="120"/>
                  </a:lnTo>
                  <a:lnTo>
                    <a:pt x="90" y="120"/>
                  </a:lnTo>
                  <a:lnTo>
                    <a:pt x="94" y="118"/>
                  </a:lnTo>
                  <a:lnTo>
                    <a:pt x="98" y="118"/>
                  </a:lnTo>
                  <a:lnTo>
                    <a:pt x="102" y="116"/>
                  </a:lnTo>
                  <a:lnTo>
                    <a:pt x="106" y="116"/>
                  </a:lnTo>
                  <a:lnTo>
                    <a:pt x="108" y="116"/>
                  </a:lnTo>
                  <a:lnTo>
                    <a:pt x="112" y="114"/>
                  </a:lnTo>
                  <a:lnTo>
                    <a:pt x="114" y="112"/>
                  </a:lnTo>
                  <a:lnTo>
                    <a:pt x="116" y="112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20" y="108"/>
                  </a:lnTo>
                  <a:lnTo>
                    <a:pt x="122" y="106"/>
                  </a:lnTo>
                  <a:lnTo>
                    <a:pt x="122" y="102"/>
                  </a:lnTo>
                  <a:lnTo>
                    <a:pt x="126" y="98"/>
                  </a:lnTo>
                  <a:lnTo>
                    <a:pt x="126" y="96"/>
                  </a:lnTo>
                  <a:lnTo>
                    <a:pt x="128" y="92"/>
                  </a:lnTo>
                  <a:lnTo>
                    <a:pt x="128" y="86"/>
                  </a:lnTo>
                  <a:lnTo>
                    <a:pt x="130" y="84"/>
                  </a:lnTo>
                  <a:lnTo>
                    <a:pt x="130" y="80"/>
                  </a:lnTo>
                  <a:lnTo>
                    <a:pt x="132" y="76"/>
                  </a:lnTo>
                  <a:lnTo>
                    <a:pt x="134" y="74"/>
                  </a:lnTo>
                  <a:lnTo>
                    <a:pt x="134" y="74"/>
                  </a:lnTo>
                  <a:lnTo>
                    <a:pt x="134" y="74"/>
                  </a:lnTo>
                  <a:lnTo>
                    <a:pt x="136" y="72"/>
                  </a:lnTo>
                  <a:lnTo>
                    <a:pt x="138" y="70"/>
                  </a:lnTo>
                  <a:lnTo>
                    <a:pt x="138" y="70"/>
                  </a:lnTo>
                  <a:lnTo>
                    <a:pt x="140" y="68"/>
                  </a:lnTo>
                  <a:lnTo>
                    <a:pt x="140" y="66"/>
                  </a:lnTo>
                  <a:lnTo>
                    <a:pt x="140" y="64"/>
                  </a:lnTo>
                  <a:lnTo>
                    <a:pt x="142" y="60"/>
                  </a:lnTo>
                  <a:lnTo>
                    <a:pt x="142" y="56"/>
                  </a:lnTo>
                  <a:lnTo>
                    <a:pt x="142" y="54"/>
                  </a:lnTo>
                  <a:lnTo>
                    <a:pt x="142" y="50"/>
                  </a:lnTo>
                  <a:lnTo>
                    <a:pt x="142" y="46"/>
                  </a:lnTo>
                  <a:lnTo>
                    <a:pt x="142" y="42"/>
                  </a:lnTo>
                  <a:lnTo>
                    <a:pt x="142" y="38"/>
                  </a:lnTo>
                  <a:lnTo>
                    <a:pt x="142" y="34"/>
                  </a:lnTo>
                  <a:lnTo>
                    <a:pt x="142" y="30"/>
                  </a:lnTo>
                  <a:lnTo>
                    <a:pt x="140" y="28"/>
                  </a:lnTo>
                  <a:lnTo>
                    <a:pt x="140" y="24"/>
                  </a:lnTo>
                  <a:lnTo>
                    <a:pt x="138" y="22"/>
                  </a:lnTo>
                  <a:lnTo>
                    <a:pt x="138" y="18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4" y="14"/>
                  </a:lnTo>
                  <a:lnTo>
                    <a:pt x="132" y="14"/>
                  </a:lnTo>
                  <a:lnTo>
                    <a:pt x="130" y="12"/>
                  </a:lnTo>
                  <a:lnTo>
                    <a:pt x="128" y="10"/>
                  </a:lnTo>
                  <a:lnTo>
                    <a:pt x="124" y="10"/>
                  </a:lnTo>
                  <a:lnTo>
                    <a:pt x="120" y="8"/>
                  </a:lnTo>
                  <a:lnTo>
                    <a:pt x="114" y="6"/>
                  </a:lnTo>
                  <a:lnTo>
                    <a:pt x="108" y="4"/>
                  </a:lnTo>
                  <a:lnTo>
                    <a:pt x="102" y="2"/>
                  </a:lnTo>
                  <a:lnTo>
                    <a:pt x="96" y="0"/>
                  </a:lnTo>
                  <a:lnTo>
                    <a:pt x="94" y="2"/>
                  </a:lnTo>
                  <a:lnTo>
                    <a:pt x="92" y="4"/>
                  </a:lnTo>
                  <a:lnTo>
                    <a:pt x="90" y="6"/>
                  </a:lnTo>
                  <a:lnTo>
                    <a:pt x="88" y="6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80" y="6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10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58" y="20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6" y="24"/>
                  </a:lnTo>
                  <a:lnTo>
                    <a:pt x="56" y="26"/>
                  </a:lnTo>
                  <a:lnTo>
                    <a:pt x="54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52" y="38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2"/>
                  </a:lnTo>
                  <a:lnTo>
                    <a:pt x="54" y="42"/>
                  </a:lnTo>
                  <a:lnTo>
                    <a:pt x="56" y="44"/>
                  </a:lnTo>
                  <a:lnTo>
                    <a:pt x="56" y="46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4" y="52"/>
                  </a:lnTo>
                  <a:lnTo>
                    <a:pt x="52" y="54"/>
                  </a:lnTo>
                  <a:lnTo>
                    <a:pt x="50" y="54"/>
                  </a:lnTo>
                  <a:lnTo>
                    <a:pt x="46" y="54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60"/>
                  </a:lnTo>
                  <a:lnTo>
                    <a:pt x="38" y="62"/>
                  </a:lnTo>
                  <a:lnTo>
                    <a:pt x="38" y="64"/>
                  </a:lnTo>
                  <a:lnTo>
                    <a:pt x="38" y="66"/>
                  </a:lnTo>
                  <a:lnTo>
                    <a:pt x="36" y="66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28" y="70"/>
                  </a:lnTo>
                  <a:lnTo>
                    <a:pt x="26" y="68"/>
                  </a:lnTo>
                  <a:lnTo>
                    <a:pt x="22" y="68"/>
                  </a:lnTo>
                  <a:lnTo>
                    <a:pt x="20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4" y="68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6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2" y="78"/>
                  </a:lnTo>
                  <a:lnTo>
                    <a:pt x="2" y="80"/>
                  </a:lnTo>
                  <a:lnTo>
                    <a:pt x="2" y="84"/>
                  </a:lnTo>
                  <a:lnTo>
                    <a:pt x="4" y="86"/>
                  </a:lnTo>
                  <a:lnTo>
                    <a:pt x="2" y="88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2" y="102"/>
                  </a:lnTo>
                  <a:lnTo>
                    <a:pt x="2" y="104"/>
                  </a:lnTo>
                  <a:lnTo>
                    <a:pt x="2" y="104"/>
                  </a:lnTo>
                  <a:lnTo>
                    <a:pt x="2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8" y="106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8"/>
                  </a:lnTo>
                  <a:lnTo>
                    <a:pt x="14" y="108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2"/>
                  </a:lnTo>
                  <a:lnTo>
                    <a:pt x="14" y="116"/>
                  </a:lnTo>
                  <a:lnTo>
                    <a:pt x="14" y="118"/>
                  </a:lnTo>
                  <a:lnTo>
                    <a:pt x="14" y="120"/>
                  </a:lnTo>
                  <a:lnTo>
                    <a:pt x="12" y="12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32" name="Freeform 313">
              <a:extLst>
                <a:ext uri="{FF2B5EF4-FFF2-40B4-BE49-F238E27FC236}">
                  <a16:creationId xmlns:a16="http://schemas.microsoft.com/office/drawing/2014/main" id="{F11310D1-5D3F-4599-86B3-2B4644223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960" y="3156895"/>
              <a:ext cx="34169" cy="30087"/>
            </a:xfrm>
            <a:custGeom>
              <a:avLst/>
              <a:gdLst>
                <a:gd name="T0" fmla="*/ 20 w 20"/>
                <a:gd name="T1" fmla="*/ 18 h 18"/>
                <a:gd name="T2" fmla="*/ 0 w 20"/>
                <a:gd name="T3" fmla="*/ 18 h 18"/>
                <a:gd name="T4" fmla="*/ 0 w 20"/>
                <a:gd name="T5" fmla="*/ 16 h 18"/>
                <a:gd name="T6" fmla="*/ 0 w 20"/>
                <a:gd name="T7" fmla="*/ 12 h 18"/>
                <a:gd name="T8" fmla="*/ 2 w 20"/>
                <a:gd name="T9" fmla="*/ 12 h 18"/>
                <a:gd name="T10" fmla="*/ 2 w 20"/>
                <a:gd name="T11" fmla="*/ 10 h 18"/>
                <a:gd name="T12" fmla="*/ 2 w 20"/>
                <a:gd name="T13" fmla="*/ 10 h 18"/>
                <a:gd name="T14" fmla="*/ 4 w 20"/>
                <a:gd name="T15" fmla="*/ 8 h 18"/>
                <a:gd name="T16" fmla="*/ 6 w 20"/>
                <a:gd name="T17" fmla="*/ 4 h 18"/>
                <a:gd name="T18" fmla="*/ 10 w 20"/>
                <a:gd name="T19" fmla="*/ 0 h 18"/>
                <a:gd name="T20" fmla="*/ 10 w 20"/>
                <a:gd name="T21" fmla="*/ 2 h 18"/>
                <a:gd name="T22" fmla="*/ 10 w 20"/>
                <a:gd name="T23" fmla="*/ 4 h 18"/>
                <a:gd name="T24" fmla="*/ 10 w 20"/>
                <a:gd name="T25" fmla="*/ 6 h 18"/>
                <a:gd name="T26" fmla="*/ 8 w 20"/>
                <a:gd name="T27" fmla="*/ 8 h 18"/>
                <a:gd name="T28" fmla="*/ 8 w 20"/>
                <a:gd name="T29" fmla="*/ 10 h 18"/>
                <a:gd name="T30" fmla="*/ 8 w 20"/>
                <a:gd name="T31" fmla="*/ 10 h 18"/>
                <a:gd name="T32" fmla="*/ 10 w 20"/>
                <a:gd name="T33" fmla="*/ 10 h 18"/>
                <a:gd name="T34" fmla="*/ 10 w 20"/>
                <a:gd name="T35" fmla="*/ 12 h 18"/>
                <a:gd name="T36" fmla="*/ 10 w 20"/>
                <a:gd name="T37" fmla="*/ 12 h 18"/>
                <a:gd name="T38" fmla="*/ 12 w 20"/>
                <a:gd name="T39" fmla="*/ 12 h 18"/>
                <a:gd name="T40" fmla="*/ 12 w 20"/>
                <a:gd name="T41" fmla="*/ 14 h 18"/>
                <a:gd name="T42" fmla="*/ 14 w 20"/>
                <a:gd name="T43" fmla="*/ 14 h 18"/>
                <a:gd name="T44" fmla="*/ 18 w 20"/>
                <a:gd name="T45" fmla="*/ 16 h 18"/>
                <a:gd name="T46" fmla="*/ 20 w 20"/>
                <a:gd name="T4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18">
                  <a:moveTo>
                    <a:pt x="20" y="18"/>
                  </a:moveTo>
                  <a:lnTo>
                    <a:pt x="0" y="18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8"/>
                  </a:lnTo>
                  <a:lnTo>
                    <a:pt x="6" y="4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8" y="16"/>
                  </a:lnTo>
                  <a:lnTo>
                    <a:pt x="20" y="1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33" name="Freeform 315">
              <a:extLst>
                <a:ext uri="{FF2B5EF4-FFF2-40B4-BE49-F238E27FC236}">
                  <a16:creationId xmlns:a16="http://schemas.microsoft.com/office/drawing/2014/main" id="{C7574B65-16CB-4D23-B1B0-3F30419CD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2053" y="3133495"/>
              <a:ext cx="177676" cy="96947"/>
            </a:xfrm>
            <a:custGeom>
              <a:avLst/>
              <a:gdLst>
                <a:gd name="T0" fmla="*/ 0 w 104"/>
                <a:gd name="T1" fmla="*/ 16 h 58"/>
                <a:gd name="T2" fmla="*/ 0 w 104"/>
                <a:gd name="T3" fmla="*/ 14 h 58"/>
                <a:gd name="T4" fmla="*/ 2 w 104"/>
                <a:gd name="T5" fmla="*/ 12 h 58"/>
                <a:gd name="T6" fmla="*/ 4 w 104"/>
                <a:gd name="T7" fmla="*/ 10 h 58"/>
                <a:gd name="T8" fmla="*/ 10 w 104"/>
                <a:gd name="T9" fmla="*/ 8 h 58"/>
                <a:gd name="T10" fmla="*/ 16 w 104"/>
                <a:gd name="T11" fmla="*/ 4 h 58"/>
                <a:gd name="T12" fmla="*/ 24 w 104"/>
                <a:gd name="T13" fmla="*/ 4 h 58"/>
                <a:gd name="T14" fmla="*/ 34 w 104"/>
                <a:gd name="T15" fmla="*/ 0 h 58"/>
                <a:gd name="T16" fmla="*/ 44 w 104"/>
                <a:gd name="T17" fmla="*/ 4 h 58"/>
                <a:gd name="T18" fmla="*/ 52 w 104"/>
                <a:gd name="T19" fmla="*/ 8 h 58"/>
                <a:gd name="T20" fmla="*/ 56 w 104"/>
                <a:gd name="T21" fmla="*/ 10 h 58"/>
                <a:gd name="T22" fmla="*/ 70 w 104"/>
                <a:gd name="T23" fmla="*/ 14 h 58"/>
                <a:gd name="T24" fmla="*/ 84 w 104"/>
                <a:gd name="T25" fmla="*/ 20 h 58"/>
                <a:gd name="T26" fmla="*/ 92 w 104"/>
                <a:gd name="T27" fmla="*/ 22 h 58"/>
                <a:gd name="T28" fmla="*/ 104 w 104"/>
                <a:gd name="T29" fmla="*/ 30 h 58"/>
                <a:gd name="T30" fmla="*/ 92 w 104"/>
                <a:gd name="T31" fmla="*/ 36 h 58"/>
                <a:gd name="T32" fmla="*/ 82 w 104"/>
                <a:gd name="T33" fmla="*/ 42 h 58"/>
                <a:gd name="T34" fmla="*/ 76 w 104"/>
                <a:gd name="T35" fmla="*/ 48 h 58"/>
                <a:gd name="T36" fmla="*/ 74 w 104"/>
                <a:gd name="T37" fmla="*/ 50 h 58"/>
                <a:gd name="T38" fmla="*/ 66 w 104"/>
                <a:gd name="T39" fmla="*/ 58 h 58"/>
                <a:gd name="T40" fmla="*/ 62 w 104"/>
                <a:gd name="T41" fmla="*/ 56 h 58"/>
                <a:gd name="T42" fmla="*/ 60 w 104"/>
                <a:gd name="T43" fmla="*/ 54 h 58"/>
                <a:gd name="T44" fmla="*/ 58 w 104"/>
                <a:gd name="T45" fmla="*/ 54 h 58"/>
                <a:gd name="T46" fmla="*/ 58 w 104"/>
                <a:gd name="T47" fmla="*/ 52 h 58"/>
                <a:gd name="T48" fmla="*/ 58 w 104"/>
                <a:gd name="T49" fmla="*/ 50 h 58"/>
                <a:gd name="T50" fmla="*/ 58 w 104"/>
                <a:gd name="T51" fmla="*/ 48 h 58"/>
                <a:gd name="T52" fmla="*/ 58 w 104"/>
                <a:gd name="T53" fmla="*/ 46 h 58"/>
                <a:gd name="T54" fmla="*/ 58 w 104"/>
                <a:gd name="T55" fmla="*/ 44 h 58"/>
                <a:gd name="T56" fmla="*/ 58 w 104"/>
                <a:gd name="T57" fmla="*/ 42 h 58"/>
                <a:gd name="T58" fmla="*/ 56 w 104"/>
                <a:gd name="T59" fmla="*/ 42 h 58"/>
                <a:gd name="T60" fmla="*/ 52 w 104"/>
                <a:gd name="T61" fmla="*/ 42 h 58"/>
                <a:gd name="T62" fmla="*/ 50 w 104"/>
                <a:gd name="T63" fmla="*/ 42 h 58"/>
                <a:gd name="T64" fmla="*/ 46 w 104"/>
                <a:gd name="T65" fmla="*/ 42 h 58"/>
                <a:gd name="T66" fmla="*/ 46 w 104"/>
                <a:gd name="T67" fmla="*/ 42 h 58"/>
                <a:gd name="T68" fmla="*/ 44 w 104"/>
                <a:gd name="T69" fmla="*/ 44 h 58"/>
                <a:gd name="T70" fmla="*/ 44 w 104"/>
                <a:gd name="T71" fmla="*/ 48 h 58"/>
                <a:gd name="T72" fmla="*/ 44 w 104"/>
                <a:gd name="T73" fmla="*/ 50 h 58"/>
                <a:gd name="T74" fmla="*/ 42 w 104"/>
                <a:gd name="T75" fmla="*/ 50 h 58"/>
                <a:gd name="T76" fmla="*/ 40 w 104"/>
                <a:gd name="T77" fmla="*/ 52 h 58"/>
                <a:gd name="T78" fmla="*/ 36 w 104"/>
                <a:gd name="T79" fmla="*/ 52 h 58"/>
                <a:gd name="T80" fmla="*/ 34 w 104"/>
                <a:gd name="T81" fmla="*/ 52 h 58"/>
                <a:gd name="T82" fmla="*/ 32 w 104"/>
                <a:gd name="T83" fmla="*/ 52 h 58"/>
                <a:gd name="T84" fmla="*/ 30 w 104"/>
                <a:gd name="T85" fmla="*/ 50 h 58"/>
                <a:gd name="T86" fmla="*/ 26 w 104"/>
                <a:gd name="T87" fmla="*/ 46 h 58"/>
                <a:gd name="T88" fmla="*/ 22 w 104"/>
                <a:gd name="T89" fmla="*/ 42 h 58"/>
                <a:gd name="T90" fmla="*/ 14 w 104"/>
                <a:gd name="T91" fmla="*/ 36 h 58"/>
                <a:gd name="T92" fmla="*/ 8 w 104"/>
                <a:gd name="T93" fmla="*/ 30 h 58"/>
                <a:gd name="T94" fmla="*/ 4 w 104"/>
                <a:gd name="T95" fmla="*/ 26 h 58"/>
                <a:gd name="T96" fmla="*/ 0 w 104"/>
                <a:gd name="T97" fmla="*/ 22 h 58"/>
                <a:gd name="T98" fmla="*/ 0 w 104"/>
                <a:gd name="T99" fmla="*/ 18 h 58"/>
                <a:gd name="T100" fmla="*/ 0 w 104"/>
                <a:gd name="T101" fmla="*/ 1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4" h="58">
                  <a:moveTo>
                    <a:pt x="0" y="16"/>
                  </a:moveTo>
                  <a:lnTo>
                    <a:pt x="0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6" y="8"/>
                  </a:lnTo>
                  <a:lnTo>
                    <a:pt x="10" y="8"/>
                  </a:lnTo>
                  <a:lnTo>
                    <a:pt x="14" y="6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6" y="10"/>
                  </a:lnTo>
                  <a:lnTo>
                    <a:pt x="60" y="12"/>
                  </a:lnTo>
                  <a:lnTo>
                    <a:pt x="70" y="14"/>
                  </a:lnTo>
                  <a:lnTo>
                    <a:pt x="80" y="18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22"/>
                  </a:lnTo>
                  <a:lnTo>
                    <a:pt x="96" y="26"/>
                  </a:lnTo>
                  <a:lnTo>
                    <a:pt x="104" y="30"/>
                  </a:lnTo>
                  <a:lnTo>
                    <a:pt x="100" y="32"/>
                  </a:lnTo>
                  <a:lnTo>
                    <a:pt x="92" y="36"/>
                  </a:lnTo>
                  <a:lnTo>
                    <a:pt x="88" y="40"/>
                  </a:lnTo>
                  <a:lnTo>
                    <a:pt x="82" y="42"/>
                  </a:lnTo>
                  <a:lnTo>
                    <a:pt x="78" y="46"/>
                  </a:lnTo>
                  <a:lnTo>
                    <a:pt x="76" y="48"/>
                  </a:lnTo>
                  <a:lnTo>
                    <a:pt x="74" y="48"/>
                  </a:lnTo>
                  <a:lnTo>
                    <a:pt x="74" y="50"/>
                  </a:lnTo>
                  <a:lnTo>
                    <a:pt x="70" y="54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2" y="56"/>
                  </a:lnTo>
                  <a:lnTo>
                    <a:pt x="60" y="56"/>
                  </a:lnTo>
                  <a:lnTo>
                    <a:pt x="60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48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60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6" y="42"/>
                  </a:lnTo>
                  <a:lnTo>
                    <a:pt x="54" y="42"/>
                  </a:lnTo>
                  <a:lnTo>
                    <a:pt x="52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4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4" y="48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2" y="50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6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18" y="38"/>
                  </a:lnTo>
                  <a:lnTo>
                    <a:pt x="14" y="36"/>
                  </a:lnTo>
                  <a:lnTo>
                    <a:pt x="10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4" y="26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34" name="Freeform 317">
              <a:extLst>
                <a:ext uri="{FF2B5EF4-FFF2-40B4-BE49-F238E27FC236}">
                  <a16:creationId xmlns:a16="http://schemas.microsoft.com/office/drawing/2014/main" id="{767A3D7E-2775-4EF8-A8E0-A8A4CC743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810" y="3176954"/>
              <a:ext cx="146925" cy="70204"/>
            </a:xfrm>
            <a:custGeom>
              <a:avLst/>
              <a:gdLst>
                <a:gd name="T0" fmla="*/ 38 w 86"/>
                <a:gd name="T1" fmla="*/ 4 h 42"/>
                <a:gd name="T2" fmla="*/ 86 w 86"/>
                <a:gd name="T3" fmla="*/ 0 h 42"/>
                <a:gd name="T4" fmla="*/ 80 w 86"/>
                <a:gd name="T5" fmla="*/ 42 h 42"/>
                <a:gd name="T6" fmla="*/ 76 w 86"/>
                <a:gd name="T7" fmla="*/ 38 h 42"/>
                <a:gd name="T8" fmla="*/ 72 w 86"/>
                <a:gd name="T9" fmla="*/ 36 h 42"/>
                <a:gd name="T10" fmla="*/ 70 w 86"/>
                <a:gd name="T11" fmla="*/ 34 h 42"/>
                <a:gd name="T12" fmla="*/ 70 w 86"/>
                <a:gd name="T13" fmla="*/ 32 h 42"/>
                <a:gd name="T14" fmla="*/ 68 w 86"/>
                <a:gd name="T15" fmla="*/ 32 h 42"/>
                <a:gd name="T16" fmla="*/ 66 w 86"/>
                <a:gd name="T17" fmla="*/ 32 h 42"/>
                <a:gd name="T18" fmla="*/ 64 w 86"/>
                <a:gd name="T19" fmla="*/ 30 h 42"/>
                <a:gd name="T20" fmla="*/ 62 w 86"/>
                <a:gd name="T21" fmla="*/ 30 h 42"/>
                <a:gd name="T22" fmla="*/ 60 w 86"/>
                <a:gd name="T23" fmla="*/ 30 h 42"/>
                <a:gd name="T24" fmla="*/ 58 w 86"/>
                <a:gd name="T25" fmla="*/ 30 h 42"/>
                <a:gd name="T26" fmla="*/ 56 w 86"/>
                <a:gd name="T27" fmla="*/ 32 h 42"/>
                <a:gd name="T28" fmla="*/ 52 w 86"/>
                <a:gd name="T29" fmla="*/ 32 h 42"/>
                <a:gd name="T30" fmla="*/ 50 w 86"/>
                <a:gd name="T31" fmla="*/ 32 h 42"/>
                <a:gd name="T32" fmla="*/ 42 w 86"/>
                <a:gd name="T33" fmla="*/ 34 h 42"/>
                <a:gd name="T34" fmla="*/ 40 w 86"/>
                <a:gd name="T35" fmla="*/ 36 h 42"/>
                <a:gd name="T36" fmla="*/ 38 w 86"/>
                <a:gd name="T37" fmla="*/ 36 h 42"/>
                <a:gd name="T38" fmla="*/ 34 w 86"/>
                <a:gd name="T39" fmla="*/ 36 h 42"/>
                <a:gd name="T40" fmla="*/ 30 w 86"/>
                <a:gd name="T41" fmla="*/ 36 h 42"/>
                <a:gd name="T42" fmla="*/ 24 w 86"/>
                <a:gd name="T43" fmla="*/ 36 h 42"/>
                <a:gd name="T44" fmla="*/ 20 w 86"/>
                <a:gd name="T45" fmla="*/ 36 h 42"/>
                <a:gd name="T46" fmla="*/ 16 w 86"/>
                <a:gd name="T47" fmla="*/ 34 h 42"/>
                <a:gd name="T48" fmla="*/ 8 w 86"/>
                <a:gd name="T49" fmla="*/ 34 h 42"/>
                <a:gd name="T50" fmla="*/ 0 w 86"/>
                <a:gd name="T51" fmla="*/ 32 h 42"/>
                <a:gd name="T52" fmla="*/ 4 w 86"/>
                <a:gd name="T53" fmla="*/ 28 h 42"/>
                <a:gd name="T54" fmla="*/ 8 w 86"/>
                <a:gd name="T55" fmla="*/ 24 h 42"/>
                <a:gd name="T56" fmla="*/ 10 w 86"/>
                <a:gd name="T57" fmla="*/ 24 h 42"/>
                <a:gd name="T58" fmla="*/ 10 w 86"/>
                <a:gd name="T59" fmla="*/ 22 h 42"/>
                <a:gd name="T60" fmla="*/ 14 w 86"/>
                <a:gd name="T61" fmla="*/ 20 h 42"/>
                <a:gd name="T62" fmla="*/ 18 w 86"/>
                <a:gd name="T63" fmla="*/ 16 h 42"/>
                <a:gd name="T64" fmla="*/ 22 w 86"/>
                <a:gd name="T65" fmla="*/ 14 h 42"/>
                <a:gd name="T66" fmla="*/ 26 w 86"/>
                <a:gd name="T67" fmla="*/ 10 h 42"/>
                <a:gd name="T68" fmla="*/ 34 w 86"/>
                <a:gd name="T69" fmla="*/ 6 h 42"/>
                <a:gd name="T70" fmla="*/ 38 w 86"/>
                <a:gd name="T71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6" h="42">
                  <a:moveTo>
                    <a:pt x="38" y="4"/>
                  </a:moveTo>
                  <a:lnTo>
                    <a:pt x="86" y="0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2" y="36"/>
                  </a:lnTo>
                  <a:lnTo>
                    <a:pt x="70" y="34"/>
                  </a:lnTo>
                  <a:lnTo>
                    <a:pt x="70" y="32"/>
                  </a:lnTo>
                  <a:lnTo>
                    <a:pt x="68" y="32"/>
                  </a:lnTo>
                  <a:lnTo>
                    <a:pt x="66" y="32"/>
                  </a:lnTo>
                  <a:lnTo>
                    <a:pt x="64" y="30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42" y="34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4" y="36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4"/>
                  </a:lnTo>
                  <a:lnTo>
                    <a:pt x="8" y="34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10" y="24"/>
                  </a:lnTo>
                  <a:lnTo>
                    <a:pt x="10" y="22"/>
                  </a:lnTo>
                  <a:lnTo>
                    <a:pt x="14" y="20"/>
                  </a:lnTo>
                  <a:lnTo>
                    <a:pt x="18" y="16"/>
                  </a:lnTo>
                  <a:lnTo>
                    <a:pt x="22" y="14"/>
                  </a:lnTo>
                  <a:lnTo>
                    <a:pt x="26" y="10"/>
                  </a:lnTo>
                  <a:lnTo>
                    <a:pt x="34" y="6"/>
                  </a:lnTo>
                  <a:lnTo>
                    <a:pt x="38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35" name="Freeform 319">
              <a:extLst>
                <a:ext uri="{FF2B5EF4-FFF2-40B4-BE49-F238E27FC236}">
                  <a16:creationId xmlns:a16="http://schemas.microsoft.com/office/drawing/2014/main" id="{9FA1F63E-7E0B-4CF4-A91A-A69D42E78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200" y="2856025"/>
              <a:ext cx="17084" cy="10029"/>
            </a:xfrm>
            <a:custGeom>
              <a:avLst/>
              <a:gdLst>
                <a:gd name="T0" fmla="*/ 0 w 10"/>
                <a:gd name="T1" fmla="*/ 2 h 6"/>
                <a:gd name="T2" fmla="*/ 0 w 10"/>
                <a:gd name="T3" fmla="*/ 2 h 6"/>
                <a:gd name="T4" fmla="*/ 0 w 10"/>
                <a:gd name="T5" fmla="*/ 2 h 6"/>
                <a:gd name="T6" fmla="*/ 0 w 10"/>
                <a:gd name="T7" fmla="*/ 2 h 6"/>
                <a:gd name="T8" fmla="*/ 0 w 10"/>
                <a:gd name="T9" fmla="*/ 4 h 6"/>
                <a:gd name="T10" fmla="*/ 0 w 10"/>
                <a:gd name="T11" fmla="*/ 4 h 6"/>
                <a:gd name="T12" fmla="*/ 0 w 10"/>
                <a:gd name="T13" fmla="*/ 6 h 6"/>
                <a:gd name="T14" fmla="*/ 0 w 10"/>
                <a:gd name="T15" fmla="*/ 6 h 6"/>
                <a:gd name="T16" fmla="*/ 2 w 10"/>
                <a:gd name="T17" fmla="*/ 6 h 6"/>
                <a:gd name="T18" fmla="*/ 2 w 10"/>
                <a:gd name="T19" fmla="*/ 6 h 6"/>
                <a:gd name="T20" fmla="*/ 2 w 10"/>
                <a:gd name="T21" fmla="*/ 6 h 6"/>
                <a:gd name="T22" fmla="*/ 2 w 10"/>
                <a:gd name="T23" fmla="*/ 6 h 6"/>
                <a:gd name="T24" fmla="*/ 4 w 10"/>
                <a:gd name="T25" fmla="*/ 6 h 6"/>
                <a:gd name="T26" fmla="*/ 6 w 10"/>
                <a:gd name="T27" fmla="*/ 6 h 6"/>
                <a:gd name="T28" fmla="*/ 6 w 10"/>
                <a:gd name="T29" fmla="*/ 6 h 6"/>
                <a:gd name="T30" fmla="*/ 8 w 10"/>
                <a:gd name="T31" fmla="*/ 4 h 6"/>
                <a:gd name="T32" fmla="*/ 8 w 10"/>
                <a:gd name="T33" fmla="*/ 4 h 6"/>
                <a:gd name="T34" fmla="*/ 10 w 10"/>
                <a:gd name="T35" fmla="*/ 2 h 6"/>
                <a:gd name="T36" fmla="*/ 10 w 10"/>
                <a:gd name="T37" fmla="*/ 2 h 6"/>
                <a:gd name="T38" fmla="*/ 10 w 10"/>
                <a:gd name="T39" fmla="*/ 2 h 6"/>
                <a:gd name="T40" fmla="*/ 10 w 10"/>
                <a:gd name="T41" fmla="*/ 2 h 6"/>
                <a:gd name="T42" fmla="*/ 8 w 10"/>
                <a:gd name="T43" fmla="*/ 0 h 6"/>
                <a:gd name="T44" fmla="*/ 8 w 10"/>
                <a:gd name="T45" fmla="*/ 0 h 6"/>
                <a:gd name="T46" fmla="*/ 6 w 10"/>
                <a:gd name="T47" fmla="*/ 0 h 6"/>
                <a:gd name="T48" fmla="*/ 4 w 10"/>
                <a:gd name="T49" fmla="*/ 0 h 6"/>
                <a:gd name="T50" fmla="*/ 4 w 10"/>
                <a:gd name="T51" fmla="*/ 0 h 6"/>
                <a:gd name="T52" fmla="*/ 2 w 10"/>
                <a:gd name="T53" fmla="*/ 0 h 6"/>
                <a:gd name="T54" fmla="*/ 2 w 10"/>
                <a:gd name="T55" fmla="*/ 2 h 6"/>
                <a:gd name="T56" fmla="*/ 0 w 10"/>
                <a:gd name="T57" fmla="*/ 2 h 6"/>
                <a:gd name="T58" fmla="*/ 0 w 10"/>
                <a:gd name="T5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" h="6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36" name="Freeform 320">
              <a:extLst>
                <a:ext uri="{FF2B5EF4-FFF2-40B4-BE49-F238E27FC236}">
                  <a16:creationId xmlns:a16="http://schemas.microsoft.com/office/drawing/2014/main" id="{1F2DCDF1-E62C-4A2D-AAC7-363956129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200" y="2856025"/>
              <a:ext cx="17084" cy="10029"/>
            </a:xfrm>
            <a:custGeom>
              <a:avLst/>
              <a:gdLst>
                <a:gd name="T0" fmla="*/ 0 w 10"/>
                <a:gd name="T1" fmla="*/ 2 h 6"/>
                <a:gd name="T2" fmla="*/ 0 w 10"/>
                <a:gd name="T3" fmla="*/ 2 h 6"/>
                <a:gd name="T4" fmla="*/ 0 w 10"/>
                <a:gd name="T5" fmla="*/ 2 h 6"/>
                <a:gd name="T6" fmla="*/ 0 w 10"/>
                <a:gd name="T7" fmla="*/ 2 h 6"/>
                <a:gd name="T8" fmla="*/ 0 w 10"/>
                <a:gd name="T9" fmla="*/ 4 h 6"/>
                <a:gd name="T10" fmla="*/ 0 w 10"/>
                <a:gd name="T11" fmla="*/ 4 h 6"/>
                <a:gd name="T12" fmla="*/ 0 w 10"/>
                <a:gd name="T13" fmla="*/ 6 h 6"/>
                <a:gd name="T14" fmla="*/ 0 w 10"/>
                <a:gd name="T15" fmla="*/ 6 h 6"/>
                <a:gd name="T16" fmla="*/ 2 w 10"/>
                <a:gd name="T17" fmla="*/ 6 h 6"/>
                <a:gd name="T18" fmla="*/ 2 w 10"/>
                <a:gd name="T19" fmla="*/ 6 h 6"/>
                <a:gd name="T20" fmla="*/ 2 w 10"/>
                <a:gd name="T21" fmla="*/ 6 h 6"/>
                <a:gd name="T22" fmla="*/ 2 w 10"/>
                <a:gd name="T23" fmla="*/ 6 h 6"/>
                <a:gd name="T24" fmla="*/ 4 w 10"/>
                <a:gd name="T25" fmla="*/ 6 h 6"/>
                <a:gd name="T26" fmla="*/ 6 w 10"/>
                <a:gd name="T27" fmla="*/ 6 h 6"/>
                <a:gd name="T28" fmla="*/ 6 w 10"/>
                <a:gd name="T29" fmla="*/ 6 h 6"/>
                <a:gd name="T30" fmla="*/ 8 w 10"/>
                <a:gd name="T31" fmla="*/ 4 h 6"/>
                <a:gd name="T32" fmla="*/ 8 w 10"/>
                <a:gd name="T33" fmla="*/ 4 h 6"/>
                <a:gd name="T34" fmla="*/ 10 w 10"/>
                <a:gd name="T35" fmla="*/ 2 h 6"/>
                <a:gd name="T36" fmla="*/ 10 w 10"/>
                <a:gd name="T37" fmla="*/ 2 h 6"/>
                <a:gd name="T38" fmla="*/ 10 w 10"/>
                <a:gd name="T39" fmla="*/ 2 h 6"/>
                <a:gd name="T40" fmla="*/ 10 w 10"/>
                <a:gd name="T41" fmla="*/ 2 h 6"/>
                <a:gd name="T42" fmla="*/ 8 w 10"/>
                <a:gd name="T43" fmla="*/ 0 h 6"/>
                <a:gd name="T44" fmla="*/ 8 w 10"/>
                <a:gd name="T45" fmla="*/ 0 h 6"/>
                <a:gd name="T46" fmla="*/ 6 w 10"/>
                <a:gd name="T47" fmla="*/ 0 h 6"/>
                <a:gd name="T48" fmla="*/ 4 w 10"/>
                <a:gd name="T49" fmla="*/ 0 h 6"/>
                <a:gd name="T50" fmla="*/ 4 w 10"/>
                <a:gd name="T51" fmla="*/ 0 h 6"/>
                <a:gd name="T52" fmla="*/ 2 w 10"/>
                <a:gd name="T53" fmla="*/ 0 h 6"/>
                <a:gd name="T54" fmla="*/ 2 w 10"/>
                <a:gd name="T55" fmla="*/ 2 h 6"/>
                <a:gd name="T56" fmla="*/ 0 w 10"/>
                <a:gd name="T57" fmla="*/ 2 h 6"/>
                <a:gd name="T58" fmla="*/ 0 w 10"/>
                <a:gd name="T5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" h="6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37" name="Freeform 321">
              <a:extLst>
                <a:ext uri="{FF2B5EF4-FFF2-40B4-BE49-F238E27FC236}">
                  <a16:creationId xmlns:a16="http://schemas.microsoft.com/office/drawing/2014/main" id="{04027442-5B4E-4381-9E09-C2AE126BA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029" y="2999774"/>
              <a:ext cx="51253" cy="46802"/>
            </a:xfrm>
            <a:custGeom>
              <a:avLst/>
              <a:gdLst>
                <a:gd name="T0" fmla="*/ 20 w 30"/>
                <a:gd name="T1" fmla="*/ 26 h 28"/>
                <a:gd name="T2" fmla="*/ 20 w 30"/>
                <a:gd name="T3" fmla="*/ 26 h 28"/>
                <a:gd name="T4" fmla="*/ 18 w 30"/>
                <a:gd name="T5" fmla="*/ 26 h 28"/>
                <a:gd name="T6" fmla="*/ 16 w 30"/>
                <a:gd name="T7" fmla="*/ 26 h 28"/>
                <a:gd name="T8" fmla="*/ 12 w 30"/>
                <a:gd name="T9" fmla="*/ 28 h 28"/>
                <a:gd name="T10" fmla="*/ 10 w 30"/>
                <a:gd name="T11" fmla="*/ 28 h 28"/>
                <a:gd name="T12" fmla="*/ 6 w 30"/>
                <a:gd name="T13" fmla="*/ 28 h 28"/>
                <a:gd name="T14" fmla="*/ 6 w 30"/>
                <a:gd name="T15" fmla="*/ 28 h 28"/>
                <a:gd name="T16" fmla="*/ 4 w 30"/>
                <a:gd name="T17" fmla="*/ 28 h 28"/>
                <a:gd name="T18" fmla="*/ 4 w 30"/>
                <a:gd name="T19" fmla="*/ 26 h 28"/>
                <a:gd name="T20" fmla="*/ 4 w 30"/>
                <a:gd name="T21" fmla="*/ 26 h 28"/>
                <a:gd name="T22" fmla="*/ 2 w 30"/>
                <a:gd name="T23" fmla="*/ 26 h 28"/>
                <a:gd name="T24" fmla="*/ 2 w 30"/>
                <a:gd name="T25" fmla="*/ 24 h 28"/>
                <a:gd name="T26" fmla="*/ 2 w 30"/>
                <a:gd name="T27" fmla="*/ 24 h 28"/>
                <a:gd name="T28" fmla="*/ 2 w 30"/>
                <a:gd name="T29" fmla="*/ 22 h 28"/>
                <a:gd name="T30" fmla="*/ 0 w 30"/>
                <a:gd name="T31" fmla="*/ 20 h 28"/>
                <a:gd name="T32" fmla="*/ 0 w 30"/>
                <a:gd name="T33" fmla="*/ 18 h 28"/>
                <a:gd name="T34" fmla="*/ 0 w 30"/>
                <a:gd name="T35" fmla="*/ 16 h 28"/>
                <a:gd name="T36" fmla="*/ 2 w 30"/>
                <a:gd name="T37" fmla="*/ 14 h 28"/>
                <a:gd name="T38" fmla="*/ 2 w 30"/>
                <a:gd name="T39" fmla="*/ 10 h 28"/>
                <a:gd name="T40" fmla="*/ 4 w 30"/>
                <a:gd name="T41" fmla="*/ 8 h 28"/>
                <a:gd name="T42" fmla="*/ 4 w 30"/>
                <a:gd name="T43" fmla="*/ 6 h 28"/>
                <a:gd name="T44" fmla="*/ 6 w 30"/>
                <a:gd name="T45" fmla="*/ 6 h 28"/>
                <a:gd name="T46" fmla="*/ 8 w 30"/>
                <a:gd name="T47" fmla="*/ 4 h 28"/>
                <a:gd name="T48" fmla="*/ 8 w 30"/>
                <a:gd name="T49" fmla="*/ 2 h 28"/>
                <a:gd name="T50" fmla="*/ 10 w 30"/>
                <a:gd name="T51" fmla="*/ 2 h 28"/>
                <a:gd name="T52" fmla="*/ 12 w 30"/>
                <a:gd name="T53" fmla="*/ 0 h 28"/>
                <a:gd name="T54" fmla="*/ 12 w 30"/>
                <a:gd name="T55" fmla="*/ 0 h 28"/>
                <a:gd name="T56" fmla="*/ 14 w 30"/>
                <a:gd name="T57" fmla="*/ 0 h 28"/>
                <a:gd name="T58" fmla="*/ 14 w 30"/>
                <a:gd name="T59" fmla="*/ 0 h 28"/>
                <a:gd name="T60" fmla="*/ 16 w 30"/>
                <a:gd name="T61" fmla="*/ 0 h 28"/>
                <a:gd name="T62" fmla="*/ 18 w 30"/>
                <a:gd name="T63" fmla="*/ 2 h 28"/>
                <a:gd name="T64" fmla="*/ 20 w 30"/>
                <a:gd name="T65" fmla="*/ 2 h 28"/>
                <a:gd name="T66" fmla="*/ 22 w 30"/>
                <a:gd name="T67" fmla="*/ 2 h 28"/>
                <a:gd name="T68" fmla="*/ 22 w 30"/>
                <a:gd name="T69" fmla="*/ 4 h 28"/>
                <a:gd name="T70" fmla="*/ 24 w 30"/>
                <a:gd name="T71" fmla="*/ 6 h 28"/>
                <a:gd name="T72" fmla="*/ 26 w 30"/>
                <a:gd name="T73" fmla="*/ 8 h 28"/>
                <a:gd name="T74" fmla="*/ 28 w 30"/>
                <a:gd name="T75" fmla="*/ 10 h 28"/>
                <a:gd name="T76" fmla="*/ 28 w 30"/>
                <a:gd name="T77" fmla="*/ 12 h 28"/>
                <a:gd name="T78" fmla="*/ 30 w 30"/>
                <a:gd name="T79" fmla="*/ 14 h 28"/>
                <a:gd name="T80" fmla="*/ 30 w 30"/>
                <a:gd name="T81" fmla="*/ 16 h 28"/>
                <a:gd name="T82" fmla="*/ 30 w 30"/>
                <a:gd name="T83" fmla="*/ 18 h 28"/>
                <a:gd name="T84" fmla="*/ 30 w 30"/>
                <a:gd name="T85" fmla="*/ 18 h 28"/>
                <a:gd name="T86" fmla="*/ 30 w 30"/>
                <a:gd name="T87" fmla="*/ 20 h 28"/>
                <a:gd name="T88" fmla="*/ 30 w 30"/>
                <a:gd name="T89" fmla="*/ 20 h 28"/>
                <a:gd name="T90" fmla="*/ 30 w 30"/>
                <a:gd name="T91" fmla="*/ 20 h 28"/>
                <a:gd name="T92" fmla="*/ 28 w 30"/>
                <a:gd name="T93" fmla="*/ 22 h 28"/>
                <a:gd name="T94" fmla="*/ 26 w 30"/>
                <a:gd name="T95" fmla="*/ 22 h 28"/>
                <a:gd name="T96" fmla="*/ 24 w 30"/>
                <a:gd name="T97" fmla="*/ 24 h 28"/>
                <a:gd name="T98" fmla="*/ 20 w 30"/>
                <a:gd name="T99" fmla="*/ 26 h 28"/>
                <a:gd name="T100" fmla="*/ 20 w 30"/>
                <a:gd name="T101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" h="28">
                  <a:moveTo>
                    <a:pt x="20" y="26"/>
                  </a:moveTo>
                  <a:lnTo>
                    <a:pt x="20" y="26"/>
                  </a:lnTo>
                  <a:lnTo>
                    <a:pt x="18" y="26"/>
                  </a:lnTo>
                  <a:lnTo>
                    <a:pt x="16" y="26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2" y="10"/>
                  </a:lnTo>
                  <a:lnTo>
                    <a:pt x="4" y="8"/>
                  </a:lnTo>
                  <a:lnTo>
                    <a:pt x="4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4" y="6"/>
                  </a:lnTo>
                  <a:lnTo>
                    <a:pt x="26" y="8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30" y="14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28" y="22"/>
                  </a:lnTo>
                  <a:lnTo>
                    <a:pt x="26" y="22"/>
                  </a:lnTo>
                  <a:lnTo>
                    <a:pt x="24" y="24"/>
                  </a:lnTo>
                  <a:lnTo>
                    <a:pt x="20" y="26"/>
                  </a:lnTo>
                  <a:lnTo>
                    <a:pt x="20" y="2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38" name="Freeform 323">
              <a:extLst>
                <a:ext uri="{FF2B5EF4-FFF2-40B4-BE49-F238E27FC236}">
                  <a16:creationId xmlns:a16="http://schemas.microsoft.com/office/drawing/2014/main" id="{6E0B2ECE-6090-4B23-885A-3BE165457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694" y="2886112"/>
              <a:ext cx="20501" cy="36774"/>
            </a:xfrm>
            <a:custGeom>
              <a:avLst/>
              <a:gdLst>
                <a:gd name="T0" fmla="*/ 10 w 12"/>
                <a:gd name="T1" fmla="*/ 0 h 22"/>
                <a:gd name="T2" fmla="*/ 10 w 12"/>
                <a:gd name="T3" fmla="*/ 0 h 22"/>
                <a:gd name="T4" fmla="*/ 10 w 12"/>
                <a:gd name="T5" fmla="*/ 0 h 22"/>
                <a:gd name="T6" fmla="*/ 10 w 12"/>
                <a:gd name="T7" fmla="*/ 0 h 22"/>
                <a:gd name="T8" fmla="*/ 10 w 12"/>
                <a:gd name="T9" fmla="*/ 0 h 22"/>
                <a:gd name="T10" fmla="*/ 8 w 12"/>
                <a:gd name="T11" fmla="*/ 0 h 22"/>
                <a:gd name="T12" fmla="*/ 8 w 12"/>
                <a:gd name="T13" fmla="*/ 0 h 22"/>
                <a:gd name="T14" fmla="*/ 6 w 12"/>
                <a:gd name="T15" fmla="*/ 2 h 22"/>
                <a:gd name="T16" fmla="*/ 4 w 12"/>
                <a:gd name="T17" fmla="*/ 2 h 22"/>
                <a:gd name="T18" fmla="*/ 2 w 12"/>
                <a:gd name="T19" fmla="*/ 4 h 22"/>
                <a:gd name="T20" fmla="*/ 2 w 12"/>
                <a:gd name="T21" fmla="*/ 6 h 22"/>
                <a:gd name="T22" fmla="*/ 0 w 12"/>
                <a:gd name="T23" fmla="*/ 6 h 22"/>
                <a:gd name="T24" fmla="*/ 0 w 12"/>
                <a:gd name="T25" fmla="*/ 8 h 22"/>
                <a:gd name="T26" fmla="*/ 0 w 12"/>
                <a:gd name="T27" fmla="*/ 8 h 22"/>
                <a:gd name="T28" fmla="*/ 0 w 12"/>
                <a:gd name="T29" fmla="*/ 10 h 22"/>
                <a:gd name="T30" fmla="*/ 0 w 12"/>
                <a:gd name="T31" fmla="*/ 12 h 22"/>
                <a:gd name="T32" fmla="*/ 0 w 12"/>
                <a:gd name="T33" fmla="*/ 12 h 22"/>
                <a:gd name="T34" fmla="*/ 0 w 12"/>
                <a:gd name="T35" fmla="*/ 14 h 22"/>
                <a:gd name="T36" fmla="*/ 0 w 12"/>
                <a:gd name="T37" fmla="*/ 16 h 22"/>
                <a:gd name="T38" fmla="*/ 0 w 12"/>
                <a:gd name="T39" fmla="*/ 16 h 22"/>
                <a:gd name="T40" fmla="*/ 0 w 12"/>
                <a:gd name="T41" fmla="*/ 16 h 22"/>
                <a:gd name="T42" fmla="*/ 0 w 12"/>
                <a:gd name="T43" fmla="*/ 18 h 22"/>
                <a:gd name="T44" fmla="*/ 2 w 12"/>
                <a:gd name="T45" fmla="*/ 20 h 22"/>
                <a:gd name="T46" fmla="*/ 2 w 12"/>
                <a:gd name="T47" fmla="*/ 20 h 22"/>
                <a:gd name="T48" fmla="*/ 4 w 12"/>
                <a:gd name="T49" fmla="*/ 20 h 22"/>
                <a:gd name="T50" fmla="*/ 4 w 12"/>
                <a:gd name="T51" fmla="*/ 22 h 22"/>
                <a:gd name="T52" fmla="*/ 4 w 12"/>
                <a:gd name="T53" fmla="*/ 22 h 22"/>
                <a:gd name="T54" fmla="*/ 6 w 12"/>
                <a:gd name="T55" fmla="*/ 22 h 22"/>
                <a:gd name="T56" fmla="*/ 6 w 12"/>
                <a:gd name="T57" fmla="*/ 20 h 22"/>
                <a:gd name="T58" fmla="*/ 8 w 12"/>
                <a:gd name="T59" fmla="*/ 20 h 22"/>
                <a:gd name="T60" fmla="*/ 8 w 12"/>
                <a:gd name="T61" fmla="*/ 18 h 22"/>
                <a:gd name="T62" fmla="*/ 10 w 12"/>
                <a:gd name="T63" fmla="*/ 18 h 22"/>
                <a:gd name="T64" fmla="*/ 10 w 12"/>
                <a:gd name="T65" fmla="*/ 16 h 22"/>
                <a:gd name="T66" fmla="*/ 12 w 12"/>
                <a:gd name="T67" fmla="*/ 14 h 22"/>
                <a:gd name="T68" fmla="*/ 12 w 12"/>
                <a:gd name="T69" fmla="*/ 12 h 22"/>
                <a:gd name="T70" fmla="*/ 12 w 12"/>
                <a:gd name="T71" fmla="*/ 12 h 22"/>
                <a:gd name="T72" fmla="*/ 12 w 12"/>
                <a:gd name="T73" fmla="*/ 10 h 22"/>
                <a:gd name="T74" fmla="*/ 12 w 12"/>
                <a:gd name="T75" fmla="*/ 8 h 22"/>
                <a:gd name="T76" fmla="*/ 12 w 12"/>
                <a:gd name="T77" fmla="*/ 6 h 22"/>
                <a:gd name="T78" fmla="*/ 12 w 12"/>
                <a:gd name="T79" fmla="*/ 6 h 22"/>
                <a:gd name="T80" fmla="*/ 12 w 12"/>
                <a:gd name="T81" fmla="*/ 4 h 22"/>
                <a:gd name="T82" fmla="*/ 12 w 12"/>
                <a:gd name="T83" fmla="*/ 2 h 22"/>
                <a:gd name="T84" fmla="*/ 12 w 12"/>
                <a:gd name="T85" fmla="*/ 2 h 22"/>
                <a:gd name="T86" fmla="*/ 12 w 12"/>
                <a:gd name="T87" fmla="*/ 0 h 22"/>
                <a:gd name="T88" fmla="*/ 12 w 12"/>
                <a:gd name="T89" fmla="*/ 0 h 22"/>
                <a:gd name="T90" fmla="*/ 10 w 12"/>
                <a:gd name="T9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" h="22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20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39" name="Freeform 325">
              <a:extLst>
                <a:ext uri="{FF2B5EF4-FFF2-40B4-BE49-F238E27FC236}">
                  <a16:creationId xmlns:a16="http://schemas.microsoft.com/office/drawing/2014/main" id="{63BADEE7-0F70-4253-AE88-708A32289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0" y="2799194"/>
              <a:ext cx="17084" cy="33429"/>
            </a:xfrm>
            <a:custGeom>
              <a:avLst/>
              <a:gdLst>
                <a:gd name="T0" fmla="*/ 6 w 10"/>
                <a:gd name="T1" fmla="*/ 0 h 20"/>
                <a:gd name="T2" fmla="*/ 6 w 10"/>
                <a:gd name="T3" fmla="*/ 0 h 20"/>
                <a:gd name="T4" fmla="*/ 6 w 10"/>
                <a:gd name="T5" fmla="*/ 0 h 20"/>
                <a:gd name="T6" fmla="*/ 6 w 10"/>
                <a:gd name="T7" fmla="*/ 0 h 20"/>
                <a:gd name="T8" fmla="*/ 6 w 10"/>
                <a:gd name="T9" fmla="*/ 0 h 20"/>
                <a:gd name="T10" fmla="*/ 4 w 10"/>
                <a:gd name="T11" fmla="*/ 2 h 20"/>
                <a:gd name="T12" fmla="*/ 4 w 10"/>
                <a:gd name="T13" fmla="*/ 2 h 20"/>
                <a:gd name="T14" fmla="*/ 2 w 10"/>
                <a:gd name="T15" fmla="*/ 4 h 20"/>
                <a:gd name="T16" fmla="*/ 2 w 10"/>
                <a:gd name="T17" fmla="*/ 4 h 20"/>
                <a:gd name="T18" fmla="*/ 0 w 10"/>
                <a:gd name="T19" fmla="*/ 6 h 20"/>
                <a:gd name="T20" fmla="*/ 0 w 10"/>
                <a:gd name="T21" fmla="*/ 8 h 20"/>
                <a:gd name="T22" fmla="*/ 0 w 10"/>
                <a:gd name="T23" fmla="*/ 10 h 20"/>
                <a:gd name="T24" fmla="*/ 0 w 10"/>
                <a:gd name="T25" fmla="*/ 10 h 20"/>
                <a:gd name="T26" fmla="*/ 0 w 10"/>
                <a:gd name="T27" fmla="*/ 12 h 20"/>
                <a:gd name="T28" fmla="*/ 0 w 10"/>
                <a:gd name="T29" fmla="*/ 12 h 20"/>
                <a:gd name="T30" fmla="*/ 0 w 10"/>
                <a:gd name="T31" fmla="*/ 14 h 20"/>
                <a:gd name="T32" fmla="*/ 0 w 10"/>
                <a:gd name="T33" fmla="*/ 16 h 20"/>
                <a:gd name="T34" fmla="*/ 0 w 10"/>
                <a:gd name="T35" fmla="*/ 16 h 20"/>
                <a:gd name="T36" fmla="*/ 2 w 10"/>
                <a:gd name="T37" fmla="*/ 18 h 20"/>
                <a:gd name="T38" fmla="*/ 2 w 10"/>
                <a:gd name="T39" fmla="*/ 18 h 20"/>
                <a:gd name="T40" fmla="*/ 2 w 10"/>
                <a:gd name="T41" fmla="*/ 18 h 20"/>
                <a:gd name="T42" fmla="*/ 4 w 10"/>
                <a:gd name="T43" fmla="*/ 20 h 20"/>
                <a:gd name="T44" fmla="*/ 4 w 10"/>
                <a:gd name="T45" fmla="*/ 20 h 20"/>
                <a:gd name="T46" fmla="*/ 6 w 10"/>
                <a:gd name="T47" fmla="*/ 20 h 20"/>
                <a:gd name="T48" fmla="*/ 6 w 10"/>
                <a:gd name="T49" fmla="*/ 20 h 20"/>
                <a:gd name="T50" fmla="*/ 6 w 10"/>
                <a:gd name="T51" fmla="*/ 20 h 20"/>
                <a:gd name="T52" fmla="*/ 8 w 10"/>
                <a:gd name="T53" fmla="*/ 20 h 20"/>
                <a:gd name="T54" fmla="*/ 8 w 10"/>
                <a:gd name="T55" fmla="*/ 18 h 20"/>
                <a:gd name="T56" fmla="*/ 8 w 10"/>
                <a:gd name="T57" fmla="*/ 18 h 20"/>
                <a:gd name="T58" fmla="*/ 10 w 10"/>
                <a:gd name="T59" fmla="*/ 18 h 20"/>
                <a:gd name="T60" fmla="*/ 10 w 10"/>
                <a:gd name="T61" fmla="*/ 16 h 20"/>
                <a:gd name="T62" fmla="*/ 10 w 10"/>
                <a:gd name="T63" fmla="*/ 14 h 20"/>
                <a:gd name="T64" fmla="*/ 10 w 10"/>
                <a:gd name="T65" fmla="*/ 14 h 20"/>
                <a:gd name="T66" fmla="*/ 10 w 10"/>
                <a:gd name="T67" fmla="*/ 12 h 20"/>
                <a:gd name="T68" fmla="*/ 10 w 10"/>
                <a:gd name="T69" fmla="*/ 10 h 20"/>
                <a:gd name="T70" fmla="*/ 10 w 10"/>
                <a:gd name="T71" fmla="*/ 8 h 20"/>
                <a:gd name="T72" fmla="*/ 10 w 10"/>
                <a:gd name="T73" fmla="*/ 6 h 20"/>
                <a:gd name="T74" fmla="*/ 10 w 10"/>
                <a:gd name="T75" fmla="*/ 4 h 20"/>
                <a:gd name="T76" fmla="*/ 10 w 10"/>
                <a:gd name="T77" fmla="*/ 4 h 20"/>
                <a:gd name="T78" fmla="*/ 8 w 10"/>
                <a:gd name="T79" fmla="*/ 2 h 20"/>
                <a:gd name="T80" fmla="*/ 8 w 10"/>
                <a:gd name="T81" fmla="*/ 2 h 20"/>
                <a:gd name="T82" fmla="*/ 8 w 10"/>
                <a:gd name="T83" fmla="*/ 0 h 20"/>
                <a:gd name="T84" fmla="*/ 6 w 10"/>
                <a:gd name="T8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" h="20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40" name="Freeform 327">
              <a:extLst>
                <a:ext uri="{FF2B5EF4-FFF2-40B4-BE49-F238E27FC236}">
                  <a16:creationId xmlns:a16="http://schemas.microsoft.com/office/drawing/2014/main" id="{7802322F-6BEA-4BA2-B6E5-6063841F6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613" y="2876084"/>
              <a:ext cx="184510" cy="307556"/>
            </a:xfrm>
            <a:custGeom>
              <a:avLst/>
              <a:gdLst>
                <a:gd name="T0" fmla="*/ 12 w 108"/>
                <a:gd name="T1" fmla="*/ 12 h 184"/>
                <a:gd name="T2" fmla="*/ 2 w 108"/>
                <a:gd name="T3" fmla="*/ 24 h 184"/>
                <a:gd name="T4" fmla="*/ 2 w 108"/>
                <a:gd name="T5" fmla="*/ 28 h 184"/>
                <a:gd name="T6" fmla="*/ 8 w 108"/>
                <a:gd name="T7" fmla="*/ 32 h 184"/>
                <a:gd name="T8" fmla="*/ 10 w 108"/>
                <a:gd name="T9" fmla="*/ 46 h 184"/>
                <a:gd name="T10" fmla="*/ 6 w 108"/>
                <a:gd name="T11" fmla="*/ 50 h 184"/>
                <a:gd name="T12" fmla="*/ 2 w 108"/>
                <a:gd name="T13" fmla="*/ 56 h 184"/>
                <a:gd name="T14" fmla="*/ 6 w 108"/>
                <a:gd name="T15" fmla="*/ 62 h 184"/>
                <a:gd name="T16" fmla="*/ 14 w 108"/>
                <a:gd name="T17" fmla="*/ 64 h 184"/>
                <a:gd name="T18" fmla="*/ 16 w 108"/>
                <a:gd name="T19" fmla="*/ 72 h 184"/>
                <a:gd name="T20" fmla="*/ 12 w 108"/>
                <a:gd name="T21" fmla="*/ 78 h 184"/>
                <a:gd name="T22" fmla="*/ 24 w 108"/>
                <a:gd name="T23" fmla="*/ 82 h 184"/>
                <a:gd name="T24" fmla="*/ 38 w 108"/>
                <a:gd name="T25" fmla="*/ 84 h 184"/>
                <a:gd name="T26" fmla="*/ 44 w 108"/>
                <a:gd name="T27" fmla="*/ 92 h 184"/>
                <a:gd name="T28" fmla="*/ 50 w 108"/>
                <a:gd name="T29" fmla="*/ 96 h 184"/>
                <a:gd name="T30" fmla="*/ 44 w 108"/>
                <a:gd name="T31" fmla="*/ 104 h 184"/>
                <a:gd name="T32" fmla="*/ 34 w 108"/>
                <a:gd name="T33" fmla="*/ 110 h 184"/>
                <a:gd name="T34" fmla="*/ 24 w 108"/>
                <a:gd name="T35" fmla="*/ 110 h 184"/>
                <a:gd name="T36" fmla="*/ 22 w 108"/>
                <a:gd name="T37" fmla="*/ 118 h 184"/>
                <a:gd name="T38" fmla="*/ 26 w 108"/>
                <a:gd name="T39" fmla="*/ 128 h 184"/>
                <a:gd name="T40" fmla="*/ 24 w 108"/>
                <a:gd name="T41" fmla="*/ 138 h 184"/>
                <a:gd name="T42" fmla="*/ 16 w 108"/>
                <a:gd name="T43" fmla="*/ 142 h 184"/>
                <a:gd name="T44" fmla="*/ 18 w 108"/>
                <a:gd name="T45" fmla="*/ 144 h 184"/>
                <a:gd name="T46" fmla="*/ 34 w 108"/>
                <a:gd name="T47" fmla="*/ 146 h 184"/>
                <a:gd name="T48" fmla="*/ 40 w 108"/>
                <a:gd name="T49" fmla="*/ 148 h 184"/>
                <a:gd name="T50" fmla="*/ 34 w 108"/>
                <a:gd name="T51" fmla="*/ 152 h 184"/>
                <a:gd name="T52" fmla="*/ 24 w 108"/>
                <a:gd name="T53" fmla="*/ 158 h 184"/>
                <a:gd name="T54" fmla="*/ 12 w 108"/>
                <a:gd name="T55" fmla="*/ 172 h 184"/>
                <a:gd name="T56" fmla="*/ 10 w 108"/>
                <a:gd name="T57" fmla="*/ 182 h 184"/>
                <a:gd name="T58" fmla="*/ 18 w 108"/>
                <a:gd name="T59" fmla="*/ 182 h 184"/>
                <a:gd name="T60" fmla="*/ 36 w 108"/>
                <a:gd name="T61" fmla="*/ 172 h 184"/>
                <a:gd name="T62" fmla="*/ 48 w 108"/>
                <a:gd name="T63" fmla="*/ 166 h 184"/>
                <a:gd name="T64" fmla="*/ 62 w 108"/>
                <a:gd name="T65" fmla="*/ 172 h 184"/>
                <a:gd name="T66" fmla="*/ 72 w 108"/>
                <a:gd name="T67" fmla="*/ 166 h 184"/>
                <a:gd name="T68" fmla="*/ 92 w 108"/>
                <a:gd name="T69" fmla="*/ 160 h 184"/>
                <a:gd name="T70" fmla="*/ 100 w 108"/>
                <a:gd name="T71" fmla="*/ 156 h 184"/>
                <a:gd name="T72" fmla="*/ 92 w 108"/>
                <a:gd name="T73" fmla="*/ 152 h 184"/>
                <a:gd name="T74" fmla="*/ 88 w 108"/>
                <a:gd name="T75" fmla="*/ 146 h 184"/>
                <a:gd name="T76" fmla="*/ 96 w 108"/>
                <a:gd name="T77" fmla="*/ 142 h 184"/>
                <a:gd name="T78" fmla="*/ 104 w 108"/>
                <a:gd name="T79" fmla="*/ 144 h 184"/>
                <a:gd name="T80" fmla="*/ 108 w 108"/>
                <a:gd name="T81" fmla="*/ 134 h 184"/>
                <a:gd name="T82" fmla="*/ 106 w 108"/>
                <a:gd name="T83" fmla="*/ 122 h 184"/>
                <a:gd name="T84" fmla="*/ 94 w 108"/>
                <a:gd name="T85" fmla="*/ 118 h 184"/>
                <a:gd name="T86" fmla="*/ 86 w 108"/>
                <a:gd name="T87" fmla="*/ 114 h 184"/>
                <a:gd name="T88" fmla="*/ 84 w 108"/>
                <a:gd name="T89" fmla="*/ 98 h 184"/>
                <a:gd name="T90" fmla="*/ 82 w 108"/>
                <a:gd name="T91" fmla="*/ 90 h 184"/>
                <a:gd name="T92" fmla="*/ 74 w 108"/>
                <a:gd name="T93" fmla="*/ 88 h 184"/>
                <a:gd name="T94" fmla="*/ 74 w 108"/>
                <a:gd name="T95" fmla="*/ 80 h 184"/>
                <a:gd name="T96" fmla="*/ 74 w 108"/>
                <a:gd name="T97" fmla="*/ 74 h 184"/>
                <a:gd name="T98" fmla="*/ 66 w 108"/>
                <a:gd name="T99" fmla="*/ 72 h 184"/>
                <a:gd name="T100" fmla="*/ 66 w 108"/>
                <a:gd name="T101" fmla="*/ 66 h 184"/>
                <a:gd name="T102" fmla="*/ 68 w 108"/>
                <a:gd name="T103" fmla="*/ 54 h 184"/>
                <a:gd name="T104" fmla="*/ 58 w 108"/>
                <a:gd name="T105" fmla="*/ 48 h 184"/>
                <a:gd name="T106" fmla="*/ 44 w 108"/>
                <a:gd name="T107" fmla="*/ 38 h 184"/>
                <a:gd name="T108" fmla="*/ 46 w 108"/>
                <a:gd name="T109" fmla="*/ 36 h 184"/>
                <a:gd name="T110" fmla="*/ 56 w 108"/>
                <a:gd name="T111" fmla="*/ 34 h 184"/>
                <a:gd name="T112" fmla="*/ 58 w 108"/>
                <a:gd name="T113" fmla="*/ 22 h 184"/>
                <a:gd name="T114" fmla="*/ 54 w 108"/>
                <a:gd name="T115" fmla="*/ 16 h 184"/>
                <a:gd name="T116" fmla="*/ 40 w 108"/>
                <a:gd name="T117" fmla="*/ 20 h 184"/>
                <a:gd name="T118" fmla="*/ 34 w 108"/>
                <a:gd name="T119" fmla="*/ 16 h 184"/>
                <a:gd name="T120" fmla="*/ 36 w 108"/>
                <a:gd name="T121" fmla="*/ 2 h 184"/>
                <a:gd name="T122" fmla="*/ 28 w 108"/>
                <a:gd name="T12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" h="18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8" y="18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2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6" y="50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4" y="62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8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4" y="74"/>
                  </a:lnTo>
                  <a:lnTo>
                    <a:pt x="14" y="76"/>
                  </a:lnTo>
                  <a:lnTo>
                    <a:pt x="12" y="76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20" y="82"/>
                  </a:lnTo>
                  <a:lnTo>
                    <a:pt x="24" y="82"/>
                  </a:lnTo>
                  <a:lnTo>
                    <a:pt x="28" y="82"/>
                  </a:lnTo>
                  <a:lnTo>
                    <a:pt x="32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6" y="82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38" y="86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6" y="94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8" y="100"/>
                  </a:lnTo>
                  <a:lnTo>
                    <a:pt x="48" y="102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4" y="106"/>
                  </a:lnTo>
                  <a:lnTo>
                    <a:pt x="42" y="106"/>
                  </a:lnTo>
                  <a:lnTo>
                    <a:pt x="40" y="108"/>
                  </a:lnTo>
                  <a:lnTo>
                    <a:pt x="38" y="108"/>
                  </a:lnTo>
                  <a:lnTo>
                    <a:pt x="36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2" y="110"/>
                  </a:lnTo>
                  <a:lnTo>
                    <a:pt x="30" y="110"/>
                  </a:lnTo>
                  <a:lnTo>
                    <a:pt x="28" y="110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2"/>
                  </a:lnTo>
                  <a:lnTo>
                    <a:pt x="22" y="114"/>
                  </a:lnTo>
                  <a:lnTo>
                    <a:pt x="22" y="116"/>
                  </a:lnTo>
                  <a:lnTo>
                    <a:pt x="22" y="116"/>
                  </a:lnTo>
                  <a:lnTo>
                    <a:pt x="22" y="118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4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6" y="128"/>
                  </a:lnTo>
                  <a:lnTo>
                    <a:pt x="28" y="128"/>
                  </a:lnTo>
                  <a:lnTo>
                    <a:pt x="26" y="130"/>
                  </a:lnTo>
                  <a:lnTo>
                    <a:pt x="26" y="132"/>
                  </a:lnTo>
                  <a:lnTo>
                    <a:pt x="26" y="132"/>
                  </a:lnTo>
                  <a:lnTo>
                    <a:pt x="26" y="136"/>
                  </a:lnTo>
                  <a:lnTo>
                    <a:pt x="24" y="136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22" y="138"/>
                  </a:lnTo>
                  <a:lnTo>
                    <a:pt x="20" y="140"/>
                  </a:lnTo>
                  <a:lnTo>
                    <a:pt x="18" y="140"/>
                  </a:lnTo>
                  <a:lnTo>
                    <a:pt x="18" y="142"/>
                  </a:lnTo>
                  <a:lnTo>
                    <a:pt x="18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20" y="146"/>
                  </a:lnTo>
                  <a:lnTo>
                    <a:pt x="22" y="146"/>
                  </a:lnTo>
                  <a:lnTo>
                    <a:pt x="24" y="146"/>
                  </a:lnTo>
                  <a:lnTo>
                    <a:pt x="28" y="146"/>
                  </a:lnTo>
                  <a:lnTo>
                    <a:pt x="32" y="146"/>
                  </a:lnTo>
                  <a:lnTo>
                    <a:pt x="34" y="146"/>
                  </a:lnTo>
                  <a:lnTo>
                    <a:pt x="34" y="146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0"/>
                  </a:lnTo>
                  <a:lnTo>
                    <a:pt x="38" y="150"/>
                  </a:lnTo>
                  <a:lnTo>
                    <a:pt x="38" y="152"/>
                  </a:lnTo>
                  <a:lnTo>
                    <a:pt x="38" y="152"/>
                  </a:lnTo>
                  <a:lnTo>
                    <a:pt x="36" y="152"/>
                  </a:lnTo>
                  <a:lnTo>
                    <a:pt x="36" y="152"/>
                  </a:lnTo>
                  <a:lnTo>
                    <a:pt x="34" y="152"/>
                  </a:lnTo>
                  <a:lnTo>
                    <a:pt x="32" y="152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28" y="154"/>
                  </a:lnTo>
                  <a:lnTo>
                    <a:pt x="28" y="154"/>
                  </a:lnTo>
                  <a:lnTo>
                    <a:pt x="26" y="156"/>
                  </a:lnTo>
                  <a:lnTo>
                    <a:pt x="24" y="158"/>
                  </a:lnTo>
                  <a:lnTo>
                    <a:pt x="22" y="160"/>
                  </a:lnTo>
                  <a:lnTo>
                    <a:pt x="20" y="162"/>
                  </a:lnTo>
                  <a:lnTo>
                    <a:pt x="18" y="164"/>
                  </a:lnTo>
                  <a:lnTo>
                    <a:pt x="16" y="168"/>
                  </a:lnTo>
                  <a:lnTo>
                    <a:pt x="14" y="170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8"/>
                  </a:lnTo>
                  <a:lnTo>
                    <a:pt x="10" y="180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4" y="184"/>
                  </a:lnTo>
                  <a:lnTo>
                    <a:pt x="14" y="184"/>
                  </a:lnTo>
                  <a:lnTo>
                    <a:pt x="16" y="182"/>
                  </a:lnTo>
                  <a:lnTo>
                    <a:pt x="18" y="182"/>
                  </a:lnTo>
                  <a:lnTo>
                    <a:pt x="20" y="180"/>
                  </a:lnTo>
                  <a:lnTo>
                    <a:pt x="24" y="178"/>
                  </a:lnTo>
                  <a:lnTo>
                    <a:pt x="28" y="176"/>
                  </a:lnTo>
                  <a:lnTo>
                    <a:pt x="30" y="176"/>
                  </a:lnTo>
                  <a:lnTo>
                    <a:pt x="32" y="174"/>
                  </a:lnTo>
                  <a:lnTo>
                    <a:pt x="34" y="174"/>
                  </a:lnTo>
                  <a:lnTo>
                    <a:pt x="36" y="172"/>
                  </a:lnTo>
                  <a:lnTo>
                    <a:pt x="38" y="170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4" y="166"/>
                  </a:lnTo>
                  <a:lnTo>
                    <a:pt x="46" y="166"/>
                  </a:lnTo>
                  <a:lnTo>
                    <a:pt x="46" y="166"/>
                  </a:lnTo>
                  <a:lnTo>
                    <a:pt x="48" y="166"/>
                  </a:lnTo>
                  <a:lnTo>
                    <a:pt x="50" y="168"/>
                  </a:lnTo>
                  <a:lnTo>
                    <a:pt x="52" y="168"/>
                  </a:lnTo>
                  <a:lnTo>
                    <a:pt x="56" y="170"/>
                  </a:lnTo>
                  <a:lnTo>
                    <a:pt x="58" y="170"/>
                  </a:lnTo>
                  <a:lnTo>
                    <a:pt x="60" y="170"/>
                  </a:lnTo>
                  <a:lnTo>
                    <a:pt x="62" y="172"/>
                  </a:lnTo>
                  <a:lnTo>
                    <a:pt x="62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6" y="172"/>
                  </a:lnTo>
                  <a:lnTo>
                    <a:pt x="66" y="170"/>
                  </a:lnTo>
                  <a:lnTo>
                    <a:pt x="68" y="170"/>
                  </a:lnTo>
                  <a:lnTo>
                    <a:pt x="70" y="168"/>
                  </a:lnTo>
                  <a:lnTo>
                    <a:pt x="72" y="166"/>
                  </a:lnTo>
                  <a:lnTo>
                    <a:pt x="76" y="164"/>
                  </a:lnTo>
                  <a:lnTo>
                    <a:pt x="78" y="162"/>
                  </a:lnTo>
                  <a:lnTo>
                    <a:pt x="80" y="162"/>
                  </a:lnTo>
                  <a:lnTo>
                    <a:pt x="82" y="162"/>
                  </a:lnTo>
                  <a:lnTo>
                    <a:pt x="82" y="160"/>
                  </a:lnTo>
                  <a:lnTo>
                    <a:pt x="84" y="160"/>
                  </a:lnTo>
                  <a:lnTo>
                    <a:pt x="92" y="160"/>
                  </a:lnTo>
                  <a:lnTo>
                    <a:pt x="94" y="160"/>
                  </a:lnTo>
                  <a:lnTo>
                    <a:pt x="96" y="160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100" y="158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100" y="156"/>
                  </a:lnTo>
                  <a:lnTo>
                    <a:pt x="98" y="154"/>
                  </a:lnTo>
                  <a:lnTo>
                    <a:pt x="98" y="154"/>
                  </a:lnTo>
                  <a:lnTo>
                    <a:pt x="96" y="154"/>
                  </a:lnTo>
                  <a:lnTo>
                    <a:pt x="94" y="152"/>
                  </a:lnTo>
                  <a:lnTo>
                    <a:pt x="92" y="152"/>
                  </a:lnTo>
                  <a:lnTo>
                    <a:pt x="90" y="150"/>
                  </a:lnTo>
                  <a:lnTo>
                    <a:pt x="90" y="150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4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6" y="142"/>
                  </a:lnTo>
                  <a:lnTo>
                    <a:pt x="100" y="144"/>
                  </a:lnTo>
                  <a:lnTo>
                    <a:pt x="100" y="144"/>
                  </a:lnTo>
                  <a:lnTo>
                    <a:pt x="102" y="144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6" y="140"/>
                  </a:lnTo>
                  <a:lnTo>
                    <a:pt x="106" y="140"/>
                  </a:lnTo>
                  <a:lnTo>
                    <a:pt x="108" y="138"/>
                  </a:lnTo>
                  <a:lnTo>
                    <a:pt x="108" y="136"/>
                  </a:lnTo>
                  <a:lnTo>
                    <a:pt x="108" y="134"/>
                  </a:lnTo>
                  <a:lnTo>
                    <a:pt x="108" y="132"/>
                  </a:lnTo>
                  <a:lnTo>
                    <a:pt x="108" y="130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6" y="124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6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2" y="118"/>
                  </a:lnTo>
                  <a:lnTo>
                    <a:pt x="100" y="118"/>
                  </a:lnTo>
                  <a:lnTo>
                    <a:pt x="96" y="118"/>
                  </a:lnTo>
                  <a:lnTo>
                    <a:pt x="94" y="118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88" y="116"/>
                  </a:lnTo>
                  <a:lnTo>
                    <a:pt x="88" y="116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6" y="112"/>
                  </a:lnTo>
                  <a:lnTo>
                    <a:pt x="86" y="110"/>
                  </a:lnTo>
                  <a:lnTo>
                    <a:pt x="86" y="108"/>
                  </a:lnTo>
                  <a:lnTo>
                    <a:pt x="86" y="104"/>
                  </a:lnTo>
                  <a:lnTo>
                    <a:pt x="86" y="102"/>
                  </a:lnTo>
                  <a:lnTo>
                    <a:pt x="86" y="100"/>
                  </a:lnTo>
                  <a:lnTo>
                    <a:pt x="84" y="98"/>
                  </a:lnTo>
                  <a:lnTo>
                    <a:pt x="84" y="96"/>
                  </a:lnTo>
                  <a:lnTo>
                    <a:pt x="84" y="94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4"/>
                  </a:lnTo>
                  <a:lnTo>
                    <a:pt x="72" y="82"/>
                  </a:lnTo>
                  <a:lnTo>
                    <a:pt x="74" y="80"/>
                  </a:lnTo>
                  <a:lnTo>
                    <a:pt x="74" y="78"/>
                  </a:lnTo>
                  <a:lnTo>
                    <a:pt x="74" y="78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2" y="74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68" y="74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68"/>
                  </a:lnTo>
                  <a:lnTo>
                    <a:pt x="66" y="66"/>
                  </a:lnTo>
                  <a:lnTo>
                    <a:pt x="66" y="64"/>
                  </a:lnTo>
                  <a:lnTo>
                    <a:pt x="66" y="60"/>
                  </a:lnTo>
                  <a:lnTo>
                    <a:pt x="68" y="58"/>
                  </a:lnTo>
                  <a:lnTo>
                    <a:pt x="68" y="58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6" y="54"/>
                  </a:lnTo>
                  <a:lnTo>
                    <a:pt x="66" y="52"/>
                  </a:lnTo>
                  <a:lnTo>
                    <a:pt x="64" y="50"/>
                  </a:lnTo>
                  <a:lnTo>
                    <a:pt x="62" y="50"/>
                  </a:lnTo>
                  <a:lnTo>
                    <a:pt x="60" y="48"/>
                  </a:lnTo>
                  <a:lnTo>
                    <a:pt x="58" y="48"/>
                  </a:lnTo>
                  <a:lnTo>
                    <a:pt x="54" y="46"/>
                  </a:lnTo>
                  <a:lnTo>
                    <a:pt x="50" y="44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8" y="34"/>
                  </a:lnTo>
                  <a:lnTo>
                    <a:pt x="50" y="34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6" y="34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8" y="30"/>
                  </a:lnTo>
                  <a:lnTo>
                    <a:pt x="58" y="28"/>
                  </a:lnTo>
                  <a:lnTo>
                    <a:pt x="58" y="26"/>
                  </a:lnTo>
                  <a:lnTo>
                    <a:pt x="58" y="24"/>
                  </a:lnTo>
                  <a:lnTo>
                    <a:pt x="58" y="22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6" y="18"/>
                  </a:lnTo>
                  <a:lnTo>
                    <a:pt x="56" y="16"/>
                  </a:lnTo>
                  <a:lnTo>
                    <a:pt x="54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0" y="18"/>
                  </a:lnTo>
                  <a:lnTo>
                    <a:pt x="46" y="18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4" y="12"/>
                  </a:lnTo>
                  <a:lnTo>
                    <a:pt x="34" y="10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4" y="2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41" name="Freeform 329">
              <a:extLst>
                <a:ext uri="{FF2B5EF4-FFF2-40B4-BE49-F238E27FC236}">
                  <a16:creationId xmlns:a16="http://schemas.microsoft.com/office/drawing/2014/main" id="{CC87E305-A173-4F8D-B182-7359D6440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0571" y="3253842"/>
              <a:ext cx="82005" cy="96947"/>
            </a:xfrm>
            <a:custGeom>
              <a:avLst/>
              <a:gdLst>
                <a:gd name="T0" fmla="*/ 0 w 48"/>
                <a:gd name="T1" fmla="*/ 0 h 58"/>
                <a:gd name="T2" fmla="*/ 8 w 48"/>
                <a:gd name="T3" fmla="*/ 0 h 58"/>
                <a:gd name="T4" fmla="*/ 14 w 48"/>
                <a:gd name="T5" fmla="*/ 0 h 58"/>
                <a:gd name="T6" fmla="*/ 18 w 48"/>
                <a:gd name="T7" fmla="*/ 0 h 58"/>
                <a:gd name="T8" fmla="*/ 20 w 48"/>
                <a:gd name="T9" fmla="*/ 0 h 58"/>
                <a:gd name="T10" fmla="*/ 24 w 48"/>
                <a:gd name="T11" fmla="*/ 2 h 58"/>
                <a:gd name="T12" fmla="*/ 28 w 48"/>
                <a:gd name="T13" fmla="*/ 4 h 58"/>
                <a:gd name="T14" fmla="*/ 30 w 48"/>
                <a:gd name="T15" fmla="*/ 6 h 58"/>
                <a:gd name="T16" fmla="*/ 36 w 48"/>
                <a:gd name="T17" fmla="*/ 12 h 58"/>
                <a:gd name="T18" fmla="*/ 42 w 48"/>
                <a:gd name="T19" fmla="*/ 20 h 58"/>
                <a:gd name="T20" fmla="*/ 46 w 48"/>
                <a:gd name="T21" fmla="*/ 28 h 58"/>
                <a:gd name="T22" fmla="*/ 48 w 48"/>
                <a:gd name="T23" fmla="*/ 30 h 58"/>
                <a:gd name="T24" fmla="*/ 48 w 48"/>
                <a:gd name="T25" fmla="*/ 34 h 58"/>
                <a:gd name="T26" fmla="*/ 48 w 48"/>
                <a:gd name="T27" fmla="*/ 36 h 58"/>
                <a:gd name="T28" fmla="*/ 48 w 48"/>
                <a:gd name="T29" fmla="*/ 40 h 58"/>
                <a:gd name="T30" fmla="*/ 46 w 48"/>
                <a:gd name="T31" fmla="*/ 46 h 58"/>
                <a:gd name="T32" fmla="*/ 42 w 48"/>
                <a:gd name="T33" fmla="*/ 52 h 58"/>
                <a:gd name="T34" fmla="*/ 40 w 48"/>
                <a:gd name="T35" fmla="*/ 56 h 58"/>
                <a:gd name="T36" fmla="*/ 38 w 48"/>
                <a:gd name="T37" fmla="*/ 52 h 58"/>
                <a:gd name="T38" fmla="*/ 36 w 48"/>
                <a:gd name="T39" fmla="*/ 48 h 58"/>
                <a:gd name="T40" fmla="*/ 34 w 48"/>
                <a:gd name="T41" fmla="*/ 48 h 58"/>
                <a:gd name="T42" fmla="*/ 34 w 48"/>
                <a:gd name="T43" fmla="*/ 48 h 58"/>
                <a:gd name="T44" fmla="*/ 32 w 48"/>
                <a:gd name="T45" fmla="*/ 48 h 58"/>
                <a:gd name="T46" fmla="*/ 30 w 48"/>
                <a:gd name="T47" fmla="*/ 50 h 58"/>
                <a:gd name="T48" fmla="*/ 30 w 48"/>
                <a:gd name="T49" fmla="*/ 54 h 58"/>
                <a:gd name="T50" fmla="*/ 26 w 48"/>
                <a:gd name="T51" fmla="*/ 48 h 58"/>
                <a:gd name="T52" fmla="*/ 22 w 48"/>
                <a:gd name="T53" fmla="*/ 40 h 58"/>
                <a:gd name="T54" fmla="*/ 22 w 48"/>
                <a:gd name="T55" fmla="*/ 36 h 58"/>
                <a:gd name="T56" fmla="*/ 22 w 48"/>
                <a:gd name="T57" fmla="*/ 28 h 58"/>
                <a:gd name="T58" fmla="*/ 20 w 48"/>
                <a:gd name="T59" fmla="*/ 24 h 58"/>
                <a:gd name="T60" fmla="*/ 20 w 48"/>
                <a:gd name="T61" fmla="*/ 20 h 58"/>
                <a:gd name="T62" fmla="*/ 18 w 48"/>
                <a:gd name="T63" fmla="*/ 18 h 58"/>
                <a:gd name="T64" fmla="*/ 12 w 48"/>
                <a:gd name="T65" fmla="*/ 12 h 58"/>
                <a:gd name="T66" fmla="*/ 2 w 48"/>
                <a:gd name="T67" fmla="*/ 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" h="58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4" y="10"/>
                  </a:lnTo>
                  <a:lnTo>
                    <a:pt x="36" y="12"/>
                  </a:lnTo>
                  <a:lnTo>
                    <a:pt x="38" y="16"/>
                  </a:lnTo>
                  <a:lnTo>
                    <a:pt x="42" y="20"/>
                  </a:lnTo>
                  <a:lnTo>
                    <a:pt x="44" y="24"/>
                  </a:lnTo>
                  <a:lnTo>
                    <a:pt x="46" y="28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8"/>
                  </a:lnTo>
                  <a:lnTo>
                    <a:pt x="48" y="40"/>
                  </a:lnTo>
                  <a:lnTo>
                    <a:pt x="46" y="42"/>
                  </a:lnTo>
                  <a:lnTo>
                    <a:pt x="46" y="46"/>
                  </a:lnTo>
                  <a:lnTo>
                    <a:pt x="44" y="48"/>
                  </a:lnTo>
                  <a:lnTo>
                    <a:pt x="42" y="52"/>
                  </a:lnTo>
                  <a:lnTo>
                    <a:pt x="40" y="58"/>
                  </a:lnTo>
                  <a:lnTo>
                    <a:pt x="40" y="56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0" y="50"/>
                  </a:lnTo>
                  <a:lnTo>
                    <a:pt x="30" y="52"/>
                  </a:lnTo>
                  <a:lnTo>
                    <a:pt x="30" y="54"/>
                  </a:lnTo>
                  <a:lnTo>
                    <a:pt x="30" y="56"/>
                  </a:lnTo>
                  <a:lnTo>
                    <a:pt x="26" y="48"/>
                  </a:lnTo>
                  <a:lnTo>
                    <a:pt x="24" y="42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2" y="28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18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2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42" name="Freeform 331">
              <a:extLst>
                <a:ext uri="{FF2B5EF4-FFF2-40B4-BE49-F238E27FC236}">
                  <a16:creationId xmlns:a16="http://schemas.microsoft.com/office/drawing/2014/main" id="{5B1DEE43-641C-4528-877D-3550B1609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0070" y="3444394"/>
              <a:ext cx="54669" cy="36774"/>
            </a:xfrm>
            <a:custGeom>
              <a:avLst/>
              <a:gdLst>
                <a:gd name="T0" fmla="*/ 6 w 32"/>
                <a:gd name="T1" fmla="*/ 20 h 22"/>
                <a:gd name="T2" fmla="*/ 6 w 32"/>
                <a:gd name="T3" fmla="*/ 20 h 22"/>
                <a:gd name="T4" fmla="*/ 8 w 32"/>
                <a:gd name="T5" fmla="*/ 20 h 22"/>
                <a:gd name="T6" fmla="*/ 10 w 32"/>
                <a:gd name="T7" fmla="*/ 22 h 22"/>
                <a:gd name="T8" fmla="*/ 12 w 32"/>
                <a:gd name="T9" fmla="*/ 22 h 22"/>
                <a:gd name="T10" fmla="*/ 14 w 32"/>
                <a:gd name="T11" fmla="*/ 22 h 22"/>
                <a:gd name="T12" fmla="*/ 14 w 32"/>
                <a:gd name="T13" fmla="*/ 22 h 22"/>
                <a:gd name="T14" fmla="*/ 16 w 32"/>
                <a:gd name="T15" fmla="*/ 22 h 22"/>
                <a:gd name="T16" fmla="*/ 18 w 32"/>
                <a:gd name="T17" fmla="*/ 22 h 22"/>
                <a:gd name="T18" fmla="*/ 20 w 32"/>
                <a:gd name="T19" fmla="*/ 20 h 22"/>
                <a:gd name="T20" fmla="*/ 22 w 32"/>
                <a:gd name="T21" fmla="*/ 20 h 22"/>
                <a:gd name="T22" fmla="*/ 24 w 32"/>
                <a:gd name="T23" fmla="*/ 18 h 22"/>
                <a:gd name="T24" fmla="*/ 24 w 32"/>
                <a:gd name="T25" fmla="*/ 18 h 22"/>
                <a:gd name="T26" fmla="*/ 26 w 32"/>
                <a:gd name="T27" fmla="*/ 16 h 22"/>
                <a:gd name="T28" fmla="*/ 28 w 32"/>
                <a:gd name="T29" fmla="*/ 14 h 22"/>
                <a:gd name="T30" fmla="*/ 30 w 32"/>
                <a:gd name="T31" fmla="*/ 14 h 22"/>
                <a:gd name="T32" fmla="*/ 30 w 32"/>
                <a:gd name="T33" fmla="*/ 12 h 22"/>
                <a:gd name="T34" fmla="*/ 30 w 32"/>
                <a:gd name="T35" fmla="*/ 12 h 22"/>
                <a:gd name="T36" fmla="*/ 30 w 32"/>
                <a:gd name="T37" fmla="*/ 10 h 22"/>
                <a:gd name="T38" fmla="*/ 32 w 32"/>
                <a:gd name="T39" fmla="*/ 10 h 22"/>
                <a:gd name="T40" fmla="*/ 30 w 32"/>
                <a:gd name="T41" fmla="*/ 10 h 22"/>
                <a:gd name="T42" fmla="*/ 30 w 32"/>
                <a:gd name="T43" fmla="*/ 8 h 22"/>
                <a:gd name="T44" fmla="*/ 30 w 32"/>
                <a:gd name="T45" fmla="*/ 8 h 22"/>
                <a:gd name="T46" fmla="*/ 28 w 32"/>
                <a:gd name="T47" fmla="*/ 6 h 22"/>
                <a:gd name="T48" fmla="*/ 26 w 32"/>
                <a:gd name="T49" fmla="*/ 6 h 22"/>
                <a:gd name="T50" fmla="*/ 26 w 32"/>
                <a:gd name="T51" fmla="*/ 4 h 22"/>
                <a:gd name="T52" fmla="*/ 22 w 32"/>
                <a:gd name="T53" fmla="*/ 4 h 22"/>
                <a:gd name="T54" fmla="*/ 20 w 32"/>
                <a:gd name="T55" fmla="*/ 2 h 22"/>
                <a:gd name="T56" fmla="*/ 16 w 32"/>
                <a:gd name="T57" fmla="*/ 0 h 22"/>
                <a:gd name="T58" fmla="*/ 14 w 32"/>
                <a:gd name="T59" fmla="*/ 0 h 22"/>
                <a:gd name="T60" fmla="*/ 0 w 32"/>
                <a:gd name="T61" fmla="*/ 2 h 22"/>
                <a:gd name="T62" fmla="*/ 0 w 32"/>
                <a:gd name="T63" fmla="*/ 14 h 22"/>
                <a:gd name="T64" fmla="*/ 2 w 32"/>
                <a:gd name="T65" fmla="*/ 16 h 22"/>
                <a:gd name="T66" fmla="*/ 4 w 32"/>
                <a:gd name="T67" fmla="*/ 18 h 22"/>
                <a:gd name="T68" fmla="*/ 6 w 32"/>
                <a:gd name="T69" fmla="*/ 20 h 22"/>
                <a:gd name="T70" fmla="*/ 6 w 32"/>
                <a:gd name="T7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" h="22">
                  <a:moveTo>
                    <a:pt x="6" y="20"/>
                  </a:moveTo>
                  <a:lnTo>
                    <a:pt x="6" y="20"/>
                  </a:lnTo>
                  <a:lnTo>
                    <a:pt x="8" y="20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6" y="22"/>
                  </a:lnTo>
                  <a:lnTo>
                    <a:pt x="18" y="22"/>
                  </a:lnTo>
                  <a:lnTo>
                    <a:pt x="20" y="20"/>
                  </a:lnTo>
                  <a:lnTo>
                    <a:pt x="22" y="20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6" y="16"/>
                  </a:lnTo>
                  <a:lnTo>
                    <a:pt x="28" y="14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0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0" y="2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6" y="2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43" name="Freeform 333">
              <a:extLst>
                <a:ext uri="{FF2B5EF4-FFF2-40B4-BE49-F238E27FC236}">
                  <a16:creationId xmlns:a16="http://schemas.microsoft.com/office/drawing/2014/main" id="{8EE9530E-CA55-456A-9F66-CDA5124A4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0230" y="3447736"/>
              <a:ext cx="129841" cy="137063"/>
            </a:xfrm>
            <a:custGeom>
              <a:avLst/>
              <a:gdLst>
                <a:gd name="T0" fmla="*/ 34 w 76"/>
                <a:gd name="T1" fmla="*/ 58 h 82"/>
                <a:gd name="T2" fmla="*/ 30 w 76"/>
                <a:gd name="T3" fmla="*/ 56 h 82"/>
                <a:gd name="T4" fmla="*/ 20 w 76"/>
                <a:gd name="T5" fmla="*/ 56 h 82"/>
                <a:gd name="T6" fmla="*/ 16 w 76"/>
                <a:gd name="T7" fmla="*/ 54 h 82"/>
                <a:gd name="T8" fmla="*/ 16 w 76"/>
                <a:gd name="T9" fmla="*/ 50 h 82"/>
                <a:gd name="T10" fmla="*/ 14 w 76"/>
                <a:gd name="T11" fmla="*/ 44 h 82"/>
                <a:gd name="T12" fmla="*/ 8 w 76"/>
                <a:gd name="T13" fmla="*/ 40 h 82"/>
                <a:gd name="T14" fmla="*/ 2 w 76"/>
                <a:gd name="T15" fmla="*/ 34 h 82"/>
                <a:gd name="T16" fmla="*/ 0 w 76"/>
                <a:gd name="T17" fmla="*/ 26 h 82"/>
                <a:gd name="T18" fmla="*/ 16 w 76"/>
                <a:gd name="T19" fmla="*/ 12 h 82"/>
                <a:gd name="T20" fmla="*/ 24 w 76"/>
                <a:gd name="T21" fmla="*/ 14 h 82"/>
                <a:gd name="T22" fmla="*/ 26 w 76"/>
                <a:gd name="T23" fmla="*/ 14 h 82"/>
                <a:gd name="T24" fmla="*/ 38 w 76"/>
                <a:gd name="T25" fmla="*/ 4 h 82"/>
                <a:gd name="T26" fmla="*/ 46 w 76"/>
                <a:gd name="T27" fmla="*/ 4 h 82"/>
                <a:gd name="T28" fmla="*/ 54 w 76"/>
                <a:gd name="T29" fmla="*/ 6 h 82"/>
                <a:gd name="T30" fmla="*/ 60 w 76"/>
                <a:gd name="T31" fmla="*/ 6 h 82"/>
                <a:gd name="T32" fmla="*/ 66 w 76"/>
                <a:gd name="T33" fmla="*/ 2 h 82"/>
                <a:gd name="T34" fmla="*/ 70 w 76"/>
                <a:gd name="T35" fmla="*/ 0 h 82"/>
                <a:gd name="T36" fmla="*/ 72 w 76"/>
                <a:gd name="T37" fmla="*/ 14 h 82"/>
                <a:gd name="T38" fmla="*/ 66 w 76"/>
                <a:gd name="T39" fmla="*/ 16 h 82"/>
                <a:gd name="T40" fmla="*/ 60 w 76"/>
                <a:gd name="T41" fmla="*/ 22 h 82"/>
                <a:gd name="T42" fmla="*/ 58 w 76"/>
                <a:gd name="T43" fmla="*/ 24 h 82"/>
                <a:gd name="T44" fmla="*/ 60 w 76"/>
                <a:gd name="T45" fmla="*/ 28 h 82"/>
                <a:gd name="T46" fmla="*/ 60 w 76"/>
                <a:gd name="T47" fmla="*/ 32 h 82"/>
                <a:gd name="T48" fmla="*/ 58 w 76"/>
                <a:gd name="T49" fmla="*/ 34 h 82"/>
                <a:gd name="T50" fmla="*/ 52 w 76"/>
                <a:gd name="T51" fmla="*/ 34 h 82"/>
                <a:gd name="T52" fmla="*/ 48 w 76"/>
                <a:gd name="T53" fmla="*/ 32 h 82"/>
                <a:gd name="T54" fmla="*/ 44 w 76"/>
                <a:gd name="T55" fmla="*/ 30 h 82"/>
                <a:gd name="T56" fmla="*/ 42 w 76"/>
                <a:gd name="T57" fmla="*/ 30 h 82"/>
                <a:gd name="T58" fmla="*/ 42 w 76"/>
                <a:gd name="T59" fmla="*/ 32 h 82"/>
                <a:gd name="T60" fmla="*/ 46 w 76"/>
                <a:gd name="T61" fmla="*/ 36 h 82"/>
                <a:gd name="T62" fmla="*/ 46 w 76"/>
                <a:gd name="T63" fmla="*/ 38 h 82"/>
                <a:gd name="T64" fmla="*/ 42 w 76"/>
                <a:gd name="T65" fmla="*/ 42 h 82"/>
                <a:gd name="T66" fmla="*/ 40 w 76"/>
                <a:gd name="T67" fmla="*/ 44 h 82"/>
                <a:gd name="T68" fmla="*/ 40 w 76"/>
                <a:gd name="T69" fmla="*/ 46 h 82"/>
                <a:gd name="T70" fmla="*/ 46 w 76"/>
                <a:gd name="T71" fmla="*/ 50 h 82"/>
                <a:gd name="T72" fmla="*/ 56 w 76"/>
                <a:gd name="T73" fmla="*/ 54 h 82"/>
                <a:gd name="T74" fmla="*/ 62 w 76"/>
                <a:gd name="T75" fmla="*/ 58 h 82"/>
                <a:gd name="T76" fmla="*/ 66 w 76"/>
                <a:gd name="T77" fmla="*/ 64 h 82"/>
                <a:gd name="T78" fmla="*/ 66 w 76"/>
                <a:gd name="T79" fmla="*/ 66 h 82"/>
                <a:gd name="T80" fmla="*/ 62 w 76"/>
                <a:gd name="T81" fmla="*/ 64 h 82"/>
                <a:gd name="T82" fmla="*/ 54 w 76"/>
                <a:gd name="T83" fmla="*/ 66 h 82"/>
                <a:gd name="T84" fmla="*/ 48 w 76"/>
                <a:gd name="T85" fmla="*/ 68 h 82"/>
                <a:gd name="T86" fmla="*/ 46 w 76"/>
                <a:gd name="T87" fmla="*/ 70 h 82"/>
                <a:gd name="T88" fmla="*/ 48 w 76"/>
                <a:gd name="T89" fmla="*/ 74 h 82"/>
                <a:gd name="T90" fmla="*/ 52 w 76"/>
                <a:gd name="T91" fmla="*/ 78 h 82"/>
                <a:gd name="T92" fmla="*/ 52 w 76"/>
                <a:gd name="T93" fmla="*/ 80 h 82"/>
                <a:gd name="T94" fmla="*/ 46 w 76"/>
                <a:gd name="T95" fmla="*/ 82 h 82"/>
                <a:gd name="T96" fmla="*/ 38 w 76"/>
                <a:gd name="T97" fmla="*/ 82 h 82"/>
                <a:gd name="T98" fmla="*/ 30 w 76"/>
                <a:gd name="T99" fmla="*/ 82 h 82"/>
                <a:gd name="T100" fmla="*/ 26 w 76"/>
                <a:gd name="T101" fmla="*/ 80 h 82"/>
                <a:gd name="T102" fmla="*/ 26 w 76"/>
                <a:gd name="T103" fmla="*/ 74 h 82"/>
                <a:gd name="T104" fmla="*/ 26 w 76"/>
                <a:gd name="T105" fmla="*/ 70 h 82"/>
                <a:gd name="T106" fmla="*/ 24 w 76"/>
                <a:gd name="T107" fmla="*/ 68 h 82"/>
                <a:gd name="T108" fmla="*/ 18 w 76"/>
                <a:gd name="T109" fmla="*/ 68 h 82"/>
                <a:gd name="T110" fmla="*/ 18 w 76"/>
                <a:gd name="T111" fmla="*/ 66 h 82"/>
                <a:gd name="T112" fmla="*/ 18 w 76"/>
                <a:gd name="T113" fmla="*/ 64 h 82"/>
                <a:gd name="T114" fmla="*/ 26 w 76"/>
                <a:gd name="T115" fmla="*/ 62 h 82"/>
                <a:gd name="T116" fmla="*/ 32 w 76"/>
                <a:gd name="T117" fmla="*/ 62 h 82"/>
                <a:gd name="T118" fmla="*/ 34 w 76"/>
                <a:gd name="T119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82">
                  <a:moveTo>
                    <a:pt x="34" y="58"/>
                  </a:move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6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2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2" y="42"/>
                  </a:lnTo>
                  <a:lnTo>
                    <a:pt x="10" y="40"/>
                  </a:lnTo>
                  <a:lnTo>
                    <a:pt x="8" y="40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8" y="12"/>
                  </a:lnTo>
                  <a:lnTo>
                    <a:pt x="32" y="10"/>
                  </a:lnTo>
                  <a:lnTo>
                    <a:pt x="34" y="8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4" y="2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4" y="4"/>
                  </a:lnTo>
                  <a:lnTo>
                    <a:pt x="66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12"/>
                  </a:lnTo>
                  <a:lnTo>
                    <a:pt x="72" y="14"/>
                  </a:lnTo>
                  <a:lnTo>
                    <a:pt x="70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0" y="22"/>
                  </a:lnTo>
                  <a:lnTo>
                    <a:pt x="58" y="22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6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4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40"/>
                  </a:lnTo>
                  <a:lnTo>
                    <a:pt x="44" y="40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8"/>
                  </a:lnTo>
                  <a:lnTo>
                    <a:pt x="42" y="48"/>
                  </a:lnTo>
                  <a:lnTo>
                    <a:pt x="44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52" y="52"/>
                  </a:lnTo>
                  <a:lnTo>
                    <a:pt x="56" y="54"/>
                  </a:lnTo>
                  <a:lnTo>
                    <a:pt x="58" y="56"/>
                  </a:lnTo>
                  <a:lnTo>
                    <a:pt x="60" y="56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2" y="66"/>
                  </a:lnTo>
                  <a:lnTo>
                    <a:pt x="62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4" y="66"/>
                  </a:lnTo>
                  <a:lnTo>
                    <a:pt x="52" y="66"/>
                  </a:lnTo>
                  <a:lnTo>
                    <a:pt x="50" y="66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2"/>
                  </a:lnTo>
                  <a:lnTo>
                    <a:pt x="48" y="72"/>
                  </a:lnTo>
                  <a:lnTo>
                    <a:pt x="48" y="74"/>
                  </a:lnTo>
                  <a:lnTo>
                    <a:pt x="50" y="74"/>
                  </a:lnTo>
                  <a:lnTo>
                    <a:pt x="50" y="76"/>
                  </a:lnTo>
                  <a:lnTo>
                    <a:pt x="52" y="76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80"/>
                  </a:lnTo>
                  <a:lnTo>
                    <a:pt x="50" y="80"/>
                  </a:lnTo>
                  <a:lnTo>
                    <a:pt x="48" y="80"/>
                  </a:lnTo>
                  <a:lnTo>
                    <a:pt x="48" y="82"/>
                  </a:lnTo>
                  <a:lnTo>
                    <a:pt x="46" y="82"/>
                  </a:lnTo>
                  <a:lnTo>
                    <a:pt x="44" y="82"/>
                  </a:lnTo>
                  <a:lnTo>
                    <a:pt x="42" y="82"/>
                  </a:lnTo>
                  <a:lnTo>
                    <a:pt x="40" y="82"/>
                  </a:lnTo>
                  <a:lnTo>
                    <a:pt x="38" y="82"/>
                  </a:lnTo>
                  <a:lnTo>
                    <a:pt x="36" y="82"/>
                  </a:lnTo>
                  <a:lnTo>
                    <a:pt x="34" y="82"/>
                  </a:lnTo>
                  <a:lnTo>
                    <a:pt x="32" y="82"/>
                  </a:lnTo>
                  <a:lnTo>
                    <a:pt x="30" y="82"/>
                  </a:lnTo>
                  <a:lnTo>
                    <a:pt x="28" y="82"/>
                  </a:lnTo>
                  <a:lnTo>
                    <a:pt x="28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78"/>
                  </a:lnTo>
                  <a:lnTo>
                    <a:pt x="26" y="76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2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2" y="68"/>
                  </a:lnTo>
                  <a:lnTo>
                    <a:pt x="20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20" y="64"/>
                  </a:lnTo>
                  <a:lnTo>
                    <a:pt x="22" y="62"/>
                  </a:lnTo>
                  <a:lnTo>
                    <a:pt x="24" y="62"/>
                  </a:lnTo>
                  <a:lnTo>
                    <a:pt x="26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30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44" name="Freeform 335">
              <a:extLst>
                <a:ext uri="{FF2B5EF4-FFF2-40B4-BE49-F238E27FC236}">
                  <a16:creationId xmlns:a16="http://schemas.microsoft.com/office/drawing/2014/main" id="{15FC3514-B83A-461D-A0B5-874A915CC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900" y="3588141"/>
              <a:ext cx="58087" cy="16715"/>
            </a:xfrm>
            <a:custGeom>
              <a:avLst/>
              <a:gdLst>
                <a:gd name="T0" fmla="*/ 14 w 34"/>
                <a:gd name="T1" fmla="*/ 10 h 10"/>
                <a:gd name="T2" fmla="*/ 14 w 34"/>
                <a:gd name="T3" fmla="*/ 10 h 10"/>
                <a:gd name="T4" fmla="*/ 14 w 34"/>
                <a:gd name="T5" fmla="*/ 10 h 10"/>
                <a:gd name="T6" fmla="*/ 12 w 34"/>
                <a:gd name="T7" fmla="*/ 10 h 10"/>
                <a:gd name="T8" fmla="*/ 10 w 34"/>
                <a:gd name="T9" fmla="*/ 10 h 10"/>
                <a:gd name="T10" fmla="*/ 6 w 34"/>
                <a:gd name="T11" fmla="*/ 8 h 10"/>
                <a:gd name="T12" fmla="*/ 4 w 34"/>
                <a:gd name="T13" fmla="*/ 8 h 10"/>
                <a:gd name="T14" fmla="*/ 2 w 34"/>
                <a:gd name="T15" fmla="*/ 8 h 10"/>
                <a:gd name="T16" fmla="*/ 2 w 34"/>
                <a:gd name="T17" fmla="*/ 8 h 10"/>
                <a:gd name="T18" fmla="*/ 0 w 34"/>
                <a:gd name="T19" fmla="*/ 8 h 10"/>
                <a:gd name="T20" fmla="*/ 0 w 34"/>
                <a:gd name="T21" fmla="*/ 6 h 10"/>
                <a:gd name="T22" fmla="*/ 0 w 34"/>
                <a:gd name="T23" fmla="*/ 6 h 10"/>
                <a:gd name="T24" fmla="*/ 0 w 34"/>
                <a:gd name="T25" fmla="*/ 6 h 10"/>
                <a:gd name="T26" fmla="*/ 0 w 34"/>
                <a:gd name="T27" fmla="*/ 6 h 10"/>
                <a:gd name="T28" fmla="*/ 0 w 34"/>
                <a:gd name="T29" fmla="*/ 4 h 10"/>
                <a:gd name="T30" fmla="*/ 0 w 34"/>
                <a:gd name="T31" fmla="*/ 4 h 10"/>
                <a:gd name="T32" fmla="*/ 0 w 34"/>
                <a:gd name="T33" fmla="*/ 4 h 10"/>
                <a:gd name="T34" fmla="*/ 2 w 34"/>
                <a:gd name="T35" fmla="*/ 4 h 10"/>
                <a:gd name="T36" fmla="*/ 2 w 34"/>
                <a:gd name="T37" fmla="*/ 4 h 10"/>
                <a:gd name="T38" fmla="*/ 6 w 34"/>
                <a:gd name="T39" fmla="*/ 4 h 10"/>
                <a:gd name="T40" fmla="*/ 12 w 34"/>
                <a:gd name="T41" fmla="*/ 4 h 10"/>
                <a:gd name="T42" fmla="*/ 14 w 34"/>
                <a:gd name="T43" fmla="*/ 4 h 10"/>
                <a:gd name="T44" fmla="*/ 16 w 34"/>
                <a:gd name="T45" fmla="*/ 2 h 10"/>
                <a:gd name="T46" fmla="*/ 20 w 34"/>
                <a:gd name="T47" fmla="*/ 2 h 10"/>
                <a:gd name="T48" fmla="*/ 26 w 34"/>
                <a:gd name="T49" fmla="*/ 0 h 10"/>
                <a:gd name="T50" fmla="*/ 28 w 34"/>
                <a:gd name="T51" fmla="*/ 0 h 10"/>
                <a:gd name="T52" fmla="*/ 28 w 34"/>
                <a:gd name="T53" fmla="*/ 0 h 10"/>
                <a:gd name="T54" fmla="*/ 30 w 34"/>
                <a:gd name="T55" fmla="*/ 0 h 10"/>
                <a:gd name="T56" fmla="*/ 30 w 34"/>
                <a:gd name="T57" fmla="*/ 0 h 10"/>
                <a:gd name="T58" fmla="*/ 30 w 34"/>
                <a:gd name="T59" fmla="*/ 2 h 10"/>
                <a:gd name="T60" fmla="*/ 32 w 34"/>
                <a:gd name="T61" fmla="*/ 2 h 10"/>
                <a:gd name="T62" fmla="*/ 32 w 34"/>
                <a:gd name="T63" fmla="*/ 4 h 10"/>
                <a:gd name="T64" fmla="*/ 32 w 34"/>
                <a:gd name="T65" fmla="*/ 4 h 10"/>
                <a:gd name="T66" fmla="*/ 34 w 34"/>
                <a:gd name="T67" fmla="*/ 6 h 10"/>
                <a:gd name="T68" fmla="*/ 34 w 34"/>
                <a:gd name="T69" fmla="*/ 6 h 10"/>
                <a:gd name="T70" fmla="*/ 34 w 34"/>
                <a:gd name="T71" fmla="*/ 8 h 10"/>
                <a:gd name="T72" fmla="*/ 34 w 34"/>
                <a:gd name="T73" fmla="*/ 8 h 10"/>
                <a:gd name="T74" fmla="*/ 32 w 34"/>
                <a:gd name="T75" fmla="*/ 8 h 10"/>
                <a:gd name="T76" fmla="*/ 32 w 34"/>
                <a:gd name="T77" fmla="*/ 8 h 10"/>
                <a:gd name="T78" fmla="*/ 30 w 34"/>
                <a:gd name="T79" fmla="*/ 8 h 10"/>
                <a:gd name="T80" fmla="*/ 28 w 34"/>
                <a:gd name="T81" fmla="*/ 10 h 10"/>
                <a:gd name="T82" fmla="*/ 24 w 34"/>
                <a:gd name="T83" fmla="*/ 10 h 10"/>
                <a:gd name="T84" fmla="*/ 22 w 34"/>
                <a:gd name="T85" fmla="*/ 10 h 10"/>
                <a:gd name="T86" fmla="*/ 18 w 34"/>
                <a:gd name="T87" fmla="*/ 10 h 10"/>
                <a:gd name="T88" fmla="*/ 14 w 34"/>
                <a:gd name="T8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4" h="10">
                  <a:moveTo>
                    <a:pt x="14" y="10"/>
                  </a:moveTo>
                  <a:lnTo>
                    <a:pt x="14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6" y="4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18" y="10"/>
                  </a:lnTo>
                  <a:lnTo>
                    <a:pt x="14" y="1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45" name="Freeform 337">
              <a:extLst>
                <a:ext uri="{FF2B5EF4-FFF2-40B4-BE49-F238E27FC236}">
                  <a16:creationId xmlns:a16="http://schemas.microsoft.com/office/drawing/2014/main" id="{8E6FAC5D-1625-4A42-A245-42755F115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7496" y="3638286"/>
              <a:ext cx="47835" cy="23402"/>
            </a:xfrm>
            <a:custGeom>
              <a:avLst/>
              <a:gdLst>
                <a:gd name="T0" fmla="*/ 14 w 28"/>
                <a:gd name="T1" fmla="*/ 10 h 14"/>
                <a:gd name="T2" fmla="*/ 14 w 28"/>
                <a:gd name="T3" fmla="*/ 10 h 14"/>
                <a:gd name="T4" fmla="*/ 12 w 28"/>
                <a:gd name="T5" fmla="*/ 10 h 14"/>
                <a:gd name="T6" fmla="*/ 12 w 28"/>
                <a:gd name="T7" fmla="*/ 10 h 14"/>
                <a:gd name="T8" fmla="*/ 8 w 28"/>
                <a:gd name="T9" fmla="*/ 12 h 14"/>
                <a:gd name="T10" fmla="*/ 4 w 28"/>
                <a:gd name="T11" fmla="*/ 12 h 14"/>
                <a:gd name="T12" fmla="*/ 2 w 28"/>
                <a:gd name="T13" fmla="*/ 14 h 14"/>
                <a:gd name="T14" fmla="*/ 2 w 28"/>
                <a:gd name="T15" fmla="*/ 14 h 14"/>
                <a:gd name="T16" fmla="*/ 0 w 28"/>
                <a:gd name="T17" fmla="*/ 12 h 14"/>
                <a:gd name="T18" fmla="*/ 0 w 28"/>
                <a:gd name="T19" fmla="*/ 12 h 14"/>
                <a:gd name="T20" fmla="*/ 0 w 28"/>
                <a:gd name="T21" fmla="*/ 12 h 14"/>
                <a:gd name="T22" fmla="*/ 0 w 28"/>
                <a:gd name="T23" fmla="*/ 12 h 14"/>
                <a:gd name="T24" fmla="*/ 0 w 28"/>
                <a:gd name="T25" fmla="*/ 12 h 14"/>
                <a:gd name="T26" fmla="*/ 0 w 28"/>
                <a:gd name="T27" fmla="*/ 10 h 14"/>
                <a:gd name="T28" fmla="*/ 0 w 28"/>
                <a:gd name="T29" fmla="*/ 10 h 14"/>
                <a:gd name="T30" fmla="*/ 0 w 28"/>
                <a:gd name="T31" fmla="*/ 8 h 14"/>
                <a:gd name="T32" fmla="*/ 0 w 28"/>
                <a:gd name="T33" fmla="*/ 6 h 14"/>
                <a:gd name="T34" fmla="*/ 0 w 28"/>
                <a:gd name="T35" fmla="*/ 4 h 14"/>
                <a:gd name="T36" fmla="*/ 0 w 28"/>
                <a:gd name="T37" fmla="*/ 4 h 14"/>
                <a:gd name="T38" fmla="*/ 0 w 28"/>
                <a:gd name="T39" fmla="*/ 4 h 14"/>
                <a:gd name="T40" fmla="*/ 0 w 28"/>
                <a:gd name="T41" fmla="*/ 4 h 14"/>
                <a:gd name="T42" fmla="*/ 2 w 28"/>
                <a:gd name="T43" fmla="*/ 4 h 14"/>
                <a:gd name="T44" fmla="*/ 2 w 28"/>
                <a:gd name="T45" fmla="*/ 4 h 14"/>
                <a:gd name="T46" fmla="*/ 6 w 28"/>
                <a:gd name="T47" fmla="*/ 2 h 14"/>
                <a:gd name="T48" fmla="*/ 12 w 28"/>
                <a:gd name="T49" fmla="*/ 2 h 14"/>
                <a:gd name="T50" fmla="*/ 14 w 28"/>
                <a:gd name="T51" fmla="*/ 2 h 14"/>
                <a:gd name="T52" fmla="*/ 16 w 28"/>
                <a:gd name="T53" fmla="*/ 2 h 14"/>
                <a:gd name="T54" fmla="*/ 20 w 28"/>
                <a:gd name="T55" fmla="*/ 2 h 14"/>
                <a:gd name="T56" fmla="*/ 24 w 28"/>
                <a:gd name="T57" fmla="*/ 0 h 14"/>
                <a:gd name="T58" fmla="*/ 26 w 28"/>
                <a:gd name="T59" fmla="*/ 0 h 14"/>
                <a:gd name="T60" fmla="*/ 28 w 28"/>
                <a:gd name="T61" fmla="*/ 0 h 14"/>
                <a:gd name="T62" fmla="*/ 28 w 28"/>
                <a:gd name="T63" fmla="*/ 0 h 14"/>
                <a:gd name="T64" fmla="*/ 28 w 28"/>
                <a:gd name="T65" fmla="*/ 0 h 14"/>
                <a:gd name="T66" fmla="*/ 28 w 28"/>
                <a:gd name="T67" fmla="*/ 0 h 14"/>
                <a:gd name="T68" fmla="*/ 28 w 28"/>
                <a:gd name="T69" fmla="*/ 0 h 14"/>
                <a:gd name="T70" fmla="*/ 28 w 28"/>
                <a:gd name="T71" fmla="*/ 2 h 14"/>
                <a:gd name="T72" fmla="*/ 28 w 28"/>
                <a:gd name="T73" fmla="*/ 2 h 14"/>
                <a:gd name="T74" fmla="*/ 26 w 28"/>
                <a:gd name="T75" fmla="*/ 4 h 14"/>
                <a:gd name="T76" fmla="*/ 24 w 28"/>
                <a:gd name="T77" fmla="*/ 6 h 14"/>
                <a:gd name="T78" fmla="*/ 24 w 28"/>
                <a:gd name="T79" fmla="*/ 6 h 14"/>
                <a:gd name="T80" fmla="*/ 24 w 28"/>
                <a:gd name="T81" fmla="*/ 8 h 14"/>
                <a:gd name="T82" fmla="*/ 24 w 28"/>
                <a:gd name="T83" fmla="*/ 8 h 14"/>
                <a:gd name="T84" fmla="*/ 24 w 28"/>
                <a:gd name="T85" fmla="*/ 8 h 14"/>
                <a:gd name="T86" fmla="*/ 22 w 28"/>
                <a:gd name="T87" fmla="*/ 10 h 14"/>
                <a:gd name="T88" fmla="*/ 22 w 28"/>
                <a:gd name="T89" fmla="*/ 10 h 14"/>
                <a:gd name="T90" fmla="*/ 20 w 28"/>
                <a:gd name="T91" fmla="*/ 10 h 14"/>
                <a:gd name="T92" fmla="*/ 18 w 28"/>
                <a:gd name="T93" fmla="*/ 10 h 14"/>
                <a:gd name="T94" fmla="*/ 14 w 28"/>
                <a:gd name="T95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" h="14">
                  <a:moveTo>
                    <a:pt x="14" y="10"/>
                  </a:moveTo>
                  <a:lnTo>
                    <a:pt x="14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20" y="2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4" y="1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46" name="Freeform 339">
              <a:extLst>
                <a:ext uri="{FF2B5EF4-FFF2-40B4-BE49-F238E27FC236}">
                  <a16:creationId xmlns:a16="http://schemas.microsoft.com/office/drawing/2014/main" id="{B62C89D9-BE9A-4786-925E-F82B539C4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6220" y="3287272"/>
              <a:ext cx="88838" cy="56832"/>
            </a:xfrm>
            <a:custGeom>
              <a:avLst/>
              <a:gdLst>
                <a:gd name="T0" fmla="*/ 52 w 52"/>
                <a:gd name="T1" fmla="*/ 8 h 34"/>
                <a:gd name="T2" fmla="*/ 52 w 52"/>
                <a:gd name="T3" fmla="*/ 8 h 34"/>
                <a:gd name="T4" fmla="*/ 50 w 52"/>
                <a:gd name="T5" fmla="*/ 10 h 34"/>
                <a:gd name="T6" fmla="*/ 48 w 52"/>
                <a:gd name="T7" fmla="*/ 12 h 34"/>
                <a:gd name="T8" fmla="*/ 46 w 52"/>
                <a:gd name="T9" fmla="*/ 16 h 34"/>
                <a:gd name="T10" fmla="*/ 44 w 52"/>
                <a:gd name="T11" fmla="*/ 16 h 34"/>
                <a:gd name="T12" fmla="*/ 44 w 52"/>
                <a:gd name="T13" fmla="*/ 18 h 34"/>
                <a:gd name="T14" fmla="*/ 42 w 52"/>
                <a:gd name="T15" fmla="*/ 18 h 34"/>
                <a:gd name="T16" fmla="*/ 42 w 52"/>
                <a:gd name="T17" fmla="*/ 18 h 34"/>
                <a:gd name="T18" fmla="*/ 38 w 52"/>
                <a:gd name="T19" fmla="*/ 20 h 34"/>
                <a:gd name="T20" fmla="*/ 34 w 52"/>
                <a:gd name="T21" fmla="*/ 22 h 34"/>
                <a:gd name="T22" fmla="*/ 32 w 52"/>
                <a:gd name="T23" fmla="*/ 22 h 34"/>
                <a:gd name="T24" fmla="*/ 30 w 52"/>
                <a:gd name="T25" fmla="*/ 24 h 34"/>
                <a:gd name="T26" fmla="*/ 30 w 52"/>
                <a:gd name="T27" fmla="*/ 24 h 34"/>
                <a:gd name="T28" fmla="*/ 28 w 52"/>
                <a:gd name="T29" fmla="*/ 24 h 34"/>
                <a:gd name="T30" fmla="*/ 26 w 52"/>
                <a:gd name="T31" fmla="*/ 28 h 34"/>
                <a:gd name="T32" fmla="*/ 24 w 52"/>
                <a:gd name="T33" fmla="*/ 30 h 34"/>
                <a:gd name="T34" fmla="*/ 24 w 52"/>
                <a:gd name="T35" fmla="*/ 32 h 34"/>
                <a:gd name="T36" fmla="*/ 20 w 52"/>
                <a:gd name="T37" fmla="*/ 34 h 34"/>
                <a:gd name="T38" fmla="*/ 20 w 52"/>
                <a:gd name="T39" fmla="*/ 32 h 34"/>
                <a:gd name="T40" fmla="*/ 20 w 52"/>
                <a:gd name="T41" fmla="*/ 28 h 34"/>
                <a:gd name="T42" fmla="*/ 18 w 52"/>
                <a:gd name="T43" fmla="*/ 26 h 34"/>
                <a:gd name="T44" fmla="*/ 18 w 52"/>
                <a:gd name="T45" fmla="*/ 24 h 34"/>
                <a:gd name="T46" fmla="*/ 18 w 52"/>
                <a:gd name="T47" fmla="*/ 22 h 34"/>
                <a:gd name="T48" fmla="*/ 18 w 52"/>
                <a:gd name="T49" fmla="*/ 22 h 34"/>
                <a:gd name="T50" fmla="*/ 18 w 52"/>
                <a:gd name="T51" fmla="*/ 20 h 34"/>
                <a:gd name="T52" fmla="*/ 16 w 52"/>
                <a:gd name="T53" fmla="*/ 20 h 34"/>
                <a:gd name="T54" fmla="*/ 16 w 52"/>
                <a:gd name="T55" fmla="*/ 20 h 34"/>
                <a:gd name="T56" fmla="*/ 14 w 52"/>
                <a:gd name="T57" fmla="*/ 18 h 34"/>
                <a:gd name="T58" fmla="*/ 12 w 52"/>
                <a:gd name="T59" fmla="*/ 18 h 34"/>
                <a:gd name="T60" fmla="*/ 12 w 52"/>
                <a:gd name="T61" fmla="*/ 18 h 34"/>
                <a:gd name="T62" fmla="*/ 4 w 52"/>
                <a:gd name="T63" fmla="*/ 12 h 34"/>
                <a:gd name="T64" fmla="*/ 0 w 52"/>
                <a:gd name="T65" fmla="*/ 0 h 34"/>
                <a:gd name="T66" fmla="*/ 2 w 52"/>
                <a:gd name="T67" fmla="*/ 0 h 34"/>
                <a:gd name="T68" fmla="*/ 10 w 52"/>
                <a:gd name="T69" fmla="*/ 2 h 34"/>
                <a:gd name="T70" fmla="*/ 14 w 52"/>
                <a:gd name="T71" fmla="*/ 4 h 34"/>
                <a:gd name="T72" fmla="*/ 16 w 52"/>
                <a:gd name="T73" fmla="*/ 4 h 34"/>
                <a:gd name="T74" fmla="*/ 20 w 52"/>
                <a:gd name="T75" fmla="*/ 6 h 34"/>
                <a:gd name="T76" fmla="*/ 22 w 52"/>
                <a:gd name="T77" fmla="*/ 6 h 34"/>
                <a:gd name="T78" fmla="*/ 24 w 52"/>
                <a:gd name="T79" fmla="*/ 6 h 34"/>
                <a:gd name="T80" fmla="*/ 24 w 52"/>
                <a:gd name="T81" fmla="*/ 4 h 34"/>
                <a:gd name="T82" fmla="*/ 26 w 52"/>
                <a:gd name="T83" fmla="*/ 4 h 34"/>
                <a:gd name="T84" fmla="*/ 30 w 52"/>
                <a:gd name="T85" fmla="*/ 4 h 34"/>
                <a:gd name="T86" fmla="*/ 32 w 52"/>
                <a:gd name="T87" fmla="*/ 2 h 34"/>
                <a:gd name="T88" fmla="*/ 36 w 52"/>
                <a:gd name="T89" fmla="*/ 0 h 34"/>
                <a:gd name="T90" fmla="*/ 36 w 52"/>
                <a:gd name="T91" fmla="*/ 0 h 34"/>
                <a:gd name="T92" fmla="*/ 40 w 52"/>
                <a:gd name="T93" fmla="*/ 0 h 34"/>
                <a:gd name="T94" fmla="*/ 42 w 52"/>
                <a:gd name="T95" fmla="*/ 0 h 34"/>
                <a:gd name="T96" fmla="*/ 42 w 52"/>
                <a:gd name="T97" fmla="*/ 2 h 34"/>
                <a:gd name="T98" fmla="*/ 44 w 52"/>
                <a:gd name="T99" fmla="*/ 2 h 34"/>
                <a:gd name="T100" fmla="*/ 46 w 52"/>
                <a:gd name="T101" fmla="*/ 2 h 34"/>
                <a:gd name="T102" fmla="*/ 48 w 52"/>
                <a:gd name="T103" fmla="*/ 4 h 34"/>
                <a:gd name="T104" fmla="*/ 52 w 52"/>
                <a:gd name="T105" fmla="*/ 6 h 34"/>
                <a:gd name="T106" fmla="*/ 52 w 52"/>
                <a:gd name="T107" fmla="*/ 6 h 34"/>
                <a:gd name="T108" fmla="*/ 52 w 52"/>
                <a:gd name="T109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2" h="34">
                  <a:moveTo>
                    <a:pt x="52" y="8"/>
                  </a:moveTo>
                  <a:lnTo>
                    <a:pt x="52" y="8"/>
                  </a:lnTo>
                  <a:lnTo>
                    <a:pt x="50" y="10"/>
                  </a:lnTo>
                  <a:lnTo>
                    <a:pt x="48" y="12"/>
                  </a:lnTo>
                  <a:lnTo>
                    <a:pt x="46" y="16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8" y="20"/>
                  </a:lnTo>
                  <a:lnTo>
                    <a:pt x="34" y="22"/>
                  </a:lnTo>
                  <a:lnTo>
                    <a:pt x="32" y="22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6" y="28"/>
                  </a:lnTo>
                  <a:lnTo>
                    <a:pt x="24" y="30"/>
                  </a:lnTo>
                  <a:lnTo>
                    <a:pt x="24" y="32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4" y="12"/>
                  </a:lnTo>
                  <a:lnTo>
                    <a:pt x="0" y="0"/>
                  </a:lnTo>
                  <a:lnTo>
                    <a:pt x="2" y="0"/>
                  </a:lnTo>
                  <a:lnTo>
                    <a:pt x="10" y="2"/>
                  </a:lnTo>
                  <a:lnTo>
                    <a:pt x="14" y="4"/>
                  </a:lnTo>
                  <a:lnTo>
                    <a:pt x="16" y="4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4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47" name="Freeform 341">
              <a:extLst>
                <a:ext uri="{FF2B5EF4-FFF2-40B4-BE49-F238E27FC236}">
                  <a16:creationId xmlns:a16="http://schemas.microsoft.com/office/drawing/2014/main" id="{98B2B119-9B59-4196-93ED-F411FB51C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0390" y="3297301"/>
              <a:ext cx="95672" cy="130377"/>
            </a:xfrm>
            <a:custGeom>
              <a:avLst/>
              <a:gdLst>
                <a:gd name="T0" fmla="*/ 56 w 56"/>
                <a:gd name="T1" fmla="*/ 18 h 78"/>
                <a:gd name="T2" fmla="*/ 46 w 56"/>
                <a:gd name="T3" fmla="*/ 20 h 78"/>
                <a:gd name="T4" fmla="*/ 40 w 56"/>
                <a:gd name="T5" fmla="*/ 20 h 78"/>
                <a:gd name="T6" fmla="*/ 34 w 56"/>
                <a:gd name="T7" fmla="*/ 22 h 78"/>
                <a:gd name="T8" fmla="*/ 28 w 56"/>
                <a:gd name="T9" fmla="*/ 24 h 78"/>
                <a:gd name="T10" fmla="*/ 24 w 56"/>
                <a:gd name="T11" fmla="*/ 26 h 78"/>
                <a:gd name="T12" fmla="*/ 22 w 56"/>
                <a:gd name="T13" fmla="*/ 30 h 78"/>
                <a:gd name="T14" fmla="*/ 20 w 56"/>
                <a:gd name="T15" fmla="*/ 30 h 78"/>
                <a:gd name="T16" fmla="*/ 20 w 56"/>
                <a:gd name="T17" fmla="*/ 32 h 78"/>
                <a:gd name="T18" fmla="*/ 22 w 56"/>
                <a:gd name="T19" fmla="*/ 36 h 78"/>
                <a:gd name="T20" fmla="*/ 24 w 56"/>
                <a:gd name="T21" fmla="*/ 40 h 78"/>
                <a:gd name="T22" fmla="*/ 26 w 56"/>
                <a:gd name="T23" fmla="*/ 46 h 78"/>
                <a:gd name="T24" fmla="*/ 30 w 56"/>
                <a:gd name="T25" fmla="*/ 50 h 78"/>
                <a:gd name="T26" fmla="*/ 32 w 56"/>
                <a:gd name="T27" fmla="*/ 52 h 78"/>
                <a:gd name="T28" fmla="*/ 38 w 56"/>
                <a:gd name="T29" fmla="*/ 56 h 78"/>
                <a:gd name="T30" fmla="*/ 42 w 56"/>
                <a:gd name="T31" fmla="*/ 56 h 78"/>
                <a:gd name="T32" fmla="*/ 44 w 56"/>
                <a:gd name="T33" fmla="*/ 58 h 78"/>
                <a:gd name="T34" fmla="*/ 46 w 56"/>
                <a:gd name="T35" fmla="*/ 62 h 78"/>
                <a:gd name="T36" fmla="*/ 48 w 56"/>
                <a:gd name="T37" fmla="*/ 66 h 78"/>
                <a:gd name="T38" fmla="*/ 50 w 56"/>
                <a:gd name="T39" fmla="*/ 72 h 78"/>
                <a:gd name="T40" fmla="*/ 52 w 56"/>
                <a:gd name="T41" fmla="*/ 74 h 78"/>
                <a:gd name="T42" fmla="*/ 52 w 56"/>
                <a:gd name="T43" fmla="*/ 76 h 78"/>
                <a:gd name="T44" fmla="*/ 50 w 56"/>
                <a:gd name="T45" fmla="*/ 78 h 78"/>
                <a:gd name="T46" fmla="*/ 48 w 56"/>
                <a:gd name="T47" fmla="*/ 76 h 78"/>
                <a:gd name="T48" fmla="*/ 46 w 56"/>
                <a:gd name="T49" fmla="*/ 74 h 78"/>
                <a:gd name="T50" fmla="*/ 44 w 56"/>
                <a:gd name="T51" fmla="*/ 68 h 78"/>
                <a:gd name="T52" fmla="*/ 40 w 56"/>
                <a:gd name="T53" fmla="*/ 64 h 78"/>
                <a:gd name="T54" fmla="*/ 38 w 56"/>
                <a:gd name="T55" fmla="*/ 62 h 78"/>
                <a:gd name="T56" fmla="*/ 34 w 56"/>
                <a:gd name="T57" fmla="*/ 60 h 78"/>
                <a:gd name="T58" fmla="*/ 28 w 56"/>
                <a:gd name="T59" fmla="*/ 56 h 78"/>
                <a:gd name="T60" fmla="*/ 26 w 56"/>
                <a:gd name="T61" fmla="*/ 56 h 78"/>
                <a:gd name="T62" fmla="*/ 18 w 56"/>
                <a:gd name="T63" fmla="*/ 52 h 78"/>
                <a:gd name="T64" fmla="*/ 16 w 56"/>
                <a:gd name="T65" fmla="*/ 52 h 78"/>
                <a:gd name="T66" fmla="*/ 14 w 56"/>
                <a:gd name="T67" fmla="*/ 50 h 78"/>
                <a:gd name="T68" fmla="*/ 14 w 56"/>
                <a:gd name="T69" fmla="*/ 50 h 78"/>
                <a:gd name="T70" fmla="*/ 12 w 56"/>
                <a:gd name="T71" fmla="*/ 48 h 78"/>
                <a:gd name="T72" fmla="*/ 14 w 56"/>
                <a:gd name="T73" fmla="*/ 44 h 78"/>
                <a:gd name="T74" fmla="*/ 14 w 56"/>
                <a:gd name="T75" fmla="*/ 42 h 78"/>
                <a:gd name="T76" fmla="*/ 14 w 56"/>
                <a:gd name="T77" fmla="*/ 40 h 78"/>
                <a:gd name="T78" fmla="*/ 12 w 56"/>
                <a:gd name="T79" fmla="*/ 40 h 78"/>
                <a:gd name="T80" fmla="*/ 10 w 56"/>
                <a:gd name="T81" fmla="*/ 38 h 78"/>
                <a:gd name="T82" fmla="*/ 8 w 56"/>
                <a:gd name="T83" fmla="*/ 36 h 78"/>
                <a:gd name="T84" fmla="*/ 4 w 56"/>
                <a:gd name="T85" fmla="*/ 34 h 78"/>
                <a:gd name="T86" fmla="*/ 2 w 56"/>
                <a:gd name="T87" fmla="*/ 32 h 78"/>
                <a:gd name="T88" fmla="*/ 0 w 56"/>
                <a:gd name="T89" fmla="*/ 32 h 78"/>
                <a:gd name="T90" fmla="*/ 0 w 56"/>
                <a:gd name="T91" fmla="*/ 30 h 78"/>
                <a:gd name="T92" fmla="*/ 2 w 56"/>
                <a:gd name="T93" fmla="*/ 26 h 78"/>
                <a:gd name="T94" fmla="*/ 6 w 56"/>
                <a:gd name="T95" fmla="*/ 22 h 78"/>
                <a:gd name="T96" fmla="*/ 10 w 56"/>
                <a:gd name="T97" fmla="*/ 18 h 78"/>
                <a:gd name="T98" fmla="*/ 12 w 56"/>
                <a:gd name="T99" fmla="*/ 16 h 78"/>
                <a:gd name="T100" fmla="*/ 18 w 56"/>
                <a:gd name="T101" fmla="*/ 14 h 78"/>
                <a:gd name="T102" fmla="*/ 22 w 56"/>
                <a:gd name="T103" fmla="*/ 12 h 78"/>
                <a:gd name="T104" fmla="*/ 24 w 56"/>
                <a:gd name="T105" fmla="*/ 10 h 78"/>
                <a:gd name="T106" fmla="*/ 28 w 56"/>
                <a:gd name="T107" fmla="*/ 8 h 78"/>
                <a:gd name="T108" fmla="*/ 32 w 56"/>
                <a:gd name="T109" fmla="*/ 2 h 78"/>
                <a:gd name="T110" fmla="*/ 32 w 56"/>
                <a:gd name="T111" fmla="*/ 0 h 78"/>
                <a:gd name="T112" fmla="*/ 38 w 56"/>
                <a:gd name="T113" fmla="*/ 2 h 78"/>
                <a:gd name="T114" fmla="*/ 40 w 56"/>
                <a:gd name="T115" fmla="*/ 4 h 78"/>
                <a:gd name="T116" fmla="*/ 48 w 56"/>
                <a:gd name="T117" fmla="*/ 6 h 78"/>
                <a:gd name="T118" fmla="*/ 56 w 56"/>
                <a:gd name="T119" fmla="*/ 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" h="78">
                  <a:moveTo>
                    <a:pt x="56" y="8"/>
                  </a:moveTo>
                  <a:lnTo>
                    <a:pt x="56" y="18"/>
                  </a:lnTo>
                  <a:lnTo>
                    <a:pt x="54" y="18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6" y="26"/>
                  </a:lnTo>
                  <a:lnTo>
                    <a:pt x="24" y="26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2" y="36"/>
                  </a:lnTo>
                  <a:lnTo>
                    <a:pt x="22" y="38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6" y="46"/>
                  </a:lnTo>
                  <a:lnTo>
                    <a:pt x="28" y="50"/>
                  </a:lnTo>
                  <a:lnTo>
                    <a:pt x="30" y="50"/>
                  </a:lnTo>
                  <a:lnTo>
                    <a:pt x="30" y="52"/>
                  </a:lnTo>
                  <a:lnTo>
                    <a:pt x="32" y="52"/>
                  </a:lnTo>
                  <a:lnTo>
                    <a:pt x="34" y="54"/>
                  </a:lnTo>
                  <a:lnTo>
                    <a:pt x="38" y="56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2" y="58"/>
                  </a:lnTo>
                  <a:lnTo>
                    <a:pt x="44" y="58"/>
                  </a:lnTo>
                  <a:lnTo>
                    <a:pt x="46" y="60"/>
                  </a:lnTo>
                  <a:lnTo>
                    <a:pt x="46" y="62"/>
                  </a:lnTo>
                  <a:lnTo>
                    <a:pt x="48" y="64"/>
                  </a:lnTo>
                  <a:lnTo>
                    <a:pt x="48" y="66"/>
                  </a:lnTo>
                  <a:lnTo>
                    <a:pt x="50" y="68"/>
                  </a:lnTo>
                  <a:lnTo>
                    <a:pt x="50" y="72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0" y="78"/>
                  </a:lnTo>
                  <a:lnTo>
                    <a:pt x="50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6" y="74"/>
                  </a:lnTo>
                  <a:lnTo>
                    <a:pt x="46" y="72"/>
                  </a:lnTo>
                  <a:lnTo>
                    <a:pt x="44" y="68"/>
                  </a:lnTo>
                  <a:lnTo>
                    <a:pt x="42" y="66"/>
                  </a:lnTo>
                  <a:lnTo>
                    <a:pt x="40" y="64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6" y="60"/>
                  </a:lnTo>
                  <a:lnTo>
                    <a:pt x="34" y="60"/>
                  </a:lnTo>
                  <a:lnTo>
                    <a:pt x="32" y="58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6" y="56"/>
                  </a:lnTo>
                  <a:lnTo>
                    <a:pt x="20" y="54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2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2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2" y="40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6" y="36"/>
                  </a:lnTo>
                  <a:lnTo>
                    <a:pt x="4" y="34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2" y="26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8" y="14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6"/>
                  </a:lnTo>
                  <a:lnTo>
                    <a:pt x="56" y="8"/>
                  </a:lnTo>
                  <a:lnTo>
                    <a:pt x="56" y="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48" name="Freeform 343">
              <a:extLst>
                <a:ext uri="{FF2B5EF4-FFF2-40B4-BE49-F238E27FC236}">
                  <a16:creationId xmlns:a16="http://schemas.microsoft.com/office/drawing/2014/main" id="{19E27084-385B-40C9-8359-6ECD5A43C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0730" y="3434364"/>
              <a:ext cx="44420" cy="36774"/>
            </a:xfrm>
            <a:custGeom>
              <a:avLst/>
              <a:gdLst>
                <a:gd name="T0" fmla="*/ 26 w 26"/>
                <a:gd name="T1" fmla="*/ 0 h 22"/>
                <a:gd name="T2" fmla="*/ 26 w 26"/>
                <a:gd name="T3" fmla="*/ 10 h 22"/>
                <a:gd name="T4" fmla="*/ 24 w 26"/>
                <a:gd name="T5" fmla="*/ 12 h 22"/>
                <a:gd name="T6" fmla="*/ 22 w 26"/>
                <a:gd name="T7" fmla="*/ 16 h 22"/>
                <a:gd name="T8" fmla="*/ 18 w 26"/>
                <a:gd name="T9" fmla="*/ 18 h 22"/>
                <a:gd name="T10" fmla="*/ 16 w 26"/>
                <a:gd name="T11" fmla="*/ 20 h 22"/>
                <a:gd name="T12" fmla="*/ 14 w 26"/>
                <a:gd name="T13" fmla="*/ 22 h 22"/>
                <a:gd name="T14" fmla="*/ 14 w 26"/>
                <a:gd name="T15" fmla="*/ 22 h 22"/>
                <a:gd name="T16" fmla="*/ 12 w 26"/>
                <a:gd name="T17" fmla="*/ 22 h 22"/>
                <a:gd name="T18" fmla="*/ 12 w 26"/>
                <a:gd name="T19" fmla="*/ 22 h 22"/>
                <a:gd name="T20" fmla="*/ 12 w 26"/>
                <a:gd name="T21" fmla="*/ 22 h 22"/>
                <a:gd name="T22" fmla="*/ 10 w 26"/>
                <a:gd name="T23" fmla="*/ 22 h 22"/>
                <a:gd name="T24" fmla="*/ 8 w 26"/>
                <a:gd name="T25" fmla="*/ 22 h 22"/>
                <a:gd name="T26" fmla="*/ 6 w 26"/>
                <a:gd name="T27" fmla="*/ 20 h 22"/>
                <a:gd name="T28" fmla="*/ 2 w 26"/>
                <a:gd name="T29" fmla="*/ 20 h 22"/>
                <a:gd name="T30" fmla="*/ 2 w 26"/>
                <a:gd name="T31" fmla="*/ 18 h 22"/>
                <a:gd name="T32" fmla="*/ 0 w 26"/>
                <a:gd name="T33" fmla="*/ 8 h 22"/>
                <a:gd name="T34" fmla="*/ 12 w 26"/>
                <a:gd name="T35" fmla="*/ 6 h 22"/>
                <a:gd name="T36" fmla="*/ 16 w 26"/>
                <a:gd name="T37" fmla="*/ 2 h 22"/>
                <a:gd name="T38" fmla="*/ 18 w 26"/>
                <a:gd name="T39" fmla="*/ 2 h 22"/>
                <a:gd name="T40" fmla="*/ 20 w 26"/>
                <a:gd name="T41" fmla="*/ 0 h 22"/>
                <a:gd name="T42" fmla="*/ 20 w 26"/>
                <a:gd name="T43" fmla="*/ 0 h 22"/>
                <a:gd name="T44" fmla="*/ 22 w 26"/>
                <a:gd name="T45" fmla="*/ 0 h 22"/>
                <a:gd name="T46" fmla="*/ 24 w 26"/>
                <a:gd name="T47" fmla="*/ 0 h 22"/>
                <a:gd name="T48" fmla="*/ 24 w 26"/>
                <a:gd name="T49" fmla="*/ 0 h 22"/>
                <a:gd name="T50" fmla="*/ 26 w 26"/>
                <a:gd name="T5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" h="22">
                  <a:moveTo>
                    <a:pt x="26" y="0"/>
                  </a:moveTo>
                  <a:lnTo>
                    <a:pt x="26" y="10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18" y="18"/>
                  </a:lnTo>
                  <a:lnTo>
                    <a:pt x="16" y="20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6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8"/>
                  </a:lnTo>
                  <a:lnTo>
                    <a:pt x="12" y="6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49" name="Freeform 345">
              <a:extLst>
                <a:ext uri="{FF2B5EF4-FFF2-40B4-BE49-F238E27FC236}">
                  <a16:creationId xmlns:a16="http://schemas.microsoft.com/office/drawing/2014/main" id="{FFA8A272-864F-4F26-95DA-DED90B758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064" y="3414305"/>
              <a:ext cx="34169" cy="33429"/>
            </a:xfrm>
            <a:custGeom>
              <a:avLst/>
              <a:gdLst>
                <a:gd name="T0" fmla="*/ 0 w 20"/>
                <a:gd name="T1" fmla="*/ 2 h 20"/>
                <a:gd name="T2" fmla="*/ 4 w 20"/>
                <a:gd name="T3" fmla="*/ 0 h 20"/>
                <a:gd name="T4" fmla="*/ 6 w 20"/>
                <a:gd name="T5" fmla="*/ 0 h 20"/>
                <a:gd name="T6" fmla="*/ 8 w 20"/>
                <a:gd name="T7" fmla="*/ 2 h 20"/>
                <a:gd name="T8" fmla="*/ 10 w 20"/>
                <a:gd name="T9" fmla="*/ 4 h 20"/>
                <a:gd name="T10" fmla="*/ 12 w 20"/>
                <a:gd name="T11" fmla="*/ 4 h 20"/>
                <a:gd name="T12" fmla="*/ 14 w 20"/>
                <a:gd name="T13" fmla="*/ 6 h 20"/>
                <a:gd name="T14" fmla="*/ 16 w 20"/>
                <a:gd name="T15" fmla="*/ 6 h 20"/>
                <a:gd name="T16" fmla="*/ 16 w 20"/>
                <a:gd name="T17" fmla="*/ 6 h 20"/>
                <a:gd name="T18" fmla="*/ 16 w 20"/>
                <a:gd name="T19" fmla="*/ 8 h 20"/>
                <a:gd name="T20" fmla="*/ 18 w 20"/>
                <a:gd name="T21" fmla="*/ 10 h 20"/>
                <a:gd name="T22" fmla="*/ 18 w 20"/>
                <a:gd name="T23" fmla="*/ 14 h 20"/>
                <a:gd name="T24" fmla="*/ 20 w 20"/>
                <a:gd name="T25" fmla="*/ 14 h 20"/>
                <a:gd name="T26" fmla="*/ 20 w 20"/>
                <a:gd name="T27" fmla="*/ 16 h 20"/>
                <a:gd name="T28" fmla="*/ 20 w 20"/>
                <a:gd name="T29" fmla="*/ 16 h 20"/>
                <a:gd name="T30" fmla="*/ 20 w 20"/>
                <a:gd name="T31" fmla="*/ 18 h 20"/>
                <a:gd name="T32" fmla="*/ 8 w 20"/>
                <a:gd name="T33" fmla="*/ 20 h 20"/>
                <a:gd name="T34" fmla="*/ 8 w 20"/>
                <a:gd name="T35" fmla="*/ 18 h 20"/>
                <a:gd name="T36" fmla="*/ 8 w 20"/>
                <a:gd name="T37" fmla="*/ 18 h 20"/>
                <a:gd name="T38" fmla="*/ 6 w 20"/>
                <a:gd name="T39" fmla="*/ 16 h 20"/>
                <a:gd name="T40" fmla="*/ 6 w 20"/>
                <a:gd name="T41" fmla="*/ 14 h 20"/>
                <a:gd name="T42" fmla="*/ 6 w 20"/>
                <a:gd name="T43" fmla="*/ 12 h 20"/>
                <a:gd name="T44" fmla="*/ 2 w 20"/>
                <a:gd name="T45" fmla="*/ 8 h 20"/>
                <a:gd name="T46" fmla="*/ 0 w 20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20">
                  <a:moveTo>
                    <a:pt x="0" y="2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8" y="10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2" y="8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50" name="Freeform 347">
              <a:extLst>
                <a:ext uri="{FF2B5EF4-FFF2-40B4-BE49-F238E27FC236}">
                  <a16:creationId xmlns:a16="http://schemas.microsoft.com/office/drawing/2014/main" id="{0909D333-A5FF-4785-98A8-2CA98D11A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6061" y="3397592"/>
              <a:ext cx="47835" cy="43459"/>
            </a:xfrm>
            <a:custGeom>
              <a:avLst/>
              <a:gdLst>
                <a:gd name="T0" fmla="*/ 0 w 28"/>
                <a:gd name="T1" fmla="*/ 20 h 26"/>
                <a:gd name="T2" fmla="*/ 0 w 28"/>
                <a:gd name="T3" fmla="*/ 20 h 26"/>
                <a:gd name="T4" fmla="*/ 0 w 28"/>
                <a:gd name="T5" fmla="*/ 18 h 26"/>
                <a:gd name="T6" fmla="*/ 0 w 28"/>
                <a:gd name="T7" fmla="*/ 16 h 26"/>
                <a:gd name="T8" fmla="*/ 2 w 28"/>
                <a:gd name="T9" fmla="*/ 16 h 26"/>
                <a:gd name="T10" fmla="*/ 2 w 28"/>
                <a:gd name="T11" fmla="*/ 14 h 26"/>
                <a:gd name="T12" fmla="*/ 4 w 28"/>
                <a:gd name="T13" fmla="*/ 10 h 26"/>
                <a:gd name="T14" fmla="*/ 6 w 28"/>
                <a:gd name="T15" fmla="*/ 6 h 26"/>
                <a:gd name="T16" fmla="*/ 6 w 28"/>
                <a:gd name="T17" fmla="*/ 4 h 26"/>
                <a:gd name="T18" fmla="*/ 8 w 28"/>
                <a:gd name="T19" fmla="*/ 4 h 26"/>
                <a:gd name="T20" fmla="*/ 10 w 28"/>
                <a:gd name="T21" fmla="*/ 2 h 26"/>
                <a:gd name="T22" fmla="*/ 10 w 28"/>
                <a:gd name="T23" fmla="*/ 2 h 26"/>
                <a:gd name="T24" fmla="*/ 10 w 28"/>
                <a:gd name="T25" fmla="*/ 2 h 26"/>
                <a:gd name="T26" fmla="*/ 12 w 28"/>
                <a:gd name="T27" fmla="*/ 0 h 26"/>
                <a:gd name="T28" fmla="*/ 12 w 28"/>
                <a:gd name="T29" fmla="*/ 2 h 26"/>
                <a:gd name="T30" fmla="*/ 14 w 28"/>
                <a:gd name="T31" fmla="*/ 2 h 26"/>
                <a:gd name="T32" fmla="*/ 14 w 28"/>
                <a:gd name="T33" fmla="*/ 2 h 26"/>
                <a:gd name="T34" fmla="*/ 16 w 28"/>
                <a:gd name="T35" fmla="*/ 2 h 26"/>
                <a:gd name="T36" fmla="*/ 18 w 28"/>
                <a:gd name="T37" fmla="*/ 2 h 26"/>
                <a:gd name="T38" fmla="*/ 22 w 28"/>
                <a:gd name="T39" fmla="*/ 4 h 26"/>
                <a:gd name="T40" fmla="*/ 24 w 28"/>
                <a:gd name="T41" fmla="*/ 4 h 26"/>
                <a:gd name="T42" fmla="*/ 24 w 28"/>
                <a:gd name="T43" fmla="*/ 4 h 26"/>
                <a:gd name="T44" fmla="*/ 24 w 28"/>
                <a:gd name="T45" fmla="*/ 4 h 26"/>
                <a:gd name="T46" fmla="*/ 26 w 28"/>
                <a:gd name="T47" fmla="*/ 6 h 26"/>
                <a:gd name="T48" fmla="*/ 26 w 28"/>
                <a:gd name="T49" fmla="*/ 8 h 26"/>
                <a:gd name="T50" fmla="*/ 28 w 28"/>
                <a:gd name="T51" fmla="*/ 10 h 26"/>
                <a:gd name="T52" fmla="*/ 22 w 28"/>
                <a:gd name="T53" fmla="*/ 12 h 26"/>
                <a:gd name="T54" fmla="*/ 22 w 28"/>
                <a:gd name="T55" fmla="*/ 12 h 26"/>
                <a:gd name="T56" fmla="*/ 18 w 28"/>
                <a:gd name="T57" fmla="*/ 12 h 26"/>
                <a:gd name="T58" fmla="*/ 18 w 28"/>
                <a:gd name="T59" fmla="*/ 12 h 26"/>
                <a:gd name="T60" fmla="*/ 16 w 28"/>
                <a:gd name="T61" fmla="*/ 14 h 26"/>
                <a:gd name="T62" fmla="*/ 14 w 28"/>
                <a:gd name="T63" fmla="*/ 14 h 26"/>
                <a:gd name="T64" fmla="*/ 14 w 28"/>
                <a:gd name="T65" fmla="*/ 14 h 26"/>
                <a:gd name="T66" fmla="*/ 14 w 28"/>
                <a:gd name="T67" fmla="*/ 16 h 26"/>
                <a:gd name="T68" fmla="*/ 14 w 28"/>
                <a:gd name="T69" fmla="*/ 16 h 26"/>
                <a:gd name="T70" fmla="*/ 14 w 28"/>
                <a:gd name="T71" fmla="*/ 16 h 26"/>
                <a:gd name="T72" fmla="*/ 14 w 28"/>
                <a:gd name="T73" fmla="*/ 18 h 26"/>
                <a:gd name="T74" fmla="*/ 14 w 28"/>
                <a:gd name="T75" fmla="*/ 20 h 26"/>
                <a:gd name="T76" fmla="*/ 14 w 28"/>
                <a:gd name="T77" fmla="*/ 22 h 26"/>
                <a:gd name="T78" fmla="*/ 16 w 28"/>
                <a:gd name="T79" fmla="*/ 26 h 26"/>
                <a:gd name="T80" fmla="*/ 16 w 28"/>
                <a:gd name="T81" fmla="*/ 26 h 26"/>
                <a:gd name="T82" fmla="*/ 10 w 28"/>
                <a:gd name="T83" fmla="*/ 26 h 26"/>
                <a:gd name="T84" fmla="*/ 6 w 28"/>
                <a:gd name="T85" fmla="*/ 24 h 26"/>
                <a:gd name="T86" fmla="*/ 4 w 28"/>
                <a:gd name="T87" fmla="*/ 24 h 26"/>
                <a:gd name="T88" fmla="*/ 2 w 28"/>
                <a:gd name="T89" fmla="*/ 22 h 26"/>
                <a:gd name="T90" fmla="*/ 2 w 28"/>
                <a:gd name="T91" fmla="*/ 22 h 26"/>
                <a:gd name="T92" fmla="*/ 0 w 28"/>
                <a:gd name="T93" fmla="*/ 22 h 26"/>
                <a:gd name="T94" fmla="*/ 0 w 28"/>
                <a:gd name="T95" fmla="*/ 20 h 26"/>
                <a:gd name="T96" fmla="*/ 0 w 28"/>
                <a:gd name="T9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" h="26">
                  <a:moveTo>
                    <a:pt x="0" y="20"/>
                  </a:moveTo>
                  <a:lnTo>
                    <a:pt x="0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6" y="6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2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4" y="24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51" name="Freeform 349">
              <a:extLst>
                <a:ext uri="{FF2B5EF4-FFF2-40B4-BE49-F238E27FC236}">
                  <a16:creationId xmlns:a16="http://schemas.microsoft.com/office/drawing/2014/main" id="{6515F9AF-6794-4D8B-A5EC-16AC5A140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4558" y="3330730"/>
              <a:ext cx="92255" cy="103634"/>
            </a:xfrm>
            <a:custGeom>
              <a:avLst/>
              <a:gdLst>
                <a:gd name="T0" fmla="*/ 46 w 54"/>
                <a:gd name="T1" fmla="*/ 12 h 62"/>
                <a:gd name="T2" fmla="*/ 50 w 54"/>
                <a:gd name="T3" fmla="*/ 20 h 62"/>
                <a:gd name="T4" fmla="*/ 52 w 54"/>
                <a:gd name="T5" fmla="*/ 26 h 62"/>
                <a:gd name="T6" fmla="*/ 54 w 54"/>
                <a:gd name="T7" fmla="*/ 30 h 62"/>
                <a:gd name="T8" fmla="*/ 54 w 54"/>
                <a:gd name="T9" fmla="*/ 34 h 62"/>
                <a:gd name="T10" fmla="*/ 54 w 54"/>
                <a:gd name="T11" fmla="*/ 38 h 62"/>
                <a:gd name="T12" fmla="*/ 52 w 54"/>
                <a:gd name="T13" fmla="*/ 44 h 62"/>
                <a:gd name="T14" fmla="*/ 48 w 54"/>
                <a:gd name="T15" fmla="*/ 42 h 62"/>
                <a:gd name="T16" fmla="*/ 48 w 54"/>
                <a:gd name="T17" fmla="*/ 42 h 62"/>
                <a:gd name="T18" fmla="*/ 46 w 54"/>
                <a:gd name="T19" fmla="*/ 42 h 62"/>
                <a:gd name="T20" fmla="*/ 44 w 54"/>
                <a:gd name="T21" fmla="*/ 46 h 62"/>
                <a:gd name="T22" fmla="*/ 40 w 54"/>
                <a:gd name="T23" fmla="*/ 52 h 62"/>
                <a:gd name="T24" fmla="*/ 38 w 54"/>
                <a:gd name="T25" fmla="*/ 56 h 62"/>
                <a:gd name="T26" fmla="*/ 36 w 54"/>
                <a:gd name="T27" fmla="*/ 60 h 62"/>
                <a:gd name="T28" fmla="*/ 36 w 54"/>
                <a:gd name="T29" fmla="*/ 62 h 62"/>
                <a:gd name="T30" fmla="*/ 32 w 54"/>
                <a:gd name="T31" fmla="*/ 58 h 62"/>
                <a:gd name="T32" fmla="*/ 32 w 54"/>
                <a:gd name="T33" fmla="*/ 56 h 62"/>
                <a:gd name="T34" fmla="*/ 32 w 54"/>
                <a:gd name="T35" fmla="*/ 54 h 62"/>
                <a:gd name="T36" fmla="*/ 30 w 54"/>
                <a:gd name="T37" fmla="*/ 50 h 62"/>
                <a:gd name="T38" fmla="*/ 28 w 54"/>
                <a:gd name="T39" fmla="*/ 46 h 62"/>
                <a:gd name="T40" fmla="*/ 24 w 54"/>
                <a:gd name="T41" fmla="*/ 42 h 62"/>
                <a:gd name="T42" fmla="*/ 22 w 54"/>
                <a:gd name="T43" fmla="*/ 38 h 62"/>
                <a:gd name="T44" fmla="*/ 20 w 54"/>
                <a:gd name="T45" fmla="*/ 36 h 62"/>
                <a:gd name="T46" fmla="*/ 14 w 54"/>
                <a:gd name="T47" fmla="*/ 34 h 62"/>
                <a:gd name="T48" fmla="*/ 10 w 54"/>
                <a:gd name="T49" fmla="*/ 32 h 62"/>
                <a:gd name="T50" fmla="*/ 8 w 54"/>
                <a:gd name="T51" fmla="*/ 30 h 62"/>
                <a:gd name="T52" fmla="*/ 4 w 54"/>
                <a:gd name="T53" fmla="*/ 24 h 62"/>
                <a:gd name="T54" fmla="*/ 2 w 54"/>
                <a:gd name="T55" fmla="*/ 18 h 62"/>
                <a:gd name="T56" fmla="*/ 0 w 54"/>
                <a:gd name="T57" fmla="*/ 14 h 62"/>
                <a:gd name="T58" fmla="*/ 0 w 54"/>
                <a:gd name="T59" fmla="*/ 12 h 62"/>
                <a:gd name="T60" fmla="*/ 0 w 54"/>
                <a:gd name="T61" fmla="*/ 10 h 62"/>
                <a:gd name="T62" fmla="*/ 2 w 54"/>
                <a:gd name="T63" fmla="*/ 8 h 62"/>
                <a:gd name="T64" fmla="*/ 6 w 54"/>
                <a:gd name="T65" fmla="*/ 6 h 62"/>
                <a:gd name="T66" fmla="*/ 10 w 54"/>
                <a:gd name="T67" fmla="*/ 4 h 62"/>
                <a:gd name="T68" fmla="*/ 16 w 54"/>
                <a:gd name="T69" fmla="*/ 2 h 62"/>
                <a:gd name="T70" fmla="*/ 24 w 54"/>
                <a:gd name="T71" fmla="*/ 0 h 62"/>
                <a:gd name="T72" fmla="*/ 34 w 54"/>
                <a:gd name="T73" fmla="*/ 0 h 62"/>
                <a:gd name="T74" fmla="*/ 40 w 54"/>
                <a:gd name="T75" fmla="*/ 4 h 62"/>
                <a:gd name="T76" fmla="*/ 46 w 54"/>
                <a:gd name="T77" fmla="*/ 1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4" h="62">
                  <a:moveTo>
                    <a:pt x="46" y="12"/>
                  </a:moveTo>
                  <a:lnTo>
                    <a:pt x="46" y="12"/>
                  </a:lnTo>
                  <a:lnTo>
                    <a:pt x="48" y="16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2" y="26"/>
                  </a:lnTo>
                  <a:lnTo>
                    <a:pt x="52" y="28"/>
                  </a:lnTo>
                  <a:lnTo>
                    <a:pt x="54" y="30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6"/>
                  </a:lnTo>
                  <a:lnTo>
                    <a:pt x="54" y="38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0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4" y="44"/>
                  </a:lnTo>
                  <a:lnTo>
                    <a:pt x="44" y="46"/>
                  </a:lnTo>
                  <a:lnTo>
                    <a:pt x="42" y="48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8" y="56"/>
                  </a:lnTo>
                  <a:lnTo>
                    <a:pt x="36" y="58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2"/>
                  </a:lnTo>
                  <a:lnTo>
                    <a:pt x="30" y="58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4"/>
                  </a:lnTo>
                  <a:lnTo>
                    <a:pt x="30" y="52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8" y="46"/>
                  </a:lnTo>
                  <a:lnTo>
                    <a:pt x="26" y="44"/>
                  </a:lnTo>
                  <a:lnTo>
                    <a:pt x="24" y="42"/>
                  </a:lnTo>
                  <a:lnTo>
                    <a:pt x="24" y="40"/>
                  </a:lnTo>
                  <a:lnTo>
                    <a:pt x="22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4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4" y="8"/>
                  </a:lnTo>
                  <a:lnTo>
                    <a:pt x="46" y="10"/>
                  </a:lnTo>
                  <a:lnTo>
                    <a:pt x="46" y="1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52" name="Freeform 351">
              <a:extLst>
                <a:ext uri="{FF2B5EF4-FFF2-40B4-BE49-F238E27FC236}">
                  <a16:creationId xmlns:a16="http://schemas.microsoft.com/office/drawing/2014/main" id="{BAC53B58-5004-4962-9D5F-0A8D0902F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6312" y="3324045"/>
              <a:ext cx="92255" cy="120347"/>
            </a:xfrm>
            <a:custGeom>
              <a:avLst/>
              <a:gdLst>
                <a:gd name="T0" fmla="*/ 20 w 54"/>
                <a:gd name="T1" fmla="*/ 2 h 72"/>
                <a:gd name="T2" fmla="*/ 18 w 54"/>
                <a:gd name="T3" fmla="*/ 2 h 72"/>
                <a:gd name="T4" fmla="*/ 14 w 54"/>
                <a:gd name="T5" fmla="*/ 2 h 72"/>
                <a:gd name="T6" fmla="*/ 12 w 54"/>
                <a:gd name="T7" fmla="*/ 4 h 72"/>
                <a:gd name="T8" fmla="*/ 10 w 54"/>
                <a:gd name="T9" fmla="*/ 4 h 72"/>
                <a:gd name="T10" fmla="*/ 4 w 54"/>
                <a:gd name="T11" fmla="*/ 8 h 72"/>
                <a:gd name="T12" fmla="*/ 2 w 54"/>
                <a:gd name="T13" fmla="*/ 8 h 72"/>
                <a:gd name="T14" fmla="*/ 2 w 54"/>
                <a:gd name="T15" fmla="*/ 12 h 72"/>
                <a:gd name="T16" fmla="*/ 4 w 54"/>
                <a:gd name="T17" fmla="*/ 16 h 72"/>
                <a:gd name="T18" fmla="*/ 8 w 54"/>
                <a:gd name="T19" fmla="*/ 24 h 72"/>
                <a:gd name="T20" fmla="*/ 10 w 54"/>
                <a:gd name="T21" fmla="*/ 30 h 72"/>
                <a:gd name="T22" fmla="*/ 12 w 54"/>
                <a:gd name="T23" fmla="*/ 34 h 72"/>
                <a:gd name="T24" fmla="*/ 12 w 54"/>
                <a:gd name="T25" fmla="*/ 38 h 72"/>
                <a:gd name="T26" fmla="*/ 12 w 54"/>
                <a:gd name="T27" fmla="*/ 40 h 72"/>
                <a:gd name="T28" fmla="*/ 10 w 54"/>
                <a:gd name="T29" fmla="*/ 46 h 72"/>
                <a:gd name="T30" fmla="*/ 14 w 54"/>
                <a:gd name="T31" fmla="*/ 48 h 72"/>
                <a:gd name="T32" fmla="*/ 18 w 54"/>
                <a:gd name="T33" fmla="*/ 48 h 72"/>
                <a:gd name="T34" fmla="*/ 20 w 54"/>
                <a:gd name="T35" fmla="*/ 50 h 72"/>
                <a:gd name="T36" fmla="*/ 22 w 54"/>
                <a:gd name="T37" fmla="*/ 52 h 72"/>
                <a:gd name="T38" fmla="*/ 24 w 54"/>
                <a:gd name="T39" fmla="*/ 54 h 72"/>
                <a:gd name="T40" fmla="*/ 30 w 54"/>
                <a:gd name="T41" fmla="*/ 56 h 72"/>
                <a:gd name="T42" fmla="*/ 32 w 54"/>
                <a:gd name="T43" fmla="*/ 60 h 72"/>
                <a:gd name="T44" fmla="*/ 34 w 54"/>
                <a:gd name="T45" fmla="*/ 60 h 72"/>
                <a:gd name="T46" fmla="*/ 36 w 54"/>
                <a:gd name="T47" fmla="*/ 64 h 72"/>
                <a:gd name="T48" fmla="*/ 38 w 54"/>
                <a:gd name="T49" fmla="*/ 68 h 72"/>
                <a:gd name="T50" fmla="*/ 38 w 54"/>
                <a:gd name="T51" fmla="*/ 70 h 72"/>
                <a:gd name="T52" fmla="*/ 42 w 54"/>
                <a:gd name="T53" fmla="*/ 70 h 72"/>
                <a:gd name="T54" fmla="*/ 46 w 54"/>
                <a:gd name="T55" fmla="*/ 68 h 72"/>
                <a:gd name="T56" fmla="*/ 48 w 54"/>
                <a:gd name="T57" fmla="*/ 66 h 72"/>
                <a:gd name="T58" fmla="*/ 52 w 54"/>
                <a:gd name="T59" fmla="*/ 66 h 72"/>
                <a:gd name="T60" fmla="*/ 52 w 54"/>
                <a:gd name="T61" fmla="*/ 58 h 72"/>
                <a:gd name="T62" fmla="*/ 52 w 54"/>
                <a:gd name="T63" fmla="*/ 54 h 72"/>
                <a:gd name="T64" fmla="*/ 50 w 54"/>
                <a:gd name="T65" fmla="*/ 52 h 72"/>
                <a:gd name="T66" fmla="*/ 46 w 54"/>
                <a:gd name="T67" fmla="*/ 44 h 72"/>
                <a:gd name="T68" fmla="*/ 44 w 54"/>
                <a:gd name="T69" fmla="*/ 40 h 72"/>
                <a:gd name="T70" fmla="*/ 42 w 54"/>
                <a:gd name="T71" fmla="*/ 36 h 72"/>
                <a:gd name="T72" fmla="*/ 42 w 54"/>
                <a:gd name="T73" fmla="*/ 34 h 72"/>
                <a:gd name="T74" fmla="*/ 42 w 54"/>
                <a:gd name="T75" fmla="*/ 32 h 72"/>
                <a:gd name="T76" fmla="*/ 44 w 54"/>
                <a:gd name="T77" fmla="*/ 30 h 72"/>
                <a:gd name="T78" fmla="*/ 48 w 54"/>
                <a:gd name="T79" fmla="*/ 26 h 72"/>
                <a:gd name="T80" fmla="*/ 54 w 54"/>
                <a:gd name="T81" fmla="*/ 22 h 72"/>
                <a:gd name="T82" fmla="*/ 52 w 54"/>
                <a:gd name="T83" fmla="*/ 18 h 72"/>
                <a:gd name="T84" fmla="*/ 46 w 54"/>
                <a:gd name="T85" fmla="*/ 14 h 72"/>
                <a:gd name="T86" fmla="*/ 40 w 54"/>
                <a:gd name="T87" fmla="*/ 10 h 72"/>
                <a:gd name="T88" fmla="*/ 22 w 54"/>
                <a:gd name="T89" fmla="*/ 0 h 72"/>
                <a:gd name="T90" fmla="*/ 20 w 54"/>
                <a:gd name="T91" fmla="*/ 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4" h="72">
                  <a:moveTo>
                    <a:pt x="20" y="2"/>
                  </a:moveTo>
                  <a:lnTo>
                    <a:pt x="20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6" y="20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0" y="30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0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2" y="52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0" y="56"/>
                  </a:lnTo>
                  <a:lnTo>
                    <a:pt x="30" y="58"/>
                  </a:lnTo>
                  <a:lnTo>
                    <a:pt x="32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62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8" y="68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40" y="72"/>
                  </a:lnTo>
                  <a:lnTo>
                    <a:pt x="42" y="70"/>
                  </a:lnTo>
                  <a:lnTo>
                    <a:pt x="44" y="68"/>
                  </a:lnTo>
                  <a:lnTo>
                    <a:pt x="46" y="68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50" y="66"/>
                  </a:lnTo>
                  <a:lnTo>
                    <a:pt x="52" y="66"/>
                  </a:lnTo>
                  <a:lnTo>
                    <a:pt x="52" y="62"/>
                  </a:lnTo>
                  <a:lnTo>
                    <a:pt x="52" y="58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0" y="54"/>
                  </a:lnTo>
                  <a:lnTo>
                    <a:pt x="50" y="52"/>
                  </a:lnTo>
                  <a:lnTo>
                    <a:pt x="48" y="48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4" y="30"/>
                  </a:lnTo>
                  <a:lnTo>
                    <a:pt x="44" y="28"/>
                  </a:lnTo>
                  <a:lnTo>
                    <a:pt x="48" y="26"/>
                  </a:lnTo>
                  <a:lnTo>
                    <a:pt x="50" y="26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18"/>
                  </a:lnTo>
                  <a:lnTo>
                    <a:pt x="48" y="16"/>
                  </a:lnTo>
                  <a:lnTo>
                    <a:pt x="46" y="14"/>
                  </a:lnTo>
                  <a:lnTo>
                    <a:pt x="44" y="12"/>
                  </a:lnTo>
                  <a:lnTo>
                    <a:pt x="40" y="10"/>
                  </a:lnTo>
                  <a:lnTo>
                    <a:pt x="32" y="8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53" name="Freeform 353">
              <a:extLst>
                <a:ext uri="{FF2B5EF4-FFF2-40B4-BE49-F238E27FC236}">
                  <a16:creationId xmlns:a16="http://schemas.microsoft.com/office/drawing/2014/main" id="{BAD209D4-70F0-4504-9365-459E03939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6061" y="3297301"/>
              <a:ext cx="47835" cy="43459"/>
            </a:xfrm>
            <a:custGeom>
              <a:avLst/>
              <a:gdLst>
                <a:gd name="T0" fmla="*/ 26 w 28"/>
                <a:gd name="T1" fmla="*/ 20 h 26"/>
                <a:gd name="T2" fmla="*/ 26 w 28"/>
                <a:gd name="T3" fmla="*/ 20 h 26"/>
                <a:gd name="T4" fmla="*/ 26 w 28"/>
                <a:gd name="T5" fmla="*/ 20 h 26"/>
                <a:gd name="T6" fmla="*/ 24 w 28"/>
                <a:gd name="T7" fmla="*/ 20 h 26"/>
                <a:gd name="T8" fmla="*/ 22 w 28"/>
                <a:gd name="T9" fmla="*/ 20 h 26"/>
                <a:gd name="T10" fmla="*/ 20 w 28"/>
                <a:gd name="T11" fmla="*/ 20 h 26"/>
                <a:gd name="T12" fmla="*/ 18 w 28"/>
                <a:gd name="T13" fmla="*/ 20 h 26"/>
                <a:gd name="T14" fmla="*/ 18 w 28"/>
                <a:gd name="T15" fmla="*/ 20 h 26"/>
                <a:gd name="T16" fmla="*/ 16 w 28"/>
                <a:gd name="T17" fmla="*/ 20 h 26"/>
                <a:gd name="T18" fmla="*/ 16 w 28"/>
                <a:gd name="T19" fmla="*/ 22 h 26"/>
                <a:gd name="T20" fmla="*/ 12 w 28"/>
                <a:gd name="T21" fmla="*/ 22 h 26"/>
                <a:gd name="T22" fmla="*/ 10 w 28"/>
                <a:gd name="T23" fmla="*/ 24 h 26"/>
                <a:gd name="T24" fmla="*/ 8 w 28"/>
                <a:gd name="T25" fmla="*/ 26 h 26"/>
                <a:gd name="T26" fmla="*/ 6 w 28"/>
                <a:gd name="T27" fmla="*/ 26 h 26"/>
                <a:gd name="T28" fmla="*/ 6 w 28"/>
                <a:gd name="T29" fmla="*/ 26 h 26"/>
                <a:gd name="T30" fmla="*/ 0 w 28"/>
                <a:gd name="T31" fmla="*/ 20 h 26"/>
                <a:gd name="T32" fmla="*/ 0 w 28"/>
                <a:gd name="T33" fmla="*/ 8 h 26"/>
                <a:gd name="T34" fmla="*/ 0 w 28"/>
                <a:gd name="T35" fmla="*/ 8 h 26"/>
                <a:gd name="T36" fmla="*/ 0 w 28"/>
                <a:gd name="T37" fmla="*/ 6 h 26"/>
                <a:gd name="T38" fmla="*/ 2 w 28"/>
                <a:gd name="T39" fmla="*/ 4 h 26"/>
                <a:gd name="T40" fmla="*/ 4 w 28"/>
                <a:gd name="T41" fmla="*/ 4 h 26"/>
                <a:gd name="T42" fmla="*/ 6 w 28"/>
                <a:gd name="T43" fmla="*/ 2 h 26"/>
                <a:gd name="T44" fmla="*/ 6 w 28"/>
                <a:gd name="T45" fmla="*/ 2 h 26"/>
                <a:gd name="T46" fmla="*/ 8 w 28"/>
                <a:gd name="T47" fmla="*/ 0 h 26"/>
                <a:gd name="T48" fmla="*/ 10 w 28"/>
                <a:gd name="T49" fmla="*/ 0 h 26"/>
                <a:gd name="T50" fmla="*/ 10 w 28"/>
                <a:gd name="T51" fmla="*/ 0 h 26"/>
                <a:gd name="T52" fmla="*/ 12 w 28"/>
                <a:gd name="T53" fmla="*/ 0 h 26"/>
                <a:gd name="T54" fmla="*/ 14 w 28"/>
                <a:gd name="T55" fmla="*/ 0 h 26"/>
                <a:gd name="T56" fmla="*/ 18 w 28"/>
                <a:gd name="T57" fmla="*/ 2 h 26"/>
                <a:gd name="T58" fmla="*/ 20 w 28"/>
                <a:gd name="T59" fmla="*/ 2 h 26"/>
                <a:gd name="T60" fmla="*/ 20 w 28"/>
                <a:gd name="T61" fmla="*/ 4 h 26"/>
                <a:gd name="T62" fmla="*/ 20 w 28"/>
                <a:gd name="T63" fmla="*/ 8 h 26"/>
                <a:gd name="T64" fmla="*/ 22 w 28"/>
                <a:gd name="T65" fmla="*/ 10 h 26"/>
                <a:gd name="T66" fmla="*/ 22 w 28"/>
                <a:gd name="T67" fmla="*/ 12 h 26"/>
                <a:gd name="T68" fmla="*/ 22 w 28"/>
                <a:gd name="T69" fmla="*/ 14 h 26"/>
                <a:gd name="T70" fmla="*/ 24 w 28"/>
                <a:gd name="T71" fmla="*/ 14 h 26"/>
                <a:gd name="T72" fmla="*/ 24 w 28"/>
                <a:gd name="T73" fmla="*/ 16 h 26"/>
                <a:gd name="T74" fmla="*/ 24 w 28"/>
                <a:gd name="T75" fmla="*/ 16 h 26"/>
                <a:gd name="T76" fmla="*/ 24 w 28"/>
                <a:gd name="T77" fmla="*/ 16 h 26"/>
                <a:gd name="T78" fmla="*/ 26 w 28"/>
                <a:gd name="T79" fmla="*/ 16 h 26"/>
                <a:gd name="T80" fmla="*/ 28 w 28"/>
                <a:gd name="T81" fmla="*/ 18 h 26"/>
                <a:gd name="T82" fmla="*/ 28 w 28"/>
                <a:gd name="T83" fmla="*/ 18 h 26"/>
                <a:gd name="T84" fmla="*/ 26 w 28"/>
                <a:gd name="T85" fmla="*/ 18 h 26"/>
                <a:gd name="T86" fmla="*/ 26 w 28"/>
                <a:gd name="T87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" h="26">
                  <a:moveTo>
                    <a:pt x="26" y="20"/>
                  </a:moveTo>
                  <a:lnTo>
                    <a:pt x="26" y="20"/>
                  </a:lnTo>
                  <a:lnTo>
                    <a:pt x="26" y="20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22"/>
                  </a:lnTo>
                  <a:lnTo>
                    <a:pt x="12" y="22"/>
                  </a:lnTo>
                  <a:lnTo>
                    <a:pt x="10" y="24"/>
                  </a:lnTo>
                  <a:lnTo>
                    <a:pt x="8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0" y="2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2" y="10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4" y="14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6" y="16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6" y="2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54" name="Freeform 357">
              <a:extLst>
                <a:ext uri="{FF2B5EF4-FFF2-40B4-BE49-F238E27FC236}">
                  <a16:creationId xmlns:a16="http://schemas.microsoft.com/office/drawing/2014/main" id="{9C72057C-B507-4426-BAC3-DB21621E7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482" y="3066635"/>
              <a:ext cx="396355" cy="297526"/>
            </a:xfrm>
            <a:custGeom>
              <a:avLst/>
              <a:gdLst>
                <a:gd name="T0" fmla="*/ 228 w 232"/>
                <a:gd name="T1" fmla="*/ 66 h 178"/>
                <a:gd name="T2" fmla="*/ 210 w 232"/>
                <a:gd name="T3" fmla="*/ 50 h 178"/>
                <a:gd name="T4" fmla="*/ 180 w 232"/>
                <a:gd name="T5" fmla="*/ 30 h 178"/>
                <a:gd name="T6" fmla="*/ 172 w 232"/>
                <a:gd name="T7" fmla="*/ 22 h 178"/>
                <a:gd name="T8" fmla="*/ 168 w 232"/>
                <a:gd name="T9" fmla="*/ 6 h 178"/>
                <a:gd name="T10" fmla="*/ 162 w 232"/>
                <a:gd name="T11" fmla="*/ 2 h 178"/>
                <a:gd name="T12" fmla="*/ 144 w 232"/>
                <a:gd name="T13" fmla="*/ 2 h 178"/>
                <a:gd name="T14" fmla="*/ 122 w 232"/>
                <a:gd name="T15" fmla="*/ 16 h 178"/>
                <a:gd name="T16" fmla="*/ 112 w 232"/>
                <a:gd name="T17" fmla="*/ 24 h 178"/>
                <a:gd name="T18" fmla="*/ 92 w 232"/>
                <a:gd name="T19" fmla="*/ 30 h 178"/>
                <a:gd name="T20" fmla="*/ 42 w 232"/>
                <a:gd name="T21" fmla="*/ 32 h 178"/>
                <a:gd name="T22" fmla="*/ 16 w 232"/>
                <a:gd name="T23" fmla="*/ 44 h 178"/>
                <a:gd name="T24" fmla="*/ 16 w 232"/>
                <a:gd name="T25" fmla="*/ 58 h 178"/>
                <a:gd name="T26" fmla="*/ 6 w 232"/>
                <a:gd name="T27" fmla="*/ 66 h 178"/>
                <a:gd name="T28" fmla="*/ 16 w 232"/>
                <a:gd name="T29" fmla="*/ 108 h 178"/>
                <a:gd name="T30" fmla="*/ 24 w 232"/>
                <a:gd name="T31" fmla="*/ 110 h 178"/>
                <a:gd name="T32" fmla="*/ 36 w 232"/>
                <a:gd name="T33" fmla="*/ 116 h 178"/>
                <a:gd name="T34" fmla="*/ 52 w 232"/>
                <a:gd name="T35" fmla="*/ 116 h 178"/>
                <a:gd name="T36" fmla="*/ 68 w 232"/>
                <a:gd name="T37" fmla="*/ 110 h 178"/>
                <a:gd name="T38" fmla="*/ 82 w 232"/>
                <a:gd name="T39" fmla="*/ 112 h 178"/>
                <a:gd name="T40" fmla="*/ 92 w 232"/>
                <a:gd name="T41" fmla="*/ 120 h 178"/>
                <a:gd name="T42" fmla="*/ 104 w 232"/>
                <a:gd name="T43" fmla="*/ 140 h 178"/>
                <a:gd name="T44" fmla="*/ 106 w 232"/>
                <a:gd name="T45" fmla="*/ 150 h 178"/>
                <a:gd name="T46" fmla="*/ 98 w 232"/>
                <a:gd name="T47" fmla="*/ 170 h 178"/>
                <a:gd name="T48" fmla="*/ 110 w 232"/>
                <a:gd name="T49" fmla="*/ 158 h 178"/>
                <a:gd name="T50" fmla="*/ 114 w 232"/>
                <a:gd name="T51" fmla="*/ 142 h 178"/>
                <a:gd name="T52" fmla="*/ 116 w 232"/>
                <a:gd name="T53" fmla="*/ 126 h 178"/>
                <a:gd name="T54" fmla="*/ 126 w 232"/>
                <a:gd name="T55" fmla="*/ 122 h 178"/>
                <a:gd name="T56" fmla="*/ 134 w 232"/>
                <a:gd name="T57" fmla="*/ 124 h 178"/>
                <a:gd name="T58" fmla="*/ 136 w 232"/>
                <a:gd name="T59" fmla="*/ 136 h 178"/>
                <a:gd name="T60" fmla="*/ 140 w 232"/>
                <a:gd name="T61" fmla="*/ 142 h 178"/>
                <a:gd name="T62" fmla="*/ 150 w 232"/>
                <a:gd name="T63" fmla="*/ 144 h 178"/>
                <a:gd name="T64" fmla="*/ 150 w 232"/>
                <a:gd name="T65" fmla="*/ 156 h 178"/>
                <a:gd name="T66" fmla="*/ 144 w 232"/>
                <a:gd name="T67" fmla="*/ 162 h 178"/>
                <a:gd name="T68" fmla="*/ 136 w 232"/>
                <a:gd name="T69" fmla="*/ 166 h 178"/>
                <a:gd name="T70" fmla="*/ 130 w 232"/>
                <a:gd name="T71" fmla="*/ 174 h 178"/>
                <a:gd name="T72" fmla="*/ 138 w 232"/>
                <a:gd name="T73" fmla="*/ 178 h 178"/>
                <a:gd name="T74" fmla="*/ 154 w 232"/>
                <a:gd name="T75" fmla="*/ 176 h 178"/>
                <a:gd name="T76" fmla="*/ 166 w 232"/>
                <a:gd name="T77" fmla="*/ 176 h 178"/>
                <a:gd name="T78" fmla="*/ 186 w 232"/>
                <a:gd name="T79" fmla="*/ 166 h 178"/>
                <a:gd name="T80" fmla="*/ 192 w 232"/>
                <a:gd name="T81" fmla="*/ 164 h 178"/>
                <a:gd name="T82" fmla="*/ 188 w 232"/>
                <a:gd name="T83" fmla="*/ 158 h 178"/>
                <a:gd name="T84" fmla="*/ 178 w 232"/>
                <a:gd name="T85" fmla="*/ 158 h 178"/>
                <a:gd name="T86" fmla="*/ 166 w 232"/>
                <a:gd name="T87" fmla="*/ 152 h 178"/>
                <a:gd name="T88" fmla="*/ 164 w 232"/>
                <a:gd name="T89" fmla="*/ 146 h 178"/>
                <a:gd name="T90" fmla="*/ 176 w 232"/>
                <a:gd name="T91" fmla="*/ 138 h 178"/>
                <a:gd name="T92" fmla="*/ 180 w 232"/>
                <a:gd name="T93" fmla="*/ 132 h 178"/>
                <a:gd name="T94" fmla="*/ 184 w 232"/>
                <a:gd name="T95" fmla="*/ 128 h 178"/>
                <a:gd name="T96" fmla="*/ 194 w 232"/>
                <a:gd name="T97" fmla="*/ 128 h 178"/>
                <a:gd name="T98" fmla="*/ 218 w 232"/>
                <a:gd name="T99" fmla="*/ 120 h 178"/>
                <a:gd name="T100" fmla="*/ 222 w 232"/>
                <a:gd name="T101" fmla="*/ 114 h 178"/>
                <a:gd name="T102" fmla="*/ 228 w 232"/>
                <a:gd name="T103" fmla="*/ 94 h 178"/>
                <a:gd name="T104" fmla="*/ 232 w 232"/>
                <a:gd name="T105" fmla="*/ 7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2" h="178">
                  <a:moveTo>
                    <a:pt x="232" y="72"/>
                  </a:moveTo>
                  <a:lnTo>
                    <a:pt x="232" y="72"/>
                  </a:lnTo>
                  <a:lnTo>
                    <a:pt x="230" y="70"/>
                  </a:lnTo>
                  <a:lnTo>
                    <a:pt x="230" y="68"/>
                  </a:lnTo>
                  <a:lnTo>
                    <a:pt x="228" y="68"/>
                  </a:lnTo>
                  <a:lnTo>
                    <a:pt x="228" y="66"/>
                  </a:lnTo>
                  <a:lnTo>
                    <a:pt x="226" y="64"/>
                  </a:lnTo>
                  <a:lnTo>
                    <a:pt x="224" y="62"/>
                  </a:lnTo>
                  <a:lnTo>
                    <a:pt x="222" y="60"/>
                  </a:lnTo>
                  <a:lnTo>
                    <a:pt x="218" y="56"/>
                  </a:lnTo>
                  <a:lnTo>
                    <a:pt x="214" y="54"/>
                  </a:lnTo>
                  <a:lnTo>
                    <a:pt x="210" y="50"/>
                  </a:lnTo>
                  <a:lnTo>
                    <a:pt x="204" y="48"/>
                  </a:lnTo>
                  <a:lnTo>
                    <a:pt x="196" y="42"/>
                  </a:lnTo>
                  <a:lnTo>
                    <a:pt x="190" y="38"/>
                  </a:lnTo>
                  <a:lnTo>
                    <a:pt x="186" y="36"/>
                  </a:lnTo>
                  <a:lnTo>
                    <a:pt x="182" y="32"/>
                  </a:lnTo>
                  <a:lnTo>
                    <a:pt x="180" y="30"/>
                  </a:lnTo>
                  <a:lnTo>
                    <a:pt x="178" y="28"/>
                  </a:lnTo>
                  <a:lnTo>
                    <a:pt x="176" y="28"/>
                  </a:lnTo>
                  <a:lnTo>
                    <a:pt x="176" y="26"/>
                  </a:lnTo>
                  <a:lnTo>
                    <a:pt x="174" y="24"/>
                  </a:lnTo>
                  <a:lnTo>
                    <a:pt x="174" y="24"/>
                  </a:lnTo>
                  <a:lnTo>
                    <a:pt x="172" y="22"/>
                  </a:lnTo>
                  <a:lnTo>
                    <a:pt x="172" y="20"/>
                  </a:lnTo>
                  <a:lnTo>
                    <a:pt x="172" y="16"/>
                  </a:lnTo>
                  <a:lnTo>
                    <a:pt x="170" y="12"/>
                  </a:lnTo>
                  <a:lnTo>
                    <a:pt x="170" y="10"/>
                  </a:lnTo>
                  <a:lnTo>
                    <a:pt x="168" y="6"/>
                  </a:lnTo>
                  <a:lnTo>
                    <a:pt x="168" y="6"/>
                  </a:lnTo>
                  <a:lnTo>
                    <a:pt x="168" y="4"/>
                  </a:lnTo>
                  <a:lnTo>
                    <a:pt x="166" y="4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2" y="2"/>
                  </a:lnTo>
                  <a:lnTo>
                    <a:pt x="160" y="2"/>
                  </a:lnTo>
                  <a:lnTo>
                    <a:pt x="156" y="0"/>
                  </a:lnTo>
                  <a:lnTo>
                    <a:pt x="154" y="2"/>
                  </a:lnTo>
                  <a:lnTo>
                    <a:pt x="150" y="2"/>
                  </a:lnTo>
                  <a:lnTo>
                    <a:pt x="146" y="2"/>
                  </a:lnTo>
                  <a:lnTo>
                    <a:pt x="144" y="2"/>
                  </a:lnTo>
                  <a:lnTo>
                    <a:pt x="138" y="2"/>
                  </a:lnTo>
                  <a:lnTo>
                    <a:pt x="132" y="4"/>
                  </a:lnTo>
                  <a:lnTo>
                    <a:pt x="128" y="6"/>
                  </a:lnTo>
                  <a:lnTo>
                    <a:pt x="126" y="8"/>
                  </a:lnTo>
                  <a:lnTo>
                    <a:pt x="124" y="12"/>
                  </a:lnTo>
                  <a:lnTo>
                    <a:pt x="122" y="16"/>
                  </a:lnTo>
                  <a:lnTo>
                    <a:pt x="120" y="18"/>
                  </a:lnTo>
                  <a:lnTo>
                    <a:pt x="120" y="20"/>
                  </a:lnTo>
                  <a:lnTo>
                    <a:pt x="118" y="20"/>
                  </a:lnTo>
                  <a:lnTo>
                    <a:pt x="118" y="22"/>
                  </a:lnTo>
                  <a:lnTo>
                    <a:pt x="116" y="22"/>
                  </a:lnTo>
                  <a:lnTo>
                    <a:pt x="112" y="24"/>
                  </a:lnTo>
                  <a:lnTo>
                    <a:pt x="110" y="24"/>
                  </a:lnTo>
                  <a:lnTo>
                    <a:pt x="106" y="26"/>
                  </a:lnTo>
                  <a:lnTo>
                    <a:pt x="104" y="26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2" y="30"/>
                  </a:lnTo>
                  <a:lnTo>
                    <a:pt x="84" y="30"/>
                  </a:lnTo>
                  <a:lnTo>
                    <a:pt x="76" y="32"/>
                  </a:lnTo>
                  <a:lnTo>
                    <a:pt x="66" y="32"/>
                  </a:lnTo>
                  <a:lnTo>
                    <a:pt x="58" y="32"/>
                  </a:lnTo>
                  <a:lnTo>
                    <a:pt x="50" y="32"/>
                  </a:lnTo>
                  <a:lnTo>
                    <a:pt x="42" y="32"/>
                  </a:lnTo>
                  <a:lnTo>
                    <a:pt x="28" y="32"/>
                  </a:lnTo>
                  <a:lnTo>
                    <a:pt x="18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4"/>
                  </a:lnTo>
                  <a:lnTo>
                    <a:pt x="16" y="56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4" y="62"/>
                  </a:lnTo>
                  <a:lnTo>
                    <a:pt x="12" y="62"/>
                  </a:lnTo>
                  <a:lnTo>
                    <a:pt x="10" y="64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0" y="108"/>
                  </a:lnTo>
                  <a:lnTo>
                    <a:pt x="2" y="108"/>
                  </a:lnTo>
                  <a:lnTo>
                    <a:pt x="8" y="108"/>
                  </a:lnTo>
                  <a:lnTo>
                    <a:pt x="12" y="108"/>
                  </a:lnTo>
                  <a:lnTo>
                    <a:pt x="16" y="108"/>
                  </a:lnTo>
                  <a:lnTo>
                    <a:pt x="18" y="108"/>
                  </a:lnTo>
                  <a:lnTo>
                    <a:pt x="20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10"/>
                  </a:lnTo>
                  <a:lnTo>
                    <a:pt x="24" y="110"/>
                  </a:lnTo>
                  <a:lnTo>
                    <a:pt x="26" y="112"/>
                  </a:lnTo>
                  <a:lnTo>
                    <a:pt x="28" y="114"/>
                  </a:lnTo>
                  <a:lnTo>
                    <a:pt x="28" y="114"/>
                  </a:lnTo>
                  <a:lnTo>
                    <a:pt x="30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6" y="116"/>
                  </a:lnTo>
                  <a:lnTo>
                    <a:pt x="48" y="116"/>
                  </a:lnTo>
                  <a:lnTo>
                    <a:pt x="50" y="116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4"/>
                  </a:lnTo>
                  <a:lnTo>
                    <a:pt x="58" y="112"/>
                  </a:lnTo>
                  <a:lnTo>
                    <a:pt x="60" y="112"/>
                  </a:lnTo>
                  <a:lnTo>
                    <a:pt x="66" y="112"/>
                  </a:lnTo>
                  <a:lnTo>
                    <a:pt x="68" y="110"/>
                  </a:lnTo>
                  <a:lnTo>
                    <a:pt x="72" y="110"/>
                  </a:lnTo>
                  <a:lnTo>
                    <a:pt x="74" y="110"/>
                  </a:lnTo>
                  <a:lnTo>
                    <a:pt x="76" y="110"/>
                  </a:lnTo>
                  <a:lnTo>
                    <a:pt x="78" y="112"/>
                  </a:lnTo>
                  <a:lnTo>
                    <a:pt x="80" y="112"/>
                  </a:lnTo>
                  <a:lnTo>
                    <a:pt x="82" y="112"/>
                  </a:lnTo>
                  <a:lnTo>
                    <a:pt x="82" y="114"/>
                  </a:lnTo>
                  <a:lnTo>
                    <a:pt x="84" y="114"/>
                  </a:lnTo>
                  <a:lnTo>
                    <a:pt x="86" y="116"/>
                  </a:lnTo>
                  <a:lnTo>
                    <a:pt x="88" y="116"/>
                  </a:lnTo>
                  <a:lnTo>
                    <a:pt x="90" y="118"/>
                  </a:lnTo>
                  <a:lnTo>
                    <a:pt x="92" y="120"/>
                  </a:lnTo>
                  <a:lnTo>
                    <a:pt x="94" y="124"/>
                  </a:lnTo>
                  <a:lnTo>
                    <a:pt x="96" y="126"/>
                  </a:lnTo>
                  <a:lnTo>
                    <a:pt x="100" y="130"/>
                  </a:lnTo>
                  <a:lnTo>
                    <a:pt x="102" y="134"/>
                  </a:lnTo>
                  <a:lnTo>
                    <a:pt x="104" y="138"/>
                  </a:lnTo>
                  <a:lnTo>
                    <a:pt x="104" y="140"/>
                  </a:lnTo>
                  <a:lnTo>
                    <a:pt x="106" y="142"/>
                  </a:lnTo>
                  <a:lnTo>
                    <a:pt x="106" y="144"/>
                  </a:lnTo>
                  <a:lnTo>
                    <a:pt x="106" y="146"/>
                  </a:lnTo>
                  <a:lnTo>
                    <a:pt x="106" y="146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6" y="152"/>
                  </a:lnTo>
                  <a:lnTo>
                    <a:pt x="104" y="154"/>
                  </a:lnTo>
                  <a:lnTo>
                    <a:pt x="104" y="156"/>
                  </a:lnTo>
                  <a:lnTo>
                    <a:pt x="102" y="160"/>
                  </a:lnTo>
                  <a:lnTo>
                    <a:pt x="100" y="164"/>
                  </a:lnTo>
                  <a:lnTo>
                    <a:pt x="98" y="170"/>
                  </a:lnTo>
                  <a:lnTo>
                    <a:pt x="100" y="168"/>
                  </a:lnTo>
                  <a:lnTo>
                    <a:pt x="104" y="164"/>
                  </a:lnTo>
                  <a:lnTo>
                    <a:pt x="106" y="162"/>
                  </a:lnTo>
                  <a:lnTo>
                    <a:pt x="108" y="160"/>
                  </a:lnTo>
                  <a:lnTo>
                    <a:pt x="110" y="160"/>
                  </a:lnTo>
                  <a:lnTo>
                    <a:pt x="110" y="158"/>
                  </a:lnTo>
                  <a:lnTo>
                    <a:pt x="110" y="156"/>
                  </a:lnTo>
                  <a:lnTo>
                    <a:pt x="112" y="154"/>
                  </a:lnTo>
                  <a:lnTo>
                    <a:pt x="112" y="152"/>
                  </a:lnTo>
                  <a:lnTo>
                    <a:pt x="112" y="150"/>
                  </a:lnTo>
                  <a:lnTo>
                    <a:pt x="114" y="146"/>
                  </a:lnTo>
                  <a:lnTo>
                    <a:pt x="114" y="142"/>
                  </a:lnTo>
                  <a:lnTo>
                    <a:pt x="114" y="136"/>
                  </a:lnTo>
                  <a:lnTo>
                    <a:pt x="114" y="134"/>
                  </a:lnTo>
                  <a:lnTo>
                    <a:pt x="114" y="132"/>
                  </a:lnTo>
                  <a:lnTo>
                    <a:pt x="116" y="130"/>
                  </a:lnTo>
                  <a:lnTo>
                    <a:pt x="116" y="128"/>
                  </a:lnTo>
                  <a:lnTo>
                    <a:pt x="116" y="126"/>
                  </a:lnTo>
                  <a:lnTo>
                    <a:pt x="118" y="126"/>
                  </a:lnTo>
                  <a:lnTo>
                    <a:pt x="118" y="124"/>
                  </a:lnTo>
                  <a:lnTo>
                    <a:pt x="120" y="124"/>
                  </a:lnTo>
                  <a:lnTo>
                    <a:pt x="120" y="124"/>
                  </a:lnTo>
                  <a:lnTo>
                    <a:pt x="124" y="122"/>
                  </a:lnTo>
                  <a:lnTo>
                    <a:pt x="126" y="122"/>
                  </a:lnTo>
                  <a:lnTo>
                    <a:pt x="128" y="122"/>
                  </a:lnTo>
                  <a:lnTo>
                    <a:pt x="130" y="122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24"/>
                  </a:lnTo>
                  <a:lnTo>
                    <a:pt x="134" y="124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6" y="130"/>
                  </a:lnTo>
                  <a:lnTo>
                    <a:pt x="136" y="132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8" y="140"/>
                  </a:lnTo>
                  <a:lnTo>
                    <a:pt x="138" y="142"/>
                  </a:lnTo>
                  <a:lnTo>
                    <a:pt x="140" y="142"/>
                  </a:lnTo>
                  <a:lnTo>
                    <a:pt x="140" y="142"/>
                  </a:lnTo>
                  <a:lnTo>
                    <a:pt x="142" y="144"/>
                  </a:lnTo>
                  <a:lnTo>
                    <a:pt x="144" y="144"/>
                  </a:lnTo>
                  <a:lnTo>
                    <a:pt x="146" y="144"/>
                  </a:lnTo>
                  <a:lnTo>
                    <a:pt x="146" y="144"/>
                  </a:lnTo>
                  <a:lnTo>
                    <a:pt x="150" y="144"/>
                  </a:lnTo>
                  <a:lnTo>
                    <a:pt x="150" y="148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6"/>
                  </a:lnTo>
                  <a:lnTo>
                    <a:pt x="148" y="158"/>
                  </a:lnTo>
                  <a:lnTo>
                    <a:pt x="146" y="160"/>
                  </a:lnTo>
                  <a:lnTo>
                    <a:pt x="146" y="162"/>
                  </a:lnTo>
                  <a:lnTo>
                    <a:pt x="146" y="162"/>
                  </a:lnTo>
                  <a:lnTo>
                    <a:pt x="144" y="162"/>
                  </a:lnTo>
                  <a:lnTo>
                    <a:pt x="144" y="162"/>
                  </a:lnTo>
                  <a:lnTo>
                    <a:pt x="140" y="164"/>
                  </a:lnTo>
                  <a:lnTo>
                    <a:pt x="138" y="164"/>
                  </a:lnTo>
                  <a:lnTo>
                    <a:pt x="136" y="164"/>
                  </a:lnTo>
                  <a:lnTo>
                    <a:pt x="136" y="164"/>
                  </a:lnTo>
                  <a:lnTo>
                    <a:pt x="136" y="164"/>
                  </a:lnTo>
                  <a:lnTo>
                    <a:pt x="136" y="166"/>
                  </a:lnTo>
                  <a:lnTo>
                    <a:pt x="134" y="166"/>
                  </a:lnTo>
                  <a:lnTo>
                    <a:pt x="132" y="170"/>
                  </a:lnTo>
                  <a:lnTo>
                    <a:pt x="132" y="172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32" y="176"/>
                  </a:lnTo>
                  <a:lnTo>
                    <a:pt x="132" y="176"/>
                  </a:lnTo>
                  <a:lnTo>
                    <a:pt x="134" y="176"/>
                  </a:lnTo>
                  <a:lnTo>
                    <a:pt x="134" y="176"/>
                  </a:lnTo>
                  <a:lnTo>
                    <a:pt x="136" y="176"/>
                  </a:lnTo>
                  <a:lnTo>
                    <a:pt x="138" y="178"/>
                  </a:lnTo>
                  <a:lnTo>
                    <a:pt x="140" y="178"/>
                  </a:lnTo>
                  <a:lnTo>
                    <a:pt x="142" y="178"/>
                  </a:lnTo>
                  <a:lnTo>
                    <a:pt x="144" y="176"/>
                  </a:lnTo>
                  <a:lnTo>
                    <a:pt x="148" y="176"/>
                  </a:lnTo>
                  <a:lnTo>
                    <a:pt x="150" y="176"/>
                  </a:lnTo>
                  <a:lnTo>
                    <a:pt x="154" y="176"/>
                  </a:lnTo>
                  <a:lnTo>
                    <a:pt x="158" y="176"/>
                  </a:lnTo>
                  <a:lnTo>
                    <a:pt x="160" y="176"/>
                  </a:lnTo>
                  <a:lnTo>
                    <a:pt x="162" y="176"/>
                  </a:lnTo>
                  <a:lnTo>
                    <a:pt x="164" y="176"/>
                  </a:lnTo>
                  <a:lnTo>
                    <a:pt x="164" y="176"/>
                  </a:lnTo>
                  <a:lnTo>
                    <a:pt x="166" y="176"/>
                  </a:lnTo>
                  <a:lnTo>
                    <a:pt x="168" y="174"/>
                  </a:lnTo>
                  <a:lnTo>
                    <a:pt x="172" y="172"/>
                  </a:lnTo>
                  <a:lnTo>
                    <a:pt x="174" y="172"/>
                  </a:lnTo>
                  <a:lnTo>
                    <a:pt x="178" y="170"/>
                  </a:lnTo>
                  <a:lnTo>
                    <a:pt x="184" y="166"/>
                  </a:lnTo>
                  <a:lnTo>
                    <a:pt x="186" y="166"/>
                  </a:lnTo>
                  <a:lnTo>
                    <a:pt x="188" y="166"/>
                  </a:lnTo>
                  <a:lnTo>
                    <a:pt x="190" y="166"/>
                  </a:lnTo>
                  <a:lnTo>
                    <a:pt x="190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2"/>
                  </a:lnTo>
                  <a:lnTo>
                    <a:pt x="190" y="162"/>
                  </a:lnTo>
                  <a:lnTo>
                    <a:pt x="190" y="160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6" y="158"/>
                  </a:lnTo>
                  <a:lnTo>
                    <a:pt x="186" y="158"/>
                  </a:lnTo>
                  <a:lnTo>
                    <a:pt x="184" y="158"/>
                  </a:lnTo>
                  <a:lnTo>
                    <a:pt x="182" y="158"/>
                  </a:lnTo>
                  <a:lnTo>
                    <a:pt x="178" y="158"/>
                  </a:lnTo>
                  <a:lnTo>
                    <a:pt x="178" y="158"/>
                  </a:lnTo>
                  <a:lnTo>
                    <a:pt x="176" y="158"/>
                  </a:lnTo>
                  <a:lnTo>
                    <a:pt x="174" y="158"/>
                  </a:lnTo>
                  <a:lnTo>
                    <a:pt x="172" y="156"/>
                  </a:lnTo>
                  <a:lnTo>
                    <a:pt x="168" y="154"/>
                  </a:lnTo>
                  <a:lnTo>
                    <a:pt x="166" y="154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4" y="146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8" y="142"/>
                  </a:lnTo>
                  <a:lnTo>
                    <a:pt x="170" y="142"/>
                  </a:lnTo>
                  <a:lnTo>
                    <a:pt x="174" y="140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6" y="138"/>
                  </a:lnTo>
                  <a:lnTo>
                    <a:pt x="178" y="136"/>
                  </a:lnTo>
                  <a:lnTo>
                    <a:pt x="178" y="136"/>
                  </a:lnTo>
                  <a:lnTo>
                    <a:pt x="180" y="134"/>
                  </a:lnTo>
                  <a:lnTo>
                    <a:pt x="180" y="132"/>
                  </a:lnTo>
                  <a:lnTo>
                    <a:pt x="182" y="130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6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92" y="128"/>
                  </a:lnTo>
                  <a:lnTo>
                    <a:pt x="194" y="128"/>
                  </a:lnTo>
                  <a:lnTo>
                    <a:pt x="194" y="128"/>
                  </a:lnTo>
                  <a:lnTo>
                    <a:pt x="198" y="128"/>
                  </a:lnTo>
                  <a:lnTo>
                    <a:pt x="202" y="128"/>
                  </a:lnTo>
                  <a:lnTo>
                    <a:pt x="206" y="126"/>
                  </a:lnTo>
                  <a:lnTo>
                    <a:pt x="210" y="124"/>
                  </a:lnTo>
                  <a:lnTo>
                    <a:pt x="214" y="122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20" y="118"/>
                  </a:lnTo>
                  <a:lnTo>
                    <a:pt x="222" y="118"/>
                  </a:lnTo>
                  <a:lnTo>
                    <a:pt x="222" y="116"/>
                  </a:lnTo>
                  <a:lnTo>
                    <a:pt x="222" y="116"/>
                  </a:lnTo>
                  <a:lnTo>
                    <a:pt x="222" y="114"/>
                  </a:lnTo>
                  <a:lnTo>
                    <a:pt x="222" y="112"/>
                  </a:lnTo>
                  <a:lnTo>
                    <a:pt x="222" y="108"/>
                  </a:lnTo>
                  <a:lnTo>
                    <a:pt x="222" y="106"/>
                  </a:lnTo>
                  <a:lnTo>
                    <a:pt x="224" y="102"/>
                  </a:lnTo>
                  <a:lnTo>
                    <a:pt x="224" y="100"/>
                  </a:lnTo>
                  <a:lnTo>
                    <a:pt x="228" y="94"/>
                  </a:lnTo>
                  <a:lnTo>
                    <a:pt x="230" y="88"/>
                  </a:lnTo>
                  <a:lnTo>
                    <a:pt x="230" y="84"/>
                  </a:lnTo>
                  <a:lnTo>
                    <a:pt x="232" y="82"/>
                  </a:lnTo>
                  <a:lnTo>
                    <a:pt x="232" y="80"/>
                  </a:lnTo>
                  <a:lnTo>
                    <a:pt x="232" y="76"/>
                  </a:lnTo>
                  <a:lnTo>
                    <a:pt x="232" y="76"/>
                  </a:lnTo>
                  <a:lnTo>
                    <a:pt x="232" y="74"/>
                  </a:lnTo>
                  <a:lnTo>
                    <a:pt x="232" y="74"/>
                  </a:lnTo>
                  <a:lnTo>
                    <a:pt x="232" y="7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55" name="Freeform 359">
              <a:extLst>
                <a:ext uri="{FF2B5EF4-FFF2-40B4-BE49-F238E27FC236}">
                  <a16:creationId xmlns:a16="http://schemas.microsoft.com/office/drawing/2014/main" id="{A934FCAF-2C13-4FDB-8DCA-E08E8F7D9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350" y="3855581"/>
              <a:ext cx="198177" cy="213952"/>
            </a:xfrm>
            <a:custGeom>
              <a:avLst/>
              <a:gdLst>
                <a:gd name="T0" fmla="*/ 116 w 116"/>
                <a:gd name="T1" fmla="*/ 6 h 128"/>
                <a:gd name="T2" fmla="*/ 116 w 116"/>
                <a:gd name="T3" fmla="*/ 2 h 128"/>
                <a:gd name="T4" fmla="*/ 114 w 116"/>
                <a:gd name="T5" fmla="*/ 0 h 128"/>
                <a:gd name="T6" fmla="*/ 108 w 116"/>
                <a:gd name="T7" fmla="*/ 2 h 128"/>
                <a:gd name="T8" fmla="*/ 66 w 116"/>
                <a:gd name="T9" fmla="*/ 6 h 128"/>
                <a:gd name="T10" fmla="*/ 64 w 116"/>
                <a:gd name="T11" fmla="*/ 10 h 128"/>
                <a:gd name="T12" fmla="*/ 60 w 116"/>
                <a:gd name="T13" fmla="*/ 10 h 128"/>
                <a:gd name="T14" fmla="*/ 52 w 116"/>
                <a:gd name="T15" fmla="*/ 8 h 128"/>
                <a:gd name="T16" fmla="*/ 46 w 116"/>
                <a:gd name="T17" fmla="*/ 8 h 128"/>
                <a:gd name="T18" fmla="*/ 44 w 116"/>
                <a:gd name="T19" fmla="*/ 10 h 128"/>
                <a:gd name="T20" fmla="*/ 44 w 116"/>
                <a:gd name="T21" fmla="*/ 22 h 128"/>
                <a:gd name="T22" fmla="*/ 42 w 116"/>
                <a:gd name="T23" fmla="*/ 28 h 128"/>
                <a:gd name="T24" fmla="*/ 36 w 116"/>
                <a:gd name="T25" fmla="*/ 36 h 128"/>
                <a:gd name="T26" fmla="*/ 26 w 116"/>
                <a:gd name="T27" fmla="*/ 40 h 128"/>
                <a:gd name="T28" fmla="*/ 20 w 116"/>
                <a:gd name="T29" fmla="*/ 44 h 128"/>
                <a:gd name="T30" fmla="*/ 18 w 116"/>
                <a:gd name="T31" fmla="*/ 50 h 128"/>
                <a:gd name="T32" fmla="*/ 18 w 116"/>
                <a:gd name="T33" fmla="*/ 56 h 128"/>
                <a:gd name="T34" fmla="*/ 20 w 116"/>
                <a:gd name="T35" fmla="*/ 66 h 128"/>
                <a:gd name="T36" fmla="*/ 18 w 116"/>
                <a:gd name="T37" fmla="*/ 70 h 128"/>
                <a:gd name="T38" fmla="*/ 14 w 116"/>
                <a:gd name="T39" fmla="*/ 70 h 128"/>
                <a:gd name="T40" fmla="*/ 10 w 116"/>
                <a:gd name="T41" fmla="*/ 72 h 128"/>
                <a:gd name="T42" fmla="*/ 10 w 116"/>
                <a:gd name="T43" fmla="*/ 74 h 128"/>
                <a:gd name="T44" fmla="*/ 12 w 116"/>
                <a:gd name="T45" fmla="*/ 80 h 128"/>
                <a:gd name="T46" fmla="*/ 12 w 116"/>
                <a:gd name="T47" fmla="*/ 82 h 128"/>
                <a:gd name="T48" fmla="*/ 6 w 116"/>
                <a:gd name="T49" fmla="*/ 86 h 128"/>
                <a:gd name="T50" fmla="*/ 4 w 116"/>
                <a:gd name="T51" fmla="*/ 92 h 128"/>
                <a:gd name="T52" fmla="*/ 0 w 116"/>
                <a:gd name="T53" fmla="*/ 104 h 128"/>
                <a:gd name="T54" fmla="*/ 2 w 116"/>
                <a:gd name="T55" fmla="*/ 122 h 128"/>
                <a:gd name="T56" fmla="*/ 10 w 116"/>
                <a:gd name="T57" fmla="*/ 126 h 128"/>
                <a:gd name="T58" fmla="*/ 28 w 116"/>
                <a:gd name="T59" fmla="*/ 128 h 128"/>
                <a:gd name="T60" fmla="*/ 40 w 116"/>
                <a:gd name="T61" fmla="*/ 128 h 128"/>
                <a:gd name="T62" fmla="*/ 42 w 116"/>
                <a:gd name="T63" fmla="*/ 126 h 128"/>
                <a:gd name="T64" fmla="*/ 44 w 116"/>
                <a:gd name="T65" fmla="*/ 122 h 128"/>
                <a:gd name="T66" fmla="*/ 42 w 116"/>
                <a:gd name="T67" fmla="*/ 108 h 128"/>
                <a:gd name="T68" fmla="*/ 44 w 116"/>
                <a:gd name="T69" fmla="*/ 100 h 128"/>
                <a:gd name="T70" fmla="*/ 48 w 116"/>
                <a:gd name="T71" fmla="*/ 92 h 128"/>
                <a:gd name="T72" fmla="*/ 54 w 116"/>
                <a:gd name="T73" fmla="*/ 86 h 128"/>
                <a:gd name="T74" fmla="*/ 58 w 116"/>
                <a:gd name="T75" fmla="*/ 86 h 128"/>
                <a:gd name="T76" fmla="*/ 66 w 116"/>
                <a:gd name="T77" fmla="*/ 90 h 128"/>
                <a:gd name="T78" fmla="*/ 68 w 116"/>
                <a:gd name="T79" fmla="*/ 90 h 128"/>
                <a:gd name="T80" fmla="*/ 70 w 116"/>
                <a:gd name="T81" fmla="*/ 86 h 128"/>
                <a:gd name="T82" fmla="*/ 72 w 116"/>
                <a:gd name="T83" fmla="*/ 80 h 128"/>
                <a:gd name="T84" fmla="*/ 68 w 116"/>
                <a:gd name="T85" fmla="*/ 66 h 128"/>
                <a:gd name="T86" fmla="*/ 66 w 116"/>
                <a:gd name="T87" fmla="*/ 48 h 128"/>
                <a:gd name="T88" fmla="*/ 66 w 116"/>
                <a:gd name="T89" fmla="*/ 42 h 128"/>
                <a:gd name="T90" fmla="*/ 70 w 116"/>
                <a:gd name="T91" fmla="*/ 40 h 128"/>
                <a:gd name="T92" fmla="*/ 76 w 116"/>
                <a:gd name="T93" fmla="*/ 38 h 128"/>
                <a:gd name="T94" fmla="*/ 90 w 116"/>
                <a:gd name="T95" fmla="*/ 38 h 128"/>
                <a:gd name="T96" fmla="*/ 100 w 116"/>
                <a:gd name="T97" fmla="*/ 38 h 128"/>
                <a:gd name="T98" fmla="*/ 104 w 116"/>
                <a:gd name="T99" fmla="*/ 38 h 128"/>
                <a:gd name="T100" fmla="*/ 108 w 116"/>
                <a:gd name="T101" fmla="*/ 32 h 128"/>
                <a:gd name="T102" fmla="*/ 114 w 116"/>
                <a:gd name="T103" fmla="*/ 1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6" h="128">
                  <a:moveTo>
                    <a:pt x="116" y="8"/>
                  </a:moveTo>
                  <a:lnTo>
                    <a:pt x="116" y="8"/>
                  </a:lnTo>
                  <a:lnTo>
                    <a:pt x="116" y="8"/>
                  </a:lnTo>
                  <a:lnTo>
                    <a:pt x="116" y="6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4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6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6" y="10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4" y="22"/>
                  </a:lnTo>
                  <a:lnTo>
                    <a:pt x="44" y="24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8"/>
                  </a:lnTo>
                  <a:lnTo>
                    <a:pt x="40" y="32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0" y="40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4" y="42"/>
                  </a:lnTo>
                  <a:lnTo>
                    <a:pt x="22" y="42"/>
                  </a:lnTo>
                  <a:lnTo>
                    <a:pt x="20" y="44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6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8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4" y="70"/>
                  </a:lnTo>
                  <a:lnTo>
                    <a:pt x="12" y="70"/>
                  </a:lnTo>
                  <a:lnTo>
                    <a:pt x="12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4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8" y="86"/>
                  </a:lnTo>
                  <a:lnTo>
                    <a:pt x="6" y="86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4" y="90"/>
                  </a:lnTo>
                  <a:lnTo>
                    <a:pt x="4" y="92"/>
                  </a:lnTo>
                  <a:lnTo>
                    <a:pt x="2" y="94"/>
                  </a:lnTo>
                  <a:lnTo>
                    <a:pt x="2" y="98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4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4" y="124"/>
                  </a:lnTo>
                  <a:lnTo>
                    <a:pt x="6" y="124"/>
                  </a:lnTo>
                  <a:lnTo>
                    <a:pt x="8" y="126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8" y="126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32" y="128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2" y="128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4"/>
                  </a:lnTo>
                  <a:lnTo>
                    <a:pt x="44" y="124"/>
                  </a:lnTo>
                  <a:lnTo>
                    <a:pt x="44" y="122"/>
                  </a:lnTo>
                  <a:lnTo>
                    <a:pt x="44" y="120"/>
                  </a:lnTo>
                  <a:lnTo>
                    <a:pt x="44" y="118"/>
                  </a:lnTo>
                  <a:lnTo>
                    <a:pt x="42" y="112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42" y="106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6" y="96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8" y="92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4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8" y="86"/>
                  </a:lnTo>
                  <a:lnTo>
                    <a:pt x="60" y="88"/>
                  </a:lnTo>
                  <a:lnTo>
                    <a:pt x="62" y="88"/>
                  </a:lnTo>
                  <a:lnTo>
                    <a:pt x="64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6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0" y="76"/>
                  </a:lnTo>
                  <a:lnTo>
                    <a:pt x="70" y="74"/>
                  </a:lnTo>
                  <a:lnTo>
                    <a:pt x="70" y="70"/>
                  </a:lnTo>
                  <a:lnTo>
                    <a:pt x="68" y="66"/>
                  </a:lnTo>
                  <a:lnTo>
                    <a:pt x="66" y="58"/>
                  </a:lnTo>
                  <a:lnTo>
                    <a:pt x="66" y="54"/>
                  </a:lnTo>
                  <a:lnTo>
                    <a:pt x="66" y="50"/>
                  </a:lnTo>
                  <a:lnTo>
                    <a:pt x="66" y="48"/>
                  </a:lnTo>
                  <a:lnTo>
                    <a:pt x="66" y="46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8" y="42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70" y="40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2" y="38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80" y="38"/>
                  </a:lnTo>
                  <a:lnTo>
                    <a:pt x="86" y="38"/>
                  </a:lnTo>
                  <a:lnTo>
                    <a:pt x="90" y="38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98" y="40"/>
                  </a:lnTo>
                  <a:lnTo>
                    <a:pt x="100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8" y="34"/>
                  </a:lnTo>
                  <a:lnTo>
                    <a:pt x="108" y="32"/>
                  </a:lnTo>
                  <a:lnTo>
                    <a:pt x="110" y="28"/>
                  </a:lnTo>
                  <a:lnTo>
                    <a:pt x="110" y="26"/>
                  </a:lnTo>
                  <a:lnTo>
                    <a:pt x="112" y="24"/>
                  </a:lnTo>
                  <a:lnTo>
                    <a:pt x="114" y="16"/>
                  </a:lnTo>
                  <a:lnTo>
                    <a:pt x="114" y="12"/>
                  </a:lnTo>
                  <a:lnTo>
                    <a:pt x="116" y="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56" name="Freeform 361">
              <a:extLst>
                <a:ext uri="{FF2B5EF4-FFF2-40B4-BE49-F238E27FC236}">
                  <a16:creationId xmlns:a16="http://schemas.microsoft.com/office/drawing/2014/main" id="{AEEB62D4-2B60-4858-A171-D64910E6B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539" y="4313572"/>
              <a:ext cx="82005" cy="173835"/>
            </a:xfrm>
            <a:custGeom>
              <a:avLst/>
              <a:gdLst>
                <a:gd name="T0" fmla="*/ 0 w 48"/>
                <a:gd name="T1" fmla="*/ 36 h 104"/>
                <a:gd name="T2" fmla="*/ 4 w 48"/>
                <a:gd name="T3" fmla="*/ 44 h 104"/>
                <a:gd name="T4" fmla="*/ 6 w 48"/>
                <a:gd name="T5" fmla="*/ 46 h 104"/>
                <a:gd name="T6" fmla="*/ 6 w 48"/>
                <a:gd name="T7" fmla="*/ 50 h 104"/>
                <a:gd name="T8" fmla="*/ 8 w 48"/>
                <a:gd name="T9" fmla="*/ 62 h 104"/>
                <a:gd name="T10" fmla="*/ 10 w 48"/>
                <a:gd name="T11" fmla="*/ 70 h 104"/>
                <a:gd name="T12" fmla="*/ 10 w 48"/>
                <a:gd name="T13" fmla="*/ 80 h 104"/>
                <a:gd name="T14" fmla="*/ 10 w 48"/>
                <a:gd name="T15" fmla="*/ 86 h 104"/>
                <a:gd name="T16" fmla="*/ 12 w 48"/>
                <a:gd name="T17" fmla="*/ 90 h 104"/>
                <a:gd name="T18" fmla="*/ 16 w 48"/>
                <a:gd name="T19" fmla="*/ 104 h 104"/>
                <a:gd name="T20" fmla="*/ 34 w 48"/>
                <a:gd name="T21" fmla="*/ 92 h 104"/>
                <a:gd name="T22" fmla="*/ 32 w 48"/>
                <a:gd name="T23" fmla="*/ 82 h 104"/>
                <a:gd name="T24" fmla="*/ 30 w 48"/>
                <a:gd name="T25" fmla="*/ 72 h 104"/>
                <a:gd name="T26" fmla="*/ 30 w 48"/>
                <a:gd name="T27" fmla="*/ 66 h 104"/>
                <a:gd name="T28" fmla="*/ 32 w 48"/>
                <a:gd name="T29" fmla="*/ 62 h 104"/>
                <a:gd name="T30" fmla="*/ 32 w 48"/>
                <a:gd name="T31" fmla="*/ 62 h 104"/>
                <a:gd name="T32" fmla="*/ 34 w 48"/>
                <a:gd name="T33" fmla="*/ 58 h 104"/>
                <a:gd name="T34" fmla="*/ 38 w 48"/>
                <a:gd name="T35" fmla="*/ 54 h 104"/>
                <a:gd name="T36" fmla="*/ 40 w 48"/>
                <a:gd name="T37" fmla="*/ 52 h 104"/>
                <a:gd name="T38" fmla="*/ 42 w 48"/>
                <a:gd name="T39" fmla="*/ 44 h 104"/>
                <a:gd name="T40" fmla="*/ 44 w 48"/>
                <a:gd name="T41" fmla="*/ 36 h 104"/>
                <a:gd name="T42" fmla="*/ 46 w 48"/>
                <a:gd name="T43" fmla="*/ 26 h 104"/>
                <a:gd name="T44" fmla="*/ 48 w 48"/>
                <a:gd name="T45" fmla="*/ 18 h 104"/>
                <a:gd name="T46" fmla="*/ 48 w 48"/>
                <a:gd name="T47" fmla="*/ 14 h 104"/>
                <a:gd name="T48" fmla="*/ 46 w 48"/>
                <a:gd name="T49" fmla="*/ 2 h 104"/>
                <a:gd name="T50" fmla="*/ 32 w 48"/>
                <a:gd name="T51" fmla="*/ 2 h 104"/>
                <a:gd name="T52" fmla="*/ 30 w 48"/>
                <a:gd name="T53" fmla="*/ 8 h 104"/>
                <a:gd name="T54" fmla="*/ 28 w 48"/>
                <a:gd name="T55" fmla="*/ 12 h 104"/>
                <a:gd name="T56" fmla="*/ 28 w 48"/>
                <a:gd name="T57" fmla="*/ 16 h 104"/>
                <a:gd name="T58" fmla="*/ 26 w 48"/>
                <a:gd name="T59" fmla="*/ 16 h 104"/>
                <a:gd name="T60" fmla="*/ 24 w 48"/>
                <a:gd name="T61" fmla="*/ 18 h 104"/>
                <a:gd name="T62" fmla="*/ 22 w 48"/>
                <a:gd name="T63" fmla="*/ 18 h 104"/>
                <a:gd name="T64" fmla="*/ 16 w 48"/>
                <a:gd name="T65" fmla="*/ 20 h 104"/>
                <a:gd name="T66" fmla="*/ 12 w 48"/>
                <a:gd name="T67" fmla="*/ 20 h 104"/>
                <a:gd name="T68" fmla="*/ 10 w 48"/>
                <a:gd name="T69" fmla="*/ 22 h 104"/>
                <a:gd name="T70" fmla="*/ 10 w 48"/>
                <a:gd name="T71" fmla="*/ 22 h 104"/>
                <a:gd name="T72" fmla="*/ 6 w 48"/>
                <a:gd name="T73" fmla="*/ 28 h 104"/>
                <a:gd name="T74" fmla="*/ 0 w 48"/>
                <a:gd name="T75" fmla="*/ 3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" h="104">
                  <a:moveTo>
                    <a:pt x="0" y="36"/>
                  </a:moveTo>
                  <a:lnTo>
                    <a:pt x="0" y="36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0" y="66"/>
                  </a:lnTo>
                  <a:lnTo>
                    <a:pt x="10" y="70"/>
                  </a:lnTo>
                  <a:lnTo>
                    <a:pt x="10" y="76"/>
                  </a:lnTo>
                  <a:lnTo>
                    <a:pt x="10" y="80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4" y="96"/>
                  </a:lnTo>
                  <a:lnTo>
                    <a:pt x="16" y="104"/>
                  </a:lnTo>
                  <a:lnTo>
                    <a:pt x="34" y="96"/>
                  </a:lnTo>
                  <a:lnTo>
                    <a:pt x="34" y="92"/>
                  </a:lnTo>
                  <a:lnTo>
                    <a:pt x="32" y="86"/>
                  </a:lnTo>
                  <a:lnTo>
                    <a:pt x="32" y="82"/>
                  </a:lnTo>
                  <a:lnTo>
                    <a:pt x="32" y="76"/>
                  </a:lnTo>
                  <a:lnTo>
                    <a:pt x="30" y="72"/>
                  </a:lnTo>
                  <a:lnTo>
                    <a:pt x="30" y="68"/>
                  </a:lnTo>
                  <a:lnTo>
                    <a:pt x="30" y="66"/>
                  </a:lnTo>
                  <a:lnTo>
                    <a:pt x="30" y="64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0"/>
                  </a:lnTo>
                  <a:lnTo>
                    <a:pt x="34" y="58"/>
                  </a:lnTo>
                  <a:lnTo>
                    <a:pt x="36" y="56"/>
                  </a:lnTo>
                  <a:lnTo>
                    <a:pt x="38" y="54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48"/>
                  </a:lnTo>
                  <a:lnTo>
                    <a:pt x="42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6" y="30"/>
                  </a:lnTo>
                  <a:lnTo>
                    <a:pt x="46" y="26"/>
                  </a:lnTo>
                  <a:lnTo>
                    <a:pt x="48" y="22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6" y="8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8" y="24"/>
                  </a:lnTo>
                  <a:lnTo>
                    <a:pt x="6" y="28"/>
                  </a:lnTo>
                  <a:lnTo>
                    <a:pt x="4" y="30"/>
                  </a:lnTo>
                  <a:lnTo>
                    <a:pt x="0" y="34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57" name="Freeform 363">
              <a:extLst>
                <a:ext uri="{FF2B5EF4-FFF2-40B4-BE49-F238E27FC236}">
                  <a16:creationId xmlns:a16="http://schemas.microsoft.com/office/drawing/2014/main" id="{A4BFCA5A-4A5F-46C3-A1C2-A3DD26525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2302" y="5122578"/>
              <a:ext cx="242597" cy="357701"/>
            </a:xfrm>
            <a:custGeom>
              <a:avLst/>
              <a:gdLst>
                <a:gd name="T0" fmla="*/ 8 w 142"/>
                <a:gd name="T1" fmla="*/ 2 h 214"/>
                <a:gd name="T2" fmla="*/ 16 w 142"/>
                <a:gd name="T3" fmla="*/ 0 h 214"/>
                <a:gd name="T4" fmla="*/ 20 w 142"/>
                <a:gd name="T5" fmla="*/ 0 h 214"/>
                <a:gd name="T6" fmla="*/ 30 w 142"/>
                <a:gd name="T7" fmla="*/ 6 h 214"/>
                <a:gd name="T8" fmla="*/ 40 w 142"/>
                <a:gd name="T9" fmla="*/ 8 h 214"/>
                <a:gd name="T10" fmla="*/ 60 w 142"/>
                <a:gd name="T11" fmla="*/ 10 h 214"/>
                <a:gd name="T12" fmla="*/ 82 w 142"/>
                <a:gd name="T13" fmla="*/ 6 h 214"/>
                <a:gd name="T14" fmla="*/ 92 w 142"/>
                <a:gd name="T15" fmla="*/ 6 h 214"/>
                <a:gd name="T16" fmla="*/ 96 w 142"/>
                <a:gd name="T17" fmla="*/ 10 h 214"/>
                <a:gd name="T18" fmla="*/ 100 w 142"/>
                <a:gd name="T19" fmla="*/ 16 h 214"/>
                <a:gd name="T20" fmla="*/ 104 w 142"/>
                <a:gd name="T21" fmla="*/ 18 h 214"/>
                <a:gd name="T22" fmla="*/ 124 w 142"/>
                <a:gd name="T23" fmla="*/ 20 h 214"/>
                <a:gd name="T24" fmla="*/ 142 w 142"/>
                <a:gd name="T25" fmla="*/ 22 h 214"/>
                <a:gd name="T26" fmla="*/ 136 w 142"/>
                <a:gd name="T27" fmla="*/ 34 h 214"/>
                <a:gd name="T28" fmla="*/ 134 w 142"/>
                <a:gd name="T29" fmla="*/ 44 h 214"/>
                <a:gd name="T30" fmla="*/ 136 w 142"/>
                <a:gd name="T31" fmla="*/ 70 h 214"/>
                <a:gd name="T32" fmla="*/ 136 w 142"/>
                <a:gd name="T33" fmla="*/ 82 h 214"/>
                <a:gd name="T34" fmla="*/ 134 w 142"/>
                <a:gd name="T35" fmla="*/ 88 h 214"/>
                <a:gd name="T36" fmla="*/ 128 w 142"/>
                <a:gd name="T37" fmla="*/ 92 h 214"/>
                <a:gd name="T38" fmla="*/ 124 w 142"/>
                <a:gd name="T39" fmla="*/ 94 h 214"/>
                <a:gd name="T40" fmla="*/ 120 w 142"/>
                <a:gd name="T41" fmla="*/ 96 h 214"/>
                <a:gd name="T42" fmla="*/ 118 w 142"/>
                <a:gd name="T43" fmla="*/ 100 h 214"/>
                <a:gd name="T44" fmla="*/ 116 w 142"/>
                <a:gd name="T45" fmla="*/ 118 h 214"/>
                <a:gd name="T46" fmla="*/ 120 w 142"/>
                <a:gd name="T47" fmla="*/ 142 h 214"/>
                <a:gd name="T48" fmla="*/ 122 w 142"/>
                <a:gd name="T49" fmla="*/ 172 h 214"/>
                <a:gd name="T50" fmla="*/ 120 w 142"/>
                <a:gd name="T51" fmla="*/ 194 h 214"/>
                <a:gd name="T52" fmla="*/ 116 w 142"/>
                <a:gd name="T53" fmla="*/ 204 h 214"/>
                <a:gd name="T54" fmla="*/ 114 w 142"/>
                <a:gd name="T55" fmla="*/ 210 h 214"/>
                <a:gd name="T56" fmla="*/ 108 w 142"/>
                <a:gd name="T57" fmla="*/ 214 h 214"/>
                <a:gd name="T58" fmla="*/ 98 w 142"/>
                <a:gd name="T59" fmla="*/ 214 h 214"/>
                <a:gd name="T60" fmla="*/ 90 w 142"/>
                <a:gd name="T61" fmla="*/ 212 h 214"/>
                <a:gd name="T62" fmla="*/ 88 w 142"/>
                <a:gd name="T63" fmla="*/ 208 h 214"/>
                <a:gd name="T64" fmla="*/ 84 w 142"/>
                <a:gd name="T65" fmla="*/ 202 h 214"/>
                <a:gd name="T66" fmla="*/ 82 w 142"/>
                <a:gd name="T67" fmla="*/ 200 h 214"/>
                <a:gd name="T68" fmla="*/ 80 w 142"/>
                <a:gd name="T69" fmla="*/ 202 h 214"/>
                <a:gd name="T70" fmla="*/ 76 w 142"/>
                <a:gd name="T71" fmla="*/ 204 h 214"/>
                <a:gd name="T72" fmla="*/ 68 w 142"/>
                <a:gd name="T73" fmla="*/ 206 h 214"/>
                <a:gd name="T74" fmla="*/ 64 w 142"/>
                <a:gd name="T75" fmla="*/ 192 h 214"/>
                <a:gd name="T76" fmla="*/ 58 w 142"/>
                <a:gd name="T77" fmla="*/ 184 h 214"/>
                <a:gd name="T78" fmla="*/ 52 w 142"/>
                <a:gd name="T79" fmla="*/ 182 h 214"/>
                <a:gd name="T80" fmla="*/ 46 w 142"/>
                <a:gd name="T81" fmla="*/ 182 h 214"/>
                <a:gd name="T82" fmla="*/ 46 w 142"/>
                <a:gd name="T83" fmla="*/ 178 h 214"/>
                <a:gd name="T84" fmla="*/ 46 w 142"/>
                <a:gd name="T85" fmla="*/ 166 h 214"/>
                <a:gd name="T86" fmla="*/ 46 w 142"/>
                <a:gd name="T87" fmla="*/ 160 h 214"/>
                <a:gd name="T88" fmla="*/ 42 w 142"/>
                <a:gd name="T89" fmla="*/ 142 h 214"/>
                <a:gd name="T90" fmla="*/ 42 w 142"/>
                <a:gd name="T91" fmla="*/ 124 h 214"/>
                <a:gd name="T92" fmla="*/ 40 w 142"/>
                <a:gd name="T93" fmla="*/ 104 h 214"/>
                <a:gd name="T94" fmla="*/ 34 w 142"/>
                <a:gd name="T95" fmla="*/ 86 h 214"/>
                <a:gd name="T96" fmla="*/ 26 w 142"/>
                <a:gd name="T97" fmla="*/ 68 h 214"/>
                <a:gd name="T98" fmla="*/ 16 w 142"/>
                <a:gd name="T99" fmla="*/ 50 h 214"/>
                <a:gd name="T100" fmla="*/ 10 w 142"/>
                <a:gd name="T101" fmla="*/ 38 h 214"/>
                <a:gd name="T102" fmla="*/ 2 w 142"/>
                <a:gd name="T103" fmla="*/ 28 h 214"/>
                <a:gd name="T104" fmla="*/ 0 w 142"/>
                <a:gd name="T105" fmla="*/ 24 h 214"/>
                <a:gd name="T106" fmla="*/ 0 w 142"/>
                <a:gd name="T107" fmla="*/ 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2" h="214">
                  <a:moveTo>
                    <a:pt x="2" y="6"/>
                  </a:moveTo>
                  <a:lnTo>
                    <a:pt x="2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8" y="6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52" y="8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6" y="8"/>
                  </a:lnTo>
                  <a:lnTo>
                    <a:pt x="76" y="8"/>
                  </a:lnTo>
                  <a:lnTo>
                    <a:pt x="82" y="6"/>
                  </a:lnTo>
                  <a:lnTo>
                    <a:pt x="84" y="6"/>
                  </a:lnTo>
                  <a:lnTo>
                    <a:pt x="86" y="6"/>
                  </a:lnTo>
                  <a:lnTo>
                    <a:pt x="88" y="6"/>
                  </a:lnTo>
                  <a:lnTo>
                    <a:pt x="92" y="6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6" y="8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2" y="16"/>
                  </a:lnTo>
                  <a:lnTo>
                    <a:pt x="102" y="18"/>
                  </a:lnTo>
                  <a:lnTo>
                    <a:pt x="104" y="18"/>
                  </a:lnTo>
                  <a:lnTo>
                    <a:pt x="106" y="18"/>
                  </a:lnTo>
                  <a:lnTo>
                    <a:pt x="110" y="18"/>
                  </a:lnTo>
                  <a:lnTo>
                    <a:pt x="116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0" y="20"/>
                  </a:lnTo>
                  <a:lnTo>
                    <a:pt x="138" y="22"/>
                  </a:lnTo>
                  <a:lnTo>
                    <a:pt x="142" y="22"/>
                  </a:lnTo>
                  <a:lnTo>
                    <a:pt x="142" y="24"/>
                  </a:lnTo>
                  <a:lnTo>
                    <a:pt x="140" y="28"/>
                  </a:lnTo>
                  <a:lnTo>
                    <a:pt x="138" y="32"/>
                  </a:lnTo>
                  <a:lnTo>
                    <a:pt x="136" y="34"/>
                  </a:lnTo>
                  <a:lnTo>
                    <a:pt x="136" y="36"/>
                  </a:lnTo>
                  <a:lnTo>
                    <a:pt x="134" y="38"/>
                  </a:lnTo>
                  <a:lnTo>
                    <a:pt x="134" y="40"/>
                  </a:lnTo>
                  <a:lnTo>
                    <a:pt x="134" y="44"/>
                  </a:lnTo>
                  <a:lnTo>
                    <a:pt x="134" y="48"/>
                  </a:lnTo>
                  <a:lnTo>
                    <a:pt x="136" y="54"/>
                  </a:lnTo>
                  <a:lnTo>
                    <a:pt x="136" y="62"/>
                  </a:lnTo>
                  <a:lnTo>
                    <a:pt x="136" y="70"/>
                  </a:lnTo>
                  <a:lnTo>
                    <a:pt x="138" y="72"/>
                  </a:lnTo>
                  <a:lnTo>
                    <a:pt x="138" y="76"/>
                  </a:lnTo>
                  <a:lnTo>
                    <a:pt x="136" y="80"/>
                  </a:lnTo>
                  <a:lnTo>
                    <a:pt x="136" y="82"/>
                  </a:lnTo>
                  <a:lnTo>
                    <a:pt x="136" y="86"/>
                  </a:lnTo>
                  <a:lnTo>
                    <a:pt x="136" y="86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90"/>
                  </a:lnTo>
                  <a:lnTo>
                    <a:pt x="132" y="90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6" y="92"/>
                  </a:lnTo>
                  <a:lnTo>
                    <a:pt x="126" y="94"/>
                  </a:lnTo>
                  <a:lnTo>
                    <a:pt x="124" y="94"/>
                  </a:lnTo>
                  <a:lnTo>
                    <a:pt x="122" y="94"/>
                  </a:lnTo>
                  <a:lnTo>
                    <a:pt x="120" y="9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8"/>
                  </a:lnTo>
                  <a:lnTo>
                    <a:pt x="118" y="100"/>
                  </a:lnTo>
                  <a:lnTo>
                    <a:pt x="118" y="100"/>
                  </a:lnTo>
                  <a:lnTo>
                    <a:pt x="116" y="104"/>
                  </a:lnTo>
                  <a:lnTo>
                    <a:pt x="116" y="108"/>
                  </a:lnTo>
                  <a:lnTo>
                    <a:pt x="116" y="112"/>
                  </a:lnTo>
                  <a:lnTo>
                    <a:pt x="116" y="118"/>
                  </a:lnTo>
                  <a:lnTo>
                    <a:pt x="116" y="122"/>
                  </a:lnTo>
                  <a:lnTo>
                    <a:pt x="118" y="126"/>
                  </a:lnTo>
                  <a:lnTo>
                    <a:pt x="118" y="134"/>
                  </a:lnTo>
                  <a:lnTo>
                    <a:pt x="120" y="142"/>
                  </a:lnTo>
                  <a:lnTo>
                    <a:pt x="120" y="148"/>
                  </a:lnTo>
                  <a:lnTo>
                    <a:pt x="120" y="154"/>
                  </a:lnTo>
                  <a:lnTo>
                    <a:pt x="122" y="162"/>
                  </a:lnTo>
                  <a:lnTo>
                    <a:pt x="122" y="172"/>
                  </a:lnTo>
                  <a:lnTo>
                    <a:pt x="120" y="180"/>
                  </a:lnTo>
                  <a:lnTo>
                    <a:pt x="120" y="186"/>
                  </a:lnTo>
                  <a:lnTo>
                    <a:pt x="120" y="190"/>
                  </a:lnTo>
                  <a:lnTo>
                    <a:pt x="120" y="194"/>
                  </a:lnTo>
                  <a:lnTo>
                    <a:pt x="118" y="198"/>
                  </a:lnTo>
                  <a:lnTo>
                    <a:pt x="118" y="202"/>
                  </a:lnTo>
                  <a:lnTo>
                    <a:pt x="118" y="204"/>
                  </a:lnTo>
                  <a:lnTo>
                    <a:pt x="116" y="204"/>
                  </a:lnTo>
                  <a:lnTo>
                    <a:pt x="116" y="206"/>
                  </a:lnTo>
                  <a:lnTo>
                    <a:pt x="116" y="206"/>
                  </a:lnTo>
                  <a:lnTo>
                    <a:pt x="114" y="208"/>
                  </a:lnTo>
                  <a:lnTo>
                    <a:pt x="114" y="210"/>
                  </a:lnTo>
                  <a:lnTo>
                    <a:pt x="112" y="210"/>
                  </a:lnTo>
                  <a:lnTo>
                    <a:pt x="110" y="212"/>
                  </a:lnTo>
                  <a:lnTo>
                    <a:pt x="110" y="212"/>
                  </a:lnTo>
                  <a:lnTo>
                    <a:pt x="108" y="214"/>
                  </a:lnTo>
                  <a:lnTo>
                    <a:pt x="106" y="214"/>
                  </a:lnTo>
                  <a:lnTo>
                    <a:pt x="104" y="214"/>
                  </a:lnTo>
                  <a:lnTo>
                    <a:pt x="102" y="214"/>
                  </a:lnTo>
                  <a:lnTo>
                    <a:pt x="98" y="214"/>
                  </a:lnTo>
                  <a:lnTo>
                    <a:pt x="96" y="214"/>
                  </a:lnTo>
                  <a:lnTo>
                    <a:pt x="94" y="212"/>
                  </a:lnTo>
                  <a:lnTo>
                    <a:pt x="90" y="212"/>
                  </a:lnTo>
                  <a:lnTo>
                    <a:pt x="90" y="212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8" y="210"/>
                  </a:lnTo>
                  <a:lnTo>
                    <a:pt x="88" y="208"/>
                  </a:lnTo>
                  <a:lnTo>
                    <a:pt x="86" y="206"/>
                  </a:lnTo>
                  <a:lnTo>
                    <a:pt x="86" y="204"/>
                  </a:lnTo>
                  <a:lnTo>
                    <a:pt x="84" y="202"/>
                  </a:lnTo>
                  <a:lnTo>
                    <a:pt x="84" y="202"/>
                  </a:lnTo>
                  <a:lnTo>
                    <a:pt x="84" y="200"/>
                  </a:lnTo>
                  <a:lnTo>
                    <a:pt x="84" y="200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0" y="202"/>
                  </a:lnTo>
                  <a:lnTo>
                    <a:pt x="80" y="202"/>
                  </a:lnTo>
                  <a:lnTo>
                    <a:pt x="80" y="204"/>
                  </a:lnTo>
                  <a:lnTo>
                    <a:pt x="78" y="204"/>
                  </a:lnTo>
                  <a:lnTo>
                    <a:pt x="78" y="204"/>
                  </a:lnTo>
                  <a:lnTo>
                    <a:pt x="76" y="204"/>
                  </a:lnTo>
                  <a:lnTo>
                    <a:pt x="74" y="204"/>
                  </a:lnTo>
                  <a:lnTo>
                    <a:pt x="72" y="204"/>
                  </a:lnTo>
                  <a:lnTo>
                    <a:pt x="70" y="206"/>
                  </a:lnTo>
                  <a:lnTo>
                    <a:pt x="68" y="206"/>
                  </a:lnTo>
                  <a:lnTo>
                    <a:pt x="66" y="200"/>
                  </a:lnTo>
                  <a:lnTo>
                    <a:pt x="66" y="196"/>
                  </a:lnTo>
                  <a:lnTo>
                    <a:pt x="64" y="194"/>
                  </a:lnTo>
                  <a:lnTo>
                    <a:pt x="64" y="192"/>
                  </a:lnTo>
                  <a:lnTo>
                    <a:pt x="62" y="190"/>
                  </a:lnTo>
                  <a:lnTo>
                    <a:pt x="60" y="188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2"/>
                  </a:lnTo>
                  <a:lnTo>
                    <a:pt x="54" y="182"/>
                  </a:lnTo>
                  <a:lnTo>
                    <a:pt x="52" y="182"/>
                  </a:lnTo>
                  <a:lnTo>
                    <a:pt x="50" y="182"/>
                  </a:lnTo>
                  <a:lnTo>
                    <a:pt x="48" y="182"/>
                  </a:lnTo>
                  <a:lnTo>
                    <a:pt x="48" y="182"/>
                  </a:lnTo>
                  <a:lnTo>
                    <a:pt x="46" y="182"/>
                  </a:lnTo>
                  <a:lnTo>
                    <a:pt x="46" y="182"/>
                  </a:lnTo>
                  <a:lnTo>
                    <a:pt x="46" y="180"/>
                  </a:lnTo>
                  <a:lnTo>
                    <a:pt x="46" y="180"/>
                  </a:lnTo>
                  <a:lnTo>
                    <a:pt x="46" y="178"/>
                  </a:lnTo>
                  <a:lnTo>
                    <a:pt x="46" y="178"/>
                  </a:lnTo>
                  <a:lnTo>
                    <a:pt x="46" y="174"/>
                  </a:lnTo>
                  <a:lnTo>
                    <a:pt x="46" y="172"/>
                  </a:lnTo>
                  <a:lnTo>
                    <a:pt x="46" y="166"/>
                  </a:lnTo>
                  <a:lnTo>
                    <a:pt x="46" y="164"/>
                  </a:lnTo>
                  <a:lnTo>
                    <a:pt x="46" y="162"/>
                  </a:lnTo>
                  <a:lnTo>
                    <a:pt x="46" y="162"/>
                  </a:lnTo>
                  <a:lnTo>
                    <a:pt x="46" y="160"/>
                  </a:lnTo>
                  <a:lnTo>
                    <a:pt x="46" y="156"/>
                  </a:lnTo>
                  <a:lnTo>
                    <a:pt x="44" y="150"/>
                  </a:lnTo>
                  <a:lnTo>
                    <a:pt x="44" y="144"/>
                  </a:lnTo>
                  <a:lnTo>
                    <a:pt x="42" y="142"/>
                  </a:lnTo>
                  <a:lnTo>
                    <a:pt x="42" y="140"/>
                  </a:lnTo>
                  <a:lnTo>
                    <a:pt x="42" y="136"/>
                  </a:lnTo>
                  <a:lnTo>
                    <a:pt x="42" y="132"/>
                  </a:lnTo>
                  <a:lnTo>
                    <a:pt x="42" y="12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0" y="106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8" y="96"/>
                  </a:lnTo>
                  <a:lnTo>
                    <a:pt x="36" y="90"/>
                  </a:lnTo>
                  <a:lnTo>
                    <a:pt x="34" y="86"/>
                  </a:lnTo>
                  <a:lnTo>
                    <a:pt x="34" y="84"/>
                  </a:lnTo>
                  <a:lnTo>
                    <a:pt x="30" y="78"/>
                  </a:lnTo>
                  <a:lnTo>
                    <a:pt x="28" y="74"/>
                  </a:lnTo>
                  <a:lnTo>
                    <a:pt x="26" y="68"/>
                  </a:lnTo>
                  <a:lnTo>
                    <a:pt x="24" y="64"/>
                  </a:lnTo>
                  <a:lnTo>
                    <a:pt x="22" y="58"/>
                  </a:lnTo>
                  <a:lnTo>
                    <a:pt x="18" y="54"/>
                  </a:lnTo>
                  <a:lnTo>
                    <a:pt x="16" y="50"/>
                  </a:lnTo>
                  <a:lnTo>
                    <a:pt x="14" y="46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6" y="34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2" y="8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58" name="Freeform 365">
              <a:extLst>
                <a:ext uri="{FF2B5EF4-FFF2-40B4-BE49-F238E27FC236}">
                  <a16:creationId xmlns:a16="http://schemas.microsoft.com/office/drawing/2014/main" id="{4246F622-917D-4907-A760-65117479B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762" y="4193225"/>
              <a:ext cx="167425" cy="140405"/>
            </a:xfrm>
            <a:custGeom>
              <a:avLst/>
              <a:gdLst>
                <a:gd name="T0" fmla="*/ 16 w 98"/>
                <a:gd name="T1" fmla="*/ 68 h 84"/>
                <a:gd name="T2" fmla="*/ 16 w 98"/>
                <a:gd name="T3" fmla="*/ 76 h 84"/>
                <a:gd name="T4" fmla="*/ 18 w 98"/>
                <a:gd name="T5" fmla="*/ 78 h 84"/>
                <a:gd name="T6" fmla="*/ 20 w 98"/>
                <a:gd name="T7" fmla="*/ 78 h 84"/>
                <a:gd name="T8" fmla="*/ 24 w 98"/>
                <a:gd name="T9" fmla="*/ 78 h 84"/>
                <a:gd name="T10" fmla="*/ 28 w 98"/>
                <a:gd name="T11" fmla="*/ 78 h 84"/>
                <a:gd name="T12" fmla="*/ 32 w 98"/>
                <a:gd name="T13" fmla="*/ 78 h 84"/>
                <a:gd name="T14" fmla="*/ 36 w 98"/>
                <a:gd name="T15" fmla="*/ 84 h 84"/>
                <a:gd name="T16" fmla="*/ 38 w 98"/>
                <a:gd name="T17" fmla="*/ 80 h 84"/>
                <a:gd name="T18" fmla="*/ 44 w 98"/>
                <a:gd name="T19" fmla="*/ 74 h 84"/>
                <a:gd name="T20" fmla="*/ 48 w 98"/>
                <a:gd name="T21" fmla="*/ 72 h 84"/>
                <a:gd name="T22" fmla="*/ 60 w 98"/>
                <a:gd name="T23" fmla="*/ 68 h 84"/>
                <a:gd name="T24" fmla="*/ 76 w 98"/>
                <a:gd name="T25" fmla="*/ 70 h 84"/>
                <a:gd name="T26" fmla="*/ 86 w 98"/>
                <a:gd name="T27" fmla="*/ 72 h 84"/>
                <a:gd name="T28" fmla="*/ 98 w 98"/>
                <a:gd name="T29" fmla="*/ 70 h 84"/>
                <a:gd name="T30" fmla="*/ 94 w 98"/>
                <a:gd name="T31" fmla="*/ 60 h 84"/>
                <a:gd name="T32" fmla="*/ 90 w 98"/>
                <a:gd name="T33" fmla="*/ 54 h 84"/>
                <a:gd name="T34" fmla="*/ 84 w 98"/>
                <a:gd name="T35" fmla="*/ 50 h 84"/>
                <a:gd name="T36" fmla="*/ 82 w 98"/>
                <a:gd name="T37" fmla="*/ 48 h 84"/>
                <a:gd name="T38" fmla="*/ 80 w 98"/>
                <a:gd name="T39" fmla="*/ 42 h 84"/>
                <a:gd name="T40" fmla="*/ 74 w 98"/>
                <a:gd name="T41" fmla="*/ 34 h 84"/>
                <a:gd name="T42" fmla="*/ 70 w 98"/>
                <a:gd name="T43" fmla="*/ 28 h 84"/>
                <a:gd name="T44" fmla="*/ 64 w 98"/>
                <a:gd name="T45" fmla="*/ 20 h 84"/>
                <a:gd name="T46" fmla="*/ 60 w 98"/>
                <a:gd name="T47" fmla="*/ 14 h 84"/>
                <a:gd name="T48" fmla="*/ 56 w 98"/>
                <a:gd name="T49" fmla="*/ 12 h 84"/>
                <a:gd name="T50" fmla="*/ 50 w 98"/>
                <a:gd name="T51" fmla="*/ 10 h 84"/>
                <a:gd name="T52" fmla="*/ 46 w 98"/>
                <a:gd name="T53" fmla="*/ 8 h 84"/>
                <a:gd name="T54" fmla="*/ 44 w 98"/>
                <a:gd name="T55" fmla="*/ 2 h 84"/>
                <a:gd name="T56" fmla="*/ 42 w 98"/>
                <a:gd name="T57" fmla="*/ 0 h 84"/>
                <a:gd name="T58" fmla="*/ 40 w 98"/>
                <a:gd name="T59" fmla="*/ 0 h 84"/>
                <a:gd name="T60" fmla="*/ 34 w 98"/>
                <a:gd name="T61" fmla="*/ 0 h 84"/>
                <a:gd name="T62" fmla="*/ 26 w 98"/>
                <a:gd name="T63" fmla="*/ 4 h 84"/>
                <a:gd name="T64" fmla="*/ 16 w 98"/>
                <a:gd name="T65" fmla="*/ 18 h 84"/>
                <a:gd name="T66" fmla="*/ 10 w 98"/>
                <a:gd name="T67" fmla="*/ 24 h 84"/>
                <a:gd name="T68" fmla="*/ 4 w 98"/>
                <a:gd name="T69" fmla="*/ 26 h 84"/>
                <a:gd name="T70" fmla="*/ 0 w 98"/>
                <a:gd name="T71" fmla="*/ 26 h 84"/>
                <a:gd name="T72" fmla="*/ 0 w 98"/>
                <a:gd name="T73" fmla="*/ 28 h 84"/>
                <a:gd name="T74" fmla="*/ 0 w 98"/>
                <a:gd name="T75" fmla="*/ 30 h 84"/>
                <a:gd name="T76" fmla="*/ 4 w 98"/>
                <a:gd name="T77" fmla="*/ 30 h 84"/>
                <a:gd name="T78" fmla="*/ 10 w 98"/>
                <a:gd name="T79" fmla="*/ 32 h 84"/>
                <a:gd name="T80" fmla="*/ 14 w 98"/>
                <a:gd name="T81" fmla="*/ 36 h 84"/>
                <a:gd name="T82" fmla="*/ 20 w 98"/>
                <a:gd name="T83" fmla="*/ 42 h 84"/>
                <a:gd name="T84" fmla="*/ 24 w 98"/>
                <a:gd name="T85" fmla="*/ 46 h 84"/>
                <a:gd name="T86" fmla="*/ 28 w 98"/>
                <a:gd name="T87" fmla="*/ 50 h 84"/>
                <a:gd name="T88" fmla="*/ 28 w 98"/>
                <a:gd name="T89" fmla="*/ 50 h 84"/>
                <a:gd name="T90" fmla="*/ 24 w 98"/>
                <a:gd name="T91" fmla="*/ 52 h 84"/>
                <a:gd name="T92" fmla="*/ 20 w 98"/>
                <a:gd name="T93" fmla="*/ 56 h 84"/>
                <a:gd name="T94" fmla="*/ 18 w 98"/>
                <a:gd name="T95" fmla="*/ 58 h 84"/>
                <a:gd name="T96" fmla="*/ 18 w 98"/>
                <a:gd name="T97" fmla="*/ 6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8" h="84">
                  <a:moveTo>
                    <a:pt x="18" y="66"/>
                  </a:moveTo>
                  <a:lnTo>
                    <a:pt x="18" y="66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2" y="78"/>
                  </a:lnTo>
                  <a:lnTo>
                    <a:pt x="24" y="78"/>
                  </a:lnTo>
                  <a:lnTo>
                    <a:pt x="26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4" y="82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2"/>
                  </a:lnTo>
                  <a:lnTo>
                    <a:pt x="38" y="80"/>
                  </a:lnTo>
                  <a:lnTo>
                    <a:pt x="42" y="76"/>
                  </a:lnTo>
                  <a:lnTo>
                    <a:pt x="42" y="74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6" y="74"/>
                  </a:lnTo>
                  <a:lnTo>
                    <a:pt x="48" y="72"/>
                  </a:lnTo>
                  <a:lnTo>
                    <a:pt x="50" y="70"/>
                  </a:lnTo>
                  <a:lnTo>
                    <a:pt x="54" y="70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70" y="70"/>
                  </a:lnTo>
                  <a:lnTo>
                    <a:pt x="76" y="70"/>
                  </a:lnTo>
                  <a:lnTo>
                    <a:pt x="80" y="72"/>
                  </a:lnTo>
                  <a:lnTo>
                    <a:pt x="82" y="72"/>
                  </a:lnTo>
                  <a:lnTo>
                    <a:pt x="86" y="72"/>
                  </a:lnTo>
                  <a:lnTo>
                    <a:pt x="92" y="72"/>
                  </a:lnTo>
                  <a:lnTo>
                    <a:pt x="98" y="72"/>
                  </a:lnTo>
                  <a:lnTo>
                    <a:pt x="98" y="70"/>
                  </a:lnTo>
                  <a:lnTo>
                    <a:pt x="96" y="64"/>
                  </a:lnTo>
                  <a:lnTo>
                    <a:pt x="94" y="62"/>
                  </a:lnTo>
                  <a:lnTo>
                    <a:pt x="94" y="60"/>
                  </a:lnTo>
                  <a:lnTo>
                    <a:pt x="92" y="56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8" y="54"/>
                  </a:lnTo>
                  <a:lnTo>
                    <a:pt x="86" y="52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0" y="46"/>
                  </a:lnTo>
                  <a:lnTo>
                    <a:pt x="80" y="44"/>
                  </a:lnTo>
                  <a:lnTo>
                    <a:pt x="80" y="42"/>
                  </a:lnTo>
                  <a:lnTo>
                    <a:pt x="80" y="38"/>
                  </a:lnTo>
                  <a:lnTo>
                    <a:pt x="80" y="36"/>
                  </a:lnTo>
                  <a:lnTo>
                    <a:pt x="74" y="34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70" y="28"/>
                  </a:lnTo>
                  <a:lnTo>
                    <a:pt x="68" y="26"/>
                  </a:lnTo>
                  <a:lnTo>
                    <a:pt x="66" y="24"/>
                  </a:lnTo>
                  <a:lnTo>
                    <a:pt x="64" y="20"/>
                  </a:lnTo>
                  <a:lnTo>
                    <a:pt x="62" y="18"/>
                  </a:lnTo>
                  <a:lnTo>
                    <a:pt x="60" y="16"/>
                  </a:lnTo>
                  <a:lnTo>
                    <a:pt x="60" y="14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44" y="2"/>
                  </a:lnTo>
                  <a:lnTo>
                    <a:pt x="42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0" y="2"/>
                  </a:lnTo>
                  <a:lnTo>
                    <a:pt x="28" y="2"/>
                  </a:lnTo>
                  <a:lnTo>
                    <a:pt x="26" y="4"/>
                  </a:lnTo>
                  <a:lnTo>
                    <a:pt x="22" y="10"/>
                  </a:lnTo>
                  <a:lnTo>
                    <a:pt x="18" y="14"/>
                  </a:lnTo>
                  <a:lnTo>
                    <a:pt x="16" y="18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4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8" y="40"/>
                  </a:lnTo>
                  <a:lnTo>
                    <a:pt x="20" y="42"/>
                  </a:lnTo>
                  <a:lnTo>
                    <a:pt x="22" y="44"/>
                  </a:lnTo>
                  <a:lnTo>
                    <a:pt x="22" y="46"/>
                  </a:lnTo>
                  <a:lnTo>
                    <a:pt x="24" y="46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0" y="54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18" y="60"/>
                  </a:lnTo>
                  <a:lnTo>
                    <a:pt x="18" y="62"/>
                  </a:lnTo>
                  <a:lnTo>
                    <a:pt x="18" y="64"/>
                  </a:lnTo>
                  <a:lnTo>
                    <a:pt x="18" y="6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59" name="Freeform 370">
              <a:extLst>
                <a:ext uri="{FF2B5EF4-FFF2-40B4-BE49-F238E27FC236}">
                  <a16:creationId xmlns:a16="http://schemas.microsoft.com/office/drawing/2014/main" id="{4FCFDFF2-CBC1-49E1-8369-BBD5AA500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438" y="3929127"/>
              <a:ext cx="410023" cy="451306"/>
            </a:xfrm>
            <a:custGeom>
              <a:avLst/>
              <a:gdLst>
                <a:gd name="T0" fmla="*/ 4 w 240"/>
                <a:gd name="T1" fmla="*/ 186 h 270"/>
                <a:gd name="T2" fmla="*/ 12 w 240"/>
                <a:gd name="T3" fmla="*/ 176 h 270"/>
                <a:gd name="T4" fmla="*/ 16 w 240"/>
                <a:gd name="T5" fmla="*/ 176 h 270"/>
                <a:gd name="T6" fmla="*/ 26 w 240"/>
                <a:gd name="T7" fmla="*/ 182 h 270"/>
                <a:gd name="T8" fmla="*/ 44 w 240"/>
                <a:gd name="T9" fmla="*/ 184 h 270"/>
                <a:gd name="T10" fmla="*/ 78 w 240"/>
                <a:gd name="T11" fmla="*/ 184 h 270"/>
                <a:gd name="T12" fmla="*/ 92 w 240"/>
                <a:gd name="T13" fmla="*/ 184 h 270"/>
                <a:gd name="T14" fmla="*/ 96 w 240"/>
                <a:gd name="T15" fmla="*/ 182 h 270"/>
                <a:gd name="T16" fmla="*/ 98 w 240"/>
                <a:gd name="T17" fmla="*/ 174 h 270"/>
                <a:gd name="T18" fmla="*/ 94 w 240"/>
                <a:gd name="T19" fmla="*/ 164 h 270"/>
                <a:gd name="T20" fmla="*/ 90 w 240"/>
                <a:gd name="T21" fmla="*/ 162 h 270"/>
                <a:gd name="T22" fmla="*/ 84 w 240"/>
                <a:gd name="T23" fmla="*/ 162 h 270"/>
                <a:gd name="T24" fmla="*/ 78 w 240"/>
                <a:gd name="T25" fmla="*/ 148 h 270"/>
                <a:gd name="T26" fmla="*/ 78 w 240"/>
                <a:gd name="T27" fmla="*/ 130 h 270"/>
                <a:gd name="T28" fmla="*/ 84 w 240"/>
                <a:gd name="T29" fmla="*/ 82 h 270"/>
                <a:gd name="T30" fmla="*/ 86 w 240"/>
                <a:gd name="T31" fmla="*/ 60 h 270"/>
                <a:gd name="T32" fmla="*/ 84 w 240"/>
                <a:gd name="T33" fmla="*/ 48 h 270"/>
                <a:gd name="T34" fmla="*/ 78 w 240"/>
                <a:gd name="T35" fmla="*/ 38 h 270"/>
                <a:gd name="T36" fmla="*/ 76 w 240"/>
                <a:gd name="T37" fmla="*/ 24 h 270"/>
                <a:gd name="T38" fmla="*/ 78 w 240"/>
                <a:gd name="T39" fmla="*/ 18 h 270"/>
                <a:gd name="T40" fmla="*/ 82 w 240"/>
                <a:gd name="T41" fmla="*/ 16 h 270"/>
                <a:gd name="T42" fmla="*/ 88 w 240"/>
                <a:gd name="T43" fmla="*/ 16 h 270"/>
                <a:gd name="T44" fmla="*/ 88 w 240"/>
                <a:gd name="T45" fmla="*/ 6 h 270"/>
                <a:gd name="T46" fmla="*/ 102 w 240"/>
                <a:gd name="T47" fmla="*/ 10 h 270"/>
                <a:gd name="T48" fmla="*/ 138 w 240"/>
                <a:gd name="T49" fmla="*/ 40 h 270"/>
                <a:gd name="T50" fmla="*/ 186 w 240"/>
                <a:gd name="T51" fmla="*/ 80 h 270"/>
                <a:gd name="T52" fmla="*/ 206 w 240"/>
                <a:gd name="T53" fmla="*/ 92 h 270"/>
                <a:gd name="T54" fmla="*/ 216 w 240"/>
                <a:gd name="T55" fmla="*/ 98 h 270"/>
                <a:gd name="T56" fmla="*/ 218 w 240"/>
                <a:gd name="T57" fmla="*/ 102 h 270"/>
                <a:gd name="T58" fmla="*/ 218 w 240"/>
                <a:gd name="T59" fmla="*/ 118 h 270"/>
                <a:gd name="T60" fmla="*/ 222 w 240"/>
                <a:gd name="T61" fmla="*/ 122 h 270"/>
                <a:gd name="T62" fmla="*/ 228 w 240"/>
                <a:gd name="T63" fmla="*/ 122 h 270"/>
                <a:gd name="T64" fmla="*/ 238 w 240"/>
                <a:gd name="T65" fmla="*/ 140 h 270"/>
                <a:gd name="T66" fmla="*/ 238 w 240"/>
                <a:gd name="T67" fmla="*/ 160 h 270"/>
                <a:gd name="T68" fmla="*/ 236 w 240"/>
                <a:gd name="T69" fmla="*/ 166 h 270"/>
                <a:gd name="T70" fmla="*/ 232 w 240"/>
                <a:gd name="T71" fmla="*/ 168 h 270"/>
                <a:gd name="T72" fmla="*/ 226 w 240"/>
                <a:gd name="T73" fmla="*/ 168 h 270"/>
                <a:gd name="T74" fmla="*/ 226 w 240"/>
                <a:gd name="T75" fmla="*/ 172 h 270"/>
                <a:gd name="T76" fmla="*/ 226 w 240"/>
                <a:gd name="T77" fmla="*/ 176 h 270"/>
                <a:gd name="T78" fmla="*/ 224 w 240"/>
                <a:gd name="T79" fmla="*/ 180 h 270"/>
                <a:gd name="T80" fmla="*/ 208 w 240"/>
                <a:gd name="T81" fmla="*/ 180 h 270"/>
                <a:gd name="T82" fmla="*/ 190 w 240"/>
                <a:gd name="T83" fmla="*/ 182 h 270"/>
                <a:gd name="T84" fmla="*/ 176 w 240"/>
                <a:gd name="T85" fmla="*/ 190 h 270"/>
                <a:gd name="T86" fmla="*/ 158 w 240"/>
                <a:gd name="T87" fmla="*/ 188 h 270"/>
                <a:gd name="T88" fmla="*/ 152 w 240"/>
                <a:gd name="T89" fmla="*/ 190 h 270"/>
                <a:gd name="T90" fmla="*/ 146 w 240"/>
                <a:gd name="T91" fmla="*/ 198 h 270"/>
                <a:gd name="T92" fmla="*/ 138 w 240"/>
                <a:gd name="T93" fmla="*/ 206 h 270"/>
                <a:gd name="T94" fmla="*/ 126 w 240"/>
                <a:gd name="T95" fmla="*/ 210 h 270"/>
                <a:gd name="T96" fmla="*/ 118 w 240"/>
                <a:gd name="T97" fmla="*/ 214 h 270"/>
                <a:gd name="T98" fmla="*/ 112 w 240"/>
                <a:gd name="T99" fmla="*/ 228 h 270"/>
                <a:gd name="T100" fmla="*/ 102 w 240"/>
                <a:gd name="T101" fmla="*/ 242 h 270"/>
                <a:gd name="T102" fmla="*/ 96 w 240"/>
                <a:gd name="T103" fmla="*/ 256 h 270"/>
                <a:gd name="T104" fmla="*/ 64 w 240"/>
                <a:gd name="T105" fmla="*/ 266 h 270"/>
                <a:gd name="T106" fmla="*/ 62 w 240"/>
                <a:gd name="T107" fmla="*/ 250 h 270"/>
                <a:gd name="T108" fmla="*/ 56 w 240"/>
                <a:gd name="T109" fmla="*/ 242 h 270"/>
                <a:gd name="T110" fmla="*/ 48 w 240"/>
                <a:gd name="T111" fmla="*/ 238 h 270"/>
                <a:gd name="T112" fmla="*/ 34 w 240"/>
                <a:gd name="T113" fmla="*/ 234 h 270"/>
                <a:gd name="T114" fmla="*/ 14 w 240"/>
                <a:gd name="T115" fmla="*/ 220 h 270"/>
                <a:gd name="T116" fmla="*/ 8 w 240"/>
                <a:gd name="T117" fmla="*/ 212 h 270"/>
                <a:gd name="T118" fmla="*/ 2 w 240"/>
                <a:gd name="T119" fmla="*/ 206 h 270"/>
                <a:gd name="T120" fmla="*/ 0 w 240"/>
                <a:gd name="T121" fmla="*/ 19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0" h="270">
                  <a:moveTo>
                    <a:pt x="0" y="194"/>
                  </a:moveTo>
                  <a:lnTo>
                    <a:pt x="0" y="194"/>
                  </a:lnTo>
                  <a:lnTo>
                    <a:pt x="0" y="192"/>
                  </a:lnTo>
                  <a:lnTo>
                    <a:pt x="2" y="188"/>
                  </a:lnTo>
                  <a:lnTo>
                    <a:pt x="4" y="186"/>
                  </a:lnTo>
                  <a:lnTo>
                    <a:pt x="6" y="182"/>
                  </a:lnTo>
                  <a:lnTo>
                    <a:pt x="8" y="180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4" y="174"/>
                  </a:lnTo>
                  <a:lnTo>
                    <a:pt x="14" y="174"/>
                  </a:lnTo>
                  <a:lnTo>
                    <a:pt x="16" y="174"/>
                  </a:lnTo>
                  <a:lnTo>
                    <a:pt x="16" y="176"/>
                  </a:lnTo>
                  <a:lnTo>
                    <a:pt x="18" y="176"/>
                  </a:lnTo>
                  <a:lnTo>
                    <a:pt x="20" y="178"/>
                  </a:lnTo>
                  <a:lnTo>
                    <a:pt x="22" y="180"/>
                  </a:lnTo>
                  <a:lnTo>
                    <a:pt x="24" y="180"/>
                  </a:lnTo>
                  <a:lnTo>
                    <a:pt x="26" y="182"/>
                  </a:lnTo>
                  <a:lnTo>
                    <a:pt x="28" y="182"/>
                  </a:lnTo>
                  <a:lnTo>
                    <a:pt x="30" y="182"/>
                  </a:lnTo>
                  <a:lnTo>
                    <a:pt x="34" y="182"/>
                  </a:lnTo>
                  <a:lnTo>
                    <a:pt x="36" y="184"/>
                  </a:lnTo>
                  <a:lnTo>
                    <a:pt x="44" y="184"/>
                  </a:lnTo>
                  <a:lnTo>
                    <a:pt x="52" y="184"/>
                  </a:lnTo>
                  <a:lnTo>
                    <a:pt x="58" y="184"/>
                  </a:lnTo>
                  <a:lnTo>
                    <a:pt x="66" y="184"/>
                  </a:lnTo>
                  <a:lnTo>
                    <a:pt x="72" y="184"/>
                  </a:lnTo>
                  <a:lnTo>
                    <a:pt x="78" y="184"/>
                  </a:lnTo>
                  <a:lnTo>
                    <a:pt x="82" y="184"/>
                  </a:lnTo>
                  <a:lnTo>
                    <a:pt x="84" y="184"/>
                  </a:lnTo>
                  <a:lnTo>
                    <a:pt x="88" y="184"/>
                  </a:lnTo>
                  <a:lnTo>
                    <a:pt x="90" y="184"/>
                  </a:lnTo>
                  <a:lnTo>
                    <a:pt x="92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6" y="184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0"/>
                  </a:lnTo>
                  <a:lnTo>
                    <a:pt x="98" y="180"/>
                  </a:lnTo>
                  <a:lnTo>
                    <a:pt x="98" y="178"/>
                  </a:lnTo>
                  <a:lnTo>
                    <a:pt x="98" y="176"/>
                  </a:lnTo>
                  <a:lnTo>
                    <a:pt x="98" y="174"/>
                  </a:lnTo>
                  <a:lnTo>
                    <a:pt x="98" y="172"/>
                  </a:lnTo>
                  <a:lnTo>
                    <a:pt x="96" y="168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2" y="164"/>
                  </a:lnTo>
                  <a:lnTo>
                    <a:pt x="90" y="164"/>
                  </a:lnTo>
                  <a:lnTo>
                    <a:pt x="90" y="162"/>
                  </a:lnTo>
                  <a:lnTo>
                    <a:pt x="88" y="162"/>
                  </a:lnTo>
                  <a:lnTo>
                    <a:pt x="86" y="162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2" y="158"/>
                  </a:lnTo>
                  <a:lnTo>
                    <a:pt x="80" y="156"/>
                  </a:lnTo>
                  <a:lnTo>
                    <a:pt x="80" y="154"/>
                  </a:lnTo>
                  <a:lnTo>
                    <a:pt x="80" y="150"/>
                  </a:lnTo>
                  <a:lnTo>
                    <a:pt x="78" y="148"/>
                  </a:lnTo>
                  <a:lnTo>
                    <a:pt x="78" y="144"/>
                  </a:lnTo>
                  <a:lnTo>
                    <a:pt x="78" y="142"/>
                  </a:lnTo>
                  <a:lnTo>
                    <a:pt x="78" y="138"/>
                  </a:lnTo>
                  <a:lnTo>
                    <a:pt x="78" y="134"/>
                  </a:lnTo>
                  <a:lnTo>
                    <a:pt x="78" y="130"/>
                  </a:lnTo>
                  <a:lnTo>
                    <a:pt x="78" y="122"/>
                  </a:lnTo>
                  <a:lnTo>
                    <a:pt x="80" y="114"/>
                  </a:lnTo>
                  <a:lnTo>
                    <a:pt x="82" y="106"/>
                  </a:lnTo>
                  <a:lnTo>
                    <a:pt x="84" y="90"/>
                  </a:lnTo>
                  <a:lnTo>
                    <a:pt x="84" y="82"/>
                  </a:lnTo>
                  <a:lnTo>
                    <a:pt x="86" y="74"/>
                  </a:lnTo>
                  <a:lnTo>
                    <a:pt x="86" y="70"/>
                  </a:lnTo>
                  <a:lnTo>
                    <a:pt x="86" y="68"/>
                  </a:lnTo>
                  <a:lnTo>
                    <a:pt x="86" y="64"/>
                  </a:lnTo>
                  <a:lnTo>
                    <a:pt x="86" y="60"/>
                  </a:lnTo>
                  <a:lnTo>
                    <a:pt x="86" y="58"/>
                  </a:lnTo>
                  <a:lnTo>
                    <a:pt x="86" y="54"/>
                  </a:lnTo>
                  <a:lnTo>
                    <a:pt x="86" y="52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4" y="46"/>
                  </a:lnTo>
                  <a:lnTo>
                    <a:pt x="80" y="44"/>
                  </a:lnTo>
                  <a:lnTo>
                    <a:pt x="78" y="42"/>
                  </a:lnTo>
                  <a:lnTo>
                    <a:pt x="78" y="40"/>
                  </a:lnTo>
                  <a:lnTo>
                    <a:pt x="78" y="38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2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4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6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2"/>
                  </a:lnTo>
                  <a:lnTo>
                    <a:pt x="88" y="10"/>
                  </a:lnTo>
                  <a:lnTo>
                    <a:pt x="88" y="6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94" y="4"/>
                  </a:lnTo>
                  <a:lnTo>
                    <a:pt x="98" y="8"/>
                  </a:lnTo>
                  <a:lnTo>
                    <a:pt x="102" y="10"/>
                  </a:lnTo>
                  <a:lnTo>
                    <a:pt x="108" y="14"/>
                  </a:lnTo>
                  <a:lnTo>
                    <a:pt x="114" y="20"/>
                  </a:lnTo>
                  <a:lnTo>
                    <a:pt x="120" y="24"/>
                  </a:lnTo>
                  <a:lnTo>
                    <a:pt x="126" y="30"/>
                  </a:lnTo>
                  <a:lnTo>
                    <a:pt x="138" y="40"/>
                  </a:lnTo>
                  <a:lnTo>
                    <a:pt x="152" y="52"/>
                  </a:lnTo>
                  <a:lnTo>
                    <a:pt x="166" y="64"/>
                  </a:lnTo>
                  <a:lnTo>
                    <a:pt x="174" y="70"/>
                  </a:lnTo>
                  <a:lnTo>
                    <a:pt x="180" y="74"/>
                  </a:lnTo>
                  <a:lnTo>
                    <a:pt x="186" y="80"/>
                  </a:lnTo>
                  <a:lnTo>
                    <a:pt x="192" y="84"/>
                  </a:lnTo>
                  <a:lnTo>
                    <a:pt x="198" y="88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6" y="92"/>
                  </a:lnTo>
                  <a:lnTo>
                    <a:pt x="210" y="94"/>
                  </a:lnTo>
                  <a:lnTo>
                    <a:pt x="212" y="94"/>
                  </a:lnTo>
                  <a:lnTo>
                    <a:pt x="214" y="96"/>
                  </a:lnTo>
                  <a:lnTo>
                    <a:pt x="216" y="96"/>
                  </a:lnTo>
                  <a:lnTo>
                    <a:pt x="216" y="98"/>
                  </a:lnTo>
                  <a:lnTo>
                    <a:pt x="218" y="98"/>
                  </a:lnTo>
                  <a:lnTo>
                    <a:pt x="218" y="98"/>
                  </a:lnTo>
                  <a:lnTo>
                    <a:pt x="218" y="100"/>
                  </a:lnTo>
                  <a:lnTo>
                    <a:pt x="218" y="102"/>
                  </a:lnTo>
                  <a:lnTo>
                    <a:pt x="218" y="102"/>
                  </a:lnTo>
                  <a:lnTo>
                    <a:pt x="218" y="106"/>
                  </a:lnTo>
                  <a:lnTo>
                    <a:pt x="218" y="110"/>
                  </a:lnTo>
                  <a:lnTo>
                    <a:pt x="218" y="114"/>
                  </a:lnTo>
                  <a:lnTo>
                    <a:pt x="218" y="116"/>
                  </a:lnTo>
                  <a:lnTo>
                    <a:pt x="218" y="118"/>
                  </a:lnTo>
                  <a:lnTo>
                    <a:pt x="220" y="118"/>
                  </a:lnTo>
                  <a:lnTo>
                    <a:pt x="220" y="120"/>
                  </a:lnTo>
                  <a:lnTo>
                    <a:pt x="220" y="120"/>
                  </a:lnTo>
                  <a:lnTo>
                    <a:pt x="220" y="122"/>
                  </a:lnTo>
                  <a:lnTo>
                    <a:pt x="222" y="122"/>
                  </a:lnTo>
                  <a:lnTo>
                    <a:pt x="222" y="122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6" y="122"/>
                  </a:lnTo>
                  <a:lnTo>
                    <a:pt x="228" y="122"/>
                  </a:lnTo>
                  <a:lnTo>
                    <a:pt x="232" y="120"/>
                  </a:lnTo>
                  <a:lnTo>
                    <a:pt x="234" y="120"/>
                  </a:lnTo>
                  <a:lnTo>
                    <a:pt x="236" y="126"/>
                  </a:lnTo>
                  <a:lnTo>
                    <a:pt x="236" y="132"/>
                  </a:lnTo>
                  <a:lnTo>
                    <a:pt x="238" y="140"/>
                  </a:lnTo>
                  <a:lnTo>
                    <a:pt x="238" y="144"/>
                  </a:lnTo>
                  <a:lnTo>
                    <a:pt x="238" y="148"/>
                  </a:lnTo>
                  <a:lnTo>
                    <a:pt x="240" y="152"/>
                  </a:lnTo>
                  <a:lnTo>
                    <a:pt x="240" y="156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2"/>
                  </a:lnTo>
                  <a:lnTo>
                    <a:pt x="238" y="164"/>
                  </a:lnTo>
                  <a:lnTo>
                    <a:pt x="238" y="164"/>
                  </a:lnTo>
                  <a:lnTo>
                    <a:pt x="236" y="166"/>
                  </a:lnTo>
                  <a:lnTo>
                    <a:pt x="236" y="166"/>
                  </a:lnTo>
                  <a:lnTo>
                    <a:pt x="236" y="168"/>
                  </a:lnTo>
                  <a:lnTo>
                    <a:pt x="236" y="168"/>
                  </a:lnTo>
                  <a:lnTo>
                    <a:pt x="234" y="168"/>
                  </a:lnTo>
                  <a:lnTo>
                    <a:pt x="232" y="168"/>
                  </a:lnTo>
                  <a:lnTo>
                    <a:pt x="232" y="168"/>
                  </a:lnTo>
                  <a:lnTo>
                    <a:pt x="230" y="168"/>
                  </a:lnTo>
                  <a:lnTo>
                    <a:pt x="228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26" y="170"/>
                  </a:lnTo>
                  <a:lnTo>
                    <a:pt x="226" y="172"/>
                  </a:lnTo>
                  <a:lnTo>
                    <a:pt x="226" y="172"/>
                  </a:lnTo>
                  <a:lnTo>
                    <a:pt x="226" y="174"/>
                  </a:lnTo>
                  <a:lnTo>
                    <a:pt x="226" y="176"/>
                  </a:lnTo>
                  <a:lnTo>
                    <a:pt x="226" y="176"/>
                  </a:lnTo>
                  <a:lnTo>
                    <a:pt x="226" y="176"/>
                  </a:lnTo>
                  <a:lnTo>
                    <a:pt x="226" y="176"/>
                  </a:lnTo>
                  <a:lnTo>
                    <a:pt x="226" y="178"/>
                  </a:lnTo>
                  <a:lnTo>
                    <a:pt x="224" y="178"/>
                  </a:lnTo>
                  <a:lnTo>
                    <a:pt x="224" y="178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8" y="180"/>
                  </a:lnTo>
                  <a:lnTo>
                    <a:pt x="216" y="180"/>
                  </a:lnTo>
                  <a:lnTo>
                    <a:pt x="214" y="180"/>
                  </a:lnTo>
                  <a:lnTo>
                    <a:pt x="208" y="180"/>
                  </a:lnTo>
                  <a:lnTo>
                    <a:pt x="202" y="180"/>
                  </a:lnTo>
                  <a:lnTo>
                    <a:pt x="198" y="180"/>
                  </a:lnTo>
                  <a:lnTo>
                    <a:pt x="194" y="180"/>
                  </a:lnTo>
                  <a:lnTo>
                    <a:pt x="192" y="182"/>
                  </a:lnTo>
                  <a:lnTo>
                    <a:pt x="190" y="182"/>
                  </a:lnTo>
                  <a:lnTo>
                    <a:pt x="188" y="182"/>
                  </a:lnTo>
                  <a:lnTo>
                    <a:pt x="186" y="182"/>
                  </a:lnTo>
                  <a:lnTo>
                    <a:pt x="186" y="184"/>
                  </a:lnTo>
                  <a:lnTo>
                    <a:pt x="182" y="186"/>
                  </a:lnTo>
                  <a:lnTo>
                    <a:pt x="176" y="190"/>
                  </a:lnTo>
                  <a:lnTo>
                    <a:pt x="174" y="190"/>
                  </a:lnTo>
                  <a:lnTo>
                    <a:pt x="170" y="188"/>
                  </a:lnTo>
                  <a:lnTo>
                    <a:pt x="166" y="188"/>
                  </a:lnTo>
                  <a:lnTo>
                    <a:pt x="162" y="188"/>
                  </a:lnTo>
                  <a:lnTo>
                    <a:pt x="158" y="188"/>
                  </a:lnTo>
                  <a:lnTo>
                    <a:pt x="156" y="188"/>
                  </a:lnTo>
                  <a:lnTo>
                    <a:pt x="156" y="188"/>
                  </a:lnTo>
                  <a:lnTo>
                    <a:pt x="154" y="188"/>
                  </a:lnTo>
                  <a:lnTo>
                    <a:pt x="152" y="188"/>
                  </a:lnTo>
                  <a:lnTo>
                    <a:pt x="152" y="190"/>
                  </a:lnTo>
                  <a:lnTo>
                    <a:pt x="150" y="190"/>
                  </a:lnTo>
                  <a:lnTo>
                    <a:pt x="150" y="192"/>
                  </a:lnTo>
                  <a:lnTo>
                    <a:pt x="148" y="194"/>
                  </a:lnTo>
                  <a:lnTo>
                    <a:pt x="146" y="196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202"/>
                  </a:lnTo>
                  <a:lnTo>
                    <a:pt x="140" y="204"/>
                  </a:lnTo>
                  <a:lnTo>
                    <a:pt x="138" y="206"/>
                  </a:lnTo>
                  <a:lnTo>
                    <a:pt x="138" y="206"/>
                  </a:lnTo>
                  <a:lnTo>
                    <a:pt x="136" y="206"/>
                  </a:lnTo>
                  <a:lnTo>
                    <a:pt x="136" y="208"/>
                  </a:lnTo>
                  <a:lnTo>
                    <a:pt x="134" y="208"/>
                  </a:lnTo>
                  <a:lnTo>
                    <a:pt x="128" y="210"/>
                  </a:lnTo>
                  <a:lnTo>
                    <a:pt x="126" y="210"/>
                  </a:lnTo>
                  <a:lnTo>
                    <a:pt x="122" y="210"/>
                  </a:lnTo>
                  <a:lnTo>
                    <a:pt x="120" y="212"/>
                  </a:lnTo>
                  <a:lnTo>
                    <a:pt x="120" y="212"/>
                  </a:lnTo>
                  <a:lnTo>
                    <a:pt x="118" y="212"/>
                  </a:lnTo>
                  <a:lnTo>
                    <a:pt x="118" y="214"/>
                  </a:lnTo>
                  <a:lnTo>
                    <a:pt x="118" y="214"/>
                  </a:lnTo>
                  <a:lnTo>
                    <a:pt x="116" y="216"/>
                  </a:lnTo>
                  <a:lnTo>
                    <a:pt x="114" y="220"/>
                  </a:lnTo>
                  <a:lnTo>
                    <a:pt x="112" y="226"/>
                  </a:lnTo>
                  <a:lnTo>
                    <a:pt x="112" y="228"/>
                  </a:lnTo>
                  <a:lnTo>
                    <a:pt x="110" y="232"/>
                  </a:lnTo>
                  <a:lnTo>
                    <a:pt x="108" y="232"/>
                  </a:lnTo>
                  <a:lnTo>
                    <a:pt x="108" y="234"/>
                  </a:lnTo>
                  <a:lnTo>
                    <a:pt x="104" y="238"/>
                  </a:lnTo>
                  <a:lnTo>
                    <a:pt x="102" y="242"/>
                  </a:lnTo>
                  <a:lnTo>
                    <a:pt x="100" y="244"/>
                  </a:lnTo>
                  <a:lnTo>
                    <a:pt x="100" y="246"/>
                  </a:lnTo>
                  <a:lnTo>
                    <a:pt x="98" y="248"/>
                  </a:lnTo>
                  <a:lnTo>
                    <a:pt x="98" y="250"/>
                  </a:lnTo>
                  <a:lnTo>
                    <a:pt x="96" y="256"/>
                  </a:lnTo>
                  <a:lnTo>
                    <a:pt x="96" y="262"/>
                  </a:lnTo>
                  <a:lnTo>
                    <a:pt x="94" y="266"/>
                  </a:lnTo>
                  <a:lnTo>
                    <a:pt x="78" y="268"/>
                  </a:lnTo>
                  <a:lnTo>
                    <a:pt x="64" y="270"/>
                  </a:lnTo>
                  <a:lnTo>
                    <a:pt x="64" y="266"/>
                  </a:lnTo>
                  <a:lnTo>
                    <a:pt x="64" y="260"/>
                  </a:lnTo>
                  <a:lnTo>
                    <a:pt x="64" y="258"/>
                  </a:lnTo>
                  <a:lnTo>
                    <a:pt x="62" y="254"/>
                  </a:lnTo>
                  <a:lnTo>
                    <a:pt x="62" y="252"/>
                  </a:lnTo>
                  <a:lnTo>
                    <a:pt x="62" y="250"/>
                  </a:lnTo>
                  <a:lnTo>
                    <a:pt x="60" y="250"/>
                  </a:lnTo>
                  <a:lnTo>
                    <a:pt x="60" y="248"/>
                  </a:lnTo>
                  <a:lnTo>
                    <a:pt x="58" y="246"/>
                  </a:lnTo>
                  <a:lnTo>
                    <a:pt x="58" y="244"/>
                  </a:lnTo>
                  <a:lnTo>
                    <a:pt x="56" y="242"/>
                  </a:lnTo>
                  <a:lnTo>
                    <a:pt x="54" y="242"/>
                  </a:lnTo>
                  <a:lnTo>
                    <a:pt x="52" y="240"/>
                  </a:lnTo>
                  <a:lnTo>
                    <a:pt x="50" y="238"/>
                  </a:lnTo>
                  <a:lnTo>
                    <a:pt x="50" y="238"/>
                  </a:lnTo>
                  <a:lnTo>
                    <a:pt x="48" y="238"/>
                  </a:lnTo>
                  <a:lnTo>
                    <a:pt x="46" y="236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36" y="234"/>
                  </a:lnTo>
                  <a:lnTo>
                    <a:pt x="34" y="234"/>
                  </a:lnTo>
                  <a:lnTo>
                    <a:pt x="24" y="232"/>
                  </a:lnTo>
                  <a:lnTo>
                    <a:pt x="18" y="230"/>
                  </a:lnTo>
                  <a:lnTo>
                    <a:pt x="18" y="228"/>
                  </a:lnTo>
                  <a:lnTo>
                    <a:pt x="16" y="224"/>
                  </a:lnTo>
                  <a:lnTo>
                    <a:pt x="14" y="220"/>
                  </a:lnTo>
                  <a:lnTo>
                    <a:pt x="14" y="218"/>
                  </a:lnTo>
                  <a:lnTo>
                    <a:pt x="12" y="216"/>
                  </a:lnTo>
                  <a:lnTo>
                    <a:pt x="10" y="214"/>
                  </a:lnTo>
                  <a:lnTo>
                    <a:pt x="10" y="212"/>
                  </a:lnTo>
                  <a:lnTo>
                    <a:pt x="8" y="212"/>
                  </a:lnTo>
                  <a:lnTo>
                    <a:pt x="6" y="210"/>
                  </a:lnTo>
                  <a:lnTo>
                    <a:pt x="4" y="208"/>
                  </a:lnTo>
                  <a:lnTo>
                    <a:pt x="2" y="208"/>
                  </a:lnTo>
                  <a:lnTo>
                    <a:pt x="2" y="208"/>
                  </a:lnTo>
                  <a:lnTo>
                    <a:pt x="2" y="206"/>
                  </a:lnTo>
                  <a:lnTo>
                    <a:pt x="0" y="204"/>
                  </a:lnTo>
                  <a:lnTo>
                    <a:pt x="0" y="202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60" name="Freeform 372">
              <a:extLst>
                <a:ext uri="{FF2B5EF4-FFF2-40B4-BE49-F238E27FC236}">
                  <a16:creationId xmlns:a16="http://schemas.microsoft.com/office/drawing/2014/main" id="{94F29109-834C-4A9D-9264-4F0418B36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687" y="4387118"/>
              <a:ext cx="78587" cy="83575"/>
            </a:xfrm>
            <a:custGeom>
              <a:avLst/>
              <a:gdLst>
                <a:gd name="T0" fmla="*/ 46 w 46"/>
                <a:gd name="T1" fmla="*/ 24 h 50"/>
                <a:gd name="T2" fmla="*/ 46 w 46"/>
                <a:gd name="T3" fmla="*/ 18 h 50"/>
                <a:gd name="T4" fmla="*/ 44 w 46"/>
                <a:gd name="T5" fmla="*/ 12 h 50"/>
                <a:gd name="T6" fmla="*/ 44 w 46"/>
                <a:gd name="T7" fmla="*/ 8 h 50"/>
                <a:gd name="T8" fmla="*/ 42 w 46"/>
                <a:gd name="T9" fmla="*/ 6 h 50"/>
                <a:gd name="T10" fmla="*/ 38 w 46"/>
                <a:gd name="T11" fmla="*/ 4 h 50"/>
                <a:gd name="T12" fmla="*/ 34 w 46"/>
                <a:gd name="T13" fmla="*/ 2 h 50"/>
                <a:gd name="T14" fmla="*/ 28 w 46"/>
                <a:gd name="T15" fmla="*/ 0 h 50"/>
                <a:gd name="T16" fmla="*/ 26 w 46"/>
                <a:gd name="T17" fmla="*/ 0 h 50"/>
                <a:gd name="T18" fmla="*/ 26 w 46"/>
                <a:gd name="T19" fmla="*/ 0 h 50"/>
                <a:gd name="T20" fmla="*/ 22 w 46"/>
                <a:gd name="T21" fmla="*/ 0 h 50"/>
                <a:gd name="T22" fmla="*/ 18 w 46"/>
                <a:gd name="T23" fmla="*/ 4 h 50"/>
                <a:gd name="T24" fmla="*/ 14 w 46"/>
                <a:gd name="T25" fmla="*/ 6 h 50"/>
                <a:gd name="T26" fmla="*/ 10 w 46"/>
                <a:gd name="T27" fmla="*/ 6 h 50"/>
                <a:gd name="T28" fmla="*/ 0 w 46"/>
                <a:gd name="T29" fmla="*/ 10 h 50"/>
                <a:gd name="T30" fmla="*/ 0 w 46"/>
                <a:gd name="T31" fmla="*/ 16 h 50"/>
                <a:gd name="T32" fmla="*/ 2 w 46"/>
                <a:gd name="T33" fmla="*/ 20 h 50"/>
                <a:gd name="T34" fmla="*/ 2 w 46"/>
                <a:gd name="T35" fmla="*/ 22 h 50"/>
                <a:gd name="T36" fmla="*/ 4 w 46"/>
                <a:gd name="T37" fmla="*/ 24 h 50"/>
                <a:gd name="T38" fmla="*/ 6 w 46"/>
                <a:gd name="T39" fmla="*/ 24 h 50"/>
                <a:gd name="T40" fmla="*/ 8 w 46"/>
                <a:gd name="T41" fmla="*/ 24 h 50"/>
                <a:gd name="T42" fmla="*/ 12 w 46"/>
                <a:gd name="T43" fmla="*/ 26 h 50"/>
                <a:gd name="T44" fmla="*/ 12 w 46"/>
                <a:gd name="T45" fmla="*/ 26 h 50"/>
                <a:gd name="T46" fmla="*/ 14 w 46"/>
                <a:gd name="T47" fmla="*/ 28 h 50"/>
                <a:gd name="T48" fmla="*/ 14 w 46"/>
                <a:gd name="T49" fmla="*/ 30 h 50"/>
                <a:gd name="T50" fmla="*/ 14 w 46"/>
                <a:gd name="T51" fmla="*/ 34 h 50"/>
                <a:gd name="T52" fmla="*/ 14 w 46"/>
                <a:gd name="T53" fmla="*/ 36 h 50"/>
                <a:gd name="T54" fmla="*/ 16 w 46"/>
                <a:gd name="T55" fmla="*/ 38 h 50"/>
                <a:gd name="T56" fmla="*/ 16 w 46"/>
                <a:gd name="T57" fmla="*/ 40 h 50"/>
                <a:gd name="T58" fmla="*/ 18 w 46"/>
                <a:gd name="T59" fmla="*/ 40 h 50"/>
                <a:gd name="T60" fmla="*/ 22 w 46"/>
                <a:gd name="T61" fmla="*/ 42 h 50"/>
                <a:gd name="T62" fmla="*/ 26 w 46"/>
                <a:gd name="T63" fmla="*/ 42 h 50"/>
                <a:gd name="T64" fmla="*/ 28 w 46"/>
                <a:gd name="T65" fmla="*/ 42 h 50"/>
                <a:gd name="T66" fmla="*/ 30 w 46"/>
                <a:gd name="T67" fmla="*/ 44 h 50"/>
                <a:gd name="T68" fmla="*/ 32 w 46"/>
                <a:gd name="T69" fmla="*/ 48 h 50"/>
                <a:gd name="T70" fmla="*/ 34 w 46"/>
                <a:gd name="T7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6" h="50">
                  <a:moveTo>
                    <a:pt x="46" y="24"/>
                  </a:moveTo>
                  <a:lnTo>
                    <a:pt x="46" y="24"/>
                  </a:lnTo>
                  <a:lnTo>
                    <a:pt x="46" y="22"/>
                  </a:lnTo>
                  <a:lnTo>
                    <a:pt x="46" y="18"/>
                  </a:lnTo>
                  <a:lnTo>
                    <a:pt x="46" y="14"/>
                  </a:lnTo>
                  <a:lnTo>
                    <a:pt x="44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6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6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4" y="50"/>
                  </a:lnTo>
                  <a:lnTo>
                    <a:pt x="46" y="2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61" name="Freeform 374">
              <a:extLst>
                <a:ext uri="{FF2B5EF4-FFF2-40B4-BE49-F238E27FC236}">
                  <a16:creationId xmlns:a16="http://schemas.microsoft.com/office/drawing/2014/main" id="{355A9A01-6601-4851-AD41-37A957C77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0208" y="4273457"/>
              <a:ext cx="269932" cy="264097"/>
            </a:xfrm>
            <a:custGeom>
              <a:avLst/>
              <a:gdLst>
                <a:gd name="T0" fmla="*/ 130 w 158"/>
                <a:gd name="T1" fmla="*/ 98 h 158"/>
                <a:gd name="T2" fmla="*/ 136 w 158"/>
                <a:gd name="T3" fmla="*/ 86 h 158"/>
                <a:gd name="T4" fmla="*/ 140 w 158"/>
                <a:gd name="T5" fmla="*/ 68 h 158"/>
                <a:gd name="T6" fmla="*/ 144 w 158"/>
                <a:gd name="T7" fmla="*/ 56 h 158"/>
                <a:gd name="T8" fmla="*/ 148 w 158"/>
                <a:gd name="T9" fmla="*/ 50 h 158"/>
                <a:gd name="T10" fmla="*/ 156 w 158"/>
                <a:gd name="T11" fmla="*/ 44 h 158"/>
                <a:gd name="T12" fmla="*/ 158 w 158"/>
                <a:gd name="T13" fmla="*/ 40 h 158"/>
                <a:gd name="T14" fmla="*/ 158 w 158"/>
                <a:gd name="T15" fmla="*/ 26 h 158"/>
                <a:gd name="T16" fmla="*/ 156 w 158"/>
                <a:gd name="T17" fmla="*/ 0 h 158"/>
                <a:gd name="T18" fmla="*/ 144 w 158"/>
                <a:gd name="T19" fmla="*/ 6 h 158"/>
                <a:gd name="T20" fmla="*/ 140 w 158"/>
                <a:gd name="T21" fmla="*/ 12 h 158"/>
                <a:gd name="T22" fmla="*/ 138 w 158"/>
                <a:gd name="T23" fmla="*/ 14 h 158"/>
                <a:gd name="T24" fmla="*/ 136 w 158"/>
                <a:gd name="T25" fmla="*/ 12 h 158"/>
                <a:gd name="T26" fmla="*/ 132 w 158"/>
                <a:gd name="T27" fmla="*/ 6 h 158"/>
                <a:gd name="T28" fmla="*/ 126 w 158"/>
                <a:gd name="T29" fmla="*/ 4 h 158"/>
                <a:gd name="T30" fmla="*/ 116 w 158"/>
                <a:gd name="T31" fmla="*/ 4 h 158"/>
                <a:gd name="T32" fmla="*/ 112 w 158"/>
                <a:gd name="T33" fmla="*/ 6 h 158"/>
                <a:gd name="T34" fmla="*/ 110 w 158"/>
                <a:gd name="T35" fmla="*/ 8 h 158"/>
                <a:gd name="T36" fmla="*/ 110 w 158"/>
                <a:gd name="T37" fmla="*/ 12 h 158"/>
                <a:gd name="T38" fmla="*/ 108 w 158"/>
                <a:gd name="T39" fmla="*/ 14 h 158"/>
                <a:gd name="T40" fmla="*/ 102 w 158"/>
                <a:gd name="T41" fmla="*/ 14 h 158"/>
                <a:gd name="T42" fmla="*/ 96 w 158"/>
                <a:gd name="T43" fmla="*/ 12 h 158"/>
                <a:gd name="T44" fmla="*/ 92 w 158"/>
                <a:gd name="T45" fmla="*/ 6 h 158"/>
                <a:gd name="T46" fmla="*/ 86 w 158"/>
                <a:gd name="T47" fmla="*/ 4 h 158"/>
                <a:gd name="T48" fmla="*/ 78 w 158"/>
                <a:gd name="T49" fmla="*/ 6 h 158"/>
                <a:gd name="T50" fmla="*/ 66 w 158"/>
                <a:gd name="T51" fmla="*/ 6 h 158"/>
                <a:gd name="T52" fmla="*/ 62 w 158"/>
                <a:gd name="T53" fmla="*/ 6 h 158"/>
                <a:gd name="T54" fmla="*/ 60 w 158"/>
                <a:gd name="T55" fmla="*/ 10 h 158"/>
                <a:gd name="T56" fmla="*/ 60 w 158"/>
                <a:gd name="T57" fmla="*/ 14 h 158"/>
                <a:gd name="T58" fmla="*/ 58 w 158"/>
                <a:gd name="T59" fmla="*/ 12 h 158"/>
                <a:gd name="T60" fmla="*/ 54 w 158"/>
                <a:gd name="T61" fmla="*/ 6 h 158"/>
                <a:gd name="T62" fmla="*/ 52 w 158"/>
                <a:gd name="T63" fmla="*/ 2 h 158"/>
                <a:gd name="T64" fmla="*/ 44 w 158"/>
                <a:gd name="T65" fmla="*/ 2 h 158"/>
                <a:gd name="T66" fmla="*/ 32 w 158"/>
                <a:gd name="T67" fmla="*/ 4 h 158"/>
                <a:gd name="T68" fmla="*/ 28 w 158"/>
                <a:gd name="T69" fmla="*/ 6 h 158"/>
                <a:gd name="T70" fmla="*/ 24 w 158"/>
                <a:gd name="T71" fmla="*/ 14 h 158"/>
                <a:gd name="T72" fmla="*/ 20 w 158"/>
                <a:gd name="T73" fmla="*/ 20 h 158"/>
                <a:gd name="T74" fmla="*/ 18 w 158"/>
                <a:gd name="T75" fmla="*/ 24 h 158"/>
                <a:gd name="T76" fmla="*/ 14 w 158"/>
                <a:gd name="T77" fmla="*/ 26 h 158"/>
                <a:gd name="T78" fmla="*/ 16 w 158"/>
                <a:gd name="T79" fmla="*/ 42 h 158"/>
                <a:gd name="T80" fmla="*/ 14 w 158"/>
                <a:gd name="T81" fmla="*/ 60 h 158"/>
                <a:gd name="T82" fmla="*/ 8 w 158"/>
                <a:gd name="T83" fmla="*/ 76 h 158"/>
                <a:gd name="T84" fmla="*/ 2 w 158"/>
                <a:gd name="T85" fmla="*/ 82 h 158"/>
                <a:gd name="T86" fmla="*/ 0 w 158"/>
                <a:gd name="T87" fmla="*/ 86 h 158"/>
                <a:gd name="T88" fmla="*/ 0 w 158"/>
                <a:gd name="T89" fmla="*/ 96 h 158"/>
                <a:gd name="T90" fmla="*/ 2 w 158"/>
                <a:gd name="T91" fmla="*/ 116 h 158"/>
                <a:gd name="T92" fmla="*/ 14 w 158"/>
                <a:gd name="T93" fmla="*/ 122 h 158"/>
                <a:gd name="T94" fmla="*/ 22 w 158"/>
                <a:gd name="T95" fmla="*/ 120 h 158"/>
                <a:gd name="T96" fmla="*/ 28 w 158"/>
                <a:gd name="T97" fmla="*/ 120 h 158"/>
                <a:gd name="T98" fmla="*/ 30 w 158"/>
                <a:gd name="T99" fmla="*/ 122 h 158"/>
                <a:gd name="T100" fmla="*/ 38 w 158"/>
                <a:gd name="T101" fmla="*/ 132 h 158"/>
                <a:gd name="T102" fmla="*/ 40 w 158"/>
                <a:gd name="T103" fmla="*/ 136 h 158"/>
                <a:gd name="T104" fmla="*/ 40 w 158"/>
                <a:gd name="T105" fmla="*/ 144 h 158"/>
                <a:gd name="T106" fmla="*/ 40 w 158"/>
                <a:gd name="T107" fmla="*/ 150 h 158"/>
                <a:gd name="T108" fmla="*/ 44 w 158"/>
                <a:gd name="T109" fmla="*/ 154 h 158"/>
                <a:gd name="T110" fmla="*/ 50 w 158"/>
                <a:gd name="T111" fmla="*/ 158 h 158"/>
                <a:gd name="T112" fmla="*/ 58 w 158"/>
                <a:gd name="T113" fmla="*/ 158 h 158"/>
                <a:gd name="T114" fmla="*/ 76 w 158"/>
                <a:gd name="T115" fmla="*/ 150 h 158"/>
                <a:gd name="T116" fmla="*/ 92 w 158"/>
                <a:gd name="T117" fmla="*/ 136 h 158"/>
                <a:gd name="T118" fmla="*/ 100 w 158"/>
                <a:gd name="T119" fmla="*/ 124 h 158"/>
                <a:gd name="T120" fmla="*/ 110 w 158"/>
                <a:gd name="T121" fmla="*/ 114 h 158"/>
                <a:gd name="T122" fmla="*/ 124 w 158"/>
                <a:gd name="T123" fmla="*/ 10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8" h="158">
                  <a:moveTo>
                    <a:pt x="126" y="102"/>
                  </a:moveTo>
                  <a:lnTo>
                    <a:pt x="126" y="102"/>
                  </a:lnTo>
                  <a:lnTo>
                    <a:pt x="128" y="100"/>
                  </a:lnTo>
                  <a:lnTo>
                    <a:pt x="130" y="98"/>
                  </a:lnTo>
                  <a:lnTo>
                    <a:pt x="130" y="96"/>
                  </a:lnTo>
                  <a:lnTo>
                    <a:pt x="132" y="94"/>
                  </a:lnTo>
                  <a:lnTo>
                    <a:pt x="134" y="90"/>
                  </a:lnTo>
                  <a:lnTo>
                    <a:pt x="136" y="86"/>
                  </a:lnTo>
                  <a:lnTo>
                    <a:pt x="138" y="82"/>
                  </a:lnTo>
                  <a:lnTo>
                    <a:pt x="138" y="80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2" y="64"/>
                  </a:lnTo>
                  <a:lnTo>
                    <a:pt x="142" y="60"/>
                  </a:lnTo>
                  <a:lnTo>
                    <a:pt x="144" y="58"/>
                  </a:lnTo>
                  <a:lnTo>
                    <a:pt x="144" y="56"/>
                  </a:lnTo>
                  <a:lnTo>
                    <a:pt x="146" y="54"/>
                  </a:lnTo>
                  <a:lnTo>
                    <a:pt x="146" y="52"/>
                  </a:lnTo>
                  <a:lnTo>
                    <a:pt x="148" y="50"/>
                  </a:lnTo>
                  <a:lnTo>
                    <a:pt x="148" y="50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4" y="46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6" y="42"/>
                  </a:lnTo>
                  <a:lnTo>
                    <a:pt x="158" y="40"/>
                  </a:lnTo>
                  <a:lnTo>
                    <a:pt x="158" y="38"/>
                  </a:lnTo>
                  <a:lnTo>
                    <a:pt x="158" y="34"/>
                  </a:lnTo>
                  <a:lnTo>
                    <a:pt x="158" y="30"/>
                  </a:lnTo>
                  <a:lnTo>
                    <a:pt x="158" y="26"/>
                  </a:lnTo>
                  <a:lnTo>
                    <a:pt x="158" y="22"/>
                  </a:lnTo>
                  <a:lnTo>
                    <a:pt x="158" y="18"/>
                  </a:lnTo>
                  <a:lnTo>
                    <a:pt x="156" y="10"/>
                  </a:lnTo>
                  <a:lnTo>
                    <a:pt x="156" y="0"/>
                  </a:lnTo>
                  <a:lnTo>
                    <a:pt x="152" y="2"/>
                  </a:lnTo>
                  <a:lnTo>
                    <a:pt x="148" y="4"/>
                  </a:lnTo>
                  <a:lnTo>
                    <a:pt x="146" y="4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8"/>
                  </a:lnTo>
                  <a:lnTo>
                    <a:pt x="142" y="10"/>
                  </a:lnTo>
                  <a:lnTo>
                    <a:pt x="140" y="12"/>
                  </a:lnTo>
                  <a:lnTo>
                    <a:pt x="140" y="12"/>
                  </a:lnTo>
                  <a:lnTo>
                    <a:pt x="140" y="14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8" y="14"/>
                  </a:lnTo>
                  <a:lnTo>
                    <a:pt x="136" y="14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4" y="10"/>
                  </a:lnTo>
                  <a:lnTo>
                    <a:pt x="132" y="8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0" y="6"/>
                  </a:lnTo>
                  <a:lnTo>
                    <a:pt x="126" y="4"/>
                  </a:lnTo>
                  <a:lnTo>
                    <a:pt x="124" y="4"/>
                  </a:lnTo>
                  <a:lnTo>
                    <a:pt x="122" y="4"/>
                  </a:lnTo>
                  <a:lnTo>
                    <a:pt x="118" y="4"/>
                  </a:lnTo>
                  <a:lnTo>
                    <a:pt x="116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0" y="8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6" y="14"/>
                  </a:lnTo>
                  <a:lnTo>
                    <a:pt x="104" y="14"/>
                  </a:lnTo>
                  <a:lnTo>
                    <a:pt x="102" y="14"/>
                  </a:lnTo>
                  <a:lnTo>
                    <a:pt x="100" y="14"/>
                  </a:lnTo>
                  <a:lnTo>
                    <a:pt x="100" y="12"/>
                  </a:lnTo>
                  <a:lnTo>
                    <a:pt x="98" y="12"/>
                  </a:lnTo>
                  <a:lnTo>
                    <a:pt x="96" y="12"/>
                  </a:lnTo>
                  <a:lnTo>
                    <a:pt x="96" y="10"/>
                  </a:lnTo>
                  <a:lnTo>
                    <a:pt x="94" y="8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2" y="4"/>
                  </a:lnTo>
                  <a:lnTo>
                    <a:pt x="78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70" y="6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0" y="6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8" y="2"/>
                  </a:lnTo>
                  <a:lnTo>
                    <a:pt x="44" y="2"/>
                  </a:lnTo>
                  <a:lnTo>
                    <a:pt x="42" y="2"/>
                  </a:lnTo>
                  <a:lnTo>
                    <a:pt x="38" y="2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22" y="16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4" y="26"/>
                  </a:lnTo>
                  <a:lnTo>
                    <a:pt x="14" y="32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2"/>
                  </a:lnTo>
                  <a:lnTo>
                    <a:pt x="16" y="46"/>
                  </a:lnTo>
                  <a:lnTo>
                    <a:pt x="16" y="50"/>
                  </a:lnTo>
                  <a:lnTo>
                    <a:pt x="14" y="54"/>
                  </a:lnTo>
                  <a:lnTo>
                    <a:pt x="14" y="60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10" y="72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6" y="78"/>
                  </a:lnTo>
                  <a:lnTo>
                    <a:pt x="4" y="80"/>
                  </a:lnTo>
                  <a:lnTo>
                    <a:pt x="2" y="82"/>
                  </a:lnTo>
                  <a:lnTo>
                    <a:pt x="2" y="84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100"/>
                  </a:lnTo>
                  <a:lnTo>
                    <a:pt x="0" y="106"/>
                  </a:lnTo>
                  <a:lnTo>
                    <a:pt x="2" y="112"/>
                  </a:lnTo>
                  <a:lnTo>
                    <a:pt x="2" y="116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2"/>
                  </a:lnTo>
                  <a:lnTo>
                    <a:pt x="14" y="122"/>
                  </a:lnTo>
                  <a:lnTo>
                    <a:pt x="16" y="122"/>
                  </a:lnTo>
                  <a:lnTo>
                    <a:pt x="16" y="122"/>
                  </a:lnTo>
                  <a:lnTo>
                    <a:pt x="18" y="122"/>
                  </a:lnTo>
                  <a:lnTo>
                    <a:pt x="22" y="120"/>
                  </a:lnTo>
                  <a:lnTo>
                    <a:pt x="24" y="120"/>
                  </a:lnTo>
                  <a:lnTo>
                    <a:pt x="26" y="120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2"/>
                  </a:lnTo>
                  <a:lnTo>
                    <a:pt x="30" y="122"/>
                  </a:lnTo>
                  <a:lnTo>
                    <a:pt x="32" y="124"/>
                  </a:lnTo>
                  <a:lnTo>
                    <a:pt x="32" y="126"/>
                  </a:lnTo>
                  <a:lnTo>
                    <a:pt x="34" y="128"/>
                  </a:lnTo>
                  <a:lnTo>
                    <a:pt x="38" y="132"/>
                  </a:lnTo>
                  <a:lnTo>
                    <a:pt x="38" y="134"/>
                  </a:lnTo>
                  <a:lnTo>
                    <a:pt x="40" y="134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0" y="142"/>
                  </a:lnTo>
                  <a:lnTo>
                    <a:pt x="40" y="144"/>
                  </a:lnTo>
                  <a:lnTo>
                    <a:pt x="40" y="146"/>
                  </a:lnTo>
                  <a:lnTo>
                    <a:pt x="40" y="148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4" y="154"/>
                  </a:lnTo>
                  <a:lnTo>
                    <a:pt x="46" y="156"/>
                  </a:lnTo>
                  <a:lnTo>
                    <a:pt x="48" y="156"/>
                  </a:lnTo>
                  <a:lnTo>
                    <a:pt x="48" y="158"/>
                  </a:lnTo>
                  <a:lnTo>
                    <a:pt x="50" y="158"/>
                  </a:lnTo>
                  <a:lnTo>
                    <a:pt x="52" y="158"/>
                  </a:lnTo>
                  <a:lnTo>
                    <a:pt x="54" y="158"/>
                  </a:lnTo>
                  <a:lnTo>
                    <a:pt x="56" y="158"/>
                  </a:lnTo>
                  <a:lnTo>
                    <a:pt x="58" y="158"/>
                  </a:lnTo>
                  <a:lnTo>
                    <a:pt x="62" y="158"/>
                  </a:lnTo>
                  <a:lnTo>
                    <a:pt x="64" y="158"/>
                  </a:lnTo>
                  <a:lnTo>
                    <a:pt x="68" y="156"/>
                  </a:lnTo>
                  <a:lnTo>
                    <a:pt x="76" y="150"/>
                  </a:lnTo>
                  <a:lnTo>
                    <a:pt x="84" y="142"/>
                  </a:lnTo>
                  <a:lnTo>
                    <a:pt x="88" y="140"/>
                  </a:lnTo>
                  <a:lnTo>
                    <a:pt x="90" y="136"/>
                  </a:lnTo>
                  <a:lnTo>
                    <a:pt x="92" y="136"/>
                  </a:lnTo>
                  <a:lnTo>
                    <a:pt x="92" y="134"/>
                  </a:lnTo>
                  <a:lnTo>
                    <a:pt x="96" y="130"/>
                  </a:lnTo>
                  <a:lnTo>
                    <a:pt x="98" y="128"/>
                  </a:lnTo>
                  <a:lnTo>
                    <a:pt x="100" y="124"/>
                  </a:lnTo>
                  <a:lnTo>
                    <a:pt x="102" y="122"/>
                  </a:lnTo>
                  <a:lnTo>
                    <a:pt x="106" y="120"/>
                  </a:lnTo>
                  <a:lnTo>
                    <a:pt x="108" y="116"/>
                  </a:lnTo>
                  <a:lnTo>
                    <a:pt x="110" y="114"/>
                  </a:lnTo>
                  <a:lnTo>
                    <a:pt x="112" y="112"/>
                  </a:lnTo>
                  <a:lnTo>
                    <a:pt x="114" y="112"/>
                  </a:lnTo>
                  <a:lnTo>
                    <a:pt x="118" y="108"/>
                  </a:lnTo>
                  <a:lnTo>
                    <a:pt x="124" y="106"/>
                  </a:lnTo>
                  <a:lnTo>
                    <a:pt x="126" y="104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62" name="Freeform 376">
              <a:extLst>
                <a:ext uri="{FF2B5EF4-FFF2-40B4-BE49-F238E27FC236}">
                  <a16:creationId xmlns:a16="http://schemas.microsoft.com/office/drawing/2014/main" id="{7C1274DD-A84E-4FCA-8C12-AF36C3AF7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308" y="4350345"/>
              <a:ext cx="307517" cy="234009"/>
            </a:xfrm>
            <a:custGeom>
              <a:avLst/>
              <a:gdLst>
                <a:gd name="T0" fmla="*/ 174 w 180"/>
                <a:gd name="T1" fmla="*/ 100 h 140"/>
                <a:gd name="T2" fmla="*/ 162 w 180"/>
                <a:gd name="T3" fmla="*/ 100 h 140"/>
                <a:gd name="T4" fmla="*/ 146 w 180"/>
                <a:gd name="T5" fmla="*/ 102 h 140"/>
                <a:gd name="T6" fmla="*/ 140 w 180"/>
                <a:gd name="T7" fmla="*/ 100 h 140"/>
                <a:gd name="T8" fmla="*/ 138 w 180"/>
                <a:gd name="T9" fmla="*/ 106 h 140"/>
                <a:gd name="T10" fmla="*/ 130 w 180"/>
                <a:gd name="T11" fmla="*/ 108 h 140"/>
                <a:gd name="T12" fmla="*/ 112 w 180"/>
                <a:gd name="T13" fmla="*/ 108 h 140"/>
                <a:gd name="T14" fmla="*/ 108 w 180"/>
                <a:gd name="T15" fmla="*/ 112 h 140"/>
                <a:gd name="T16" fmla="*/ 102 w 180"/>
                <a:gd name="T17" fmla="*/ 118 h 140"/>
                <a:gd name="T18" fmla="*/ 88 w 180"/>
                <a:gd name="T19" fmla="*/ 120 h 140"/>
                <a:gd name="T20" fmla="*/ 80 w 180"/>
                <a:gd name="T21" fmla="*/ 118 h 140"/>
                <a:gd name="T22" fmla="*/ 76 w 180"/>
                <a:gd name="T23" fmla="*/ 110 h 140"/>
                <a:gd name="T24" fmla="*/ 70 w 180"/>
                <a:gd name="T25" fmla="*/ 106 h 140"/>
                <a:gd name="T26" fmla="*/ 64 w 180"/>
                <a:gd name="T27" fmla="*/ 106 h 140"/>
                <a:gd name="T28" fmla="*/ 58 w 180"/>
                <a:gd name="T29" fmla="*/ 114 h 140"/>
                <a:gd name="T30" fmla="*/ 46 w 180"/>
                <a:gd name="T31" fmla="*/ 122 h 140"/>
                <a:gd name="T32" fmla="*/ 34 w 180"/>
                <a:gd name="T33" fmla="*/ 124 h 140"/>
                <a:gd name="T34" fmla="*/ 24 w 180"/>
                <a:gd name="T35" fmla="*/ 140 h 140"/>
                <a:gd name="T36" fmla="*/ 16 w 180"/>
                <a:gd name="T37" fmla="*/ 120 h 140"/>
                <a:gd name="T38" fmla="*/ 6 w 180"/>
                <a:gd name="T39" fmla="*/ 102 h 140"/>
                <a:gd name="T40" fmla="*/ 0 w 180"/>
                <a:gd name="T41" fmla="*/ 92 h 140"/>
                <a:gd name="T42" fmla="*/ 6 w 180"/>
                <a:gd name="T43" fmla="*/ 78 h 140"/>
                <a:gd name="T44" fmla="*/ 18 w 180"/>
                <a:gd name="T45" fmla="*/ 62 h 140"/>
                <a:gd name="T46" fmla="*/ 26 w 180"/>
                <a:gd name="T47" fmla="*/ 60 h 140"/>
                <a:gd name="T48" fmla="*/ 36 w 180"/>
                <a:gd name="T49" fmla="*/ 62 h 140"/>
                <a:gd name="T50" fmla="*/ 38 w 180"/>
                <a:gd name="T51" fmla="*/ 56 h 140"/>
                <a:gd name="T52" fmla="*/ 42 w 180"/>
                <a:gd name="T53" fmla="*/ 52 h 140"/>
                <a:gd name="T54" fmla="*/ 54 w 180"/>
                <a:gd name="T55" fmla="*/ 52 h 140"/>
                <a:gd name="T56" fmla="*/ 60 w 180"/>
                <a:gd name="T57" fmla="*/ 48 h 140"/>
                <a:gd name="T58" fmla="*/ 66 w 180"/>
                <a:gd name="T59" fmla="*/ 40 h 140"/>
                <a:gd name="T60" fmla="*/ 76 w 180"/>
                <a:gd name="T61" fmla="*/ 38 h 140"/>
                <a:gd name="T62" fmla="*/ 80 w 180"/>
                <a:gd name="T63" fmla="*/ 34 h 140"/>
                <a:gd name="T64" fmla="*/ 84 w 180"/>
                <a:gd name="T65" fmla="*/ 26 h 140"/>
                <a:gd name="T66" fmla="*/ 94 w 180"/>
                <a:gd name="T67" fmla="*/ 20 h 140"/>
                <a:gd name="T68" fmla="*/ 100 w 180"/>
                <a:gd name="T69" fmla="*/ 8 h 140"/>
                <a:gd name="T70" fmla="*/ 112 w 180"/>
                <a:gd name="T71" fmla="*/ 0 h 140"/>
                <a:gd name="T72" fmla="*/ 116 w 180"/>
                <a:gd name="T73" fmla="*/ 0 h 140"/>
                <a:gd name="T74" fmla="*/ 124 w 180"/>
                <a:gd name="T75" fmla="*/ 14 h 140"/>
                <a:gd name="T76" fmla="*/ 130 w 180"/>
                <a:gd name="T77" fmla="*/ 26 h 140"/>
                <a:gd name="T78" fmla="*/ 128 w 180"/>
                <a:gd name="T79" fmla="*/ 36 h 140"/>
                <a:gd name="T80" fmla="*/ 134 w 180"/>
                <a:gd name="T81" fmla="*/ 40 h 140"/>
                <a:gd name="T82" fmla="*/ 134 w 180"/>
                <a:gd name="T83" fmla="*/ 48 h 140"/>
                <a:gd name="T84" fmla="*/ 138 w 180"/>
                <a:gd name="T85" fmla="*/ 48 h 140"/>
                <a:gd name="T86" fmla="*/ 146 w 180"/>
                <a:gd name="T87" fmla="*/ 46 h 140"/>
                <a:gd name="T88" fmla="*/ 148 w 180"/>
                <a:gd name="T89" fmla="*/ 52 h 140"/>
                <a:gd name="T90" fmla="*/ 148 w 180"/>
                <a:gd name="T91" fmla="*/ 60 h 140"/>
                <a:gd name="T92" fmla="*/ 156 w 180"/>
                <a:gd name="T93" fmla="*/ 62 h 140"/>
                <a:gd name="T94" fmla="*/ 164 w 180"/>
                <a:gd name="T95" fmla="*/ 64 h 140"/>
                <a:gd name="T96" fmla="*/ 164 w 180"/>
                <a:gd name="T97" fmla="*/ 74 h 140"/>
                <a:gd name="T98" fmla="*/ 166 w 180"/>
                <a:gd name="T99" fmla="*/ 80 h 140"/>
                <a:gd name="T100" fmla="*/ 174 w 180"/>
                <a:gd name="T101" fmla="*/ 82 h 140"/>
                <a:gd name="T102" fmla="*/ 180 w 180"/>
                <a:gd name="T103" fmla="*/ 92 h 140"/>
                <a:gd name="T104" fmla="*/ 178 w 180"/>
                <a:gd name="T105" fmla="*/ 9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140">
                  <a:moveTo>
                    <a:pt x="178" y="100"/>
                  </a:moveTo>
                  <a:lnTo>
                    <a:pt x="178" y="100"/>
                  </a:lnTo>
                  <a:lnTo>
                    <a:pt x="178" y="100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100"/>
                  </a:lnTo>
                  <a:lnTo>
                    <a:pt x="172" y="100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8" y="100"/>
                  </a:lnTo>
                  <a:lnTo>
                    <a:pt x="166" y="100"/>
                  </a:lnTo>
                  <a:lnTo>
                    <a:pt x="162" y="100"/>
                  </a:lnTo>
                  <a:lnTo>
                    <a:pt x="156" y="102"/>
                  </a:lnTo>
                  <a:lnTo>
                    <a:pt x="154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0" y="102"/>
                  </a:lnTo>
                  <a:lnTo>
                    <a:pt x="146" y="102"/>
                  </a:lnTo>
                  <a:lnTo>
                    <a:pt x="144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2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0" y="104"/>
                  </a:lnTo>
                  <a:lnTo>
                    <a:pt x="140" y="106"/>
                  </a:lnTo>
                  <a:lnTo>
                    <a:pt x="140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8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8"/>
                  </a:lnTo>
                  <a:lnTo>
                    <a:pt x="130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18" y="108"/>
                  </a:lnTo>
                  <a:lnTo>
                    <a:pt x="116" y="108"/>
                  </a:lnTo>
                  <a:lnTo>
                    <a:pt x="114" y="108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0" y="108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2"/>
                  </a:lnTo>
                  <a:lnTo>
                    <a:pt x="106" y="114"/>
                  </a:lnTo>
                  <a:lnTo>
                    <a:pt x="106" y="116"/>
                  </a:lnTo>
                  <a:lnTo>
                    <a:pt x="106" y="116"/>
                  </a:lnTo>
                  <a:lnTo>
                    <a:pt x="106" y="116"/>
                  </a:lnTo>
                  <a:lnTo>
                    <a:pt x="104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0" y="118"/>
                  </a:lnTo>
                  <a:lnTo>
                    <a:pt x="98" y="120"/>
                  </a:lnTo>
                  <a:lnTo>
                    <a:pt x="94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6" y="120"/>
                  </a:lnTo>
                  <a:lnTo>
                    <a:pt x="84" y="120"/>
                  </a:lnTo>
                  <a:lnTo>
                    <a:pt x="84" y="120"/>
                  </a:lnTo>
                  <a:lnTo>
                    <a:pt x="82" y="118"/>
                  </a:lnTo>
                  <a:lnTo>
                    <a:pt x="82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8" y="114"/>
                  </a:lnTo>
                  <a:lnTo>
                    <a:pt x="78" y="110"/>
                  </a:lnTo>
                  <a:lnTo>
                    <a:pt x="76" y="110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4" y="106"/>
                  </a:lnTo>
                  <a:lnTo>
                    <a:pt x="72" y="106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6" y="104"/>
                  </a:lnTo>
                  <a:lnTo>
                    <a:pt x="66" y="104"/>
                  </a:lnTo>
                  <a:lnTo>
                    <a:pt x="66" y="106"/>
                  </a:lnTo>
                  <a:lnTo>
                    <a:pt x="64" y="106"/>
                  </a:lnTo>
                  <a:lnTo>
                    <a:pt x="64" y="106"/>
                  </a:lnTo>
                  <a:lnTo>
                    <a:pt x="64" y="108"/>
                  </a:lnTo>
                  <a:lnTo>
                    <a:pt x="62" y="110"/>
                  </a:lnTo>
                  <a:lnTo>
                    <a:pt x="62" y="112"/>
                  </a:lnTo>
                  <a:lnTo>
                    <a:pt x="60" y="112"/>
                  </a:lnTo>
                  <a:lnTo>
                    <a:pt x="58" y="114"/>
                  </a:lnTo>
                  <a:lnTo>
                    <a:pt x="56" y="114"/>
                  </a:lnTo>
                  <a:lnTo>
                    <a:pt x="54" y="116"/>
                  </a:lnTo>
                  <a:lnTo>
                    <a:pt x="54" y="116"/>
                  </a:lnTo>
                  <a:lnTo>
                    <a:pt x="50" y="118"/>
                  </a:lnTo>
                  <a:lnTo>
                    <a:pt x="48" y="120"/>
                  </a:lnTo>
                  <a:lnTo>
                    <a:pt x="46" y="122"/>
                  </a:lnTo>
                  <a:lnTo>
                    <a:pt x="44" y="122"/>
                  </a:lnTo>
                  <a:lnTo>
                    <a:pt x="40" y="122"/>
                  </a:lnTo>
                  <a:lnTo>
                    <a:pt x="38" y="122"/>
                  </a:lnTo>
                  <a:lnTo>
                    <a:pt x="36" y="122"/>
                  </a:lnTo>
                  <a:lnTo>
                    <a:pt x="36" y="124"/>
                  </a:lnTo>
                  <a:lnTo>
                    <a:pt x="34" y="124"/>
                  </a:lnTo>
                  <a:lnTo>
                    <a:pt x="32" y="126"/>
                  </a:lnTo>
                  <a:lnTo>
                    <a:pt x="30" y="128"/>
                  </a:lnTo>
                  <a:lnTo>
                    <a:pt x="30" y="130"/>
                  </a:lnTo>
                  <a:lnTo>
                    <a:pt x="28" y="134"/>
                  </a:lnTo>
                  <a:lnTo>
                    <a:pt x="26" y="136"/>
                  </a:lnTo>
                  <a:lnTo>
                    <a:pt x="24" y="140"/>
                  </a:lnTo>
                  <a:lnTo>
                    <a:pt x="22" y="136"/>
                  </a:lnTo>
                  <a:lnTo>
                    <a:pt x="20" y="134"/>
                  </a:lnTo>
                  <a:lnTo>
                    <a:pt x="18" y="130"/>
                  </a:lnTo>
                  <a:lnTo>
                    <a:pt x="18" y="128"/>
                  </a:lnTo>
                  <a:lnTo>
                    <a:pt x="16" y="126"/>
                  </a:lnTo>
                  <a:lnTo>
                    <a:pt x="16" y="120"/>
                  </a:lnTo>
                  <a:lnTo>
                    <a:pt x="14" y="114"/>
                  </a:lnTo>
                  <a:lnTo>
                    <a:pt x="12" y="112"/>
                  </a:lnTo>
                  <a:lnTo>
                    <a:pt x="12" y="110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6" y="102"/>
                  </a:lnTo>
                  <a:lnTo>
                    <a:pt x="4" y="100"/>
                  </a:lnTo>
                  <a:lnTo>
                    <a:pt x="2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2" y="84"/>
                  </a:lnTo>
                  <a:lnTo>
                    <a:pt x="4" y="80"/>
                  </a:lnTo>
                  <a:lnTo>
                    <a:pt x="6" y="78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8" y="72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8" y="62"/>
                  </a:lnTo>
                  <a:lnTo>
                    <a:pt x="20" y="62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4" y="60"/>
                  </a:lnTo>
                  <a:lnTo>
                    <a:pt x="26" y="60"/>
                  </a:lnTo>
                  <a:lnTo>
                    <a:pt x="30" y="62"/>
                  </a:lnTo>
                  <a:lnTo>
                    <a:pt x="32" y="62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8" y="60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4" y="52"/>
                  </a:lnTo>
                  <a:lnTo>
                    <a:pt x="46" y="52"/>
                  </a:lnTo>
                  <a:lnTo>
                    <a:pt x="48" y="52"/>
                  </a:lnTo>
                  <a:lnTo>
                    <a:pt x="50" y="52"/>
                  </a:lnTo>
                  <a:lnTo>
                    <a:pt x="52" y="52"/>
                  </a:lnTo>
                  <a:lnTo>
                    <a:pt x="54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60" y="48"/>
                  </a:lnTo>
                  <a:lnTo>
                    <a:pt x="60" y="46"/>
                  </a:lnTo>
                  <a:lnTo>
                    <a:pt x="62" y="44"/>
                  </a:lnTo>
                  <a:lnTo>
                    <a:pt x="62" y="42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40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80" y="36"/>
                  </a:lnTo>
                  <a:lnTo>
                    <a:pt x="80" y="34"/>
                  </a:lnTo>
                  <a:lnTo>
                    <a:pt x="80" y="32"/>
                  </a:lnTo>
                  <a:lnTo>
                    <a:pt x="82" y="30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8" y="24"/>
                  </a:lnTo>
                  <a:lnTo>
                    <a:pt x="90" y="24"/>
                  </a:lnTo>
                  <a:lnTo>
                    <a:pt x="92" y="24"/>
                  </a:lnTo>
                  <a:lnTo>
                    <a:pt x="92" y="22"/>
                  </a:lnTo>
                  <a:lnTo>
                    <a:pt x="94" y="22"/>
                  </a:lnTo>
                  <a:lnTo>
                    <a:pt x="94" y="20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98" y="10"/>
                  </a:lnTo>
                  <a:lnTo>
                    <a:pt x="100" y="8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2" y="10"/>
                  </a:lnTo>
                  <a:lnTo>
                    <a:pt x="124" y="14"/>
                  </a:lnTo>
                  <a:lnTo>
                    <a:pt x="126" y="18"/>
                  </a:lnTo>
                  <a:lnTo>
                    <a:pt x="128" y="20"/>
                  </a:lnTo>
                  <a:lnTo>
                    <a:pt x="128" y="22"/>
                  </a:lnTo>
                  <a:lnTo>
                    <a:pt x="128" y="24"/>
                  </a:lnTo>
                  <a:lnTo>
                    <a:pt x="130" y="24"/>
                  </a:lnTo>
                  <a:lnTo>
                    <a:pt x="130" y="26"/>
                  </a:lnTo>
                  <a:lnTo>
                    <a:pt x="128" y="28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4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30" y="38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40"/>
                  </a:lnTo>
                  <a:lnTo>
                    <a:pt x="134" y="40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6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8" y="50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50" y="60"/>
                  </a:lnTo>
                  <a:lnTo>
                    <a:pt x="150" y="60"/>
                  </a:lnTo>
                  <a:lnTo>
                    <a:pt x="150" y="62"/>
                  </a:lnTo>
                  <a:lnTo>
                    <a:pt x="152" y="62"/>
                  </a:lnTo>
                  <a:lnTo>
                    <a:pt x="154" y="62"/>
                  </a:lnTo>
                  <a:lnTo>
                    <a:pt x="156" y="62"/>
                  </a:lnTo>
                  <a:lnTo>
                    <a:pt x="158" y="62"/>
                  </a:lnTo>
                  <a:lnTo>
                    <a:pt x="160" y="62"/>
                  </a:lnTo>
                  <a:lnTo>
                    <a:pt x="162" y="62"/>
                  </a:lnTo>
                  <a:lnTo>
                    <a:pt x="162" y="62"/>
                  </a:lnTo>
                  <a:lnTo>
                    <a:pt x="162" y="64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8"/>
                  </a:lnTo>
                  <a:lnTo>
                    <a:pt x="164" y="72"/>
                  </a:lnTo>
                  <a:lnTo>
                    <a:pt x="164" y="74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8"/>
                  </a:lnTo>
                  <a:lnTo>
                    <a:pt x="164" y="78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68" y="80"/>
                  </a:lnTo>
                  <a:lnTo>
                    <a:pt x="170" y="80"/>
                  </a:lnTo>
                  <a:lnTo>
                    <a:pt x="172" y="82"/>
                  </a:lnTo>
                  <a:lnTo>
                    <a:pt x="172" y="82"/>
                  </a:lnTo>
                  <a:lnTo>
                    <a:pt x="174" y="82"/>
                  </a:lnTo>
                  <a:lnTo>
                    <a:pt x="174" y="84"/>
                  </a:lnTo>
                  <a:lnTo>
                    <a:pt x="174" y="84"/>
                  </a:lnTo>
                  <a:lnTo>
                    <a:pt x="176" y="86"/>
                  </a:lnTo>
                  <a:lnTo>
                    <a:pt x="178" y="88"/>
                  </a:lnTo>
                  <a:lnTo>
                    <a:pt x="178" y="90"/>
                  </a:lnTo>
                  <a:lnTo>
                    <a:pt x="180" y="92"/>
                  </a:lnTo>
                  <a:lnTo>
                    <a:pt x="180" y="92"/>
                  </a:lnTo>
                  <a:lnTo>
                    <a:pt x="180" y="92"/>
                  </a:lnTo>
                  <a:lnTo>
                    <a:pt x="180" y="94"/>
                  </a:lnTo>
                  <a:lnTo>
                    <a:pt x="180" y="96"/>
                  </a:lnTo>
                  <a:lnTo>
                    <a:pt x="180" y="98"/>
                  </a:lnTo>
                  <a:lnTo>
                    <a:pt x="178" y="98"/>
                  </a:lnTo>
                  <a:lnTo>
                    <a:pt x="178" y="98"/>
                  </a:lnTo>
                  <a:lnTo>
                    <a:pt x="178" y="10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63" name="Freeform 378">
              <a:extLst>
                <a:ext uri="{FF2B5EF4-FFF2-40B4-BE49-F238E27FC236}">
                  <a16:creationId xmlns:a16="http://schemas.microsoft.com/office/drawing/2014/main" id="{2BDCD524-1FE5-4904-8500-0216412E0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6903" y="3758635"/>
              <a:ext cx="263098" cy="304214"/>
            </a:xfrm>
            <a:custGeom>
              <a:avLst/>
              <a:gdLst>
                <a:gd name="T0" fmla="*/ 4 w 154"/>
                <a:gd name="T1" fmla="*/ 180 h 182"/>
                <a:gd name="T2" fmla="*/ 14 w 154"/>
                <a:gd name="T3" fmla="*/ 172 h 182"/>
                <a:gd name="T4" fmla="*/ 20 w 154"/>
                <a:gd name="T5" fmla="*/ 168 h 182"/>
                <a:gd name="T6" fmla="*/ 36 w 154"/>
                <a:gd name="T7" fmla="*/ 166 h 182"/>
                <a:gd name="T8" fmla="*/ 54 w 154"/>
                <a:gd name="T9" fmla="*/ 164 h 182"/>
                <a:gd name="T10" fmla="*/ 74 w 154"/>
                <a:gd name="T11" fmla="*/ 162 h 182"/>
                <a:gd name="T12" fmla="*/ 94 w 154"/>
                <a:gd name="T13" fmla="*/ 164 h 182"/>
                <a:gd name="T14" fmla="*/ 110 w 154"/>
                <a:gd name="T15" fmla="*/ 168 h 182"/>
                <a:gd name="T16" fmla="*/ 116 w 154"/>
                <a:gd name="T17" fmla="*/ 168 h 182"/>
                <a:gd name="T18" fmla="*/ 118 w 154"/>
                <a:gd name="T19" fmla="*/ 172 h 182"/>
                <a:gd name="T20" fmla="*/ 122 w 154"/>
                <a:gd name="T21" fmla="*/ 176 h 182"/>
                <a:gd name="T22" fmla="*/ 124 w 154"/>
                <a:gd name="T23" fmla="*/ 176 h 182"/>
                <a:gd name="T24" fmla="*/ 128 w 154"/>
                <a:gd name="T25" fmla="*/ 174 h 182"/>
                <a:gd name="T26" fmla="*/ 134 w 154"/>
                <a:gd name="T27" fmla="*/ 170 h 182"/>
                <a:gd name="T28" fmla="*/ 146 w 154"/>
                <a:gd name="T29" fmla="*/ 160 h 182"/>
                <a:gd name="T30" fmla="*/ 148 w 154"/>
                <a:gd name="T31" fmla="*/ 148 h 182"/>
                <a:gd name="T32" fmla="*/ 148 w 154"/>
                <a:gd name="T33" fmla="*/ 140 h 182"/>
                <a:gd name="T34" fmla="*/ 148 w 154"/>
                <a:gd name="T35" fmla="*/ 136 h 182"/>
                <a:gd name="T36" fmla="*/ 152 w 154"/>
                <a:gd name="T37" fmla="*/ 134 h 182"/>
                <a:gd name="T38" fmla="*/ 154 w 154"/>
                <a:gd name="T39" fmla="*/ 132 h 182"/>
                <a:gd name="T40" fmla="*/ 154 w 154"/>
                <a:gd name="T41" fmla="*/ 128 h 182"/>
                <a:gd name="T42" fmla="*/ 152 w 154"/>
                <a:gd name="T43" fmla="*/ 122 h 182"/>
                <a:gd name="T44" fmla="*/ 148 w 154"/>
                <a:gd name="T45" fmla="*/ 116 h 182"/>
                <a:gd name="T46" fmla="*/ 140 w 154"/>
                <a:gd name="T47" fmla="*/ 104 h 182"/>
                <a:gd name="T48" fmla="*/ 126 w 154"/>
                <a:gd name="T49" fmla="*/ 86 h 182"/>
                <a:gd name="T50" fmla="*/ 120 w 154"/>
                <a:gd name="T51" fmla="*/ 78 h 182"/>
                <a:gd name="T52" fmla="*/ 110 w 154"/>
                <a:gd name="T53" fmla="*/ 62 h 182"/>
                <a:gd name="T54" fmla="*/ 104 w 154"/>
                <a:gd name="T55" fmla="*/ 50 h 182"/>
                <a:gd name="T56" fmla="*/ 100 w 154"/>
                <a:gd name="T57" fmla="*/ 46 h 182"/>
                <a:gd name="T58" fmla="*/ 100 w 154"/>
                <a:gd name="T59" fmla="*/ 36 h 182"/>
                <a:gd name="T60" fmla="*/ 100 w 154"/>
                <a:gd name="T61" fmla="*/ 32 h 182"/>
                <a:gd name="T62" fmla="*/ 100 w 154"/>
                <a:gd name="T63" fmla="*/ 30 h 182"/>
                <a:gd name="T64" fmla="*/ 102 w 154"/>
                <a:gd name="T65" fmla="*/ 30 h 182"/>
                <a:gd name="T66" fmla="*/ 104 w 154"/>
                <a:gd name="T67" fmla="*/ 32 h 182"/>
                <a:gd name="T68" fmla="*/ 108 w 154"/>
                <a:gd name="T69" fmla="*/ 40 h 182"/>
                <a:gd name="T70" fmla="*/ 112 w 154"/>
                <a:gd name="T71" fmla="*/ 44 h 182"/>
                <a:gd name="T72" fmla="*/ 118 w 154"/>
                <a:gd name="T73" fmla="*/ 54 h 182"/>
                <a:gd name="T74" fmla="*/ 122 w 154"/>
                <a:gd name="T75" fmla="*/ 58 h 182"/>
                <a:gd name="T76" fmla="*/ 126 w 154"/>
                <a:gd name="T77" fmla="*/ 60 h 182"/>
                <a:gd name="T78" fmla="*/ 128 w 154"/>
                <a:gd name="T79" fmla="*/ 60 h 182"/>
                <a:gd name="T80" fmla="*/ 132 w 154"/>
                <a:gd name="T81" fmla="*/ 56 h 182"/>
                <a:gd name="T82" fmla="*/ 134 w 154"/>
                <a:gd name="T83" fmla="*/ 48 h 182"/>
                <a:gd name="T84" fmla="*/ 120 w 154"/>
                <a:gd name="T85" fmla="*/ 6 h 182"/>
                <a:gd name="T86" fmla="*/ 100 w 154"/>
                <a:gd name="T87" fmla="*/ 4 h 182"/>
                <a:gd name="T88" fmla="*/ 88 w 154"/>
                <a:gd name="T89" fmla="*/ 2 h 182"/>
                <a:gd name="T90" fmla="*/ 76 w 154"/>
                <a:gd name="T91" fmla="*/ 0 h 182"/>
                <a:gd name="T92" fmla="*/ 70 w 154"/>
                <a:gd name="T93" fmla="*/ 0 h 182"/>
                <a:gd name="T94" fmla="*/ 66 w 154"/>
                <a:gd name="T95" fmla="*/ 0 h 182"/>
                <a:gd name="T96" fmla="*/ 64 w 154"/>
                <a:gd name="T97" fmla="*/ 2 h 182"/>
                <a:gd name="T98" fmla="*/ 62 w 154"/>
                <a:gd name="T99" fmla="*/ 8 h 182"/>
                <a:gd name="T100" fmla="*/ 62 w 154"/>
                <a:gd name="T101" fmla="*/ 16 h 182"/>
                <a:gd name="T102" fmla="*/ 60 w 154"/>
                <a:gd name="T103" fmla="*/ 18 h 182"/>
                <a:gd name="T104" fmla="*/ 58 w 154"/>
                <a:gd name="T105" fmla="*/ 18 h 182"/>
                <a:gd name="T106" fmla="*/ 54 w 154"/>
                <a:gd name="T107" fmla="*/ 18 h 182"/>
                <a:gd name="T108" fmla="*/ 48 w 154"/>
                <a:gd name="T109" fmla="*/ 12 h 182"/>
                <a:gd name="T110" fmla="*/ 44 w 154"/>
                <a:gd name="T111" fmla="*/ 6 h 182"/>
                <a:gd name="T112" fmla="*/ 40 w 154"/>
                <a:gd name="T113" fmla="*/ 2 h 182"/>
                <a:gd name="T114" fmla="*/ 36 w 154"/>
                <a:gd name="T115" fmla="*/ 2 h 182"/>
                <a:gd name="T116" fmla="*/ 26 w 154"/>
                <a:gd name="T117" fmla="*/ 2 h 182"/>
                <a:gd name="T118" fmla="*/ 10 w 154"/>
                <a:gd name="T119" fmla="*/ 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82">
                  <a:moveTo>
                    <a:pt x="0" y="4"/>
                  </a:moveTo>
                  <a:lnTo>
                    <a:pt x="0" y="182"/>
                  </a:lnTo>
                  <a:lnTo>
                    <a:pt x="4" y="180"/>
                  </a:lnTo>
                  <a:lnTo>
                    <a:pt x="10" y="176"/>
                  </a:lnTo>
                  <a:lnTo>
                    <a:pt x="12" y="174"/>
                  </a:lnTo>
                  <a:lnTo>
                    <a:pt x="14" y="172"/>
                  </a:lnTo>
                  <a:lnTo>
                    <a:pt x="18" y="170"/>
                  </a:lnTo>
                  <a:lnTo>
                    <a:pt x="20" y="168"/>
                  </a:lnTo>
                  <a:lnTo>
                    <a:pt x="20" y="168"/>
                  </a:lnTo>
                  <a:lnTo>
                    <a:pt x="26" y="168"/>
                  </a:lnTo>
                  <a:lnTo>
                    <a:pt x="30" y="166"/>
                  </a:lnTo>
                  <a:lnTo>
                    <a:pt x="36" y="166"/>
                  </a:lnTo>
                  <a:lnTo>
                    <a:pt x="42" y="164"/>
                  </a:lnTo>
                  <a:lnTo>
                    <a:pt x="48" y="164"/>
                  </a:lnTo>
                  <a:lnTo>
                    <a:pt x="54" y="164"/>
                  </a:lnTo>
                  <a:lnTo>
                    <a:pt x="62" y="164"/>
                  </a:lnTo>
                  <a:lnTo>
                    <a:pt x="68" y="162"/>
                  </a:lnTo>
                  <a:lnTo>
                    <a:pt x="74" y="162"/>
                  </a:lnTo>
                  <a:lnTo>
                    <a:pt x="82" y="164"/>
                  </a:lnTo>
                  <a:lnTo>
                    <a:pt x="88" y="164"/>
                  </a:lnTo>
                  <a:lnTo>
                    <a:pt x="94" y="164"/>
                  </a:lnTo>
                  <a:lnTo>
                    <a:pt x="100" y="164"/>
                  </a:lnTo>
                  <a:lnTo>
                    <a:pt x="106" y="166"/>
                  </a:lnTo>
                  <a:lnTo>
                    <a:pt x="110" y="168"/>
                  </a:lnTo>
                  <a:lnTo>
                    <a:pt x="112" y="168"/>
                  </a:lnTo>
                  <a:lnTo>
                    <a:pt x="114" y="168"/>
                  </a:lnTo>
                  <a:lnTo>
                    <a:pt x="116" y="168"/>
                  </a:lnTo>
                  <a:lnTo>
                    <a:pt x="116" y="170"/>
                  </a:lnTo>
                  <a:lnTo>
                    <a:pt x="116" y="170"/>
                  </a:lnTo>
                  <a:lnTo>
                    <a:pt x="118" y="172"/>
                  </a:lnTo>
                  <a:lnTo>
                    <a:pt x="120" y="174"/>
                  </a:lnTo>
                  <a:lnTo>
                    <a:pt x="122" y="174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4" y="176"/>
                  </a:lnTo>
                  <a:lnTo>
                    <a:pt x="124" y="176"/>
                  </a:lnTo>
                  <a:lnTo>
                    <a:pt x="124" y="176"/>
                  </a:lnTo>
                  <a:lnTo>
                    <a:pt x="126" y="176"/>
                  </a:lnTo>
                  <a:lnTo>
                    <a:pt x="128" y="174"/>
                  </a:lnTo>
                  <a:lnTo>
                    <a:pt x="130" y="174"/>
                  </a:lnTo>
                  <a:lnTo>
                    <a:pt x="132" y="172"/>
                  </a:lnTo>
                  <a:lnTo>
                    <a:pt x="134" y="170"/>
                  </a:lnTo>
                  <a:lnTo>
                    <a:pt x="138" y="166"/>
                  </a:lnTo>
                  <a:lnTo>
                    <a:pt x="142" y="162"/>
                  </a:lnTo>
                  <a:lnTo>
                    <a:pt x="146" y="160"/>
                  </a:lnTo>
                  <a:lnTo>
                    <a:pt x="148" y="156"/>
                  </a:lnTo>
                  <a:lnTo>
                    <a:pt x="148" y="154"/>
                  </a:lnTo>
                  <a:lnTo>
                    <a:pt x="148" y="148"/>
                  </a:lnTo>
                  <a:lnTo>
                    <a:pt x="148" y="144"/>
                  </a:lnTo>
                  <a:lnTo>
                    <a:pt x="148" y="140"/>
                  </a:lnTo>
                  <a:lnTo>
                    <a:pt x="148" y="140"/>
                  </a:lnTo>
                  <a:lnTo>
                    <a:pt x="148" y="138"/>
                  </a:lnTo>
                  <a:lnTo>
                    <a:pt x="148" y="136"/>
                  </a:lnTo>
                  <a:lnTo>
                    <a:pt x="148" y="136"/>
                  </a:lnTo>
                  <a:lnTo>
                    <a:pt x="148" y="136"/>
                  </a:lnTo>
                  <a:lnTo>
                    <a:pt x="150" y="134"/>
                  </a:lnTo>
                  <a:lnTo>
                    <a:pt x="152" y="134"/>
                  </a:lnTo>
                  <a:lnTo>
                    <a:pt x="152" y="132"/>
                  </a:lnTo>
                  <a:lnTo>
                    <a:pt x="154" y="132"/>
                  </a:lnTo>
                  <a:lnTo>
                    <a:pt x="154" y="132"/>
                  </a:lnTo>
                  <a:lnTo>
                    <a:pt x="154" y="130"/>
                  </a:lnTo>
                  <a:lnTo>
                    <a:pt x="154" y="128"/>
                  </a:lnTo>
                  <a:lnTo>
                    <a:pt x="154" y="128"/>
                  </a:lnTo>
                  <a:lnTo>
                    <a:pt x="154" y="126"/>
                  </a:lnTo>
                  <a:lnTo>
                    <a:pt x="152" y="124"/>
                  </a:lnTo>
                  <a:lnTo>
                    <a:pt x="152" y="122"/>
                  </a:lnTo>
                  <a:lnTo>
                    <a:pt x="152" y="120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6" y="112"/>
                  </a:lnTo>
                  <a:lnTo>
                    <a:pt x="144" y="108"/>
                  </a:lnTo>
                  <a:lnTo>
                    <a:pt x="140" y="104"/>
                  </a:lnTo>
                  <a:lnTo>
                    <a:pt x="134" y="96"/>
                  </a:lnTo>
                  <a:lnTo>
                    <a:pt x="128" y="90"/>
                  </a:lnTo>
                  <a:lnTo>
                    <a:pt x="126" y="86"/>
                  </a:lnTo>
                  <a:lnTo>
                    <a:pt x="124" y="84"/>
                  </a:lnTo>
                  <a:lnTo>
                    <a:pt x="122" y="80"/>
                  </a:lnTo>
                  <a:lnTo>
                    <a:pt x="120" y="78"/>
                  </a:lnTo>
                  <a:lnTo>
                    <a:pt x="118" y="74"/>
                  </a:lnTo>
                  <a:lnTo>
                    <a:pt x="116" y="70"/>
                  </a:lnTo>
                  <a:lnTo>
                    <a:pt x="110" y="62"/>
                  </a:lnTo>
                  <a:lnTo>
                    <a:pt x="106" y="58"/>
                  </a:lnTo>
                  <a:lnTo>
                    <a:pt x="104" y="52"/>
                  </a:lnTo>
                  <a:lnTo>
                    <a:pt x="104" y="50"/>
                  </a:lnTo>
                  <a:lnTo>
                    <a:pt x="102" y="48"/>
                  </a:lnTo>
                  <a:lnTo>
                    <a:pt x="102" y="46"/>
                  </a:lnTo>
                  <a:lnTo>
                    <a:pt x="100" y="46"/>
                  </a:lnTo>
                  <a:lnTo>
                    <a:pt x="100" y="42"/>
                  </a:lnTo>
                  <a:lnTo>
                    <a:pt x="100" y="38"/>
                  </a:lnTo>
                  <a:lnTo>
                    <a:pt x="100" y="36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6" y="34"/>
                  </a:lnTo>
                  <a:lnTo>
                    <a:pt x="108" y="40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12" y="44"/>
                  </a:lnTo>
                  <a:lnTo>
                    <a:pt x="114" y="48"/>
                  </a:lnTo>
                  <a:lnTo>
                    <a:pt x="116" y="50"/>
                  </a:lnTo>
                  <a:lnTo>
                    <a:pt x="118" y="54"/>
                  </a:lnTo>
                  <a:lnTo>
                    <a:pt x="120" y="56"/>
                  </a:lnTo>
                  <a:lnTo>
                    <a:pt x="122" y="58"/>
                  </a:lnTo>
                  <a:lnTo>
                    <a:pt x="122" y="58"/>
                  </a:lnTo>
                  <a:lnTo>
                    <a:pt x="124" y="60"/>
                  </a:lnTo>
                  <a:lnTo>
                    <a:pt x="124" y="60"/>
                  </a:lnTo>
                  <a:lnTo>
                    <a:pt x="126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2" y="56"/>
                  </a:lnTo>
                  <a:lnTo>
                    <a:pt x="132" y="52"/>
                  </a:lnTo>
                  <a:lnTo>
                    <a:pt x="134" y="50"/>
                  </a:lnTo>
                  <a:lnTo>
                    <a:pt x="134" y="48"/>
                  </a:lnTo>
                  <a:lnTo>
                    <a:pt x="134" y="46"/>
                  </a:lnTo>
                  <a:lnTo>
                    <a:pt x="134" y="28"/>
                  </a:lnTo>
                  <a:lnTo>
                    <a:pt x="120" y="6"/>
                  </a:lnTo>
                  <a:lnTo>
                    <a:pt x="112" y="6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2" y="4"/>
                  </a:lnTo>
                  <a:lnTo>
                    <a:pt x="88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4" y="0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6" y="18"/>
                  </a:lnTo>
                  <a:lnTo>
                    <a:pt x="54" y="18"/>
                  </a:lnTo>
                  <a:lnTo>
                    <a:pt x="52" y="16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6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6" y="2"/>
                  </a:lnTo>
                  <a:lnTo>
                    <a:pt x="22" y="2"/>
                  </a:lnTo>
                  <a:lnTo>
                    <a:pt x="16" y="2"/>
                  </a:lnTo>
                  <a:lnTo>
                    <a:pt x="10" y="2"/>
                  </a:lnTo>
                  <a:lnTo>
                    <a:pt x="4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64" name="Freeform 380">
              <a:extLst>
                <a:ext uri="{FF2B5EF4-FFF2-40B4-BE49-F238E27FC236}">
                  <a16:creationId xmlns:a16="http://schemas.microsoft.com/office/drawing/2014/main" id="{07937C7B-5BCD-4940-AC7B-614C8C21B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528" y="3591485"/>
              <a:ext cx="485194" cy="541566"/>
            </a:xfrm>
            <a:custGeom>
              <a:avLst/>
              <a:gdLst>
                <a:gd name="T0" fmla="*/ 98 w 284"/>
                <a:gd name="T1" fmla="*/ 50 h 324"/>
                <a:gd name="T2" fmla="*/ 98 w 284"/>
                <a:gd name="T3" fmla="*/ 56 h 324"/>
                <a:gd name="T4" fmla="*/ 92 w 284"/>
                <a:gd name="T5" fmla="*/ 66 h 324"/>
                <a:gd name="T6" fmla="*/ 98 w 284"/>
                <a:gd name="T7" fmla="*/ 70 h 324"/>
                <a:gd name="T8" fmla="*/ 102 w 284"/>
                <a:gd name="T9" fmla="*/ 76 h 324"/>
                <a:gd name="T10" fmla="*/ 98 w 284"/>
                <a:gd name="T11" fmla="*/ 92 h 324"/>
                <a:gd name="T12" fmla="*/ 92 w 284"/>
                <a:gd name="T13" fmla="*/ 98 h 324"/>
                <a:gd name="T14" fmla="*/ 80 w 284"/>
                <a:gd name="T15" fmla="*/ 98 h 324"/>
                <a:gd name="T16" fmla="*/ 76 w 284"/>
                <a:gd name="T17" fmla="*/ 104 h 324"/>
                <a:gd name="T18" fmla="*/ 78 w 284"/>
                <a:gd name="T19" fmla="*/ 112 h 324"/>
                <a:gd name="T20" fmla="*/ 84 w 284"/>
                <a:gd name="T21" fmla="*/ 118 h 324"/>
                <a:gd name="T22" fmla="*/ 72 w 284"/>
                <a:gd name="T23" fmla="*/ 126 h 324"/>
                <a:gd name="T24" fmla="*/ 56 w 284"/>
                <a:gd name="T25" fmla="*/ 142 h 324"/>
                <a:gd name="T26" fmla="*/ 40 w 284"/>
                <a:gd name="T27" fmla="*/ 152 h 324"/>
                <a:gd name="T28" fmla="*/ 30 w 284"/>
                <a:gd name="T29" fmla="*/ 152 h 324"/>
                <a:gd name="T30" fmla="*/ 28 w 284"/>
                <a:gd name="T31" fmla="*/ 158 h 324"/>
                <a:gd name="T32" fmla="*/ 20 w 284"/>
                <a:gd name="T33" fmla="*/ 158 h 324"/>
                <a:gd name="T34" fmla="*/ 16 w 284"/>
                <a:gd name="T35" fmla="*/ 158 h 324"/>
                <a:gd name="T36" fmla="*/ 14 w 284"/>
                <a:gd name="T37" fmla="*/ 166 h 324"/>
                <a:gd name="T38" fmla="*/ 6 w 284"/>
                <a:gd name="T39" fmla="*/ 168 h 324"/>
                <a:gd name="T40" fmla="*/ 44 w 284"/>
                <a:gd name="T41" fmla="*/ 212 h 324"/>
                <a:gd name="T42" fmla="*/ 108 w 284"/>
                <a:gd name="T43" fmla="*/ 266 h 324"/>
                <a:gd name="T44" fmla="*/ 146 w 284"/>
                <a:gd name="T45" fmla="*/ 294 h 324"/>
                <a:gd name="T46" fmla="*/ 158 w 284"/>
                <a:gd name="T47" fmla="*/ 300 h 324"/>
                <a:gd name="T48" fmla="*/ 160 w 284"/>
                <a:gd name="T49" fmla="*/ 316 h 324"/>
                <a:gd name="T50" fmla="*/ 164 w 284"/>
                <a:gd name="T51" fmla="*/ 324 h 324"/>
                <a:gd name="T52" fmla="*/ 176 w 284"/>
                <a:gd name="T53" fmla="*/ 322 h 324"/>
                <a:gd name="T54" fmla="*/ 178 w 284"/>
                <a:gd name="T55" fmla="*/ 312 h 324"/>
                <a:gd name="T56" fmla="*/ 192 w 284"/>
                <a:gd name="T57" fmla="*/ 312 h 324"/>
                <a:gd name="T58" fmla="*/ 202 w 284"/>
                <a:gd name="T59" fmla="*/ 312 h 324"/>
                <a:gd name="T60" fmla="*/ 212 w 284"/>
                <a:gd name="T61" fmla="*/ 300 h 324"/>
                <a:gd name="T62" fmla="*/ 220 w 284"/>
                <a:gd name="T63" fmla="*/ 294 h 324"/>
                <a:gd name="T64" fmla="*/ 224 w 284"/>
                <a:gd name="T65" fmla="*/ 284 h 324"/>
                <a:gd name="T66" fmla="*/ 240 w 284"/>
                <a:gd name="T67" fmla="*/ 280 h 324"/>
                <a:gd name="T68" fmla="*/ 250 w 284"/>
                <a:gd name="T69" fmla="*/ 274 h 324"/>
                <a:gd name="T70" fmla="*/ 262 w 284"/>
                <a:gd name="T71" fmla="*/ 260 h 324"/>
                <a:gd name="T72" fmla="*/ 280 w 284"/>
                <a:gd name="T73" fmla="*/ 252 h 324"/>
                <a:gd name="T74" fmla="*/ 284 w 284"/>
                <a:gd name="T75" fmla="*/ 236 h 324"/>
                <a:gd name="T76" fmla="*/ 278 w 284"/>
                <a:gd name="T77" fmla="*/ 228 h 324"/>
                <a:gd name="T78" fmla="*/ 262 w 284"/>
                <a:gd name="T79" fmla="*/ 228 h 324"/>
                <a:gd name="T80" fmla="*/ 252 w 284"/>
                <a:gd name="T81" fmla="*/ 220 h 324"/>
                <a:gd name="T82" fmla="*/ 250 w 284"/>
                <a:gd name="T83" fmla="*/ 202 h 324"/>
                <a:gd name="T84" fmla="*/ 254 w 284"/>
                <a:gd name="T85" fmla="*/ 104 h 324"/>
                <a:gd name="T86" fmla="*/ 246 w 284"/>
                <a:gd name="T87" fmla="*/ 102 h 324"/>
                <a:gd name="T88" fmla="*/ 244 w 284"/>
                <a:gd name="T89" fmla="*/ 90 h 324"/>
                <a:gd name="T90" fmla="*/ 240 w 284"/>
                <a:gd name="T91" fmla="*/ 86 h 324"/>
                <a:gd name="T92" fmla="*/ 230 w 284"/>
                <a:gd name="T93" fmla="*/ 82 h 324"/>
                <a:gd name="T94" fmla="*/ 224 w 284"/>
                <a:gd name="T95" fmla="*/ 68 h 324"/>
                <a:gd name="T96" fmla="*/ 226 w 284"/>
                <a:gd name="T97" fmla="*/ 54 h 324"/>
                <a:gd name="T98" fmla="*/ 234 w 284"/>
                <a:gd name="T99" fmla="*/ 48 h 324"/>
                <a:gd name="T100" fmla="*/ 240 w 284"/>
                <a:gd name="T101" fmla="*/ 44 h 324"/>
                <a:gd name="T102" fmla="*/ 234 w 284"/>
                <a:gd name="T103" fmla="*/ 36 h 324"/>
                <a:gd name="T104" fmla="*/ 234 w 284"/>
                <a:gd name="T105" fmla="*/ 28 h 324"/>
                <a:gd name="T106" fmla="*/ 236 w 284"/>
                <a:gd name="T107" fmla="*/ 22 h 324"/>
                <a:gd name="T108" fmla="*/ 242 w 284"/>
                <a:gd name="T109" fmla="*/ 20 h 324"/>
                <a:gd name="T110" fmla="*/ 240 w 284"/>
                <a:gd name="T111" fmla="*/ 6 h 324"/>
                <a:gd name="T112" fmla="*/ 196 w 284"/>
                <a:gd name="T113" fmla="*/ 0 h 324"/>
                <a:gd name="T114" fmla="*/ 172 w 284"/>
                <a:gd name="T115" fmla="*/ 4 h 324"/>
                <a:gd name="T116" fmla="*/ 152 w 284"/>
                <a:gd name="T117" fmla="*/ 10 h 324"/>
                <a:gd name="T118" fmla="*/ 128 w 284"/>
                <a:gd name="T119" fmla="*/ 12 h 324"/>
                <a:gd name="T120" fmla="*/ 116 w 284"/>
                <a:gd name="T121" fmla="*/ 22 h 324"/>
                <a:gd name="T122" fmla="*/ 100 w 284"/>
                <a:gd name="T123" fmla="*/ 24 h 324"/>
                <a:gd name="T124" fmla="*/ 92 w 284"/>
                <a:gd name="T125" fmla="*/ 3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4" h="324">
                  <a:moveTo>
                    <a:pt x="88" y="42"/>
                  </a:moveTo>
                  <a:lnTo>
                    <a:pt x="88" y="42"/>
                  </a:lnTo>
                  <a:lnTo>
                    <a:pt x="90" y="42"/>
                  </a:lnTo>
                  <a:lnTo>
                    <a:pt x="94" y="46"/>
                  </a:lnTo>
                  <a:lnTo>
                    <a:pt x="96" y="48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0" y="56"/>
                  </a:lnTo>
                  <a:lnTo>
                    <a:pt x="98" y="56"/>
                  </a:lnTo>
                  <a:lnTo>
                    <a:pt x="98" y="58"/>
                  </a:lnTo>
                  <a:lnTo>
                    <a:pt x="96" y="60"/>
                  </a:lnTo>
                  <a:lnTo>
                    <a:pt x="94" y="62"/>
                  </a:lnTo>
                  <a:lnTo>
                    <a:pt x="94" y="64"/>
                  </a:lnTo>
                  <a:lnTo>
                    <a:pt x="92" y="64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4" y="68"/>
                  </a:lnTo>
                  <a:lnTo>
                    <a:pt x="96" y="68"/>
                  </a:lnTo>
                  <a:lnTo>
                    <a:pt x="96" y="70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2"/>
                  </a:lnTo>
                  <a:lnTo>
                    <a:pt x="102" y="72"/>
                  </a:lnTo>
                  <a:lnTo>
                    <a:pt x="102" y="74"/>
                  </a:lnTo>
                  <a:lnTo>
                    <a:pt x="102" y="74"/>
                  </a:lnTo>
                  <a:lnTo>
                    <a:pt x="102" y="76"/>
                  </a:lnTo>
                  <a:lnTo>
                    <a:pt x="102" y="78"/>
                  </a:lnTo>
                  <a:lnTo>
                    <a:pt x="102" y="80"/>
                  </a:lnTo>
                  <a:lnTo>
                    <a:pt x="102" y="82"/>
                  </a:lnTo>
                  <a:lnTo>
                    <a:pt x="100" y="86"/>
                  </a:lnTo>
                  <a:lnTo>
                    <a:pt x="100" y="88"/>
                  </a:lnTo>
                  <a:lnTo>
                    <a:pt x="98" y="90"/>
                  </a:lnTo>
                  <a:lnTo>
                    <a:pt x="98" y="92"/>
                  </a:lnTo>
                  <a:lnTo>
                    <a:pt x="98" y="94"/>
                  </a:lnTo>
                  <a:lnTo>
                    <a:pt x="96" y="94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2" y="98"/>
                  </a:lnTo>
                  <a:lnTo>
                    <a:pt x="92" y="98"/>
                  </a:lnTo>
                  <a:lnTo>
                    <a:pt x="90" y="98"/>
                  </a:lnTo>
                  <a:lnTo>
                    <a:pt x="86" y="98"/>
                  </a:lnTo>
                  <a:lnTo>
                    <a:pt x="84" y="98"/>
                  </a:lnTo>
                  <a:lnTo>
                    <a:pt x="82" y="98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78" y="98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6" y="102"/>
                  </a:lnTo>
                  <a:lnTo>
                    <a:pt x="76" y="102"/>
                  </a:lnTo>
                  <a:lnTo>
                    <a:pt x="76" y="104"/>
                  </a:lnTo>
                  <a:lnTo>
                    <a:pt x="76" y="106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10"/>
                  </a:lnTo>
                  <a:lnTo>
                    <a:pt x="78" y="110"/>
                  </a:lnTo>
                  <a:lnTo>
                    <a:pt x="78" y="112"/>
                  </a:lnTo>
                  <a:lnTo>
                    <a:pt x="80" y="112"/>
                  </a:lnTo>
                  <a:lnTo>
                    <a:pt x="82" y="114"/>
                  </a:lnTo>
                  <a:lnTo>
                    <a:pt x="82" y="114"/>
                  </a:lnTo>
                  <a:lnTo>
                    <a:pt x="84" y="114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2" y="118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80" y="122"/>
                  </a:lnTo>
                  <a:lnTo>
                    <a:pt x="78" y="122"/>
                  </a:lnTo>
                  <a:lnTo>
                    <a:pt x="76" y="124"/>
                  </a:lnTo>
                  <a:lnTo>
                    <a:pt x="72" y="126"/>
                  </a:lnTo>
                  <a:lnTo>
                    <a:pt x="70" y="128"/>
                  </a:lnTo>
                  <a:lnTo>
                    <a:pt x="66" y="130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2" y="136"/>
                  </a:lnTo>
                  <a:lnTo>
                    <a:pt x="58" y="138"/>
                  </a:lnTo>
                  <a:lnTo>
                    <a:pt x="56" y="142"/>
                  </a:lnTo>
                  <a:lnTo>
                    <a:pt x="54" y="144"/>
                  </a:lnTo>
                  <a:lnTo>
                    <a:pt x="52" y="144"/>
                  </a:lnTo>
                  <a:lnTo>
                    <a:pt x="50" y="146"/>
                  </a:lnTo>
                  <a:lnTo>
                    <a:pt x="46" y="148"/>
                  </a:lnTo>
                  <a:lnTo>
                    <a:pt x="44" y="150"/>
                  </a:lnTo>
                  <a:lnTo>
                    <a:pt x="42" y="150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38" y="152"/>
                  </a:lnTo>
                  <a:lnTo>
                    <a:pt x="36" y="150"/>
                  </a:lnTo>
                  <a:lnTo>
                    <a:pt x="34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28" y="154"/>
                  </a:lnTo>
                  <a:lnTo>
                    <a:pt x="28" y="156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4" y="158"/>
                  </a:lnTo>
                  <a:lnTo>
                    <a:pt x="22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8" y="158"/>
                  </a:lnTo>
                  <a:lnTo>
                    <a:pt x="18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4" y="160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4" y="166"/>
                  </a:lnTo>
                  <a:lnTo>
                    <a:pt x="14" y="166"/>
                  </a:lnTo>
                  <a:lnTo>
                    <a:pt x="14" y="166"/>
                  </a:lnTo>
                  <a:lnTo>
                    <a:pt x="14" y="166"/>
                  </a:lnTo>
                  <a:lnTo>
                    <a:pt x="12" y="166"/>
                  </a:lnTo>
                  <a:lnTo>
                    <a:pt x="12" y="168"/>
                  </a:lnTo>
                  <a:lnTo>
                    <a:pt x="10" y="168"/>
                  </a:lnTo>
                  <a:lnTo>
                    <a:pt x="8" y="168"/>
                  </a:lnTo>
                  <a:lnTo>
                    <a:pt x="6" y="168"/>
                  </a:lnTo>
                  <a:lnTo>
                    <a:pt x="4" y="168"/>
                  </a:lnTo>
                  <a:lnTo>
                    <a:pt x="2" y="166"/>
                  </a:lnTo>
                  <a:lnTo>
                    <a:pt x="0" y="166"/>
                  </a:lnTo>
                  <a:lnTo>
                    <a:pt x="30" y="202"/>
                  </a:lnTo>
                  <a:lnTo>
                    <a:pt x="36" y="206"/>
                  </a:lnTo>
                  <a:lnTo>
                    <a:pt x="40" y="210"/>
                  </a:lnTo>
                  <a:lnTo>
                    <a:pt x="44" y="212"/>
                  </a:lnTo>
                  <a:lnTo>
                    <a:pt x="50" y="216"/>
                  </a:lnTo>
                  <a:lnTo>
                    <a:pt x="56" y="222"/>
                  </a:lnTo>
                  <a:lnTo>
                    <a:pt x="62" y="226"/>
                  </a:lnTo>
                  <a:lnTo>
                    <a:pt x="68" y="232"/>
                  </a:lnTo>
                  <a:lnTo>
                    <a:pt x="80" y="242"/>
                  </a:lnTo>
                  <a:lnTo>
                    <a:pt x="94" y="254"/>
                  </a:lnTo>
                  <a:lnTo>
                    <a:pt x="108" y="266"/>
                  </a:lnTo>
                  <a:lnTo>
                    <a:pt x="114" y="272"/>
                  </a:lnTo>
                  <a:lnTo>
                    <a:pt x="122" y="276"/>
                  </a:lnTo>
                  <a:lnTo>
                    <a:pt x="128" y="282"/>
                  </a:lnTo>
                  <a:lnTo>
                    <a:pt x="134" y="286"/>
                  </a:lnTo>
                  <a:lnTo>
                    <a:pt x="140" y="290"/>
                  </a:lnTo>
                  <a:lnTo>
                    <a:pt x="146" y="294"/>
                  </a:lnTo>
                  <a:lnTo>
                    <a:pt x="146" y="294"/>
                  </a:lnTo>
                  <a:lnTo>
                    <a:pt x="148" y="294"/>
                  </a:lnTo>
                  <a:lnTo>
                    <a:pt x="152" y="296"/>
                  </a:lnTo>
                  <a:lnTo>
                    <a:pt x="154" y="296"/>
                  </a:lnTo>
                  <a:lnTo>
                    <a:pt x="156" y="298"/>
                  </a:lnTo>
                  <a:lnTo>
                    <a:pt x="158" y="298"/>
                  </a:lnTo>
                  <a:lnTo>
                    <a:pt x="158" y="300"/>
                  </a:lnTo>
                  <a:lnTo>
                    <a:pt x="158" y="300"/>
                  </a:lnTo>
                  <a:lnTo>
                    <a:pt x="160" y="300"/>
                  </a:lnTo>
                  <a:lnTo>
                    <a:pt x="160" y="302"/>
                  </a:lnTo>
                  <a:lnTo>
                    <a:pt x="160" y="304"/>
                  </a:lnTo>
                  <a:lnTo>
                    <a:pt x="160" y="306"/>
                  </a:lnTo>
                  <a:lnTo>
                    <a:pt x="160" y="308"/>
                  </a:lnTo>
                  <a:lnTo>
                    <a:pt x="160" y="312"/>
                  </a:lnTo>
                  <a:lnTo>
                    <a:pt x="160" y="316"/>
                  </a:lnTo>
                  <a:lnTo>
                    <a:pt x="160" y="318"/>
                  </a:lnTo>
                  <a:lnTo>
                    <a:pt x="160" y="320"/>
                  </a:lnTo>
                  <a:lnTo>
                    <a:pt x="160" y="320"/>
                  </a:lnTo>
                  <a:lnTo>
                    <a:pt x="162" y="322"/>
                  </a:lnTo>
                  <a:lnTo>
                    <a:pt x="162" y="324"/>
                  </a:lnTo>
                  <a:lnTo>
                    <a:pt x="162" y="324"/>
                  </a:lnTo>
                  <a:lnTo>
                    <a:pt x="164" y="324"/>
                  </a:lnTo>
                  <a:lnTo>
                    <a:pt x="164" y="324"/>
                  </a:lnTo>
                  <a:lnTo>
                    <a:pt x="164" y="324"/>
                  </a:lnTo>
                  <a:lnTo>
                    <a:pt x="166" y="324"/>
                  </a:lnTo>
                  <a:lnTo>
                    <a:pt x="168" y="324"/>
                  </a:lnTo>
                  <a:lnTo>
                    <a:pt x="170" y="324"/>
                  </a:lnTo>
                  <a:lnTo>
                    <a:pt x="174" y="322"/>
                  </a:lnTo>
                  <a:lnTo>
                    <a:pt x="176" y="322"/>
                  </a:lnTo>
                  <a:lnTo>
                    <a:pt x="176" y="320"/>
                  </a:lnTo>
                  <a:lnTo>
                    <a:pt x="176" y="318"/>
                  </a:lnTo>
                  <a:lnTo>
                    <a:pt x="176" y="316"/>
                  </a:lnTo>
                  <a:lnTo>
                    <a:pt x="176" y="316"/>
                  </a:lnTo>
                  <a:lnTo>
                    <a:pt x="176" y="314"/>
                  </a:lnTo>
                  <a:lnTo>
                    <a:pt x="176" y="314"/>
                  </a:lnTo>
                  <a:lnTo>
                    <a:pt x="178" y="312"/>
                  </a:lnTo>
                  <a:lnTo>
                    <a:pt x="178" y="312"/>
                  </a:lnTo>
                  <a:lnTo>
                    <a:pt x="180" y="312"/>
                  </a:lnTo>
                  <a:lnTo>
                    <a:pt x="182" y="312"/>
                  </a:lnTo>
                  <a:lnTo>
                    <a:pt x="184" y="312"/>
                  </a:lnTo>
                  <a:lnTo>
                    <a:pt x="186" y="312"/>
                  </a:lnTo>
                  <a:lnTo>
                    <a:pt x="188" y="312"/>
                  </a:lnTo>
                  <a:lnTo>
                    <a:pt x="192" y="312"/>
                  </a:lnTo>
                  <a:lnTo>
                    <a:pt x="196" y="312"/>
                  </a:lnTo>
                  <a:lnTo>
                    <a:pt x="196" y="312"/>
                  </a:lnTo>
                  <a:lnTo>
                    <a:pt x="198" y="312"/>
                  </a:lnTo>
                  <a:lnTo>
                    <a:pt x="200" y="312"/>
                  </a:lnTo>
                  <a:lnTo>
                    <a:pt x="200" y="312"/>
                  </a:lnTo>
                  <a:lnTo>
                    <a:pt x="202" y="312"/>
                  </a:lnTo>
                  <a:lnTo>
                    <a:pt x="202" y="312"/>
                  </a:lnTo>
                  <a:lnTo>
                    <a:pt x="204" y="310"/>
                  </a:lnTo>
                  <a:lnTo>
                    <a:pt x="204" y="308"/>
                  </a:lnTo>
                  <a:lnTo>
                    <a:pt x="206" y="306"/>
                  </a:lnTo>
                  <a:lnTo>
                    <a:pt x="208" y="304"/>
                  </a:lnTo>
                  <a:lnTo>
                    <a:pt x="210" y="302"/>
                  </a:lnTo>
                  <a:lnTo>
                    <a:pt x="210" y="300"/>
                  </a:lnTo>
                  <a:lnTo>
                    <a:pt x="212" y="300"/>
                  </a:lnTo>
                  <a:lnTo>
                    <a:pt x="212" y="300"/>
                  </a:lnTo>
                  <a:lnTo>
                    <a:pt x="216" y="298"/>
                  </a:lnTo>
                  <a:lnTo>
                    <a:pt x="218" y="296"/>
                  </a:lnTo>
                  <a:lnTo>
                    <a:pt x="218" y="296"/>
                  </a:lnTo>
                  <a:lnTo>
                    <a:pt x="220" y="296"/>
                  </a:lnTo>
                  <a:lnTo>
                    <a:pt x="220" y="294"/>
                  </a:lnTo>
                  <a:lnTo>
                    <a:pt x="220" y="294"/>
                  </a:lnTo>
                  <a:lnTo>
                    <a:pt x="220" y="290"/>
                  </a:lnTo>
                  <a:lnTo>
                    <a:pt x="220" y="290"/>
                  </a:lnTo>
                  <a:lnTo>
                    <a:pt x="222" y="288"/>
                  </a:lnTo>
                  <a:lnTo>
                    <a:pt x="222" y="286"/>
                  </a:lnTo>
                  <a:lnTo>
                    <a:pt x="222" y="286"/>
                  </a:lnTo>
                  <a:lnTo>
                    <a:pt x="222" y="286"/>
                  </a:lnTo>
                  <a:lnTo>
                    <a:pt x="224" y="284"/>
                  </a:lnTo>
                  <a:lnTo>
                    <a:pt x="224" y="284"/>
                  </a:lnTo>
                  <a:lnTo>
                    <a:pt x="226" y="284"/>
                  </a:lnTo>
                  <a:lnTo>
                    <a:pt x="226" y="284"/>
                  </a:lnTo>
                  <a:lnTo>
                    <a:pt x="230" y="282"/>
                  </a:lnTo>
                  <a:lnTo>
                    <a:pt x="234" y="282"/>
                  </a:lnTo>
                  <a:lnTo>
                    <a:pt x="238" y="280"/>
                  </a:lnTo>
                  <a:lnTo>
                    <a:pt x="240" y="280"/>
                  </a:lnTo>
                  <a:lnTo>
                    <a:pt x="242" y="280"/>
                  </a:lnTo>
                  <a:lnTo>
                    <a:pt x="244" y="280"/>
                  </a:lnTo>
                  <a:lnTo>
                    <a:pt x="246" y="278"/>
                  </a:lnTo>
                  <a:lnTo>
                    <a:pt x="246" y="278"/>
                  </a:lnTo>
                  <a:lnTo>
                    <a:pt x="246" y="278"/>
                  </a:lnTo>
                  <a:lnTo>
                    <a:pt x="248" y="276"/>
                  </a:lnTo>
                  <a:lnTo>
                    <a:pt x="250" y="274"/>
                  </a:lnTo>
                  <a:lnTo>
                    <a:pt x="250" y="270"/>
                  </a:lnTo>
                  <a:lnTo>
                    <a:pt x="252" y="268"/>
                  </a:lnTo>
                  <a:lnTo>
                    <a:pt x="252" y="268"/>
                  </a:lnTo>
                  <a:lnTo>
                    <a:pt x="254" y="266"/>
                  </a:lnTo>
                  <a:lnTo>
                    <a:pt x="254" y="266"/>
                  </a:lnTo>
                  <a:lnTo>
                    <a:pt x="258" y="262"/>
                  </a:lnTo>
                  <a:lnTo>
                    <a:pt x="262" y="260"/>
                  </a:lnTo>
                  <a:lnTo>
                    <a:pt x="264" y="258"/>
                  </a:lnTo>
                  <a:lnTo>
                    <a:pt x="266" y="258"/>
                  </a:lnTo>
                  <a:lnTo>
                    <a:pt x="268" y="256"/>
                  </a:lnTo>
                  <a:lnTo>
                    <a:pt x="272" y="254"/>
                  </a:lnTo>
                  <a:lnTo>
                    <a:pt x="276" y="254"/>
                  </a:lnTo>
                  <a:lnTo>
                    <a:pt x="278" y="252"/>
                  </a:lnTo>
                  <a:lnTo>
                    <a:pt x="280" y="252"/>
                  </a:lnTo>
                  <a:lnTo>
                    <a:pt x="280" y="250"/>
                  </a:lnTo>
                  <a:lnTo>
                    <a:pt x="282" y="250"/>
                  </a:lnTo>
                  <a:lnTo>
                    <a:pt x="282" y="248"/>
                  </a:lnTo>
                  <a:lnTo>
                    <a:pt x="284" y="246"/>
                  </a:lnTo>
                  <a:lnTo>
                    <a:pt x="284" y="244"/>
                  </a:lnTo>
                  <a:lnTo>
                    <a:pt x="284" y="238"/>
                  </a:lnTo>
                  <a:lnTo>
                    <a:pt x="284" y="236"/>
                  </a:lnTo>
                  <a:lnTo>
                    <a:pt x="284" y="234"/>
                  </a:lnTo>
                  <a:lnTo>
                    <a:pt x="282" y="232"/>
                  </a:lnTo>
                  <a:lnTo>
                    <a:pt x="282" y="232"/>
                  </a:lnTo>
                  <a:lnTo>
                    <a:pt x="282" y="230"/>
                  </a:lnTo>
                  <a:lnTo>
                    <a:pt x="282" y="230"/>
                  </a:lnTo>
                  <a:lnTo>
                    <a:pt x="280" y="230"/>
                  </a:lnTo>
                  <a:lnTo>
                    <a:pt x="278" y="228"/>
                  </a:lnTo>
                  <a:lnTo>
                    <a:pt x="278" y="228"/>
                  </a:lnTo>
                  <a:lnTo>
                    <a:pt x="274" y="228"/>
                  </a:lnTo>
                  <a:lnTo>
                    <a:pt x="272" y="228"/>
                  </a:lnTo>
                  <a:lnTo>
                    <a:pt x="268" y="228"/>
                  </a:lnTo>
                  <a:lnTo>
                    <a:pt x="264" y="228"/>
                  </a:lnTo>
                  <a:lnTo>
                    <a:pt x="264" y="228"/>
                  </a:lnTo>
                  <a:lnTo>
                    <a:pt x="262" y="228"/>
                  </a:lnTo>
                  <a:lnTo>
                    <a:pt x="260" y="228"/>
                  </a:lnTo>
                  <a:lnTo>
                    <a:pt x="260" y="226"/>
                  </a:lnTo>
                  <a:lnTo>
                    <a:pt x="258" y="226"/>
                  </a:lnTo>
                  <a:lnTo>
                    <a:pt x="258" y="226"/>
                  </a:lnTo>
                  <a:lnTo>
                    <a:pt x="256" y="224"/>
                  </a:lnTo>
                  <a:lnTo>
                    <a:pt x="254" y="222"/>
                  </a:lnTo>
                  <a:lnTo>
                    <a:pt x="252" y="220"/>
                  </a:lnTo>
                  <a:lnTo>
                    <a:pt x="252" y="220"/>
                  </a:lnTo>
                  <a:lnTo>
                    <a:pt x="252" y="218"/>
                  </a:lnTo>
                  <a:lnTo>
                    <a:pt x="252" y="216"/>
                  </a:lnTo>
                  <a:lnTo>
                    <a:pt x="250" y="214"/>
                  </a:lnTo>
                  <a:lnTo>
                    <a:pt x="250" y="210"/>
                  </a:lnTo>
                  <a:lnTo>
                    <a:pt x="250" y="206"/>
                  </a:lnTo>
                  <a:lnTo>
                    <a:pt x="250" y="202"/>
                  </a:lnTo>
                  <a:lnTo>
                    <a:pt x="250" y="190"/>
                  </a:lnTo>
                  <a:lnTo>
                    <a:pt x="252" y="176"/>
                  </a:lnTo>
                  <a:lnTo>
                    <a:pt x="252" y="160"/>
                  </a:lnTo>
                  <a:lnTo>
                    <a:pt x="252" y="144"/>
                  </a:lnTo>
                  <a:lnTo>
                    <a:pt x="254" y="116"/>
                  </a:lnTo>
                  <a:lnTo>
                    <a:pt x="254" y="104"/>
                  </a:lnTo>
                  <a:lnTo>
                    <a:pt x="254" y="104"/>
                  </a:lnTo>
                  <a:lnTo>
                    <a:pt x="250" y="104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6" y="104"/>
                  </a:lnTo>
                  <a:lnTo>
                    <a:pt x="246" y="104"/>
                  </a:lnTo>
                  <a:lnTo>
                    <a:pt x="246" y="104"/>
                  </a:lnTo>
                  <a:lnTo>
                    <a:pt x="246" y="102"/>
                  </a:lnTo>
                  <a:lnTo>
                    <a:pt x="244" y="102"/>
                  </a:lnTo>
                  <a:lnTo>
                    <a:pt x="244" y="102"/>
                  </a:lnTo>
                  <a:lnTo>
                    <a:pt x="244" y="100"/>
                  </a:lnTo>
                  <a:lnTo>
                    <a:pt x="244" y="98"/>
                  </a:lnTo>
                  <a:lnTo>
                    <a:pt x="244" y="96"/>
                  </a:lnTo>
                  <a:lnTo>
                    <a:pt x="244" y="92"/>
                  </a:lnTo>
                  <a:lnTo>
                    <a:pt x="244" y="90"/>
                  </a:lnTo>
                  <a:lnTo>
                    <a:pt x="242" y="90"/>
                  </a:lnTo>
                  <a:lnTo>
                    <a:pt x="242" y="88"/>
                  </a:lnTo>
                  <a:lnTo>
                    <a:pt x="242" y="88"/>
                  </a:lnTo>
                  <a:lnTo>
                    <a:pt x="242" y="86"/>
                  </a:lnTo>
                  <a:lnTo>
                    <a:pt x="242" y="86"/>
                  </a:lnTo>
                  <a:lnTo>
                    <a:pt x="240" y="86"/>
                  </a:lnTo>
                  <a:lnTo>
                    <a:pt x="240" y="86"/>
                  </a:lnTo>
                  <a:lnTo>
                    <a:pt x="238" y="84"/>
                  </a:lnTo>
                  <a:lnTo>
                    <a:pt x="236" y="84"/>
                  </a:lnTo>
                  <a:lnTo>
                    <a:pt x="234" y="84"/>
                  </a:lnTo>
                  <a:lnTo>
                    <a:pt x="232" y="84"/>
                  </a:lnTo>
                  <a:lnTo>
                    <a:pt x="230" y="82"/>
                  </a:lnTo>
                  <a:lnTo>
                    <a:pt x="230" y="82"/>
                  </a:lnTo>
                  <a:lnTo>
                    <a:pt x="230" y="82"/>
                  </a:lnTo>
                  <a:lnTo>
                    <a:pt x="228" y="80"/>
                  </a:lnTo>
                  <a:lnTo>
                    <a:pt x="226" y="78"/>
                  </a:lnTo>
                  <a:lnTo>
                    <a:pt x="226" y="76"/>
                  </a:lnTo>
                  <a:lnTo>
                    <a:pt x="226" y="74"/>
                  </a:lnTo>
                  <a:lnTo>
                    <a:pt x="224" y="72"/>
                  </a:lnTo>
                  <a:lnTo>
                    <a:pt x="224" y="70"/>
                  </a:lnTo>
                  <a:lnTo>
                    <a:pt x="224" y="68"/>
                  </a:lnTo>
                  <a:lnTo>
                    <a:pt x="224" y="66"/>
                  </a:lnTo>
                  <a:lnTo>
                    <a:pt x="224" y="64"/>
                  </a:lnTo>
                  <a:lnTo>
                    <a:pt x="224" y="62"/>
                  </a:lnTo>
                  <a:lnTo>
                    <a:pt x="224" y="60"/>
                  </a:lnTo>
                  <a:lnTo>
                    <a:pt x="224" y="58"/>
                  </a:lnTo>
                  <a:lnTo>
                    <a:pt x="224" y="56"/>
                  </a:lnTo>
                  <a:lnTo>
                    <a:pt x="226" y="54"/>
                  </a:lnTo>
                  <a:lnTo>
                    <a:pt x="226" y="52"/>
                  </a:lnTo>
                  <a:lnTo>
                    <a:pt x="226" y="50"/>
                  </a:lnTo>
                  <a:lnTo>
                    <a:pt x="228" y="50"/>
                  </a:lnTo>
                  <a:lnTo>
                    <a:pt x="228" y="50"/>
                  </a:lnTo>
                  <a:lnTo>
                    <a:pt x="230" y="48"/>
                  </a:lnTo>
                  <a:lnTo>
                    <a:pt x="232" y="48"/>
                  </a:lnTo>
                  <a:lnTo>
                    <a:pt x="234" y="48"/>
                  </a:lnTo>
                  <a:lnTo>
                    <a:pt x="236" y="48"/>
                  </a:lnTo>
                  <a:lnTo>
                    <a:pt x="238" y="48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40" y="46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2"/>
                  </a:lnTo>
                  <a:lnTo>
                    <a:pt x="238" y="42"/>
                  </a:lnTo>
                  <a:lnTo>
                    <a:pt x="238" y="40"/>
                  </a:lnTo>
                  <a:lnTo>
                    <a:pt x="236" y="38"/>
                  </a:lnTo>
                  <a:lnTo>
                    <a:pt x="234" y="36"/>
                  </a:lnTo>
                  <a:lnTo>
                    <a:pt x="234" y="36"/>
                  </a:lnTo>
                  <a:lnTo>
                    <a:pt x="234" y="34"/>
                  </a:lnTo>
                  <a:lnTo>
                    <a:pt x="234" y="34"/>
                  </a:lnTo>
                  <a:lnTo>
                    <a:pt x="232" y="32"/>
                  </a:lnTo>
                  <a:lnTo>
                    <a:pt x="232" y="32"/>
                  </a:lnTo>
                  <a:lnTo>
                    <a:pt x="234" y="30"/>
                  </a:lnTo>
                  <a:lnTo>
                    <a:pt x="234" y="28"/>
                  </a:lnTo>
                  <a:lnTo>
                    <a:pt x="234" y="26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8" y="22"/>
                  </a:lnTo>
                  <a:lnTo>
                    <a:pt x="240" y="22"/>
                  </a:lnTo>
                  <a:lnTo>
                    <a:pt x="242" y="22"/>
                  </a:lnTo>
                  <a:lnTo>
                    <a:pt x="242" y="22"/>
                  </a:lnTo>
                  <a:lnTo>
                    <a:pt x="242" y="22"/>
                  </a:lnTo>
                  <a:lnTo>
                    <a:pt x="242" y="22"/>
                  </a:lnTo>
                  <a:lnTo>
                    <a:pt x="242" y="20"/>
                  </a:lnTo>
                  <a:lnTo>
                    <a:pt x="242" y="20"/>
                  </a:lnTo>
                  <a:lnTo>
                    <a:pt x="242" y="18"/>
                  </a:lnTo>
                  <a:lnTo>
                    <a:pt x="242" y="16"/>
                  </a:lnTo>
                  <a:lnTo>
                    <a:pt x="242" y="16"/>
                  </a:lnTo>
                  <a:lnTo>
                    <a:pt x="242" y="12"/>
                  </a:lnTo>
                  <a:lnTo>
                    <a:pt x="242" y="8"/>
                  </a:lnTo>
                  <a:lnTo>
                    <a:pt x="240" y="6"/>
                  </a:lnTo>
                  <a:lnTo>
                    <a:pt x="240" y="4"/>
                  </a:lnTo>
                  <a:lnTo>
                    <a:pt x="234" y="4"/>
                  </a:lnTo>
                  <a:lnTo>
                    <a:pt x="222" y="2"/>
                  </a:lnTo>
                  <a:lnTo>
                    <a:pt x="214" y="2"/>
                  </a:lnTo>
                  <a:lnTo>
                    <a:pt x="208" y="2"/>
                  </a:lnTo>
                  <a:lnTo>
                    <a:pt x="200" y="0"/>
                  </a:lnTo>
                  <a:lnTo>
                    <a:pt x="196" y="0"/>
                  </a:lnTo>
                  <a:lnTo>
                    <a:pt x="192" y="2"/>
                  </a:lnTo>
                  <a:lnTo>
                    <a:pt x="186" y="2"/>
                  </a:lnTo>
                  <a:lnTo>
                    <a:pt x="180" y="2"/>
                  </a:lnTo>
                  <a:lnTo>
                    <a:pt x="178" y="2"/>
                  </a:lnTo>
                  <a:lnTo>
                    <a:pt x="176" y="4"/>
                  </a:lnTo>
                  <a:lnTo>
                    <a:pt x="174" y="4"/>
                  </a:lnTo>
                  <a:lnTo>
                    <a:pt x="172" y="4"/>
                  </a:lnTo>
                  <a:lnTo>
                    <a:pt x="168" y="6"/>
                  </a:lnTo>
                  <a:lnTo>
                    <a:pt x="164" y="8"/>
                  </a:lnTo>
                  <a:lnTo>
                    <a:pt x="162" y="10"/>
                  </a:lnTo>
                  <a:lnTo>
                    <a:pt x="160" y="10"/>
                  </a:lnTo>
                  <a:lnTo>
                    <a:pt x="158" y="10"/>
                  </a:lnTo>
                  <a:lnTo>
                    <a:pt x="156" y="10"/>
                  </a:lnTo>
                  <a:lnTo>
                    <a:pt x="152" y="10"/>
                  </a:lnTo>
                  <a:lnTo>
                    <a:pt x="144" y="10"/>
                  </a:lnTo>
                  <a:lnTo>
                    <a:pt x="138" y="10"/>
                  </a:lnTo>
                  <a:lnTo>
                    <a:pt x="134" y="10"/>
                  </a:lnTo>
                  <a:lnTo>
                    <a:pt x="132" y="10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28" y="12"/>
                  </a:lnTo>
                  <a:lnTo>
                    <a:pt x="126" y="12"/>
                  </a:lnTo>
                  <a:lnTo>
                    <a:pt x="126" y="14"/>
                  </a:lnTo>
                  <a:lnTo>
                    <a:pt x="124" y="16"/>
                  </a:lnTo>
                  <a:lnTo>
                    <a:pt x="122" y="18"/>
                  </a:lnTo>
                  <a:lnTo>
                    <a:pt x="120" y="20"/>
                  </a:lnTo>
                  <a:lnTo>
                    <a:pt x="118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4" y="22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6" y="24"/>
                  </a:lnTo>
                  <a:lnTo>
                    <a:pt x="102" y="24"/>
                  </a:lnTo>
                  <a:lnTo>
                    <a:pt x="100" y="24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4" y="26"/>
                  </a:lnTo>
                  <a:lnTo>
                    <a:pt x="94" y="28"/>
                  </a:lnTo>
                  <a:lnTo>
                    <a:pt x="92" y="30"/>
                  </a:lnTo>
                  <a:lnTo>
                    <a:pt x="92" y="32"/>
                  </a:lnTo>
                  <a:lnTo>
                    <a:pt x="90" y="34"/>
                  </a:lnTo>
                  <a:lnTo>
                    <a:pt x="90" y="40"/>
                  </a:lnTo>
                  <a:lnTo>
                    <a:pt x="88" y="4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65" name="Freeform 382">
              <a:extLst>
                <a:ext uri="{FF2B5EF4-FFF2-40B4-BE49-F238E27FC236}">
                  <a16:creationId xmlns:a16="http://schemas.microsoft.com/office/drawing/2014/main" id="{F22BE4BA-B9CE-4B0C-802F-798A493AE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548" y="4273457"/>
              <a:ext cx="235763" cy="351016"/>
            </a:xfrm>
            <a:custGeom>
              <a:avLst/>
              <a:gdLst>
                <a:gd name="T0" fmla="*/ 12 w 138"/>
                <a:gd name="T1" fmla="*/ 150 h 210"/>
                <a:gd name="T2" fmla="*/ 28 w 138"/>
                <a:gd name="T3" fmla="*/ 136 h 210"/>
                <a:gd name="T4" fmla="*/ 36 w 138"/>
                <a:gd name="T5" fmla="*/ 126 h 210"/>
                <a:gd name="T6" fmla="*/ 48 w 138"/>
                <a:gd name="T7" fmla="*/ 114 h 210"/>
                <a:gd name="T8" fmla="*/ 60 w 138"/>
                <a:gd name="T9" fmla="*/ 106 h 210"/>
                <a:gd name="T10" fmla="*/ 66 w 138"/>
                <a:gd name="T11" fmla="*/ 100 h 210"/>
                <a:gd name="T12" fmla="*/ 72 w 138"/>
                <a:gd name="T13" fmla="*/ 86 h 210"/>
                <a:gd name="T14" fmla="*/ 76 w 138"/>
                <a:gd name="T15" fmla="*/ 68 h 210"/>
                <a:gd name="T16" fmla="*/ 80 w 138"/>
                <a:gd name="T17" fmla="*/ 56 h 210"/>
                <a:gd name="T18" fmla="*/ 84 w 138"/>
                <a:gd name="T19" fmla="*/ 50 h 210"/>
                <a:gd name="T20" fmla="*/ 92 w 138"/>
                <a:gd name="T21" fmla="*/ 46 h 210"/>
                <a:gd name="T22" fmla="*/ 94 w 138"/>
                <a:gd name="T23" fmla="*/ 40 h 210"/>
                <a:gd name="T24" fmla="*/ 94 w 138"/>
                <a:gd name="T25" fmla="*/ 26 h 210"/>
                <a:gd name="T26" fmla="*/ 92 w 138"/>
                <a:gd name="T27" fmla="*/ 0 h 210"/>
                <a:gd name="T28" fmla="*/ 98 w 138"/>
                <a:gd name="T29" fmla="*/ 0 h 210"/>
                <a:gd name="T30" fmla="*/ 98 w 138"/>
                <a:gd name="T31" fmla="*/ 2 h 210"/>
                <a:gd name="T32" fmla="*/ 100 w 138"/>
                <a:gd name="T33" fmla="*/ 8 h 210"/>
                <a:gd name="T34" fmla="*/ 104 w 138"/>
                <a:gd name="T35" fmla="*/ 18 h 210"/>
                <a:gd name="T36" fmla="*/ 112 w 138"/>
                <a:gd name="T37" fmla="*/ 32 h 210"/>
                <a:gd name="T38" fmla="*/ 112 w 138"/>
                <a:gd name="T39" fmla="*/ 38 h 210"/>
                <a:gd name="T40" fmla="*/ 110 w 138"/>
                <a:gd name="T41" fmla="*/ 40 h 210"/>
                <a:gd name="T42" fmla="*/ 106 w 138"/>
                <a:gd name="T43" fmla="*/ 42 h 210"/>
                <a:gd name="T44" fmla="*/ 106 w 138"/>
                <a:gd name="T45" fmla="*/ 44 h 210"/>
                <a:gd name="T46" fmla="*/ 108 w 138"/>
                <a:gd name="T47" fmla="*/ 46 h 210"/>
                <a:gd name="T48" fmla="*/ 110 w 138"/>
                <a:gd name="T49" fmla="*/ 52 h 210"/>
                <a:gd name="T50" fmla="*/ 112 w 138"/>
                <a:gd name="T51" fmla="*/ 56 h 210"/>
                <a:gd name="T52" fmla="*/ 116 w 138"/>
                <a:gd name="T53" fmla="*/ 62 h 210"/>
                <a:gd name="T54" fmla="*/ 116 w 138"/>
                <a:gd name="T55" fmla="*/ 68 h 210"/>
                <a:gd name="T56" fmla="*/ 114 w 138"/>
                <a:gd name="T57" fmla="*/ 70 h 210"/>
                <a:gd name="T58" fmla="*/ 108 w 138"/>
                <a:gd name="T59" fmla="*/ 74 h 210"/>
                <a:gd name="T60" fmla="*/ 108 w 138"/>
                <a:gd name="T61" fmla="*/ 78 h 210"/>
                <a:gd name="T62" fmla="*/ 112 w 138"/>
                <a:gd name="T63" fmla="*/ 86 h 210"/>
                <a:gd name="T64" fmla="*/ 120 w 138"/>
                <a:gd name="T65" fmla="*/ 94 h 210"/>
                <a:gd name="T66" fmla="*/ 126 w 138"/>
                <a:gd name="T67" fmla="*/ 104 h 210"/>
                <a:gd name="T68" fmla="*/ 122 w 138"/>
                <a:gd name="T69" fmla="*/ 120 h 210"/>
                <a:gd name="T70" fmla="*/ 116 w 138"/>
                <a:gd name="T71" fmla="*/ 130 h 210"/>
                <a:gd name="T72" fmla="*/ 114 w 138"/>
                <a:gd name="T73" fmla="*/ 138 h 210"/>
                <a:gd name="T74" fmla="*/ 116 w 138"/>
                <a:gd name="T75" fmla="*/ 144 h 210"/>
                <a:gd name="T76" fmla="*/ 124 w 138"/>
                <a:gd name="T77" fmla="*/ 154 h 210"/>
                <a:gd name="T78" fmla="*/ 128 w 138"/>
                <a:gd name="T79" fmla="*/ 168 h 210"/>
                <a:gd name="T80" fmla="*/ 134 w 138"/>
                <a:gd name="T81" fmla="*/ 180 h 210"/>
                <a:gd name="T82" fmla="*/ 90 w 138"/>
                <a:gd name="T83" fmla="*/ 192 h 210"/>
                <a:gd name="T84" fmla="*/ 72 w 138"/>
                <a:gd name="T85" fmla="*/ 194 h 210"/>
                <a:gd name="T86" fmla="*/ 66 w 138"/>
                <a:gd name="T87" fmla="*/ 196 h 210"/>
                <a:gd name="T88" fmla="*/ 62 w 138"/>
                <a:gd name="T89" fmla="*/ 200 h 210"/>
                <a:gd name="T90" fmla="*/ 60 w 138"/>
                <a:gd name="T91" fmla="*/ 206 h 210"/>
                <a:gd name="T92" fmla="*/ 38 w 138"/>
                <a:gd name="T93" fmla="*/ 204 h 210"/>
                <a:gd name="T94" fmla="*/ 38 w 138"/>
                <a:gd name="T95" fmla="*/ 194 h 210"/>
                <a:gd name="T96" fmla="*/ 40 w 138"/>
                <a:gd name="T97" fmla="*/ 190 h 210"/>
                <a:gd name="T98" fmla="*/ 44 w 138"/>
                <a:gd name="T99" fmla="*/ 182 h 210"/>
                <a:gd name="T100" fmla="*/ 44 w 138"/>
                <a:gd name="T101" fmla="*/ 178 h 210"/>
                <a:gd name="T102" fmla="*/ 40 w 138"/>
                <a:gd name="T103" fmla="*/ 172 h 210"/>
                <a:gd name="T104" fmla="*/ 34 w 138"/>
                <a:gd name="T105" fmla="*/ 168 h 210"/>
                <a:gd name="T106" fmla="*/ 10 w 138"/>
                <a:gd name="T107" fmla="*/ 16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8" h="210">
                  <a:moveTo>
                    <a:pt x="0" y="158"/>
                  </a:moveTo>
                  <a:lnTo>
                    <a:pt x="0" y="158"/>
                  </a:lnTo>
                  <a:lnTo>
                    <a:pt x="4" y="156"/>
                  </a:lnTo>
                  <a:lnTo>
                    <a:pt x="12" y="150"/>
                  </a:lnTo>
                  <a:lnTo>
                    <a:pt x="20" y="142"/>
                  </a:lnTo>
                  <a:lnTo>
                    <a:pt x="24" y="140"/>
                  </a:lnTo>
                  <a:lnTo>
                    <a:pt x="26" y="136"/>
                  </a:lnTo>
                  <a:lnTo>
                    <a:pt x="28" y="136"/>
                  </a:lnTo>
                  <a:lnTo>
                    <a:pt x="30" y="134"/>
                  </a:lnTo>
                  <a:lnTo>
                    <a:pt x="32" y="130"/>
                  </a:lnTo>
                  <a:lnTo>
                    <a:pt x="34" y="128"/>
                  </a:lnTo>
                  <a:lnTo>
                    <a:pt x="36" y="126"/>
                  </a:lnTo>
                  <a:lnTo>
                    <a:pt x="38" y="122"/>
                  </a:lnTo>
                  <a:lnTo>
                    <a:pt x="42" y="120"/>
                  </a:lnTo>
                  <a:lnTo>
                    <a:pt x="44" y="116"/>
                  </a:lnTo>
                  <a:lnTo>
                    <a:pt x="48" y="114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56" y="108"/>
                  </a:lnTo>
                  <a:lnTo>
                    <a:pt x="60" y="106"/>
                  </a:lnTo>
                  <a:lnTo>
                    <a:pt x="62" y="104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6" y="100"/>
                  </a:lnTo>
                  <a:lnTo>
                    <a:pt x="68" y="98"/>
                  </a:lnTo>
                  <a:lnTo>
                    <a:pt x="68" y="94"/>
                  </a:lnTo>
                  <a:lnTo>
                    <a:pt x="70" y="90"/>
                  </a:lnTo>
                  <a:lnTo>
                    <a:pt x="72" y="86"/>
                  </a:lnTo>
                  <a:lnTo>
                    <a:pt x="74" y="84"/>
                  </a:lnTo>
                  <a:lnTo>
                    <a:pt x="74" y="80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8" y="64"/>
                  </a:lnTo>
                  <a:lnTo>
                    <a:pt x="78" y="60"/>
                  </a:lnTo>
                  <a:lnTo>
                    <a:pt x="80" y="58"/>
                  </a:lnTo>
                  <a:lnTo>
                    <a:pt x="80" y="56"/>
                  </a:lnTo>
                  <a:lnTo>
                    <a:pt x="82" y="54"/>
                  </a:lnTo>
                  <a:lnTo>
                    <a:pt x="82" y="52"/>
                  </a:lnTo>
                  <a:lnTo>
                    <a:pt x="84" y="52"/>
                  </a:lnTo>
                  <a:lnTo>
                    <a:pt x="84" y="50"/>
                  </a:lnTo>
                  <a:lnTo>
                    <a:pt x="86" y="50"/>
                  </a:lnTo>
                  <a:lnTo>
                    <a:pt x="88" y="48"/>
                  </a:lnTo>
                  <a:lnTo>
                    <a:pt x="90" y="46"/>
                  </a:lnTo>
                  <a:lnTo>
                    <a:pt x="92" y="46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4" y="42"/>
                  </a:lnTo>
                  <a:lnTo>
                    <a:pt x="94" y="40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4" y="30"/>
                  </a:lnTo>
                  <a:lnTo>
                    <a:pt x="94" y="26"/>
                  </a:lnTo>
                  <a:lnTo>
                    <a:pt x="94" y="22"/>
                  </a:lnTo>
                  <a:lnTo>
                    <a:pt x="94" y="20"/>
                  </a:lnTo>
                  <a:lnTo>
                    <a:pt x="94" y="1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2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10"/>
                  </a:lnTo>
                  <a:lnTo>
                    <a:pt x="102" y="12"/>
                  </a:lnTo>
                  <a:lnTo>
                    <a:pt x="102" y="14"/>
                  </a:lnTo>
                  <a:lnTo>
                    <a:pt x="104" y="18"/>
                  </a:lnTo>
                  <a:lnTo>
                    <a:pt x="108" y="24"/>
                  </a:lnTo>
                  <a:lnTo>
                    <a:pt x="110" y="28"/>
                  </a:lnTo>
                  <a:lnTo>
                    <a:pt x="112" y="30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0" y="40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8" y="44"/>
                  </a:lnTo>
                  <a:lnTo>
                    <a:pt x="108" y="46"/>
                  </a:lnTo>
                  <a:lnTo>
                    <a:pt x="108" y="46"/>
                  </a:lnTo>
                  <a:lnTo>
                    <a:pt x="110" y="46"/>
                  </a:lnTo>
                  <a:lnTo>
                    <a:pt x="110" y="48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2" y="54"/>
                  </a:lnTo>
                  <a:lnTo>
                    <a:pt x="112" y="54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4" y="58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6" y="64"/>
                  </a:lnTo>
                  <a:lnTo>
                    <a:pt x="116" y="66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2" y="72"/>
                  </a:lnTo>
                  <a:lnTo>
                    <a:pt x="110" y="72"/>
                  </a:lnTo>
                  <a:lnTo>
                    <a:pt x="110" y="74"/>
                  </a:lnTo>
                  <a:lnTo>
                    <a:pt x="108" y="74"/>
                  </a:lnTo>
                  <a:lnTo>
                    <a:pt x="108" y="74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8"/>
                  </a:lnTo>
                  <a:lnTo>
                    <a:pt x="110" y="80"/>
                  </a:lnTo>
                  <a:lnTo>
                    <a:pt x="110" y="82"/>
                  </a:lnTo>
                  <a:lnTo>
                    <a:pt x="110" y="84"/>
                  </a:lnTo>
                  <a:lnTo>
                    <a:pt x="112" y="86"/>
                  </a:lnTo>
                  <a:lnTo>
                    <a:pt x="114" y="86"/>
                  </a:lnTo>
                  <a:lnTo>
                    <a:pt x="114" y="88"/>
                  </a:lnTo>
                  <a:lnTo>
                    <a:pt x="118" y="92"/>
                  </a:lnTo>
                  <a:lnTo>
                    <a:pt x="120" y="94"/>
                  </a:lnTo>
                  <a:lnTo>
                    <a:pt x="120" y="96"/>
                  </a:lnTo>
                  <a:lnTo>
                    <a:pt x="122" y="98"/>
                  </a:lnTo>
                  <a:lnTo>
                    <a:pt x="122" y="100"/>
                  </a:lnTo>
                  <a:lnTo>
                    <a:pt x="126" y="104"/>
                  </a:lnTo>
                  <a:lnTo>
                    <a:pt x="128" y="112"/>
                  </a:lnTo>
                  <a:lnTo>
                    <a:pt x="126" y="116"/>
                  </a:lnTo>
                  <a:lnTo>
                    <a:pt x="122" y="118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16" y="130"/>
                  </a:lnTo>
                  <a:lnTo>
                    <a:pt x="116" y="132"/>
                  </a:lnTo>
                  <a:lnTo>
                    <a:pt x="116" y="136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114" y="140"/>
                  </a:lnTo>
                  <a:lnTo>
                    <a:pt x="116" y="140"/>
                  </a:lnTo>
                  <a:lnTo>
                    <a:pt x="116" y="142"/>
                  </a:lnTo>
                  <a:lnTo>
                    <a:pt x="116" y="144"/>
                  </a:lnTo>
                  <a:lnTo>
                    <a:pt x="118" y="146"/>
                  </a:lnTo>
                  <a:lnTo>
                    <a:pt x="120" y="148"/>
                  </a:lnTo>
                  <a:lnTo>
                    <a:pt x="124" y="152"/>
                  </a:lnTo>
                  <a:lnTo>
                    <a:pt x="124" y="154"/>
                  </a:lnTo>
                  <a:lnTo>
                    <a:pt x="126" y="156"/>
                  </a:lnTo>
                  <a:lnTo>
                    <a:pt x="126" y="158"/>
                  </a:lnTo>
                  <a:lnTo>
                    <a:pt x="128" y="162"/>
                  </a:lnTo>
                  <a:lnTo>
                    <a:pt x="128" y="168"/>
                  </a:lnTo>
                  <a:lnTo>
                    <a:pt x="130" y="172"/>
                  </a:lnTo>
                  <a:lnTo>
                    <a:pt x="132" y="176"/>
                  </a:lnTo>
                  <a:lnTo>
                    <a:pt x="132" y="178"/>
                  </a:lnTo>
                  <a:lnTo>
                    <a:pt x="134" y="180"/>
                  </a:lnTo>
                  <a:lnTo>
                    <a:pt x="136" y="182"/>
                  </a:lnTo>
                  <a:lnTo>
                    <a:pt x="138" y="186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82" y="192"/>
                  </a:lnTo>
                  <a:lnTo>
                    <a:pt x="78" y="192"/>
                  </a:lnTo>
                  <a:lnTo>
                    <a:pt x="74" y="192"/>
                  </a:lnTo>
                  <a:lnTo>
                    <a:pt x="72" y="194"/>
                  </a:lnTo>
                  <a:lnTo>
                    <a:pt x="70" y="194"/>
                  </a:lnTo>
                  <a:lnTo>
                    <a:pt x="70" y="194"/>
                  </a:lnTo>
                  <a:lnTo>
                    <a:pt x="68" y="194"/>
                  </a:lnTo>
                  <a:lnTo>
                    <a:pt x="66" y="196"/>
                  </a:lnTo>
                  <a:lnTo>
                    <a:pt x="64" y="196"/>
                  </a:lnTo>
                  <a:lnTo>
                    <a:pt x="64" y="198"/>
                  </a:lnTo>
                  <a:lnTo>
                    <a:pt x="62" y="198"/>
                  </a:lnTo>
                  <a:lnTo>
                    <a:pt x="62" y="200"/>
                  </a:lnTo>
                  <a:lnTo>
                    <a:pt x="60" y="200"/>
                  </a:lnTo>
                  <a:lnTo>
                    <a:pt x="60" y="202"/>
                  </a:lnTo>
                  <a:lnTo>
                    <a:pt x="60" y="202"/>
                  </a:lnTo>
                  <a:lnTo>
                    <a:pt x="60" y="206"/>
                  </a:lnTo>
                  <a:lnTo>
                    <a:pt x="60" y="208"/>
                  </a:lnTo>
                  <a:lnTo>
                    <a:pt x="40" y="210"/>
                  </a:lnTo>
                  <a:lnTo>
                    <a:pt x="40" y="208"/>
                  </a:lnTo>
                  <a:lnTo>
                    <a:pt x="38" y="204"/>
                  </a:lnTo>
                  <a:lnTo>
                    <a:pt x="38" y="202"/>
                  </a:lnTo>
                  <a:lnTo>
                    <a:pt x="38" y="198"/>
                  </a:lnTo>
                  <a:lnTo>
                    <a:pt x="38" y="196"/>
                  </a:lnTo>
                  <a:lnTo>
                    <a:pt x="38" y="194"/>
                  </a:lnTo>
                  <a:lnTo>
                    <a:pt x="38" y="194"/>
                  </a:lnTo>
                  <a:lnTo>
                    <a:pt x="38" y="192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2" y="188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46" y="180"/>
                  </a:lnTo>
                  <a:lnTo>
                    <a:pt x="46" y="180"/>
                  </a:lnTo>
                  <a:lnTo>
                    <a:pt x="44" y="178"/>
                  </a:lnTo>
                  <a:lnTo>
                    <a:pt x="44" y="178"/>
                  </a:lnTo>
                  <a:lnTo>
                    <a:pt x="44" y="176"/>
                  </a:lnTo>
                  <a:lnTo>
                    <a:pt x="42" y="174"/>
                  </a:lnTo>
                  <a:lnTo>
                    <a:pt x="40" y="172"/>
                  </a:lnTo>
                  <a:lnTo>
                    <a:pt x="38" y="172"/>
                  </a:lnTo>
                  <a:lnTo>
                    <a:pt x="36" y="170"/>
                  </a:lnTo>
                  <a:lnTo>
                    <a:pt x="36" y="170"/>
                  </a:lnTo>
                  <a:lnTo>
                    <a:pt x="34" y="168"/>
                  </a:lnTo>
                  <a:lnTo>
                    <a:pt x="32" y="168"/>
                  </a:lnTo>
                  <a:lnTo>
                    <a:pt x="24" y="166"/>
                  </a:lnTo>
                  <a:lnTo>
                    <a:pt x="18" y="164"/>
                  </a:lnTo>
                  <a:lnTo>
                    <a:pt x="10" y="162"/>
                  </a:lnTo>
                  <a:lnTo>
                    <a:pt x="0" y="15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66" name="Freeform 384">
              <a:extLst>
                <a:ext uri="{FF2B5EF4-FFF2-40B4-BE49-F238E27FC236}">
                  <a16:creationId xmlns:a16="http://schemas.microsoft.com/office/drawing/2014/main" id="{A8A88212-6E11-420B-A78E-D0165E3DD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481" y="5149322"/>
              <a:ext cx="242597" cy="264097"/>
            </a:xfrm>
            <a:custGeom>
              <a:avLst/>
              <a:gdLst>
                <a:gd name="T0" fmla="*/ 60 w 142"/>
                <a:gd name="T1" fmla="*/ 2 h 158"/>
                <a:gd name="T2" fmla="*/ 92 w 142"/>
                <a:gd name="T3" fmla="*/ 14 h 158"/>
                <a:gd name="T4" fmla="*/ 96 w 142"/>
                <a:gd name="T5" fmla="*/ 28 h 158"/>
                <a:gd name="T6" fmla="*/ 96 w 142"/>
                <a:gd name="T7" fmla="*/ 36 h 158"/>
                <a:gd name="T8" fmla="*/ 100 w 142"/>
                <a:gd name="T9" fmla="*/ 40 h 158"/>
                <a:gd name="T10" fmla="*/ 104 w 142"/>
                <a:gd name="T11" fmla="*/ 42 h 158"/>
                <a:gd name="T12" fmla="*/ 106 w 142"/>
                <a:gd name="T13" fmla="*/ 48 h 158"/>
                <a:gd name="T14" fmla="*/ 106 w 142"/>
                <a:gd name="T15" fmla="*/ 54 h 158"/>
                <a:gd name="T16" fmla="*/ 110 w 142"/>
                <a:gd name="T17" fmla="*/ 54 h 158"/>
                <a:gd name="T18" fmla="*/ 114 w 142"/>
                <a:gd name="T19" fmla="*/ 54 h 158"/>
                <a:gd name="T20" fmla="*/ 116 w 142"/>
                <a:gd name="T21" fmla="*/ 54 h 158"/>
                <a:gd name="T22" fmla="*/ 118 w 142"/>
                <a:gd name="T23" fmla="*/ 60 h 158"/>
                <a:gd name="T24" fmla="*/ 120 w 142"/>
                <a:gd name="T25" fmla="*/ 68 h 158"/>
                <a:gd name="T26" fmla="*/ 122 w 142"/>
                <a:gd name="T27" fmla="*/ 70 h 158"/>
                <a:gd name="T28" fmla="*/ 128 w 142"/>
                <a:gd name="T29" fmla="*/ 72 h 158"/>
                <a:gd name="T30" fmla="*/ 142 w 142"/>
                <a:gd name="T31" fmla="*/ 78 h 158"/>
                <a:gd name="T32" fmla="*/ 138 w 142"/>
                <a:gd name="T33" fmla="*/ 86 h 158"/>
                <a:gd name="T34" fmla="*/ 130 w 142"/>
                <a:gd name="T35" fmla="*/ 92 h 158"/>
                <a:gd name="T36" fmla="*/ 122 w 142"/>
                <a:gd name="T37" fmla="*/ 100 h 158"/>
                <a:gd name="T38" fmla="*/ 118 w 142"/>
                <a:gd name="T39" fmla="*/ 104 h 158"/>
                <a:gd name="T40" fmla="*/ 110 w 142"/>
                <a:gd name="T41" fmla="*/ 106 h 158"/>
                <a:gd name="T42" fmla="*/ 108 w 142"/>
                <a:gd name="T43" fmla="*/ 110 h 158"/>
                <a:gd name="T44" fmla="*/ 106 w 142"/>
                <a:gd name="T45" fmla="*/ 120 h 158"/>
                <a:gd name="T46" fmla="*/ 106 w 142"/>
                <a:gd name="T47" fmla="*/ 122 h 158"/>
                <a:gd name="T48" fmla="*/ 100 w 142"/>
                <a:gd name="T49" fmla="*/ 124 h 158"/>
                <a:gd name="T50" fmla="*/ 96 w 142"/>
                <a:gd name="T51" fmla="*/ 124 h 158"/>
                <a:gd name="T52" fmla="*/ 92 w 142"/>
                <a:gd name="T53" fmla="*/ 132 h 158"/>
                <a:gd name="T54" fmla="*/ 86 w 142"/>
                <a:gd name="T55" fmla="*/ 138 h 158"/>
                <a:gd name="T56" fmla="*/ 82 w 142"/>
                <a:gd name="T57" fmla="*/ 142 h 158"/>
                <a:gd name="T58" fmla="*/ 74 w 142"/>
                <a:gd name="T59" fmla="*/ 144 h 158"/>
                <a:gd name="T60" fmla="*/ 68 w 142"/>
                <a:gd name="T61" fmla="*/ 142 h 158"/>
                <a:gd name="T62" fmla="*/ 60 w 142"/>
                <a:gd name="T63" fmla="*/ 138 h 158"/>
                <a:gd name="T64" fmla="*/ 54 w 142"/>
                <a:gd name="T65" fmla="*/ 136 h 158"/>
                <a:gd name="T66" fmla="*/ 50 w 142"/>
                <a:gd name="T67" fmla="*/ 138 h 158"/>
                <a:gd name="T68" fmla="*/ 46 w 142"/>
                <a:gd name="T69" fmla="*/ 142 h 158"/>
                <a:gd name="T70" fmla="*/ 42 w 142"/>
                <a:gd name="T71" fmla="*/ 150 h 158"/>
                <a:gd name="T72" fmla="*/ 40 w 142"/>
                <a:gd name="T73" fmla="*/ 154 h 158"/>
                <a:gd name="T74" fmla="*/ 34 w 142"/>
                <a:gd name="T75" fmla="*/ 158 h 158"/>
                <a:gd name="T76" fmla="*/ 26 w 142"/>
                <a:gd name="T77" fmla="*/ 158 h 158"/>
                <a:gd name="T78" fmla="*/ 14 w 142"/>
                <a:gd name="T79" fmla="*/ 156 h 158"/>
                <a:gd name="T80" fmla="*/ 12 w 142"/>
                <a:gd name="T81" fmla="*/ 152 h 158"/>
                <a:gd name="T82" fmla="*/ 10 w 142"/>
                <a:gd name="T83" fmla="*/ 142 h 158"/>
                <a:gd name="T84" fmla="*/ 8 w 142"/>
                <a:gd name="T85" fmla="*/ 138 h 158"/>
                <a:gd name="T86" fmla="*/ 2 w 142"/>
                <a:gd name="T87" fmla="*/ 118 h 158"/>
                <a:gd name="T88" fmla="*/ 0 w 142"/>
                <a:gd name="T89" fmla="*/ 98 h 158"/>
                <a:gd name="T90" fmla="*/ 2 w 142"/>
                <a:gd name="T91" fmla="*/ 84 h 158"/>
                <a:gd name="T92" fmla="*/ 4 w 142"/>
                <a:gd name="T93" fmla="*/ 80 h 158"/>
                <a:gd name="T94" fmla="*/ 8 w 142"/>
                <a:gd name="T95" fmla="*/ 78 h 158"/>
                <a:gd name="T96" fmla="*/ 14 w 142"/>
                <a:gd name="T97" fmla="*/ 74 h 158"/>
                <a:gd name="T98" fmla="*/ 18 w 142"/>
                <a:gd name="T99" fmla="*/ 72 h 158"/>
                <a:gd name="T100" fmla="*/ 20 w 142"/>
                <a:gd name="T101" fmla="*/ 64 h 158"/>
                <a:gd name="T102" fmla="*/ 20 w 142"/>
                <a:gd name="T103" fmla="*/ 46 h 158"/>
                <a:gd name="T104" fmla="*/ 18 w 142"/>
                <a:gd name="T105" fmla="*/ 26 h 158"/>
                <a:gd name="T106" fmla="*/ 20 w 142"/>
                <a:gd name="T107" fmla="*/ 16 h 158"/>
                <a:gd name="T108" fmla="*/ 42 w 142"/>
                <a:gd name="T10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2" h="158">
                  <a:moveTo>
                    <a:pt x="50" y="2"/>
                  </a:moveTo>
                  <a:lnTo>
                    <a:pt x="50" y="2"/>
                  </a:lnTo>
                  <a:lnTo>
                    <a:pt x="54" y="2"/>
                  </a:lnTo>
                  <a:lnTo>
                    <a:pt x="60" y="2"/>
                  </a:lnTo>
                  <a:lnTo>
                    <a:pt x="74" y="4"/>
                  </a:lnTo>
                  <a:lnTo>
                    <a:pt x="84" y="4"/>
                  </a:lnTo>
                  <a:lnTo>
                    <a:pt x="90" y="4"/>
                  </a:lnTo>
                  <a:lnTo>
                    <a:pt x="92" y="14"/>
                  </a:lnTo>
                  <a:lnTo>
                    <a:pt x="94" y="20"/>
                  </a:lnTo>
                  <a:lnTo>
                    <a:pt x="94" y="26"/>
                  </a:lnTo>
                  <a:lnTo>
                    <a:pt x="94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4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8" y="40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6" y="44"/>
                  </a:lnTo>
                  <a:lnTo>
                    <a:pt x="106" y="46"/>
                  </a:lnTo>
                  <a:lnTo>
                    <a:pt x="106" y="48"/>
                  </a:lnTo>
                  <a:lnTo>
                    <a:pt x="106" y="50"/>
                  </a:lnTo>
                  <a:lnTo>
                    <a:pt x="106" y="52"/>
                  </a:lnTo>
                  <a:lnTo>
                    <a:pt x="106" y="52"/>
                  </a:lnTo>
                  <a:lnTo>
                    <a:pt x="106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2" y="54"/>
                  </a:lnTo>
                  <a:lnTo>
                    <a:pt x="114" y="54"/>
                  </a:lnTo>
                  <a:lnTo>
                    <a:pt x="114" y="54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8" y="56"/>
                  </a:lnTo>
                  <a:lnTo>
                    <a:pt x="118" y="56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8" y="62"/>
                  </a:lnTo>
                  <a:lnTo>
                    <a:pt x="118" y="64"/>
                  </a:lnTo>
                  <a:lnTo>
                    <a:pt x="120" y="66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0"/>
                  </a:lnTo>
                  <a:lnTo>
                    <a:pt x="120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24" y="70"/>
                  </a:lnTo>
                  <a:lnTo>
                    <a:pt x="126" y="70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0" y="72"/>
                  </a:lnTo>
                  <a:lnTo>
                    <a:pt x="136" y="74"/>
                  </a:lnTo>
                  <a:lnTo>
                    <a:pt x="142" y="78"/>
                  </a:lnTo>
                  <a:lnTo>
                    <a:pt x="140" y="82"/>
                  </a:lnTo>
                  <a:lnTo>
                    <a:pt x="138" y="84"/>
                  </a:lnTo>
                  <a:lnTo>
                    <a:pt x="138" y="86"/>
                  </a:lnTo>
                  <a:lnTo>
                    <a:pt x="138" y="86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4" y="90"/>
                  </a:lnTo>
                  <a:lnTo>
                    <a:pt x="130" y="92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24" y="98"/>
                  </a:lnTo>
                  <a:lnTo>
                    <a:pt x="122" y="100"/>
                  </a:lnTo>
                  <a:lnTo>
                    <a:pt x="122" y="102"/>
                  </a:lnTo>
                  <a:lnTo>
                    <a:pt x="120" y="102"/>
                  </a:lnTo>
                  <a:lnTo>
                    <a:pt x="120" y="102"/>
                  </a:lnTo>
                  <a:lnTo>
                    <a:pt x="118" y="104"/>
                  </a:lnTo>
                  <a:lnTo>
                    <a:pt x="114" y="104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10" y="106"/>
                  </a:lnTo>
                  <a:lnTo>
                    <a:pt x="110" y="108"/>
                  </a:lnTo>
                  <a:lnTo>
                    <a:pt x="108" y="108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2"/>
                  </a:lnTo>
                  <a:lnTo>
                    <a:pt x="108" y="116"/>
                  </a:lnTo>
                  <a:lnTo>
                    <a:pt x="108" y="118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6" y="122"/>
                  </a:lnTo>
                  <a:lnTo>
                    <a:pt x="104" y="122"/>
                  </a:lnTo>
                  <a:lnTo>
                    <a:pt x="104" y="122"/>
                  </a:lnTo>
                  <a:lnTo>
                    <a:pt x="102" y="122"/>
                  </a:lnTo>
                  <a:lnTo>
                    <a:pt x="100" y="124"/>
                  </a:lnTo>
                  <a:lnTo>
                    <a:pt x="98" y="124"/>
                  </a:lnTo>
                  <a:lnTo>
                    <a:pt x="96" y="124"/>
                  </a:lnTo>
                  <a:lnTo>
                    <a:pt x="96" y="124"/>
                  </a:lnTo>
                  <a:lnTo>
                    <a:pt x="96" y="124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0" y="132"/>
                  </a:lnTo>
                  <a:lnTo>
                    <a:pt x="90" y="134"/>
                  </a:lnTo>
                  <a:lnTo>
                    <a:pt x="88" y="136"/>
                  </a:lnTo>
                  <a:lnTo>
                    <a:pt x="86" y="138"/>
                  </a:lnTo>
                  <a:lnTo>
                    <a:pt x="84" y="140"/>
                  </a:lnTo>
                  <a:lnTo>
                    <a:pt x="84" y="140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0" y="142"/>
                  </a:lnTo>
                  <a:lnTo>
                    <a:pt x="78" y="144"/>
                  </a:lnTo>
                  <a:lnTo>
                    <a:pt x="76" y="144"/>
                  </a:lnTo>
                  <a:lnTo>
                    <a:pt x="74" y="144"/>
                  </a:lnTo>
                  <a:lnTo>
                    <a:pt x="72" y="144"/>
                  </a:lnTo>
                  <a:lnTo>
                    <a:pt x="70" y="142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6" y="142"/>
                  </a:lnTo>
                  <a:lnTo>
                    <a:pt x="66" y="142"/>
                  </a:lnTo>
                  <a:lnTo>
                    <a:pt x="62" y="140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58" y="136"/>
                  </a:lnTo>
                  <a:lnTo>
                    <a:pt x="56" y="136"/>
                  </a:lnTo>
                  <a:lnTo>
                    <a:pt x="54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50" y="136"/>
                  </a:lnTo>
                  <a:lnTo>
                    <a:pt x="50" y="138"/>
                  </a:lnTo>
                  <a:lnTo>
                    <a:pt x="48" y="138"/>
                  </a:lnTo>
                  <a:lnTo>
                    <a:pt x="48" y="138"/>
                  </a:lnTo>
                  <a:lnTo>
                    <a:pt x="46" y="140"/>
                  </a:lnTo>
                  <a:lnTo>
                    <a:pt x="46" y="142"/>
                  </a:lnTo>
                  <a:lnTo>
                    <a:pt x="44" y="144"/>
                  </a:lnTo>
                  <a:lnTo>
                    <a:pt x="44" y="146"/>
                  </a:lnTo>
                  <a:lnTo>
                    <a:pt x="44" y="146"/>
                  </a:lnTo>
                  <a:lnTo>
                    <a:pt x="42" y="150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0" y="154"/>
                  </a:lnTo>
                  <a:lnTo>
                    <a:pt x="40" y="154"/>
                  </a:lnTo>
                  <a:lnTo>
                    <a:pt x="40" y="156"/>
                  </a:lnTo>
                  <a:lnTo>
                    <a:pt x="38" y="156"/>
                  </a:lnTo>
                  <a:lnTo>
                    <a:pt x="34" y="158"/>
                  </a:lnTo>
                  <a:lnTo>
                    <a:pt x="34" y="158"/>
                  </a:lnTo>
                  <a:lnTo>
                    <a:pt x="32" y="158"/>
                  </a:lnTo>
                  <a:lnTo>
                    <a:pt x="30" y="158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8" y="156"/>
                  </a:lnTo>
                  <a:lnTo>
                    <a:pt x="14" y="156"/>
                  </a:lnTo>
                  <a:lnTo>
                    <a:pt x="14" y="154"/>
                  </a:lnTo>
                  <a:lnTo>
                    <a:pt x="14" y="154"/>
                  </a:lnTo>
                  <a:lnTo>
                    <a:pt x="12" y="154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2" y="146"/>
                  </a:lnTo>
                  <a:lnTo>
                    <a:pt x="10" y="142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6" y="136"/>
                  </a:lnTo>
                  <a:lnTo>
                    <a:pt x="4" y="132"/>
                  </a:lnTo>
                  <a:lnTo>
                    <a:pt x="2" y="126"/>
                  </a:lnTo>
                  <a:lnTo>
                    <a:pt x="2" y="118"/>
                  </a:lnTo>
                  <a:lnTo>
                    <a:pt x="0" y="110"/>
                  </a:lnTo>
                  <a:lnTo>
                    <a:pt x="0" y="106"/>
                  </a:lnTo>
                  <a:lnTo>
                    <a:pt x="0" y="102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2" y="84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2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2" y="76"/>
                  </a:lnTo>
                  <a:lnTo>
                    <a:pt x="14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0"/>
                  </a:lnTo>
                  <a:lnTo>
                    <a:pt x="20" y="70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2"/>
                  </a:lnTo>
                  <a:lnTo>
                    <a:pt x="20" y="58"/>
                  </a:lnTo>
                  <a:lnTo>
                    <a:pt x="20" y="54"/>
                  </a:lnTo>
                  <a:lnTo>
                    <a:pt x="20" y="46"/>
                  </a:lnTo>
                  <a:lnTo>
                    <a:pt x="18" y="40"/>
                  </a:lnTo>
                  <a:lnTo>
                    <a:pt x="18" y="32"/>
                  </a:lnTo>
                  <a:lnTo>
                    <a:pt x="18" y="28"/>
                  </a:lnTo>
                  <a:lnTo>
                    <a:pt x="18" y="26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2" y="12"/>
                  </a:lnTo>
                  <a:lnTo>
                    <a:pt x="26" y="8"/>
                  </a:lnTo>
                  <a:lnTo>
                    <a:pt x="26" y="6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48" y="2"/>
                  </a:lnTo>
                  <a:lnTo>
                    <a:pt x="50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67" name="Freeform 386">
              <a:extLst>
                <a:ext uri="{FF2B5EF4-FFF2-40B4-BE49-F238E27FC236}">
                  <a16:creationId xmlns:a16="http://schemas.microsoft.com/office/drawing/2014/main" id="{190A9ECE-E785-4FF3-A156-6AA44D40D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288" y="4373746"/>
              <a:ext cx="37586" cy="120347"/>
            </a:xfrm>
            <a:custGeom>
              <a:avLst/>
              <a:gdLst>
                <a:gd name="T0" fmla="*/ 14 w 22"/>
                <a:gd name="T1" fmla="*/ 72 h 72"/>
                <a:gd name="T2" fmla="*/ 14 w 22"/>
                <a:gd name="T3" fmla="*/ 72 h 72"/>
                <a:gd name="T4" fmla="*/ 12 w 22"/>
                <a:gd name="T5" fmla="*/ 64 h 72"/>
                <a:gd name="T6" fmla="*/ 10 w 22"/>
                <a:gd name="T7" fmla="*/ 58 h 72"/>
                <a:gd name="T8" fmla="*/ 8 w 22"/>
                <a:gd name="T9" fmla="*/ 52 h 72"/>
                <a:gd name="T10" fmla="*/ 8 w 22"/>
                <a:gd name="T11" fmla="*/ 48 h 72"/>
                <a:gd name="T12" fmla="*/ 6 w 22"/>
                <a:gd name="T13" fmla="*/ 42 h 72"/>
                <a:gd name="T14" fmla="*/ 6 w 22"/>
                <a:gd name="T15" fmla="*/ 38 h 72"/>
                <a:gd name="T16" fmla="*/ 6 w 22"/>
                <a:gd name="T17" fmla="*/ 32 h 72"/>
                <a:gd name="T18" fmla="*/ 6 w 22"/>
                <a:gd name="T19" fmla="*/ 32 h 72"/>
                <a:gd name="T20" fmla="*/ 6 w 22"/>
                <a:gd name="T21" fmla="*/ 30 h 72"/>
                <a:gd name="T22" fmla="*/ 8 w 22"/>
                <a:gd name="T23" fmla="*/ 26 h 72"/>
                <a:gd name="T24" fmla="*/ 8 w 22"/>
                <a:gd name="T25" fmla="*/ 24 h 72"/>
                <a:gd name="T26" fmla="*/ 8 w 22"/>
                <a:gd name="T27" fmla="*/ 22 h 72"/>
                <a:gd name="T28" fmla="*/ 8 w 22"/>
                <a:gd name="T29" fmla="*/ 20 h 72"/>
                <a:gd name="T30" fmla="*/ 8 w 22"/>
                <a:gd name="T31" fmla="*/ 20 h 72"/>
                <a:gd name="T32" fmla="*/ 8 w 22"/>
                <a:gd name="T33" fmla="*/ 20 h 72"/>
                <a:gd name="T34" fmla="*/ 6 w 22"/>
                <a:gd name="T35" fmla="*/ 20 h 72"/>
                <a:gd name="T36" fmla="*/ 6 w 22"/>
                <a:gd name="T37" fmla="*/ 18 h 72"/>
                <a:gd name="T38" fmla="*/ 4 w 22"/>
                <a:gd name="T39" fmla="*/ 18 h 72"/>
                <a:gd name="T40" fmla="*/ 2 w 22"/>
                <a:gd name="T41" fmla="*/ 16 h 72"/>
                <a:gd name="T42" fmla="*/ 2 w 22"/>
                <a:gd name="T43" fmla="*/ 16 h 72"/>
                <a:gd name="T44" fmla="*/ 0 w 22"/>
                <a:gd name="T45" fmla="*/ 16 h 72"/>
                <a:gd name="T46" fmla="*/ 0 w 22"/>
                <a:gd name="T47" fmla="*/ 16 h 72"/>
                <a:gd name="T48" fmla="*/ 0 w 22"/>
                <a:gd name="T49" fmla="*/ 14 h 72"/>
                <a:gd name="T50" fmla="*/ 0 w 22"/>
                <a:gd name="T51" fmla="*/ 12 h 72"/>
                <a:gd name="T52" fmla="*/ 0 w 22"/>
                <a:gd name="T53" fmla="*/ 10 h 72"/>
                <a:gd name="T54" fmla="*/ 0 w 22"/>
                <a:gd name="T55" fmla="*/ 8 h 72"/>
                <a:gd name="T56" fmla="*/ 0 w 22"/>
                <a:gd name="T57" fmla="*/ 4 h 72"/>
                <a:gd name="T58" fmla="*/ 0 w 22"/>
                <a:gd name="T59" fmla="*/ 2 h 72"/>
                <a:gd name="T60" fmla="*/ 6 w 22"/>
                <a:gd name="T61" fmla="*/ 0 h 72"/>
                <a:gd name="T62" fmla="*/ 10 w 22"/>
                <a:gd name="T63" fmla="*/ 4 h 72"/>
                <a:gd name="T64" fmla="*/ 12 w 22"/>
                <a:gd name="T65" fmla="*/ 8 h 72"/>
                <a:gd name="T66" fmla="*/ 12 w 22"/>
                <a:gd name="T67" fmla="*/ 10 h 72"/>
                <a:gd name="T68" fmla="*/ 12 w 22"/>
                <a:gd name="T69" fmla="*/ 10 h 72"/>
                <a:gd name="T70" fmla="*/ 14 w 22"/>
                <a:gd name="T71" fmla="*/ 12 h 72"/>
                <a:gd name="T72" fmla="*/ 14 w 22"/>
                <a:gd name="T73" fmla="*/ 14 h 72"/>
                <a:gd name="T74" fmla="*/ 14 w 22"/>
                <a:gd name="T75" fmla="*/ 20 h 72"/>
                <a:gd name="T76" fmla="*/ 16 w 22"/>
                <a:gd name="T77" fmla="*/ 26 h 72"/>
                <a:gd name="T78" fmla="*/ 16 w 22"/>
                <a:gd name="T79" fmla="*/ 30 h 72"/>
                <a:gd name="T80" fmla="*/ 16 w 22"/>
                <a:gd name="T81" fmla="*/ 36 h 72"/>
                <a:gd name="T82" fmla="*/ 16 w 22"/>
                <a:gd name="T83" fmla="*/ 40 h 72"/>
                <a:gd name="T84" fmla="*/ 18 w 22"/>
                <a:gd name="T85" fmla="*/ 46 h 72"/>
                <a:gd name="T86" fmla="*/ 18 w 22"/>
                <a:gd name="T87" fmla="*/ 48 h 72"/>
                <a:gd name="T88" fmla="*/ 18 w 22"/>
                <a:gd name="T89" fmla="*/ 50 h 72"/>
                <a:gd name="T90" fmla="*/ 18 w 22"/>
                <a:gd name="T91" fmla="*/ 52 h 72"/>
                <a:gd name="T92" fmla="*/ 18 w 22"/>
                <a:gd name="T93" fmla="*/ 54 h 72"/>
                <a:gd name="T94" fmla="*/ 20 w 22"/>
                <a:gd name="T95" fmla="*/ 62 h 72"/>
                <a:gd name="T96" fmla="*/ 22 w 22"/>
                <a:gd name="T97" fmla="*/ 68 h 72"/>
                <a:gd name="T98" fmla="*/ 14 w 22"/>
                <a:gd name="T9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" h="72">
                  <a:moveTo>
                    <a:pt x="14" y="72"/>
                  </a:moveTo>
                  <a:lnTo>
                    <a:pt x="14" y="72"/>
                  </a:lnTo>
                  <a:lnTo>
                    <a:pt x="12" y="64"/>
                  </a:lnTo>
                  <a:lnTo>
                    <a:pt x="10" y="58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6" y="42"/>
                  </a:lnTo>
                  <a:lnTo>
                    <a:pt x="6" y="38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8" y="26"/>
                  </a:lnTo>
                  <a:lnTo>
                    <a:pt x="8" y="24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2"/>
                  </a:lnTo>
                  <a:lnTo>
                    <a:pt x="6" y="0"/>
                  </a:lnTo>
                  <a:lnTo>
                    <a:pt x="10" y="4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20"/>
                  </a:lnTo>
                  <a:lnTo>
                    <a:pt x="16" y="26"/>
                  </a:lnTo>
                  <a:lnTo>
                    <a:pt x="16" y="30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2"/>
                  </a:lnTo>
                  <a:lnTo>
                    <a:pt x="18" y="54"/>
                  </a:lnTo>
                  <a:lnTo>
                    <a:pt x="20" y="62"/>
                  </a:lnTo>
                  <a:lnTo>
                    <a:pt x="22" y="68"/>
                  </a:lnTo>
                  <a:lnTo>
                    <a:pt x="14" y="7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68" name="Freeform 388">
              <a:extLst>
                <a:ext uri="{FF2B5EF4-FFF2-40B4-BE49-F238E27FC236}">
                  <a16:creationId xmlns:a16="http://schemas.microsoft.com/office/drawing/2014/main" id="{F70BDA5D-7B38-48E1-8435-7B52633D5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772" y="4427235"/>
              <a:ext cx="112756" cy="123692"/>
            </a:xfrm>
            <a:custGeom>
              <a:avLst/>
              <a:gdLst>
                <a:gd name="T0" fmla="*/ 14 w 66"/>
                <a:gd name="T1" fmla="*/ 0 h 74"/>
                <a:gd name="T2" fmla="*/ 16 w 66"/>
                <a:gd name="T3" fmla="*/ 8 h 74"/>
                <a:gd name="T4" fmla="*/ 20 w 66"/>
                <a:gd name="T5" fmla="*/ 14 h 74"/>
                <a:gd name="T6" fmla="*/ 22 w 66"/>
                <a:gd name="T7" fmla="*/ 18 h 74"/>
                <a:gd name="T8" fmla="*/ 24 w 66"/>
                <a:gd name="T9" fmla="*/ 20 h 74"/>
                <a:gd name="T10" fmla="*/ 26 w 66"/>
                <a:gd name="T11" fmla="*/ 20 h 74"/>
                <a:gd name="T12" fmla="*/ 32 w 66"/>
                <a:gd name="T13" fmla="*/ 22 h 74"/>
                <a:gd name="T14" fmla="*/ 34 w 66"/>
                <a:gd name="T15" fmla="*/ 24 h 74"/>
                <a:gd name="T16" fmla="*/ 36 w 66"/>
                <a:gd name="T17" fmla="*/ 30 h 74"/>
                <a:gd name="T18" fmla="*/ 36 w 66"/>
                <a:gd name="T19" fmla="*/ 34 h 74"/>
                <a:gd name="T20" fmla="*/ 38 w 66"/>
                <a:gd name="T21" fmla="*/ 36 h 74"/>
                <a:gd name="T22" fmla="*/ 40 w 66"/>
                <a:gd name="T23" fmla="*/ 36 h 74"/>
                <a:gd name="T24" fmla="*/ 44 w 66"/>
                <a:gd name="T25" fmla="*/ 36 h 74"/>
                <a:gd name="T26" fmla="*/ 46 w 66"/>
                <a:gd name="T27" fmla="*/ 38 h 74"/>
                <a:gd name="T28" fmla="*/ 46 w 66"/>
                <a:gd name="T29" fmla="*/ 38 h 74"/>
                <a:gd name="T30" fmla="*/ 48 w 66"/>
                <a:gd name="T31" fmla="*/ 40 h 74"/>
                <a:gd name="T32" fmla="*/ 48 w 66"/>
                <a:gd name="T33" fmla="*/ 42 h 74"/>
                <a:gd name="T34" fmla="*/ 48 w 66"/>
                <a:gd name="T35" fmla="*/ 46 h 74"/>
                <a:gd name="T36" fmla="*/ 48 w 66"/>
                <a:gd name="T37" fmla="*/ 50 h 74"/>
                <a:gd name="T38" fmla="*/ 48 w 66"/>
                <a:gd name="T39" fmla="*/ 52 h 74"/>
                <a:gd name="T40" fmla="*/ 48 w 66"/>
                <a:gd name="T41" fmla="*/ 54 h 74"/>
                <a:gd name="T42" fmla="*/ 50 w 66"/>
                <a:gd name="T43" fmla="*/ 56 h 74"/>
                <a:gd name="T44" fmla="*/ 56 w 66"/>
                <a:gd name="T45" fmla="*/ 58 h 74"/>
                <a:gd name="T46" fmla="*/ 64 w 66"/>
                <a:gd name="T47" fmla="*/ 60 h 74"/>
                <a:gd name="T48" fmla="*/ 64 w 66"/>
                <a:gd name="T49" fmla="*/ 64 h 74"/>
                <a:gd name="T50" fmla="*/ 62 w 66"/>
                <a:gd name="T51" fmla="*/ 68 h 74"/>
                <a:gd name="T52" fmla="*/ 62 w 66"/>
                <a:gd name="T53" fmla="*/ 70 h 74"/>
                <a:gd name="T54" fmla="*/ 58 w 66"/>
                <a:gd name="T55" fmla="*/ 72 h 74"/>
                <a:gd name="T56" fmla="*/ 56 w 66"/>
                <a:gd name="T57" fmla="*/ 74 h 74"/>
                <a:gd name="T58" fmla="*/ 54 w 66"/>
                <a:gd name="T59" fmla="*/ 74 h 74"/>
                <a:gd name="T60" fmla="*/ 52 w 66"/>
                <a:gd name="T61" fmla="*/ 74 h 74"/>
                <a:gd name="T62" fmla="*/ 48 w 66"/>
                <a:gd name="T63" fmla="*/ 74 h 74"/>
                <a:gd name="T64" fmla="*/ 42 w 66"/>
                <a:gd name="T65" fmla="*/ 72 h 74"/>
                <a:gd name="T66" fmla="*/ 38 w 66"/>
                <a:gd name="T67" fmla="*/ 70 h 74"/>
                <a:gd name="T68" fmla="*/ 34 w 66"/>
                <a:gd name="T69" fmla="*/ 68 h 74"/>
                <a:gd name="T70" fmla="*/ 28 w 66"/>
                <a:gd name="T71" fmla="*/ 62 h 74"/>
                <a:gd name="T72" fmla="*/ 22 w 66"/>
                <a:gd name="T73" fmla="*/ 56 h 74"/>
                <a:gd name="T74" fmla="*/ 14 w 66"/>
                <a:gd name="T75" fmla="*/ 46 h 74"/>
                <a:gd name="T76" fmla="*/ 4 w 66"/>
                <a:gd name="T77" fmla="*/ 3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6" h="74">
                  <a:moveTo>
                    <a:pt x="0" y="28"/>
                  </a:moveTo>
                  <a:lnTo>
                    <a:pt x="14" y="0"/>
                  </a:lnTo>
                  <a:lnTo>
                    <a:pt x="14" y="4"/>
                  </a:lnTo>
                  <a:lnTo>
                    <a:pt x="16" y="8"/>
                  </a:lnTo>
                  <a:lnTo>
                    <a:pt x="18" y="12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6" y="20"/>
                  </a:lnTo>
                  <a:lnTo>
                    <a:pt x="28" y="20"/>
                  </a:lnTo>
                  <a:lnTo>
                    <a:pt x="32" y="22"/>
                  </a:lnTo>
                  <a:lnTo>
                    <a:pt x="34" y="22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0"/>
                  </a:lnTo>
                  <a:lnTo>
                    <a:pt x="36" y="32"/>
                  </a:lnTo>
                  <a:lnTo>
                    <a:pt x="36" y="34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4" y="36"/>
                  </a:lnTo>
                  <a:lnTo>
                    <a:pt x="44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2"/>
                  </a:lnTo>
                  <a:lnTo>
                    <a:pt x="48" y="44"/>
                  </a:lnTo>
                  <a:lnTo>
                    <a:pt x="48" y="46"/>
                  </a:lnTo>
                  <a:lnTo>
                    <a:pt x="48" y="48"/>
                  </a:lnTo>
                  <a:lnTo>
                    <a:pt x="48" y="50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50" y="54"/>
                  </a:lnTo>
                  <a:lnTo>
                    <a:pt x="50" y="56"/>
                  </a:lnTo>
                  <a:lnTo>
                    <a:pt x="52" y="56"/>
                  </a:lnTo>
                  <a:lnTo>
                    <a:pt x="56" y="58"/>
                  </a:lnTo>
                  <a:lnTo>
                    <a:pt x="58" y="58"/>
                  </a:lnTo>
                  <a:lnTo>
                    <a:pt x="64" y="60"/>
                  </a:lnTo>
                  <a:lnTo>
                    <a:pt x="66" y="60"/>
                  </a:lnTo>
                  <a:lnTo>
                    <a:pt x="64" y="64"/>
                  </a:lnTo>
                  <a:lnTo>
                    <a:pt x="64" y="66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0" y="70"/>
                  </a:lnTo>
                  <a:lnTo>
                    <a:pt x="58" y="72"/>
                  </a:lnTo>
                  <a:lnTo>
                    <a:pt x="58" y="74"/>
                  </a:lnTo>
                  <a:lnTo>
                    <a:pt x="56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0" y="74"/>
                  </a:lnTo>
                  <a:lnTo>
                    <a:pt x="48" y="74"/>
                  </a:lnTo>
                  <a:lnTo>
                    <a:pt x="44" y="74"/>
                  </a:lnTo>
                  <a:lnTo>
                    <a:pt x="42" y="72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6" y="70"/>
                  </a:lnTo>
                  <a:lnTo>
                    <a:pt x="34" y="68"/>
                  </a:lnTo>
                  <a:lnTo>
                    <a:pt x="32" y="66"/>
                  </a:lnTo>
                  <a:lnTo>
                    <a:pt x="28" y="62"/>
                  </a:lnTo>
                  <a:lnTo>
                    <a:pt x="26" y="60"/>
                  </a:lnTo>
                  <a:lnTo>
                    <a:pt x="22" y="56"/>
                  </a:lnTo>
                  <a:lnTo>
                    <a:pt x="20" y="52"/>
                  </a:lnTo>
                  <a:lnTo>
                    <a:pt x="14" y="46"/>
                  </a:lnTo>
                  <a:lnTo>
                    <a:pt x="8" y="38"/>
                  </a:lnTo>
                  <a:lnTo>
                    <a:pt x="4" y="32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69" name="Freeform 390">
              <a:extLst>
                <a:ext uri="{FF2B5EF4-FFF2-40B4-BE49-F238E27FC236}">
                  <a16:creationId xmlns:a16="http://schemas.microsoft.com/office/drawing/2014/main" id="{7198D449-028C-4510-B33C-1C444F789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821" y="5082461"/>
              <a:ext cx="184510" cy="213952"/>
            </a:xfrm>
            <a:custGeom>
              <a:avLst/>
              <a:gdLst>
                <a:gd name="T0" fmla="*/ 64 w 108"/>
                <a:gd name="T1" fmla="*/ 4 h 128"/>
                <a:gd name="T2" fmla="*/ 60 w 108"/>
                <a:gd name="T3" fmla="*/ 10 h 128"/>
                <a:gd name="T4" fmla="*/ 54 w 108"/>
                <a:gd name="T5" fmla="*/ 10 h 128"/>
                <a:gd name="T6" fmla="*/ 48 w 108"/>
                <a:gd name="T7" fmla="*/ 10 h 128"/>
                <a:gd name="T8" fmla="*/ 48 w 108"/>
                <a:gd name="T9" fmla="*/ 14 h 128"/>
                <a:gd name="T10" fmla="*/ 46 w 108"/>
                <a:gd name="T11" fmla="*/ 20 h 128"/>
                <a:gd name="T12" fmla="*/ 44 w 108"/>
                <a:gd name="T13" fmla="*/ 24 h 128"/>
                <a:gd name="T14" fmla="*/ 40 w 108"/>
                <a:gd name="T15" fmla="*/ 26 h 128"/>
                <a:gd name="T16" fmla="*/ 34 w 108"/>
                <a:gd name="T17" fmla="*/ 26 h 128"/>
                <a:gd name="T18" fmla="*/ 32 w 108"/>
                <a:gd name="T19" fmla="*/ 30 h 128"/>
                <a:gd name="T20" fmla="*/ 32 w 108"/>
                <a:gd name="T21" fmla="*/ 36 h 128"/>
                <a:gd name="T22" fmla="*/ 30 w 108"/>
                <a:gd name="T23" fmla="*/ 38 h 128"/>
                <a:gd name="T24" fmla="*/ 24 w 108"/>
                <a:gd name="T25" fmla="*/ 40 h 128"/>
                <a:gd name="T26" fmla="*/ 12 w 108"/>
                <a:gd name="T27" fmla="*/ 40 h 128"/>
                <a:gd name="T28" fmla="*/ 4 w 108"/>
                <a:gd name="T29" fmla="*/ 42 h 128"/>
                <a:gd name="T30" fmla="*/ 6 w 108"/>
                <a:gd name="T31" fmla="*/ 66 h 128"/>
                <a:gd name="T32" fmla="*/ 6 w 108"/>
                <a:gd name="T33" fmla="*/ 74 h 128"/>
                <a:gd name="T34" fmla="*/ 8 w 108"/>
                <a:gd name="T35" fmla="*/ 78 h 128"/>
                <a:gd name="T36" fmla="*/ 16 w 108"/>
                <a:gd name="T37" fmla="*/ 80 h 128"/>
                <a:gd name="T38" fmla="*/ 18 w 108"/>
                <a:gd name="T39" fmla="*/ 84 h 128"/>
                <a:gd name="T40" fmla="*/ 18 w 108"/>
                <a:gd name="T41" fmla="*/ 90 h 128"/>
                <a:gd name="T42" fmla="*/ 20 w 108"/>
                <a:gd name="T43" fmla="*/ 94 h 128"/>
                <a:gd name="T44" fmla="*/ 24 w 108"/>
                <a:gd name="T45" fmla="*/ 94 h 128"/>
                <a:gd name="T46" fmla="*/ 28 w 108"/>
                <a:gd name="T47" fmla="*/ 94 h 128"/>
                <a:gd name="T48" fmla="*/ 30 w 108"/>
                <a:gd name="T49" fmla="*/ 96 h 128"/>
                <a:gd name="T50" fmla="*/ 30 w 108"/>
                <a:gd name="T51" fmla="*/ 104 h 128"/>
                <a:gd name="T52" fmla="*/ 32 w 108"/>
                <a:gd name="T53" fmla="*/ 110 h 128"/>
                <a:gd name="T54" fmla="*/ 36 w 108"/>
                <a:gd name="T55" fmla="*/ 110 h 128"/>
                <a:gd name="T56" fmla="*/ 42 w 108"/>
                <a:gd name="T57" fmla="*/ 112 h 128"/>
                <a:gd name="T58" fmla="*/ 60 w 108"/>
                <a:gd name="T59" fmla="*/ 120 h 128"/>
                <a:gd name="T60" fmla="*/ 64 w 108"/>
                <a:gd name="T61" fmla="*/ 122 h 128"/>
                <a:gd name="T62" fmla="*/ 68 w 108"/>
                <a:gd name="T63" fmla="*/ 126 h 128"/>
                <a:gd name="T64" fmla="*/ 74 w 108"/>
                <a:gd name="T65" fmla="*/ 128 h 128"/>
                <a:gd name="T66" fmla="*/ 84 w 108"/>
                <a:gd name="T67" fmla="*/ 126 h 128"/>
                <a:gd name="T68" fmla="*/ 86 w 108"/>
                <a:gd name="T69" fmla="*/ 116 h 128"/>
                <a:gd name="T70" fmla="*/ 90 w 108"/>
                <a:gd name="T71" fmla="*/ 112 h 128"/>
                <a:gd name="T72" fmla="*/ 94 w 108"/>
                <a:gd name="T73" fmla="*/ 110 h 128"/>
                <a:gd name="T74" fmla="*/ 96 w 108"/>
                <a:gd name="T75" fmla="*/ 106 h 128"/>
                <a:gd name="T76" fmla="*/ 94 w 108"/>
                <a:gd name="T77" fmla="*/ 96 h 128"/>
                <a:gd name="T78" fmla="*/ 94 w 108"/>
                <a:gd name="T79" fmla="*/ 90 h 128"/>
                <a:gd name="T80" fmla="*/ 98 w 108"/>
                <a:gd name="T81" fmla="*/ 88 h 128"/>
                <a:gd name="T82" fmla="*/ 106 w 108"/>
                <a:gd name="T83" fmla="*/ 82 h 128"/>
                <a:gd name="T84" fmla="*/ 108 w 108"/>
                <a:gd name="T85" fmla="*/ 78 h 128"/>
                <a:gd name="T86" fmla="*/ 108 w 108"/>
                <a:gd name="T87" fmla="*/ 74 h 128"/>
                <a:gd name="T88" fmla="*/ 104 w 108"/>
                <a:gd name="T89" fmla="*/ 64 h 128"/>
                <a:gd name="T90" fmla="*/ 102 w 108"/>
                <a:gd name="T91" fmla="*/ 56 h 128"/>
                <a:gd name="T92" fmla="*/ 106 w 108"/>
                <a:gd name="T93" fmla="*/ 42 h 128"/>
                <a:gd name="T94" fmla="*/ 108 w 108"/>
                <a:gd name="T95" fmla="*/ 34 h 128"/>
                <a:gd name="T96" fmla="*/ 106 w 108"/>
                <a:gd name="T97" fmla="*/ 26 h 128"/>
                <a:gd name="T98" fmla="*/ 102 w 108"/>
                <a:gd name="T99" fmla="*/ 20 h 128"/>
                <a:gd name="T100" fmla="*/ 96 w 108"/>
                <a:gd name="T101" fmla="*/ 16 h 128"/>
                <a:gd name="T102" fmla="*/ 86 w 108"/>
                <a:gd name="T103" fmla="*/ 16 h 128"/>
                <a:gd name="T104" fmla="*/ 80 w 108"/>
                <a:gd name="T105" fmla="*/ 14 h 128"/>
                <a:gd name="T106" fmla="*/ 78 w 108"/>
                <a:gd name="T107" fmla="*/ 12 h 128"/>
                <a:gd name="T108" fmla="*/ 74 w 108"/>
                <a:gd name="T109" fmla="*/ 6 h 128"/>
                <a:gd name="T110" fmla="*/ 72 w 108"/>
                <a:gd name="T111" fmla="*/ 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8" h="128">
                  <a:moveTo>
                    <a:pt x="66" y="0"/>
                  </a:moveTo>
                  <a:lnTo>
                    <a:pt x="66" y="0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6" y="10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46" y="14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2" y="32"/>
                  </a:lnTo>
                  <a:lnTo>
                    <a:pt x="32" y="34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2" y="40"/>
                  </a:lnTo>
                  <a:lnTo>
                    <a:pt x="20" y="42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8" y="42"/>
                  </a:lnTo>
                  <a:lnTo>
                    <a:pt x="4" y="42"/>
                  </a:lnTo>
                  <a:lnTo>
                    <a:pt x="0" y="44"/>
                  </a:lnTo>
                  <a:lnTo>
                    <a:pt x="4" y="52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72"/>
                  </a:lnTo>
                  <a:lnTo>
                    <a:pt x="6" y="74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2" y="80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8" y="84"/>
                  </a:lnTo>
                  <a:lnTo>
                    <a:pt x="18" y="86"/>
                  </a:lnTo>
                  <a:lnTo>
                    <a:pt x="18" y="88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4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100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6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6" y="110"/>
                  </a:lnTo>
                  <a:lnTo>
                    <a:pt x="38" y="110"/>
                  </a:lnTo>
                  <a:lnTo>
                    <a:pt x="40" y="110"/>
                  </a:lnTo>
                  <a:lnTo>
                    <a:pt x="40" y="112"/>
                  </a:lnTo>
                  <a:lnTo>
                    <a:pt x="42" y="112"/>
                  </a:lnTo>
                  <a:lnTo>
                    <a:pt x="48" y="114"/>
                  </a:lnTo>
                  <a:lnTo>
                    <a:pt x="54" y="118"/>
                  </a:lnTo>
                  <a:lnTo>
                    <a:pt x="58" y="118"/>
                  </a:lnTo>
                  <a:lnTo>
                    <a:pt x="60" y="120"/>
                  </a:lnTo>
                  <a:lnTo>
                    <a:pt x="62" y="122"/>
                  </a:lnTo>
                  <a:lnTo>
                    <a:pt x="64" y="122"/>
                  </a:lnTo>
                  <a:lnTo>
                    <a:pt x="64" y="122"/>
                  </a:lnTo>
                  <a:lnTo>
                    <a:pt x="64" y="122"/>
                  </a:lnTo>
                  <a:lnTo>
                    <a:pt x="66" y="124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8" y="126"/>
                  </a:lnTo>
                  <a:lnTo>
                    <a:pt x="68" y="128"/>
                  </a:lnTo>
                  <a:lnTo>
                    <a:pt x="70" y="128"/>
                  </a:lnTo>
                  <a:lnTo>
                    <a:pt x="72" y="128"/>
                  </a:lnTo>
                  <a:lnTo>
                    <a:pt x="74" y="128"/>
                  </a:lnTo>
                  <a:lnTo>
                    <a:pt x="76" y="128"/>
                  </a:lnTo>
                  <a:lnTo>
                    <a:pt x="82" y="126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84" y="122"/>
                  </a:lnTo>
                  <a:lnTo>
                    <a:pt x="84" y="120"/>
                  </a:lnTo>
                  <a:lnTo>
                    <a:pt x="86" y="118"/>
                  </a:lnTo>
                  <a:lnTo>
                    <a:pt x="86" y="116"/>
                  </a:lnTo>
                  <a:lnTo>
                    <a:pt x="86" y="116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90" y="112"/>
                  </a:lnTo>
                  <a:lnTo>
                    <a:pt x="92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6" y="110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6"/>
                  </a:lnTo>
                  <a:lnTo>
                    <a:pt x="94" y="104"/>
                  </a:lnTo>
                  <a:lnTo>
                    <a:pt x="94" y="100"/>
                  </a:lnTo>
                  <a:lnTo>
                    <a:pt x="94" y="98"/>
                  </a:lnTo>
                  <a:lnTo>
                    <a:pt x="94" y="96"/>
                  </a:lnTo>
                  <a:lnTo>
                    <a:pt x="94" y="94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6" y="88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104" y="84"/>
                  </a:lnTo>
                  <a:lnTo>
                    <a:pt x="106" y="82"/>
                  </a:lnTo>
                  <a:lnTo>
                    <a:pt x="106" y="80"/>
                  </a:lnTo>
                  <a:lnTo>
                    <a:pt x="108" y="80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4"/>
                  </a:lnTo>
                  <a:lnTo>
                    <a:pt x="108" y="72"/>
                  </a:lnTo>
                  <a:lnTo>
                    <a:pt x="106" y="70"/>
                  </a:lnTo>
                  <a:lnTo>
                    <a:pt x="104" y="66"/>
                  </a:lnTo>
                  <a:lnTo>
                    <a:pt x="104" y="64"/>
                  </a:lnTo>
                  <a:lnTo>
                    <a:pt x="102" y="64"/>
                  </a:lnTo>
                  <a:lnTo>
                    <a:pt x="102" y="62"/>
                  </a:lnTo>
                  <a:lnTo>
                    <a:pt x="102" y="58"/>
                  </a:lnTo>
                  <a:lnTo>
                    <a:pt x="102" y="56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4" y="48"/>
                  </a:lnTo>
                  <a:lnTo>
                    <a:pt x="106" y="42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2"/>
                  </a:lnTo>
                  <a:lnTo>
                    <a:pt x="108" y="30"/>
                  </a:lnTo>
                  <a:lnTo>
                    <a:pt x="106" y="28"/>
                  </a:lnTo>
                  <a:lnTo>
                    <a:pt x="106" y="26"/>
                  </a:lnTo>
                  <a:lnTo>
                    <a:pt x="104" y="24"/>
                  </a:lnTo>
                  <a:lnTo>
                    <a:pt x="104" y="22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0" y="18"/>
                  </a:lnTo>
                  <a:lnTo>
                    <a:pt x="98" y="18"/>
                  </a:lnTo>
                  <a:lnTo>
                    <a:pt x="98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86" y="16"/>
                  </a:lnTo>
                  <a:lnTo>
                    <a:pt x="84" y="16"/>
                  </a:lnTo>
                  <a:lnTo>
                    <a:pt x="82" y="16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2"/>
                  </a:lnTo>
                  <a:lnTo>
                    <a:pt x="76" y="10"/>
                  </a:lnTo>
                  <a:lnTo>
                    <a:pt x="76" y="8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70" name="Freeform 392">
              <a:extLst>
                <a:ext uri="{FF2B5EF4-FFF2-40B4-BE49-F238E27FC236}">
                  <a16:creationId xmlns:a16="http://schemas.microsoft.com/office/drawing/2014/main" id="{85DC9B51-CA8C-425B-BB79-17995A2BD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350" y="3868954"/>
              <a:ext cx="266515" cy="384446"/>
            </a:xfrm>
            <a:custGeom>
              <a:avLst/>
              <a:gdLst>
                <a:gd name="T0" fmla="*/ 112 w 156"/>
                <a:gd name="T1" fmla="*/ 16 h 230"/>
                <a:gd name="T2" fmla="*/ 106 w 156"/>
                <a:gd name="T3" fmla="*/ 26 h 230"/>
                <a:gd name="T4" fmla="*/ 102 w 156"/>
                <a:gd name="T5" fmla="*/ 30 h 230"/>
                <a:gd name="T6" fmla="*/ 90 w 156"/>
                <a:gd name="T7" fmla="*/ 30 h 230"/>
                <a:gd name="T8" fmla="*/ 72 w 156"/>
                <a:gd name="T9" fmla="*/ 30 h 230"/>
                <a:gd name="T10" fmla="*/ 68 w 156"/>
                <a:gd name="T11" fmla="*/ 32 h 230"/>
                <a:gd name="T12" fmla="*/ 66 w 156"/>
                <a:gd name="T13" fmla="*/ 38 h 230"/>
                <a:gd name="T14" fmla="*/ 68 w 156"/>
                <a:gd name="T15" fmla="*/ 58 h 230"/>
                <a:gd name="T16" fmla="*/ 70 w 156"/>
                <a:gd name="T17" fmla="*/ 74 h 230"/>
                <a:gd name="T18" fmla="*/ 70 w 156"/>
                <a:gd name="T19" fmla="*/ 80 h 230"/>
                <a:gd name="T20" fmla="*/ 66 w 156"/>
                <a:gd name="T21" fmla="*/ 82 h 230"/>
                <a:gd name="T22" fmla="*/ 58 w 156"/>
                <a:gd name="T23" fmla="*/ 78 h 230"/>
                <a:gd name="T24" fmla="*/ 52 w 156"/>
                <a:gd name="T25" fmla="*/ 78 h 230"/>
                <a:gd name="T26" fmla="*/ 46 w 156"/>
                <a:gd name="T27" fmla="*/ 86 h 230"/>
                <a:gd name="T28" fmla="*/ 42 w 156"/>
                <a:gd name="T29" fmla="*/ 98 h 230"/>
                <a:gd name="T30" fmla="*/ 44 w 156"/>
                <a:gd name="T31" fmla="*/ 114 h 230"/>
                <a:gd name="T32" fmla="*/ 42 w 156"/>
                <a:gd name="T33" fmla="*/ 120 h 230"/>
                <a:gd name="T34" fmla="*/ 36 w 156"/>
                <a:gd name="T35" fmla="*/ 120 h 230"/>
                <a:gd name="T36" fmla="*/ 12 w 156"/>
                <a:gd name="T37" fmla="*/ 118 h 230"/>
                <a:gd name="T38" fmla="*/ 2 w 156"/>
                <a:gd name="T39" fmla="*/ 114 h 230"/>
                <a:gd name="T40" fmla="*/ 0 w 156"/>
                <a:gd name="T41" fmla="*/ 146 h 230"/>
                <a:gd name="T42" fmla="*/ 2 w 156"/>
                <a:gd name="T43" fmla="*/ 158 h 230"/>
                <a:gd name="T44" fmla="*/ 6 w 156"/>
                <a:gd name="T45" fmla="*/ 164 h 230"/>
                <a:gd name="T46" fmla="*/ 8 w 156"/>
                <a:gd name="T47" fmla="*/ 178 h 230"/>
                <a:gd name="T48" fmla="*/ 8 w 156"/>
                <a:gd name="T49" fmla="*/ 196 h 230"/>
                <a:gd name="T50" fmla="*/ 18 w 156"/>
                <a:gd name="T51" fmla="*/ 194 h 230"/>
                <a:gd name="T52" fmla="*/ 22 w 156"/>
                <a:gd name="T53" fmla="*/ 198 h 230"/>
                <a:gd name="T54" fmla="*/ 26 w 156"/>
                <a:gd name="T55" fmla="*/ 204 h 230"/>
                <a:gd name="T56" fmla="*/ 36 w 156"/>
                <a:gd name="T57" fmla="*/ 206 h 230"/>
                <a:gd name="T58" fmla="*/ 42 w 156"/>
                <a:gd name="T59" fmla="*/ 214 h 230"/>
                <a:gd name="T60" fmla="*/ 50 w 156"/>
                <a:gd name="T61" fmla="*/ 226 h 230"/>
                <a:gd name="T62" fmla="*/ 62 w 156"/>
                <a:gd name="T63" fmla="*/ 222 h 230"/>
                <a:gd name="T64" fmla="*/ 70 w 156"/>
                <a:gd name="T65" fmla="*/ 212 h 230"/>
                <a:gd name="T66" fmla="*/ 74 w 156"/>
                <a:gd name="T67" fmla="*/ 212 h 230"/>
                <a:gd name="T68" fmla="*/ 84 w 156"/>
                <a:gd name="T69" fmla="*/ 218 h 230"/>
                <a:gd name="T70" fmla="*/ 102 w 156"/>
                <a:gd name="T71" fmla="*/ 220 h 230"/>
                <a:gd name="T72" fmla="*/ 134 w 156"/>
                <a:gd name="T73" fmla="*/ 222 h 230"/>
                <a:gd name="T74" fmla="*/ 150 w 156"/>
                <a:gd name="T75" fmla="*/ 220 h 230"/>
                <a:gd name="T76" fmla="*/ 154 w 156"/>
                <a:gd name="T77" fmla="*/ 218 h 230"/>
                <a:gd name="T78" fmla="*/ 156 w 156"/>
                <a:gd name="T79" fmla="*/ 210 h 230"/>
                <a:gd name="T80" fmla="*/ 152 w 156"/>
                <a:gd name="T81" fmla="*/ 202 h 230"/>
                <a:gd name="T82" fmla="*/ 146 w 156"/>
                <a:gd name="T83" fmla="*/ 200 h 230"/>
                <a:gd name="T84" fmla="*/ 142 w 156"/>
                <a:gd name="T85" fmla="*/ 198 h 230"/>
                <a:gd name="T86" fmla="*/ 136 w 156"/>
                <a:gd name="T87" fmla="*/ 184 h 230"/>
                <a:gd name="T88" fmla="*/ 136 w 156"/>
                <a:gd name="T89" fmla="*/ 166 h 230"/>
                <a:gd name="T90" fmla="*/ 142 w 156"/>
                <a:gd name="T91" fmla="*/ 118 h 230"/>
                <a:gd name="T92" fmla="*/ 144 w 156"/>
                <a:gd name="T93" fmla="*/ 96 h 230"/>
                <a:gd name="T94" fmla="*/ 142 w 156"/>
                <a:gd name="T95" fmla="*/ 84 h 230"/>
                <a:gd name="T96" fmla="*/ 134 w 156"/>
                <a:gd name="T97" fmla="*/ 76 h 230"/>
                <a:gd name="T98" fmla="*/ 134 w 156"/>
                <a:gd name="T99" fmla="*/ 60 h 230"/>
                <a:gd name="T100" fmla="*/ 134 w 156"/>
                <a:gd name="T101" fmla="*/ 54 h 230"/>
                <a:gd name="T102" fmla="*/ 140 w 156"/>
                <a:gd name="T103" fmla="*/ 52 h 230"/>
                <a:gd name="T104" fmla="*/ 146 w 156"/>
                <a:gd name="T105" fmla="*/ 52 h 230"/>
                <a:gd name="T106" fmla="*/ 146 w 156"/>
                <a:gd name="T107" fmla="*/ 42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6" h="230">
                  <a:moveTo>
                    <a:pt x="114" y="0"/>
                  </a:moveTo>
                  <a:lnTo>
                    <a:pt x="114" y="0"/>
                  </a:lnTo>
                  <a:lnTo>
                    <a:pt x="114" y="4"/>
                  </a:lnTo>
                  <a:lnTo>
                    <a:pt x="114" y="8"/>
                  </a:lnTo>
                  <a:lnTo>
                    <a:pt x="112" y="16"/>
                  </a:lnTo>
                  <a:lnTo>
                    <a:pt x="110" y="18"/>
                  </a:lnTo>
                  <a:lnTo>
                    <a:pt x="110" y="20"/>
                  </a:lnTo>
                  <a:lnTo>
                    <a:pt x="108" y="24"/>
                  </a:lnTo>
                  <a:lnTo>
                    <a:pt x="106" y="26"/>
                  </a:lnTo>
                  <a:lnTo>
                    <a:pt x="106" y="26"/>
                  </a:lnTo>
                  <a:lnTo>
                    <a:pt x="106" y="28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0" y="30"/>
                  </a:lnTo>
                  <a:lnTo>
                    <a:pt x="98" y="30"/>
                  </a:lnTo>
                  <a:lnTo>
                    <a:pt x="96" y="30"/>
                  </a:lnTo>
                  <a:lnTo>
                    <a:pt x="92" y="30"/>
                  </a:lnTo>
                  <a:lnTo>
                    <a:pt x="90" y="30"/>
                  </a:lnTo>
                  <a:lnTo>
                    <a:pt x="84" y="30"/>
                  </a:lnTo>
                  <a:lnTo>
                    <a:pt x="80" y="30"/>
                  </a:lnTo>
                  <a:lnTo>
                    <a:pt x="78" y="30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4"/>
                  </a:lnTo>
                  <a:lnTo>
                    <a:pt x="66" y="34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6" y="42"/>
                  </a:lnTo>
                  <a:lnTo>
                    <a:pt x="66" y="46"/>
                  </a:lnTo>
                  <a:lnTo>
                    <a:pt x="66" y="50"/>
                  </a:lnTo>
                  <a:lnTo>
                    <a:pt x="68" y="58"/>
                  </a:lnTo>
                  <a:lnTo>
                    <a:pt x="70" y="62"/>
                  </a:lnTo>
                  <a:lnTo>
                    <a:pt x="70" y="64"/>
                  </a:lnTo>
                  <a:lnTo>
                    <a:pt x="70" y="68"/>
                  </a:lnTo>
                  <a:lnTo>
                    <a:pt x="70" y="72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70" y="76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80"/>
                  </a:lnTo>
                  <a:lnTo>
                    <a:pt x="68" y="80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4" y="80"/>
                  </a:lnTo>
                  <a:lnTo>
                    <a:pt x="62" y="80"/>
                  </a:lnTo>
                  <a:lnTo>
                    <a:pt x="60" y="80"/>
                  </a:lnTo>
                  <a:lnTo>
                    <a:pt x="58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2" y="78"/>
                  </a:lnTo>
                  <a:lnTo>
                    <a:pt x="52" y="80"/>
                  </a:lnTo>
                  <a:lnTo>
                    <a:pt x="50" y="80"/>
                  </a:lnTo>
                  <a:lnTo>
                    <a:pt x="48" y="82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8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2" y="100"/>
                  </a:lnTo>
                  <a:lnTo>
                    <a:pt x="42" y="102"/>
                  </a:lnTo>
                  <a:lnTo>
                    <a:pt x="44" y="110"/>
                  </a:lnTo>
                  <a:lnTo>
                    <a:pt x="44" y="112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2" y="120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4" y="118"/>
                  </a:lnTo>
                  <a:lnTo>
                    <a:pt x="18" y="118"/>
                  </a:lnTo>
                  <a:lnTo>
                    <a:pt x="12" y="118"/>
                  </a:lnTo>
                  <a:lnTo>
                    <a:pt x="10" y="118"/>
                  </a:lnTo>
                  <a:lnTo>
                    <a:pt x="8" y="116"/>
                  </a:lnTo>
                  <a:lnTo>
                    <a:pt x="6" y="116"/>
                  </a:lnTo>
                  <a:lnTo>
                    <a:pt x="4" y="116"/>
                  </a:lnTo>
                  <a:lnTo>
                    <a:pt x="2" y="114"/>
                  </a:lnTo>
                  <a:lnTo>
                    <a:pt x="2" y="120"/>
                  </a:lnTo>
                  <a:lnTo>
                    <a:pt x="2" y="126"/>
                  </a:lnTo>
                  <a:lnTo>
                    <a:pt x="0" y="132"/>
                  </a:lnTo>
                  <a:lnTo>
                    <a:pt x="0" y="140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2" y="154"/>
                  </a:lnTo>
                  <a:lnTo>
                    <a:pt x="2" y="156"/>
                  </a:lnTo>
                  <a:lnTo>
                    <a:pt x="2" y="158"/>
                  </a:lnTo>
                  <a:lnTo>
                    <a:pt x="2" y="158"/>
                  </a:lnTo>
                  <a:lnTo>
                    <a:pt x="2" y="160"/>
                  </a:lnTo>
                  <a:lnTo>
                    <a:pt x="4" y="160"/>
                  </a:lnTo>
                  <a:lnTo>
                    <a:pt x="6" y="162"/>
                  </a:lnTo>
                  <a:lnTo>
                    <a:pt x="6" y="162"/>
                  </a:lnTo>
                  <a:lnTo>
                    <a:pt x="6" y="164"/>
                  </a:lnTo>
                  <a:lnTo>
                    <a:pt x="6" y="164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8" y="172"/>
                  </a:lnTo>
                  <a:lnTo>
                    <a:pt x="8" y="178"/>
                  </a:lnTo>
                  <a:lnTo>
                    <a:pt x="8" y="184"/>
                  </a:lnTo>
                  <a:lnTo>
                    <a:pt x="6" y="188"/>
                  </a:lnTo>
                  <a:lnTo>
                    <a:pt x="6" y="192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12" y="196"/>
                  </a:lnTo>
                  <a:lnTo>
                    <a:pt x="14" y="194"/>
                  </a:lnTo>
                  <a:lnTo>
                    <a:pt x="16" y="194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20" y="194"/>
                  </a:lnTo>
                  <a:lnTo>
                    <a:pt x="20" y="196"/>
                  </a:lnTo>
                  <a:lnTo>
                    <a:pt x="20" y="196"/>
                  </a:lnTo>
                  <a:lnTo>
                    <a:pt x="22" y="198"/>
                  </a:lnTo>
                  <a:lnTo>
                    <a:pt x="22" y="198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6" y="204"/>
                  </a:lnTo>
                  <a:lnTo>
                    <a:pt x="26" y="204"/>
                  </a:lnTo>
                  <a:lnTo>
                    <a:pt x="28" y="204"/>
                  </a:lnTo>
                  <a:lnTo>
                    <a:pt x="30" y="206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6" y="206"/>
                  </a:lnTo>
                  <a:lnTo>
                    <a:pt x="36" y="208"/>
                  </a:lnTo>
                  <a:lnTo>
                    <a:pt x="36" y="208"/>
                  </a:lnTo>
                  <a:lnTo>
                    <a:pt x="38" y="210"/>
                  </a:lnTo>
                  <a:lnTo>
                    <a:pt x="40" y="212"/>
                  </a:lnTo>
                  <a:lnTo>
                    <a:pt x="42" y="214"/>
                  </a:lnTo>
                  <a:lnTo>
                    <a:pt x="44" y="220"/>
                  </a:lnTo>
                  <a:lnTo>
                    <a:pt x="46" y="222"/>
                  </a:lnTo>
                  <a:lnTo>
                    <a:pt x="46" y="224"/>
                  </a:lnTo>
                  <a:lnTo>
                    <a:pt x="48" y="224"/>
                  </a:lnTo>
                  <a:lnTo>
                    <a:pt x="50" y="226"/>
                  </a:lnTo>
                  <a:lnTo>
                    <a:pt x="52" y="228"/>
                  </a:lnTo>
                  <a:lnTo>
                    <a:pt x="56" y="230"/>
                  </a:lnTo>
                  <a:lnTo>
                    <a:pt x="58" y="228"/>
                  </a:lnTo>
                  <a:lnTo>
                    <a:pt x="60" y="224"/>
                  </a:lnTo>
                  <a:lnTo>
                    <a:pt x="62" y="222"/>
                  </a:lnTo>
                  <a:lnTo>
                    <a:pt x="64" y="218"/>
                  </a:lnTo>
                  <a:lnTo>
                    <a:pt x="66" y="216"/>
                  </a:lnTo>
                  <a:lnTo>
                    <a:pt x="66" y="214"/>
                  </a:lnTo>
                  <a:lnTo>
                    <a:pt x="68" y="214"/>
                  </a:lnTo>
                  <a:lnTo>
                    <a:pt x="70" y="212"/>
                  </a:lnTo>
                  <a:lnTo>
                    <a:pt x="70" y="212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4" y="212"/>
                  </a:lnTo>
                  <a:lnTo>
                    <a:pt x="76" y="212"/>
                  </a:lnTo>
                  <a:lnTo>
                    <a:pt x="78" y="214"/>
                  </a:lnTo>
                  <a:lnTo>
                    <a:pt x="80" y="216"/>
                  </a:lnTo>
                  <a:lnTo>
                    <a:pt x="82" y="216"/>
                  </a:lnTo>
                  <a:lnTo>
                    <a:pt x="84" y="218"/>
                  </a:lnTo>
                  <a:lnTo>
                    <a:pt x="86" y="218"/>
                  </a:lnTo>
                  <a:lnTo>
                    <a:pt x="88" y="218"/>
                  </a:lnTo>
                  <a:lnTo>
                    <a:pt x="92" y="220"/>
                  </a:lnTo>
                  <a:lnTo>
                    <a:pt x="94" y="220"/>
                  </a:lnTo>
                  <a:lnTo>
                    <a:pt x="102" y="220"/>
                  </a:lnTo>
                  <a:lnTo>
                    <a:pt x="108" y="220"/>
                  </a:lnTo>
                  <a:lnTo>
                    <a:pt x="116" y="222"/>
                  </a:lnTo>
                  <a:lnTo>
                    <a:pt x="124" y="222"/>
                  </a:lnTo>
                  <a:lnTo>
                    <a:pt x="130" y="222"/>
                  </a:lnTo>
                  <a:lnTo>
                    <a:pt x="134" y="222"/>
                  </a:lnTo>
                  <a:lnTo>
                    <a:pt x="140" y="222"/>
                  </a:lnTo>
                  <a:lnTo>
                    <a:pt x="142" y="222"/>
                  </a:lnTo>
                  <a:lnTo>
                    <a:pt x="146" y="222"/>
                  </a:lnTo>
                  <a:lnTo>
                    <a:pt x="148" y="222"/>
                  </a:lnTo>
                  <a:lnTo>
                    <a:pt x="150" y="220"/>
                  </a:lnTo>
                  <a:lnTo>
                    <a:pt x="152" y="220"/>
                  </a:lnTo>
                  <a:lnTo>
                    <a:pt x="152" y="220"/>
                  </a:lnTo>
                  <a:lnTo>
                    <a:pt x="154" y="220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56" y="216"/>
                  </a:lnTo>
                  <a:lnTo>
                    <a:pt x="156" y="214"/>
                  </a:lnTo>
                  <a:lnTo>
                    <a:pt x="156" y="212"/>
                  </a:lnTo>
                  <a:lnTo>
                    <a:pt x="156" y="210"/>
                  </a:lnTo>
                  <a:lnTo>
                    <a:pt x="156" y="208"/>
                  </a:lnTo>
                  <a:lnTo>
                    <a:pt x="154" y="204"/>
                  </a:lnTo>
                  <a:lnTo>
                    <a:pt x="154" y="202"/>
                  </a:lnTo>
                  <a:lnTo>
                    <a:pt x="154" y="202"/>
                  </a:lnTo>
                  <a:lnTo>
                    <a:pt x="152" y="202"/>
                  </a:lnTo>
                  <a:lnTo>
                    <a:pt x="152" y="200"/>
                  </a:lnTo>
                  <a:lnTo>
                    <a:pt x="152" y="200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46" y="200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198"/>
                  </a:lnTo>
                  <a:lnTo>
                    <a:pt x="142" y="198"/>
                  </a:lnTo>
                  <a:lnTo>
                    <a:pt x="142" y="198"/>
                  </a:lnTo>
                  <a:lnTo>
                    <a:pt x="140" y="196"/>
                  </a:lnTo>
                  <a:lnTo>
                    <a:pt x="138" y="192"/>
                  </a:lnTo>
                  <a:lnTo>
                    <a:pt x="138" y="190"/>
                  </a:lnTo>
                  <a:lnTo>
                    <a:pt x="138" y="186"/>
                  </a:lnTo>
                  <a:lnTo>
                    <a:pt x="136" y="184"/>
                  </a:lnTo>
                  <a:lnTo>
                    <a:pt x="136" y="180"/>
                  </a:lnTo>
                  <a:lnTo>
                    <a:pt x="136" y="178"/>
                  </a:lnTo>
                  <a:lnTo>
                    <a:pt x="136" y="174"/>
                  </a:lnTo>
                  <a:lnTo>
                    <a:pt x="136" y="170"/>
                  </a:lnTo>
                  <a:lnTo>
                    <a:pt x="136" y="166"/>
                  </a:lnTo>
                  <a:lnTo>
                    <a:pt x="136" y="158"/>
                  </a:lnTo>
                  <a:lnTo>
                    <a:pt x="138" y="150"/>
                  </a:lnTo>
                  <a:lnTo>
                    <a:pt x="140" y="142"/>
                  </a:lnTo>
                  <a:lnTo>
                    <a:pt x="142" y="126"/>
                  </a:lnTo>
                  <a:lnTo>
                    <a:pt x="142" y="118"/>
                  </a:lnTo>
                  <a:lnTo>
                    <a:pt x="144" y="110"/>
                  </a:lnTo>
                  <a:lnTo>
                    <a:pt x="144" y="108"/>
                  </a:lnTo>
                  <a:lnTo>
                    <a:pt x="144" y="104"/>
                  </a:lnTo>
                  <a:lnTo>
                    <a:pt x="144" y="100"/>
                  </a:lnTo>
                  <a:lnTo>
                    <a:pt x="144" y="96"/>
                  </a:lnTo>
                  <a:lnTo>
                    <a:pt x="144" y="94"/>
                  </a:lnTo>
                  <a:lnTo>
                    <a:pt x="144" y="90"/>
                  </a:lnTo>
                  <a:lnTo>
                    <a:pt x="144" y="88"/>
                  </a:lnTo>
                  <a:lnTo>
                    <a:pt x="142" y="86"/>
                  </a:lnTo>
                  <a:lnTo>
                    <a:pt x="142" y="84"/>
                  </a:lnTo>
                  <a:lnTo>
                    <a:pt x="142" y="82"/>
                  </a:lnTo>
                  <a:lnTo>
                    <a:pt x="138" y="80"/>
                  </a:lnTo>
                  <a:lnTo>
                    <a:pt x="136" y="78"/>
                  </a:lnTo>
                  <a:lnTo>
                    <a:pt x="136" y="76"/>
                  </a:lnTo>
                  <a:lnTo>
                    <a:pt x="134" y="76"/>
                  </a:lnTo>
                  <a:lnTo>
                    <a:pt x="134" y="72"/>
                  </a:lnTo>
                  <a:lnTo>
                    <a:pt x="134" y="70"/>
                  </a:lnTo>
                  <a:lnTo>
                    <a:pt x="134" y="68"/>
                  </a:lnTo>
                  <a:lnTo>
                    <a:pt x="134" y="64"/>
                  </a:lnTo>
                  <a:lnTo>
                    <a:pt x="134" y="60"/>
                  </a:lnTo>
                  <a:lnTo>
                    <a:pt x="134" y="58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6" y="52"/>
                  </a:lnTo>
                  <a:lnTo>
                    <a:pt x="138" y="52"/>
                  </a:lnTo>
                  <a:lnTo>
                    <a:pt x="138" y="52"/>
                  </a:lnTo>
                  <a:lnTo>
                    <a:pt x="140" y="52"/>
                  </a:lnTo>
                  <a:lnTo>
                    <a:pt x="142" y="52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6" y="52"/>
                  </a:lnTo>
                  <a:lnTo>
                    <a:pt x="146" y="50"/>
                  </a:lnTo>
                  <a:lnTo>
                    <a:pt x="146" y="50"/>
                  </a:lnTo>
                  <a:lnTo>
                    <a:pt x="146" y="48"/>
                  </a:lnTo>
                  <a:lnTo>
                    <a:pt x="146" y="46"/>
                  </a:lnTo>
                  <a:lnTo>
                    <a:pt x="146" y="42"/>
                  </a:lnTo>
                  <a:lnTo>
                    <a:pt x="146" y="38"/>
                  </a:lnTo>
                  <a:lnTo>
                    <a:pt x="146" y="36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71" name="Freeform 394">
              <a:extLst>
                <a:ext uri="{FF2B5EF4-FFF2-40B4-BE49-F238E27FC236}">
                  <a16:creationId xmlns:a16="http://schemas.microsoft.com/office/drawing/2014/main" id="{EA6831DE-8529-44DE-ABC0-02304E74F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720" y="4550925"/>
              <a:ext cx="177676" cy="244039"/>
            </a:xfrm>
            <a:custGeom>
              <a:avLst/>
              <a:gdLst>
                <a:gd name="T0" fmla="*/ 4 w 104"/>
                <a:gd name="T1" fmla="*/ 128 h 146"/>
                <a:gd name="T2" fmla="*/ 10 w 104"/>
                <a:gd name="T3" fmla="*/ 116 h 146"/>
                <a:gd name="T4" fmla="*/ 8 w 104"/>
                <a:gd name="T5" fmla="*/ 114 h 146"/>
                <a:gd name="T6" fmla="*/ 2 w 104"/>
                <a:gd name="T7" fmla="*/ 110 h 146"/>
                <a:gd name="T8" fmla="*/ 2 w 104"/>
                <a:gd name="T9" fmla="*/ 104 h 146"/>
                <a:gd name="T10" fmla="*/ 4 w 104"/>
                <a:gd name="T11" fmla="*/ 100 h 146"/>
                <a:gd name="T12" fmla="*/ 16 w 104"/>
                <a:gd name="T13" fmla="*/ 96 h 146"/>
                <a:gd name="T14" fmla="*/ 20 w 104"/>
                <a:gd name="T15" fmla="*/ 96 h 146"/>
                <a:gd name="T16" fmla="*/ 24 w 104"/>
                <a:gd name="T17" fmla="*/ 102 h 146"/>
                <a:gd name="T18" fmla="*/ 28 w 104"/>
                <a:gd name="T19" fmla="*/ 106 h 146"/>
                <a:gd name="T20" fmla="*/ 34 w 104"/>
                <a:gd name="T21" fmla="*/ 104 h 146"/>
                <a:gd name="T22" fmla="*/ 42 w 104"/>
                <a:gd name="T23" fmla="*/ 96 h 146"/>
                <a:gd name="T24" fmla="*/ 48 w 104"/>
                <a:gd name="T25" fmla="*/ 88 h 146"/>
                <a:gd name="T26" fmla="*/ 48 w 104"/>
                <a:gd name="T27" fmla="*/ 78 h 146"/>
                <a:gd name="T28" fmla="*/ 44 w 104"/>
                <a:gd name="T29" fmla="*/ 72 h 146"/>
                <a:gd name="T30" fmla="*/ 36 w 104"/>
                <a:gd name="T31" fmla="*/ 64 h 146"/>
                <a:gd name="T32" fmla="*/ 34 w 104"/>
                <a:gd name="T33" fmla="*/ 56 h 146"/>
                <a:gd name="T34" fmla="*/ 36 w 104"/>
                <a:gd name="T35" fmla="*/ 50 h 146"/>
                <a:gd name="T36" fmla="*/ 36 w 104"/>
                <a:gd name="T37" fmla="*/ 44 h 146"/>
                <a:gd name="T38" fmla="*/ 34 w 104"/>
                <a:gd name="T39" fmla="*/ 40 h 146"/>
                <a:gd name="T40" fmla="*/ 28 w 104"/>
                <a:gd name="T41" fmla="*/ 40 h 146"/>
                <a:gd name="T42" fmla="*/ 24 w 104"/>
                <a:gd name="T43" fmla="*/ 38 h 146"/>
                <a:gd name="T44" fmla="*/ 24 w 104"/>
                <a:gd name="T45" fmla="*/ 30 h 146"/>
                <a:gd name="T46" fmla="*/ 74 w 104"/>
                <a:gd name="T47" fmla="*/ 14 h 146"/>
                <a:gd name="T48" fmla="*/ 82 w 104"/>
                <a:gd name="T49" fmla="*/ 4 h 146"/>
                <a:gd name="T50" fmla="*/ 92 w 104"/>
                <a:gd name="T51" fmla="*/ 0 h 146"/>
                <a:gd name="T52" fmla="*/ 100 w 104"/>
                <a:gd name="T53" fmla="*/ 2 h 146"/>
                <a:gd name="T54" fmla="*/ 104 w 104"/>
                <a:gd name="T55" fmla="*/ 6 h 146"/>
                <a:gd name="T56" fmla="*/ 102 w 104"/>
                <a:gd name="T57" fmla="*/ 16 h 146"/>
                <a:gd name="T58" fmla="*/ 98 w 104"/>
                <a:gd name="T59" fmla="*/ 24 h 146"/>
                <a:gd name="T60" fmla="*/ 94 w 104"/>
                <a:gd name="T61" fmla="*/ 28 h 146"/>
                <a:gd name="T62" fmla="*/ 92 w 104"/>
                <a:gd name="T63" fmla="*/ 42 h 146"/>
                <a:gd name="T64" fmla="*/ 94 w 104"/>
                <a:gd name="T65" fmla="*/ 68 h 146"/>
                <a:gd name="T66" fmla="*/ 90 w 104"/>
                <a:gd name="T67" fmla="*/ 78 h 146"/>
                <a:gd name="T68" fmla="*/ 84 w 104"/>
                <a:gd name="T69" fmla="*/ 84 h 146"/>
                <a:gd name="T70" fmla="*/ 82 w 104"/>
                <a:gd name="T71" fmla="*/ 92 h 146"/>
                <a:gd name="T72" fmla="*/ 82 w 104"/>
                <a:gd name="T73" fmla="*/ 104 h 146"/>
                <a:gd name="T74" fmla="*/ 80 w 104"/>
                <a:gd name="T75" fmla="*/ 106 h 146"/>
                <a:gd name="T76" fmla="*/ 72 w 104"/>
                <a:gd name="T77" fmla="*/ 106 h 146"/>
                <a:gd name="T78" fmla="*/ 70 w 104"/>
                <a:gd name="T79" fmla="*/ 110 h 146"/>
                <a:gd name="T80" fmla="*/ 70 w 104"/>
                <a:gd name="T81" fmla="*/ 122 h 146"/>
                <a:gd name="T82" fmla="*/ 70 w 104"/>
                <a:gd name="T83" fmla="*/ 130 h 146"/>
                <a:gd name="T84" fmla="*/ 64 w 104"/>
                <a:gd name="T85" fmla="*/ 132 h 146"/>
                <a:gd name="T86" fmla="*/ 54 w 104"/>
                <a:gd name="T87" fmla="*/ 136 h 146"/>
                <a:gd name="T88" fmla="*/ 52 w 104"/>
                <a:gd name="T89" fmla="*/ 140 h 146"/>
                <a:gd name="T90" fmla="*/ 46 w 104"/>
                <a:gd name="T91" fmla="*/ 142 h 146"/>
                <a:gd name="T92" fmla="*/ 38 w 104"/>
                <a:gd name="T93" fmla="*/ 140 h 146"/>
                <a:gd name="T94" fmla="*/ 32 w 104"/>
                <a:gd name="T95" fmla="*/ 136 h 146"/>
                <a:gd name="T96" fmla="*/ 24 w 104"/>
                <a:gd name="T97" fmla="*/ 140 h 146"/>
                <a:gd name="T98" fmla="*/ 10 w 104"/>
                <a:gd name="T99" fmla="*/ 146 h 146"/>
                <a:gd name="T100" fmla="*/ 8 w 104"/>
                <a:gd name="T101" fmla="*/ 140 h 146"/>
                <a:gd name="T102" fmla="*/ 6 w 104"/>
                <a:gd name="T10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4" h="146">
                  <a:moveTo>
                    <a:pt x="0" y="134"/>
                  </a:moveTo>
                  <a:lnTo>
                    <a:pt x="0" y="134"/>
                  </a:lnTo>
                  <a:lnTo>
                    <a:pt x="2" y="132"/>
                  </a:lnTo>
                  <a:lnTo>
                    <a:pt x="4" y="130"/>
                  </a:lnTo>
                  <a:lnTo>
                    <a:pt x="4" y="128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8" y="120"/>
                  </a:lnTo>
                  <a:lnTo>
                    <a:pt x="10" y="118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4"/>
                  </a:lnTo>
                  <a:lnTo>
                    <a:pt x="8" y="114"/>
                  </a:lnTo>
                  <a:lnTo>
                    <a:pt x="8" y="114"/>
                  </a:lnTo>
                  <a:lnTo>
                    <a:pt x="6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08"/>
                  </a:lnTo>
                  <a:lnTo>
                    <a:pt x="2" y="106"/>
                  </a:lnTo>
                  <a:lnTo>
                    <a:pt x="2" y="106"/>
                  </a:lnTo>
                  <a:lnTo>
                    <a:pt x="2" y="104"/>
                  </a:lnTo>
                  <a:lnTo>
                    <a:pt x="2" y="104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6" y="100"/>
                  </a:lnTo>
                  <a:lnTo>
                    <a:pt x="8" y="98"/>
                  </a:lnTo>
                  <a:lnTo>
                    <a:pt x="12" y="98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8"/>
                  </a:lnTo>
                  <a:lnTo>
                    <a:pt x="22" y="100"/>
                  </a:lnTo>
                  <a:lnTo>
                    <a:pt x="22" y="102"/>
                  </a:lnTo>
                  <a:lnTo>
                    <a:pt x="24" y="102"/>
                  </a:lnTo>
                  <a:lnTo>
                    <a:pt x="24" y="104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32" y="104"/>
                  </a:lnTo>
                  <a:lnTo>
                    <a:pt x="34" y="104"/>
                  </a:lnTo>
                  <a:lnTo>
                    <a:pt x="36" y="102"/>
                  </a:lnTo>
                  <a:lnTo>
                    <a:pt x="38" y="102"/>
                  </a:lnTo>
                  <a:lnTo>
                    <a:pt x="40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4" y="94"/>
                  </a:lnTo>
                  <a:lnTo>
                    <a:pt x="46" y="92"/>
                  </a:lnTo>
                  <a:lnTo>
                    <a:pt x="46" y="90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48" y="80"/>
                  </a:lnTo>
                  <a:lnTo>
                    <a:pt x="48" y="78"/>
                  </a:lnTo>
                  <a:lnTo>
                    <a:pt x="46" y="76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2" y="70"/>
                  </a:lnTo>
                  <a:lnTo>
                    <a:pt x="40" y="68"/>
                  </a:lnTo>
                  <a:lnTo>
                    <a:pt x="38" y="68"/>
                  </a:lnTo>
                  <a:lnTo>
                    <a:pt x="38" y="66"/>
                  </a:lnTo>
                  <a:lnTo>
                    <a:pt x="36" y="64"/>
                  </a:lnTo>
                  <a:lnTo>
                    <a:pt x="36" y="62"/>
                  </a:lnTo>
                  <a:lnTo>
                    <a:pt x="34" y="60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4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30" y="38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6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4" y="30"/>
                  </a:lnTo>
                  <a:lnTo>
                    <a:pt x="24" y="28"/>
                  </a:lnTo>
                  <a:lnTo>
                    <a:pt x="24" y="26"/>
                  </a:lnTo>
                  <a:lnTo>
                    <a:pt x="70" y="20"/>
                  </a:lnTo>
                  <a:lnTo>
                    <a:pt x="72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6" y="8"/>
                  </a:lnTo>
                  <a:lnTo>
                    <a:pt x="78" y="6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8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4" y="0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2" y="10"/>
                  </a:lnTo>
                  <a:lnTo>
                    <a:pt x="102" y="14"/>
                  </a:lnTo>
                  <a:lnTo>
                    <a:pt x="102" y="16"/>
                  </a:lnTo>
                  <a:lnTo>
                    <a:pt x="100" y="18"/>
                  </a:lnTo>
                  <a:lnTo>
                    <a:pt x="100" y="22"/>
                  </a:lnTo>
                  <a:lnTo>
                    <a:pt x="98" y="22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6" y="24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8"/>
                  </a:lnTo>
                  <a:lnTo>
                    <a:pt x="92" y="32"/>
                  </a:lnTo>
                  <a:lnTo>
                    <a:pt x="92" y="34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2"/>
                  </a:lnTo>
                  <a:lnTo>
                    <a:pt x="92" y="50"/>
                  </a:lnTo>
                  <a:lnTo>
                    <a:pt x="94" y="56"/>
                  </a:lnTo>
                  <a:lnTo>
                    <a:pt x="94" y="62"/>
                  </a:lnTo>
                  <a:lnTo>
                    <a:pt x="94" y="66"/>
                  </a:lnTo>
                  <a:lnTo>
                    <a:pt x="94" y="68"/>
                  </a:lnTo>
                  <a:lnTo>
                    <a:pt x="94" y="70"/>
                  </a:lnTo>
                  <a:lnTo>
                    <a:pt x="92" y="72"/>
                  </a:lnTo>
                  <a:lnTo>
                    <a:pt x="92" y="74"/>
                  </a:lnTo>
                  <a:lnTo>
                    <a:pt x="92" y="76"/>
                  </a:lnTo>
                  <a:lnTo>
                    <a:pt x="90" y="78"/>
                  </a:lnTo>
                  <a:lnTo>
                    <a:pt x="90" y="80"/>
                  </a:lnTo>
                  <a:lnTo>
                    <a:pt x="88" y="80"/>
                  </a:lnTo>
                  <a:lnTo>
                    <a:pt x="86" y="8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6"/>
                  </a:lnTo>
                  <a:lnTo>
                    <a:pt x="84" y="86"/>
                  </a:lnTo>
                  <a:lnTo>
                    <a:pt x="84" y="88"/>
                  </a:lnTo>
                  <a:lnTo>
                    <a:pt x="82" y="90"/>
                  </a:lnTo>
                  <a:lnTo>
                    <a:pt x="82" y="92"/>
                  </a:lnTo>
                  <a:lnTo>
                    <a:pt x="84" y="96"/>
                  </a:lnTo>
                  <a:lnTo>
                    <a:pt x="84" y="98"/>
                  </a:lnTo>
                  <a:lnTo>
                    <a:pt x="84" y="100"/>
                  </a:lnTo>
                  <a:lnTo>
                    <a:pt x="82" y="102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2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78" y="106"/>
                  </a:lnTo>
                  <a:lnTo>
                    <a:pt x="76" y="106"/>
                  </a:lnTo>
                  <a:lnTo>
                    <a:pt x="74" y="106"/>
                  </a:lnTo>
                  <a:lnTo>
                    <a:pt x="72" y="106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0" y="122"/>
                  </a:lnTo>
                  <a:lnTo>
                    <a:pt x="70" y="124"/>
                  </a:lnTo>
                  <a:lnTo>
                    <a:pt x="70" y="126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0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6" y="130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0" y="134"/>
                  </a:lnTo>
                  <a:lnTo>
                    <a:pt x="56" y="134"/>
                  </a:lnTo>
                  <a:lnTo>
                    <a:pt x="54" y="134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2" y="136"/>
                  </a:lnTo>
                  <a:lnTo>
                    <a:pt x="52" y="138"/>
                  </a:lnTo>
                  <a:lnTo>
                    <a:pt x="52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0" y="142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4" y="142"/>
                  </a:lnTo>
                  <a:lnTo>
                    <a:pt x="42" y="142"/>
                  </a:lnTo>
                  <a:lnTo>
                    <a:pt x="42" y="142"/>
                  </a:lnTo>
                  <a:lnTo>
                    <a:pt x="38" y="140"/>
                  </a:lnTo>
                  <a:lnTo>
                    <a:pt x="38" y="140"/>
                  </a:lnTo>
                  <a:lnTo>
                    <a:pt x="36" y="140"/>
                  </a:lnTo>
                  <a:lnTo>
                    <a:pt x="36" y="138"/>
                  </a:lnTo>
                  <a:lnTo>
                    <a:pt x="34" y="136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0" y="136"/>
                  </a:lnTo>
                  <a:lnTo>
                    <a:pt x="30" y="136"/>
                  </a:lnTo>
                  <a:lnTo>
                    <a:pt x="28" y="138"/>
                  </a:lnTo>
                  <a:lnTo>
                    <a:pt x="26" y="138"/>
                  </a:lnTo>
                  <a:lnTo>
                    <a:pt x="24" y="140"/>
                  </a:lnTo>
                  <a:lnTo>
                    <a:pt x="22" y="140"/>
                  </a:lnTo>
                  <a:lnTo>
                    <a:pt x="18" y="142"/>
                  </a:lnTo>
                  <a:lnTo>
                    <a:pt x="16" y="144"/>
                  </a:lnTo>
                  <a:lnTo>
                    <a:pt x="14" y="144"/>
                  </a:lnTo>
                  <a:lnTo>
                    <a:pt x="10" y="146"/>
                  </a:lnTo>
                  <a:lnTo>
                    <a:pt x="8" y="146"/>
                  </a:lnTo>
                  <a:lnTo>
                    <a:pt x="8" y="146"/>
                  </a:lnTo>
                  <a:lnTo>
                    <a:pt x="8" y="144"/>
                  </a:lnTo>
                  <a:lnTo>
                    <a:pt x="8" y="142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6" y="138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72" name="Freeform 396">
              <a:extLst>
                <a:ext uri="{FF2B5EF4-FFF2-40B4-BE49-F238E27FC236}">
                  <a16:creationId xmlns:a16="http://schemas.microsoft.com/office/drawing/2014/main" id="{3BB36B2A-CA94-4348-AC08-F7429F63D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9389" y="4517496"/>
              <a:ext cx="481776" cy="524851"/>
            </a:xfrm>
            <a:custGeom>
              <a:avLst/>
              <a:gdLst>
                <a:gd name="T0" fmla="*/ 0 w 282"/>
                <a:gd name="T1" fmla="*/ 176 h 314"/>
                <a:gd name="T2" fmla="*/ 26 w 282"/>
                <a:gd name="T3" fmla="*/ 186 h 314"/>
                <a:gd name="T4" fmla="*/ 56 w 282"/>
                <a:gd name="T5" fmla="*/ 178 h 314"/>
                <a:gd name="T6" fmla="*/ 72 w 282"/>
                <a:gd name="T7" fmla="*/ 188 h 314"/>
                <a:gd name="T8" fmla="*/ 76 w 282"/>
                <a:gd name="T9" fmla="*/ 208 h 314"/>
                <a:gd name="T10" fmla="*/ 82 w 282"/>
                <a:gd name="T11" fmla="*/ 218 h 314"/>
                <a:gd name="T12" fmla="*/ 96 w 282"/>
                <a:gd name="T13" fmla="*/ 222 h 314"/>
                <a:gd name="T14" fmla="*/ 110 w 282"/>
                <a:gd name="T15" fmla="*/ 216 h 314"/>
                <a:gd name="T16" fmla="*/ 112 w 282"/>
                <a:gd name="T17" fmla="*/ 200 h 314"/>
                <a:gd name="T18" fmla="*/ 120 w 282"/>
                <a:gd name="T19" fmla="*/ 200 h 314"/>
                <a:gd name="T20" fmla="*/ 126 w 282"/>
                <a:gd name="T21" fmla="*/ 214 h 314"/>
                <a:gd name="T22" fmla="*/ 140 w 282"/>
                <a:gd name="T23" fmla="*/ 208 h 314"/>
                <a:gd name="T24" fmla="*/ 146 w 282"/>
                <a:gd name="T25" fmla="*/ 232 h 314"/>
                <a:gd name="T26" fmla="*/ 150 w 282"/>
                <a:gd name="T27" fmla="*/ 264 h 314"/>
                <a:gd name="T28" fmla="*/ 170 w 282"/>
                <a:gd name="T29" fmla="*/ 268 h 314"/>
                <a:gd name="T30" fmla="*/ 190 w 282"/>
                <a:gd name="T31" fmla="*/ 272 h 314"/>
                <a:gd name="T32" fmla="*/ 196 w 282"/>
                <a:gd name="T33" fmla="*/ 288 h 314"/>
                <a:gd name="T34" fmla="*/ 204 w 282"/>
                <a:gd name="T35" fmla="*/ 280 h 314"/>
                <a:gd name="T36" fmla="*/ 216 w 282"/>
                <a:gd name="T37" fmla="*/ 276 h 314"/>
                <a:gd name="T38" fmla="*/ 222 w 282"/>
                <a:gd name="T39" fmla="*/ 286 h 314"/>
                <a:gd name="T40" fmla="*/ 230 w 282"/>
                <a:gd name="T41" fmla="*/ 300 h 314"/>
                <a:gd name="T42" fmla="*/ 244 w 282"/>
                <a:gd name="T43" fmla="*/ 314 h 314"/>
                <a:gd name="T44" fmla="*/ 256 w 282"/>
                <a:gd name="T45" fmla="*/ 304 h 314"/>
                <a:gd name="T46" fmla="*/ 254 w 282"/>
                <a:gd name="T47" fmla="*/ 284 h 314"/>
                <a:gd name="T48" fmla="*/ 240 w 282"/>
                <a:gd name="T49" fmla="*/ 280 h 314"/>
                <a:gd name="T50" fmla="*/ 238 w 282"/>
                <a:gd name="T51" fmla="*/ 254 h 314"/>
                <a:gd name="T52" fmla="*/ 250 w 282"/>
                <a:gd name="T53" fmla="*/ 222 h 314"/>
                <a:gd name="T54" fmla="*/ 262 w 282"/>
                <a:gd name="T55" fmla="*/ 208 h 314"/>
                <a:gd name="T56" fmla="*/ 258 w 282"/>
                <a:gd name="T57" fmla="*/ 178 h 314"/>
                <a:gd name="T58" fmla="*/ 256 w 282"/>
                <a:gd name="T59" fmla="*/ 154 h 314"/>
                <a:gd name="T60" fmla="*/ 248 w 282"/>
                <a:gd name="T61" fmla="*/ 136 h 314"/>
                <a:gd name="T62" fmla="*/ 240 w 282"/>
                <a:gd name="T63" fmla="*/ 130 h 314"/>
                <a:gd name="T64" fmla="*/ 246 w 282"/>
                <a:gd name="T65" fmla="*/ 118 h 314"/>
                <a:gd name="T66" fmla="*/ 244 w 282"/>
                <a:gd name="T67" fmla="*/ 108 h 314"/>
                <a:gd name="T68" fmla="*/ 254 w 282"/>
                <a:gd name="T69" fmla="*/ 82 h 314"/>
                <a:gd name="T70" fmla="*/ 262 w 282"/>
                <a:gd name="T71" fmla="*/ 66 h 314"/>
                <a:gd name="T72" fmla="*/ 282 w 282"/>
                <a:gd name="T73" fmla="*/ 56 h 314"/>
                <a:gd name="T74" fmla="*/ 276 w 282"/>
                <a:gd name="T75" fmla="*/ 48 h 314"/>
                <a:gd name="T76" fmla="*/ 272 w 282"/>
                <a:gd name="T77" fmla="*/ 42 h 314"/>
                <a:gd name="T78" fmla="*/ 264 w 282"/>
                <a:gd name="T79" fmla="*/ 20 h 314"/>
                <a:gd name="T80" fmla="*/ 250 w 282"/>
                <a:gd name="T81" fmla="*/ 10 h 314"/>
                <a:gd name="T82" fmla="*/ 222 w 282"/>
                <a:gd name="T83" fmla="*/ 8 h 314"/>
                <a:gd name="T84" fmla="*/ 208 w 282"/>
                <a:gd name="T85" fmla="*/ 0 h 314"/>
                <a:gd name="T86" fmla="*/ 182 w 282"/>
                <a:gd name="T87" fmla="*/ 2 h 314"/>
                <a:gd name="T88" fmla="*/ 176 w 282"/>
                <a:gd name="T89" fmla="*/ 6 h 314"/>
                <a:gd name="T90" fmla="*/ 152 w 282"/>
                <a:gd name="T91" fmla="*/ 8 h 314"/>
                <a:gd name="T92" fmla="*/ 144 w 282"/>
                <a:gd name="T93" fmla="*/ 16 h 314"/>
                <a:gd name="T94" fmla="*/ 122 w 282"/>
                <a:gd name="T95" fmla="*/ 20 h 314"/>
                <a:gd name="T96" fmla="*/ 114 w 282"/>
                <a:gd name="T97" fmla="*/ 8 h 314"/>
                <a:gd name="T98" fmla="*/ 102 w 282"/>
                <a:gd name="T99" fmla="*/ 8 h 314"/>
                <a:gd name="T100" fmla="*/ 86 w 282"/>
                <a:gd name="T101" fmla="*/ 22 h 314"/>
                <a:gd name="T102" fmla="*/ 96 w 282"/>
                <a:gd name="T103" fmla="*/ 32 h 314"/>
                <a:gd name="T104" fmla="*/ 86 w 282"/>
                <a:gd name="T105" fmla="*/ 48 h 314"/>
                <a:gd name="T106" fmla="*/ 86 w 282"/>
                <a:gd name="T107" fmla="*/ 88 h 314"/>
                <a:gd name="T108" fmla="*/ 76 w 282"/>
                <a:gd name="T109" fmla="*/ 106 h 314"/>
                <a:gd name="T110" fmla="*/ 74 w 282"/>
                <a:gd name="T111" fmla="*/ 126 h 314"/>
                <a:gd name="T112" fmla="*/ 62 w 282"/>
                <a:gd name="T113" fmla="*/ 128 h 314"/>
                <a:gd name="T114" fmla="*/ 62 w 282"/>
                <a:gd name="T115" fmla="*/ 148 h 314"/>
                <a:gd name="T116" fmla="*/ 46 w 282"/>
                <a:gd name="T117" fmla="*/ 156 h 314"/>
                <a:gd name="T118" fmla="*/ 38 w 282"/>
                <a:gd name="T119" fmla="*/ 162 h 314"/>
                <a:gd name="T120" fmla="*/ 22 w 282"/>
                <a:gd name="T121" fmla="*/ 158 h 314"/>
                <a:gd name="T122" fmla="*/ 4 w 282"/>
                <a:gd name="T123" fmla="*/ 172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2" h="314">
                  <a:moveTo>
                    <a:pt x="6" y="172"/>
                  </a:moveTo>
                  <a:lnTo>
                    <a:pt x="6" y="172"/>
                  </a:lnTo>
                  <a:lnTo>
                    <a:pt x="6" y="172"/>
                  </a:lnTo>
                  <a:lnTo>
                    <a:pt x="6" y="172"/>
                  </a:lnTo>
                  <a:lnTo>
                    <a:pt x="6" y="174"/>
                  </a:lnTo>
                  <a:lnTo>
                    <a:pt x="4" y="174"/>
                  </a:lnTo>
                  <a:lnTo>
                    <a:pt x="4" y="174"/>
                  </a:lnTo>
                  <a:lnTo>
                    <a:pt x="2" y="174"/>
                  </a:lnTo>
                  <a:lnTo>
                    <a:pt x="2" y="176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78"/>
                  </a:lnTo>
                  <a:lnTo>
                    <a:pt x="0" y="180"/>
                  </a:lnTo>
                  <a:lnTo>
                    <a:pt x="0" y="182"/>
                  </a:lnTo>
                  <a:lnTo>
                    <a:pt x="2" y="182"/>
                  </a:lnTo>
                  <a:lnTo>
                    <a:pt x="4" y="184"/>
                  </a:lnTo>
                  <a:lnTo>
                    <a:pt x="6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20" y="186"/>
                  </a:lnTo>
                  <a:lnTo>
                    <a:pt x="22" y="186"/>
                  </a:lnTo>
                  <a:lnTo>
                    <a:pt x="26" y="186"/>
                  </a:lnTo>
                  <a:lnTo>
                    <a:pt x="28" y="184"/>
                  </a:lnTo>
                  <a:lnTo>
                    <a:pt x="28" y="184"/>
                  </a:lnTo>
                  <a:lnTo>
                    <a:pt x="30" y="184"/>
                  </a:lnTo>
                  <a:lnTo>
                    <a:pt x="34" y="182"/>
                  </a:lnTo>
                  <a:lnTo>
                    <a:pt x="38" y="180"/>
                  </a:lnTo>
                  <a:lnTo>
                    <a:pt x="40" y="180"/>
                  </a:lnTo>
                  <a:lnTo>
                    <a:pt x="42" y="180"/>
                  </a:lnTo>
                  <a:lnTo>
                    <a:pt x="46" y="180"/>
                  </a:lnTo>
                  <a:lnTo>
                    <a:pt x="48" y="178"/>
                  </a:lnTo>
                  <a:lnTo>
                    <a:pt x="52" y="178"/>
                  </a:lnTo>
                  <a:lnTo>
                    <a:pt x="56" y="178"/>
                  </a:lnTo>
                  <a:lnTo>
                    <a:pt x="60" y="180"/>
                  </a:lnTo>
                  <a:lnTo>
                    <a:pt x="62" y="180"/>
                  </a:lnTo>
                  <a:lnTo>
                    <a:pt x="64" y="180"/>
                  </a:lnTo>
                  <a:lnTo>
                    <a:pt x="66" y="180"/>
                  </a:lnTo>
                  <a:lnTo>
                    <a:pt x="66" y="182"/>
                  </a:lnTo>
                  <a:lnTo>
                    <a:pt x="68" y="182"/>
                  </a:lnTo>
                  <a:lnTo>
                    <a:pt x="70" y="182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72" y="186"/>
                  </a:lnTo>
                  <a:lnTo>
                    <a:pt x="72" y="188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94"/>
                  </a:lnTo>
                  <a:lnTo>
                    <a:pt x="72" y="198"/>
                  </a:lnTo>
                  <a:lnTo>
                    <a:pt x="72" y="202"/>
                  </a:lnTo>
                  <a:lnTo>
                    <a:pt x="74" y="204"/>
                  </a:lnTo>
                  <a:lnTo>
                    <a:pt x="74" y="204"/>
                  </a:lnTo>
                  <a:lnTo>
                    <a:pt x="74" y="206"/>
                  </a:lnTo>
                  <a:lnTo>
                    <a:pt x="74" y="206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8" y="208"/>
                  </a:lnTo>
                  <a:lnTo>
                    <a:pt x="80" y="208"/>
                  </a:lnTo>
                  <a:lnTo>
                    <a:pt x="80" y="210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2" y="212"/>
                  </a:lnTo>
                  <a:lnTo>
                    <a:pt x="82" y="212"/>
                  </a:lnTo>
                  <a:lnTo>
                    <a:pt x="82" y="214"/>
                  </a:lnTo>
                  <a:lnTo>
                    <a:pt x="82" y="216"/>
                  </a:lnTo>
                  <a:lnTo>
                    <a:pt x="82" y="218"/>
                  </a:lnTo>
                  <a:lnTo>
                    <a:pt x="82" y="218"/>
                  </a:lnTo>
                  <a:lnTo>
                    <a:pt x="82" y="218"/>
                  </a:lnTo>
                  <a:lnTo>
                    <a:pt x="82" y="218"/>
                  </a:lnTo>
                  <a:lnTo>
                    <a:pt x="84" y="220"/>
                  </a:lnTo>
                  <a:lnTo>
                    <a:pt x="84" y="220"/>
                  </a:lnTo>
                  <a:lnTo>
                    <a:pt x="86" y="220"/>
                  </a:lnTo>
                  <a:lnTo>
                    <a:pt x="88" y="222"/>
                  </a:lnTo>
                  <a:lnTo>
                    <a:pt x="90" y="222"/>
                  </a:lnTo>
                  <a:lnTo>
                    <a:pt x="92" y="222"/>
                  </a:lnTo>
                  <a:lnTo>
                    <a:pt x="94" y="222"/>
                  </a:lnTo>
                  <a:lnTo>
                    <a:pt x="96" y="222"/>
                  </a:lnTo>
                  <a:lnTo>
                    <a:pt x="98" y="222"/>
                  </a:lnTo>
                  <a:lnTo>
                    <a:pt x="100" y="222"/>
                  </a:lnTo>
                  <a:lnTo>
                    <a:pt x="102" y="222"/>
                  </a:lnTo>
                  <a:lnTo>
                    <a:pt x="102" y="220"/>
                  </a:lnTo>
                  <a:lnTo>
                    <a:pt x="104" y="220"/>
                  </a:lnTo>
                  <a:lnTo>
                    <a:pt x="106" y="220"/>
                  </a:lnTo>
                  <a:lnTo>
                    <a:pt x="108" y="220"/>
                  </a:lnTo>
                  <a:lnTo>
                    <a:pt x="108" y="218"/>
                  </a:lnTo>
                  <a:lnTo>
                    <a:pt x="108" y="218"/>
                  </a:lnTo>
                  <a:lnTo>
                    <a:pt x="110" y="218"/>
                  </a:lnTo>
                  <a:lnTo>
                    <a:pt x="110" y="216"/>
                  </a:lnTo>
                  <a:lnTo>
                    <a:pt x="110" y="216"/>
                  </a:lnTo>
                  <a:lnTo>
                    <a:pt x="110" y="212"/>
                  </a:lnTo>
                  <a:lnTo>
                    <a:pt x="110" y="210"/>
                  </a:lnTo>
                  <a:lnTo>
                    <a:pt x="110" y="208"/>
                  </a:lnTo>
                  <a:lnTo>
                    <a:pt x="108" y="206"/>
                  </a:lnTo>
                  <a:lnTo>
                    <a:pt x="110" y="204"/>
                  </a:lnTo>
                  <a:lnTo>
                    <a:pt x="110" y="202"/>
                  </a:lnTo>
                  <a:lnTo>
                    <a:pt x="110" y="202"/>
                  </a:lnTo>
                  <a:lnTo>
                    <a:pt x="110" y="202"/>
                  </a:lnTo>
                  <a:lnTo>
                    <a:pt x="110" y="200"/>
                  </a:lnTo>
                  <a:lnTo>
                    <a:pt x="112" y="200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196"/>
                  </a:lnTo>
                  <a:lnTo>
                    <a:pt x="116" y="196"/>
                  </a:lnTo>
                  <a:lnTo>
                    <a:pt x="116" y="196"/>
                  </a:lnTo>
                  <a:lnTo>
                    <a:pt x="116" y="196"/>
                  </a:lnTo>
                  <a:lnTo>
                    <a:pt x="118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18" y="200"/>
                  </a:lnTo>
                  <a:lnTo>
                    <a:pt x="120" y="200"/>
                  </a:lnTo>
                  <a:lnTo>
                    <a:pt x="120" y="202"/>
                  </a:lnTo>
                  <a:lnTo>
                    <a:pt x="120" y="206"/>
                  </a:lnTo>
                  <a:lnTo>
                    <a:pt x="120" y="208"/>
                  </a:lnTo>
                  <a:lnTo>
                    <a:pt x="122" y="210"/>
                  </a:lnTo>
                  <a:lnTo>
                    <a:pt x="122" y="212"/>
                  </a:lnTo>
                  <a:lnTo>
                    <a:pt x="122" y="212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6" y="214"/>
                  </a:lnTo>
                  <a:lnTo>
                    <a:pt x="126" y="212"/>
                  </a:lnTo>
                  <a:lnTo>
                    <a:pt x="128" y="212"/>
                  </a:lnTo>
                  <a:lnTo>
                    <a:pt x="128" y="210"/>
                  </a:lnTo>
                  <a:lnTo>
                    <a:pt x="130" y="210"/>
                  </a:lnTo>
                  <a:lnTo>
                    <a:pt x="130" y="210"/>
                  </a:lnTo>
                  <a:lnTo>
                    <a:pt x="132" y="208"/>
                  </a:lnTo>
                  <a:lnTo>
                    <a:pt x="134" y="208"/>
                  </a:lnTo>
                  <a:lnTo>
                    <a:pt x="136" y="208"/>
                  </a:lnTo>
                  <a:lnTo>
                    <a:pt x="138" y="208"/>
                  </a:lnTo>
                  <a:lnTo>
                    <a:pt x="138" y="208"/>
                  </a:lnTo>
                  <a:lnTo>
                    <a:pt x="140" y="208"/>
                  </a:lnTo>
                  <a:lnTo>
                    <a:pt x="140" y="208"/>
                  </a:lnTo>
                  <a:lnTo>
                    <a:pt x="142" y="210"/>
                  </a:lnTo>
                  <a:lnTo>
                    <a:pt x="142" y="210"/>
                  </a:lnTo>
                  <a:lnTo>
                    <a:pt x="144" y="212"/>
                  </a:lnTo>
                  <a:lnTo>
                    <a:pt x="144" y="214"/>
                  </a:lnTo>
                  <a:lnTo>
                    <a:pt x="146" y="216"/>
                  </a:lnTo>
                  <a:lnTo>
                    <a:pt x="146" y="218"/>
                  </a:lnTo>
                  <a:lnTo>
                    <a:pt x="146" y="220"/>
                  </a:lnTo>
                  <a:lnTo>
                    <a:pt x="146" y="224"/>
                  </a:lnTo>
                  <a:lnTo>
                    <a:pt x="146" y="228"/>
                  </a:lnTo>
                  <a:lnTo>
                    <a:pt x="146" y="232"/>
                  </a:lnTo>
                  <a:lnTo>
                    <a:pt x="146" y="242"/>
                  </a:lnTo>
                  <a:lnTo>
                    <a:pt x="146" y="250"/>
                  </a:lnTo>
                  <a:lnTo>
                    <a:pt x="146" y="252"/>
                  </a:lnTo>
                  <a:lnTo>
                    <a:pt x="146" y="256"/>
                  </a:lnTo>
                  <a:lnTo>
                    <a:pt x="146" y="256"/>
                  </a:lnTo>
                  <a:lnTo>
                    <a:pt x="146" y="258"/>
                  </a:lnTo>
                  <a:lnTo>
                    <a:pt x="146" y="260"/>
                  </a:lnTo>
                  <a:lnTo>
                    <a:pt x="146" y="262"/>
                  </a:lnTo>
                  <a:lnTo>
                    <a:pt x="148" y="262"/>
                  </a:lnTo>
                  <a:lnTo>
                    <a:pt x="148" y="264"/>
                  </a:lnTo>
                  <a:lnTo>
                    <a:pt x="150" y="264"/>
                  </a:lnTo>
                  <a:lnTo>
                    <a:pt x="150" y="266"/>
                  </a:lnTo>
                  <a:lnTo>
                    <a:pt x="152" y="266"/>
                  </a:lnTo>
                  <a:lnTo>
                    <a:pt x="152" y="268"/>
                  </a:lnTo>
                  <a:lnTo>
                    <a:pt x="154" y="268"/>
                  </a:lnTo>
                  <a:lnTo>
                    <a:pt x="156" y="268"/>
                  </a:lnTo>
                  <a:lnTo>
                    <a:pt x="156" y="268"/>
                  </a:lnTo>
                  <a:lnTo>
                    <a:pt x="158" y="270"/>
                  </a:lnTo>
                  <a:lnTo>
                    <a:pt x="160" y="270"/>
                  </a:lnTo>
                  <a:lnTo>
                    <a:pt x="162" y="270"/>
                  </a:lnTo>
                  <a:lnTo>
                    <a:pt x="166" y="270"/>
                  </a:lnTo>
                  <a:lnTo>
                    <a:pt x="170" y="268"/>
                  </a:lnTo>
                  <a:lnTo>
                    <a:pt x="172" y="268"/>
                  </a:lnTo>
                  <a:lnTo>
                    <a:pt x="174" y="268"/>
                  </a:lnTo>
                  <a:lnTo>
                    <a:pt x="180" y="268"/>
                  </a:lnTo>
                  <a:lnTo>
                    <a:pt x="182" y="268"/>
                  </a:lnTo>
                  <a:lnTo>
                    <a:pt x="184" y="270"/>
                  </a:lnTo>
                  <a:lnTo>
                    <a:pt x="186" y="270"/>
                  </a:lnTo>
                  <a:lnTo>
                    <a:pt x="188" y="270"/>
                  </a:lnTo>
                  <a:lnTo>
                    <a:pt x="188" y="270"/>
                  </a:lnTo>
                  <a:lnTo>
                    <a:pt x="188" y="272"/>
                  </a:lnTo>
                  <a:lnTo>
                    <a:pt x="188" y="272"/>
                  </a:lnTo>
                  <a:lnTo>
                    <a:pt x="190" y="272"/>
                  </a:lnTo>
                  <a:lnTo>
                    <a:pt x="190" y="274"/>
                  </a:lnTo>
                  <a:lnTo>
                    <a:pt x="190" y="276"/>
                  </a:lnTo>
                  <a:lnTo>
                    <a:pt x="190" y="278"/>
                  </a:lnTo>
                  <a:lnTo>
                    <a:pt x="190" y="280"/>
                  </a:lnTo>
                  <a:lnTo>
                    <a:pt x="192" y="282"/>
                  </a:lnTo>
                  <a:lnTo>
                    <a:pt x="192" y="284"/>
                  </a:lnTo>
                  <a:lnTo>
                    <a:pt x="192" y="286"/>
                  </a:lnTo>
                  <a:lnTo>
                    <a:pt x="192" y="286"/>
                  </a:lnTo>
                  <a:lnTo>
                    <a:pt x="192" y="286"/>
                  </a:lnTo>
                  <a:lnTo>
                    <a:pt x="194" y="286"/>
                  </a:lnTo>
                  <a:lnTo>
                    <a:pt x="196" y="288"/>
                  </a:lnTo>
                  <a:lnTo>
                    <a:pt x="196" y="288"/>
                  </a:lnTo>
                  <a:lnTo>
                    <a:pt x="198" y="288"/>
                  </a:lnTo>
                  <a:lnTo>
                    <a:pt x="198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6"/>
                  </a:lnTo>
                  <a:lnTo>
                    <a:pt x="202" y="286"/>
                  </a:lnTo>
                  <a:lnTo>
                    <a:pt x="202" y="284"/>
                  </a:lnTo>
                  <a:lnTo>
                    <a:pt x="202" y="282"/>
                  </a:lnTo>
                  <a:lnTo>
                    <a:pt x="204" y="280"/>
                  </a:lnTo>
                  <a:lnTo>
                    <a:pt x="204" y="280"/>
                  </a:lnTo>
                  <a:lnTo>
                    <a:pt x="204" y="280"/>
                  </a:lnTo>
                  <a:lnTo>
                    <a:pt x="204" y="278"/>
                  </a:lnTo>
                  <a:lnTo>
                    <a:pt x="206" y="278"/>
                  </a:lnTo>
                  <a:lnTo>
                    <a:pt x="208" y="278"/>
                  </a:lnTo>
                  <a:lnTo>
                    <a:pt x="210" y="276"/>
                  </a:lnTo>
                  <a:lnTo>
                    <a:pt x="212" y="276"/>
                  </a:lnTo>
                  <a:lnTo>
                    <a:pt x="212" y="276"/>
                  </a:lnTo>
                  <a:lnTo>
                    <a:pt x="214" y="276"/>
                  </a:lnTo>
                  <a:lnTo>
                    <a:pt x="214" y="276"/>
                  </a:lnTo>
                  <a:lnTo>
                    <a:pt x="216" y="276"/>
                  </a:lnTo>
                  <a:lnTo>
                    <a:pt x="216" y="278"/>
                  </a:lnTo>
                  <a:lnTo>
                    <a:pt x="216" y="278"/>
                  </a:lnTo>
                  <a:lnTo>
                    <a:pt x="216" y="280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8" y="282"/>
                  </a:lnTo>
                  <a:lnTo>
                    <a:pt x="218" y="284"/>
                  </a:lnTo>
                  <a:lnTo>
                    <a:pt x="218" y="284"/>
                  </a:lnTo>
                  <a:lnTo>
                    <a:pt x="220" y="284"/>
                  </a:lnTo>
                  <a:lnTo>
                    <a:pt x="220" y="284"/>
                  </a:lnTo>
                  <a:lnTo>
                    <a:pt x="222" y="286"/>
                  </a:lnTo>
                  <a:lnTo>
                    <a:pt x="224" y="286"/>
                  </a:lnTo>
                  <a:lnTo>
                    <a:pt x="226" y="288"/>
                  </a:lnTo>
                  <a:lnTo>
                    <a:pt x="228" y="288"/>
                  </a:lnTo>
                  <a:lnTo>
                    <a:pt x="228" y="288"/>
                  </a:lnTo>
                  <a:lnTo>
                    <a:pt x="228" y="288"/>
                  </a:lnTo>
                  <a:lnTo>
                    <a:pt x="228" y="290"/>
                  </a:lnTo>
                  <a:lnTo>
                    <a:pt x="228" y="290"/>
                  </a:lnTo>
                  <a:lnTo>
                    <a:pt x="230" y="292"/>
                  </a:lnTo>
                  <a:lnTo>
                    <a:pt x="230" y="294"/>
                  </a:lnTo>
                  <a:lnTo>
                    <a:pt x="230" y="296"/>
                  </a:lnTo>
                  <a:lnTo>
                    <a:pt x="230" y="300"/>
                  </a:lnTo>
                  <a:lnTo>
                    <a:pt x="230" y="302"/>
                  </a:lnTo>
                  <a:lnTo>
                    <a:pt x="232" y="304"/>
                  </a:lnTo>
                  <a:lnTo>
                    <a:pt x="232" y="306"/>
                  </a:lnTo>
                  <a:lnTo>
                    <a:pt x="234" y="308"/>
                  </a:lnTo>
                  <a:lnTo>
                    <a:pt x="236" y="310"/>
                  </a:lnTo>
                  <a:lnTo>
                    <a:pt x="236" y="310"/>
                  </a:lnTo>
                  <a:lnTo>
                    <a:pt x="236" y="312"/>
                  </a:lnTo>
                  <a:lnTo>
                    <a:pt x="238" y="312"/>
                  </a:lnTo>
                  <a:lnTo>
                    <a:pt x="240" y="312"/>
                  </a:lnTo>
                  <a:lnTo>
                    <a:pt x="242" y="314"/>
                  </a:lnTo>
                  <a:lnTo>
                    <a:pt x="244" y="314"/>
                  </a:lnTo>
                  <a:lnTo>
                    <a:pt x="246" y="314"/>
                  </a:lnTo>
                  <a:lnTo>
                    <a:pt x="248" y="314"/>
                  </a:lnTo>
                  <a:lnTo>
                    <a:pt x="250" y="312"/>
                  </a:lnTo>
                  <a:lnTo>
                    <a:pt x="252" y="312"/>
                  </a:lnTo>
                  <a:lnTo>
                    <a:pt x="252" y="312"/>
                  </a:lnTo>
                  <a:lnTo>
                    <a:pt x="254" y="312"/>
                  </a:lnTo>
                  <a:lnTo>
                    <a:pt x="254" y="310"/>
                  </a:lnTo>
                  <a:lnTo>
                    <a:pt x="254" y="310"/>
                  </a:lnTo>
                  <a:lnTo>
                    <a:pt x="256" y="308"/>
                  </a:lnTo>
                  <a:lnTo>
                    <a:pt x="256" y="308"/>
                  </a:lnTo>
                  <a:lnTo>
                    <a:pt x="256" y="304"/>
                  </a:lnTo>
                  <a:lnTo>
                    <a:pt x="258" y="302"/>
                  </a:lnTo>
                  <a:lnTo>
                    <a:pt x="258" y="300"/>
                  </a:lnTo>
                  <a:lnTo>
                    <a:pt x="258" y="298"/>
                  </a:lnTo>
                  <a:lnTo>
                    <a:pt x="258" y="296"/>
                  </a:lnTo>
                  <a:lnTo>
                    <a:pt x="258" y="292"/>
                  </a:lnTo>
                  <a:lnTo>
                    <a:pt x="258" y="290"/>
                  </a:lnTo>
                  <a:lnTo>
                    <a:pt x="256" y="288"/>
                  </a:lnTo>
                  <a:lnTo>
                    <a:pt x="256" y="286"/>
                  </a:lnTo>
                  <a:lnTo>
                    <a:pt x="256" y="286"/>
                  </a:lnTo>
                  <a:lnTo>
                    <a:pt x="256" y="286"/>
                  </a:lnTo>
                  <a:lnTo>
                    <a:pt x="254" y="284"/>
                  </a:lnTo>
                  <a:lnTo>
                    <a:pt x="254" y="284"/>
                  </a:lnTo>
                  <a:lnTo>
                    <a:pt x="254" y="284"/>
                  </a:lnTo>
                  <a:lnTo>
                    <a:pt x="252" y="284"/>
                  </a:lnTo>
                  <a:lnTo>
                    <a:pt x="252" y="284"/>
                  </a:lnTo>
                  <a:lnTo>
                    <a:pt x="250" y="284"/>
                  </a:lnTo>
                  <a:lnTo>
                    <a:pt x="246" y="284"/>
                  </a:lnTo>
                  <a:lnTo>
                    <a:pt x="246" y="284"/>
                  </a:lnTo>
                  <a:lnTo>
                    <a:pt x="244" y="284"/>
                  </a:lnTo>
                  <a:lnTo>
                    <a:pt x="244" y="282"/>
                  </a:lnTo>
                  <a:lnTo>
                    <a:pt x="242" y="282"/>
                  </a:lnTo>
                  <a:lnTo>
                    <a:pt x="240" y="280"/>
                  </a:lnTo>
                  <a:lnTo>
                    <a:pt x="240" y="278"/>
                  </a:lnTo>
                  <a:lnTo>
                    <a:pt x="238" y="278"/>
                  </a:lnTo>
                  <a:lnTo>
                    <a:pt x="238" y="276"/>
                  </a:lnTo>
                  <a:lnTo>
                    <a:pt x="238" y="274"/>
                  </a:lnTo>
                  <a:lnTo>
                    <a:pt x="238" y="272"/>
                  </a:lnTo>
                  <a:lnTo>
                    <a:pt x="236" y="270"/>
                  </a:lnTo>
                  <a:lnTo>
                    <a:pt x="236" y="268"/>
                  </a:lnTo>
                  <a:lnTo>
                    <a:pt x="236" y="264"/>
                  </a:lnTo>
                  <a:lnTo>
                    <a:pt x="236" y="262"/>
                  </a:lnTo>
                  <a:lnTo>
                    <a:pt x="238" y="258"/>
                  </a:lnTo>
                  <a:lnTo>
                    <a:pt x="238" y="254"/>
                  </a:lnTo>
                  <a:lnTo>
                    <a:pt x="238" y="248"/>
                  </a:lnTo>
                  <a:lnTo>
                    <a:pt x="240" y="242"/>
                  </a:lnTo>
                  <a:lnTo>
                    <a:pt x="240" y="238"/>
                  </a:lnTo>
                  <a:lnTo>
                    <a:pt x="242" y="232"/>
                  </a:lnTo>
                  <a:lnTo>
                    <a:pt x="244" y="230"/>
                  </a:lnTo>
                  <a:lnTo>
                    <a:pt x="244" y="228"/>
                  </a:lnTo>
                  <a:lnTo>
                    <a:pt x="246" y="224"/>
                  </a:lnTo>
                  <a:lnTo>
                    <a:pt x="246" y="224"/>
                  </a:lnTo>
                  <a:lnTo>
                    <a:pt x="248" y="222"/>
                  </a:lnTo>
                  <a:lnTo>
                    <a:pt x="248" y="222"/>
                  </a:lnTo>
                  <a:lnTo>
                    <a:pt x="250" y="222"/>
                  </a:lnTo>
                  <a:lnTo>
                    <a:pt x="254" y="220"/>
                  </a:lnTo>
                  <a:lnTo>
                    <a:pt x="256" y="220"/>
                  </a:lnTo>
                  <a:lnTo>
                    <a:pt x="256" y="220"/>
                  </a:lnTo>
                  <a:lnTo>
                    <a:pt x="258" y="218"/>
                  </a:lnTo>
                  <a:lnTo>
                    <a:pt x="258" y="218"/>
                  </a:lnTo>
                  <a:lnTo>
                    <a:pt x="260" y="218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60" y="212"/>
                  </a:lnTo>
                  <a:lnTo>
                    <a:pt x="262" y="210"/>
                  </a:lnTo>
                  <a:lnTo>
                    <a:pt x="262" y="208"/>
                  </a:lnTo>
                  <a:lnTo>
                    <a:pt x="262" y="206"/>
                  </a:lnTo>
                  <a:lnTo>
                    <a:pt x="262" y="204"/>
                  </a:lnTo>
                  <a:lnTo>
                    <a:pt x="262" y="202"/>
                  </a:lnTo>
                  <a:lnTo>
                    <a:pt x="262" y="200"/>
                  </a:lnTo>
                  <a:lnTo>
                    <a:pt x="262" y="196"/>
                  </a:lnTo>
                  <a:lnTo>
                    <a:pt x="262" y="194"/>
                  </a:lnTo>
                  <a:lnTo>
                    <a:pt x="262" y="192"/>
                  </a:lnTo>
                  <a:lnTo>
                    <a:pt x="260" y="190"/>
                  </a:lnTo>
                  <a:lnTo>
                    <a:pt x="260" y="186"/>
                  </a:lnTo>
                  <a:lnTo>
                    <a:pt x="258" y="182"/>
                  </a:lnTo>
                  <a:lnTo>
                    <a:pt x="258" y="178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6" y="172"/>
                  </a:lnTo>
                  <a:lnTo>
                    <a:pt x="256" y="172"/>
                  </a:lnTo>
                  <a:lnTo>
                    <a:pt x="256" y="168"/>
                  </a:lnTo>
                  <a:lnTo>
                    <a:pt x="258" y="164"/>
                  </a:lnTo>
                  <a:lnTo>
                    <a:pt x="258" y="162"/>
                  </a:lnTo>
                  <a:lnTo>
                    <a:pt x="258" y="160"/>
                  </a:lnTo>
                  <a:lnTo>
                    <a:pt x="256" y="160"/>
                  </a:lnTo>
                  <a:lnTo>
                    <a:pt x="256" y="158"/>
                  </a:lnTo>
                  <a:lnTo>
                    <a:pt x="256" y="154"/>
                  </a:lnTo>
                  <a:lnTo>
                    <a:pt x="254" y="150"/>
                  </a:lnTo>
                  <a:lnTo>
                    <a:pt x="252" y="150"/>
                  </a:lnTo>
                  <a:lnTo>
                    <a:pt x="250" y="148"/>
                  </a:lnTo>
                  <a:lnTo>
                    <a:pt x="248" y="146"/>
                  </a:lnTo>
                  <a:lnTo>
                    <a:pt x="248" y="146"/>
                  </a:lnTo>
                  <a:lnTo>
                    <a:pt x="248" y="146"/>
                  </a:lnTo>
                  <a:lnTo>
                    <a:pt x="248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38"/>
                  </a:lnTo>
                  <a:lnTo>
                    <a:pt x="248" y="136"/>
                  </a:lnTo>
                  <a:lnTo>
                    <a:pt x="250" y="132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46" y="130"/>
                  </a:lnTo>
                  <a:lnTo>
                    <a:pt x="244" y="132"/>
                  </a:lnTo>
                  <a:lnTo>
                    <a:pt x="244" y="132"/>
                  </a:lnTo>
                  <a:lnTo>
                    <a:pt x="242" y="132"/>
                  </a:lnTo>
                  <a:lnTo>
                    <a:pt x="242" y="132"/>
                  </a:lnTo>
                  <a:lnTo>
                    <a:pt x="242" y="130"/>
                  </a:lnTo>
                  <a:lnTo>
                    <a:pt x="240" y="130"/>
                  </a:lnTo>
                  <a:lnTo>
                    <a:pt x="240" y="130"/>
                  </a:lnTo>
                  <a:lnTo>
                    <a:pt x="240" y="128"/>
                  </a:lnTo>
                  <a:lnTo>
                    <a:pt x="240" y="126"/>
                  </a:lnTo>
                  <a:lnTo>
                    <a:pt x="240" y="126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40" y="122"/>
                  </a:lnTo>
                  <a:lnTo>
                    <a:pt x="242" y="122"/>
                  </a:lnTo>
                  <a:lnTo>
                    <a:pt x="242" y="120"/>
                  </a:lnTo>
                  <a:lnTo>
                    <a:pt x="244" y="120"/>
                  </a:lnTo>
                  <a:lnTo>
                    <a:pt x="246" y="118"/>
                  </a:lnTo>
                  <a:lnTo>
                    <a:pt x="246" y="118"/>
                  </a:lnTo>
                  <a:lnTo>
                    <a:pt x="246" y="118"/>
                  </a:lnTo>
                  <a:lnTo>
                    <a:pt x="246" y="116"/>
                  </a:lnTo>
                  <a:lnTo>
                    <a:pt x="246" y="116"/>
                  </a:lnTo>
                  <a:lnTo>
                    <a:pt x="246" y="114"/>
                  </a:lnTo>
                  <a:lnTo>
                    <a:pt x="246" y="114"/>
                  </a:lnTo>
                  <a:lnTo>
                    <a:pt x="246" y="112"/>
                  </a:lnTo>
                  <a:lnTo>
                    <a:pt x="244" y="110"/>
                  </a:lnTo>
                  <a:lnTo>
                    <a:pt x="244" y="110"/>
                  </a:lnTo>
                  <a:lnTo>
                    <a:pt x="244" y="108"/>
                  </a:lnTo>
                  <a:lnTo>
                    <a:pt x="244" y="108"/>
                  </a:lnTo>
                  <a:lnTo>
                    <a:pt x="244" y="108"/>
                  </a:lnTo>
                  <a:lnTo>
                    <a:pt x="244" y="108"/>
                  </a:lnTo>
                  <a:lnTo>
                    <a:pt x="246" y="106"/>
                  </a:lnTo>
                  <a:lnTo>
                    <a:pt x="246" y="106"/>
                  </a:lnTo>
                  <a:lnTo>
                    <a:pt x="248" y="106"/>
                  </a:lnTo>
                  <a:lnTo>
                    <a:pt x="250" y="104"/>
                  </a:lnTo>
                  <a:lnTo>
                    <a:pt x="252" y="104"/>
                  </a:lnTo>
                  <a:lnTo>
                    <a:pt x="254" y="104"/>
                  </a:lnTo>
                  <a:lnTo>
                    <a:pt x="254" y="98"/>
                  </a:lnTo>
                  <a:lnTo>
                    <a:pt x="254" y="94"/>
                  </a:lnTo>
                  <a:lnTo>
                    <a:pt x="254" y="88"/>
                  </a:lnTo>
                  <a:lnTo>
                    <a:pt x="254" y="82"/>
                  </a:lnTo>
                  <a:lnTo>
                    <a:pt x="254" y="80"/>
                  </a:lnTo>
                  <a:lnTo>
                    <a:pt x="254" y="76"/>
                  </a:lnTo>
                  <a:lnTo>
                    <a:pt x="254" y="74"/>
                  </a:lnTo>
                  <a:lnTo>
                    <a:pt x="256" y="72"/>
                  </a:lnTo>
                  <a:lnTo>
                    <a:pt x="256" y="70"/>
                  </a:lnTo>
                  <a:lnTo>
                    <a:pt x="256" y="68"/>
                  </a:lnTo>
                  <a:lnTo>
                    <a:pt x="258" y="68"/>
                  </a:lnTo>
                  <a:lnTo>
                    <a:pt x="258" y="68"/>
                  </a:lnTo>
                  <a:lnTo>
                    <a:pt x="258" y="66"/>
                  </a:lnTo>
                  <a:lnTo>
                    <a:pt x="260" y="66"/>
                  </a:lnTo>
                  <a:lnTo>
                    <a:pt x="262" y="66"/>
                  </a:lnTo>
                  <a:lnTo>
                    <a:pt x="264" y="64"/>
                  </a:lnTo>
                  <a:lnTo>
                    <a:pt x="268" y="64"/>
                  </a:lnTo>
                  <a:lnTo>
                    <a:pt x="270" y="62"/>
                  </a:lnTo>
                  <a:lnTo>
                    <a:pt x="272" y="62"/>
                  </a:lnTo>
                  <a:lnTo>
                    <a:pt x="276" y="60"/>
                  </a:lnTo>
                  <a:lnTo>
                    <a:pt x="278" y="60"/>
                  </a:lnTo>
                  <a:lnTo>
                    <a:pt x="280" y="60"/>
                  </a:lnTo>
                  <a:lnTo>
                    <a:pt x="280" y="58"/>
                  </a:lnTo>
                  <a:lnTo>
                    <a:pt x="280" y="58"/>
                  </a:lnTo>
                  <a:lnTo>
                    <a:pt x="282" y="58"/>
                  </a:lnTo>
                  <a:lnTo>
                    <a:pt x="282" y="56"/>
                  </a:lnTo>
                  <a:lnTo>
                    <a:pt x="282" y="54"/>
                  </a:lnTo>
                  <a:lnTo>
                    <a:pt x="282" y="54"/>
                  </a:lnTo>
                  <a:lnTo>
                    <a:pt x="282" y="52"/>
                  </a:lnTo>
                  <a:lnTo>
                    <a:pt x="282" y="50"/>
                  </a:lnTo>
                  <a:lnTo>
                    <a:pt x="282" y="50"/>
                  </a:lnTo>
                  <a:lnTo>
                    <a:pt x="282" y="50"/>
                  </a:lnTo>
                  <a:lnTo>
                    <a:pt x="282" y="48"/>
                  </a:lnTo>
                  <a:lnTo>
                    <a:pt x="280" y="48"/>
                  </a:lnTo>
                  <a:lnTo>
                    <a:pt x="280" y="48"/>
                  </a:lnTo>
                  <a:lnTo>
                    <a:pt x="278" y="48"/>
                  </a:lnTo>
                  <a:lnTo>
                    <a:pt x="276" y="48"/>
                  </a:lnTo>
                  <a:lnTo>
                    <a:pt x="276" y="48"/>
                  </a:lnTo>
                  <a:lnTo>
                    <a:pt x="274" y="48"/>
                  </a:lnTo>
                  <a:lnTo>
                    <a:pt x="274" y="48"/>
                  </a:lnTo>
                  <a:lnTo>
                    <a:pt x="272" y="48"/>
                  </a:lnTo>
                  <a:lnTo>
                    <a:pt x="272" y="48"/>
                  </a:lnTo>
                  <a:lnTo>
                    <a:pt x="272" y="48"/>
                  </a:lnTo>
                  <a:lnTo>
                    <a:pt x="272" y="46"/>
                  </a:lnTo>
                  <a:lnTo>
                    <a:pt x="272" y="46"/>
                  </a:lnTo>
                  <a:lnTo>
                    <a:pt x="272" y="44"/>
                  </a:lnTo>
                  <a:lnTo>
                    <a:pt x="272" y="42"/>
                  </a:lnTo>
                  <a:lnTo>
                    <a:pt x="272" y="42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0" y="30"/>
                  </a:lnTo>
                  <a:lnTo>
                    <a:pt x="270" y="24"/>
                  </a:lnTo>
                  <a:lnTo>
                    <a:pt x="268" y="22"/>
                  </a:lnTo>
                  <a:lnTo>
                    <a:pt x="268" y="22"/>
                  </a:lnTo>
                  <a:lnTo>
                    <a:pt x="268" y="20"/>
                  </a:lnTo>
                  <a:lnTo>
                    <a:pt x="268" y="20"/>
                  </a:lnTo>
                  <a:lnTo>
                    <a:pt x="266" y="20"/>
                  </a:lnTo>
                  <a:lnTo>
                    <a:pt x="266" y="20"/>
                  </a:lnTo>
                  <a:lnTo>
                    <a:pt x="264" y="20"/>
                  </a:lnTo>
                  <a:lnTo>
                    <a:pt x="262" y="20"/>
                  </a:lnTo>
                  <a:lnTo>
                    <a:pt x="260" y="18"/>
                  </a:lnTo>
                  <a:lnTo>
                    <a:pt x="260" y="18"/>
                  </a:lnTo>
                  <a:lnTo>
                    <a:pt x="258" y="18"/>
                  </a:lnTo>
                  <a:lnTo>
                    <a:pt x="258" y="16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54" y="12"/>
                  </a:lnTo>
                  <a:lnTo>
                    <a:pt x="254" y="10"/>
                  </a:lnTo>
                  <a:lnTo>
                    <a:pt x="252" y="10"/>
                  </a:lnTo>
                  <a:lnTo>
                    <a:pt x="250" y="10"/>
                  </a:lnTo>
                  <a:lnTo>
                    <a:pt x="248" y="10"/>
                  </a:lnTo>
                  <a:lnTo>
                    <a:pt x="246" y="10"/>
                  </a:lnTo>
                  <a:lnTo>
                    <a:pt x="244" y="10"/>
                  </a:lnTo>
                  <a:lnTo>
                    <a:pt x="242" y="10"/>
                  </a:lnTo>
                  <a:lnTo>
                    <a:pt x="238" y="10"/>
                  </a:lnTo>
                  <a:lnTo>
                    <a:pt x="232" y="10"/>
                  </a:lnTo>
                  <a:lnTo>
                    <a:pt x="230" y="10"/>
                  </a:lnTo>
                  <a:lnTo>
                    <a:pt x="228" y="10"/>
                  </a:lnTo>
                  <a:lnTo>
                    <a:pt x="226" y="10"/>
                  </a:lnTo>
                  <a:lnTo>
                    <a:pt x="224" y="10"/>
                  </a:lnTo>
                  <a:lnTo>
                    <a:pt x="222" y="8"/>
                  </a:lnTo>
                  <a:lnTo>
                    <a:pt x="220" y="8"/>
                  </a:lnTo>
                  <a:lnTo>
                    <a:pt x="220" y="8"/>
                  </a:lnTo>
                  <a:lnTo>
                    <a:pt x="220" y="6"/>
                  </a:lnTo>
                  <a:lnTo>
                    <a:pt x="218" y="4"/>
                  </a:lnTo>
                  <a:lnTo>
                    <a:pt x="216" y="2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12" y="0"/>
                  </a:lnTo>
                  <a:lnTo>
                    <a:pt x="208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204" y="0"/>
                  </a:lnTo>
                  <a:lnTo>
                    <a:pt x="198" y="2"/>
                  </a:lnTo>
                  <a:lnTo>
                    <a:pt x="194" y="2"/>
                  </a:lnTo>
                  <a:lnTo>
                    <a:pt x="192" y="4"/>
                  </a:lnTo>
                  <a:lnTo>
                    <a:pt x="190" y="4"/>
                  </a:lnTo>
                  <a:lnTo>
                    <a:pt x="188" y="4"/>
                  </a:lnTo>
                  <a:lnTo>
                    <a:pt x="188" y="2"/>
                  </a:lnTo>
                  <a:lnTo>
                    <a:pt x="184" y="2"/>
                  </a:lnTo>
                  <a:lnTo>
                    <a:pt x="182" y="2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6" y="2"/>
                  </a:lnTo>
                  <a:lnTo>
                    <a:pt x="176" y="4"/>
                  </a:lnTo>
                  <a:lnTo>
                    <a:pt x="176" y="6"/>
                  </a:lnTo>
                  <a:lnTo>
                    <a:pt x="176" y="6"/>
                  </a:lnTo>
                  <a:lnTo>
                    <a:pt x="176" y="6"/>
                  </a:lnTo>
                  <a:lnTo>
                    <a:pt x="176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2" y="8"/>
                  </a:lnTo>
                  <a:lnTo>
                    <a:pt x="170" y="8"/>
                  </a:lnTo>
                  <a:lnTo>
                    <a:pt x="168" y="10"/>
                  </a:lnTo>
                  <a:lnTo>
                    <a:pt x="166" y="8"/>
                  </a:lnTo>
                  <a:lnTo>
                    <a:pt x="162" y="8"/>
                  </a:lnTo>
                  <a:lnTo>
                    <a:pt x="156" y="8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0" y="8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46" y="10"/>
                  </a:lnTo>
                  <a:lnTo>
                    <a:pt x="146" y="10"/>
                  </a:lnTo>
                  <a:lnTo>
                    <a:pt x="146" y="12"/>
                  </a:lnTo>
                  <a:lnTo>
                    <a:pt x="146" y="14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2" y="18"/>
                  </a:lnTo>
                  <a:lnTo>
                    <a:pt x="140" y="18"/>
                  </a:lnTo>
                  <a:lnTo>
                    <a:pt x="138" y="18"/>
                  </a:lnTo>
                  <a:lnTo>
                    <a:pt x="138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28" y="20"/>
                  </a:lnTo>
                  <a:lnTo>
                    <a:pt x="126" y="20"/>
                  </a:lnTo>
                  <a:lnTo>
                    <a:pt x="124" y="20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20" y="20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18" y="16"/>
                  </a:lnTo>
                  <a:lnTo>
                    <a:pt x="116" y="16"/>
                  </a:lnTo>
                  <a:lnTo>
                    <a:pt x="116" y="14"/>
                  </a:lnTo>
                  <a:lnTo>
                    <a:pt x="116" y="12"/>
                  </a:lnTo>
                  <a:lnTo>
                    <a:pt x="114" y="10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2" y="8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08" y="6"/>
                  </a:lnTo>
                  <a:lnTo>
                    <a:pt x="106" y="6"/>
                  </a:lnTo>
                  <a:lnTo>
                    <a:pt x="106" y="4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2" y="6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8" y="14"/>
                  </a:lnTo>
                  <a:lnTo>
                    <a:pt x="96" y="14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20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90" y="22"/>
                  </a:lnTo>
                  <a:lnTo>
                    <a:pt x="92" y="22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4" y="40"/>
                  </a:lnTo>
                  <a:lnTo>
                    <a:pt x="92" y="42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46"/>
                  </a:lnTo>
                  <a:lnTo>
                    <a:pt x="88" y="46"/>
                  </a:lnTo>
                  <a:lnTo>
                    <a:pt x="88" y="46"/>
                  </a:lnTo>
                  <a:lnTo>
                    <a:pt x="86" y="48"/>
                  </a:lnTo>
                  <a:lnTo>
                    <a:pt x="86" y="50"/>
                  </a:lnTo>
                  <a:lnTo>
                    <a:pt x="86" y="52"/>
                  </a:lnTo>
                  <a:lnTo>
                    <a:pt x="86" y="54"/>
                  </a:lnTo>
                  <a:lnTo>
                    <a:pt x="84" y="58"/>
                  </a:lnTo>
                  <a:lnTo>
                    <a:pt x="84" y="60"/>
                  </a:lnTo>
                  <a:lnTo>
                    <a:pt x="86" y="64"/>
                  </a:lnTo>
                  <a:lnTo>
                    <a:pt x="86" y="70"/>
                  </a:lnTo>
                  <a:lnTo>
                    <a:pt x="86" y="76"/>
                  </a:lnTo>
                  <a:lnTo>
                    <a:pt x="86" y="82"/>
                  </a:lnTo>
                  <a:lnTo>
                    <a:pt x="86" y="86"/>
                  </a:lnTo>
                  <a:lnTo>
                    <a:pt x="86" y="88"/>
                  </a:lnTo>
                  <a:lnTo>
                    <a:pt x="86" y="90"/>
                  </a:lnTo>
                  <a:lnTo>
                    <a:pt x="86" y="94"/>
                  </a:lnTo>
                  <a:lnTo>
                    <a:pt x="84" y="94"/>
                  </a:lnTo>
                  <a:lnTo>
                    <a:pt x="84" y="96"/>
                  </a:lnTo>
                  <a:lnTo>
                    <a:pt x="82" y="98"/>
                  </a:lnTo>
                  <a:lnTo>
                    <a:pt x="82" y="100"/>
                  </a:lnTo>
                  <a:lnTo>
                    <a:pt x="82" y="100"/>
                  </a:lnTo>
                  <a:lnTo>
                    <a:pt x="80" y="102"/>
                  </a:lnTo>
                  <a:lnTo>
                    <a:pt x="78" y="104"/>
                  </a:lnTo>
                  <a:lnTo>
                    <a:pt x="76" y="104"/>
                  </a:lnTo>
                  <a:lnTo>
                    <a:pt x="76" y="106"/>
                  </a:lnTo>
                  <a:lnTo>
                    <a:pt x="76" y="106"/>
                  </a:lnTo>
                  <a:lnTo>
                    <a:pt x="76" y="108"/>
                  </a:lnTo>
                  <a:lnTo>
                    <a:pt x="76" y="110"/>
                  </a:lnTo>
                  <a:lnTo>
                    <a:pt x="76" y="114"/>
                  </a:lnTo>
                  <a:lnTo>
                    <a:pt x="76" y="116"/>
                  </a:lnTo>
                  <a:lnTo>
                    <a:pt x="76" y="118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4"/>
                  </a:lnTo>
                  <a:lnTo>
                    <a:pt x="74" y="124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2" y="126"/>
                  </a:lnTo>
                  <a:lnTo>
                    <a:pt x="70" y="126"/>
                  </a:lnTo>
                  <a:lnTo>
                    <a:pt x="68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30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2" y="138"/>
                  </a:lnTo>
                  <a:lnTo>
                    <a:pt x="62" y="142"/>
                  </a:lnTo>
                  <a:lnTo>
                    <a:pt x="62" y="144"/>
                  </a:lnTo>
                  <a:lnTo>
                    <a:pt x="62" y="146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2" y="150"/>
                  </a:lnTo>
                  <a:lnTo>
                    <a:pt x="62" y="150"/>
                  </a:lnTo>
                  <a:lnTo>
                    <a:pt x="60" y="150"/>
                  </a:lnTo>
                  <a:lnTo>
                    <a:pt x="60" y="152"/>
                  </a:lnTo>
                  <a:lnTo>
                    <a:pt x="58" y="152"/>
                  </a:lnTo>
                  <a:lnTo>
                    <a:pt x="56" y="152"/>
                  </a:lnTo>
                  <a:lnTo>
                    <a:pt x="54" y="154"/>
                  </a:lnTo>
                  <a:lnTo>
                    <a:pt x="52" y="154"/>
                  </a:lnTo>
                  <a:lnTo>
                    <a:pt x="50" y="154"/>
                  </a:lnTo>
                  <a:lnTo>
                    <a:pt x="48" y="156"/>
                  </a:lnTo>
                  <a:lnTo>
                    <a:pt x="46" y="156"/>
                  </a:lnTo>
                  <a:lnTo>
                    <a:pt x="46" y="156"/>
                  </a:lnTo>
                  <a:lnTo>
                    <a:pt x="46" y="156"/>
                  </a:lnTo>
                  <a:lnTo>
                    <a:pt x="46" y="158"/>
                  </a:lnTo>
                  <a:lnTo>
                    <a:pt x="44" y="158"/>
                  </a:lnTo>
                  <a:lnTo>
                    <a:pt x="44" y="160"/>
                  </a:lnTo>
                  <a:lnTo>
                    <a:pt x="44" y="160"/>
                  </a:lnTo>
                  <a:lnTo>
                    <a:pt x="42" y="162"/>
                  </a:lnTo>
                  <a:lnTo>
                    <a:pt x="42" y="162"/>
                  </a:lnTo>
                  <a:lnTo>
                    <a:pt x="40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6" y="162"/>
                  </a:lnTo>
                  <a:lnTo>
                    <a:pt x="34" y="162"/>
                  </a:lnTo>
                  <a:lnTo>
                    <a:pt x="32" y="162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22" y="156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16" y="160"/>
                  </a:lnTo>
                  <a:lnTo>
                    <a:pt x="14" y="162"/>
                  </a:lnTo>
                  <a:lnTo>
                    <a:pt x="10" y="162"/>
                  </a:lnTo>
                  <a:lnTo>
                    <a:pt x="8" y="164"/>
                  </a:lnTo>
                  <a:lnTo>
                    <a:pt x="6" y="164"/>
                  </a:lnTo>
                  <a:lnTo>
                    <a:pt x="4" y="166"/>
                  </a:lnTo>
                  <a:lnTo>
                    <a:pt x="0" y="166"/>
                  </a:lnTo>
                  <a:lnTo>
                    <a:pt x="4" y="172"/>
                  </a:lnTo>
                  <a:lnTo>
                    <a:pt x="4" y="172"/>
                  </a:lnTo>
                  <a:lnTo>
                    <a:pt x="6" y="172"/>
                  </a:lnTo>
                  <a:lnTo>
                    <a:pt x="6" y="172"/>
                  </a:lnTo>
                  <a:lnTo>
                    <a:pt x="6" y="17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73" name="Freeform 398">
              <a:extLst>
                <a:ext uri="{FF2B5EF4-FFF2-40B4-BE49-F238E27FC236}">
                  <a16:creationId xmlns:a16="http://schemas.microsoft.com/office/drawing/2014/main" id="{51E686A5-C023-41AD-93FE-3040D71929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720" y="4815022"/>
              <a:ext cx="310935" cy="344328"/>
            </a:xfrm>
            <a:custGeom>
              <a:avLst/>
              <a:gdLst>
                <a:gd name="T0" fmla="*/ 24 w 182"/>
                <a:gd name="T1" fmla="*/ 6 h 206"/>
                <a:gd name="T2" fmla="*/ 42 w 182"/>
                <a:gd name="T3" fmla="*/ 4 h 206"/>
                <a:gd name="T4" fmla="*/ 64 w 182"/>
                <a:gd name="T5" fmla="*/ 0 h 206"/>
                <a:gd name="T6" fmla="*/ 78 w 182"/>
                <a:gd name="T7" fmla="*/ 4 h 206"/>
                <a:gd name="T8" fmla="*/ 80 w 182"/>
                <a:gd name="T9" fmla="*/ 16 h 206"/>
                <a:gd name="T10" fmla="*/ 84 w 182"/>
                <a:gd name="T11" fmla="*/ 30 h 206"/>
                <a:gd name="T12" fmla="*/ 90 w 182"/>
                <a:gd name="T13" fmla="*/ 32 h 206"/>
                <a:gd name="T14" fmla="*/ 90 w 182"/>
                <a:gd name="T15" fmla="*/ 40 h 206"/>
                <a:gd name="T16" fmla="*/ 100 w 182"/>
                <a:gd name="T17" fmla="*/ 44 h 206"/>
                <a:gd name="T18" fmla="*/ 112 w 182"/>
                <a:gd name="T19" fmla="*/ 42 h 206"/>
                <a:gd name="T20" fmla="*/ 118 w 182"/>
                <a:gd name="T21" fmla="*/ 38 h 206"/>
                <a:gd name="T22" fmla="*/ 118 w 182"/>
                <a:gd name="T23" fmla="*/ 24 h 206"/>
                <a:gd name="T24" fmla="*/ 124 w 182"/>
                <a:gd name="T25" fmla="*/ 18 h 206"/>
                <a:gd name="T26" fmla="*/ 126 w 182"/>
                <a:gd name="T27" fmla="*/ 22 h 206"/>
                <a:gd name="T28" fmla="*/ 130 w 182"/>
                <a:gd name="T29" fmla="*/ 36 h 206"/>
                <a:gd name="T30" fmla="*/ 136 w 182"/>
                <a:gd name="T31" fmla="*/ 32 h 206"/>
                <a:gd name="T32" fmla="*/ 146 w 182"/>
                <a:gd name="T33" fmla="*/ 30 h 206"/>
                <a:gd name="T34" fmla="*/ 152 w 182"/>
                <a:gd name="T35" fmla="*/ 38 h 206"/>
                <a:gd name="T36" fmla="*/ 154 w 182"/>
                <a:gd name="T37" fmla="*/ 72 h 206"/>
                <a:gd name="T38" fmla="*/ 154 w 182"/>
                <a:gd name="T39" fmla="*/ 84 h 206"/>
                <a:gd name="T40" fmla="*/ 162 w 182"/>
                <a:gd name="T41" fmla="*/ 90 h 206"/>
                <a:gd name="T42" fmla="*/ 180 w 182"/>
                <a:gd name="T43" fmla="*/ 90 h 206"/>
                <a:gd name="T44" fmla="*/ 180 w 182"/>
                <a:gd name="T45" fmla="*/ 118 h 206"/>
                <a:gd name="T46" fmla="*/ 176 w 182"/>
                <a:gd name="T47" fmla="*/ 126 h 206"/>
                <a:gd name="T48" fmla="*/ 164 w 182"/>
                <a:gd name="T49" fmla="*/ 124 h 206"/>
                <a:gd name="T50" fmla="*/ 162 w 182"/>
                <a:gd name="T51" fmla="*/ 118 h 206"/>
                <a:gd name="T52" fmla="*/ 156 w 182"/>
                <a:gd name="T53" fmla="*/ 116 h 206"/>
                <a:gd name="T54" fmla="*/ 154 w 182"/>
                <a:gd name="T55" fmla="*/ 120 h 206"/>
                <a:gd name="T56" fmla="*/ 152 w 182"/>
                <a:gd name="T57" fmla="*/ 126 h 206"/>
                <a:gd name="T58" fmla="*/ 144 w 182"/>
                <a:gd name="T59" fmla="*/ 126 h 206"/>
                <a:gd name="T60" fmla="*/ 140 w 182"/>
                <a:gd name="T61" fmla="*/ 136 h 206"/>
                <a:gd name="T62" fmla="*/ 144 w 182"/>
                <a:gd name="T63" fmla="*/ 166 h 206"/>
                <a:gd name="T64" fmla="*/ 146 w 182"/>
                <a:gd name="T65" fmla="*/ 182 h 206"/>
                <a:gd name="T66" fmla="*/ 156 w 182"/>
                <a:gd name="T67" fmla="*/ 192 h 206"/>
                <a:gd name="T68" fmla="*/ 128 w 182"/>
                <a:gd name="T69" fmla="*/ 204 h 206"/>
                <a:gd name="T70" fmla="*/ 100 w 182"/>
                <a:gd name="T71" fmla="*/ 202 h 206"/>
                <a:gd name="T72" fmla="*/ 94 w 182"/>
                <a:gd name="T73" fmla="*/ 194 h 206"/>
                <a:gd name="T74" fmla="*/ 82 w 182"/>
                <a:gd name="T75" fmla="*/ 192 h 206"/>
                <a:gd name="T76" fmla="*/ 50 w 182"/>
                <a:gd name="T77" fmla="*/ 194 h 206"/>
                <a:gd name="T78" fmla="*/ 26 w 182"/>
                <a:gd name="T79" fmla="*/ 190 h 206"/>
                <a:gd name="T80" fmla="*/ 14 w 182"/>
                <a:gd name="T81" fmla="*/ 184 h 206"/>
                <a:gd name="T82" fmla="*/ 0 w 182"/>
                <a:gd name="T83" fmla="*/ 188 h 206"/>
                <a:gd name="T84" fmla="*/ 0 w 182"/>
                <a:gd name="T85" fmla="*/ 164 h 206"/>
                <a:gd name="T86" fmla="*/ 16 w 182"/>
                <a:gd name="T87" fmla="*/ 136 h 206"/>
                <a:gd name="T88" fmla="*/ 26 w 182"/>
                <a:gd name="T89" fmla="*/ 114 h 206"/>
                <a:gd name="T90" fmla="*/ 32 w 182"/>
                <a:gd name="T91" fmla="*/ 112 h 206"/>
                <a:gd name="T92" fmla="*/ 36 w 182"/>
                <a:gd name="T93" fmla="*/ 102 h 206"/>
                <a:gd name="T94" fmla="*/ 32 w 182"/>
                <a:gd name="T95" fmla="*/ 90 h 206"/>
                <a:gd name="T96" fmla="*/ 24 w 182"/>
                <a:gd name="T97" fmla="*/ 70 h 206"/>
                <a:gd name="T98" fmla="*/ 22 w 182"/>
                <a:gd name="T99" fmla="*/ 42 h 206"/>
                <a:gd name="T100" fmla="*/ 14 w 182"/>
                <a:gd name="T101" fmla="*/ 36 h 206"/>
                <a:gd name="T102" fmla="*/ 12 w 182"/>
                <a:gd name="T103" fmla="*/ 26 h 206"/>
                <a:gd name="T104" fmla="*/ 14 w 182"/>
                <a:gd name="T105" fmla="*/ 14 h 206"/>
                <a:gd name="T106" fmla="*/ 8 w 182"/>
                <a:gd name="T107" fmla="*/ 12 h 206"/>
                <a:gd name="T108" fmla="*/ 4 w 182"/>
                <a:gd name="T109" fmla="*/ 1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2" h="206">
                  <a:moveTo>
                    <a:pt x="8" y="4"/>
                  </a:moveTo>
                  <a:lnTo>
                    <a:pt x="8" y="4"/>
                  </a:lnTo>
                  <a:lnTo>
                    <a:pt x="10" y="4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8" y="6"/>
                  </a:lnTo>
                  <a:lnTo>
                    <a:pt x="30" y="8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8" y="6"/>
                  </a:lnTo>
                  <a:lnTo>
                    <a:pt x="42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2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8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6"/>
                  </a:lnTo>
                  <a:lnTo>
                    <a:pt x="82" y="26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6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6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6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8" y="44"/>
                  </a:lnTo>
                  <a:lnTo>
                    <a:pt x="110" y="42"/>
                  </a:lnTo>
                  <a:lnTo>
                    <a:pt x="112" y="42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8" y="38"/>
                  </a:lnTo>
                  <a:lnTo>
                    <a:pt x="118" y="34"/>
                  </a:lnTo>
                  <a:lnTo>
                    <a:pt x="116" y="32"/>
                  </a:lnTo>
                  <a:lnTo>
                    <a:pt x="116" y="30"/>
                  </a:lnTo>
                  <a:lnTo>
                    <a:pt x="116" y="28"/>
                  </a:lnTo>
                  <a:lnTo>
                    <a:pt x="116" y="26"/>
                  </a:lnTo>
                  <a:lnTo>
                    <a:pt x="116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2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22" y="20"/>
                  </a:lnTo>
                  <a:lnTo>
                    <a:pt x="122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8" y="24"/>
                  </a:lnTo>
                  <a:lnTo>
                    <a:pt x="128" y="26"/>
                  </a:lnTo>
                  <a:lnTo>
                    <a:pt x="128" y="30"/>
                  </a:lnTo>
                  <a:lnTo>
                    <a:pt x="130" y="32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0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4" y="36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38" y="32"/>
                  </a:lnTo>
                  <a:lnTo>
                    <a:pt x="140" y="30"/>
                  </a:lnTo>
                  <a:lnTo>
                    <a:pt x="142" y="30"/>
                  </a:lnTo>
                  <a:lnTo>
                    <a:pt x="144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8" y="30"/>
                  </a:lnTo>
                  <a:lnTo>
                    <a:pt x="148" y="30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50" y="34"/>
                  </a:lnTo>
                  <a:lnTo>
                    <a:pt x="152" y="36"/>
                  </a:lnTo>
                  <a:lnTo>
                    <a:pt x="152" y="38"/>
                  </a:lnTo>
                  <a:lnTo>
                    <a:pt x="154" y="40"/>
                  </a:lnTo>
                  <a:lnTo>
                    <a:pt x="154" y="42"/>
                  </a:lnTo>
                  <a:lnTo>
                    <a:pt x="154" y="46"/>
                  </a:lnTo>
                  <a:lnTo>
                    <a:pt x="154" y="50"/>
                  </a:lnTo>
                  <a:lnTo>
                    <a:pt x="154" y="54"/>
                  </a:lnTo>
                  <a:lnTo>
                    <a:pt x="154" y="64"/>
                  </a:lnTo>
                  <a:lnTo>
                    <a:pt x="154" y="72"/>
                  </a:lnTo>
                  <a:lnTo>
                    <a:pt x="154" y="74"/>
                  </a:lnTo>
                  <a:lnTo>
                    <a:pt x="154" y="78"/>
                  </a:lnTo>
                  <a:lnTo>
                    <a:pt x="154" y="80"/>
                  </a:lnTo>
                  <a:lnTo>
                    <a:pt x="154" y="80"/>
                  </a:lnTo>
                  <a:lnTo>
                    <a:pt x="154" y="82"/>
                  </a:lnTo>
                  <a:lnTo>
                    <a:pt x="154" y="84"/>
                  </a:lnTo>
                  <a:lnTo>
                    <a:pt x="154" y="84"/>
                  </a:lnTo>
                  <a:lnTo>
                    <a:pt x="156" y="86"/>
                  </a:lnTo>
                  <a:lnTo>
                    <a:pt x="156" y="86"/>
                  </a:lnTo>
                  <a:lnTo>
                    <a:pt x="158" y="88"/>
                  </a:lnTo>
                  <a:lnTo>
                    <a:pt x="160" y="88"/>
                  </a:lnTo>
                  <a:lnTo>
                    <a:pt x="160" y="90"/>
                  </a:lnTo>
                  <a:lnTo>
                    <a:pt x="162" y="90"/>
                  </a:lnTo>
                  <a:lnTo>
                    <a:pt x="162" y="90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70" y="92"/>
                  </a:lnTo>
                  <a:lnTo>
                    <a:pt x="172" y="92"/>
                  </a:lnTo>
                  <a:lnTo>
                    <a:pt x="178" y="92"/>
                  </a:lnTo>
                  <a:lnTo>
                    <a:pt x="180" y="90"/>
                  </a:lnTo>
                  <a:lnTo>
                    <a:pt x="180" y="96"/>
                  </a:lnTo>
                  <a:lnTo>
                    <a:pt x="180" y="100"/>
                  </a:lnTo>
                  <a:lnTo>
                    <a:pt x="182" y="106"/>
                  </a:lnTo>
                  <a:lnTo>
                    <a:pt x="182" y="108"/>
                  </a:lnTo>
                  <a:lnTo>
                    <a:pt x="182" y="112"/>
                  </a:lnTo>
                  <a:lnTo>
                    <a:pt x="182" y="114"/>
                  </a:lnTo>
                  <a:lnTo>
                    <a:pt x="180" y="118"/>
                  </a:lnTo>
                  <a:lnTo>
                    <a:pt x="180" y="120"/>
                  </a:lnTo>
                  <a:lnTo>
                    <a:pt x="180" y="122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78" y="126"/>
                  </a:lnTo>
                  <a:lnTo>
                    <a:pt x="176" y="126"/>
                  </a:lnTo>
                  <a:lnTo>
                    <a:pt x="176" y="126"/>
                  </a:lnTo>
                  <a:lnTo>
                    <a:pt x="174" y="126"/>
                  </a:lnTo>
                  <a:lnTo>
                    <a:pt x="172" y="126"/>
                  </a:lnTo>
                  <a:lnTo>
                    <a:pt x="170" y="126"/>
                  </a:lnTo>
                  <a:lnTo>
                    <a:pt x="168" y="126"/>
                  </a:lnTo>
                  <a:lnTo>
                    <a:pt x="166" y="126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58" y="116"/>
                  </a:lnTo>
                  <a:lnTo>
                    <a:pt x="156" y="116"/>
                  </a:lnTo>
                  <a:lnTo>
                    <a:pt x="156" y="116"/>
                  </a:lnTo>
                  <a:lnTo>
                    <a:pt x="154" y="116"/>
                  </a:lnTo>
                  <a:lnTo>
                    <a:pt x="154" y="116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20"/>
                  </a:lnTo>
                  <a:lnTo>
                    <a:pt x="154" y="120"/>
                  </a:lnTo>
                  <a:lnTo>
                    <a:pt x="154" y="122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4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0" y="126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6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2" y="128"/>
                  </a:lnTo>
                  <a:lnTo>
                    <a:pt x="142" y="130"/>
                  </a:lnTo>
                  <a:lnTo>
                    <a:pt x="142" y="132"/>
                  </a:lnTo>
                  <a:lnTo>
                    <a:pt x="142" y="134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2" y="142"/>
                  </a:lnTo>
                  <a:lnTo>
                    <a:pt x="142" y="144"/>
                  </a:lnTo>
                  <a:lnTo>
                    <a:pt x="142" y="150"/>
                  </a:lnTo>
                  <a:lnTo>
                    <a:pt x="142" y="156"/>
                  </a:lnTo>
                  <a:lnTo>
                    <a:pt x="144" y="162"/>
                  </a:lnTo>
                  <a:lnTo>
                    <a:pt x="144" y="166"/>
                  </a:lnTo>
                  <a:lnTo>
                    <a:pt x="144" y="172"/>
                  </a:lnTo>
                  <a:lnTo>
                    <a:pt x="144" y="176"/>
                  </a:lnTo>
                  <a:lnTo>
                    <a:pt x="144" y="176"/>
                  </a:lnTo>
                  <a:lnTo>
                    <a:pt x="144" y="178"/>
                  </a:lnTo>
                  <a:lnTo>
                    <a:pt x="146" y="178"/>
                  </a:lnTo>
                  <a:lnTo>
                    <a:pt x="146" y="180"/>
                  </a:lnTo>
                  <a:lnTo>
                    <a:pt x="146" y="182"/>
                  </a:lnTo>
                  <a:lnTo>
                    <a:pt x="148" y="184"/>
                  </a:lnTo>
                  <a:lnTo>
                    <a:pt x="150" y="186"/>
                  </a:lnTo>
                  <a:lnTo>
                    <a:pt x="152" y="186"/>
                  </a:lnTo>
                  <a:lnTo>
                    <a:pt x="154" y="188"/>
                  </a:lnTo>
                  <a:lnTo>
                    <a:pt x="154" y="190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6" y="196"/>
                  </a:lnTo>
                  <a:lnTo>
                    <a:pt x="156" y="200"/>
                  </a:lnTo>
                  <a:lnTo>
                    <a:pt x="140" y="206"/>
                  </a:lnTo>
                  <a:lnTo>
                    <a:pt x="136" y="206"/>
                  </a:lnTo>
                  <a:lnTo>
                    <a:pt x="128" y="204"/>
                  </a:lnTo>
                  <a:lnTo>
                    <a:pt x="126" y="204"/>
                  </a:lnTo>
                  <a:lnTo>
                    <a:pt x="120" y="204"/>
                  </a:lnTo>
                  <a:lnTo>
                    <a:pt x="112" y="204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2" y="202"/>
                  </a:lnTo>
                  <a:lnTo>
                    <a:pt x="100" y="202"/>
                  </a:lnTo>
                  <a:lnTo>
                    <a:pt x="98" y="202"/>
                  </a:lnTo>
                  <a:lnTo>
                    <a:pt x="98" y="200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4" y="196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88" y="192"/>
                  </a:lnTo>
                  <a:lnTo>
                    <a:pt x="86" y="192"/>
                  </a:lnTo>
                  <a:lnTo>
                    <a:pt x="84" y="192"/>
                  </a:lnTo>
                  <a:lnTo>
                    <a:pt x="82" y="192"/>
                  </a:lnTo>
                  <a:lnTo>
                    <a:pt x="80" y="192"/>
                  </a:lnTo>
                  <a:lnTo>
                    <a:pt x="74" y="192"/>
                  </a:lnTo>
                  <a:lnTo>
                    <a:pt x="64" y="194"/>
                  </a:lnTo>
                  <a:lnTo>
                    <a:pt x="60" y="194"/>
                  </a:lnTo>
                  <a:lnTo>
                    <a:pt x="58" y="194"/>
                  </a:lnTo>
                  <a:lnTo>
                    <a:pt x="56" y="194"/>
                  </a:lnTo>
                  <a:lnTo>
                    <a:pt x="50" y="194"/>
                  </a:lnTo>
                  <a:lnTo>
                    <a:pt x="42" y="194"/>
                  </a:lnTo>
                  <a:lnTo>
                    <a:pt x="40" y="192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30" y="192"/>
                  </a:lnTo>
                  <a:lnTo>
                    <a:pt x="28" y="190"/>
                  </a:lnTo>
                  <a:lnTo>
                    <a:pt x="26" y="190"/>
                  </a:lnTo>
                  <a:lnTo>
                    <a:pt x="22" y="188"/>
                  </a:lnTo>
                  <a:lnTo>
                    <a:pt x="20" y="186"/>
                  </a:lnTo>
                  <a:lnTo>
                    <a:pt x="18" y="186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4" y="184"/>
                  </a:lnTo>
                  <a:lnTo>
                    <a:pt x="14" y="184"/>
                  </a:lnTo>
                  <a:lnTo>
                    <a:pt x="14" y="184"/>
                  </a:lnTo>
                  <a:lnTo>
                    <a:pt x="10" y="186"/>
                  </a:lnTo>
                  <a:lnTo>
                    <a:pt x="8" y="186"/>
                  </a:lnTo>
                  <a:lnTo>
                    <a:pt x="6" y="188"/>
                  </a:lnTo>
                  <a:lnTo>
                    <a:pt x="2" y="190"/>
                  </a:lnTo>
                  <a:lnTo>
                    <a:pt x="0" y="190"/>
                  </a:lnTo>
                  <a:lnTo>
                    <a:pt x="0" y="188"/>
                  </a:lnTo>
                  <a:lnTo>
                    <a:pt x="0" y="180"/>
                  </a:lnTo>
                  <a:lnTo>
                    <a:pt x="0" y="176"/>
                  </a:lnTo>
                  <a:lnTo>
                    <a:pt x="0" y="172"/>
                  </a:lnTo>
                  <a:lnTo>
                    <a:pt x="0" y="168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4"/>
                  </a:lnTo>
                  <a:lnTo>
                    <a:pt x="2" y="162"/>
                  </a:lnTo>
                  <a:lnTo>
                    <a:pt x="2" y="158"/>
                  </a:lnTo>
                  <a:lnTo>
                    <a:pt x="6" y="154"/>
                  </a:lnTo>
                  <a:lnTo>
                    <a:pt x="8" y="150"/>
                  </a:lnTo>
                  <a:lnTo>
                    <a:pt x="12" y="144"/>
                  </a:lnTo>
                  <a:lnTo>
                    <a:pt x="14" y="140"/>
                  </a:lnTo>
                  <a:lnTo>
                    <a:pt x="16" y="136"/>
                  </a:lnTo>
                  <a:lnTo>
                    <a:pt x="18" y="132"/>
                  </a:lnTo>
                  <a:lnTo>
                    <a:pt x="20" y="128"/>
                  </a:lnTo>
                  <a:lnTo>
                    <a:pt x="22" y="122"/>
                  </a:lnTo>
                  <a:lnTo>
                    <a:pt x="24" y="118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8" y="112"/>
                  </a:lnTo>
                  <a:lnTo>
                    <a:pt x="30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0"/>
                  </a:lnTo>
                  <a:lnTo>
                    <a:pt x="34" y="110"/>
                  </a:lnTo>
                  <a:lnTo>
                    <a:pt x="34" y="108"/>
                  </a:lnTo>
                  <a:lnTo>
                    <a:pt x="34" y="106"/>
                  </a:lnTo>
                  <a:lnTo>
                    <a:pt x="36" y="104"/>
                  </a:lnTo>
                  <a:lnTo>
                    <a:pt x="36" y="102"/>
                  </a:lnTo>
                  <a:lnTo>
                    <a:pt x="36" y="100"/>
                  </a:lnTo>
                  <a:lnTo>
                    <a:pt x="36" y="98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6" y="94"/>
                  </a:lnTo>
                  <a:lnTo>
                    <a:pt x="34" y="92"/>
                  </a:lnTo>
                  <a:lnTo>
                    <a:pt x="32" y="90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8" y="82"/>
                  </a:lnTo>
                  <a:lnTo>
                    <a:pt x="26" y="80"/>
                  </a:lnTo>
                  <a:lnTo>
                    <a:pt x="26" y="78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4" y="62"/>
                  </a:lnTo>
                  <a:lnTo>
                    <a:pt x="22" y="58"/>
                  </a:lnTo>
                  <a:lnTo>
                    <a:pt x="22" y="56"/>
                  </a:lnTo>
                  <a:lnTo>
                    <a:pt x="22" y="50"/>
                  </a:lnTo>
                  <a:lnTo>
                    <a:pt x="22" y="48"/>
                  </a:lnTo>
                  <a:lnTo>
                    <a:pt x="22" y="44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16" y="38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74" name="Freeform 400">
              <a:extLst>
                <a:ext uri="{FF2B5EF4-FFF2-40B4-BE49-F238E27FC236}">
                  <a16:creationId xmlns:a16="http://schemas.microsoft.com/office/drawing/2014/main" id="{7E006B4F-B929-47FA-A633-E5AF3A7A1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2418" y="4524181"/>
              <a:ext cx="198177" cy="254067"/>
            </a:xfrm>
            <a:custGeom>
              <a:avLst/>
              <a:gdLst>
                <a:gd name="T0" fmla="*/ 78 w 116"/>
                <a:gd name="T1" fmla="*/ 148 h 152"/>
                <a:gd name="T2" fmla="*/ 64 w 116"/>
                <a:gd name="T3" fmla="*/ 142 h 152"/>
                <a:gd name="T4" fmla="*/ 62 w 116"/>
                <a:gd name="T5" fmla="*/ 138 h 152"/>
                <a:gd name="T6" fmla="*/ 60 w 116"/>
                <a:gd name="T7" fmla="*/ 132 h 152"/>
                <a:gd name="T8" fmla="*/ 60 w 116"/>
                <a:gd name="T9" fmla="*/ 128 h 152"/>
                <a:gd name="T10" fmla="*/ 56 w 116"/>
                <a:gd name="T11" fmla="*/ 126 h 152"/>
                <a:gd name="T12" fmla="*/ 46 w 116"/>
                <a:gd name="T13" fmla="*/ 124 h 152"/>
                <a:gd name="T14" fmla="*/ 40 w 116"/>
                <a:gd name="T15" fmla="*/ 118 h 152"/>
                <a:gd name="T16" fmla="*/ 26 w 116"/>
                <a:gd name="T17" fmla="*/ 106 h 152"/>
                <a:gd name="T18" fmla="*/ 18 w 116"/>
                <a:gd name="T19" fmla="*/ 98 h 152"/>
                <a:gd name="T20" fmla="*/ 10 w 116"/>
                <a:gd name="T21" fmla="*/ 98 h 152"/>
                <a:gd name="T22" fmla="*/ 4 w 116"/>
                <a:gd name="T23" fmla="*/ 98 h 152"/>
                <a:gd name="T24" fmla="*/ 2 w 116"/>
                <a:gd name="T25" fmla="*/ 96 h 152"/>
                <a:gd name="T26" fmla="*/ 0 w 116"/>
                <a:gd name="T27" fmla="*/ 88 h 152"/>
                <a:gd name="T28" fmla="*/ 2 w 116"/>
                <a:gd name="T29" fmla="*/ 76 h 152"/>
                <a:gd name="T30" fmla="*/ 8 w 116"/>
                <a:gd name="T31" fmla="*/ 64 h 152"/>
                <a:gd name="T32" fmla="*/ 12 w 116"/>
                <a:gd name="T33" fmla="*/ 54 h 152"/>
                <a:gd name="T34" fmla="*/ 12 w 116"/>
                <a:gd name="T35" fmla="*/ 38 h 152"/>
                <a:gd name="T36" fmla="*/ 10 w 116"/>
                <a:gd name="T37" fmla="*/ 28 h 152"/>
                <a:gd name="T38" fmla="*/ 4 w 116"/>
                <a:gd name="T39" fmla="*/ 16 h 152"/>
                <a:gd name="T40" fmla="*/ 30 w 116"/>
                <a:gd name="T41" fmla="*/ 0 h 152"/>
                <a:gd name="T42" fmla="*/ 40 w 116"/>
                <a:gd name="T43" fmla="*/ 4 h 152"/>
                <a:gd name="T44" fmla="*/ 48 w 116"/>
                <a:gd name="T45" fmla="*/ 8 h 152"/>
                <a:gd name="T46" fmla="*/ 52 w 116"/>
                <a:gd name="T47" fmla="*/ 14 h 152"/>
                <a:gd name="T48" fmla="*/ 52 w 116"/>
                <a:gd name="T49" fmla="*/ 20 h 152"/>
                <a:gd name="T50" fmla="*/ 54 w 116"/>
                <a:gd name="T51" fmla="*/ 24 h 152"/>
                <a:gd name="T52" fmla="*/ 62 w 116"/>
                <a:gd name="T53" fmla="*/ 26 h 152"/>
                <a:gd name="T54" fmla="*/ 72 w 116"/>
                <a:gd name="T55" fmla="*/ 26 h 152"/>
                <a:gd name="T56" fmla="*/ 80 w 116"/>
                <a:gd name="T57" fmla="*/ 24 h 152"/>
                <a:gd name="T58" fmla="*/ 86 w 116"/>
                <a:gd name="T59" fmla="*/ 20 h 152"/>
                <a:gd name="T60" fmla="*/ 84 w 116"/>
                <a:gd name="T61" fmla="*/ 14 h 152"/>
                <a:gd name="T62" fmla="*/ 88 w 116"/>
                <a:gd name="T63" fmla="*/ 12 h 152"/>
                <a:gd name="T64" fmla="*/ 98 w 116"/>
                <a:gd name="T65" fmla="*/ 12 h 152"/>
                <a:gd name="T66" fmla="*/ 106 w 116"/>
                <a:gd name="T67" fmla="*/ 14 h 152"/>
                <a:gd name="T68" fmla="*/ 110 w 116"/>
                <a:gd name="T69" fmla="*/ 18 h 152"/>
                <a:gd name="T70" fmla="*/ 112 w 116"/>
                <a:gd name="T71" fmla="*/ 26 h 152"/>
                <a:gd name="T72" fmla="*/ 108 w 116"/>
                <a:gd name="T73" fmla="*/ 32 h 152"/>
                <a:gd name="T74" fmla="*/ 104 w 116"/>
                <a:gd name="T75" fmla="*/ 40 h 152"/>
                <a:gd name="T76" fmla="*/ 102 w 116"/>
                <a:gd name="T77" fmla="*/ 54 h 152"/>
                <a:gd name="T78" fmla="*/ 102 w 116"/>
                <a:gd name="T79" fmla="*/ 72 h 152"/>
                <a:gd name="T80" fmla="*/ 102 w 116"/>
                <a:gd name="T81" fmla="*/ 90 h 152"/>
                <a:gd name="T82" fmla="*/ 106 w 116"/>
                <a:gd name="T83" fmla="*/ 102 h 152"/>
                <a:gd name="T84" fmla="*/ 110 w 116"/>
                <a:gd name="T85" fmla="*/ 106 h 152"/>
                <a:gd name="T86" fmla="*/ 108 w 116"/>
                <a:gd name="T87" fmla="*/ 112 h 152"/>
                <a:gd name="T88" fmla="*/ 104 w 116"/>
                <a:gd name="T89" fmla="*/ 118 h 152"/>
                <a:gd name="T90" fmla="*/ 102 w 116"/>
                <a:gd name="T91" fmla="*/ 124 h 152"/>
                <a:gd name="T92" fmla="*/ 94 w 116"/>
                <a:gd name="T93" fmla="*/ 130 h 152"/>
                <a:gd name="T94" fmla="*/ 90 w 116"/>
                <a:gd name="T95" fmla="*/ 134 h 152"/>
                <a:gd name="T96" fmla="*/ 88 w 116"/>
                <a:gd name="T97" fmla="*/ 14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6" h="152">
                  <a:moveTo>
                    <a:pt x="84" y="152"/>
                  </a:moveTo>
                  <a:lnTo>
                    <a:pt x="84" y="152"/>
                  </a:lnTo>
                  <a:lnTo>
                    <a:pt x="80" y="150"/>
                  </a:lnTo>
                  <a:lnTo>
                    <a:pt x="78" y="148"/>
                  </a:lnTo>
                  <a:lnTo>
                    <a:pt x="74" y="148"/>
                  </a:lnTo>
                  <a:lnTo>
                    <a:pt x="70" y="146"/>
                  </a:lnTo>
                  <a:lnTo>
                    <a:pt x="66" y="144"/>
                  </a:lnTo>
                  <a:lnTo>
                    <a:pt x="64" y="142"/>
                  </a:lnTo>
                  <a:lnTo>
                    <a:pt x="64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0" y="136"/>
                  </a:lnTo>
                  <a:lnTo>
                    <a:pt x="60" y="134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0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6" y="126"/>
                  </a:lnTo>
                  <a:lnTo>
                    <a:pt x="54" y="124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6" y="124"/>
                  </a:lnTo>
                  <a:lnTo>
                    <a:pt x="44" y="122"/>
                  </a:lnTo>
                  <a:lnTo>
                    <a:pt x="42" y="122"/>
                  </a:lnTo>
                  <a:lnTo>
                    <a:pt x="42" y="120"/>
                  </a:lnTo>
                  <a:lnTo>
                    <a:pt x="40" y="118"/>
                  </a:lnTo>
                  <a:lnTo>
                    <a:pt x="38" y="118"/>
                  </a:lnTo>
                  <a:lnTo>
                    <a:pt x="34" y="114"/>
                  </a:lnTo>
                  <a:lnTo>
                    <a:pt x="30" y="110"/>
                  </a:lnTo>
                  <a:lnTo>
                    <a:pt x="26" y="106"/>
                  </a:lnTo>
                  <a:lnTo>
                    <a:pt x="22" y="102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6" y="98"/>
                  </a:lnTo>
                  <a:lnTo>
                    <a:pt x="14" y="98"/>
                  </a:lnTo>
                  <a:lnTo>
                    <a:pt x="12" y="98"/>
                  </a:lnTo>
                  <a:lnTo>
                    <a:pt x="10" y="98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0" y="84"/>
                  </a:lnTo>
                  <a:lnTo>
                    <a:pt x="2" y="80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4" y="72"/>
                  </a:lnTo>
                  <a:lnTo>
                    <a:pt x="4" y="70"/>
                  </a:lnTo>
                  <a:lnTo>
                    <a:pt x="8" y="64"/>
                  </a:lnTo>
                  <a:lnTo>
                    <a:pt x="10" y="60"/>
                  </a:lnTo>
                  <a:lnTo>
                    <a:pt x="10" y="58"/>
                  </a:lnTo>
                  <a:lnTo>
                    <a:pt x="12" y="56"/>
                  </a:lnTo>
                  <a:lnTo>
                    <a:pt x="12" y="54"/>
                  </a:lnTo>
                  <a:lnTo>
                    <a:pt x="12" y="50"/>
                  </a:lnTo>
                  <a:lnTo>
                    <a:pt x="12" y="46"/>
                  </a:lnTo>
                  <a:lnTo>
                    <a:pt x="12" y="42"/>
                  </a:lnTo>
                  <a:lnTo>
                    <a:pt x="12" y="38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6" y="20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4" y="6"/>
                  </a:lnTo>
                  <a:lnTo>
                    <a:pt x="46" y="8"/>
                  </a:lnTo>
                  <a:lnTo>
                    <a:pt x="48" y="8"/>
                  </a:lnTo>
                  <a:lnTo>
                    <a:pt x="50" y="10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8" y="26"/>
                  </a:lnTo>
                  <a:lnTo>
                    <a:pt x="70" y="26"/>
                  </a:lnTo>
                  <a:lnTo>
                    <a:pt x="72" y="26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78" y="24"/>
                  </a:lnTo>
                  <a:lnTo>
                    <a:pt x="80" y="24"/>
                  </a:lnTo>
                  <a:lnTo>
                    <a:pt x="82" y="22"/>
                  </a:lnTo>
                  <a:lnTo>
                    <a:pt x="84" y="22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18"/>
                  </a:lnTo>
                  <a:lnTo>
                    <a:pt x="84" y="16"/>
                  </a:lnTo>
                  <a:lnTo>
                    <a:pt x="84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8" y="16"/>
                  </a:lnTo>
                  <a:lnTo>
                    <a:pt x="108" y="18"/>
                  </a:lnTo>
                  <a:lnTo>
                    <a:pt x="110" y="18"/>
                  </a:lnTo>
                  <a:lnTo>
                    <a:pt x="112" y="20"/>
                  </a:lnTo>
                  <a:lnTo>
                    <a:pt x="114" y="22"/>
                  </a:lnTo>
                  <a:lnTo>
                    <a:pt x="116" y="22"/>
                  </a:lnTo>
                  <a:lnTo>
                    <a:pt x="112" y="26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08" y="30"/>
                  </a:lnTo>
                  <a:lnTo>
                    <a:pt x="108" y="32"/>
                  </a:lnTo>
                  <a:lnTo>
                    <a:pt x="106" y="34"/>
                  </a:lnTo>
                  <a:lnTo>
                    <a:pt x="104" y="36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2" y="46"/>
                  </a:lnTo>
                  <a:lnTo>
                    <a:pt x="102" y="50"/>
                  </a:lnTo>
                  <a:lnTo>
                    <a:pt x="102" y="54"/>
                  </a:lnTo>
                  <a:lnTo>
                    <a:pt x="102" y="58"/>
                  </a:lnTo>
                  <a:lnTo>
                    <a:pt x="102" y="62"/>
                  </a:lnTo>
                  <a:lnTo>
                    <a:pt x="102" y="66"/>
                  </a:lnTo>
                  <a:lnTo>
                    <a:pt x="102" y="72"/>
                  </a:lnTo>
                  <a:lnTo>
                    <a:pt x="102" y="76"/>
                  </a:lnTo>
                  <a:lnTo>
                    <a:pt x="102" y="80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6" y="100"/>
                  </a:lnTo>
                  <a:lnTo>
                    <a:pt x="106" y="102"/>
                  </a:lnTo>
                  <a:lnTo>
                    <a:pt x="108" y="102"/>
                  </a:lnTo>
                  <a:lnTo>
                    <a:pt x="108" y="104"/>
                  </a:lnTo>
                  <a:lnTo>
                    <a:pt x="108" y="104"/>
                  </a:lnTo>
                  <a:lnTo>
                    <a:pt x="110" y="106"/>
                  </a:lnTo>
                  <a:lnTo>
                    <a:pt x="112" y="106"/>
                  </a:lnTo>
                  <a:lnTo>
                    <a:pt x="110" y="108"/>
                  </a:lnTo>
                  <a:lnTo>
                    <a:pt x="108" y="110"/>
                  </a:lnTo>
                  <a:lnTo>
                    <a:pt x="108" y="112"/>
                  </a:lnTo>
                  <a:lnTo>
                    <a:pt x="106" y="112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4" y="118"/>
                  </a:lnTo>
                  <a:lnTo>
                    <a:pt x="104" y="120"/>
                  </a:lnTo>
                  <a:lnTo>
                    <a:pt x="102" y="122"/>
                  </a:lnTo>
                  <a:lnTo>
                    <a:pt x="102" y="122"/>
                  </a:lnTo>
                  <a:lnTo>
                    <a:pt x="102" y="124"/>
                  </a:lnTo>
                  <a:lnTo>
                    <a:pt x="100" y="124"/>
                  </a:lnTo>
                  <a:lnTo>
                    <a:pt x="96" y="126"/>
                  </a:lnTo>
                  <a:lnTo>
                    <a:pt x="96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2" y="132"/>
                  </a:lnTo>
                  <a:lnTo>
                    <a:pt x="90" y="132"/>
                  </a:lnTo>
                  <a:lnTo>
                    <a:pt x="90" y="134"/>
                  </a:lnTo>
                  <a:lnTo>
                    <a:pt x="90" y="136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88" y="142"/>
                  </a:lnTo>
                  <a:lnTo>
                    <a:pt x="88" y="144"/>
                  </a:lnTo>
                  <a:lnTo>
                    <a:pt x="86" y="148"/>
                  </a:lnTo>
                  <a:lnTo>
                    <a:pt x="84" y="15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75" name="Freeform 402">
              <a:extLst>
                <a:ext uri="{FF2B5EF4-FFF2-40B4-BE49-F238E27FC236}">
                  <a16:creationId xmlns:a16="http://schemas.microsoft.com/office/drawing/2014/main" id="{8F17AA78-B950-4F0D-83BA-328F1455A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6676" y="4316916"/>
              <a:ext cx="266515" cy="387788"/>
            </a:xfrm>
            <a:custGeom>
              <a:avLst/>
              <a:gdLst>
                <a:gd name="T0" fmla="*/ 36 w 156"/>
                <a:gd name="T1" fmla="*/ 42 h 232"/>
                <a:gd name="T2" fmla="*/ 50 w 156"/>
                <a:gd name="T3" fmla="*/ 58 h 232"/>
                <a:gd name="T4" fmla="*/ 58 w 156"/>
                <a:gd name="T5" fmla="*/ 66 h 232"/>
                <a:gd name="T6" fmla="*/ 64 w 156"/>
                <a:gd name="T7" fmla="*/ 66 h 232"/>
                <a:gd name="T8" fmla="*/ 74 w 156"/>
                <a:gd name="T9" fmla="*/ 64 h 232"/>
                <a:gd name="T10" fmla="*/ 80 w 156"/>
                <a:gd name="T11" fmla="*/ 66 h 232"/>
                <a:gd name="T12" fmla="*/ 88 w 156"/>
                <a:gd name="T13" fmla="*/ 72 h 232"/>
                <a:gd name="T14" fmla="*/ 92 w 156"/>
                <a:gd name="T15" fmla="*/ 76 h 232"/>
                <a:gd name="T16" fmla="*/ 90 w 156"/>
                <a:gd name="T17" fmla="*/ 80 h 232"/>
                <a:gd name="T18" fmla="*/ 88 w 156"/>
                <a:gd name="T19" fmla="*/ 84 h 232"/>
                <a:gd name="T20" fmla="*/ 78 w 156"/>
                <a:gd name="T21" fmla="*/ 90 h 232"/>
                <a:gd name="T22" fmla="*/ 76 w 156"/>
                <a:gd name="T23" fmla="*/ 92 h 232"/>
                <a:gd name="T24" fmla="*/ 76 w 156"/>
                <a:gd name="T25" fmla="*/ 102 h 232"/>
                <a:gd name="T26" fmla="*/ 74 w 156"/>
                <a:gd name="T27" fmla="*/ 110 h 232"/>
                <a:gd name="T28" fmla="*/ 70 w 156"/>
                <a:gd name="T29" fmla="*/ 118 h 232"/>
                <a:gd name="T30" fmla="*/ 60 w 156"/>
                <a:gd name="T31" fmla="*/ 126 h 232"/>
                <a:gd name="T32" fmla="*/ 52 w 156"/>
                <a:gd name="T33" fmla="*/ 130 h 232"/>
                <a:gd name="T34" fmla="*/ 38 w 156"/>
                <a:gd name="T35" fmla="*/ 132 h 232"/>
                <a:gd name="T36" fmla="*/ 28 w 156"/>
                <a:gd name="T37" fmla="*/ 132 h 232"/>
                <a:gd name="T38" fmla="*/ 24 w 156"/>
                <a:gd name="T39" fmla="*/ 132 h 232"/>
                <a:gd name="T40" fmla="*/ 18 w 156"/>
                <a:gd name="T41" fmla="*/ 140 h 232"/>
                <a:gd name="T42" fmla="*/ 8 w 156"/>
                <a:gd name="T43" fmla="*/ 152 h 232"/>
                <a:gd name="T44" fmla="*/ 4 w 156"/>
                <a:gd name="T45" fmla="*/ 158 h 232"/>
                <a:gd name="T46" fmla="*/ 0 w 156"/>
                <a:gd name="T47" fmla="*/ 166 h 232"/>
                <a:gd name="T48" fmla="*/ 0 w 156"/>
                <a:gd name="T49" fmla="*/ 182 h 232"/>
                <a:gd name="T50" fmla="*/ 0 w 156"/>
                <a:gd name="T51" fmla="*/ 200 h 232"/>
                <a:gd name="T52" fmla="*/ 2 w 156"/>
                <a:gd name="T53" fmla="*/ 218 h 232"/>
                <a:gd name="T54" fmla="*/ 4 w 156"/>
                <a:gd name="T55" fmla="*/ 228 h 232"/>
                <a:gd name="T56" fmla="*/ 10 w 156"/>
                <a:gd name="T57" fmla="*/ 232 h 232"/>
                <a:gd name="T58" fmla="*/ 22 w 156"/>
                <a:gd name="T59" fmla="*/ 216 h 232"/>
                <a:gd name="T60" fmla="*/ 28 w 156"/>
                <a:gd name="T61" fmla="*/ 202 h 232"/>
                <a:gd name="T62" fmla="*/ 36 w 156"/>
                <a:gd name="T63" fmla="*/ 196 h 232"/>
                <a:gd name="T64" fmla="*/ 46 w 156"/>
                <a:gd name="T65" fmla="*/ 190 h 232"/>
                <a:gd name="T66" fmla="*/ 68 w 156"/>
                <a:gd name="T67" fmla="*/ 170 h 232"/>
                <a:gd name="T68" fmla="*/ 94 w 156"/>
                <a:gd name="T69" fmla="*/ 144 h 232"/>
                <a:gd name="T70" fmla="*/ 110 w 156"/>
                <a:gd name="T71" fmla="*/ 128 h 232"/>
                <a:gd name="T72" fmla="*/ 116 w 156"/>
                <a:gd name="T73" fmla="*/ 116 h 232"/>
                <a:gd name="T74" fmla="*/ 120 w 156"/>
                <a:gd name="T75" fmla="*/ 106 h 232"/>
                <a:gd name="T76" fmla="*/ 124 w 156"/>
                <a:gd name="T77" fmla="*/ 88 h 232"/>
                <a:gd name="T78" fmla="*/ 130 w 156"/>
                <a:gd name="T79" fmla="*/ 68 h 232"/>
                <a:gd name="T80" fmla="*/ 138 w 156"/>
                <a:gd name="T81" fmla="*/ 58 h 232"/>
                <a:gd name="T82" fmla="*/ 146 w 156"/>
                <a:gd name="T83" fmla="*/ 48 h 232"/>
                <a:gd name="T84" fmla="*/ 148 w 156"/>
                <a:gd name="T85" fmla="*/ 34 h 232"/>
                <a:gd name="T86" fmla="*/ 154 w 156"/>
                <a:gd name="T87" fmla="*/ 28 h 232"/>
                <a:gd name="T88" fmla="*/ 156 w 156"/>
                <a:gd name="T89" fmla="*/ 24 h 232"/>
                <a:gd name="T90" fmla="*/ 156 w 156"/>
                <a:gd name="T91" fmla="*/ 20 h 232"/>
                <a:gd name="T92" fmla="*/ 150 w 156"/>
                <a:gd name="T93" fmla="*/ 16 h 232"/>
                <a:gd name="T94" fmla="*/ 144 w 156"/>
                <a:gd name="T95" fmla="*/ 6 h 232"/>
                <a:gd name="T96" fmla="*/ 138 w 156"/>
                <a:gd name="T97" fmla="*/ 0 h 232"/>
                <a:gd name="T98" fmla="*/ 134 w 156"/>
                <a:gd name="T99" fmla="*/ 0 h 232"/>
                <a:gd name="T100" fmla="*/ 130 w 156"/>
                <a:gd name="T101" fmla="*/ 2 h 232"/>
                <a:gd name="T102" fmla="*/ 124 w 156"/>
                <a:gd name="T103" fmla="*/ 12 h 232"/>
                <a:gd name="T104" fmla="*/ 118 w 156"/>
                <a:gd name="T105" fmla="*/ 14 h 232"/>
                <a:gd name="T106" fmla="*/ 108 w 156"/>
                <a:gd name="T107" fmla="*/ 16 h 232"/>
                <a:gd name="T108" fmla="*/ 100 w 156"/>
                <a:gd name="T109" fmla="*/ 18 h 232"/>
                <a:gd name="T110" fmla="*/ 88 w 156"/>
                <a:gd name="T111" fmla="*/ 26 h 232"/>
                <a:gd name="T112" fmla="*/ 82 w 156"/>
                <a:gd name="T113" fmla="*/ 28 h 232"/>
                <a:gd name="T114" fmla="*/ 68 w 156"/>
                <a:gd name="T115" fmla="*/ 28 h 232"/>
                <a:gd name="T116" fmla="*/ 54 w 156"/>
                <a:gd name="T117" fmla="*/ 26 h 232"/>
                <a:gd name="T118" fmla="*/ 24 w 156"/>
                <a:gd name="T119" fmla="*/ 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6" h="232">
                  <a:moveTo>
                    <a:pt x="24" y="32"/>
                  </a:moveTo>
                  <a:lnTo>
                    <a:pt x="24" y="32"/>
                  </a:lnTo>
                  <a:lnTo>
                    <a:pt x="30" y="36"/>
                  </a:lnTo>
                  <a:lnTo>
                    <a:pt x="36" y="42"/>
                  </a:lnTo>
                  <a:lnTo>
                    <a:pt x="38" y="44"/>
                  </a:lnTo>
                  <a:lnTo>
                    <a:pt x="42" y="48"/>
                  </a:lnTo>
                  <a:lnTo>
                    <a:pt x="48" y="56"/>
                  </a:lnTo>
                  <a:lnTo>
                    <a:pt x="50" y="58"/>
                  </a:lnTo>
                  <a:lnTo>
                    <a:pt x="54" y="62"/>
                  </a:lnTo>
                  <a:lnTo>
                    <a:pt x="56" y="64"/>
                  </a:lnTo>
                  <a:lnTo>
                    <a:pt x="58" y="64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2" y="66"/>
                  </a:lnTo>
                  <a:lnTo>
                    <a:pt x="64" y="66"/>
                  </a:lnTo>
                  <a:lnTo>
                    <a:pt x="66" y="66"/>
                  </a:lnTo>
                  <a:lnTo>
                    <a:pt x="68" y="66"/>
                  </a:lnTo>
                  <a:lnTo>
                    <a:pt x="72" y="66"/>
                  </a:lnTo>
                  <a:lnTo>
                    <a:pt x="74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8" y="64"/>
                  </a:lnTo>
                  <a:lnTo>
                    <a:pt x="80" y="66"/>
                  </a:lnTo>
                  <a:lnTo>
                    <a:pt x="82" y="68"/>
                  </a:lnTo>
                  <a:lnTo>
                    <a:pt x="84" y="68"/>
                  </a:lnTo>
                  <a:lnTo>
                    <a:pt x="86" y="70"/>
                  </a:lnTo>
                  <a:lnTo>
                    <a:pt x="88" y="72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6"/>
                  </a:lnTo>
                  <a:lnTo>
                    <a:pt x="92" y="76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80"/>
                  </a:lnTo>
                  <a:lnTo>
                    <a:pt x="90" y="80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4" y="86"/>
                  </a:lnTo>
                  <a:lnTo>
                    <a:pt x="82" y="88"/>
                  </a:lnTo>
                  <a:lnTo>
                    <a:pt x="80" y="88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6" y="92"/>
                  </a:lnTo>
                  <a:lnTo>
                    <a:pt x="76" y="92"/>
                  </a:lnTo>
                  <a:lnTo>
                    <a:pt x="76" y="94"/>
                  </a:lnTo>
                  <a:lnTo>
                    <a:pt x="76" y="96"/>
                  </a:lnTo>
                  <a:lnTo>
                    <a:pt x="76" y="98"/>
                  </a:lnTo>
                  <a:lnTo>
                    <a:pt x="76" y="102"/>
                  </a:lnTo>
                  <a:lnTo>
                    <a:pt x="76" y="104"/>
                  </a:lnTo>
                  <a:lnTo>
                    <a:pt x="74" y="108"/>
                  </a:lnTo>
                  <a:lnTo>
                    <a:pt x="74" y="110"/>
                  </a:lnTo>
                  <a:lnTo>
                    <a:pt x="74" y="110"/>
                  </a:lnTo>
                  <a:lnTo>
                    <a:pt x="74" y="112"/>
                  </a:lnTo>
                  <a:lnTo>
                    <a:pt x="72" y="114"/>
                  </a:lnTo>
                  <a:lnTo>
                    <a:pt x="72" y="116"/>
                  </a:lnTo>
                  <a:lnTo>
                    <a:pt x="70" y="118"/>
                  </a:lnTo>
                  <a:lnTo>
                    <a:pt x="68" y="120"/>
                  </a:lnTo>
                  <a:lnTo>
                    <a:pt x="66" y="122"/>
                  </a:lnTo>
                  <a:lnTo>
                    <a:pt x="62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44" y="132"/>
                  </a:lnTo>
                  <a:lnTo>
                    <a:pt x="40" y="132"/>
                  </a:lnTo>
                  <a:lnTo>
                    <a:pt x="38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0" y="132"/>
                  </a:lnTo>
                  <a:lnTo>
                    <a:pt x="28" y="132"/>
                  </a:lnTo>
                  <a:lnTo>
                    <a:pt x="26" y="132"/>
                  </a:lnTo>
                  <a:lnTo>
                    <a:pt x="26" y="132"/>
                  </a:lnTo>
                  <a:lnTo>
                    <a:pt x="24" y="132"/>
                  </a:lnTo>
                  <a:lnTo>
                    <a:pt x="24" y="132"/>
                  </a:lnTo>
                  <a:lnTo>
                    <a:pt x="24" y="134"/>
                  </a:lnTo>
                  <a:lnTo>
                    <a:pt x="22" y="136"/>
                  </a:lnTo>
                  <a:lnTo>
                    <a:pt x="20" y="138"/>
                  </a:lnTo>
                  <a:lnTo>
                    <a:pt x="18" y="140"/>
                  </a:lnTo>
                  <a:lnTo>
                    <a:pt x="14" y="146"/>
                  </a:lnTo>
                  <a:lnTo>
                    <a:pt x="14" y="148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4" y="156"/>
                  </a:lnTo>
                  <a:lnTo>
                    <a:pt x="4" y="158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4"/>
                  </a:lnTo>
                  <a:lnTo>
                    <a:pt x="0" y="166"/>
                  </a:lnTo>
                  <a:lnTo>
                    <a:pt x="0" y="170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0" y="182"/>
                  </a:lnTo>
                  <a:lnTo>
                    <a:pt x="0" y="186"/>
                  </a:lnTo>
                  <a:lnTo>
                    <a:pt x="0" y="192"/>
                  </a:lnTo>
                  <a:lnTo>
                    <a:pt x="0" y="196"/>
                  </a:lnTo>
                  <a:lnTo>
                    <a:pt x="0" y="200"/>
                  </a:lnTo>
                  <a:lnTo>
                    <a:pt x="0" y="206"/>
                  </a:lnTo>
                  <a:lnTo>
                    <a:pt x="0" y="210"/>
                  </a:lnTo>
                  <a:lnTo>
                    <a:pt x="0" y="214"/>
                  </a:lnTo>
                  <a:lnTo>
                    <a:pt x="2" y="218"/>
                  </a:lnTo>
                  <a:lnTo>
                    <a:pt x="2" y="222"/>
                  </a:lnTo>
                  <a:lnTo>
                    <a:pt x="4" y="224"/>
                  </a:lnTo>
                  <a:lnTo>
                    <a:pt x="4" y="226"/>
                  </a:lnTo>
                  <a:lnTo>
                    <a:pt x="4" y="228"/>
                  </a:lnTo>
                  <a:lnTo>
                    <a:pt x="6" y="228"/>
                  </a:lnTo>
                  <a:lnTo>
                    <a:pt x="6" y="228"/>
                  </a:lnTo>
                  <a:lnTo>
                    <a:pt x="8" y="230"/>
                  </a:lnTo>
                  <a:lnTo>
                    <a:pt x="10" y="232"/>
                  </a:lnTo>
                  <a:lnTo>
                    <a:pt x="14" y="226"/>
                  </a:lnTo>
                  <a:lnTo>
                    <a:pt x="18" y="220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2" y="214"/>
                  </a:lnTo>
                  <a:lnTo>
                    <a:pt x="26" y="208"/>
                  </a:lnTo>
                  <a:lnTo>
                    <a:pt x="28" y="204"/>
                  </a:lnTo>
                  <a:lnTo>
                    <a:pt x="28" y="202"/>
                  </a:lnTo>
                  <a:lnTo>
                    <a:pt x="30" y="202"/>
                  </a:lnTo>
                  <a:lnTo>
                    <a:pt x="32" y="200"/>
                  </a:lnTo>
                  <a:lnTo>
                    <a:pt x="34" y="198"/>
                  </a:lnTo>
                  <a:lnTo>
                    <a:pt x="36" y="196"/>
                  </a:lnTo>
                  <a:lnTo>
                    <a:pt x="38" y="196"/>
                  </a:lnTo>
                  <a:lnTo>
                    <a:pt x="42" y="192"/>
                  </a:lnTo>
                  <a:lnTo>
                    <a:pt x="44" y="192"/>
                  </a:lnTo>
                  <a:lnTo>
                    <a:pt x="46" y="190"/>
                  </a:lnTo>
                  <a:lnTo>
                    <a:pt x="50" y="188"/>
                  </a:lnTo>
                  <a:lnTo>
                    <a:pt x="52" y="184"/>
                  </a:lnTo>
                  <a:lnTo>
                    <a:pt x="60" y="178"/>
                  </a:lnTo>
                  <a:lnTo>
                    <a:pt x="68" y="170"/>
                  </a:lnTo>
                  <a:lnTo>
                    <a:pt x="74" y="164"/>
                  </a:lnTo>
                  <a:lnTo>
                    <a:pt x="80" y="158"/>
                  </a:lnTo>
                  <a:lnTo>
                    <a:pt x="88" y="152"/>
                  </a:lnTo>
                  <a:lnTo>
                    <a:pt x="94" y="144"/>
                  </a:lnTo>
                  <a:lnTo>
                    <a:pt x="98" y="142"/>
                  </a:lnTo>
                  <a:lnTo>
                    <a:pt x="100" y="138"/>
                  </a:lnTo>
                  <a:lnTo>
                    <a:pt x="104" y="134"/>
                  </a:lnTo>
                  <a:lnTo>
                    <a:pt x="110" y="128"/>
                  </a:lnTo>
                  <a:lnTo>
                    <a:pt x="112" y="124"/>
                  </a:lnTo>
                  <a:lnTo>
                    <a:pt x="114" y="122"/>
                  </a:lnTo>
                  <a:lnTo>
                    <a:pt x="116" y="118"/>
                  </a:lnTo>
                  <a:lnTo>
                    <a:pt x="116" y="116"/>
                  </a:lnTo>
                  <a:lnTo>
                    <a:pt x="118" y="114"/>
                  </a:lnTo>
                  <a:lnTo>
                    <a:pt x="118" y="112"/>
                  </a:lnTo>
                  <a:lnTo>
                    <a:pt x="118" y="110"/>
                  </a:lnTo>
                  <a:lnTo>
                    <a:pt x="120" y="106"/>
                  </a:lnTo>
                  <a:lnTo>
                    <a:pt x="120" y="102"/>
                  </a:lnTo>
                  <a:lnTo>
                    <a:pt x="122" y="94"/>
                  </a:lnTo>
                  <a:lnTo>
                    <a:pt x="122" y="90"/>
                  </a:lnTo>
                  <a:lnTo>
                    <a:pt x="124" y="88"/>
                  </a:lnTo>
                  <a:lnTo>
                    <a:pt x="124" y="82"/>
                  </a:lnTo>
                  <a:lnTo>
                    <a:pt x="128" y="76"/>
                  </a:lnTo>
                  <a:lnTo>
                    <a:pt x="130" y="70"/>
                  </a:lnTo>
                  <a:lnTo>
                    <a:pt x="130" y="68"/>
                  </a:lnTo>
                  <a:lnTo>
                    <a:pt x="132" y="66"/>
                  </a:lnTo>
                  <a:lnTo>
                    <a:pt x="134" y="64"/>
                  </a:lnTo>
                  <a:lnTo>
                    <a:pt x="134" y="62"/>
                  </a:lnTo>
                  <a:lnTo>
                    <a:pt x="138" y="58"/>
                  </a:lnTo>
                  <a:lnTo>
                    <a:pt x="142" y="54"/>
                  </a:lnTo>
                  <a:lnTo>
                    <a:pt x="144" y="52"/>
                  </a:lnTo>
                  <a:lnTo>
                    <a:pt x="144" y="50"/>
                  </a:lnTo>
                  <a:lnTo>
                    <a:pt x="146" y="48"/>
                  </a:lnTo>
                  <a:lnTo>
                    <a:pt x="146" y="46"/>
                  </a:lnTo>
                  <a:lnTo>
                    <a:pt x="146" y="40"/>
                  </a:lnTo>
                  <a:lnTo>
                    <a:pt x="148" y="36"/>
                  </a:lnTo>
                  <a:lnTo>
                    <a:pt x="148" y="34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52" y="30"/>
                  </a:lnTo>
                  <a:lnTo>
                    <a:pt x="154" y="28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4"/>
                  </a:lnTo>
                  <a:lnTo>
                    <a:pt x="156" y="22"/>
                  </a:lnTo>
                  <a:lnTo>
                    <a:pt x="156" y="22"/>
                  </a:lnTo>
                  <a:lnTo>
                    <a:pt x="156" y="20"/>
                  </a:lnTo>
                  <a:lnTo>
                    <a:pt x="154" y="20"/>
                  </a:lnTo>
                  <a:lnTo>
                    <a:pt x="154" y="18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4"/>
                  </a:lnTo>
                  <a:lnTo>
                    <a:pt x="146" y="12"/>
                  </a:lnTo>
                  <a:lnTo>
                    <a:pt x="146" y="10"/>
                  </a:lnTo>
                  <a:lnTo>
                    <a:pt x="144" y="6"/>
                  </a:lnTo>
                  <a:lnTo>
                    <a:pt x="142" y="4"/>
                  </a:lnTo>
                  <a:lnTo>
                    <a:pt x="140" y="2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2" y="2"/>
                  </a:lnTo>
                  <a:lnTo>
                    <a:pt x="130" y="2"/>
                  </a:lnTo>
                  <a:lnTo>
                    <a:pt x="130" y="6"/>
                  </a:lnTo>
                  <a:lnTo>
                    <a:pt x="128" y="8"/>
                  </a:lnTo>
                  <a:lnTo>
                    <a:pt x="126" y="10"/>
                  </a:lnTo>
                  <a:lnTo>
                    <a:pt x="124" y="12"/>
                  </a:lnTo>
                  <a:lnTo>
                    <a:pt x="122" y="12"/>
                  </a:lnTo>
                  <a:lnTo>
                    <a:pt x="122" y="14"/>
                  </a:lnTo>
                  <a:lnTo>
                    <a:pt x="120" y="14"/>
                  </a:lnTo>
                  <a:lnTo>
                    <a:pt x="118" y="14"/>
                  </a:lnTo>
                  <a:lnTo>
                    <a:pt x="116" y="14"/>
                  </a:lnTo>
                  <a:lnTo>
                    <a:pt x="114" y="14"/>
                  </a:lnTo>
                  <a:lnTo>
                    <a:pt x="110" y="16"/>
                  </a:lnTo>
                  <a:lnTo>
                    <a:pt x="108" y="16"/>
                  </a:lnTo>
                  <a:lnTo>
                    <a:pt x="106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0" y="18"/>
                  </a:lnTo>
                  <a:lnTo>
                    <a:pt x="96" y="22"/>
                  </a:lnTo>
                  <a:lnTo>
                    <a:pt x="94" y="22"/>
                  </a:lnTo>
                  <a:lnTo>
                    <a:pt x="92" y="24"/>
                  </a:lnTo>
                  <a:lnTo>
                    <a:pt x="88" y="26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4" y="28"/>
                  </a:lnTo>
                  <a:lnTo>
                    <a:pt x="82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2" y="28"/>
                  </a:lnTo>
                  <a:lnTo>
                    <a:pt x="60" y="26"/>
                  </a:lnTo>
                  <a:lnTo>
                    <a:pt x="56" y="26"/>
                  </a:lnTo>
                  <a:lnTo>
                    <a:pt x="54" y="26"/>
                  </a:lnTo>
                  <a:lnTo>
                    <a:pt x="52" y="24"/>
                  </a:lnTo>
                  <a:lnTo>
                    <a:pt x="46" y="22"/>
                  </a:lnTo>
                  <a:lnTo>
                    <a:pt x="40" y="20"/>
                  </a:lnTo>
                  <a:lnTo>
                    <a:pt x="24" y="3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76" name="Freeform 404">
              <a:extLst>
                <a:ext uri="{FF2B5EF4-FFF2-40B4-BE49-F238E27FC236}">
                  <a16:creationId xmlns:a16="http://schemas.microsoft.com/office/drawing/2014/main" id="{3930025B-56B3-4C13-A944-60EADA4A3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1050" y="3708489"/>
              <a:ext cx="379271" cy="441276"/>
            </a:xfrm>
            <a:custGeom>
              <a:avLst/>
              <a:gdLst>
                <a:gd name="T0" fmla="*/ 38 w 222"/>
                <a:gd name="T1" fmla="*/ 10 h 264"/>
                <a:gd name="T2" fmla="*/ 56 w 222"/>
                <a:gd name="T3" fmla="*/ 10 h 264"/>
                <a:gd name="T4" fmla="*/ 76 w 222"/>
                <a:gd name="T5" fmla="*/ 14 h 264"/>
                <a:gd name="T6" fmla="*/ 82 w 222"/>
                <a:gd name="T7" fmla="*/ 18 h 264"/>
                <a:gd name="T8" fmla="*/ 84 w 222"/>
                <a:gd name="T9" fmla="*/ 28 h 264"/>
                <a:gd name="T10" fmla="*/ 94 w 222"/>
                <a:gd name="T11" fmla="*/ 30 h 264"/>
                <a:gd name="T12" fmla="*/ 106 w 222"/>
                <a:gd name="T13" fmla="*/ 30 h 264"/>
                <a:gd name="T14" fmla="*/ 108 w 222"/>
                <a:gd name="T15" fmla="*/ 34 h 264"/>
                <a:gd name="T16" fmla="*/ 110 w 222"/>
                <a:gd name="T17" fmla="*/ 40 h 264"/>
                <a:gd name="T18" fmla="*/ 126 w 222"/>
                <a:gd name="T19" fmla="*/ 44 h 264"/>
                <a:gd name="T20" fmla="*/ 140 w 222"/>
                <a:gd name="T21" fmla="*/ 48 h 264"/>
                <a:gd name="T22" fmla="*/ 144 w 222"/>
                <a:gd name="T23" fmla="*/ 46 h 264"/>
                <a:gd name="T24" fmla="*/ 146 w 222"/>
                <a:gd name="T25" fmla="*/ 36 h 264"/>
                <a:gd name="T26" fmla="*/ 146 w 222"/>
                <a:gd name="T27" fmla="*/ 22 h 264"/>
                <a:gd name="T28" fmla="*/ 152 w 222"/>
                <a:gd name="T29" fmla="*/ 14 h 264"/>
                <a:gd name="T30" fmla="*/ 162 w 222"/>
                <a:gd name="T31" fmla="*/ 2 h 264"/>
                <a:gd name="T32" fmla="*/ 170 w 222"/>
                <a:gd name="T33" fmla="*/ 0 h 264"/>
                <a:gd name="T34" fmla="*/ 180 w 222"/>
                <a:gd name="T35" fmla="*/ 2 h 264"/>
                <a:gd name="T36" fmla="*/ 190 w 222"/>
                <a:gd name="T37" fmla="*/ 12 h 264"/>
                <a:gd name="T38" fmla="*/ 198 w 222"/>
                <a:gd name="T39" fmla="*/ 18 h 264"/>
                <a:gd name="T40" fmla="*/ 212 w 222"/>
                <a:gd name="T41" fmla="*/ 16 h 264"/>
                <a:gd name="T42" fmla="*/ 220 w 222"/>
                <a:gd name="T43" fmla="*/ 20 h 264"/>
                <a:gd name="T44" fmla="*/ 222 w 222"/>
                <a:gd name="T45" fmla="*/ 26 h 264"/>
                <a:gd name="T46" fmla="*/ 220 w 222"/>
                <a:gd name="T47" fmla="*/ 218 h 264"/>
                <a:gd name="T48" fmla="*/ 220 w 222"/>
                <a:gd name="T49" fmla="*/ 234 h 264"/>
                <a:gd name="T50" fmla="*/ 216 w 222"/>
                <a:gd name="T51" fmla="*/ 238 h 264"/>
                <a:gd name="T52" fmla="*/ 208 w 222"/>
                <a:gd name="T53" fmla="*/ 238 h 264"/>
                <a:gd name="T54" fmla="*/ 208 w 222"/>
                <a:gd name="T55" fmla="*/ 250 h 264"/>
                <a:gd name="T56" fmla="*/ 204 w 222"/>
                <a:gd name="T57" fmla="*/ 264 h 264"/>
                <a:gd name="T58" fmla="*/ 192 w 222"/>
                <a:gd name="T59" fmla="*/ 258 h 264"/>
                <a:gd name="T60" fmla="*/ 172 w 222"/>
                <a:gd name="T61" fmla="*/ 242 h 264"/>
                <a:gd name="T62" fmla="*/ 150 w 222"/>
                <a:gd name="T63" fmla="*/ 232 h 264"/>
                <a:gd name="T64" fmla="*/ 144 w 222"/>
                <a:gd name="T65" fmla="*/ 226 h 264"/>
                <a:gd name="T66" fmla="*/ 138 w 222"/>
                <a:gd name="T67" fmla="*/ 216 h 264"/>
                <a:gd name="T68" fmla="*/ 126 w 222"/>
                <a:gd name="T69" fmla="*/ 214 h 264"/>
                <a:gd name="T70" fmla="*/ 112 w 222"/>
                <a:gd name="T71" fmla="*/ 212 h 264"/>
                <a:gd name="T72" fmla="*/ 110 w 222"/>
                <a:gd name="T73" fmla="*/ 204 h 264"/>
                <a:gd name="T74" fmla="*/ 106 w 222"/>
                <a:gd name="T75" fmla="*/ 198 h 264"/>
                <a:gd name="T76" fmla="*/ 96 w 222"/>
                <a:gd name="T77" fmla="*/ 196 h 264"/>
                <a:gd name="T78" fmla="*/ 94 w 222"/>
                <a:gd name="T79" fmla="*/ 190 h 264"/>
                <a:gd name="T80" fmla="*/ 88 w 222"/>
                <a:gd name="T81" fmla="*/ 188 h 264"/>
                <a:gd name="T82" fmla="*/ 70 w 222"/>
                <a:gd name="T83" fmla="*/ 184 h 264"/>
                <a:gd name="T84" fmla="*/ 56 w 222"/>
                <a:gd name="T85" fmla="*/ 184 h 264"/>
                <a:gd name="T86" fmla="*/ 52 w 222"/>
                <a:gd name="T87" fmla="*/ 178 h 264"/>
                <a:gd name="T88" fmla="*/ 48 w 222"/>
                <a:gd name="T89" fmla="*/ 174 h 264"/>
                <a:gd name="T90" fmla="*/ 34 w 222"/>
                <a:gd name="T91" fmla="*/ 176 h 264"/>
                <a:gd name="T92" fmla="*/ 30 w 222"/>
                <a:gd name="T93" fmla="*/ 160 h 264"/>
                <a:gd name="T94" fmla="*/ 22 w 222"/>
                <a:gd name="T95" fmla="*/ 158 h 264"/>
                <a:gd name="T96" fmla="*/ 8 w 222"/>
                <a:gd name="T97" fmla="*/ 156 h 264"/>
                <a:gd name="T98" fmla="*/ 0 w 222"/>
                <a:gd name="T99" fmla="*/ 150 h 264"/>
                <a:gd name="T100" fmla="*/ 0 w 222"/>
                <a:gd name="T101" fmla="*/ 136 h 264"/>
                <a:gd name="T102" fmla="*/ 2 w 222"/>
                <a:gd name="T103" fmla="*/ 46 h 264"/>
                <a:gd name="T104" fmla="*/ 18 w 222"/>
                <a:gd name="T105" fmla="*/ 26 h 264"/>
                <a:gd name="T106" fmla="*/ 26 w 222"/>
                <a:gd name="T107" fmla="*/ 24 h 264"/>
                <a:gd name="T108" fmla="*/ 28 w 222"/>
                <a:gd name="T109" fmla="*/ 8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22" h="264">
                  <a:moveTo>
                    <a:pt x="26" y="2"/>
                  </a:moveTo>
                  <a:lnTo>
                    <a:pt x="26" y="2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4" y="10"/>
                  </a:lnTo>
                  <a:lnTo>
                    <a:pt x="48" y="10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4" y="12"/>
                  </a:lnTo>
                  <a:lnTo>
                    <a:pt x="76" y="14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2" y="22"/>
                  </a:lnTo>
                  <a:lnTo>
                    <a:pt x="84" y="24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8" y="30"/>
                  </a:lnTo>
                  <a:lnTo>
                    <a:pt x="90" y="30"/>
                  </a:lnTo>
                  <a:lnTo>
                    <a:pt x="94" y="30"/>
                  </a:lnTo>
                  <a:lnTo>
                    <a:pt x="96" y="30"/>
                  </a:lnTo>
                  <a:lnTo>
                    <a:pt x="100" y="30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6" y="30"/>
                  </a:lnTo>
                  <a:lnTo>
                    <a:pt x="108" y="30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24" y="42"/>
                  </a:lnTo>
                  <a:lnTo>
                    <a:pt x="126" y="44"/>
                  </a:lnTo>
                  <a:lnTo>
                    <a:pt x="128" y="44"/>
                  </a:lnTo>
                  <a:lnTo>
                    <a:pt x="130" y="44"/>
                  </a:lnTo>
                  <a:lnTo>
                    <a:pt x="132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46" y="36"/>
                  </a:lnTo>
                  <a:lnTo>
                    <a:pt x="146" y="34"/>
                  </a:lnTo>
                  <a:lnTo>
                    <a:pt x="146" y="30"/>
                  </a:lnTo>
                  <a:lnTo>
                    <a:pt x="146" y="28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50" y="16"/>
                  </a:lnTo>
                  <a:lnTo>
                    <a:pt x="152" y="14"/>
                  </a:lnTo>
                  <a:lnTo>
                    <a:pt x="154" y="12"/>
                  </a:lnTo>
                  <a:lnTo>
                    <a:pt x="156" y="10"/>
                  </a:lnTo>
                  <a:lnTo>
                    <a:pt x="158" y="8"/>
                  </a:lnTo>
                  <a:lnTo>
                    <a:pt x="158" y="6"/>
                  </a:lnTo>
                  <a:lnTo>
                    <a:pt x="160" y="4"/>
                  </a:lnTo>
                  <a:lnTo>
                    <a:pt x="162" y="2"/>
                  </a:lnTo>
                  <a:lnTo>
                    <a:pt x="162" y="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70" y="0"/>
                  </a:lnTo>
                  <a:lnTo>
                    <a:pt x="172" y="0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82" y="4"/>
                  </a:lnTo>
                  <a:lnTo>
                    <a:pt x="184" y="6"/>
                  </a:lnTo>
                  <a:lnTo>
                    <a:pt x="186" y="8"/>
                  </a:lnTo>
                  <a:lnTo>
                    <a:pt x="188" y="10"/>
                  </a:lnTo>
                  <a:lnTo>
                    <a:pt x="190" y="12"/>
                  </a:lnTo>
                  <a:lnTo>
                    <a:pt x="192" y="14"/>
                  </a:lnTo>
                  <a:lnTo>
                    <a:pt x="194" y="16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6" y="18"/>
                  </a:lnTo>
                  <a:lnTo>
                    <a:pt x="198" y="18"/>
                  </a:lnTo>
                  <a:lnTo>
                    <a:pt x="200" y="16"/>
                  </a:lnTo>
                  <a:lnTo>
                    <a:pt x="202" y="16"/>
                  </a:lnTo>
                  <a:lnTo>
                    <a:pt x="206" y="16"/>
                  </a:lnTo>
                  <a:lnTo>
                    <a:pt x="208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14" y="16"/>
                  </a:lnTo>
                  <a:lnTo>
                    <a:pt x="216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2"/>
                  </a:lnTo>
                  <a:lnTo>
                    <a:pt x="222" y="24"/>
                  </a:lnTo>
                  <a:lnTo>
                    <a:pt x="222" y="26"/>
                  </a:lnTo>
                  <a:lnTo>
                    <a:pt x="220" y="28"/>
                  </a:lnTo>
                  <a:lnTo>
                    <a:pt x="220" y="34"/>
                  </a:lnTo>
                  <a:lnTo>
                    <a:pt x="220" y="34"/>
                  </a:lnTo>
                  <a:lnTo>
                    <a:pt x="220" y="210"/>
                  </a:lnTo>
                  <a:lnTo>
                    <a:pt x="220" y="214"/>
                  </a:lnTo>
                  <a:lnTo>
                    <a:pt x="220" y="218"/>
                  </a:lnTo>
                  <a:lnTo>
                    <a:pt x="222" y="222"/>
                  </a:lnTo>
                  <a:lnTo>
                    <a:pt x="222" y="226"/>
                  </a:lnTo>
                  <a:lnTo>
                    <a:pt x="222" y="228"/>
                  </a:lnTo>
                  <a:lnTo>
                    <a:pt x="220" y="230"/>
                  </a:lnTo>
                  <a:lnTo>
                    <a:pt x="220" y="232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4" y="238"/>
                  </a:lnTo>
                  <a:lnTo>
                    <a:pt x="212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10" y="238"/>
                  </a:lnTo>
                  <a:lnTo>
                    <a:pt x="208" y="238"/>
                  </a:lnTo>
                  <a:lnTo>
                    <a:pt x="208" y="240"/>
                  </a:lnTo>
                  <a:lnTo>
                    <a:pt x="208" y="242"/>
                  </a:lnTo>
                  <a:lnTo>
                    <a:pt x="208" y="244"/>
                  </a:lnTo>
                  <a:lnTo>
                    <a:pt x="208" y="244"/>
                  </a:lnTo>
                  <a:lnTo>
                    <a:pt x="208" y="248"/>
                  </a:lnTo>
                  <a:lnTo>
                    <a:pt x="208" y="250"/>
                  </a:lnTo>
                  <a:lnTo>
                    <a:pt x="208" y="254"/>
                  </a:lnTo>
                  <a:lnTo>
                    <a:pt x="210" y="258"/>
                  </a:lnTo>
                  <a:lnTo>
                    <a:pt x="210" y="262"/>
                  </a:lnTo>
                  <a:lnTo>
                    <a:pt x="212" y="264"/>
                  </a:lnTo>
                  <a:lnTo>
                    <a:pt x="208" y="264"/>
                  </a:lnTo>
                  <a:lnTo>
                    <a:pt x="204" y="264"/>
                  </a:lnTo>
                  <a:lnTo>
                    <a:pt x="202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2"/>
                  </a:lnTo>
                  <a:lnTo>
                    <a:pt x="196" y="260"/>
                  </a:lnTo>
                  <a:lnTo>
                    <a:pt x="192" y="258"/>
                  </a:lnTo>
                  <a:lnTo>
                    <a:pt x="190" y="254"/>
                  </a:lnTo>
                  <a:lnTo>
                    <a:pt x="182" y="250"/>
                  </a:lnTo>
                  <a:lnTo>
                    <a:pt x="180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2" y="242"/>
                  </a:lnTo>
                  <a:lnTo>
                    <a:pt x="168" y="240"/>
                  </a:lnTo>
                  <a:lnTo>
                    <a:pt x="164" y="238"/>
                  </a:lnTo>
                  <a:lnTo>
                    <a:pt x="162" y="238"/>
                  </a:lnTo>
                  <a:lnTo>
                    <a:pt x="156" y="234"/>
                  </a:lnTo>
                  <a:lnTo>
                    <a:pt x="152" y="232"/>
                  </a:lnTo>
                  <a:lnTo>
                    <a:pt x="150" y="232"/>
                  </a:lnTo>
                  <a:lnTo>
                    <a:pt x="148" y="230"/>
                  </a:lnTo>
                  <a:lnTo>
                    <a:pt x="146" y="230"/>
                  </a:lnTo>
                  <a:lnTo>
                    <a:pt x="146" y="228"/>
                  </a:lnTo>
                  <a:lnTo>
                    <a:pt x="144" y="228"/>
                  </a:lnTo>
                  <a:lnTo>
                    <a:pt x="144" y="228"/>
                  </a:lnTo>
                  <a:lnTo>
                    <a:pt x="144" y="226"/>
                  </a:lnTo>
                  <a:lnTo>
                    <a:pt x="142" y="222"/>
                  </a:lnTo>
                  <a:lnTo>
                    <a:pt x="140" y="220"/>
                  </a:lnTo>
                  <a:lnTo>
                    <a:pt x="140" y="218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6" y="214"/>
                  </a:lnTo>
                  <a:lnTo>
                    <a:pt x="136" y="214"/>
                  </a:lnTo>
                  <a:lnTo>
                    <a:pt x="134" y="214"/>
                  </a:lnTo>
                  <a:lnTo>
                    <a:pt x="132" y="214"/>
                  </a:lnTo>
                  <a:lnTo>
                    <a:pt x="128" y="214"/>
                  </a:lnTo>
                  <a:lnTo>
                    <a:pt x="126" y="214"/>
                  </a:lnTo>
                  <a:lnTo>
                    <a:pt x="122" y="214"/>
                  </a:lnTo>
                  <a:lnTo>
                    <a:pt x="118" y="214"/>
                  </a:lnTo>
                  <a:lnTo>
                    <a:pt x="116" y="214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0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10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08" y="200"/>
                  </a:lnTo>
                  <a:lnTo>
                    <a:pt x="108" y="198"/>
                  </a:lnTo>
                  <a:lnTo>
                    <a:pt x="108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4" y="194"/>
                  </a:lnTo>
                  <a:lnTo>
                    <a:pt x="94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2" y="188"/>
                  </a:lnTo>
                  <a:lnTo>
                    <a:pt x="80" y="188"/>
                  </a:lnTo>
                  <a:lnTo>
                    <a:pt x="76" y="186"/>
                  </a:lnTo>
                  <a:lnTo>
                    <a:pt x="74" y="184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66" y="184"/>
                  </a:lnTo>
                  <a:lnTo>
                    <a:pt x="62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0"/>
                  </a:lnTo>
                  <a:lnTo>
                    <a:pt x="52" y="178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52" y="174"/>
                  </a:lnTo>
                  <a:lnTo>
                    <a:pt x="50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4" y="176"/>
                  </a:lnTo>
                  <a:lnTo>
                    <a:pt x="34" y="174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32" y="164"/>
                  </a:lnTo>
                  <a:lnTo>
                    <a:pt x="32" y="162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28" y="160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2" y="158"/>
                  </a:lnTo>
                  <a:lnTo>
                    <a:pt x="20" y="158"/>
                  </a:lnTo>
                  <a:lnTo>
                    <a:pt x="16" y="158"/>
                  </a:lnTo>
                  <a:lnTo>
                    <a:pt x="12" y="158"/>
                  </a:lnTo>
                  <a:lnTo>
                    <a:pt x="12" y="158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4" y="154"/>
                  </a:lnTo>
                  <a:lnTo>
                    <a:pt x="2" y="150"/>
                  </a:lnTo>
                  <a:lnTo>
                    <a:pt x="0" y="150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0" y="142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0"/>
                  </a:lnTo>
                  <a:lnTo>
                    <a:pt x="0" y="106"/>
                  </a:lnTo>
                  <a:lnTo>
                    <a:pt x="0" y="90"/>
                  </a:lnTo>
                  <a:lnTo>
                    <a:pt x="0" y="74"/>
                  </a:lnTo>
                  <a:lnTo>
                    <a:pt x="2" y="46"/>
                  </a:lnTo>
                  <a:lnTo>
                    <a:pt x="2" y="34"/>
                  </a:lnTo>
                  <a:lnTo>
                    <a:pt x="8" y="30"/>
                  </a:lnTo>
                  <a:lnTo>
                    <a:pt x="14" y="28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6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77" name="Freeform 412">
              <a:extLst>
                <a:ext uri="{FF2B5EF4-FFF2-40B4-BE49-F238E27FC236}">
                  <a16:creationId xmlns:a16="http://schemas.microsoft.com/office/drawing/2014/main" id="{1B3CE1DA-2334-4716-A35A-A3D777AA1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7132" y="4594385"/>
              <a:ext cx="160593" cy="183865"/>
            </a:xfrm>
            <a:custGeom>
              <a:avLst/>
              <a:gdLst>
                <a:gd name="T0" fmla="*/ 60 w 94"/>
                <a:gd name="T1" fmla="*/ 0 h 110"/>
                <a:gd name="T2" fmla="*/ 48 w 94"/>
                <a:gd name="T3" fmla="*/ 0 h 110"/>
                <a:gd name="T4" fmla="*/ 42 w 94"/>
                <a:gd name="T5" fmla="*/ 4 h 110"/>
                <a:gd name="T6" fmla="*/ 38 w 94"/>
                <a:gd name="T7" fmla="*/ 8 h 110"/>
                <a:gd name="T8" fmla="*/ 38 w 94"/>
                <a:gd name="T9" fmla="*/ 16 h 110"/>
                <a:gd name="T10" fmla="*/ 36 w 94"/>
                <a:gd name="T11" fmla="*/ 24 h 110"/>
                <a:gd name="T12" fmla="*/ 34 w 94"/>
                <a:gd name="T13" fmla="*/ 26 h 110"/>
                <a:gd name="T14" fmla="*/ 28 w 94"/>
                <a:gd name="T15" fmla="*/ 28 h 110"/>
                <a:gd name="T16" fmla="*/ 20 w 94"/>
                <a:gd name="T17" fmla="*/ 28 h 110"/>
                <a:gd name="T18" fmla="*/ 16 w 94"/>
                <a:gd name="T19" fmla="*/ 24 h 110"/>
                <a:gd name="T20" fmla="*/ 16 w 94"/>
                <a:gd name="T21" fmla="*/ 34 h 110"/>
                <a:gd name="T22" fmla="*/ 16 w 94"/>
                <a:gd name="T23" fmla="*/ 42 h 110"/>
                <a:gd name="T24" fmla="*/ 14 w 94"/>
                <a:gd name="T25" fmla="*/ 44 h 110"/>
                <a:gd name="T26" fmla="*/ 4 w 94"/>
                <a:gd name="T27" fmla="*/ 48 h 110"/>
                <a:gd name="T28" fmla="*/ 2 w 94"/>
                <a:gd name="T29" fmla="*/ 50 h 110"/>
                <a:gd name="T30" fmla="*/ 2 w 94"/>
                <a:gd name="T31" fmla="*/ 52 h 110"/>
                <a:gd name="T32" fmla="*/ 4 w 94"/>
                <a:gd name="T33" fmla="*/ 54 h 110"/>
                <a:gd name="T34" fmla="*/ 8 w 94"/>
                <a:gd name="T35" fmla="*/ 56 h 110"/>
                <a:gd name="T36" fmla="*/ 8 w 94"/>
                <a:gd name="T37" fmla="*/ 62 h 110"/>
                <a:gd name="T38" fmla="*/ 8 w 94"/>
                <a:gd name="T39" fmla="*/ 68 h 110"/>
                <a:gd name="T40" fmla="*/ 10 w 94"/>
                <a:gd name="T41" fmla="*/ 74 h 110"/>
                <a:gd name="T42" fmla="*/ 22 w 94"/>
                <a:gd name="T43" fmla="*/ 82 h 110"/>
                <a:gd name="T44" fmla="*/ 32 w 94"/>
                <a:gd name="T45" fmla="*/ 94 h 110"/>
                <a:gd name="T46" fmla="*/ 48 w 94"/>
                <a:gd name="T47" fmla="*/ 106 h 110"/>
                <a:gd name="T48" fmla="*/ 54 w 94"/>
                <a:gd name="T49" fmla="*/ 96 h 110"/>
                <a:gd name="T50" fmla="*/ 56 w 94"/>
                <a:gd name="T51" fmla="*/ 90 h 110"/>
                <a:gd name="T52" fmla="*/ 54 w 94"/>
                <a:gd name="T53" fmla="*/ 88 h 110"/>
                <a:gd name="T54" fmla="*/ 48 w 94"/>
                <a:gd name="T55" fmla="*/ 86 h 110"/>
                <a:gd name="T56" fmla="*/ 46 w 94"/>
                <a:gd name="T57" fmla="*/ 80 h 110"/>
                <a:gd name="T58" fmla="*/ 48 w 94"/>
                <a:gd name="T59" fmla="*/ 76 h 110"/>
                <a:gd name="T60" fmla="*/ 50 w 94"/>
                <a:gd name="T61" fmla="*/ 74 h 110"/>
                <a:gd name="T62" fmla="*/ 60 w 94"/>
                <a:gd name="T63" fmla="*/ 70 h 110"/>
                <a:gd name="T64" fmla="*/ 64 w 94"/>
                <a:gd name="T65" fmla="*/ 70 h 110"/>
                <a:gd name="T66" fmla="*/ 68 w 94"/>
                <a:gd name="T67" fmla="*/ 74 h 110"/>
                <a:gd name="T68" fmla="*/ 72 w 94"/>
                <a:gd name="T69" fmla="*/ 80 h 110"/>
                <a:gd name="T70" fmla="*/ 74 w 94"/>
                <a:gd name="T71" fmla="*/ 80 h 110"/>
                <a:gd name="T72" fmla="*/ 80 w 94"/>
                <a:gd name="T73" fmla="*/ 78 h 110"/>
                <a:gd name="T74" fmla="*/ 88 w 94"/>
                <a:gd name="T75" fmla="*/ 72 h 110"/>
                <a:gd name="T76" fmla="*/ 92 w 94"/>
                <a:gd name="T77" fmla="*/ 64 h 110"/>
                <a:gd name="T78" fmla="*/ 94 w 94"/>
                <a:gd name="T79" fmla="*/ 58 h 110"/>
                <a:gd name="T80" fmla="*/ 92 w 94"/>
                <a:gd name="T81" fmla="*/ 50 h 110"/>
                <a:gd name="T82" fmla="*/ 90 w 94"/>
                <a:gd name="T83" fmla="*/ 46 h 110"/>
                <a:gd name="T84" fmla="*/ 84 w 94"/>
                <a:gd name="T85" fmla="*/ 40 h 110"/>
                <a:gd name="T86" fmla="*/ 80 w 94"/>
                <a:gd name="T87" fmla="*/ 32 h 110"/>
                <a:gd name="T88" fmla="*/ 80 w 94"/>
                <a:gd name="T89" fmla="*/ 28 h 110"/>
                <a:gd name="T90" fmla="*/ 82 w 94"/>
                <a:gd name="T91" fmla="*/ 22 h 110"/>
                <a:gd name="T92" fmla="*/ 82 w 94"/>
                <a:gd name="T93" fmla="*/ 18 h 110"/>
                <a:gd name="T94" fmla="*/ 80 w 94"/>
                <a:gd name="T95" fmla="*/ 14 h 110"/>
                <a:gd name="T96" fmla="*/ 76 w 94"/>
                <a:gd name="T97" fmla="*/ 12 h 110"/>
                <a:gd name="T98" fmla="*/ 70 w 94"/>
                <a:gd name="T99" fmla="*/ 12 h 110"/>
                <a:gd name="T100" fmla="*/ 70 w 94"/>
                <a:gd name="T101" fmla="*/ 12 h 110"/>
                <a:gd name="T102" fmla="*/ 68 w 94"/>
                <a:gd name="T103" fmla="*/ 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" h="110">
                  <a:moveTo>
                    <a:pt x="70" y="0"/>
                  </a:moveTo>
                  <a:lnTo>
                    <a:pt x="70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38" y="12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20"/>
                  </a:lnTo>
                  <a:lnTo>
                    <a:pt x="36" y="22"/>
                  </a:lnTo>
                  <a:lnTo>
                    <a:pt x="36" y="24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0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8" y="28"/>
                  </a:lnTo>
                  <a:lnTo>
                    <a:pt x="18" y="26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6" y="26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2" y="46"/>
                  </a:lnTo>
                  <a:lnTo>
                    <a:pt x="10" y="46"/>
                  </a:lnTo>
                  <a:lnTo>
                    <a:pt x="6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6" y="54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8"/>
                  </a:lnTo>
                  <a:lnTo>
                    <a:pt x="8" y="60"/>
                  </a:lnTo>
                  <a:lnTo>
                    <a:pt x="8" y="62"/>
                  </a:lnTo>
                  <a:lnTo>
                    <a:pt x="8" y="64"/>
                  </a:lnTo>
                  <a:lnTo>
                    <a:pt x="8" y="66"/>
                  </a:lnTo>
                  <a:lnTo>
                    <a:pt x="6" y="68"/>
                  </a:lnTo>
                  <a:lnTo>
                    <a:pt x="8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2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2" y="76"/>
                  </a:lnTo>
                  <a:lnTo>
                    <a:pt x="16" y="78"/>
                  </a:lnTo>
                  <a:lnTo>
                    <a:pt x="22" y="82"/>
                  </a:lnTo>
                  <a:lnTo>
                    <a:pt x="24" y="84"/>
                  </a:lnTo>
                  <a:lnTo>
                    <a:pt x="26" y="86"/>
                  </a:lnTo>
                  <a:lnTo>
                    <a:pt x="28" y="90"/>
                  </a:lnTo>
                  <a:lnTo>
                    <a:pt x="32" y="94"/>
                  </a:lnTo>
                  <a:lnTo>
                    <a:pt x="36" y="100"/>
                  </a:lnTo>
                  <a:lnTo>
                    <a:pt x="40" y="104"/>
                  </a:lnTo>
                  <a:lnTo>
                    <a:pt x="46" y="110"/>
                  </a:lnTo>
                  <a:lnTo>
                    <a:pt x="48" y="106"/>
                  </a:lnTo>
                  <a:lnTo>
                    <a:pt x="50" y="104"/>
                  </a:lnTo>
                  <a:lnTo>
                    <a:pt x="50" y="102"/>
                  </a:lnTo>
                  <a:lnTo>
                    <a:pt x="52" y="100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4" y="90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0" y="86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4" y="72"/>
                  </a:lnTo>
                  <a:lnTo>
                    <a:pt x="58" y="72"/>
                  </a:lnTo>
                  <a:lnTo>
                    <a:pt x="60" y="70"/>
                  </a:lnTo>
                  <a:lnTo>
                    <a:pt x="62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6" y="72"/>
                  </a:lnTo>
                  <a:lnTo>
                    <a:pt x="68" y="74"/>
                  </a:lnTo>
                  <a:lnTo>
                    <a:pt x="68" y="76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4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8" y="80"/>
                  </a:lnTo>
                  <a:lnTo>
                    <a:pt x="80" y="78"/>
                  </a:lnTo>
                  <a:lnTo>
                    <a:pt x="82" y="78"/>
                  </a:lnTo>
                  <a:lnTo>
                    <a:pt x="84" y="76"/>
                  </a:lnTo>
                  <a:lnTo>
                    <a:pt x="86" y="74"/>
                  </a:lnTo>
                  <a:lnTo>
                    <a:pt x="88" y="72"/>
                  </a:lnTo>
                  <a:lnTo>
                    <a:pt x="88" y="70"/>
                  </a:lnTo>
                  <a:lnTo>
                    <a:pt x="90" y="68"/>
                  </a:lnTo>
                  <a:lnTo>
                    <a:pt x="92" y="66"/>
                  </a:lnTo>
                  <a:lnTo>
                    <a:pt x="92" y="64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4" y="60"/>
                  </a:lnTo>
                  <a:lnTo>
                    <a:pt x="94" y="58"/>
                  </a:lnTo>
                  <a:lnTo>
                    <a:pt x="94" y="56"/>
                  </a:lnTo>
                  <a:lnTo>
                    <a:pt x="94" y="54"/>
                  </a:lnTo>
                  <a:lnTo>
                    <a:pt x="94" y="52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0" y="46"/>
                  </a:lnTo>
                  <a:lnTo>
                    <a:pt x="90" y="46"/>
                  </a:lnTo>
                  <a:lnTo>
                    <a:pt x="88" y="44"/>
                  </a:lnTo>
                  <a:lnTo>
                    <a:pt x="86" y="42"/>
                  </a:lnTo>
                  <a:lnTo>
                    <a:pt x="84" y="42"/>
                  </a:lnTo>
                  <a:lnTo>
                    <a:pt x="84" y="40"/>
                  </a:lnTo>
                  <a:lnTo>
                    <a:pt x="82" y="38"/>
                  </a:lnTo>
                  <a:lnTo>
                    <a:pt x="80" y="36"/>
                  </a:lnTo>
                  <a:lnTo>
                    <a:pt x="80" y="3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28"/>
                  </a:lnTo>
                  <a:lnTo>
                    <a:pt x="82" y="26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0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6"/>
                  </a:lnTo>
                  <a:lnTo>
                    <a:pt x="82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6" y="12"/>
                  </a:lnTo>
                  <a:lnTo>
                    <a:pt x="74" y="12"/>
                  </a:lnTo>
                  <a:lnTo>
                    <a:pt x="74" y="14"/>
                  </a:lnTo>
                  <a:lnTo>
                    <a:pt x="72" y="14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0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78" name="Freeform 414">
              <a:extLst>
                <a:ext uri="{FF2B5EF4-FFF2-40B4-BE49-F238E27FC236}">
                  <a16:creationId xmlns:a16="http://schemas.microsoft.com/office/drawing/2014/main" id="{6FD6963C-CCFC-4C21-8EA8-FDC96DF84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860" y="4373746"/>
              <a:ext cx="160593" cy="153778"/>
            </a:xfrm>
            <a:custGeom>
              <a:avLst/>
              <a:gdLst>
                <a:gd name="T0" fmla="*/ 28 w 94"/>
                <a:gd name="T1" fmla="*/ 92 h 92"/>
                <a:gd name="T2" fmla="*/ 18 w 94"/>
                <a:gd name="T3" fmla="*/ 88 h 92"/>
                <a:gd name="T4" fmla="*/ 14 w 94"/>
                <a:gd name="T5" fmla="*/ 86 h 92"/>
                <a:gd name="T6" fmla="*/ 14 w 94"/>
                <a:gd name="T7" fmla="*/ 84 h 92"/>
                <a:gd name="T8" fmla="*/ 14 w 94"/>
                <a:gd name="T9" fmla="*/ 78 h 92"/>
                <a:gd name="T10" fmla="*/ 12 w 94"/>
                <a:gd name="T11" fmla="*/ 72 h 92"/>
                <a:gd name="T12" fmla="*/ 12 w 94"/>
                <a:gd name="T13" fmla="*/ 70 h 92"/>
                <a:gd name="T14" fmla="*/ 10 w 94"/>
                <a:gd name="T15" fmla="*/ 68 h 92"/>
                <a:gd name="T16" fmla="*/ 4 w 94"/>
                <a:gd name="T17" fmla="*/ 68 h 92"/>
                <a:gd name="T18" fmla="*/ 2 w 94"/>
                <a:gd name="T19" fmla="*/ 66 h 92"/>
                <a:gd name="T20" fmla="*/ 0 w 94"/>
                <a:gd name="T21" fmla="*/ 62 h 92"/>
                <a:gd name="T22" fmla="*/ 0 w 94"/>
                <a:gd name="T23" fmla="*/ 54 h 92"/>
                <a:gd name="T24" fmla="*/ 0 w 94"/>
                <a:gd name="T25" fmla="*/ 42 h 92"/>
                <a:gd name="T26" fmla="*/ 2 w 94"/>
                <a:gd name="T27" fmla="*/ 36 h 92"/>
                <a:gd name="T28" fmla="*/ 4 w 94"/>
                <a:gd name="T29" fmla="*/ 32 h 92"/>
                <a:gd name="T30" fmla="*/ 10 w 94"/>
                <a:gd name="T31" fmla="*/ 30 h 92"/>
                <a:gd name="T32" fmla="*/ 16 w 94"/>
                <a:gd name="T33" fmla="*/ 26 h 92"/>
                <a:gd name="T34" fmla="*/ 18 w 94"/>
                <a:gd name="T35" fmla="*/ 24 h 92"/>
                <a:gd name="T36" fmla="*/ 20 w 94"/>
                <a:gd name="T37" fmla="*/ 22 h 92"/>
                <a:gd name="T38" fmla="*/ 18 w 94"/>
                <a:gd name="T39" fmla="*/ 20 h 92"/>
                <a:gd name="T40" fmla="*/ 12 w 94"/>
                <a:gd name="T41" fmla="*/ 18 h 92"/>
                <a:gd name="T42" fmla="*/ 10 w 94"/>
                <a:gd name="T43" fmla="*/ 16 h 92"/>
                <a:gd name="T44" fmla="*/ 10 w 94"/>
                <a:gd name="T45" fmla="*/ 14 h 92"/>
                <a:gd name="T46" fmla="*/ 10 w 94"/>
                <a:gd name="T47" fmla="*/ 10 h 92"/>
                <a:gd name="T48" fmla="*/ 14 w 94"/>
                <a:gd name="T49" fmla="*/ 2 h 92"/>
                <a:gd name="T50" fmla="*/ 48 w 94"/>
                <a:gd name="T51" fmla="*/ 2 h 92"/>
                <a:gd name="T52" fmla="*/ 54 w 94"/>
                <a:gd name="T53" fmla="*/ 6 h 92"/>
                <a:gd name="T54" fmla="*/ 60 w 94"/>
                <a:gd name="T55" fmla="*/ 6 h 92"/>
                <a:gd name="T56" fmla="*/ 78 w 94"/>
                <a:gd name="T57" fmla="*/ 6 h 92"/>
                <a:gd name="T58" fmla="*/ 82 w 94"/>
                <a:gd name="T59" fmla="*/ 12 h 92"/>
                <a:gd name="T60" fmla="*/ 84 w 94"/>
                <a:gd name="T61" fmla="*/ 18 h 92"/>
                <a:gd name="T62" fmla="*/ 84 w 94"/>
                <a:gd name="T63" fmla="*/ 20 h 92"/>
                <a:gd name="T64" fmla="*/ 88 w 94"/>
                <a:gd name="T65" fmla="*/ 22 h 92"/>
                <a:gd name="T66" fmla="*/ 92 w 94"/>
                <a:gd name="T67" fmla="*/ 24 h 92"/>
                <a:gd name="T68" fmla="*/ 92 w 94"/>
                <a:gd name="T69" fmla="*/ 26 h 92"/>
                <a:gd name="T70" fmla="*/ 94 w 94"/>
                <a:gd name="T71" fmla="*/ 32 h 92"/>
                <a:gd name="T72" fmla="*/ 92 w 94"/>
                <a:gd name="T73" fmla="*/ 36 h 92"/>
                <a:gd name="T74" fmla="*/ 90 w 94"/>
                <a:gd name="T75" fmla="*/ 38 h 92"/>
                <a:gd name="T76" fmla="*/ 84 w 94"/>
                <a:gd name="T77" fmla="*/ 38 h 92"/>
                <a:gd name="T78" fmla="*/ 82 w 94"/>
                <a:gd name="T79" fmla="*/ 40 h 92"/>
                <a:gd name="T80" fmla="*/ 82 w 94"/>
                <a:gd name="T81" fmla="*/ 46 h 92"/>
                <a:gd name="T82" fmla="*/ 82 w 94"/>
                <a:gd name="T83" fmla="*/ 56 h 92"/>
                <a:gd name="T84" fmla="*/ 82 w 94"/>
                <a:gd name="T85" fmla="*/ 66 h 92"/>
                <a:gd name="T86" fmla="*/ 80 w 94"/>
                <a:gd name="T87" fmla="*/ 84 h 92"/>
                <a:gd name="T88" fmla="*/ 58 w 94"/>
                <a:gd name="T89" fmla="*/ 84 h 92"/>
                <a:gd name="T90" fmla="*/ 48 w 94"/>
                <a:gd name="T91" fmla="*/ 86 h 92"/>
                <a:gd name="T92" fmla="*/ 38 w 94"/>
                <a:gd name="T93" fmla="*/ 9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4" h="92">
                  <a:moveTo>
                    <a:pt x="30" y="92"/>
                  </a:moveTo>
                  <a:lnTo>
                    <a:pt x="30" y="92"/>
                  </a:lnTo>
                  <a:lnTo>
                    <a:pt x="28" y="92"/>
                  </a:lnTo>
                  <a:lnTo>
                    <a:pt x="24" y="90"/>
                  </a:lnTo>
                  <a:lnTo>
                    <a:pt x="20" y="90"/>
                  </a:lnTo>
                  <a:lnTo>
                    <a:pt x="18" y="88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4" y="80"/>
                  </a:lnTo>
                  <a:lnTo>
                    <a:pt x="14" y="78"/>
                  </a:lnTo>
                  <a:lnTo>
                    <a:pt x="14" y="76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0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0"/>
                  </a:lnTo>
                  <a:lnTo>
                    <a:pt x="0" y="46"/>
                  </a:lnTo>
                  <a:lnTo>
                    <a:pt x="0" y="42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10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28" y="2"/>
                  </a:lnTo>
                  <a:lnTo>
                    <a:pt x="44" y="0"/>
                  </a:lnTo>
                  <a:lnTo>
                    <a:pt x="48" y="2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0" y="6"/>
                  </a:lnTo>
                  <a:lnTo>
                    <a:pt x="78" y="6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2" y="12"/>
                  </a:lnTo>
                  <a:lnTo>
                    <a:pt x="82" y="14"/>
                  </a:lnTo>
                  <a:lnTo>
                    <a:pt x="82" y="16"/>
                  </a:lnTo>
                  <a:lnTo>
                    <a:pt x="84" y="18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2"/>
                  </a:lnTo>
                  <a:lnTo>
                    <a:pt x="86" y="22"/>
                  </a:lnTo>
                  <a:lnTo>
                    <a:pt x="88" y="22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4" y="28"/>
                  </a:lnTo>
                  <a:lnTo>
                    <a:pt x="94" y="30"/>
                  </a:lnTo>
                  <a:lnTo>
                    <a:pt x="94" y="32"/>
                  </a:lnTo>
                  <a:lnTo>
                    <a:pt x="92" y="32"/>
                  </a:lnTo>
                  <a:lnTo>
                    <a:pt x="92" y="3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88" y="38"/>
                  </a:lnTo>
                  <a:lnTo>
                    <a:pt x="86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52"/>
                  </a:lnTo>
                  <a:lnTo>
                    <a:pt x="82" y="56"/>
                  </a:lnTo>
                  <a:lnTo>
                    <a:pt x="82" y="60"/>
                  </a:lnTo>
                  <a:lnTo>
                    <a:pt x="82" y="64"/>
                  </a:lnTo>
                  <a:lnTo>
                    <a:pt x="82" y="66"/>
                  </a:lnTo>
                  <a:lnTo>
                    <a:pt x="82" y="7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70" y="84"/>
                  </a:lnTo>
                  <a:lnTo>
                    <a:pt x="62" y="84"/>
                  </a:lnTo>
                  <a:lnTo>
                    <a:pt x="58" y="84"/>
                  </a:lnTo>
                  <a:lnTo>
                    <a:pt x="52" y="84"/>
                  </a:lnTo>
                  <a:lnTo>
                    <a:pt x="50" y="86"/>
                  </a:lnTo>
                  <a:lnTo>
                    <a:pt x="48" y="86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38" y="90"/>
                  </a:lnTo>
                  <a:lnTo>
                    <a:pt x="30" y="9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79" name="Freeform 416">
              <a:extLst>
                <a:ext uri="{FF2B5EF4-FFF2-40B4-BE49-F238E27FC236}">
                  <a16:creationId xmlns:a16="http://schemas.microsoft.com/office/drawing/2014/main" id="{9F55DEE9-DFC5-45FD-87EB-3307E3262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468" y="4621128"/>
              <a:ext cx="37586" cy="20058"/>
            </a:xfrm>
            <a:custGeom>
              <a:avLst/>
              <a:gdLst>
                <a:gd name="T0" fmla="*/ 22 w 22"/>
                <a:gd name="T1" fmla="*/ 0 h 12"/>
                <a:gd name="T2" fmla="*/ 2 w 22"/>
                <a:gd name="T3" fmla="*/ 2 h 12"/>
                <a:gd name="T4" fmla="*/ 0 w 22"/>
                <a:gd name="T5" fmla="*/ 8 h 12"/>
                <a:gd name="T6" fmla="*/ 2 w 22"/>
                <a:gd name="T7" fmla="*/ 10 h 12"/>
                <a:gd name="T8" fmla="*/ 2 w 22"/>
                <a:gd name="T9" fmla="*/ 12 h 12"/>
                <a:gd name="T10" fmla="*/ 4 w 22"/>
                <a:gd name="T11" fmla="*/ 12 h 12"/>
                <a:gd name="T12" fmla="*/ 4 w 22"/>
                <a:gd name="T13" fmla="*/ 12 h 12"/>
                <a:gd name="T14" fmla="*/ 6 w 22"/>
                <a:gd name="T15" fmla="*/ 12 h 12"/>
                <a:gd name="T16" fmla="*/ 8 w 22"/>
                <a:gd name="T17" fmla="*/ 12 h 12"/>
                <a:gd name="T18" fmla="*/ 10 w 22"/>
                <a:gd name="T19" fmla="*/ 12 h 12"/>
                <a:gd name="T20" fmla="*/ 12 w 22"/>
                <a:gd name="T21" fmla="*/ 12 h 12"/>
                <a:gd name="T22" fmla="*/ 14 w 22"/>
                <a:gd name="T23" fmla="*/ 12 h 12"/>
                <a:gd name="T24" fmla="*/ 16 w 22"/>
                <a:gd name="T25" fmla="*/ 12 h 12"/>
                <a:gd name="T26" fmla="*/ 18 w 22"/>
                <a:gd name="T27" fmla="*/ 12 h 12"/>
                <a:gd name="T28" fmla="*/ 18 w 22"/>
                <a:gd name="T29" fmla="*/ 12 h 12"/>
                <a:gd name="T30" fmla="*/ 18 w 22"/>
                <a:gd name="T31" fmla="*/ 10 h 12"/>
                <a:gd name="T32" fmla="*/ 20 w 22"/>
                <a:gd name="T33" fmla="*/ 10 h 12"/>
                <a:gd name="T34" fmla="*/ 20 w 22"/>
                <a:gd name="T35" fmla="*/ 10 h 12"/>
                <a:gd name="T36" fmla="*/ 20 w 22"/>
                <a:gd name="T37" fmla="*/ 8 h 12"/>
                <a:gd name="T38" fmla="*/ 22 w 22"/>
                <a:gd name="T39" fmla="*/ 6 h 12"/>
                <a:gd name="T40" fmla="*/ 22 w 22"/>
                <a:gd name="T41" fmla="*/ 4 h 12"/>
                <a:gd name="T42" fmla="*/ 22 w 22"/>
                <a:gd name="T43" fmla="*/ 2 h 12"/>
                <a:gd name="T44" fmla="*/ 22 w 22"/>
                <a:gd name="T4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" h="12">
                  <a:moveTo>
                    <a:pt x="22" y="0"/>
                  </a:moveTo>
                  <a:lnTo>
                    <a:pt x="2" y="2"/>
                  </a:lnTo>
                  <a:lnTo>
                    <a:pt x="0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80" name="Freeform 418">
              <a:extLst>
                <a:ext uri="{FF2B5EF4-FFF2-40B4-BE49-F238E27FC236}">
                  <a16:creationId xmlns:a16="http://schemas.microsoft.com/office/drawing/2014/main" id="{C95E8402-507B-457E-BB17-97C9A9C3C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9410" y="4691331"/>
              <a:ext cx="47835" cy="46802"/>
            </a:xfrm>
            <a:custGeom>
              <a:avLst/>
              <a:gdLst>
                <a:gd name="T0" fmla="*/ 14 w 28"/>
                <a:gd name="T1" fmla="*/ 0 h 28"/>
                <a:gd name="T2" fmla="*/ 14 w 28"/>
                <a:gd name="T3" fmla="*/ 0 h 28"/>
                <a:gd name="T4" fmla="*/ 12 w 28"/>
                <a:gd name="T5" fmla="*/ 0 h 28"/>
                <a:gd name="T6" fmla="*/ 10 w 28"/>
                <a:gd name="T7" fmla="*/ 0 h 28"/>
                <a:gd name="T8" fmla="*/ 8 w 28"/>
                <a:gd name="T9" fmla="*/ 2 h 28"/>
                <a:gd name="T10" fmla="*/ 6 w 28"/>
                <a:gd name="T11" fmla="*/ 2 h 28"/>
                <a:gd name="T12" fmla="*/ 6 w 28"/>
                <a:gd name="T13" fmla="*/ 2 h 28"/>
                <a:gd name="T14" fmla="*/ 6 w 28"/>
                <a:gd name="T15" fmla="*/ 2 h 28"/>
                <a:gd name="T16" fmla="*/ 6 w 28"/>
                <a:gd name="T17" fmla="*/ 4 h 28"/>
                <a:gd name="T18" fmla="*/ 6 w 28"/>
                <a:gd name="T19" fmla="*/ 4 h 28"/>
                <a:gd name="T20" fmla="*/ 6 w 28"/>
                <a:gd name="T21" fmla="*/ 4 h 28"/>
                <a:gd name="T22" fmla="*/ 6 w 28"/>
                <a:gd name="T23" fmla="*/ 6 h 28"/>
                <a:gd name="T24" fmla="*/ 6 w 28"/>
                <a:gd name="T25" fmla="*/ 6 h 28"/>
                <a:gd name="T26" fmla="*/ 6 w 28"/>
                <a:gd name="T27" fmla="*/ 8 h 28"/>
                <a:gd name="T28" fmla="*/ 6 w 28"/>
                <a:gd name="T29" fmla="*/ 10 h 28"/>
                <a:gd name="T30" fmla="*/ 6 w 28"/>
                <a:gd name="T31" fmla="*/ 10 h 28"/>
                <a:gd name="T32" fmla="*/ 6 w 28"/>
                <a:gd name="T33" fmla="*/ 12 h 28"/>
                <a:gd name="T34" fmla="*/ 6 w 28"/>
                <a:gd name="T35" fmla="*/ 12 h 28"/>
                <a:gd name="T36" fmla="*/ 6 w 28"/>
                <a:gd name="T37" fmla="*/ 12 h 28"/>
                <a:gd name="T38" fmla="*/ 6 w 28"/>
                <a:gd name="T39" fmla="*/ 14 h 28"/>
                <a:gd name="T40" fmla="*/ 6 w 28"/>
                <a:gd name="T41" fmla="*/ 14 h 28"/>
                <a:gd name="T42" fmla="*/ 4 w 28"/>
                <a:gd name="T43" fmla="*/ 16 h 28"/>
                <a:gd name="T44" fmla="*/ 2 w 28"/>
                <a:gd name="T45" fmla="*/ 16 h 28"/>
                <a:gd name="T46" fmla="*/ 2 w 28"/>
                <a:gd name="T47" fmla="*/ 18 h 28"/>
                <a:gd name="T48" fmla="*/ 2 w 28"/>
                <a:gd name="T49" fmla="*/ 18 h 28"/>
                <a:gd name="T50" fmla="*/ 2 w 28"/>
                <a:gd name="T51" fmla="*/ 20 h 28"/>
                <a:gd name="T52" fmla="*/ 0 w 28"/>
                <a:gd name="T53" fmla="*/ 20 h 28"/>
                <a:gd name="T54" fmla="*/ 0 w 28"/>
                <a:gd name="T55" fmla="*/ 22 h 28"/>
                <a:gd name="T56" fmla="*/ 0 w 28"/>
                <a:gd name="T57" fmla="*/ 22 h 28"/>
                <a:gd name="T58" fmla="*/ 0 w 28"/>
                <a:gd name="T59" fmla="*/ 24 h 28"/>
                <a:gd name="T60" fmla="*/ 2 w 28"/>
                <a:gd name="T61" fmla="*/ 26 h 28"/>
                <a:gd name="T62" fmla="*/ 2 w 28"/>
                <a:gd name="T63" fmla="*/ 26 h 28"/>
                <a:gd name="T64" fmla="*/ 2 w 28"/>
                <a:gd name="T65" fmla="*/ 28 h 28"/>
                <a:gd name="T66" fmla="*/ 2 w 28"/>
                <a:gd name="T67" fmla="*/ 28 h 28"/>
                <a:gd name="T68" fmla="*/ 2 w 28"/>
                <a:gd name="T69" fmla="*/ 28 h 28"/>
                <a:gd name="T70" fmla="*/ 4 w 28"/>
                <a:gd name="T71" fmla="*/ 28 h 28"/>
                <a:gd name="T72" fmla="*/ 6 w 28"/>
                <a:gd name="T73" fmla="*/ 28 h 28"/>
                <a:gd name="T74" fmla="*/ 6 w 28"/>
                <a:gd name="T75" fmla="*/ 26 h 28"/>
                <a:gd name="T76" fmla="*/ 10 w 28"/>
                <a:gd name="T77" fmla="*/ 26 h 28"/>
                <a:gd name="T78" fmla="*/ 10 w 28"/>
                <a:gd name="T79" fmla="*/ 26 h 28"/>
                <a:gd name="T80" fmla="*/ 12 w 28"/>
                <a:gd name="T81" fmla="*/ 26 h 28"/>
                <a:gd name="T82" fmla="*/ 16 w 28"/>
                <a:gd name="T83" fmla="*/ 26 h 28"/>
                <a:gd name="T84" fmla="*/ 18 w 28"/>
                <a:gd name="T85" fmla="*/ 26 h 28"/>
                <a:gd name="T86" fmla="*/ 20 w 28"/>
                <a:gd name="T87" fmla="*/ 26 h 28"/>
                <a:gd name="T88" fmla="*/ 22 w 28"/>
                <a:gd name="T89" fmla="*/ 26 h 28"/>
                <a:gd name="T90" fmla="*/ 22 w 28"/>
                <a:gd name="T91" fmla="*/ 26 h 28"/>
                <a:gd name="T92" fmla="*/ 24 w 28"/>
                <a:gd name="T93" fmla="*/ 26 h 28"/>
                <a:gd name="T94" fmla="*/ 24 w 28"/>
                <a:gd name="T95" fmla="*/ 24 h 28"/>
                <a:gd name="T96" fmla="*/ 26 w 28"/>
                <a:gd name="T97" fmla="*/ 22 h 28"/>
                <a:gd name="T98" fmla="*/ 28 w 28"/>
                <a:gd name="T99" fmla="*/ 20 h 28"/>
                <a:gd name="T100" fmla="*/ 28 w 28"/>
                <a:gd name="T101" fmla="*/ 20 h 28"/>
                <a:gd name="T102" fmla="*/ 24 w 28"/>
                <a:gd name="T103" fmla="*/ 2 h 28"/>
                <a:gd name="T104" fmla="*/ 14 w 28"/>
                <a:gd name="T10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" h="28">
                  <a:moveTo>
                    <a:pt x="14" y="0"/>
                  </a:move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6" y="28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6" y="22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81" name="Freeform 420">
              <a:extLst>
                <a:ext uri="{FF2B5EF4-FFF2-40B4-BE49-F238E27FC236}">
                  <a16:creationId xmlns:a16="http://schemas.microsoft.com/office/drawing/2014/main" id="{CCA6A1F4-8668-4A2F-A4ED-0773584C3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30" y="4243369"/>
              <a:ext cx="198177" cy="143749"/>
            </a:xfrm>
            <a:custGeom>
              <a:avLst/>
              <a:gdLst>
                <a:gd name="T0" fmla="*/ 116 w 116"/>
                <a:gd name="T1" fmla="*/ 46 h 86"/>
                <a:gd name="T2" fmla="*/ 114 w 116"/>
                <a:gd name="T3" fmla="*/ 54 h 86"/>
                <a:gd name="T4" fmla="*/ 112 w 116"/>
                <a:gd name="T5" fmla="*/ 58 h 86"/>
                <a:gd name="T6" fmla="*/ 110 w 116"/>
                <a:gd name="T7" fmla="*/ 60 h 86"/>
                <a:gd name="T8" fmla="*/ 104 w 116"/>
                <a:gd name="T9" fmla="*/ 62 h 86"/>
                <a:gd name="T10" fmla="*/ 96 w 116"/>
                <a:gd name="T11" fmla="*/ 62 h 86"/>
                <a:gd name="T12" fmla="*/ 94 w 116"/>
                <a:gd name="T13" fmla="*/ 64 h 86"/>
                <a:gd name="T14" fmla="*/ 90 w 116"/>
                <a:gd name="T15" fmla="*/ 70 h 86"/>
                <a:gd name="T16" fmla="*/ 84 w 116"/>
                <a:gd name="T17" fmla="*/ 78 h 86"/>
                <a:gd name="T18" fmla="*/ 68 w 116"/>
                <a:gd name="T19" fmla="*/ 78 h 86"/>
                <a:gd name="T20" fmla="*/ 64 w 116"/>
                <a:gd name="T21" fmla="*/ 78 h 86"/>
                <a:gd name="T22" fmla="*/ 56 w 116"/>
                <a:gd name="T23" fmla="*/ 72 h 86"/>
                <a:gd name="T24" fmla="*/ 52 w 116"/>
                <a:gd name="T25" fmla="*/ 70 h 86"/>
                <a:gd name="T26" fmla="*/ 48 w 116"/>
                <a:gd name="T27" fmla="*/ 70 h 86"/>
                <a:gd name="T28" fmla="*/ 46 w 116"/>
                <a:gd name="T29" fmla="*/ 72 h 86"/>
                <a:gd name="T30" fmla="*/ 42 w 116"/>
                <a:gd name="T31" fmla="*/ 76 h 86"/>
                <a:gd name="T32" fmla="*/ 38 w 116"/>
                <a:gd name="T33" fmla="*/ 84 h 86"/>
                <a:gd name="T34" fmla="*/ 22 w 116"/>
                <a:gd name="T35" fmla="*/ 84 h 86"/>
                <a:gd name="T36" fmla="*/ 12 w 116"/>
                <a:gd name="T37" fmla="*/ 84 h 86"/>
                <a:gd name="T38" fmla="*/ 8 w 116"/>
                <a:gd name="T39" fmla="*/ 82 h 86"/>
                <a:gd name="T40" fmla="*/ 2 w 116"/>
                <a:gd name="T41" fmla="*/ 74 h 86"/>
                <a:gd name="T42" fmla="*/ 4 w 116"/>
                <a:gd name="T43" fmla="*/ 60 h 86"/>
                <a:gd name="T44" fmla="*/ 8 w 116"/>
                <a:gd name="T45" fmla="*/ 54 h 86"/>
                <a:gd name="T46" fmla="*/ 14 w 116"/>
                <a:gd name="T47" fmla="*/ 46 h 86"/>
                <a:gd name="T48" fmla="*/ 18 w 116"/>
                <a:gd name="T49" fmla="*/ 38 h 86"/>
                <a:gd name="T50" fmla="*/ 24 w 116"/>
                <a:gd name="T51" fmla="*/ 26 h 86"/>
                <a:gd name="T52" fmla="*/ 26 w 116"/>
                <a:gd name="T53" fmla="*/ 24 h 86"/>
                <a:gd name="T54" fmla="*/ 32 w 116"/>
                <a:gd name="T55" fmla="*/ 22 h 86"/>
                <a:gd name="T56" fmla="*/ 42 w 116"/>
                <a:gd name="T57" fmla="*/ 20 h 86"/>
                <a:gd name="T58" fmla="*/ 44 w 116"/>
                <a:gd name="T59" fmla="*/ 18 h 86"/>
                <a:gd name="T60" fmla="*/ 50 w 116"/>
                <a:gd name="T61" fmla="*/ 12 h 86"/>
                <a:gd name="T62" fmla="*/ 54 w 116"/>
                <a:gd name="T63" fmla="*/ 6 h 86"/>
                <a:gd name="T64" fmla="*/ 58 w 116"/>
                <a:gd name="T65" fmla="*/ 2 h 86"/>
                <a:gd name="T66" fmla="*/ 60 w 116"/>
                <a:gd name="T67" fmla="*/ 0 h 86"/>
                <a:gd name="T68" fmla="*/ 68 w 116"/>
                <a:gd name="T69" fmla="*/ 0 h 86"/>
                <a:gd name="T70" fmla="*/ 80 w 116"/>
                <a:gd name="T71" fmla="*/ 2 h 86"/>
                <a:gd name="T72" fmla="*/ 86 w 116"/>
                <a:gd name="T73" fmla="*/ 8 h 86"/>
                <a:gd name="T74" fmla="*/ 88 w 116"/>
                <a:gd name="T75" fmla="*/ 12 h 86"/>
                <a:gd name="T76" fmla="*/ 94 w 116"/>
                <a:gd name="T77" fmla="*/ 14 h 86"/>
                <a:gd name="T78" fmla="*/ 96 w 116"/>
                <a:gd name="T79" fmla="*/ 16 h 86"/>
                <a:gd name="T80" fmla="*/ 98 w 116"/>
                <a:gd name="T81" fmla="*/ 20 h 86"/>
                <a:gd name="T82" fmla="*/ 96 w 116"/>
                <a:gd name="T83" fmla="*/ 26 h 86"/>
                <a:gd name="T84" fmla="*/ 96 w 116"/>
                <a:gd name="T85" fmla="*/ 30 h 86"/>
                <a:gd name="T86" fmla="*/ 98 w 116"/>
                <a:gd name="T87" fmla="*/ 32 h 86"/>
                <a:gd name="T88" fmla="*/ 102 w 116"/>
                <a:gd name="T89" fmla="*/ 32 h 86"/>
                <a:gd name="T90" fmla="*/ 106 w 116"/>
                <a:gd name="T91" fmla="*/ 32 h 86"/>
                <a:gd name="T92" fmla="*/ 108 w 116"/>
                <a:gd name="T93" fmla="*/ 34 h 86"/>
                <a:gd name="T94" fmla="*/ 112 w 116"/>
                <a:gd name="T95" fmla="*/ 3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6" h="86">
                  <a:moveTo>
                    <a:pt x="116" y="44"/>
                  </a:moveTo>
                  <a:lnTo>
                    <a:pt x="116" y="44"/>
                  </a:lnTo>
                  <a:lnTo>
                    <a:pt x="116" y="46"/>
                  </a:lnTo>
                  <a:lnTo>
                    <a:pt x="114" y="50"/>
                  </a:lnTo>
                  <a:lnTo>
                    <a:pt x="114" y="52"/>
                  </a:lnTo>
                  <a:lnTo>
                    <a:pt x="114" y="54"/>
                  </a:lnTo>
                  <a:lnTo>
                    <a:pt x="112" y="56"/>
                  </a:lnTo>
                  <a:lnTo>
                    <a:pt x="112" y="58"/>
                  </a:lnTo>
                  <a:lnTo>
                    <a:pt x="112" y="58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08" y="60"/>
                  </a:lnTo>
                  <a:lnTo>
                    <a:pt x="106" y="60"/>
                  </a:lnTo>
                  <a:lnTo>
                    <a:pt x="104" y="62"/>
                  </a:lnTo>
                  <a:lnTo>
                    <a:pt x="102" y="62"/>
                  </a:lnTo>
                  <a:lnTo>
                    <a:pt x="98" y="62"/>
                  </a:lnTo>
                  <a:lnTo>
                    <a:pt x="96" y="62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2" y="66"/>
                  </a:lnTo>
                  <a:lnTo>
                    <a:pt x="90" y="70"/>
                  </a:lnTo>
                  <a:lnTo>
                    <a:pt x="88" y="72"/>
                  </a:lnTo>
                  <a:lnTo>
                    <a:pt x="84" y="76"/>
                  </a:lnTo>
                  <a:lnTo>
                    <a:pt x="84" y="78"/>
                  </a:lnTo>
                  <a:lnTo>
                    <a:pt x="78" y="80"/>
                  </a:lnTo>
                  <a:lnTo>
                    <a:pt x="72" y="80"/>
                  </a:lnTo>
                  <a:lnTo>
                    <a:pt x="68" y="78"/>
                  </a:lnTo>
                  <a:lnTo>
                    <a:pt x="66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2" y="76"/>
                  </a:lnTo>
                  <a:lnTo>
                    <a:pt x="60" y="74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2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6" y="70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4" y="72"/>
                  </a:lnTo>
                  <a:lnTo>
                    <a:pt x="44" y="74"/>
                  </a:lnTo>
                  <a:lnTo>
                    <a:pt x="42" y="76"/>
                  </a:lnTo>
                  <a:lnTo>
                    <a:pt x="40" y="78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4" y="84"/>
                  </a:lnTo>
                  <a:lnTo>
                    <a:pt x="26" y="86"/>
                  </a:lnTo>
                  <a:lnTo>
                    <a:pt x="22" y="84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8" y="84"/>
                  </a:lnTo>
                  <a:lnTo>
                    <a:pt x="8" y="82"/>
                  </a:lnTo>
                  <a:lnTo>
                    <a:pt x="4" y="80"/>
                  </a:lnTo>
                  <a:lnTo>
                    <a:pt x="0" y="78"/>
                  </a:lnTo>
                  <a:lnTo>
                    <a:pt x="2" y="74"/>
                  </a:lnTo>
                  <a:lnTo>
                    <a:pt x="2" y="70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8" y="54"/>
                  </a:lnTo>
                  <a:lnTo>
                    <a:pt x="10" y="50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8" y="38"/>
                  </a:lnTo>
                  <a:lnTo>
                    <a:pt x="20" y="32"/>
                  </a:lnTo>
                  <a:lnTo>
                    <a:pt x="22" y="28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8" y="22"/>
                  </a:lnTo>
                  <a:lnTo>
                    <a:pt x="32" y="22"/>
                  </a:lnTo>
                  <a:lnTo>
                    <a:pt x="34" y="22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6"/>
                  </a:lnTo>
                  <a:lnTo>
                    <a:pt x="50" y="12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4" y="6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2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2"/>
                  </a:lnTo>
                  <a:lnTo>
                    <a:pt x="80" y="2"/>
                  </a:lnTo>
                  <a:lnTo>
                    <a:pt x="82" y="2"/>
                  </a:lnTo>
                  <a:lnTo>
                    <a:pt x="84" y="6"/>
                  </a:lnTo>
                  <a:lnTo>
                    <a:pt x="86" y="8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8" y="20"/>
                  </a:lnTo>
                  <a:lnTo>
                    <a:pt x="98" y="22"/>
                  </a:lnTo>
                  <a:lnTo>
                    <a:pt x="96" y="24"/>
                  </a:lnTo>
                  <a:lnTo>
                    <a:pt x="96" y="26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100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4"/>
                  </a:lnTo>
                  <a:lnTo>
                    <a:pt x="110" y="34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4" y="42"/>
                  </a:lnTo>
                  <a:lnTo>
                    <a:pt x="116" y="4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82" name="Freeform 422">
              <a:extLst>
                <a:ext uri="{FF2B5EF4-FFF2-40B4-BE49-F238E27FC236}">
                  <a16:creationId xmlns:a16="http://schemas.microsoft.com/office/drawing/2014/main" id="{ECA0E8CC-C5E8-4285-8AFA-0F3CE7F6C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268" y="4306886"/>
              <a:ext cx="194762" cy="153778"/>
            </a:xfrm>
            <a:custGeom>
              <a:avLst/>
              <a:gdLst>
                <a:gd name="T0" fmla="*/ 0 w 114"/>
                <a:gd name="T1" fmla="*/ 14 h 92"/>
                <a:gd name="T2" fmla="*/ 6 w 114"/>
                <a:gd name="T3" fmla="*/ 8 h 92"/>
                <a:gd name="T4" fmla="*/ 10 w 114"/>
                <a:gd name="T5" fmla="*/ 6 h 92"/>
                <a:gd name="T6" fmla="*/ 18 w 114"/>
                <a:gd name="T7" fmla="*/ 2 h 92"/>
                <a:gd name="T8" fmla="*/ 34 w 114"/>
                <a:gd name="T9" fmla="*/ 2 h 92"/>
                <a:gd name="T10" fmla="*/ 46 w 114"/>
                <a:gd name="T11" fmla="*/ 4 h 92"/>
                <a:gd name="T12" fmla="*/ 62 w 114"/>
                <a:gd name="T13" fmla="*/ 4 h 92"/>
                <a:gd name="T14" fmla="*/ 80 w 114"/>
                <a:gd name="T15" fmla="*/ 8 h 92"/>
                <a:gd name="T16" fmla="*/ 90 w 114"/>
                <a:gd name="T17" fmla="*/ 10 h 92"/>
                <a:gd name="T18" fmla="*/ 94 w 114"/>
                <a:gd name="T19" fmla="*/ 12 h 92"/>
                <a:gd name="T20" fmla="*/ 100 w 114"/>
                <a:gd name="T21" fmla="*/ 16 h 92"/>
                <a:gd name="T22" fmla="*/ 104 w 114"/>
                <a:gd name="T23" fmla="*/ 22 h 92"/>
                <a:gd name="T24" fmla="*/ 104 w 114"/>
                <a:gd name="T25" fmla="*/ 26 h 92"/>
                <a:gd name="T26" fmla="*/ 108 w 114"/>
                <a:gd name="T27" fmla="*/ 34 h 92"/>
                <a:gd name="T28" fmla="*/ 108 w 114"/>
                <a:gd name="T29" fmla="*/ 44 h 92"/>
                <a:gd name="T30" fmla="*/ 104 w 114"/>
                <a:gd name="T31" fmla="*/ 50 h 92"/>
                <a:gd name="T32" fmla="*/ 104 w 114"/>
                <a:gd name="T33" fmla="*/ 54 h 92"/>
                <a:gd name="T34" fmla="*/ 104 w 114"/>
                <a:gd name="T35" fmla="*/ 56 h 92"/>
                <a:gd name="T36" fmla="*/ 108 w 114"/>
                <a:gd name="T37" fmla="*/ 58 h 92"/>
                <a:gd name="T38" fmla="*/ 112 w 114"/>
                <a:gd name="T39" fmla="*/ 62 h 92"/>
                <a:gd name="T40" fmla="*/ 114 w 114"/>
                <a:gd name="T41" fmla="*/ 62 h 92"/>
                <a:gd name="T42" fmla="*/ 112 w 114"/>
                <a:gd name="T43" fmla="*/ 66 h 92"/>
                <a:gd name="T44" fmla="*/ 108 w 114"/>
                <a:gd name="T45" fmla="*/ 68 h 92"/>
                <a:gd name="T46" fmla="*/ 100 w 114"/>
                <a:gd name="T47" fmla="*/ 72 h 92"/>
                <a:gd name="T48" fmla="*/ 98 w 114"/>
                <a:gd name="T49" fmla="*/ 74 h 92"/>
                <a:gd name="T50" fmla="*/ 96 w 114"/>
                <a:gd name="T51" fmla="*/ 76 h 92"/>
                <a:gd name="T52" fmla="*/ 94 w 114"/>
                <a:gd name="T53" fmla="*/ 84 h 92"/>
                <a:gd name="T54" fmla="*/ 92 w 114"/>
                <a:gd name="T55" fmla="*/ 92 h 92"/>
                <a:gd name="T56" fmla="*/ 84 w 114"/>
                <a:gd name="T57" fmla="*/ 90 h 92"/>
                <a:gd name="T58" fmla="*/ 80 w 114"/>
                <a:gd name="T59" fmla="*/ 88 h 92"/>
                <a:gd name="T60" fmla="*/ 78 w 114"/>
                <a:gd name="T61" fmla="*/ 82 h 92"/>
                <a:gd name="T62" fmla="*/ 72 w 114"/>
                <a:gd name="T63" fmla="*/ 72 h 92"/>
                <a:gd name="T64" fmla="*/ 72 w 114"/>
                <a:gd name="T65" fmla="*/ 62 h 92"/>
                <a:gd name="T66" fmla="*/ 70 w 114"/>
                <a:gd name="T67" fmla="*/ 56 h 92"/>
                <a:gd name="T68" fmla="*/ 66 w 114"/>
                <a:gd name="T69" fmla="*/ 52 h 92"/>
                <a:gd name="T70" fmla="*/ 58 w 114"/>
                <a:gd name="T71" fmla="*/ 48 h 92"/>
                <a:gd name="T72" fmla="*/ 54 w 114"/>
                <a:gd name="T73" fmla="*/ 46 h 92"/>
                <a:gd name="T74" fmla="*/ 52 w 114"/>
                <a:gd name="T75" fmla="*/ 46 h 92"/>
                <a:gd name="T76" fmla="*/ 46 w 114"/>
                <a:gd name="T77" fmla="*/ 50 h 92"/>
                <a:gd name="T78" fmla="*/ 40 w 114"/>
                <a:gd name="T79" fmla="*/ 52 h 92"/>
                <a:gd name="T80" fmla="*/ 32 w 114"/>
                <a:gd name="T81" fmla="*/ 56 h 92"/>
                <a:gd name="T82" fmla="*/ 18 w 114"/>
                <a:gd name="T83" fmla="*/ 50 h 92"/>
                <a:gd name="T84" fmla="*/ 8 w 114"/>
                <a:gd name="T85" fmla="*/ 40 h 92"/>
                <a:gd name="T86" fmla="*/ 6 w 114"/>
                <a:gd name="T87" fmla="*/ 36 h 92"/>
                <a:gd name="T88" fmla="*/ 2 w 114"/>
                <a:gd name="T89" fmla="*/ 2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4" h="92">
                  <a:moveTo>
                    <a:pt x="0" y="16"/>
                  </a:moveTo>
                  <a:lnTo>
                    <a:pt x="0" y="16"/>
                  </a:lnTo>
                  <a:lnTo>
                    <a:pt x="0" y="14"/>
                  </a:lnTo>
                  <a:lnTo>
                    <a:pt x="2" y="12"/>
                  </a:lnTo>
                  <a:lnTo>
                    <a:pt x="6" y="8"/>
                  </a:lnTo>
                  <a:lnTo>
                    <a:pt x="6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2" y="4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4" y="2"/>
                  </a:lnTo>
                  <a:lnTo>
                    <a:pt x="40" y="2"/>
                  </a:lnTo>
                  <a:lnTo>
                    <a:pt x="42" y="4"/>
                  </a:lnTo>
                  <a:lnTo>
                    <a:pt x="46" y="4"/>
                  </a:lnTo>
                  <a:lnTo>
                    <a:pt x="50" y="4"/>
                  </a:lnTo>
                  <a:lnTo>
                    <a:pt x="54" y="4"/>
                  </a:lnTo>
                  <a:lnTo>
                    <a:pt x="62" y="4"/>
                  </a:lnTo>
                  <a:lnTo>
                    <a:pt x="68" y="6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4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6" y="14"/>
                  </a:lnTo>
                  <a:lnTo>
                    <a:pt x="98" y="16"/>
                  </a:lnTo>
                  <a:lnTo>
                    <a:pt x="100" y="16"/>
                  </a:lnTo>
                  <a:lnTo>
                    <a:pt x="100" y="18"/>
                  </a:lnTo>
                  <a:lnTo>
                    <a:pt x="102" y="20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6" y="28"/>
                  </a:lnTo>
                  <a:lnTo>
                    <a:pt x="106" y="32"/>
                  </a:lnTo>
                  <a:lnTo>
                    <a:pt x="108" y="34"/>
                  </a:lnTo>
                  <a:lnTo>
                    <a:pt x="108" y="40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06" y="48"/>
                  </a:lnTo>
                  <a:lnTo>
                    <a:pt x="104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6" y="56"/>
                  </a:lnTo>
                  <a:lnTo>
                    <a:pt x="106" y="58"/>
                  </a:lnTo>
                  <a:lnTo>
                    <a:pt x="108" y="58"/>
                  </a:lnTo>
                  <a:lnTo>
                    <a:pt x="110" y="60"/>
                  </a:lnTo>
                  <a:lnTo>
                    <a:pt x="112" y="60"/>
                  </a:lnTo>
                  <a:lnTo>
                    <a:pt x="112" y="62"/>
                  </a:lnTo>
                  <a:lnTo>
                    <a:pt x="112" y="62"/>
                  </a:lnTo>
                  <a:lnTo>
                    <a:pt x="114" y="62"/>
                  </a:lnTo>
                  <a:lnTo>
                    <a:pt x="114" y="62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2" y="66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08" y="68"/>
                  </a:lnTo>
                  <a:lnTo>
                    <a:pt x="106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98" y="72"/>
                  </a:lnTo>
                  <a:lnTo>
                    <a:pt x="98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6"/>
                  </a:lnTo>
                  <a:lnTo>
                    <a:pt x="96" y="78"/>
                  </a:lnTo>
                  <a:lnTo>
                    <a:pt x="94" y="82"/>
                  </a:lnTo>
                  <a:lnTo>
                    <a:pt x="94" y="84"/>
                  </a:lnTo>
                  <a:lnTo>
                    <a:pt x="94" y="90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6" y="92"/>
                  </a:lnTo>
                  <a:lnTo>
                    <a:pt x="84" y="90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8" y="86"/>
                  </a:lnTo>
                  <a:lnTo>
                    <a:pt x="78" y="82"/>
                  </a:lnTo>
                  <a:lnTo>
                    <a:pt x="76" y="80"/>
                  </a:lnTo>
                  <a:lnTo>
                    <a:pt x="74" y="74"/>
                  </a:lnTo>
                  <a:lnTo>
                    <a:pt x="72" y="72"/>
                  </a:lnTo>
                  <a:lnTo>
                    <a:pt x="72" y="70"/>
                  </a:lnTo>
                  <a:lnTo>
                    <a:pt x="72" y="64"/>
                  </a:lnTo>
                  <a:lnTo>
                    <a:pt x="72" y="62"/>
                  </a:lnTo>
                  <a:lnTo>
                    <a:pt x="70" y="60"/>
                  </a:lnTo>
                  <a:lnTo>
                    <a:pt x="70" y="58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4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62" y="50"/>
                  </a:lnTo>
                  <a:lnTo>
                    <a:pt x="58" y="48"/>
                  </a:lnTo>
                  <a:lnTo>
                    <a:pt x="56" y="48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46" y="50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2" y="56"/>
                  </a:lnTo>
                  <a:lnTo>
                    <a:pt x="24" y="56"/>
                  </a:lnTo>
                  <a:lnTo>
                    <a:pt x="22" y="54"/>
                  </a:lnTo>
                  <a:lnTo>
                    <a:pt x="18" y="50"/>
                  </a:lnTo>
                  <a:lnTo>
                    <a:pt x="14" y="46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6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2" y="26"/>
                  </a:lnTo>
                  <a:lnTo>
                    <a:pt x="0" y="1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83" name="Freeform 424">
              <a:extLst>
                <a:ext uri="{FF2B5EF4-FFF2-40B4-BE49-F238E27FC236}">
                  <a16:creationId xmlns:a16="http://schemas.microsoft.com/office/drawing/2014/main" id="{725B9B5F-740F-4780-8CCE-9A7DE3A28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951" y="4360375"/>
              <a:ext cx="92255" cy="160464"/>
            </a:xfrm>
            <a:custGeom>
              <a:avLst/>
              <a:gdLst>
                <a:gd name="T0" fmla="*/ 0 w 54"/>
                <a:gd name="T1" fmla="*/ 84 h 96"/>
                <a:gd name="T2" fmla="*/ 0 w 54"/>
                <a:gd name="T3" fmla="*/ 68 h 96"/>
                <a:gd name="T4" fmla="*/ 0 w 54"/>
                <a:gd name="T5" fmla="*/ 56 h 96"/>
                <a:gd name="T6" fmla="*/ 0 w 54"/>
                <a:gd name="T7" fmla="*/ 50 h 96"/>
                <a:gd name="T8" fmla="*/ 2 w 54"/>
                <a:gd name="T9" fmla="*/ 46 h 96"/>
                <a:gd name="T10" fmla="*/ 6 w 54"/>
                <a:gd name="T11" fmla="*/ 46 h 96"/>
                <a:gd name="T12" fmla="*/ 10 w 54"/>
                <a:gd name="T13" fmla="*/ 44 h 96"/>
                <a:gd name="T14" fmla="*/ 12 w 54"/>
                <a:gd name="T15" fmla="*/ 42 h 96"/>
                <a:gd name="T16" fmla="*/ 12 w 54"/>
                <a:gd name="T17" fmla="*/ 36 h 96"/>
                <a:gd name="T18" fmla="*/ 10 w 54"/>
                <a:gd name="T19" fmla="*/ 34 h 96"/>
                <a:gd name="T20" fmla="*/ 8 w 54"/>
                <a:gd name="T21" fmla="*/ 32 h 96"/>
                <a:gd name="T22" fmla="*/ 2 w 54"/>
                <a:gd name="T23" fmla="*/ 30 h 96"/>
                <a:gd name="T24" fmla="*/ 2 w 54"/>
                <a:gd name="T25" fmla="*/ 28 h 96"/>
                <a:gd name="T26" fmla="*/ 0 w 54"/>
                <a:gd name="T27" fmla="*/ 22 h 96"/>
                <a:gd name="T28" fmla="*/ 0 w 54"/>
                <a:gd name="T29" fmla="*/ 14 h 96"/>
                <a:gd name="T30" fmla="*/ 4 w 54"/>
                <a:gd name="T31" fmla="*/ 6 h 96"/>
                <a:gd name="T32" fmla="*/ 8 w 54"/>
                <a:gd name="T33" fmla="*/ 2 h 96"/>
                <a:gd name="T34" fmla="*/ 10 w 54"/>
                <a:gd name="T35" fmla="*/ 0 h 96"/>
                <a:gd name="T36" fmla="*/ 14 w 54"/>
                <a:gd name="T37" fmla="*/ 0 h 96"/>
                <a:gd name="T38" fmla="*/ 20 w 54"/>
                <a:gd name="T39" fmla="*/ 2 h 96"/>
                <a:gd name="T40" fmla="*/ 26 w 54"/>
                <a:gd name="T41" fmla="*/ 6 h 96"/>
                <a:gd name="T42" fmla="*/ 30 w 54"/>
                <a:gd name="T43" fmla="*/ 8 h 96"/>
                <a:gd name="T44" fmla="*/ 40 w 54"/>
                <a:gd name="T45" fmla="*/ 12 h 96"/>
                <a:gd name="T46" fmla="*/ 40 w 54"/>
                <a:gd name="T47" fmla="*/ 20 h 96"/>
                <a:gd name="T48" fmla="*/ 40 w 54"/>
                <a:gd name="T49" fmla="*/ 24 h 96"/>
                <a:gd name="T50" fmla="*/ 44 w 54"/>
                <a:gd name="T51" fmla="*/ 26 h 96"/>
                <a:gd name="T52" fmla="*/ 46 w 54"/>
                <a:gd name="T53" fmla="*/ 28 h 96"/>
                <a:gd name="T54" fmla="*/ 48 w 54"/>
                <a:gd name="T55" fmla="*/ 30 h 96"/>
                <a:gd name="T56" fmla="*/ 46 w 54"/>
                <a:gd name="T57" fmla="*/ 38 h 96"/>
                <a:gd name="T58" fmla="*/ 46 w 54"/>
                <a:gd name="T59" fmla="*/ 44 h 96"/>
                <a:gd name="T60" fmla="*/ 48 w 54"/>
                <a:gd name="T61" fmla="*/ 60 h 96"/>
                <a:gd name="T62" fmla="*/ 54 w 54"/>
                <a:gd name="T63" fmla="*/ 80 h 96"/>
                <a:gd name="T64" fmla="*/ 50 w 54"/>
                <a:gd name="T65" fmla="*/ 84 h 96"/>
                <a:gd name="T66" fmla="*/ 46 w 54"/>
                <a:gd name="T67" fmla="*/ 88 h 96"/>
                <a:gd name="T68" fmla="*/ 44 w 54"/>
                <a:gd name="T69" fmla="*/ 88 h 96"/>
                <a:gd name="T70" fmla="*/ 40 w 54"/>
                <a:gd name="T71" fmla="*/ 86 h 96"/>
                <a:gd name="T72" fmla="*/ 36 w 54"/>
                <a:gd name="T73" fmla="*/ 86 h 96"/>
                <a:gd name="T74" fmla="*/ 34 w 54"/>
                <a:gd name="T75" fmla="*/ 88 h 96"/>
                <a:gd name="T76" fmla="*/ 30 w 54"/>
                <a:gd name="T77" fmla="*/ 94 h 96"/>
                <a:gd name="T78" fmla="*/ 26 w 54"/>
                <a:gd name="T79" fmla="*/ 96 h 96"/>
                <a:gd name="T80" fmla="*/ 20 w 54"/>
                <a:gd name="T81" fmla="*/ 96 h 96"/>
                <a:gd name="T82" fmla="*/ 14 w 54"/>
                <a:gd name="T8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96">
                  <a:moveTo>
                    <a:pt x="2" y="92"/>
                  </a:moveTo>
                  <a:lnTo>
                    <a:pt x="2" y="92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8" y="32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2" y="12"/>
                  </a:lnTo>
                  <a:lnTo>
                    <a:pt x="2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2" y="4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8" y="8"/>
                  </a:lnTo>
                  <a:lnTo>
                    <a:pt x="30" y="8"/>
                  </a:lnTo>
                  <a:lnTo>
                    <a:pt x="34" y="10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4" y="26"/>
                  </a:lnTo>
                  <a:lnTo>
                    <a:pt x="46" y="26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40"/>
                  </a:lnTo>
                  <a:lnTo>
                    <a:pt x="46" y="44"/>
                  </a:lnTo>
                  <a:lnTo>
                    <a:pt x="46" y="50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50" y="66"/>
                  </a:lnTo>
                  <a:lnTo>
                    <a:pt x="50" y="72"/>
                  </a:lnTo>
                  <a:lnTo>
                    <a:pt x="54" y="80"/>
                  </a:lnTo>
                  <a:lnTo>
                    <a:pt x="52" y="80"/>
                  </a:lnTo>
                  <a:lnTo>
                    <a:pt x="50" y="82"/>
                  </a:lnTo>
                  <a:lnTo>
                    <a:pt x="50" y="84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4" y="88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0" y="86"/>
                  </a:lnTo>
                  <a:lnTo>
                    <a:pt x="38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2" y="90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8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4" y="96"/>
                  </a:lnTo>
                  <a:lnTo>
                    <a:pt x="8" y="94"/>
                  </a:lnTo>
                  <a:lnTo>
                    <a:pt x="2" y="9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84" name="Freeform 426">
              <a:extLst>
                <a:ext uri="{FF2B5EF4-FFF2-40B4-BE49-F238E27FC236}">
                  <a16:creationId xmlns:a16="http://schemas.microsoft.com/office/drawing/2014/main" id="{50D1B8EA-ACE3-494D-8AEB-7DBD2B93C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3078" y="4724760"/>
              <a:ext cx="44420" cy="43459"/>
            </a:xfrm>
            <a:custGeom>
              <a:avLst/>
              <a:gdLst>
                <a:gd name="T0" fmla="*/ 14 w 26"/>
                <a:gd name="T1" fmla="*/ 24 h 26"/>
                <a:gd name="T2" fmla="*/ 14 w 26"/>
                <a:gd name="T3" fmla="*/ 24 h 26"/>
                <a:gd name="T4" fmla="*/ 14 w 26"/>
                <a:gd name="T5" fmla="*/ 24 h 26"/>
                <a:gd name="T6" fmla="*/ 16 w 26"/>
                <a:gd name="T7" fmla="*/ 24 h 26"/>
                <a:gd name="T8" fmla="*/ 20 w 26"/>
                <a:gd name="T9" fmla="*/ 24 h 26"/>
                <a:gd name="T10" fmla="*/ 22 w 26"/>
                <a:gd name="T11" fmla="*/ 24 h 26"/>
                <a:gd name="T12" fmla="*/ 24 w 26"/>
                <a:gd name="T13" fmla="*/ 24 h 26"/>
                <a:gd name="T14" fmla="*/ 24 w 26"/>
                <a:gd name="T15" fmla="*/ 24 h 26"/>
                <a:gd name="T16" fmla="*/ 26 w 26"/>
                <a:gd name="T17" fmla="*/ 22 h 26"/>
                <a:gd name="T18" fmla="*/ 26 w 26"/>
                <a:gd name="T19" fmla="*/ 22 h 26"/>
                <a:gd name="T20" fmla="*/ 26 w 26"/>
                <a:gd name="T21" fmla="*/ 22 h 26"/>
                <a:gd name="T22" fmla="*/ 26 w 26"/>
                <a:gd name="T23" fmla="*/ 20 h 26"/>
                <a:gd name="T24" fmla="*/ 26 w 26"/>
                <a:gd name="T25" fmla="*/ 20 h 26"/>
                <a:gd name="T26" fmla="*/ 26 w 26"/>
                <a:gd name="T27" fmla="*/ 20 h 26"/>
                <a:gd name="T28" fmla="*/ 26 w 26"/>
                <a:gd name="T29" fmla="*/ 16 h 26"/>
                <a:gd name="T30" fmla="*/ 26 w 26"/>
                <a:gd name="T31" fmla="*/ 14 h 26"/>
                <a:gd name="T32" fmla="*/ 26 w 26"/>
                <a:gd name="T33" fmla="*/ 12 h 26"/>
                <a:gd name="T34" fmla="*/ 24 w 26"/>
                <a:gd name="T35" fmla="*/ 10 h 26"/>
                <a:gd name="T36" fmla="*/ 24 w 26"/>
                <a:gd name="T37" fmla="*/ 6 h 26"/>
                <a:gd name="T38" fmla="*/ 22 w 26"/>
                <a:gd name="T39" fmla="*/ 4 h 26"/>
                <a:gd name="T40" fmla="*/ 22 w 26"/>
                <a:gd name="T41" fmla="*/ 2 h 26"/>
                <a:gd name="T42" fmla="*/ 20 w 26"/>
                <a:gd name="T43" fmla="*/ 0 h 26"/>
                <a:gd name="T44" fmla="*/ 20 w 26"/>
                <a:gd name="T45" fmla="*/ 0 h 26"/>
                <a:gd name="T46" fmla="*/ 18 w 26"/>
                <a:gd name="T47" fmla="*/ 2 h 26"/>
                <a:gd name="T48" fmla="*/ 16 w 26"/>
                <a:gd name="T49" fmla="*/ 4 h 26"/>
                <a:gd name="T50" fmla="*/ 16 w 26"/>
                <a:gd name="T51" fmla="*/ 4 h 26"/>
                <a:gd name="T52" fmla="*/ 14 w 26"/>
                <a:gd name="T53" fmla="*/ 6 h 26"/>
                <a:gd name="T54" fmla="*/ 14 w 26"/>
                <a:gd name="T55" fmla="*/ 6 h 26"/>
                <a:gd name="T56" fmla="*/ 12 w 26"/>
                <a:gd name="T57" fmla="*/ 6 h 26"/>
                <a:gd name="T58" fmla="*/ 10 w 26"/>
                <a:gd name="T59" fmla="*/ 6 h 26"/>
                <a:gd name="T60" fmla="*/ 8 w 26"/>
                <a:gd name="T61" fmla="*/ 6 h 26"/>
                <a:gd name="T62" fmla="*/ 4 w 26"/>
                <a:gd name="T63" fmla="*/ 6 h 26"/>
                <a:gd name="T64" fmla="*/ 2 w 26"/>
                <a:gd name="T65" fmla="*/ 6 h 26"/>
                <a:gd name="T66" fmla="*/ 2 w 26"/>
                <a:gd name="T67" fmla="*/ 8 h 26"/>
                <a:gd name="T68" fmla="*/ 0 w 26"/>
                <a:gd name="T69" fmla="*/ 12 h 26"/>
                <a:gd name="T70" fmla="*/ 0 w 26"/>
                <a:gd name="T71" fmla="*/ 14 h 26"/>
                <a:gd name="T72" fmla="*/ 0 w 26"/>
                <a:gd name="T73" fmla="*/ 18 h 26"/>
                <a:gd name="T74" fmla="*/ 0 w 26"/>
                <a:gd name="T75" fmla="*/ 20 h 26"/>
                <a:gd name="T76" fmla="*/ 0 w 26"/>
                <a:gd name="T77" fmla="*/ 20 h 26"/>
                <a:gd name="T78" fmla="*/ 0 w 26"/>
                <a:gd name="T79" fmla="*/ 22 h 26"/>
                <a:gd name="T80" fmla="*/ 0 w 26"/>
                <a:gd name="T81" fmla="*/ 22 h 26"/>
                <a:gd name="T82" fmla="*/ 0 w 26"/>
                <a:gd name="T83" fmla="*/ 22 h 26"/>
                <a:gd name="T84" fmla="*/ 2 w 26"/>
                <a:gd name="T85" fmla="*/ 24 h 26"/>
                <a:gd name="T86" fmla="*/ 4 w 26"/>
                <a:gd name="T87" fmla="*/ 26 h 26"/>
                <a:gd name="T88" fmla="*/ 6 w 26"/>
                <a:gd name="T89" fmla="*/ 26 h 26"/>
                <a:gd name="T90" fmla="*/ 8 w 26"/>
                <a:gd name="T91" fmla="*/ 26 h 26"/>
                <a:gd name="T92" fmla="*/ 12 w 26"/>
                <a:gd name="T93" fmla="*/ 24 h 26"/>
                <a:gd name="T94" fmla="*/ 14 w 26"/>
                <a:gd name="T95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" h="26">
                  <a:moveTo>
                    <a:pt x="14" y="24"/>
                  </a:moveTo>
                  <a:lnTo>
                    <a:pt x="14" y="24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2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8" y="26"/>
                  </a:lnTo>
                  <a:lnTo>
                    <a:pt x="12" y="24"/>
                  </a:lnTo>
                  <a:lnTo>
                    <a:pt x="14" y="2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85" name="Freeform 428">
              <a:extLst>
                <a:ext uri="{FF2B5EF4-FFF2-40B4-BE49-F238E27FC236}">
                  <a16:creationId xmlns:a16="http://schemas.microsoft.com/office/drawing/2014/main" id="{3E799CA6-CEB6-4C42-916C-D0EE085F1B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476" y="5276357"/>
              <a:ext cx="406605" cy="374416"/>
            </a:xfrm>
            <a:custGeom>
              <a:avLst/>
              <a:gdLst>
                <a:gd name="T0" fmla="*/ 204 w 238"/>
                <a:gd name="T1" fmla="*/ 10 h 224"/>
                <a:gd name="T2" fmla="*/ 200 w 238"/>
                <a:gd name="T3" fmla="*/ 6 h 224"/>
                <a:gd name="T4" fmla="*/ 186 w 238"/>
                <a:gd name="T5" fmla="*/ 8 h 224"/>
                <a:gd name="T6" fmla="*/ 176 w 238"/>
                <a:gd name="T7" fmla="*/ 16 h 224"/>
                <a:gd name="T8" fmla="*/ 166 w 238"/>
                <a:gd name="T9" fmla="*/ 26 h 224"/>
                <a:gd name="T10" fmla="*/ 156 w 238"/>
                <a:gd name="T11" fmla="*/ 32 h 224"/>
                <a:gd name="T12" fmla="*/ 154 w 238"/>
                <a:gd name="T13" fmla="*/ 44 h 224"/>
                <a:gd name="T14" fmla="*/ 146 w 238"/>
                <a:gd name="T15" fmla="*/ 46 h 224"/>
                <a:gd name="T16" fmla="*/ 140 w 238"/>
                <a:gd name="T17" fmla="*/ 54 h 224"/>
                <a:gd name="T18" fmla="*/ 130 w 238"/>
                <a:gd name="T19" fmla="*/ 64 h 224"/>
                <a:gd name="T20" fmla="*/ 118 w 238"/>
                <a:gd name="T21" fmla="*/ 66 h 224"/>
                <a:gd name="T22" fmla="*/ 108 w 238"/>
                <a:gd name="T23" fmla="*/ 60 h 224"/>
                <a:gd name="T24" fmla="*/ 98 w 238"/>
                <a:gd name="T25" fmla="*/ 60 h 224"/>
                <a:gd name="T26" fmla="*/ 92 w 238"/>
                <a:gd name="T27" fmla="*/ 70 h 224"/>
                <a:gd name="T28" fmla="*/ 86 w 238"/>
                <a:gd name="T29" fmla="*/ 80 h 224"/>
                <a:gd name="T30" fmla="*/ 72 w 238"/>
                <a:gd name="T31" fmla="*/ 82 h 224"/>
                <a:gd name="T32" fmla="*/ 60 w 238"/>
                <a:gd name="T33" fmla="*/ 76 h 224"/>
                <a:gd name="T34" fmla="*/ 58 w 238"/>
                <a:gd name="T35" fmla="*/ 62 h 224"/>
                <a:gd name="T36" fmla="*/ 52 w 238"/>
                <a:gd name="T37" fmla="*/ 88 h 224"/>
                <a:gd name="T38" fmla="*/ 50 w 238"/>
                <a:gd name="T39" fmla="*/ 112 h 224"/>
                <a:gd name="T40" fmla="*/ 42 w 238"/>
                <a:gd name="T41" fmla="*/ 120 h 224"/>
                <a:gd name="T42" fmla="*/ 26 w 238"/>
                <a:gd name="T43" fmla="*/ 122 h 224"/>
                <a:gd name="T44" fmla="*/ 18 w 238"/>
                <a:gd name="T45" fmla="*/ 114 h 224"/>
                <a:gd name="T46" fmla="*/ 14 w 238"/>
                <a:gd name="T47" fmla="*/ 108 h 224"/>
                <a:gd name="T48" fmla="*/ 10 w 238"/>
                <a:gd name="T49" fmla="*/ 112 h 224"/>
                <a:gd name="T50" fmla="*/ 2 w 238"/>
                <a:gd name="T51" fmla="*/ 118 h 224"/>
                <a:gd name="T52" fmla="*/ 2 w 238"/>
                <a:gd name="T53" fmla="*/ 134 h 224"/>
                <a:gd name="T54" fmla="*/ 6 w 238"/>
                <a:gd name="T55" fmla="*/ 138 h 224"/>
                <a:gd name="T56" fmla="*/ 14 w 238"/>
                <a:gd name="T57" fmla="*/ 140 h 224"/>
                <a:gd name="T58" fmla="*/ 14 w 238"/>
                <a:gd name="T59" fmla="*/ 156 h 224"/>
                <a:gd name="T60" fmla="*/ 18 w 238"/>
                <a:gd name="T61" fmla="*/ 160 h 224"/>
                <a:gd name="T62" fmla="*/ 20 w 238"/>
                <a:gd name="T63" fmla="*/ 166 h 224"/>
                <a:gd name="T64" fmla="*/ 26 w 238"/>
                <a:gd name="T65" fmla="*/ 168 h 224"/>
                <a:gd name="T66" fmla="*/ 28 w 238"/>
                <a:gd name="T67" fmla="*/ 172 h 224"/>
                <a:gd name="T68" fmla="*/ 24 w 238"/>
                <a:gd name="T69" fmla="*/ 182 h 224"/>
                <a:gd name="T70" fmla="*/ 18 w 238"/>
                <a:gd name="T71" fmla="*/ 186 h 224"/>
                <a:gd name="T72" fmla="*/ 22 w 238"/>
                <a:gd name="T73" fmla="*/ 198 h 224"/>
                <a:gd name="T74" fmla="*/ 36 w 238"/>
                <a:gd name="T75" fmla="*/ 214 h 224"/>
                <a:gd name="T76" fmla="*/ 50 w 238"/>
                <a:gd name="T77" fmla="*/ 222 h 224"/>
                <a:gd name="T78" fmla="*/ 64 w 238"/>
                <a:gd name="T79" fmla="*/ 222 h 224"/>
                <a:gd name="T80" fmla="*/ 76 w 238"/>
                <a:gd name="T81" fmla="*/ 210 h 224"/>
                <a:gd name="T82" fmla="*/ 82 w 238"/>
                <a:gd name="T83" fmla="*/ 204 h 224"/>
                <a:gd name="T84" fmla="*/ 100 w 238"/>
                <a:gd name="T85" fmla="*/ 204 h 224"/>
                <a:gd name="T86" fmla="*/ 110 w 238"/>
                <a:gd name="T87" fmla="*/ 208 h 224"/>
                <a:gd name="T88" fmla="*/ 116 w 238"/>
                <a:gd name="T89" fmla="*/ 212 h 224"/>
                <a:gd name="T90" fmla="*/ 130 w 238"/>
                <a:gd name="T91" fmla="*/ 204 h 224"/>
                <a:gd name="T92" fmla="*/ 142 w 238"/>
                <a:gd name="T93" fmla="*/ 198 h 224"/>
                <a:gd name="T94" fmla="*/ 164 w 238"/>
                <a:gd name="T95" fmla="*/ 192 h 224"/>
                <a:gd name="T96" fmla="*/ 172 w 238"/>
                <a:gd name="T97" fmla="*/ 182 h 224"/>
                <a:gd name="T98" fmla="*/ 180 w 238"/>
                <a:gd name="T99" fmla="*/ 168 h 224"/>
                <a:gd name="T100" fmla="*/ 198 w 238"/>
                <a:gd name="T101" fmla="*/ 156 h 224"/>
                <a:gd name="T102" fmla="*/ 212 w 238"/>
                <a:gd name="T103" fmla="*/ 142 h 224"/>
                <a:gd name="T104" fmla="*/ 214 w 238"/>
                <a:gd name="T105" fmla="*/ 124 h 224"/>
                <a:gd name="T106" fmla="*/ 220 w 238"/>
                <a:gd name="T107" fmla="*/ 112 h 224"/>
                <a:gd name="T108" fmla="*/ 228 w 238"/>
                <a:gd name="T109" fmla="*/ 110 h 224"/>
                <a:gd name="T110" fmla="*/ 236 w 238"/>
                <a:gd name="T111" fmla="*/ 102 h 224"/>
                <a:gd name="T112" fmla="*/ 222 w 238"/>
                <a:gd name="T113" fmla="*/ 76 h 224"/>
                <a:gd name="T114" fmla="*/ 218 w 238"/>
                <a:gd name="T115" fmla="*/ 1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8" h="224">
                  <a:moveTo>
                    <a:pt x="218" y="10"/>
                  </a:moveTo>
                  <a:lnTo>
                    <a:pt x="218" y="10"/>
                  </a:lnTo>
                  <a:lnTo>
                    <a:pt x="216" y="10"/>
                  </a:lnTo>
                  <a:lnTo>
                    <a:pt x="212" y="10"/>
                  </a:lnTo>
                  <a:lnTo>
                    <a:pt x="210" y="10"/>
                  </a:lnTo>
                  <a:lnTo>
                    <a:pt x="206" y="10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0" y="8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198" y="6"/>
                  </a:lnTo>
                  <a:lnTo>
                    <a:pt x="198" y="4"/>
                  </a:lnTo>
                  <a:lnTo>
                    <a:pt x="196" y="4"/>
                  </a:lnTo>
                  <a:lnTo>
                    <a:pt x="194" y="2"/>
                  </a:lnTo>
                  <a:lnTo>
                    <a:pt x="190" y="0"/>
                  </a:lnTo>
                  <a:lnTo>
                    <a:pt x="188" y="4"/>
                  </a:lnTo>
                  <a:lnTo>
                    <a:pt x="186" y="8"/>
                  </a:lnTo>
                  <a:lnTo>
                    <a:pt x="186" y="8"/>
                  </a:lnTo>
                  <a:lnTo>
                    <a:pt x="186" y="10"/>
                  </a:lnTo>
                  <a:lnTo>
                    <a:pt x="184" y="10"/>
                  </a:lnTo>
                  <a:lnTo>
                    <a:pt x="184" y="12"/>
                  </a:lnTo>
                  <a:lnTo>
                    <a:pt x="182" y="14"/>
                  </a:lnTo>
                  <a:lnTo>
                    <a:pt x="178" y="14"/>
                  </a:lnTo>
                  <a:lnTo>
                    <a:pt x="176" y="16"/>
                  </a:lnTo>
                  <a:lnTo>
                    <a:pt x="174" y="18"/>
                  </a:lnTo>
                  <a:lnTo>
                    <a:pt x="172" y="20"/>
                  </a:lnTo>
                  <a:lnTo>
                    <a:pt x="170" y="24"/>
                  </a:lnTo>
                  <a:lnTo>
                    <a:pt x="170" y="24"/>
                  </a:lnTo>
                  <a:lnTo>
                    <a:pt x="168" y="26"/>
                  </a:lnTo>
                  <a:lnTo>
                    <a:pt x="168" y="26"/>
                  </a:lnTo>
                  <a:lnTo>
                    <a:pt x="166" y="26"/>
                  </a:lnTo>
                  <a:lnTo>
                    <a:pt x="162" y="28"/>
                  </a:lnTo>
                  <a:lnTo>
                    <a:pt x="160" y="28"/>
                  </a:lnTo>
                  <a:lnTo>
                    <a:pt x="160" y="30"/>
                  </a:lnTo>
                  <a:lnTo>
                    <a:pt x="158" y="30"/>
                  </a:lnTo>
                  <a:lnTo>
                    <a:pt x="158" y="30"/>
                  </a:lnTo>
                  <a:lnTo>
                    <a:pt x="156" y="32"/>
                  </a:lnTo>
                  <a:lnTo>
                    <a:pt x="156" y="32"/>
                  </a:lnTo>
                  <a:lnTo>
                    <a:pt x="156" y="34"/>
                  </a:lnTo>
                  <a:lnTo>
                    <a:pt x="156" y="36"/>
                  </a:lnTo>
                  <a:lnTo>
                    <a:pt x="156" y="38"/>
                  </a:lnTo>
                  <a:lnTo>
                    <a:pt x="156" y="40"/>
                  </a:lnTo>
                  <a:lnTo>
                    <a:pt x="154" y="42"/>
                  </a:lnTo>
                  <a:lnTo>
                    <a:pt x="154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2" y="46"/>
                  </a:lnTo>
                  <a:lnTo>
                    <a:pt x="150" y="46"/>
                  </a:lnTo>
                  <a:lnTo>
                    <a:pt x="148" y="46"/>
                  </a:lnTo>
                  <a:lnTo>
                    <a:pt x="146" y="46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0" y="52"/>
                  </a:lnTo>
                  <a:lnTo>
                    <a:pt x="140" y="54"/>
                  </a:lnTo>
                  <a:lnTo>
                    <a:pt x="138" y="56"/>
                  </a:lnTo>
                  <a:lnTo>
                    <a:pt x="138" y="56"/>
                  </a:lnTo>
                  <a:lnTo>
                    <a:pt x="136" y="60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2" y="64"/>
                  </a:lnTo>
                  <a:lnTo>
                    <a:pt x="130" y="64"/>
                  </a:lnTo>
                  <a:lnTo>
                    <a:pt x="130" y="66"/>
                  </a:lnTo>
                  <a:lnTo>
                    <a:pt x="128" y="66"/>
                  </a:lnTo>
                  <a:lnTo>
                    <a:pt x="126" y="66"/>
                  </a:lnTo>
                  <a:lnTo>
                    <a:pt x="124" y="66"/>
                  </a:lnTo>
                  <a:lnTo>
                    <a:pt x="122" y="66"/>
                  </a:lnTo>
                  <a:lnTo>
                    <a:pt x="120" y="66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6" y="66"/>
                  </a:lnTo>
                  <a:lnTo>
                    <a:pt x="114" y="66"/>
                  </a:lnTo>
                  <a:lnTo>
                    <a:pt x="114" y="64"/>
                  </a:lnTo>
                  <a:lnTo>
                    <a:pt x="110" y="62"/>
                  </a:lnTo>
                  <a:lnTo>
                    <a:pt x="108" y="62"/>
                  </a:lnTo>
                  <a:lnTo>
                    <a:pt x="108" y="60"/>
                  </a:lnTo>
                  <a:lnTo>
                    <a:pt x="106" y="60"/>
                  </a:lnTo>
                  <a:lnTo>
                    <a:pt x="104" y="60"/>
                  </a:lnTo>
                  <a:lnTo>
                    <a:pt x="102" y="60"/>
                  </a:lnTo>
                  <a:lnTo>
                    <a:pt x="100" y="60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6" y="64"/>
                  </a:lnTo>
                  <a:lnTo>
                    <a:pt x="94" y="66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70"/>
                  </a:lnTo>
                  <a:lnTo>
                    <a:pt x="92" y="72"/>
                  </a:lnTo>
                  <a:lnTo>
                    <a:pt x="90" y="74"/>
                  </a:lnTo>
                  <a:lnTo>
                    <a:pt x="90" y="76"/>
                  </a:lnTo>
                  <a:lnTo>
                    <a:pt x="90" y="76"/>
                  </a:lnTo>
                  <a:lnTo>
                    <a:pt x="88" y="78"/>
                  </a:lnTo>
                  <a:lnTo>
                    <a:pt x="88" y="78"/>
                  </a:lnTo>
                  <a:lnTo>
                    <a:pt x="86" y="80"/>
                  </a:lnTo>
                  <a:lnTo>
                    <a:pt x="84" y="82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80" y="82"/>
                  </a:lnTo>
                  <a:lnTo>
                    <a:pt x="76" y="82"/>
                  </a:lnTo>
                  <a:lnTo>
                    <a:pt x="74" y="82"/>
                  </a:lnTo>
                  <a:lnTo>
                    <a:pt x="72" y="82"/>
                  </a:lnTo>
                  <a:lnTo>
                    <a:pt x="68" y="80"/>
                  </a:lnTo>
                  <a:lnTo>
                    <a:pt x="66" y="80"/>
                  </a:lnTo>
                  <a:lnTo>
                    <a:pt x="64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0" y="76"/>
                  </a:lnTo>
                  <a:lnTo>
                    <a:pt x="60" y="74"/>
                  </a:lnTo>
                  <a:lnTo>
                    <a:pt x="60" y="72"/>
                  </a:lnTo>
                  <a:lnTo>
                    <a:pt x="60" y="70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6" y="60"/>
                  </a:lnTo>
                  <a:lnTo>
                    <a:pt x="56" y="58"/>
                  </a:lnTo>
                  <a:lnTo>
                    <a:pt x="52" y="56"/>
                  </a:lnTo>
                  <a:lnTo>
                    <a:pt x="52" y="62"/>
                  </a:lnTo>
                  <a:lnTo>
                    <a:pt x="54" y="70"/>
                  </a:lnTo>
                  <a:lnTo>
                    <a:pt x="54" y="80"/>
                  </a:lnTo>
                  <a:lnTo>
                    <a:pt x="52" y="88"/>
                  </a:lnTo>
                  <a:lnTo>
                    <a:pt x="52" y="94"/>
                  </a:lnTo>
                  <a:lnTo>
                    <a:pt x="52" y="98"/>
                  </a:lnTo>
                  <a:lnTo>
                    <a:pt x="52" y="102"/>
                  </a:lnTo>
                  <a:lnTo>
                    <a:pt x="50" y="106"/>
                  </a:lnTo>
                  <a:lnTo>
                    <a:pt x="50" y="110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48" y="114"/>
                  </a:lnTo>
                  <a:lnTo>
                    <a:pt x="48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4" y="118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40" y="122"/>
                  </a:lnTo>
                  <a:lnTo>
                    <a:pt x="38" y="122"/>
                  </a:lnTo>
                  <a:lnTo>
                    <a:pt x="36" y="122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28" y="122"/>
                  </a:lnTo>
                  <a:lnTo>
                    <a:pt x="26" y="122"/>
                  </a:lnTo>
                  <a:lnTo>
                    <a:pt x="24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0" y="118"/>
                  </a:lnTo>
                  <a:lnTo>
                    <a:pt x="20" y="118"/>
                  </a:lnTo>
                  <a:lnTo>
                    <a:pt x="20" y="116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2" y="112"/>
                  </a:lnTo>
                  <a:lnTo>
                    <a:pt x="12" y="112"/>
                  </a:lnTo>
                  <a:lnTo>
                    <a:pt x="10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6" y="112"/>
                  </a:lnTo>
                  <a:lnTo>
                    <a:pt x="2" y="114"/>
                  </a:lnTo>
                  <a:lnTo>
                    <a:pt x="0" y="114"/>
                  </a:lnTo>
                  <a:lnTo>
                    <a:pt x="2" y="116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4"/>
                  </a:lnTo>
                  <a:lnTo>
                    <a:pt x="2" y="128"/>
                  </a:lnTo>
                  <a:lnTo>
                    <a:pt x="2" y="130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6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6" y="138"/>
                  </a:lnTo>
                  <a:lnTo>
                    <a:pt x="8" y="138"/>
                  </a:lnTo>
                  <a:lnTo>
                    <a:pt x="10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4"/>
                  </a:lnTo>
                  <a:lnTo>
                    <a:pt x="14" y="146"/>
                  </a:lnTo>
                  <a:lnTo>
                    <a:pt x="14" y="150"/>
                  </a:lnTo>
                  <a:lnTo>
                    <a:pt x="14" y="152"/>
                  </a:lnTo>
                  <a:lnTo>
                    <a:pt x="14" y="156"/>
                  </a:lnTo>
                  <a:lnTo>
                    <a:pt x="14" y="156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60"/>
                  </a:lnTo>
                  <a:lnTo>
                    <a:pt x="14" y="160"/>
                  </a:lnTo>
                  <a:lnTo>
                    <a:pt x="16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2"/>
                  </a:lnTo>
                  <a:lnTo>
                    <a:pt x="22" y="162"/>
                  </a:lnTo>
                  <a:lnTo>
                    <a:pt x="22" y="164"/>
                  </a:lnTo>
                  <a:lnTo>
                    <a:pt x="22" y="166"/>
                  </a:lnTo>
                  <a:lnTo>
                    <a:pt x="20" y="166"/>
                  </a:lnTo>
                  <a:lnTo>
                    <a:pt x="20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4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28" y="170"/>
                  </a:lnTo>
                  <a:lnTo>
                    <a:pt x="28" y="172"/>
                  </a:lnTo>
                  <a:lnTo>
                    <a:pt x="28" y="172"/>
                  </a:lnTo>
                  <a:lnTo>
                    <a:pt x="28" y="174"/>
                  </a:lnTo>
                  <a:lnTo>
                    <a:pt x="28" y="176"/>
                  </a:lnTo>
                  <a:lnTo>
                    <a:pt x="26" y="178"/>
                  </a:lnTo>
                  <a:lnTo>
                    <a:pt x="26" y="180"/>
                  </a:lnTo>
                  <a:lnTo>
                    <a:pt x="26" y="182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2" y="184"/>
                  </a:lnTo>
                  <a:lnTo>
                    <a:pt x="20" y="184"/>
                  </a:lnTo>
                  <a:lnTo>
                    <a:pt x="20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8"/>
                  </a:lnTo>
                  <a:lnTo>
                    <a:pt x="18" y="190"/>
                  </a:lnTo>
                  <a:lnTo>
                    <a:pt x="18" y="190"/>
                  </a:lnTo>
                  <a:lnTo>
                    <a:pt x="18" y="192"/>
                  </a:lnTo>
                  <a:lnTo>
                    <a:pt x="20" y="194"/>
                  </a:lnTo>
                  <a:lnTo>
                    <a:pt x="20" y="196"/>
                  </a:lnTo>
                  <a:lnTo>
                    <a:pt x="22" y="198"/>
                  </a:lnTo>
                  <a:lnTo>
                    <a:pt x="24" y="200"/>
                  </a:lnTo>
                  <a:lnTo>
                    <a:pt x="26" y="204"/>
                  </a:lnTo>
                  <a:lnTo>
                    <a:pt x="28" y="206"/>
                  </a:lnTo>
                  <a:lnTo>
                    <a:pt x="30" y="208"/>
                  </a:lnTo>
                  <a:lnTo>
                    <a:pt x="32" y="210"/>
                  </a:lnTo>
                  <a:lnTo>
                    <a:pt x="34" y="212"/>
                  </a:lnTo>
                  <a:lnTo>
                    <a:pt x="36" y="214"/>
                  </a:lnTo>
                  <a:lnTo>
                    <a:pt x="38" y="216"/>
                  </a:lnTo>
                  <a:lnTo>
                    <a:pt x="42" y="218"/>
                  </a:lnTo>
                  <a:lnTo>
                    <a:pt x="42" y="220"/>
                  </a:lnTo>
                  <a:lnTo>
                    <a:pt x="44" y="220"/>
                  </a:lnTo>
                  <a:lnTo>
                    <a:pt x="46" y="222"/>
                  </a:lnTo>
                  <a:lnTo>
                    <a:pt x="48" y="222"/>
                  </a:lnTo>
                  <a:lnTo>
                    <a:pt x="50" y="222"/>
                  </a:lnTo>
                  <a:lnTo>
                    <a:pt x="54" y="222"/>
                  </a:lnTo>
                  <a:lnTo>
                    <a:pt x="56" y="224"/>
                  </a:lnTo>
                  <a:lnTo>
                    <a:pt x="58" y="224"/>
                  </a:lnTo>
                  <a:lnTo>
                    <a:pt x="60" y="222"/>
                  </a:lnTo>
                  <a:lnTo>
                    <a:pt x="62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6" y="220"/>
                  </a:lnTo>
                  <a:lnTo>
                    <a:pt x="68" y="220"/>
                  </a:lnTo>
                  <a:lnTo>
                    <a:pt x="70" y="218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4" y="214"/>
                  </a:lnTo>
                  <a:lnTo>
                    <a:pt x="76" y="210"/>
                  </a:lnTo>
                  <a:lnTo>
                    <a:pt x="76" y="208"/>
                  </a:lnTo>
                  <a:lnTo>
                    <a:pt x="78" y="208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80" y="206"/>
                  </a:lnTo>
                  <a:lnTo>
                    <a:pt x="80" y="204"/>
                  </a:lnTo>
                  <a:lnTo>
                    <a:pt x="82" y="204"/>
                  </a:lnTo>
                  <a:lnTo>
                    <a:pt x="84" y="204"/>
                  </a:lnTo>
                  <a:lnTo>
                    <a:pt x="86" y="204"/>
                  </a:lnTo>
                  <a:lnTo>
                    <a:pt x="88" y="202"/>
                  </a:lnTo>
                  <a:lnTo>
                    <a:pt x="90" y="202"/>
                  </a:lnTo>
                  <a:lnTo>
                    <a:pt x="94" y="202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4" y="204"/>
                  </a:lnTo>
                  <a:lnTo>
                    <a:pt x="106" y="206"/>
                  </a:lnTo>
                  <a:lnTo>
                    <a:pt x="108" y="206"/>
                  </a:lnTo>
                  <a:lnTo>
                    <a:pt x="110" y="206"/>
                  </a:lnTo>
                  <a:lnTo>
                    <a:pt x="110" y="206"/>
                  </a:lnTo>
                  <a:lnTo>
                    <a:pt x="110" y="208"/>
                  </a:lnTo>
                  <a:lnTo>
                    <a:pt x="110" y="210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4" y="212"/>
                  </a:lnTo>
                  <a:lnTo>
                    <a:pt x="114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8" y="210"/>
                  </a:lnTo>
                  <a:lnTo>
                    <a:pt x="120" y="210"/>
                  </a:lnTo>
                  <a:lnTo>
                    <a:pt x="124" y="208"/>
                  </a:lnTo>
                  <a:lnTo>
                    <a:pt x="126" y="206"/>
                  </a:lnTo>
                  <a:lnTo>
                    <a:pt x="128" y="204"/>
                  </a:lnTo>
                  <a:lnTo>
                    <a:pt x="130" y="204"/>
                  </a:lnTo>
                  <a:lnTo>
                    <a:pt x="132" y="202"/>
                  </a:lnTo>
                  <a:lnTo>
                    <a:pt x="134" y="200"/>
                  </a:lnTo>
                  <a:lnTo>
                    <a:pt x="136" y="200"/>
                  </a:lnTo>
                  <a:lnTo>
                    <a:pt x="136" y="198"/>
                  </a:lnTo>
                  <a:lnTo>
                    <a:pt x="138" y="198"/>
                  </a:lnTo>
                  <a:lnTo>
                    <a:pt x="138" y="198"/>
                  </a:lnTo>
                  <a:lnTo>
                    <a:pt x="142" y="198"/>
                  </a:lnTo>
                  <a:lnTo>
                    <a:pt x="144" y="198"/>
                  </a:lnTo>
                  <a:lnTo>
                    <a:pt x="148" y="198"/>
                  </a:lnTo>
                  <a:lnTo>
                    <a:pt x="152" y="196"/>
                  </a:lnTo>
                  <a:lnTo>
                    <a:pt x="156" y="196"/>
                  </a:lnTo>
                  <a:lnTo>
                    <a:pt x="158" y="196"/>
                  </a:lnTo>
                  <a:lnTo>
                    <a:pt x="160" y="194"/>
                  </a:lnTo>
                  <a:lnTo>
                    <a:pt x="164" y="192"/>
                  </a:lnTo>
                  <a:lnTo>
                    <a:pt x="166" y="190"/>
                  </a:lnTo>
                  <a:lnTo>
                    <a:pt x="168" y="190"/>
                  </a:lnTo>
                  <a:lnTo>
                    <a:pt x="170" y="188"/>
                  </a:lnTo>
                  <a:lnTo>
                    <a:pt x="170" y="188"/>
                  </a:lnTo>
                  <a:lnTo>
                    <a:pt x="170" y="186"/>
                  </a:lnTo>
                  <a:lnTo>
                    <a:pt x="172" y="184"/>
                  </a:lnTo>
                  <a:lnTo>
                    <a:pt x="172" y="182"/>
                  </a:lnTo>
                  <a:lnTo>
                    <a:pt x="174" y="178"/>
                  </a:lnTo>
                  <a:lnTo>
                    <a:pt x="176" y="176"/>
                  </a:lnTo>
                  <a:lnTo>
                    <a:pt x="176" y="174"/>
                  </a:lnTo>
                  <a:lnTo>
                    <a:pt x="178" y="172"/>
                  </a:lnTo>
                  <a:lnTo>
                    <a:pt x="178" y="170"/>
                  </a:lnTo>
                  <a:lnTo>
                    <a:pt x="180" y="170"/>
                  </a:lnTo>
                  <a:lnTo>
                    <a:pt x="180" y="168"/>
                  </a:lnTo>
                  <a:lnTo>
                    <a:pt x="182" y="166"/>
                  </a:lnTo>
                  <a:lnTo>
                    <a:pt x="184" y="166"/>
                  </a:lnTo>
                  <a:lnTo>
                    <a:pt x="186" y="164"/>
                  </a:lnTo>
                  <a:lnTo>
                    <a:pt x="190" y="162"/>
                  </a:lnTo>
                  <a:lnTo>
                    <a:pt x="192" y="162"/>
                  </a:lnTo>
                  <a:lnTo>
                    <a:pt x="192" y="160"/>
                  </a:lnTo>
                  <a:lnTo>
                    <a:pt x="198" y="156"/>
                  </a:lnTo>
                  <a:lnTo>
                    <a:pt x="202" y="152"/>
                  </a:lnTo>
                  <a:lnTo>
                    <a:pt x="206" y="150"/>
                  </a:lnTo>
                  <a:lnTo>
                    <a:pt x="208" y="148"/>
                  </a:lnTo>
                  <a:lnTo>
                    <a:pt x="210" y="146"/>
                  </a:lnTo>
                  <a:lnTo>
                    <a:pt x="210" y="144"/>
                  </a:lnTo>
                  <a:lnTo>
                    <a:pt x="210" y="144"/>
                  </a:lnTo>
                  <a:lnTo>
                    <a:pt x="212" y="142"/>
                  </a:lnTo>
                  <a:lnTo>
                    <a:pt x="212" y="140"/>
                  </a:lnTo>
                  <a:lnTo>
                    <a:pt x="212" y="138"/>
                  </a:lnTo>
                  <a:lnTo>
                    <a:pt x="212" y="136"/>
                  </a:lnTo>
                  <a:lnTo>
                    <a:pt x="214" y="130"/>
                  </a:lnTo>
                  <a:lnTo>
                    <a:pt x="214" y="128"/>
                  </a:lnTo>
                  <a:lnTo>
                    <a:pt x="214" y="126"/>
                  </a:lnTo>
                  <a:lnTo>
                    <a:pt x="214" y="124"/>
                  </a:lnTo>
                  <a:lnTo>
                    <a:pt x="216" y="120"/>
                  </a:lnTo>
                  <a:lnTo>
                    <a:pt x="216" y="118"/>
                  </a:lnTo>
                  <a:lnTo>
                    <a:pt x="216" y="116"/>
                  </a:lnTo>
                  <a:lnTo>
                    <a:pt x="218" y="114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2" y="112"/>
                  </a:lnTo>
                  <a:lnTo>
                    <a:pt x="224" y="112"/>
                  </a:lnTo>
                  <a:lnTo>
                    <a:pt x="226" y="112"/>
                  </a:lnTo>
                  <a:lnTo>
                    <a:pt x="228" y="112"/>
                  </a:lnTo>
                  <a:lnTo>
                    <a:pt x="228" y="110"/>
                  </a:lnTo>
                  <a:lnTo>
                    <a:pt x="230" y="110"/>
                  </a:lnTo>
                  <a:lnTo>
                    <a:pt x="230" y="110"/>
                  </a:lnTo>
                  <a:lnTo>
                    <a:pt x="230" y="110"/>
                  </a:lnTo>
                  <a:lnTo>
                    <a:pt x="232" y="108"/>
                  </a:lnTo>
                  <a:lnTo>
                    <a:pt x="232" y="106"/>
                  </a:lnTo>
                  <a:lnTo>
                    <a:pt x="234" y="104"/>
                  </a:lnTo>
                  <a:lnTo>
                    <a:pt x="236" y="102"/>
                  </a:lnTo>
                  <a:lnTo>
                    <a:pt x="238" y="96"/>
                  </a:lnTo>
                  <a:lnTo>
                    <a:pt x="238" y="94"/>
                  </a:lnTo>
                  <a:lnTo>
                    <a:pt x="226" y="90"/>
                  </a:lnTo>
                  <a:lnTo>
                    <a:pt x="226" y="86"/>
                  </a:lnTo>
                  <a:lnTo>
                    <a:pt x="224" y="82"/>
                  </a:lnTo>
                  <a:lnTo>
                    <a:pt x="224" y="78"/>
                  </a:lnTo>
                  <a:lnTo>
                    <a:pt x="222" y="76"/>
                  </a:lnTo>
                  <a:lnTo>
                    <a:pt x="220" y="72"/>
                  </a:lnTo>
                  <a:lnTo>
                    <a:pt x="218" y="68"/>
                  </a:lnTo>
                  <a:lnTo>
                    <a:pt x="218" y="62"/>
                  </a:lnTo>
                  <a:lnTo>
                    <a:pt x="218" y="52"/>
                  </a:lnTo>
                  <a:lnTo>
                    <a:pt x="218" y="44"/>
                  </a:lnTo>
                  <a:lnTo>
                    <a:pt x="218" y="36"/>
                  </a:lnTo>
                  <a:lnTo>
                    <a:pt x="218" y="1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86" name="Freeform 430">
              <a:extLst>
                <a:ext uri="{FF2B5EF4-FFF2-40B4-BE49-F238E27FC236}">
                  <a16:creationId xmlns:a16="http://schemas.microsoft.com/office/drawing/2014/main" id="{BFCBBD59-7910-45D7-8D4C-AD435554A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3580" y="4948741"/>
              <a:ext cx="263098" cy="484736"/>
            </a:xfrm>
            <a:custGeom>
              <a:avLst/>
              <a:gdLst>
                <a:gd name="T0" fmla="*/ 16 w 154"/>
                <a:gd name="T1" fmla="*/ 264 h 290"/>
                <a:gd name="T2" fmla="*/ 18 w 154"/>
                <a:gd name="T3" fmla="*/ 200 h 290"/>
                <a:gd name="T4" fmla="*/ 26 w 154"/>
                <a:gd name="T5" fmla="*/ 192 h 290"/>
                <a:gd name="T6" fmla="*/ 28 w 154"/>
                <a:gd name="T7" fmla="*/ 180 h 290"/>
                <a:gd name="T8" fmla="*/ 30 w 154"/>
                <a:gd name="T9" fmla="*/ 168 h 290"/>
                <a:gd name="T10" fmla="*/ 42 w 154"/>
                <a:gd name="T11" fmla="*/ 160 h 290"/>
                <a:gd name="T12" fmla="*/ 40 w 154"/>
                <a:gd name="T13" fmla="*/ 150 h 290"/>
                <a:gd name="T14" fmla="*/ 36 w 154"/>
                <a:gd name="T15" fmla="*/ 130 h 290"/>
                <a:gd name="T16" fmla="*/ 40 w 154"/>
                <a:gd name="T17" fmla="*/ 110 h 290"/>
                <a:gd name="T18" fmla="*/ 32 w 154"/>
                <a:gd name="T19" fmla="*/ 98 h 290"/>
                <a:gd name="T20" fmla="*/ 16 w 154"/>
                <a:gd name="T21" fmla="*/ 96 h 290"/>
                <a:gd name="T22" fmla="*/ 10 w 154"/>
                <a:gd name="T23" fmla="*/ 88 h 290"/>
                <a:gd name="T24" fmla="*/ 4 w 154"/>
                <a:gd name="T25" fmla="*/ 82 h 290"/>
                <a:gd name="T26" fmla="*/ 22 w 154"/>
                <a:gd name="T27" fmla="*/ 78 h 290"/>
                <a:gd name="T28" fmla="*/ 28 w 154"/>
                <a:gd name="T29" fmla="*/ 68 h 290"/>
                <a:gd name="T30" fmla="*/ 44 w 154"/>
                <a:gd name="T31" fmla="*/ 64 h 290"/>
                <a:gd name="T32" fmla="*/ 60 w 154"/>
                <a:gd name="T33" fmla="*/ 68 h 290"/>
                <a:gd name="T34" fmla="*/ 62 w 154"/>
                <a:gd name="T35" fmla="*/ 78 h 290"/>
                <a:gd name="T36" fmla="*/ 56 w 154"/>
                <a:gd name="T37" fmla="*/ 94 h 290"/>
                <a:gd name="T38" fmla="*/ 62 w 154"/>
                <a:gd name="T39" fmla="*/ 102 h 290"/>
                <a:gd name="T40" fmla="*/ 72 w 154"/>
                <a:gd name="T41" fmla="*/ 100 h 290"/>
                <a:gd name="T42" fmla="*/ 76 w 154"/>
                <a:gd name="T43" fmla="*/ 90 h 290"/>
                <a:gd name="T44" fmla="*/ 86 w 154"/>
                <a:gd name="T45" fmla="*/ 82 h 290"/>
                <a:gd name="T46" fmla="*/ 84 w 154"/>
                <a:gd name="T47" fmla="*/ 70 h 290"/>
                <a:gd name="T48" fmla="*/ 70 w 154"/>
                <a:gd name="T49" fmla="*/ 46 h 290"/>
                <a:gd name="T50" fmla="*/ 64 w 154"/>
                <a:gd name="T51" fmla="*/ 36 h 290"/>
                <a:gd name="T52" fmla="*/ 68 w 154"/>
                <a:gd name="T53" fmla="*/ 16 h 290"/>
                <a:gd name="T54" fmla="*/ 76 w 154"/>
                <a:gd name="T55" fmla="*/ 8 h 290"/>
                <a:gd name="T56" fmla="*/ 80 w 154"/>
                <a:gd name="T57" fmla="*/ 18 h 290"/>
                <a:gd name="T58" fmla="*/ 94 w 154"/>
                <a:gd name="T59" fmla="*/ 22 h 290"/>
                <a:gd name="T60" fmla="*/ 110 w 154"/>
                <a:gd name="T61" fmla="*/ 22 h 290"/>
                <a:gd name="T62" fmla="*/ 112 w 154"/>
                <a:gd name="T63" fmla="*/ 14 h 290"/>
                <a:gd name="T64" fmla="*/ 120 w 154"/>
                <a:gd name="T65" fmla="*/ 10 h 290"/>
                <a:gd name="T66" fmla="*/ 130 w 154"/>
                <a:gd name="T67" fmla="*/ 10 h 290"/>
                <a:gd name="T68" fmla="*/ 138 w 154"/>
                <a:gd name="T69" fmla="*/ 4 h 290"/>
                <a:gd name="T70" fmla="*/ 152 w 154"/>
                <a:gd name="T71" fmla="*/ 50 h 290"/>
                <a:gd name="T72" fmla="*/ 150 w 154"/>
                <a:gd name="T73" fmla="*/ 84 h 290"/>
                <a:gd name="T74" fmla="*/ 142 w 154"/>
                <a:gd name="T75" fmla="*/ 96 h 290"/>
                <a:gd name="T76" fmla="*/ 136 w 154"/>
                <a:gd name="T77" fmla="*/ 104 h 290"/>
                <a:gd name="T78" fmla="*/ 116 w 154"/>
                <a:gd name="T79" fmla="*/ 106 h 290"/>
                <a:gd name="T80" fmla="*/ 114 w 154"/>
                <a:gd name="T81" fmla="*/ 114 h 290"/>
                <a:gd name="T82" fmla="*/ 102 w 154"/>
                <a:gd name="T83" fmla="*/ 118 h 290"/>
                <a:gd name="T84" fmla="*/ 96 w 154"/>
                <a:gd name="T85" fmla="*/ 126 h 290"/>
                <a:gd name="T86" fmla="*/ 94 w 154"/>
                <a:gd name="T87" fmla="*/ 140 h 290"/>
                <a:gd name="T88" fmla="*/ 82 w 154"/>
                <a:gd name="T89" fmla="*/ 144 h 290"/>
                <a:gd name="T90" fmla="*/ 72 w 154"/>
                <a:gd name="T91" fmla="*/ 156 h 290"/>
                <a:gd name="T92" fmla="*/ 68 w 154"/>
                <a:gd name="T93" fmla="*/ 184 h 290"/>
                <a:gd name="T94" fmla="*/ 72 w 154"/>
                <a:gd name="T95" fmla="*/ 192 h 290"/>
                <a:gd name="T96" fmla="*/ 74 w 154"/>
                <a:gd name="T97" fmla="*/ 206 h 290"/>
                <a:gd name="T98" fmla="*/ 74 w 154"/>
                <a:gd name="T99" fmla="*/ 232 h 290"/>
                <a:gd name="T100" fmla="*/ 70 w 154"/>
                <a:gd name="T101" fmla="*/ 236 h 290"/>
                <a:gd name="T102" fmla="*/ 68 w 154"/>
                <a:gd name="T103" fmla="*/ 244 h 290"/>
                <a:gd name="T104" fmla="*/ 58 w 154"/>
                <a:gd name="T105" fmla="*/ 244 h 290"/>
                <a:gd name="T106" fmla="*/ 54 w 154"/>
                <a:gd name="T107" fmla="*/ 248 h 290"/>
                <a:gd name="T108" fmla="*/ 42 w 154"/>
                <a:gd name="T109" fmla="*/ 248 h 290"/>
                <a:gd name="T110" fmla="*/ 40 w 154"/>
                <a:gd name="T111" fmla="*/ 258 h 290"/>
                <a:gd name="T112" fmla="*/ 38 w 154"/>
                <a:gd name="T113" fmla="*/ 28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" h="290">
                  <a:moveTo>
                    <a:pt x="36" y="290"/>
                  </a:moveTo>
                  <a:lnTo>
                    <a:pt x="26" y="286"/>
                  </a:lnTo>
                  <a:lnTo>
                    <a:pt x="24" y="282"/>
                  </a:lnTo>
                  <a:lnTo>
                    <a:pt x="24" y="278"/>
                  </a:lnTo>
                  <a:lnTo>
                    <a:pt x="22" y="274"/>
                  </a:lnTo>
                  <a:lnTo>
                    <a:pt x="20" y="272"/>
                  </a:lnTo>
                  <a:lnTo>
                    <a:pt x="18" y="268"/>
                  </a:lnTo>
                  <a:lnTo>
                    <a:pt x="16" y="264"/>
                  </a:lnTo>
                  <a:lnTo>
                    <a:pt x="16" y="258"/>
                  </a:lnTo>
                  <a:lnTo>
                    <a:pt x="18" y="248"/>
                  </a:lnTo>
                  <a:lnTo>
                    <a:pt x="18" y="240"/>
                  </a:lnTo>
                  <a:lnTo>
                    <a:pt x="18" y="232"/>
                  </a:lnTo>
                  <a:lnTo>
                    <a:pt x="18" y="206"/>
                  </a:lnTo>
                  <a:lnTo>
                    <a:pt x="18" y="204"/>
                  </a:lnTo>
                  <a:lnTo>
                    <a:pt x="18" y="202"/>
                  </a:lnTo>
                  <a:lnTo>
                    <a:pt x="18" y="200"/>
                  </a:lnTo>
                  <a:lnTo>
                    <a:pt x="20" y="198"/>
                  </a:lnTo>
                  <a:lnTo>
                    <a:pt x="20" y="196"/>
                  </a:lnTo>
                  <a:lnTo>
                    <a:pt x="20" y="194"/>
                  </a:lnTo>
                  <a:lnTo>
                    <a:pt x="22" y="194"/>
                  </a:lnTo>
                  <a:lnTo>
                    <a:pt x="22" y="194"/>
                  </a:lnTo>
                  <a:lnTo>
                    <a:pt x="24" y="192"/>
                  </a:lnTo>
                  <a:lnTo>
                    <a:pt x="26" y="192"/>
                  </a:lnTo>
                  <a:lnTo>
                    <a:pt x="26" y="192"/>
                  </a:lnTo>
                  <a:lnTo>
                    <a:pt x="28" y="190"/>
                  </a:lnTo>
                  <a:lnTo>
                    <a:pt x="28" y="190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28" y="182"/>
                  </a:lnTo>
                  <a:lnTo>
                    <a:pt x="28" y="180"/>
                  </a:lnTo>
                  <a:lnTo>
                    <a:pt x="28" y="178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2"/>
                  </a:lnTo>
                  <a:lnTo>
                    <a:pt x="28" y="172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30" y="168"/>
                  </a:lnTo>
                  <a:lnTo>
                    <a:pt x="30" y="168"/>
                  </a:lnTo>
                  <a:lnTo>
                    <a:pt x="32" y="166"/>
                  </a:lnTo>
                  <a:lnTo>
                    <a:pt x="36" y="166"/>
                  </a:lnTo>
                  <a:lnTo>
                    <a:pt x="36" y="164"/>
                  </a:lnTo>
                  <a:lnTo>
                    <a:pt x="38" y="164"/>
                  </a:lnTo>
                  <a:lnTo>
                    <a:pt x="38" y="162"/>
                  </a:lnTo>
                  <a:lnTo>
                    <a:pt x="40" y="160"/>
                  </a:lnTo>
                  <a:lnTo>
                    <a:pt x="42" y="160"/>
                  </a:lnTo>
                  <a:lnTo>
                    <a:pt x="42" y="158"/>
                  </a:lnTo>
                  <a:lnTo>
                    <a:pt x="42" y="158"/>
                  </a:lnTo>
                  <a:lnTo>
                    <a:pt x="42" y="156"/>
                  </a:lnTo>
                  <a:lnTo>
                    <a:pt x="42" y="156"/>
                  </a:lnTo>
                  <a:lnTo>
                    <a:pt x="42" y="156"/>
                  </a:lnTo>
                  <a:lnTo>
                    <a:pt x="42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38" y="146"/>
                  </a:lnTo>
                  <a:lnTo>
                    <a:pt x="38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38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0"/>
                  </a:lnTo>
                  <a:lnTo>
                    <a:pt x="38" y="128"/>
                  </a:lnTo>
                  <a:lnTo>
                    <a:pt x="38" y="122"/>
                  </a:lnTo>
                  <a:lnTo>
                    <a:pt x="40" y="120"/>
                  </a:lnTo>
                  <a:lnTo>
                    <a:pt x="40" y="118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2" y="112"/>
                  </a:lnTo>
                  <a:lnTo>
                    <a:pt x="40" y="110"/>
                  </a:lnTo>
                  <a:lnTo>
                    <a:pt x="40" y="108"/>
                  </a:lnTo>
                  <a:lnTo>
                    <a:pt x="40" y="106"/>
                  </a:lnTo>
                  <a:lnTo>
                    <a:pt x="38" y="104"/>
                  </a:lnTo>
                  <a:lnTo>
                    <a:pt x="38" y="102"/>
                  </a:lnTo>
                  <a:lnTo>
                    <a:pt x="36" y="100"/>
                  </a:lnTo>
                  <a:lnTo>
                    <a:pt x="34" y="100"/>
                  </a:lnTo>
                  <a:lnTo>
                    <a:pt x="34" y="98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4" y="96"/>
                  </a:lnTo>
                  <a:lnTo>
                    <a:pt x="14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4" y="82"/>
                  </a:lnTo>
                  <a:lnTo>
                    <a:pt x="0" y="82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0" y="80"/>
                  </a:lnTo>
                  <a:lnTo>
                    <a:pt x="14" y="80"/>
                  </a:lnTo>
                  <a:lnTo>
                    <a:pt x="18" y="78"/>
                  </a:lnTo>
                  <a:lnTo>
                    <a:pt x="20" y="78"/>
                  </a:lnTo>
                  <a:lnTo>
                    <a:pt x="22" y="78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6" y="74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30" y="64"/>
                  </a:lnTo>
                  <a:lnTo>
                    <a:pt x="32" y="64"/>
                  </a:lnTo>
                  <a:lnTo>
                    <a:pt x="34" y="62"/>
                  </a:lnTo>
                  <a:lnTo>
                    <a:pt x="38" y="62"/>
                  </a:lnTo>
                  <a:lnTo>
                    <a:pt x="40" y="62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0" y="66"/>
                  </a:lnTo>
                  <a:lnTo>
                    <a:pt x="52" y="66"/>
                  </a:lnTo>
                  <a:lnTo>
                    <a:pt x="54" y="66"/>
                  </a:lnTo>
                  <a:lnTo>
                    <a:pt x="56" y="68"/>
                  </a:lnTo>
                  <a:lnTo>
                    <a:pt x="58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2" y="74"/>
                  </a:lnTo>
                  <a:lnTo>
                    <a:pt x="62" y="78"/>
                  </a:lnTo>
                  <a:lnTo>
                    <a:pt x="62" y="80"/>
                  </a:lnTo>
                  <a:lnTo>
                    <a:pt x="60" y="82"/>
                  </a:lnTo>
                  <a:lnTo>
                    <a:pt x="60" y="84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8" y="96"/>
                  </a:lnTo>
                  <a:lnTo>
                    <a:pt x="58" y="98"/>
                  </a:lnTo>
                  <a:lnTo>
                    <a:pt x="58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6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70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4" y="100"/>
                  </a:lnTo>
                  <a:lnTo>
                    <a:pt x="74" y="98"/>
                  </a:lnTo>
                  <a:lnTo>
                    <a:pt x="74" y="96"/>
                  </a:lnTo>
                  <a:lnTo>
                    <a:pt x="74" y="94"/>
                  </a:lnTo>
                  <a:lnTo>
                    <a:pt x="76" y="92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82" y="86"/>
                  </a:lnTo>
                  <a:lnTo>
                    <a:pt x="84" y="86"/>
                  </a:lnTo>
                  <a:lnTo>
                    <a:pt x="84" y="84"/>
                  </a:lnTo>
                  <a:lnTo>
                    <a:pt x="86" y="84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6" y="80"/>
                  </a:lnTo>
                  <a:lnTo>
                    <a:pt x="86" y="78"/>
                  </a:lnTo>
                  <a:lnTo>
                    <a:pt x="86" y="76"/>
                  </a:lnTo>
                  <a:lnTo>
                    <a:pt x="84" y="72"/>
                  </a:lnTo>
                  <a:lnTo>
                    <a:pt x="84" y="70"/>
                  </a:lnTo>
                  <a:lnTo>
                    <a:pt x="84" y="66"/>
                  </a:lnTo>
                  <a:lnTo>
                    <a:pt x="82" y="64"/>
                  </a:lnTo>
                  <a:lnTo>
                    <a:pt x="80" y="62"/>
                  </a:lnTo>
                  <a:lnTo>
                    <a:pt x="80" y="60"/>
                  </a:lnTo>
                  <a:lnTo>
                    <a:pt x="78" y="56"/>
                  </a:lnTo>
                  <a:lnTo>
                    <a:pt x="76" y="54"/>
                  </a:lnTo>
                  <a:lnTo>
                    <a:pt x="74" y="50"/>
                  </a:lnTo>
                  <a:lnTo>
                    <a:pt x="70" y="46"/>
                  </a:lnTo>
                  <a:lnTo>
                    <a:pt x="68" y="44"/>
                  </a:lnTo>
                  <a:lnTo>
                    <a:pt x="66" y="42"/>
                  </a:lnTo>
                  <a:lnTo>
                    <a:pt x="66" y="40"/>
                  </a:lnTo>
                  <a:lnTo>
                    <a:pt x="64" y="40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4"/>
                  </a:lnTo>
                  <a:lnTo>
                    <a:pt x="64" y="32"/>
                  </a:lnTo>
                  <a:lnTo>
                    <a:pt x="64" y="30"/>
                  </a:lnTo>
                  <a:lnTo>
                    <a:pt x="66" y="28"/>
                  </a:lnTo>
                  <a:lnTo>
                    <a:pt x="66" y="24"/>
                  </a:lnTo>
                  <a:lnTo>
                    <a:pt x="68" y="20"/>
                  </a:lnTo>
                  <a:lnTo>
                    <a:pt x="68" y="18"/>
                  </a:lnTo>
                  <a:lnTo>
                    <a:pt x="68" y="16"/>
                  </a:lnTo>
                  <a:lnTo>
                    <a:pt x="68" y="14"/>
                  </a:lnTo>
                  <a:lnTo>
                    <a:pt x="68" y="12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66" y="0"/>
                  </a:lnTo>
                  <a:lnTo>
                    <a:pt x="68" y="2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2"/>
                  </a:lnTo>
                  <a:lnTo>
                    <a:pt x="80" y="14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4" y="20"/>
                  </a:lnTo>
                  <a:lnTo>
                    <a:pt x="86" y="20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2" y="22"/>
                  </a:lnTo>
                  <a:lnTo>
                    <a:pt x="94" y="22"/>
                  </a:lnTo>
                  <a:lnTo>
                    <a:pt x="96" y="22"/>
                  </a:lnTo>
                  <a:lnTo>
                    <a:pt x="98" y="22"/>
                  </a:lnTo>
                  <a:lnTo>
                    <a:pt x="100" y="22"/>
                  </a:lnTo>
                  <a:lnTo>
                    <a:pt x="102" y="22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8" y="22"/>
                  </a:lnTo>
                  <a:lnTo>
                    <a:pt x="110" y="22"/>
                  </a:lnTo>
                  <a:lnTo>
                    <a:pt x="110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6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4" y="10"/>
                  </a:lnTo>
                  <a:lnTo>
                    <a:pt x="116" y="10"/>
                  </a:lnTo>
                  <a:lnTo>
                    <a:pt x="116" y="10"/>
                  </a:lnTo>
                  <a:lnTo>
                    <a:pt x="118" y="10"/>
                  </a:lnTo>
                  <a:lnTo>
                    <a:pt x="120" y="10"/>
                  </a:lnTo>
                  <a:lnTo>
                    <a:pt x="122" y="12"/>
                  </a:lnTo>
                  <a:lnTo>
                    <a:pt x="124" y="12"/>
                  </a:lnTo>
                  <a:lnTo>
                    <a:pt x="126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30" y="10"/>
                  </a:lnTo>
                  <a:lnTo>
                    <a:pt x="132" y="10"/>
                  </a:lnTo>
                  <a:lnTo>
                    <a:pt x="132" y="8"/>
                  </a:lnTo>
                  <a:lnTo>
                    <a:pt x="132" y="6"/>
                  </a:lnTo>
                  <a:lnTo>
                    <a:pt x="134" y="6"/>
                  </a:lnTo>
                  <a:lnTo>
                    <a:pt x="134" y="6"/>
                  </a:lnTo>
                  <a:lnTo>
                    <a:pt x="134" y="4"/>
                  </a:lnTo>
                  <a:lnTo>
                    <a:pt x="136" y="4"/>
                  </a:lnTo>
                  <a:lnTo>
                    <a:pt x="138" y="4"/>
                  </a:lnTo>
                  <a:lnTo>
                    <a:pt x="140" y="2"/>
                  </a:lnTo>
                  <a:lnTo>
                    <a:pt x="144" y="2"/>
                  </a:lnTo>
                  <a:lnTo>
                    <a:pt x="148" y="2"/>
                  </a:lnTo>
                  <a:lnTo>
                    <a:pt x="150" y="2"/>
                  </a:lnTo>
                  <a:lnTo>
                    <a:pt x="150" y="30"/>
                  </a:lnTo>
                  <a:lnTo>
                    <a:pt x="152" y="36"/>
                  </a:lnTo>
                  <a:lnTo>
                    <a:pt x="152" y="42"/>
                  </a:lnTo>
                  <a:lnTo>
                    <a:pt x="152" y="50"/>
                  </a:lnTo>
                  <a:lnTo>
                    <a:pt x="152" y="58"/>
                  </a:lnTo>
                  <a:lnTo>
                    <a:pt x="154" y="66"/>
                  </a:lnTo>
                  <a:lnTo>
                    <a:pt x="154" y="68"/>
                  </a:lnTo>
                  <a:lnTo>
                    <a:pt x="154" y="72"/>
                  </a:lnTo>
                  <a:lnTo>
                    <a:pt x="152" y="76"/>
                  </a:lnTo>
                  <a:lnTo>
                    <a:pt x="152" y="78"/>
                  </a:lnTo>
                  <a:lnTo>
                    <a:pt x="152" y="82"/>
                  </a:lnTo>
                  <a:lnTo>
                    <a:pt x="150" y="84"/>
                  </a:lnTo>
                  <a:lnTo>
                    <a:pt x="150" y="86"/>
                  </a:lnTo>
                  <a:lnTo>
                    <a:pt x="150" y="86"/>
                  </a:lnTo>
                  <a:lnTo>
                    <a:pt x="148" y="88"/>
                  </a:lnTo>
                  <a:lnTo>
                    <a:pt x="146" y="90"/>
                  </a:lnTo>
                  <a:lnTo>
                    <a:pt x="144" y="92"/>
                  </a:lnTo>
                  <a:lnTo>
                    <a:pt x="142" y="94"/>
                  </a:lnTo>
                  <a:lnTo>
                    <a:pt x="142" y="94"/>
                  </a:lnTo>
                  <a:lnTo>
                    <a:pt x="142" y="96"/>
                  </a:lnTo>
                  <a:lnTo>
                    <a:pt x="140" y="96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8" y="104"/>
                  </a:lnTo>
                  <a:lnTo>
                    <a:pt x="136" y="104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0" y="106"/>
                  </a:lnTo>
                  <a:lnTo>
                    <a:pt x="126" y="106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18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4" y="108"/>
                  </a:lnTo>
                  <a:lnTo>
                    <a:pt x="114" y="108"/>
                  </a:lnTo>
                  <a:lnTo>
                    <a:pt x="114" y="108"/>
                  </a:lnTo>
                  <a:lnTo>
                    <a:pt x="114" y="110"/>
                  </a:lnTo>
                  <a:lnTo>
                    <a:pt x="114" y="112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2" y="114"/>
                  </a:lnTo>
                  <a:lnTo>
                    <a:pt x="112" y="116"/>
                  </a:lnTo>
                  <a:lnTo>
                    <a:pt x="112" y="116"/>
                  </a:lnTo>
                  <a:lnTo>
                    <a:pt x="110" y="116"/>
                  </a:lnTo>
                  <a:lnTo>
                    <a:pt x="108" y="116"/>
                  </a:lnTo>
                  <a:lnTo>
                    <a:pt x="104" y="118"/>
                  </a:lnTo>
                  <a:lnTo>
                    <a:pt x="104" y="118"/>
                  </a:lnTo>
                  <a:lnTo>
                    <a:pt x="102" y="118"/>
                  </a:lnTo>
                  <a:lnTo>
                    <a:pt x="102" y="120"/>
                  </a:lnTo>
                  <a:lnTo>
                    <a:pt x="100" y="120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8" y="122"/>
                  </a:lnTo>
                  <a:lnTo>
                    <a:pt x="98" y="124"/>
                  </a:lnTo>
                  <a:lnTo>
                    <a:pt x="96" y="124"/>
                  </a:lnTo>
                  <a:lnTo>
                    <a:pt x="96" y="126"/>
                  </a:lnTo>
                  <a:lnTo>
                    <a:pt x="96" y="130"/>
                  </a:lnTo>
                  <a:lnTo>
                    <a:pt x="96" y="132"/>
                  </a:lnTo>
                  <a:lnTo>
                    <a:pt x="96" y="134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6" y="140"/>
                  </a:lnTo>
                  <a:lnTo>
                    <a:pt x="96" y="140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2" y="142"/>
                  </a:lnTo>
                  <a:lnTo>
                    <a:pt x="90" y="142"/>
                  </a:lnTo>
                  <a:lnTo>
                    <a:pt x="88" y="142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2" y="144"/>
                  </a:lnTo>
                  <a:lnTo>
                    <a:pt x="80" y="146"/>
                  </a:lnTo>
                  <a:lnTo>
                    <a:pt x="78" y="146"/>
                  </a:lnTo>
                  <a:lnTo>
                    <a:pt x="76" y="148"/>
                  </a:lnTo>
                  <a:lnTo>
                    <a:pt x="76" y="150"/>
                  </a:lnTo>
                  <a:lnTo>
                    <a:pt x="74" y="150"/>
                  </a:lnTo>
                  <a:lnTo>
                    <a:pt x="74" y="152"/>
                  </a:lnTo>
                  <a:lnTo>
                    <a:pt x="72" y="154"/>
                  </a:lnTo>
                  <a:lnTo>
                    <a:pt x="72" y="156"/>
                  </a:lnTo>
                  <a:lnTo>
                    <a:pt x="70" y="158"/>
                  </a:lnTo>
                  <a:lnTo>
                    <a:pt x="70" y="162"/>
                  </a:lnTo>
                  <a:lnTo>
                    <a:pt x="70" y="166"/>
                  </a:lnTo>
                  <a:lnTo>
                    <a:pt x="68" y="170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8" y="188"/>
                  </a:lnTo>
                  <a:lnTo>
                    <a:pt x="70" y="190"/>
                  </a:lnTo>
                  <a:lnTo>
                    <a:pt x="70" y="190"/>
                  </a:lnTo>
                  <a:lnTo>
                    <a:pt x="70" y="190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2" y="192"/>
                  </a:lnTo>
                  <a:lnTo>
                    <a:pt x="74" y="192"/>
                  </a:lnTo>
                  <a:lnTo>
                    <a:pt x="74" y="194"/>
                  </a:lnTo>
                  <a:lnTo>
                    <a:pt x="74" y="196"/>
                  </a:lnTo>
                  <a:lnTo>
                    <a:pt x="74" y="196"/>
                  </a:lnTo>
                  <a:lnTo>
                    <a:pt x="74" y="198"/>
                  </a:lnTo>
                  <a:lnTo>
                    <a:pt x="74" y="202"/>
                  </a:lnTo>
                  <a:lnTo>
                    <a:pt x="74" y="206"/>
                  </a:lnTo>
                  <a:lnTo>
                    <a:pt x="74" y="214"/>
                  </a:lnTo>
                  <a:lnTo>
                    <a:pt x="74" y="218"/>
                  </a:lnTo>
                  <a:lnTo>
                    <a:pt x="74" y="222"/>
                  </a:lnTo>
                  <a:lnTo>
                    <a:pt x="74" y="222"/>
                  </a:lnTo>
                  <a:lnTo>
                    <a:pt x="74" y="224"/>
                  </a:lnTo>
                  <a:lnTo>
                    <a:pt x="74" y="228"/>
                  </a:lnTo>
                  <a:lnTo>
                    <a:pt x="74" y="230"/>
                  </a:lnTo>
                  <a:lnTo>
                    <a:pt x="74" y="232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4" y="236"/>
                  </a:lnTo>
                  <a:lnTo>
                    <a:pt x="72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8" y="240"/>
                  </a:lnTo>
                  <a:lnTo>
                    <a:pt x="68" y="242"/>
                  </a:lnTo>
                  <a:lnTo>
                    <a:pt x="68" y="242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8" y="244"/>
                  </a:lnTo>
                  <a:lnTo>
                    <a:pt x="66" y="244"/>
                  </a:lnTo>
                  <a:lnTo>
                    <a:pt x="64" y="244"/>
                  </a:lnTo>
                  <a:lnTo>
                    <a:pt x="62" y="244"/>
                  </a:lnTo>
                  <a:lnTo>
                    <a:pt x="60" y="244"/>
                  </a:lnTo>
                  <a:lnTo>
                    <a:pt x="60" y="244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6" y="244"/>
                  </a:lnTo>
                  <a:lnTo>
                    <a:pt x="56" y="244"/>
                  </a:lnTo>
                  <a:lnTo>
                    <a:pt x="56" y="244"/>
                  </a:lnTo>
                  <a:lnTo>
                    <a:pt x="56" y="246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2" y="248"/>
                  </a:lnTo>
                  <a:lnTo>
                    <a:pt x="50" y="248"/>
                  </a:lnTo>
                  <a:lnTo>
                    <a:pt x="48" y="248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2" y="248"/>
                  </a:lnTo>
                  <a:lnTo>
                    <a:pt x="42" y="248"/>
                  </a:lnTo>
                  <a:lnTo>
                    <a:pt x="40" y="250"/>
                  </a:lnTo>
                  <a:lnTo>
                    <a:pt x="40" y="250"/>
                  </a:lnTo>
                  <a:lnTo>
                    <a:pt x="40" y="250"/>
                  </a:lnTo>
                  <a:lnTo>
                    <a:pt x="40" y="250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8"/>
                  </a:lnTo>
                  <a:lnTo>
                    <a:pt x="40" y="260"/>
                  </a:lnTo>
                  <a:lnTo>
                    <a:pt x="40" y="266"/>
                  </a:lnTo>
                  <a:lnTo>
                    <a:pt x="40" y="270"/>
                  </a:lnTo>
                  <a:lnTo>
                    <a:pt x="40" y="276"/>
                  </a:lnTo>
                  <a:lnTo>
                    <a:pt x="40" y="280"/>
                  </a:lnTo>
                  <a:lnTo>
                    <a:pt x="40" y="282"/>
                  </a:lnTo>
                  <a:lnTo>
                    <a:pt x="38" y="284"/>
                  </a:lnTo>
                  <a:lnTo>
                    <a:pt x="38" y="286"/>
                  </a:lnTo>
                  <a:lnTo>
                    <a:pt x="36" y="29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87" name="Freeform 432">
              <a:extLst>
                <a:ext uri="{FF2B5EF4-FFF2-40B4-BE49-F238E27FC236}">
                  <a16:creationId xmlns:a16="http://schemas.microsoft.com/office/drawing/2014/main" id="{7FBE2422-FE37-44C3-B003-0EA62548E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3330" y="4687988"/>
              <a:ext cx="266515" cy="297526"/>
            </a:xfrm>
            <a:custGeom>
              <a:avLst/>
              <a:gdLst>
                <a:gd name="T0" fmla="*/ 146 w 156"/>
                <a:gd name="T1" fmla="*/ 158 h 178"/>
                <a:gd name="T2" fmla="*/ 138 w 156"/>
                <a:gd name="T3" fmla="*/ 162 h 178"/>
                <a:gd name="T4" fmla="*/ 136 w 156"/>
                <a:gd name="T5" fmla="*/ 168 h 178"/>
                <a:gd name="T6" fmla="*/ 130 w 156"/>
                <a:gd name="T7" fmla="*/ 168 h 178"/>
                <a:gd name="T8" fmla="*/ 122 w 156"/>
                <a:gd name="T9" fmla="*/ 166 h 178"/>
                <a:gd name="T10" fmla="*/ 118 w 156"/>
                <a:gd name="T11" fmla="*/ 170 h 178"/>
                <a:gd name="T12" fmla="*/ 118 w 156"/>
                <a:gd name="T13" fmla="*/ 176 h 178"/>
                <a:gd name="T14" fmla="*/ 112 w 156"/>
                <a:gd name="T15" fmla="*/ 178 h 178"/>
                <a:gd name="T16" fmla="*/ 102 w 156"/>
                <a:gd name="T17" fmla="*/ 178 h 178"/>
                <a:gd name="T18" fmla="*/ 92 w 156"/>
                <a:gd name="T19" fmla="*/ 176 h 178"/>
                <a:gd name="T20" fmla="*/ 86 w 156"/>
                <a:gd name="T21" fmla="*/ 172 h 178"/>
                <a:gd name="T22" fmla="*/ 84 w 156"/>
                <a:gd name="T23" fmla="*/ 166 h 178"/>
                <a:gd name="T24" fmla="*/ 72 w 156"/>
                <a:gd name="T25" fmla="*/ 156 h 178"/>
                <a:gd name="T26" fmla="*/ 56 w 156"/>
                <a:gd name="T27" fmla="*/ 146 h 178"/>
                <a:gd name="T28" fmla="*/ 46 w 156"/>
                <a:gd name="T29" fmla="*/ 134 h 178"/>
                <a:gd name="T30" fmla="*/ 34 w 156"/>
                <a:gd name="T31" fmla="*/ 126 h 178"/>
                <a:gd name="T32" fmla="*/ 24 w 156"/>
                <a:gd name="T33" fmla="*/ 116 h 178"/>
                <a:gd name="T34" fmla="*/ 20 w 156"/>
                <a:gd name="T35" fmla="*/ 110 h 178"/>
                <a:gd name="T36" fmla="*/ 18 w 156"/>
                <a:gd name="T37" fmla="*/ 106 h 178"/>
                <a:gd name="T38" fmla="*/ 10 w 156"/>
                <a:gd name="T39" fmla="*/ 106 h 178"/>
                <a:gd name="T40" fmla="*/ 10 w 156"/>
                <a:gd name="T41" fmla="*/ 96 h 178"/>
                <a:gd name="T42" fmla="*/ 6 w 156"/>
                <a:gd name="T43" fmla="*/ 84 h 178"/>
                <a:gd name="T44" fmla="*/ 2 w 156"/>
                <a:gd name="T45" fmla="*/ 70 h 178"/>
                <a:gd name="T46" fmla="*/ 4 w 156"/>
                <a:gd name="T47" fmla="*/ 58 h 178"/>
                <a:gd name="T48" fmla="*/ 4 w 156"/>
                <a:gd name="T49" fmla="*/ 46 h 178"/>
                <a:gd name="T50" fmla="*/ 14 w 156"/>
                <a:gd name="T51" fmla="*/ 46 h 178"/>
                <a:gd name="T52" fmla="*/ 20 w 156"/>
                <a:gd name="T53" fmla="*/ 44 h 178"/>
                <a:gd name="T54" fmla="*/ 20 w 156"/>
                <a:gd name="T55" fmla="*/ 38 h 178"/>
                <a:gd name="T56" fmla="*/ 16 w 156"/>
                <a:gd name="T57" fmla="*/ 26 h 178"/>
                <a:gd name="T58" fmla="*/ 16 w 156"/>
                <a:gd name="T59" fmla="*/ 0 h 178"/>
                <a:gd name="T60" fmla="*/ 24 w 156"/>
                <a:gd name="T61" fmla="*/ 0 h 178"/>
                <a:gd name="T62" fmla="*/ 36 w 156"/>
                <a:gd name="T63" fmla="*/ 2 h 178"/>
                <a:gd name="T64" fmla="*/ 66 w 156"/>
                <a:gd name="T65" fmla="*/ 0 h 178"/>
                <a:gd name="T66" fmla="*/ 76 w 156"/>
                <a:gd name="T67" fmla="*/ 0 h 178"/>
                <a:gd name="T68" fmla="*/ 88 w 156"/>
                <a:gd name="T69" fmla="*/ 12 h 178"/>
                <a:gd name="T70" fmla="*/ 102 w 156"/>
                <a:gd name="T71" fmla="*/ 24 h 178"/>
                <a:gd name="T72" fmla="*/ 112 w 156"/>
                <a:gd name="T73" fmla="*/ 26 h 178"/>
                <a:gd name="T74" fmla="*/ 118 w 156"/>
                <a:gd name="T75" fmla="*/ 30 h 178"/>
                <a:gd name="T76" fmla="*/ 118 w 156"/>
                <a:gd name="T77" fmla="*/ 36 h 178"/>
                <a:gd name="T78" fmla="*/ 120 w 156"/>
                <a:gd name="T79" fmla="*/ 42 h 178"/>
                <a:gd name="T80" fmla="*/ 132 w 156"/>
                <a:gd name="T81" fmla="*/ 50 h 178"/>
                <a:gd name="T82" fmla="*/ 142 w 156"/>
                <a:gd name="T83" fmla="*/ 64 h 178"/>
                <a:gd name="T84" fmla="*/ 142 w 156"/>
                <a:gd name="T85" fmla="*/ 72 h 178"/>
                <a:gd name="T86" fmla="*/ 138 w 156"/>
                <a:gd name="T87" fmla="*/ 78 h 178"/>
                <a:gd name="T88" fmla="*/ 134 w 156"/>
                <a:gd name="T89" fmla="*/ 86 h 178"/>
                <a:gd name="T90" fmla="*/ 136 w 156"/>
                <a:gd name="T91" fmla="*/ 90 h 178"/>
                <a:gd name="T92" fmla="*/ 140 w 156"/>
                <a:gd name="T93" fmla="*/ 90 h 178"/>
                <a:gd name="T94" fmla="*/ 144 w 156"/>
                <a:gd name="T95" fmla="*/ 92 h 178"/>
                <a:gd name="T96" fmla="*/ 144 w 156"/>
                <a:gd name="T97" fmla="*/ 100 h 178"/>
                <a:gd name="T98" fmla="*/ 142 w 156"/>
                <a:gd name="T99" fmla="*/ 112 h 178"/>
                <a:gd name="T100" fmla="*/ 146 w 156"/>
                <a:gd name="T101" fmla="*/ 126 h 178"/>
                <a:gd name="T102" fmla="*/ 146 w 156"/>
                <a:gd name="T103" fmla="*/ 142 h 178"/>
                <a:gd name="T104" fmla="*/ 150 w 156"/>
                <a:gd name="T105" fmla="*/ 146 h 178"/>
                <a:gd name="T106" fmla="*/ 154 w 156"/>
                <a:gd name="T107" fmla="*/ 15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6" h="178">
                  <a:moveTo>
                    <a:pt x="156" y="158"/>
                  </a:moveTo>
                  <a:lnTo>
                    <a:pt x="156" y="158"/>
                  </a:lnTo>
                  <a:lnTo>
                    <a:pt x="154" y="158"/>
                  </a:lnTo>
                  <a:lnTo>
                    <a:pt x="150" y="158"/>
                  </a:lnTo>
                  <a:lnTo>
                    <a:pt x="146" y="158"/>
                  </a:lnTo>
                  <a:lnTo>
                    <a:pt x="144" y="160"/>
                  </a:lnTo>
                  <a:lnTo>
                    <a:pt x="142" y="160"/>
                  </a:lnTo>
                  <a:lnTo>
                    <a:pt x="140" y="160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8" y="162"/>
                  </a:lnTo>
                  <a:lnTo>
                    <a:pt x="138" y="164"/>
                  </a:lnTo>
                  <a:lnTo>
                    <a:pt x="136" y="166"/>
                  </a:lnTo>
                  <a:lnTo>
                    <a:pt x="136" y="166"/>
                  </a:lnTo>
                  <a:lnTo>
                    <a:pt x="136" y="168"/>
                  </a:lnTo>
                  <a:lnTo>
                    <a:pt x="136" y="168"/>
                  </a:lnTo>
                  <a:lnTo>
                    <a:pt x="134" y="168"/>
                  </a:lnTo>
                  <a:lnTo>
                    <a:pt x="134" y="168"/>
                  </a:lnTo>
                  <a:lnTo>
                    <a:pt x="132" y="168"/>
                  </a:lnTo>
                  <a:lnTo>
                    <a:pt x="130" y="168"/>
                  </a:lnTo>
                  <a:lnTo>
                    <a:pt x="128" y="168"/>
                  </a:lnTo>
                  <a:lnTo>
                    <a:pt x="126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0" y="166"/>
                  </a:lnTo>
                  <a:lnTo>
                    <a:pt x="120" y="168"/>
                  </a:lnTo>
                  <a:lnTo>
                    <a:pt x="120" y="168"/>
                  </a:lnTo>
                  <a:lnTo>
                    <a:pt x="118" y="168"/>
                  </a:lnTo>
                  <a:lnTo>
                    <a:pt x="118" y="170"/>
                  </a:lnTo>
                  <a:lnTo>
                    <a:pt x="118" y="170"/>
                  </a:lnTo>
                  <a:lnTo>
                    <a:pt x="118" y="172"/>
                  </a:lnTo>
                  <a:lnTo>
                    <a:pt x="118" y="174"/>
                  </a:lnTo>
                  <a:lnTo>
                    <a:pt x="118" y="174"/>
                  </a:lnTo>
                  <a:lnTo>
                    <a:pt x="118" y="176"/>
                  </a:lnTo>
                  <a:lnTo>
                    <a:pt x="116" y="176"/>
                  </a:lnTo>
                  <a:lnTo>
                    <a:pt x="116" y="176"/>
                  </a:lnTo>
                  <a:lnTo>
                    <a:pt x="116" y="178"/>
                  </a:lnTo>
                  <a:lnTo>
                    <a:pt x="114" y="178"/>
                  </a:lnTo>
                  <a:lnTo>
                    <a:pt x="112" y="178"/>
                  </a:lnTo>
                  <a:lnTo>
                    <a:pt x="110" y="178"/>
                  </a:lnTo>
                  <a:lnTo>
                    <a:pt x="108" y="178"/>
                  </a:lnTo>
                  <a:lnTo>
                    <a:pt x="106" y="178"/>
                  </a:lnTo>
                  <a:lnTo>
                    <a:pt x="104" y="178"/>
                  </a:lnTo>
                  <a:lnTo>
                    <a:pt x="102" y="178"/>
                  </a:lnTo>
                  <a:lnTo>
                    <a:pt x="100" y="178"/>
                  </a:lnTo>
                  <a:lnTo>
                    <a:pt x="98" y="178"/>
                  </a:lnTo>
                  <a:lnTo>
                    <a:pt x="96" y="178"/>
                  </a:lnTo>
                  <a:lnTo>
                    <a:pt x="94" y="178"/>
                  </a:lnTo>
                  <a:lnTo>
                    <a:pt x="92" y="176"/>
                  </a:lnTo>
                  <a:lnTo>
                    <a:pt x="90" y="176"/>
                  </a:lnTo>
                  <a:lnTo>
                    <a:pt x="88" y="176"/>
                  </a:lnTo>
                  <a:lnTo>
                    <a:pt x="88" y="174"/>
                  </a:lnTo>
                  <a:lnTo>
                    <a:pt x="86" y="174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0"/>
                  </a:lnTo>
                  <a:lnTo>
                    <a:pt x="84" y="168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2" y="164"/>
                  </a:lnTo>
                  <a:lnTo>
                    <a:pt x="82" y="162"/>
                  </a:lnTo>
                  <a:lnTo>
                    <a:pt x="78" y="160"/>
                  </a:lnTo>
                  <a:lnTo>
                    <a:pt x="74" y="158"/>
                  </a:lnTo>
                  <a:lnTo>
                    <a:pt x="72" y="156"/>
                  </a:lnTo>
                  <a:lnTo>
                    <a:pt x="68" y="152"/>
                  </a:lnTo>
                  <a:lnTo>
                    <a:pt x="64" y="150"/>
                  </a:lnTo>
                  <a:lnTo>
                    <a:pt x="60" y="150"/>
                  </a:lnTo>
                  <a:lnTo>
                    <a:pt x="58" y="148"/>
                  </a:lnTo>
                  <a:lnTo>
                    <a:pt x="56" y="146"/>
                  </a:lnTo>
                  <a:lnTo>
                    <a:pt x="54" y="146"/>
                  </a:lnTo>
                  <a:lnTo>
                    <a:pt x="52" y="144"/>
                  </a:lnTo>
                  <a:lnTo>
                    <a:pt x="50" y="140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4" y="132"/>
                  </a:lnTo>
                  <a:lnTo>
                    <a:pt x="42" y="132"/>
                  </a:lnTo>
                  <a:lnTo>
                    <a:pt x="42" y="130"/>
                  </a:lnTo>
                  <a:lnTo>
                    <a:pt x="38" y="128"/>
                  </a:lnTo>
                  <a:lnTo>
                    <a:pt x="34" y="126"/>
                  </a:lnTo>
                  <a:lnTo>
                    <a:pt x="32" y="126"/>
                  </a:lnTo>
                  <a:lnTo>
                    <a:pt x="30" y="124"/>
                  </a:lnTo>
                  <a:lnTo>
                    <a:pt x="28" y="122"/>
                  </a:lnTo>
                  <a:lnTo>
                    <a:pt x="26" y="120"/>
                  </a:lnTo>
                  <a:lnTo>
                    <a:pt x="24" y="116"/>
                  </a:lnTo>
                  <a:lnTo>
                    <a:pt x="22" y="116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0" y="112"/>
                  </a:lnTo>
                  <a:lnTo>
                    <a:pt x="20" y="11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6" y="106"/>
                  </a:lnTo>
                  <a:lnTo>
                    <a:pt x="14" y="106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8" y="106"/>
                  </a:lnTo>
                  <a:lnTo>
                    <a:pt x="8" y="104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6" y="84"/>
                  </a:lnTo>
                  <a:lnTo>
                    <a:pt x="6" y="80"/>
                  </a:lnTo>
                  <a:lnTo>
                    <a:pt x="4" y="76"/>
                  </a:lnTo>
                  <a:lnTo>
                    <a:pt x="4" y="74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4" y="64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2" y="52"/>
                  </a:lnTo>
                  <a:lnTo>
                    <a:pt x="0" y="48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4" y="46"/>
                  </a:lnTo>
                  <a:lnTo>
                    <a:pt x="16" y="46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18" y="32"/>
                  </a:lnTo>
                  <a:lnTo>
                    <a:pt x="18" y="28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4" y="20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40" y="2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4" y="8"/>
                  </a:lnTo>
                  <a:lnTo>
                    <a:pt x="88" y="12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8" y="20"/>
                  </a:lnTo>
                  <a:lnTo>
                    <a:pt x="100" y="22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4" y="26"/>
                  </a:lnTo>
                  <a:lnTo>
                    <a:pt x="106" y="26"/>
                  </a:lnTo>
                  <a:lnTo>
                    <a:pt x="110" y="26"/>
                  </a:lnTo>
                  <a:lnTo>
                    <a:pt x="112" y="26"/>
                  </a:lnTo>
                  <a:lnTo>
                    <a:pt x="114" y="28"/>
                  </a:lnTo>
                  <a:lnTo>
                    <a:pt x="116" y="28"/>
                  </a:lnTo>
                  <a:lnTo>
                    <a:pt x="118" y="28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8" y="32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6"/>
                  </a:lnTo>
                  <a:lnTo>
                    <a:pt x="118" y="38"/>
                  </a:lnTo>
                  <a:lnTo>
                    <a:pt x="120" y="40"/>
                  </a:lnTo>
                  <a:lnTo>
                    <a:pt x="120" y="4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22" y="44"/>
                  </a:lnTo>
                  <a:lnTo>
                    <a:pt x="122" y="44"/>
                  </a:lnTo>
                  <a:lnTo>
                    <a:pt x="124" y="46"/>
                  </a:lnTo>
                  <a:lnTo>
                    <a:pt x="128" y="48"/>
                  </a:lnTo>
                  <a:lnTo>
                    <a:pt x="132" y="50"/>
                  </a:lnTo>
                  <a:lnTo>
                    <a:pt x="136" y="52"/>
                  </a:lnTo>
                  <a:lnTo>
                    <a:pt x="138" y="52"/>
                  </a:lnTo>
                  <a:lnTo>
                    <a:pt x="142" y="54"/>
                  </a:lnTo>
                  <a:lnTo>
                    <a:pt x="142" y="62"/>
                  </a:lnTo>
                  <a:lnTo>
                    <a:pt x="142" y="64"/>
                  </a:lnTo>
                  <a:lnTo>
                    <a:pt x="142" y="68"/>
                  </a:lnTo>
                  <a:lnTo>
                    <a:pt x="142" y="68"/>
                  </a:lnTo>
                  <a:lnTo>
                    <a:pt x="144" y="70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2" y="74"/>
                  </a:lnTo>
                  <a:lnTo>
                    <a:pt x="142" y="74"/>
                  </a:lnTo>
                  <a:lnTo>
                    <a:pt x="140" y="76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36" y="78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4" y="84"/>
                  </a:lnTo>
                  <a:lnTo>
                    <a:pt x="134" y="86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6" y="90"/>
                  </a:lnTo>
                  <a:lnTo>
                    <a:pt x="138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2" y="90"/>
                  </a:lnTo>
                  <a:lnTo>
                    <a:pt x="142" y="92"/>
                  </a:lnTo>
                  <a:lnTo>
                    <a:pt x="144" y="92"/>
                  </a:lnTo>
                  <a:lnTo>
                    <a:pt x="144" y="92"/>
                  </a:lnTo>
                  <a:lnTo>
                    <a:pt x="144" y="92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2" y="104"/>
                  </a:lnTo>
                  <a:lnTo>
                    <a:pt x="142" y="106"/>
                  </a:lnTo>
                  <a:lnTo>
                    <a:pt x="142" y="108"/>
                  </a:lnTo>
                  <a:lnTo>
                    <a:pt x="142" y="110"/>
                  </a:lnTo>
                  <a:lnTo>
                    <a:pt x="142" y="112"/>
                  </a:lnTo>
                  <a:lnTo>
                    <a:pt x="144" y="116"/>
                  </a:lnTo>
                  <a:lnTo>
                    <a:pt x="146" y="122"/>
                  </a:lnTo>
                  <a:lnTo>
                    <a:pt x="146" y="124"/>
                  </a:lnTo>
                  <a:lnTo>
                    <a:pt x="146" y="124"/>
                  </a:lnTo>
                  <a:lnTo>
                    <a:pt x="146" y="126"/>
                  </a:lnTo>
                  <a:lnTo>
                    <a:pt x="146" y="130"/>
                  </a:lnTo>
                  <a:lnTo>
                    <a:pt x="146" y="134"/>
                  </a:lnTo>
                  <a:lnTo>
                    <a:pt x="146" y="136"/>
                  </a:lnTo>
                  <a:lnTo>
                    <a:pt x="146" y="140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46" y="144"/>
                  </a:lnTo>
                  <a:lnTo>
                    <a:pt x="146" y="144"/>
                  </a:lnTo>
                  <a:lnTo>
                    <a:pt x="148" y="144"/>
                  </a:lnTo>
                  <a:lnTo>
                    <a:pt x="150" y="146"/>
                  </a:lnTo>
                  <a:lnTo>
                    <a:pt x="152" y="148"/>
                  </a:lnTo>
                  <a:lnTo>
                    <a:pt x="152" y="148"/>
                  </a:lnTo>
                  <a:lnTo>
                    <a:pt x="152" y="150"/>
                  </a:lnTo>
                  <a:lnTo>
                    <a:pt x="154" y="150"/>
                  </a:lnTo>
                  <a:lnTo>
                    <a:pt x="154" y="152"/>
                  </a:lnTo>
                  <a:lnTo>
                    <a:pt x="156" y="154"/>
                  </a:lnTo>
                  <a:lnTo>
                    <a:pt x="156" y="15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88" name="Freeform 434">
              <a:extLst>
                <a:ext uri="{FF2B5EF4-FFF2-40B4-BE49-F238E27FC236}">
                  <a16:creationId xmlns:a16="http://schemas.microsoft.com/office/drawing/2014/main" id="{4EF2FD08-8028-4A8D-8BEC-DEC91961E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9911" y="4547582"/>
              <a:ext cx="126425" cy="150435"/>
            </a:xfrm>
            <a:custGeom>
              <a:avLst/>
              <a:gdLst>
                <a:gd name="T0" fmla="*/ 64 w 74"/>
                <a:gd name="T1" fmla="*/ 0 h 90"/>
                <a:gd name="T2" fmla="*/ 68 w 74"/>
                <a:gd name="T3" fmla="*/ 6 h 90"/>
                <a:gd name="T4" fmla="*/ 70 w 74"/>
                <a:gd name="T5" fmla="*/ 10 h 90"/>
                <a:gd name="T6" fmla="*/ 72 w 74"/>
                <a:gd name="T7" fmla="*/ 14 h 90"/>
                <a:gd name="T8" fmla="*/ 74 w 74"/>
                <a:gd name="T9" fmla="*/ 20 h 90"/>
                <a:gd name="T10" fmla="*/ 74 w 74"/>
                <a:gd name="T11" fmla="*/ 28 h 90"/>
                <a:gd name="T12" fmla="*/ 74 w 74"/>
                <a:gd name="T13" fmla="*/ 36 h 90"/>
                <a:gd name="T14" fmla="*/ 72 w 74"/>
                <a:gd name="T15" fmla="*/ 42 h 90"/>
                <a:gd name="T16" fmla="*/ 70 w 74"/>
                <a:gd name="T17" fmla="*/ 46 h 90"/>
                <a:gd name="T18" fmla="*/ 66 w 74"/>
                <a:gd name="T19" fmla="*/ 56 h 90"/>
                <a:gd name="T20" fmla="*/ 64 w 74"/>
                <a:gd name="T21" fmla="*/ 60 h 90"/>
                <a:gd name="T22" fmla="*/ 62 w 74"/>
                <a:gd name="T23" fmla="*/ 68 h 90"/>
                <a:gd name="T24" fmla="*/ 62 w 74"/>
                <a:gd name="T25" fmla="*/ 72 h 90"/>
                <a:gd name="T26" fmla="*/ 62 w 74"/>
                <a:gd name="T27" fmla="*/ 76 h 90"/>
                <a:gd name="T28" fmla="*/ 62 w 74"/>
                <a:gd name="T29" fmla="*/ 78 h 90"/>
                <a:gd name="T30" fmla="*/ 66 w 74"/>
                <a:gd name="T31" fmla="*/ 84 h 90"/>
                <a:gd name="T32" fmla="*/ 44 w 74"/>
                <a:gd name="T33" fmla="*/ 86 h 90"/>
                <a:gd name="T34" fmla="*/ 36 w 74"/>
                <a:gd name="T35" fmla="*/ 86 h 90"/>
                <a:gd name="T36" fmla="*/ 32 w 74"/>
                <a:gd name="T37" fmla="*/ 86 h 90"/>
                <a:gd name="T38" fmla="*/ 26 w 74"/>
                <a:gd name="T39" fmla="*/ 84 h 90"/>
                <a:gd name="T40" fmla="*/ 22 w 74"/>
                <a:gd name="T41" fmla="*/ 84 h 90"/>
                <a:gd name="T42" fmla="*/ 18 w 74"/>
                <a:gd name="T43" fmla="*/ 86 h 90"/>
                <a:gd name="T44" fmla="*/ 16 w 74"/>
                <a:gd name="T45" fmla="*/ 86 h 90"/>
                <a:gd name="T46" fmla="*/ 2 w 74"/>
                <a:gd name="T47" fmla="*/ 86 h 90"/>
                <a:gd name="T48" fmla="*/ 0 w 74"/>
                <a:gd name="T49" fmla="*/ 76 h 90"/>
                <a:gd name="T50" fmla="*/ 2 w 74"/>
                <a:gd name="T51" fmla="*/ 64 h 90"/>
                <a:gd name="T52" fmla="*/ 2 w 74"/>
                <a:gd name="T53" fmla="*/ 58 h 90"/>
                <a:gd name="T54" fmla="*/ 4 w 74"/>
                <a:gd name="T55" fmla="*/ 54 h 90"/>
                <a:gd name="T56" fmla="*/ 4 w 74"/>
                <a:gd name="T57" fmla="*/ 50 h 90"/>
                <a:gd name="T58" fmla="*/ 6 w 74"/>
                <a:gd name="T59" fmla="*/ 50 h 90"/>
                <a:gd name="T60" fmla="*/ 8 w 74"/>
                <a:gd name="T61" fmla="*/ 48 h 90"/>
                <a:gd name="T62" fmla="*/ 12 w 74"/>
                <a:gd name="T63" fmla="*/ 46 h 90"/>
                <a:gd name="T64" fmla="*/ 18 w 74"/>
                <a:gd name="T65" fmla="*/ 44 h 90"/>
                <a:gd name="T66" fmla="*/ 26 w 74"/>
                <a:gd name="T67" fmla="*/ 42 h 90"/>
                <a:gd name="T68" fmla="*/ 28 w 74"/>
                <a:gd name="T69" fmla="*/ 42 h 90"/>
                <a:gd name="T70" fmla="*/ 30 w 74"/>
                <a:gd name="T71" fmla="*/ 40 h 90"/>
                <a:gd name="T72" fmla="*/ 30 w 74"/>
                <a:gd name="T73" fmla="*/ 38 h 90"/>
                <a:gd name="T74" fmla="*/ 30 w 74"/>
                <a:gd name="T75" fmla="*/ 36 h 90"/>
                <a:gd name="T76" fmla="*/ 30 w 74"/>
                <a:gd name="T77" fmla="*/ 32 h 90"/>
                <a:gd name="T78" fmla="*/ 30 w 74"/>
                <a:gd name="T79" fmla="*/ 30 h 90"/>
                <a:gd name="T80" fmla="*/ 30 w 74"/>
                <a:gd name="T81" fmla="*/ 30 h 90"/>
                <a:gd name="T82" fmla="*/ 26 w 74"/>
                <a:gd name="T83" fmla="*/ 30 h 90"/>
                <a:gd name="T84" fmla="*/ 24 w 74"/>
                <a:gd name="T85" fmla="*/ 30 h 90"/>
                <a:gd name="T86" fmla="*/ 22 w 74"/>
                <a:gd name="T87" fmla="*/ 30 h 90"/>
                <a:gd name="T88" fmla="*/ 20 w 74"/>
                <a:gd name="T89" fmla="*/ 30 h 90"/>
                <a:gd name="T90" fmla="*/ 20 w 74"/>
                <a:gd name="T91" fmla="*/ 28 h 90"/>
                <a:gd name="T92" fmla="*/ 20 w 74"/>
                <a:gd name="T93" fmla="*/ 26 h 90"/>
                <a:gd name="T94" fmla="*/ 20 w 74"/>
                <a:gd name="T95" fmla="*/ 24 h 90"/>
                <a:gd name="T96" fmla="*/ 20 w 74"/>
                <a:gd name="T97" fmla="*/ 18 h 90"/>
                <a:gd name="T98" fmla="*/ 18 w 74"/>
                <a:gd name="T99" fmla="*/ 4 h 90"/>
                <a:gd name="T100" fmla="*/ 32 w 74"/>
                <a:gd name="T101" fmla="*/ 4 h 90"/>
                <a:gd name="T102" fmla="*/ 40 w 74"/>
                <a:gd name="T103" fmla="*/ 6 h 90"/>
                <a:gd name="T104" fmla="*/ 46 w 74"/>
                <a:gd name="T105" fmla="*/ 6 h 90"/>
                <a:gd name="T106" fmla="*/ 50 w 74"/>
                <a:gd name="T107" fmla="*/ 4 h 90"/>
                <a:gd name="T108" fmla="*/ 58 w 74"/>
                <a:gd name="T109" fmla="*/ 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4" h="90">
                  <a:moveTo>
                    <a:pt x="64" y="0"/>
                  </a:moveTo>
                  <a:lnTo>
                    <a:pt x="64" y="0"/>
                  </a:lnTo>
                  <a:lnTo>
                    <a:pt x="66" y="2"/>
                  </a:lnTo>
                  <a:lnTo>
                    <a:pt x="68" y="6"/>
                  </a:lnTo>
                  <a:lnTo>
                    <a:pt x="70" y="8"/>
                  </a:lnTo>
                  <a:lnTo>
                    <a:pt x="70" y="10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2" y="18"/>
                  </a:lnTo>
                  <a:lnTo>
                    <a:pt x="74" y="20"/>
                  </a:lnTo>
                  <a:lnTo>
                    <a:pt x="74" y="24"/>
                  </a:lnTo>
                  <a:lnTo>
                    <a:pt x="74" y="28"/>
                  </a:lnTo>
                  <a:lnTo>
                    <a:pt x="74" y="32"/>
                  </a:lnTo>
                  <a:lnTo>
                    <a:pt x="74" y="36"/>
                  </a:lnTo>
                  <a:lnTo>
                    <a:pt x="72" y="40"/>
                  </a:lnTo>
                  <a:lnTo>
                    <a:pt x="72" y="42"/>
                  </a:lnTo>
                  <a:lnTo>
                    <a:pt x="72" y="44"/>
                  </a:lnTo>
                  <a:lnTo>
                    <a:pt x="70" y="46"/>
                  </a:lnTo>
                  <a:lnTo>
                    <a:pt x="68" y="50"/>
                  </a:lnTo>
                  <a:lnTo>
                    <a:pt x="66" y="56"/>
                  </a:lnTo>
                  <a:lnTo>
                    <a:pt x="64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2" y="74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2" y="78"/>
                  </a:lnTo>
                  <a:lnTo>
                    <a:pt x="64" y="80"/>
                  </a:lnTo>
                  <a:lnTo>
                    <a:pt x="66" y="84"/>
                  </a:lnTo>
                  <a:lnTo>
                    <a:pt x="54" y="86"/>
                  </a:lnTo>
                  <a:lnTo>
                    <a:pt x="44" y="86"/>
                  </a:lnTo>
                  <a:lnTo>
                    <a:pt x="38" y="86"/>
                  </a:lnTo>
                  <a:lnTo>
                    <a:pt x="36" y="86"/>
                  </a:lnTo>
                  <a:lnTo>
                    <a:pt x="34" y="86"/>
                  </a:lnTo>
                  <a:lnTo>
                    <a:pt x="32" y="86"/>
                  </a:lnTo>
                  <a:lnTo>
                    <a:pt x="28" y="84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2" y="84"/>
                  </a:lnTo>
                  <a:lnTo>
                    <a:pt x="20" y="84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2" y="90"/>
                  </a:lnTo>
                  <a:lnTo>
                    <a:pt x="2" y="86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0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12" y="46"/>
                  </a:lnTo>
                  <a:lnTo>
                    <a:pt x="16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8" y="42"/>
                  </a:lnTo>
                  <a:lnTo>
                    <a:pt x="28" y="40"/>
                  </a:lnTo>
                  <a:lnTo>
                    <a:pt x="30" y="40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4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8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4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18"/>
                  </a:lnTo>
                  <a:lnTo>
                    <a:pt x="18" y="12"/>
                  </a:lnTo>
                  <a:lnTo>
                    <a:pt x="18" y="4"/>
                  </a:lnTo>
                  <a:lnTo>
                    <a:pt x="24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6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8" y="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89" name="Freeform 436">
              <a:extLst>
                <a:ext uri="{FF2B5EF4-FFF2-40B4-BE49-F238E27FC236}">
                  <a16:creationId xmlns:a16="http://schemas.microsoft.com/office/drawing/2014/main" id="{469D97D7-8E20-4C0A-BB92-366707947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4901" y="4865167"/>
              <a:ext cx="304100" cy="290841"/>
            </a:xfrm>
            <a:custGeom>
              <a:avLst/>
              <a:gdLst>
                <a:gd name="T0" fmla="*/ 72 w 178"/>
                <a:gd name="T1" fmla="*/ 170 h 174"/>
                <a:gd name="T2" fmla="*/ 86 w 178"/>
                <a:gd name="T3" fmla="*/ 170 h 174"/>
                <a:gd name="T4" fmla="*/ 92 w 178"/>
                <a:gd name="T5" fmla="*/ 168 h 174"/>
                <a:gd name="T6" fmla="*/ 94 w 178"/>
                <a:gd name="T7" fmla="*/ 160 h 174"/>
                <a:gd name="T8" fmla="*/ 98 w 178"/>
                <a:gd name="T9" fmla="*/ 156 h 174"/>
                <a:gd name="T10" fmla="*/ 106 w 178"/>
                <a:gd name="T11" fmla="*/ 152 h 174"/>
                <a:gd name="T12" fmla="*/ 108 w 178"/>
                <a:gd name="T13" fmla="*/ 144 h 174"/>
                <a:gd name="T14" fmla="*/ 110 w 178"/>
                <a:gd name="T15" fmla="*/ 140 h 174"/>
                <a:gd name="T16" fmla="*/ 122 w 178"/>
                <a:gd name="T17" fmla="*/ 140 h 174"/>
                <a:gd name="T18" fmla="*/ 128 w 178"/>
                <a:gd name="T19" fmla="*/ 132 h 174"/>
                <a:gd name="T20" fmla="*/ 146 w 178"/>
                <a:gd name="T21" fmla="*/ 128 h 174"/>
                <a:gd name="T22" fmla="*/ 152 w 178"/>
                <a:gd name="T23" fmla="*/ 124 h 174"/>
                <a:gd name="T24" fmla="*/ 156 w 178"/>
                <a:gd name="T25" fmla="*/ 116 h 174"/>
                <a:gd name="T26" fmla="*/ 166 w 178"/>
                <a:gd name="T27" fmla="*/ 108 h 174"/>
                <a:gd name="T28" fmla="*/ 168 w 178"/>
                <a:gd name="T29" fmla="*/ 88 h 174"/>
                <a:gd name="T30" fmla="*/ 174 w 178"/>
                <a:gd name="T31" fmla="*/ 80 h 174"/>
                <a:gd name="T32" fmla="*/ 178 w 178"/>
                <a:gd name="T33" fmla="*/ 76 h 174"/>
                <a:gd name="T34" fmla="*/ 174 w 178"/>
                <a:gd name="T35" fmla="*/ 62 h 174"/>
                <a:gd name="T36" fmla="*/ 174 w 178"/>
                <a:gd name="T37" fmla="*/ 38 h 174"/>
                <a:gd name="T38" fmla="*/ 162 w 178"/>
                <a:gd name="T39" fmla="*/ 24 h 174"/>
                <a:gd name="T40" fmla="*/ 146 w 178"/>
                <a:gd name="T41" fmla="*/ 14 h 174"/>
                <a:gd name="T42" fmla="*/ 142 w 178"/>
                <a:gd name="T43" fmla="*/ 4 h 174"/>
                <a:gd name="T44" fmla="*/ 138 w 178"/>
                <a:gd name="T45" fmla="*/ 0 h 174"/>
                <a:gd name="T46" fmla="*/ 130 w 178"/>
                <a:gd name="T47" fmla="*/ 2 h 174"/>
                <a:gd name="T48" fmla="*/ 126 w 178"/>
                <a:gd name="T49" fmla="*/ 10 h 174"/>
                <a:gd name="T50" fmla="*/ 116 w 178"/>
                <a:gd name="T51" fmla="*/ 16 h 174"/>
                <a:gd name="T52" fmla="*/ 108 w 178"/>
                <a:gd name="T53" fmla="*/ 30 h 174"/>
                <a:gd name="T54" fmla="*/ 104 w 178"/>
                <a:gd name="T55" fmla="*/ 56 h 174"/>
                <a:gd name="T56" fmla="*/ 106 w 178"/>
                <a:gd name="T57" fmla="*/ 70 h 174"/>
                <a:gd name="T58" fmla="*/ 114 w 178"/>
                <a:gd name="T59" fmla="*/ 76 h 174"/>
                <a:gd name="T60" fmla="*/ 122 w 178"/>
                <a:gd name="T61" fmla="*/ 76 h 174"/>
                <a:gd name="T62" fmla="*/ 124 w 178"/>
                <a:gd name="T63" fmla="*/ 82 h 174"/>
                <a:gd name="T64" fmla="*/ 124 w 178"/>
                <a:gd name="T65" fmla="*/ 96 h 174"/>
                <a:gd name="T66" fmla="*/ 120 w 178"/>
                <a:gd name="T67" fmla="*/ 104 h 174"/>
                <a:gd name="T68" fmla="*/ 108 w 178"/>
                <a:gd name="T69" fmla="*/ 106 h 174"/>
                <a:gd name="T70" fmla="*/ 102 w 178"/>
                <a:gd name="T71" fmla="*/ 100 h 174"/>
                <a:gd name="T72" fmla="*/ 98 w 178"/>
                <a:gd name="T73" fmla="*/ 86 h 174"/>
                <a:gd name="T74" fmla="*/ 96 w 178"/>
                <a:gd name="T75" fmla="*/ 80 h 174"/>
                <a:gd name="T76" fmla="*/ 86 w 178"/>
                <a:gd name="T77" fmla="*/ 76 h 174"/>
                <a:gd name="T78" fmla="*/ 84 w 178"/>
                <a:gd name="T79" fmla="*/ 70 h 174"/>
                <a:gd name="T80" fmla="*/ 78 w 178"/>
                <a:gd name="T81" fmla="*/ 68 h 174"/>
                <a:gd name="T82" fmla="*/ 70 w 178"/>
                <a:gd name="T83" fmla="*/ 72 h 174"/>
                <a:gd name="T84" fmla="*/ 68 w 178"/>
                <a:gd name="T85" fmla="*/ 80 h 174"/>
                <a:gd name="T86" fmla="*/ 64 w 178"/>
                <a:gd name="T87" fmla="*/ 80 h 174"/>
                <a:gd name="T88" fmla="*/ 58 w 178"/>
                <a:gd name="T89" fmla="*/ 74 h 174"/>
                <a:gd name="T90" fmla="*/ 56 w 178"/>
                <a:gd name="T91" fmla="*/ 64 h 174"/>
                <a:gd name="T92" fmla="*/ 50 w 178"/>
                <a:gd name="T93" fmla="*/ 62 h 174"/>
                <a:gd name="T94" fmla="*/ 42 w 178"/>
                <a:gd name="T95" fmla="*/ 76 h 174"/>
                <a:gd name="T96" fmla="*/ 40 w 178"/>
                <a:gd name="T97" fmla="*/ 92 h 174"/>
                <a:gd name="T98" fmla="*/ 36 w 178"/>
                <a:gd name="T99" fmla="*/ 96 h 174"/>
                <a:gd name="T100" fmla="*/ 24 w 178"/>
                <a:gd name="T101" fmla="*/ 94 h 174"/>
                <a:gd name="T102" fmla="*/ 22 w 178"/>
                <a:gd name="T103" fmla="*/ 90 h 174"/>
                <a:gd name="T104" fmla="*/ 18 w 178"/>
                <a:gd name="T105" fmla="*/ 86 h 174"/>
                <a:gd name="T106" fmla="*/ 14 w 178"/>
                <a:gd name="T107" fmla="*/ 88 h 174"/>
                <a:gd name="T108" fmla="*/ 14 w 178"/>
                <a:gd name="T109" fmla="*/ 94 h 174"/>
                <a:gd name="T110" fmla="*/ 10 w 178"/>
                <a:gd name="T111" fmla="*/ 96 h 174"/>
                <a:gd name="T112" fmla="*/ 4 w 178"/>
                <a:gd name="T113" fmla="*/ 96 h 174"/>
                <a:gd name="T114" fmla="*/ 0 w 178"/>
                <a:gd name="T115" fmla="*/ 106 h 174"/>
                <a:gd name="T116" fmla="*/ 4 w 178"/>
                <a:gd name="T117" fmla="*/ 130 h 174"/>
                <a:gd name="T118" fmla="*/ 6 w 178"/>
                <a:gd name="T119" fmla="*/ 148 h 174"/>
                <a:gd name="T120" fmla="*/ 14 w 178"/>
                <a:gd name="T121" fmla="*/ 158 h 174"/>
                <a:gd name="T122" fmla="*/ 16 w 178"/>
                <a:gd name="T123" fmla="*/ 166 h 174"/>
                <a:gd name="T124" fmla="*/ 34 w 178"/>
                <a:gd name="T125" fmla="*/ 17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8" h="174">
                  <a:moveTo>
                    <a:pt x="62" y="174"/>
                  </a:moveTo>
                  <a:lnTo>
                    <a:pt x="62" y="174"/>
                  </a:lnTo>
                  <a:lnTo>
                    <a:pt x="66" y="172"/>
                  </a:lnTo>
                  <a:lnTo>
                    <a:pt x="70" y="172"/>
                  </a:lnTo>
                  <a:lnTo>
                    <a:pt x="72" y="170"/>
                  </a:lnTo>
                  <a:lnTo>
                    <a:pt x="72" y="170"/>
                  </a:lnTo>
                  <a:lnTo>
                    <a:pt x="74" y="170"/>
                  </a:lnTo>
                  <a:lnTo>
                    <a:pt x="78" y="170"/>
                  </a:lnTo>
                  <a:lnTo>
                    <a:pt x="82" y="172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6" y="170"/>
                  </a:lnTo>
                  <a:lnTo>
                    <a:pt x="88" y="170"/>
                  </a:lnTo>
                  <a:lnTo>
                    <a:pt x="90" y="170"/>
                  </a:lnTo>
                  <a:lnTo>
                    <a:pt x="92" y="168"/>
                  </a:lnTo>
                  <a:lnTo>
                    <a:pt x="92" y="168"/>
                  </a:lnTo>
                  <a:lnTo>
                    <a:pt x="92" y="168"/>
                  </a:lnTo>
                  <a:lnTo>
                    <a:pt x="92" y="168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4"/>
                  </a:lnTo>
                  <a:lnTo>
                    <a:pt x="94" y="162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4" y="158"/>
                  </a:lnTo>
                  <a:lnTo>
                    <a:pt x="94" y="158"/>
                  </a:lnTo>
                  <a:lnTo>
                    <a:pt x="94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8" y="156"/>
                  </a:lnTo>
                  <a:lnTo>
                    <a:pt x="100" y="156"/>
                  </a:lnTo>
                  <a:lnTo>
                    <a:pt x="102" y="156"/>
                  </a:lnTo>
                  <a:lnTo>
                    <a:pt x="102" y="156"/>
                  </a:lnTo>
                  <a:lnTo>
                    <a:pt x="104" y="154"/>
                  </a:lnTo>
                  <a:lnTo>
                    <a:pt x="106" y="154"/>
                  </a:lnTo>
                  <a:lnTo>
                    <a:pt x="106" y="152"/>
                  </a:lnTo>
                  <a:lnTo>
                    <a:pt x="108" y="152"/>
                  </a:lnTo>
                  <a:lnTo>
                    <a:pt x="108" y="152"/>
                  </a:lnTo>
                  <a:lnTo>
                    <a:pt x="108" y="150"/>
                  </a:lnTo>
                  <a:lnTo>
                    <a:pt x="108" y="150"/>
                  </a:lnTo>
                  <a:lnTo>
                    <a:pt x="108" y="146"/>
                  </a:lnTo>
                  <a:lnTo>
                    <a:pt x="108" y="144"/>
                  </a:lnTo>
                  <a:lnTo>
                    <a:pt x="108" y="144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10" y="142"/>
                  </a:lnTo>
                  <a:lnTo>
                    <a:pt x="110" y="140"/>
                  </a:lnTo>
                  <a:lnTo>
                    <a:pt x="110" y="140"/>
                  </a:lnTo>
                  <a:lnTo>
                    <a:pt x="112" y="140"/>
                  </a:lnTo>
                  <a:lnTo>
                    <a:pt x="114" y="140"/>
                  </a:lnTo>
                  <a:lnTo>
                    <a:pt x="116" y="140"/>
                  </a:lnTo>
                  <a:lnTo>
                    <a:pt x="118" y="140"/>
                  </a:lnTo>
                  <a:lnTo>
                    <a:pt x="120" y="140"/>
                  </a:lnTo>
                  <a:lnTo>
                    <a:pt x="122" y="140"/>
                  </a:lnTo>
                  <a:lnTo>
                    <a:pt x="122" y="140"/>
                  </a:lnTo>
                  <a:lnTo>
                    <a:pt x="122" y="140"/>
                  </a:lnTo>
                  <a:lnTo>
                    <a:pt x="124" y="138"/>
                  </a:lnTo>
                  <a:lnTo>
                    <a:pt x="124" y="138"/>
                  </a:lnTo>
                  <a:lnTo>
                    <a:pt x="126" y="134"/>
                  </a:lnTo>
                  <a:lnTo>
                    <a:pt x="128" y="132"/>
                  </a:lnTo>
                  <a:lnTo>
                    <a:pt x="128" y="132"/>
                  </a:lnTo>
                  <a:lnTo>
                    <a:pt x="132" y="132"/>
                  </a:lnTo>
                  <a:lnTo>
                    <a:pt x="134" y="130"/>
                  </a:lnTo>
                  <a:lnTo>
                    <a:pt x="138" y="130"/>
                  </a:lnTo>
                  <a:lnTo>
                    <a:pt x="142" y="130"/>
                  </a:lnTo>
                  <a:lnTo>
                    <a:pt x="146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50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4"/>
                  </a:lnTo>
                  <a:lnTo>
                    <a:pt x="152" y="124"/>
                  </a:lnTo>
                  <a:lnTo>
                    <a:pt x="154" y="122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6"/>
                  </a:lnTo>
                  <a:lnTo>
                    <a:pt x="156" y="116"/>
                  </a:lnTo>
                  <a:lnTo>
                    <a:pt x="158" y="114"/>
                  </a:lnTo>
                  <a:lnTo>
                    <a:pt x="160" y="114"/>
                  </a:lnTo>
                  <a:lnTo>
                    <a:pt x="162" y="114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6" y="108"/>
                  </a:lnTo>
                  <a:lnTo>
                    <a:pt x="166" y="104"/>
                  </a:lnTo>
                  <a:lnTo>
                    <a:pt x="166" y="100"/>
                  </a:lnTo>
                  <a:lnTo>
                    <a:pt x="166" y="96"/>
                  </a:lnTo>
                  <a:lnTo>
                    <a:pt x="168" y="90"/>
                  </a:lnTo>
                  <a:lnTo>
                    <a:pt x="168" y="88"/>
                  </a:lnTo>
                  <a:lnTo>
                    <a:pt x="168" y="88"/>
                  </a:lnTo>
                  <a:lnTo>
                    <a:pt x="168" y="86"/>
                  </a:lnTo>
                  <a:lnTo>
                    <a:pt x="168" y="84"/>
                  </a:lnTo>
                  <a:lnTo>
                    <a:pt x="170" y="84"/>
                  </a:lnTo>
                  <a:lnTo>
                    <a:pt x="170" y="82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8" y="76"/>
                  </a:lnTo>
                  <a:lnTo>
                    <a:pt x="178" y="76"/>
                  </a:lnTo>
                  <a:lnTo>
                    <a:pt x="178" y="74"/>
                  </a:lnTo>
                  <a:lnTo>
                    <a:pt x="176" y="74"/>
                  </a:lnTo>
                  <a:lnTo>
                    <a:pt x="176" y="72"/>
                  </a:lnTo>
                  <a:lnTo>
                    <a:pt x="176" y="68"/>
                  </a:lnTo>
                  <a:lnTo>
                    <a:pt x="174" y="64"/>
                  </a:lnTo>
                  <a:lnTo>
                    <a:pt x="174" y="62"/>
                  </a:lnTo>
                  <a:lnTo>
                    <a:pt x="174" y="60"/>
                  </a:lnTo>
                  <a:lnTo>
                    <a:pt x="174" y="58"/>
                  </a:lnTo>
                  <a:lnTo>
                    <a:pt x="174" y="56"/>
                  </a:lnTo>
                  <a:lnTo>
                    <a:pt x="174" y="48"/>
                  </a:lnTo>
                  <a:lnTo>
                    <a:pt x="174" y="40"/>
                  </a:lnTo>
                  <a:lnTo>
                    <a:pt x="174" y="38"/>
                  </a:lnTo>
                  <a:lnTo>
                    <a:pt x="172" y="34"/>
                  </a:lnTo>
                  <a:lnTo>
                    <a:pt x="168" y="30"/>
                  </a:lnTo>
                  <a:lnTo>
                    <a:pt x="166" y="28"/>
                  </a:lnTo>
                  <a:lnTo>
                    <a:pt x="166" y="26"/>
                  </a:lnTo>
                  <a:lnTo>
                    <a:pt x="164" y="26"/>
                  </a:lnTo>
                  <a:lnTo>
                    <a:pt x="162" y="24"/>
                  </a:lnTo>
                  <a:lnTo>
                    <a:pt x="158" y="22"/>
                  </a:lnTo>
                  <a:lnTo>
                    <a:pt x="154" y="22"/>
                  </a:lnTo>
                  <a:lnTo>
                    <a:pt x="154" y="20"/>
                  </a:lnTo>
                  <a:lnTo>
                    <a:pt x="152" y="20"/>
                  </a:lnTo>
                  <a:lnTo>
                    <a:pt x="150" y="18"/>
                  </a:lnTo>
                  <a:lnTo>
                    <a:pt x="146" y="14"/>
                  </a:lnTo>
                  <a:lnTo>
                    <a:pt x="144" y="12"/>
                  </a:lnTo>
                  <a:lnTo>
                    <a:pt x="144" y="10"/>
                  </a:lnTo>
                  <a:lnTo>
                    <a:pt x="142" y="8"/>
                  </a:lnTo>
                  <a:lnTo>
                    <a:pt x="142" y="8"/>
                  </a:lnTo>
                  <a:lnTo>
                    <a:pt x="142" y="6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28" y="6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4" y="12"/>
                  </a:lnTo>
                  <a:lnTo>
                    <a:pt x="122" y="12"/>
                  </a:lnTo>
                  <a:lnTo>
                    <a:pt x="122" y="12"/>
                  </a:lnTo>
                  <a:lnTo>
                    <a:pt x="118" y="14"/>
                  </a:lnTo>
                  <a:lnTo>
                    <a:pt x="116" y="14"/>
                  </a:lnTo>
                  <a:lnTo>
                    <a:pt x="116" y="16"/>
                  </a:lnTo>
                  <a:lnTo>
                    <a:pt x="114" y="16"/>
                  </a:lnTo>
                  <a:lnTo>
                    <a:pt x="114" y="18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10" y="26"/>
                  </a:lnTo>
                  <a:lnTo>
                    <a:pt x="108" y="30"/>
                  </a:lnTo>
                  <a:lnTo>
                    <a:pt x="108" y="34"/>
                  </a:lnTo>
                  <a:lnTo>
                    <a:pt x="106" y="40"/>
                  </a:lnTo>
                  <a:lnTo>
                    <a:pt x="106" y="48"/>
                  </a:lnTo>
                  <a:lnTo>
                    <a:pt x="104" y="50"/>
                  </a:lnTo>
                  <a:lnTo>
                    <a:pt x="104" y="54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2"/>
                  </a:lnTo>
                  <a:lnTo>
                    <a:pt x="104" y="64"/>
                  </a:lnTo>
                  <a:lnTo>
                    <a:pt x="106" y="66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8" y="72"/>
                  </a:lnTo>
                  <a:lnTo>
                    <a:pt x="110" y="74"/>
                  </a:lnTo>
                  <a:lnTo>
                    <a:pt x="112" y="74"/>
                  </a:lnTo>
                  <a:lnTo>
                    <a:pt x="112" y="76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8" y="76"/>
                  </a:lnTo>
                  <a:lnTo>
                    <a:pt x="118" y="76"/>
                  </a:lnTo>
                  <a:lnTo>
                    <a:pt x="120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8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80"/>
                  </a:lnTo>
                  <a:lnTo>
                    <a:pt x="124" y="82"/>
                  </a:lnTo>
                  <a:lnTo>
                    <a:pt x="126" y="84"/>
                  </a:lnTo>
                  <a:lnTo>
                    <a:pt x="126" y="88"/>
                  </a:lnTo>
                  <a:lnTo>
                    <a:pt x="126" y="90"/>
                  </a:lnTo>
                  <a:lnTo>
                    <a:pt x="126" y="92"/>
                  </a:lnTo>
                  <a:lnTo>
                    <a:pt x="124" y="94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4" y="100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20" y="104"/>
                  </a:lnTo>
                  <a:lnTo>
                    <a:pt x="118" y="104"/>
                  </a:lnTo>
                  <a:lnTo>
                    <a:pt x="116" y="106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08" y="106"/>
                  </a:lnTo>
                  <a:lnTo>
                    <a:pt x="106" y="104"/>
                  </a:lnTo>
                  <a:lnTo>
                    <a:pt x="106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2" y="102"/>
                  </a:lnTo>
                  <a:lnTo>
                    <a:pt x="102" y="100"/>
                  </a:lnTo>
                  <a:lnTo>
                    <a:pt x="100" y="98"/>
                  </a:lnTo>
                  <a:lnTo>
                    <a:pt x="100" y="96"/>
                  </a:lnTo>
                  <a:lnTo>
                    <a:pt x="98" y="96"/>
                  </a:lnTo>
                  <a:lnTo>
                    <a:pt x="98" y="94"/>
                  </a:lnTo>
                  <a:lnTo>
                    <a:pt x="98" y="88"/>
                  </a:lnTo>
                  <a:lnTo>
                    <a:pt x="98" y="86"/>
                  </a:lnTo>
                  <a:lnTo>
                    <a:pt x="98" y="84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4" y="80"/>
                  </a:lnTo>
                  <a:lnTo>
                    <a:pt x="92" y="78"/>
                  </a:lnTo>
                  <a:lnTo>
                    <a:pt x="90" y="78"/>
                  </a:lnTo>
                  <a:lnTo>
                    <a:pt x="88" y="78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4" y="76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2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2" y="70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0" y="68"/>
                  </a:lnTo>
                  <a:lnTo>
                    <a:pt x="78" y="68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4" y="70"/>
                  </a:lnTo>
                  <a:lnTo>
                    <a:pt x="72" y="70"/>
                  </a:lnTo>
                  <a:lnTo>
                    <a:pt x="72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4"/>
                  </a:lnTo>
                  <a:lnTo>
                    <a:pt x="70" y="76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2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6"/>
                  </a:lnTo>
                  <a:lnTo>
                    <a:pt x="58" y="74"/>
                  </a:lnTo>
                  <a:lnTo>
                    <a:pt x="58" y="72"/>
                  </a:lnTo>
                  <a:lnTo>
                    <a:pt x="58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2" y="62"/>
                  </a:lnTo>
                  <a:lnTo>
                    <a:pt x="50" y="62"/>
                  </a:lnTo>
                  <a:lnTo>
                    <a:pt x="46" y="62"/>
                  </a:lnTo>
                  <a:lnTo>
                    <a:pt x="42" y="60"/>
                  </a:lnTo>
                  <a:lnTo>
                    <a:pt x="40" y="62"/>
                  </a:lnTo>
                  <a:lnTo>
                    <a:pt x="40" y="66"/>
                  </a:lnTo>
                  <a:lnTo>
                    <a:pt x="42" y="70"/>
                  </a:lnTo>
                  <a:lnTo>
                    <a:pt x="42" y="76"/>
                  </a:lnTo>
                  <a:lnTo>
                    <a:pt x="42" y="78"/>
                  </a:lnTo>
                  <a:lnTo>
                    <a:pt x="42" y="82"/>
                  </a:lnTo>
                  <a:lnTo>
                    <a:pt x="42" y="84"/>
                  </a:lnTo>
                  <a:lnTo>
                    <a:pt x="42" y="88"/>
                  </a:lnTo>
                  <a:lnTo>
                    <a:pt x="40" y="90"/>
                  </a:lnTo>
                  <a:lnTo>
                    <a:pt x="40" y="92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4" y="96"/>
                  </a:lnTo>
                  <a:lnTo>
                    <a:pt x="32" y="96"/>
                  </a:lnTo>
                  <a:lnTo>
                    <a:pt x="30" y="96"/>
                  </a:lnTo>
                  <a:lnTo>
                    <a:pt x="28" y="96"/>
                  </a:lnTo>
                  <a:lnTo>
                    <a:pt x="26" y="96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2" y="92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2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0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6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2" y="102"/>
                  </a:lnTo>
                  <a:lnTo>
                    <a:pt x="2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2" y="112"/>
                  </a:lnTo>
                  <a:lnTo>
                    <a:pt x="2" y="114"/>
                  </a:lnTo>
                  <a:lnTo>
                    <a:pt x="2" y="120"/>
                  </a:lnTo>
                  <a:lnTo>
                    <a:pt x="2" y="126"/>
                  </a:lnTo>
                  <a:lnTo>
                    <a:pt x="4" y="130"/>
                  </a:lnTo>
                  <a:lnTo>
                    <a:pt x="4" y="134"/>
                  </a:lnTo>
                  <a:lnTo>
                    <a:pt x="4" y="142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8"/>
                  </a:lnTo>
                  <a:lnTo>
                    <a:pt x="6" y="148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2" y="156"/>
                  </a:lnTo>
                  <a:lnTo>
                    <a:pt x="14" y="158"/>
                  </a:lnTo>
                  <a:lnTo>
                    <a:pt x="14" y="160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4"/>
                  </a:lnTo>
                  <a:lnTo>
                    <a:pt x="16" y="166"/>
                  </a:lnTo>
                  <a:lnTo>
                    <a:pt x="16" y="170"/>
                  </a:lnTo>
                  <a:lnTo>
                    <a:pt x="20" y="170"/>
                  </a:lnTo>
                  <a:lnTo>
                    <a:pt x="22" y="172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34" y="172"/>
                  </a:lnTo>
                  <a:lnTo>
                    <a:pt x="46" y="174"/>
                  </a:lnTo>
                  <a:lnTo>
                    <a:pt x="58" y="174"/>
                  </a:lnTo>
                  <a:lnTo>
                    <a:pt x="62" y="17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90" name="Freeform 438">
              <a:extLst>
                <a:ext uri="{FF2B5EF4-FFF2-40B4-BE49-F238E27FC236}">
                  <a16:creationId xmlns:a16="http://schemas.microsoft.com/office/drawing/2014/main" id="{0B24740F-B8DB-4410-98FD-82ABC1FCF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3306" y="4022732"/>
              <a:ext cx="273348" cy="437933"/>
            </a:xfrm>
            <a:custGeom>
              <a:avLst/>
              <a:gdLst>
                <a:gd name="T0" fmla="*/ 28 w 160"/>
                <a:gd name="T1" fmla="*/ 12 h 262"/>
                <a:gd name="T2" fmla="*/ 40 w 160"/>
                <a:gd name="T3" fmla="*/ 50 h 262"/>
                <a:gd name="T4" fmla="*/ 40 w 160"/>
                <a:gd name="T5" fmla="*/ 88 h 262"/>
                <a:gd name="T6" fmla="*/ 34 w 160"/>
                <a:gd name="T7" fmla="*/ 108 h 262"/>
                <a:gd name="T8" fmla="*/ 26 w 160"/>
                <a:gd name="T9" fmla="*/ 112 h 262"/>
                <a:gd name="T10" fmla="*/ 18 w 160"/>
                <a:gd name="T11" fmla="*/ 120 h 262"/>
                <a:gd name="T12" fmla="*/ 8 w 160"/>
                <a:gd name="T13" fmla="*/ 128 h 262"/>
                <a:gd name="T14" fmla="*/ 0 w 160"/>
                <a:gd name="T15" fmla="*/ 138 h 262"/>
                <a:gd name="T16" fmla="*/ 4 w 160"/>
                <a:gd name="T17" fmla="*/ 150 h 262"/>
                <a:gd name="T18" fmla="*/ 8 w 160"/>
                <a:gd name="T19" fmla="*/ 154 h 262"/>
                <a:gd name="T20" fmla="*/ 14 w 160"/>
                <a:gd name="T21" fmla="*/ 168 h 262"/>
                <a:gd name="T22" fmla="*/ 22 w 160"/>
                <a:gd name="T23" fmla="*/ 186 h 262"/>
                <a:gd name="T24" fmla="*/ 16 w 160"/>
                <a:gd name="T25" fmla="*/ 192 h 262"/>
                <a:gd name="T26" fmla="*/ 16 w 160"/>
                <a:gd name="T27" fmla="*/ 194 h 262"/>
                <a:gd name="T28" fmla="*/ 20 w 160"/>
                <a:gd name="T29" fmla="*/ 202 h 262"/>
                <a:gd name="T30" fmla="*/ 26 w 160"/>
                <a:gd name="T31" fmla="*/ 212 h 262"/>
                <a:gd name="T32" fmla="*/ 26 w 160"/>
                <a:gd name="T33" fmla="*/ 220 h 262"/>
                <a:gd name="T34" fmla="*/ 18 w 160"/>
                <a:gd name="T35" fmla="*/ 224 h 262"/>
                <a:gd name="T36" fmla="*/ 22 w 160"/>
                <a:gd name="T37" fmla="*/ 236 h 262"/>
                <a:gd name="T38" fmla="*/ 32 w 160"/>
                <a:gd name="T39" fmla="*/ 250 h 262"/>
                <a:gd name="T40" fmla="*/ 46 w 160"/>
                <a:gd name="T41" fmla="*/ 258 h 262"/>
                <a:gd name="T42" fmla="*/ 60 w 160"/>
                <a:gd name="T43" fmla="*/ 258 h 262"/>
                <a:gd name="T44" fmla="*/ 62 w 160"/>
                <a:gd name="T45" fmla="*/ 252 h 262"/>
                <a:gd name="T46" fmla="*/ 68 w 160"/>
                <a:gd name="T47" fmla="*/ 248 h 262"/>
                <a:gd name="T48" fmla="*/ 80 w 160"/>
                <a:gd name="T49" fmla="*/ 248 h 262"/>
                <a:gd name="T50" fmla="*/ 86 w 160"/>
                <a:gd name="T51" fmla="*/ 238 h 262"/>
                <a:gd name="T52" fmla="*/ 96 w 160"/>
                <a:gd name="T53" fmla="*/ 236 h 262"/>
                <a:gd name="T54" fmla="*/ 104 w 160"/>
                <a:gd name="T55" fmla="*/ 232 h 262"/>
                <a:gd name="T56" fmla="*/ 108 w 160"/>
                <a:gd name="T57" fmla="*/ 222 h 262"/>
                <a:gd name="T58" fmla="*/ 118 w 160"/>
                <a:gd name="T59" fmla="*/ 216 h 262"/>
                <a:gd name="T60" fmla="*/ 130 w 160"/>
                <a:gd name="T61" fmla="*/ 200 h 262"/>
                <a:gd name="T62" fmla="*/ 138 w 160"/>
                <a:gd name="T63" fmla="*/ 196 h 262"/>
                <a:gd name="T64" fmla="*/ 142 w 160"/>
                <a:gd name="T65" fmla="*/ 188 h 262"/>
                <a:gd name="T66" fmla="*/ 136 w 160"/>
                <a:gd name="T67" fmla="*/ 182 h 262"/>
                <a:gd name="T68" fmla="*/ 134 w 160"/>
                <a:gd name="T69" fmla="*/ 176 h 262"/>
                <a:gd name="T70" fmla="*/ 132 w 160"/>
                <a:gd name="T71" fmla="*/ 168 h 262"/>
                <a:gd name="T72" fmla="*/ 122 w 160"/>
                <a:gd name="T73" fmla="*/ 166 h 262"/>
                <a:gd name="T74" fmla="*/ 122 w 160"/>
                <a:gd name="T75" fmla="*/ 158 h 262"/>
                <a:gd name="T76" fmla="*/ 128 w 160"/>
                <a:gd name="T77" fmla="*/ 156 h 262"/>
                <a:gd name="T78" fmla="*/ 134 w 160"/>
                <a:gd name="T79" fmla="*/ 154 h 262"/>
                <a:gd name="T80" fmla="*/ 138 w 160"/>
                <a:gd name="T81" fmla="*/ 140 h 262"/>
                <a:gd name="T82" fmla="*/ 148 w 160"/>
                <a:gd name="T83" fmla="*/ 124 h 262"/>
                <a:gd name="T84" fmla="*/ 156 w 160"/>
                <a:gd name="T85" fmla="*/ 120 h 262"/>
                <a:gd name="T86" fmla="*/ 160 w 160"/>
                <a:gd name="T87" fmla="*/ 106 h 262"/>
                <a:gd name="T88" fmla="*/ 154 w 160"/>
                <a:gd name="T89" fmla="*/ 78 h 262"/>
                <a:gd name="T90" fmla="*/ 138 w 160"/>
                <a:gd name="T91" fmla="*/ 70 h 262"/>
                <a:gd name="T92" fmla="*/ 114 w 160"/>
                <a:gd name="T93" fmla="*/ 52 h 262"/>
                <a:gd name="T94" fmla="*/ 92 w 160"/>
                <a:gd name="T95" fmla="*/ 42 h 262"/>
                <a:gd name="T96" fmla="*/ 86 w 160"/>
                <a:gd name="T97" fmla="*/ 30 h 262"/>
                <a:gd name="T98" fmla="*/ 78 w 160"/>
                <a:gd name="T99" fmla="*/ 26 h 262"/>
                <a:gd name="T100" fmla="*/ 60 w 160"/>
                <a:gd name="T101" fmla="*/ 26 h 262"/>
                <a:gd name="T102" fmla="*/ 54 w 160"/>
                <a:gd name="T103" fmla="*/ 16 h 262"/>
                <a:gd name="T104" fmla="*/ 50 w 160"/>
                <a:gd name="T105" fmla="*/ 10 h 262"/>
                <a:gd name="T106" fmla="*/ 40 w 160"/>
                <a:gd name="T107" fmla="*/ 8 h 262"/>
                <a:gd name="T108" fmla="*/ 38 w 160"/>
                <a:gd name="T109" fmla="*/ 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" h="262">
                  <a:moveTo>
                    <a:pt x="26" y="0"/>
                  </a:moveTo>
                  <a:lnTo>
                    <a:pt x="26" y="0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8" y="8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30" y="16"/>
                  </a:lnTo>
                  <a:lnTo>
                    <a:pt x="34" y="22"/>
                  </a:lnTo>
                  <a:lnTo>
                    <a:pt x="36" y="28"/>
                  </a:lnTo>
                  <a:lnTo>
                    <a:pt x="36" y="30"/>
                  </a:lnTo>
                  <a:lnTo>
                    <a:pt x="36" y="32"/>
                  </a:lnTo>
                  <a:lnTo>
                    <a:pt x="38" y="40"/>
                  </a:lnTo>
                  <a:lnTo>
                    <a:pt x="40" y="50"/>
                  </a:lnTo>
                  <a:lnTo>
                    <a:pt x="40" y="54"/>
                  </a:lnTo>
                  <a:lnTo>
                    <a:pt x="40" y="60"/>
                  </a:lnTo>
                  <a:lnTo>
                    <a:pt x="40" y="66"/>
                  </a:lnTo>
                  <a:lnTo>
                    <a:pt x="40" y="72"/>
                  </a:lnTo>
                  <a:lnTo>
                    <a:pt x="40" y="78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38" y="98"/>
                  </a:lnTo>
                  <a:lnTo>
                    <a:pt x="36" y="102"/>
                  </a:lnTo>
                  <a:lnTo>
                    <a:pt x="36" y="104"/>
                  </a:lnTo>
                  <a:lnTo>
                    <a:pt x="34" y="106"/>
                  </a:lnTo>
                  <a:lnTo>
                    <a:pt x="34" y="108"/>
                  </a:lnTo>
                  <a:lnTo>
                    <a:pt x="32" y="108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0" y="112"/>
                  </a:lnTo>
                  <a:lnTo>
                    <a:pt x="28" y="112"/>
                  </a:lnTo>
                  <a:lnTo>
                    <a:pt x="26" y="112"/>
                  </a:lnTo>
                  <a:lnTo>
                    <a:pt x="24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18" y="118"/>
                  </a:lnTo>
                  <a:lnTo>
                    <a:pt x="18" y="120"/>
                  </a:lnTo>
                  <a:lnTo>
                    <a:pt x="16" y="122"/>
                  </a:lnTo>
                  <a:lnTo>
                    <a:pt x="16" y="122"/>
                  </a:lnTo>
                  <a:lnTo>
                    <a:pt x="14" y="122"/>
                  </a:lnTo>
                  <a:lnTo>
                    <a:pt x="14" y="124"/>
                  </a:lnTo>
                  <a:lnTo>
                    <a:pt x="12" y="126"/>
                  </a:lnTo>
                  <a:lnTo>
                    <a:pt x="8" y="126"/>
                  </a:lnTo>
                  <a:lnTo>
                    <a:pt x="8" y="128"/>
                  </a:lnTo>
                  <a:lnTo>
                    <a:pt x="6" y="128"/>
                  </a:lnTo>
                  <a:lnTo>
                    <a:pt x="4" y="130"/>
                  </a:lnTo>
                  <a:lnTo>
                    <a:pt x="4" y="132"/>
                  </a:lnTo>
                  <a:lnTo>
                    <a:pt x="2" y="134"/>
                  </a:lnTo>
                  <a:lnTo>
                    <a:pt x="2" y="136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0" y="142"/>
                  </a:lnTo>
                  <a:lnTo>
                    <a:pt x="0" y="144"/>
                  </a:lnTo>
                  <a:lnTo>
                    <a:pt x="0" y="148"/>
                  </a:lnTo>
                  <a:lnTo>
                    <a:pt x="2" y="150"/>
                  </a:lnTo>
                  <a:lnTo>
                    <a:pt x="2" y="150"/>
                  </a:lnTo>
                  <a:lnTo>
                    <a:pt x="4" y="150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2"/>
                  </a:lnTo>
                  <a:lnTo>
                    <a:pt x="8" y="154"/>
                  </a:lnTo>
                  <a:lnTo>
                    <a:pt x="10" y="154"/>
                  </a:lnTo>
                  <a:lnTo>
                    <a:pt x="10" y="158"/>
                  </a:lnTo>
                  <a:lnTo>
                    <a:pt x="10" y="158"/>
                  </a:lnTo>
                  <a:lnTo>
                    <a:pt x="10" y="160"/>
                  </a:lnTo>
                  <a:lnTo>
                    <a:pt x="10" y="162"/>
                  </a:lnTo>
                  <a:lnTo>
                    <a:pt x="12" y="164"/>
                  </a:lnTo>
                  <a:lnTo>
                    <a:pt x="14" y="168"/>
                  </a:lnTo>
                  <a:lnTo>
                    <a:pt x="18" y="174"/>
                  </a:lnTo>
                  <a:lnTo>
                    <a:pt x="20" y="178"/>
                  </a:lnTo>
                  <a:lnTo>
                    <a:pt x="20" y="180"/>
                  </a:lnTo>
                  <a:lnTo>
                    <a:pt x="22" y="182"/>
                  </a:lnTo>
                  <a:lnTo>
                    <a:pt x="22" y="184"/>
                  </a:lnTo>
                  <a:lnTo>
                    <a:pt x="22" y="186"/>
                  </a:lnTo>
                  <a:lnTo>
                    <a:pt x="22" y="186"/>
                  </a:lnTo>
                  <a:lnTo>
                    <a:pt x="22" y="188"/>
                  </a:lnTo>
                  <a:lnTo>
                    <a:pt x="22" y="190"/>
                  </a:lnTo>
                  <a:lnTo>
                    <a:pt x="22" y="190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18" y="192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4" y="194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4"/>
                  </a:lnTo>
                  <a:lnTo>
                    <a:pt x="18" y="196"/>
                  </a:lnTo>
                  <a:lnTo>
                    <a:pt x="18" y="196"/>
                  </a:lnTo>
                  <a:lnTo>
                    <a:pt x="18" y="196"/>
                  </a:lnTo>
                  <a:lnTo>
                    <a:pt x="20" y="198"/>
                  </a:lnTo>
                  <a:lnTo>
                    <a:pt x="20" y="200"/>
                  </a:lnTo>
                  <a:lnTo>
                    <a:pt x="20" y="202"/>
                  </a:lnTo>
                  <a:lnTo>
                    <a:pt x="20" y="204"/>
                  </a:lnTo>
                  <a:lnTo>
                    <a:pt x="22" y="204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24" y="208"/>
                  </a:lnTo>
                  <a:lnTo>
                    <a:pt x="26" y="210"/>
                  </a:lnTo>
                  <a:lnTo>
                    <a:pt x="26" y="212"/>
                  </a:lnTo>
                  <a:lnTo>
                    <a:pt x="26" y="212"/>
                  </a:lnTo>
                  <a:lnTo>
                    <a:pt x="26" y="212"/>
                  </a:lnTo>
                  <a:lnTo>
                    <a:pt x="26" y="214"/>
                  </a:lnTo>
                  <a:lnTo>
                    <a:pt x="26" y="216"/>
                  </a:lnTo>
                  <a:lnTo>
                    <a:pt x="26" y="218"/>
                  </a:lnTo>
                  <a:lnTo>
                    <a:pt x="26" y="218"/>
                  </a:lnTo>
                  <a:lnTo>
                    <a:pt x="26" y="220"/>
                  </a:lnTo>
                  <a:lnTo>
                    <a:pt x="24" y="220"/>
                  </a:lnTo>
                  <a:lnTo>
                    <a:pt x="24" y="220"/>
                  </a:lnTo>
                  <a:lnTo>
                    <a:pt x="22" y="222"/>
                  </a:lnTo>
                  <a:lnTo>
                    <a:pt x="20" y="222"/>
                  </a:lnTo>
                  <a:lnTo>
                    <a:pt x="18" y="224"/>
                  </a:lnTo>
                  <a:lnTo>
                    <a:pt x="18" y="224"/>
                  </a:lnTo>
                  <a:lnTo>
                    <a:pt x="18" y="224"/>
                  </a:lnTo>
                  <a:lnTo>
                    <a:pt x="18" y="226"/>
                  </a:lnTo>
                  <a:lnTo>
                    <a:pt x="18" y="226"/>
                  </a:lnTo>
                  <a:lnTo>
                    <a:pt x="18" y="228"/>
                  </a:lnTo>
                  <a:lnTo>
                    <a:pt x="18" y="230"/>
                  </a:lnTo>
                  <a:lnTo>
                    <a:pt x="20" y="232"/>
                  </a:lnTo>
                  <a:lnTo>
                    <a:pt x="20" y="234"/>
                  </a:lnTo>
                  <a:lnTo>
                    <a:pt x="22" y="236"/>
                  </a:lnTo>
                  <a:lnTo>
                    <a:pt x="22" y="238"/>
                  </a:lnTo>
                  <a:lnTo>
                    <a:pt x="24" y="240"/>
                  </a:lnTo>
                  <a:lnTo>
                    <a:pt x="28" y="242"/>
                  </a:lnTo>
                  <a:lnTo>
                    <a:pt x="30" y="244"/>
                  </a:lnTo>
                  <a:lnTo>
                    <a:pt x="30" y="246"/>
                  </a:lnTo>
                  <a:lnTo>
                    <a:pt x="32" y="248"/>
                  </a:lnTo>
                  <a:lnTo>
                    <a:pt x="32" y="250"/>
                  </a:lnTo>
                  <a:lnTo>
                    <a:pt x="34" y="256"/>
                  </a:lnTo>
                  <a:lnTo>
                    <a:pt x="38" y="262"/>
                  </a:lnTo>
                  <a:lnTo>
                    <a:pt x="40" y="260"/>
                  </a:lnTo>
                  <a:lnTo>
                    <a:pt x="44" y="258"/>
                  </a:lnTo>
                  <a:lnTo>
                    <a:pt x="44" y="258"/>
                  </a:lnTo>
                  <a:lnTo>
                    <a:pt x="46" y="258"/>
                  </a:lnTo>
                  <a:lnTo>
                    <a:pt x="46" y="258"/>
                  </a:lnTo>
                  <a:lnTo>
                    <a:pt x="48" y="258"/>
                  </a:lnTo>
                  <a:lnTo>
                    <a:pt x="50" y="258"/>
                  </a:lnTo>
                  <a:lnTo>
                    <a:pt x="54" y="258"/>
                  </a:lnTo>
                  <a:lnTo>
                    <a:pt x="54" y="258"/>
                  </a:lnTo>
                  <a:lnTo>
                    <a:pt x="56" y="258"/>
                  </a:lnTo>
                  <a:lnTo>
                    <a:pt x="58" y="258"/>
                  </a:lnTo>
                  <a:lnTo>
                    <a:pt x="60" y="258"/>
                  </a:lnTo>
                  <a:lnTo>
                    <a:pt x="60" y="258"/>
                  </a:lnTo>
                  <a:lnTo>
                    <a:pt x="60" y="258"/>
                  </a:lnTo>
                  <a:lnTo>
                    <a:pt x="60" y="258"/>
                  </a:lnTo>
                  <a:lnTo>
                    <a:pt x="62" y="256"/>
                  </a:lnTo>
                  <a:lnTo>
                    <a:pt x="62" y="256"/>
                  </a:lnTo>
                  <a:lnTo>
                    <a:pt x="62" y="254"/>
                  </a:lnTo>
                  <a:lnTo>
                    <a:pt x="62" y="252"/>
                  </a:lnTo>
                  <a:lnTo>
                    <a:pt x="64" y="250"/>
                  </a:lnTo>
                  <a:lnTo>
                    <a:pt x="64" y="250"/>
                  </a:lnTo>
                  <a:lnTo>
                    <a:pt x="64" y="250"/>
                  </a:lnTo>
                  <a:lnTo>
                    <a:pt x="64" y="250"/>
                  </a:lnTo>
                  <a:lnTo>
                    <a:pt x="64" y="248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70" y="248"/>
                  </a:lnTo>
                  <a:lnTo>
                    <a:pt x="72" y="248"/>
                  </a:lnTo>
                  <a:lnTo>
                    <a:pt x="74" y="248"/>
                  </a:lnTo>
                  <a:lnTo>
                    <a:pt x="76" y="248"/>
                  </a:lnTo>
                  <a:lnTo>
                    <a:pt x="78" y="248"/>
                  </a:lnTo>
                  <a:lnTo>
                    <a:pt x="80" y="248"/>
                  </a:lnTo>
                  <a:lnTo>
                    <a:pt x="80" y="248"/>
                  </a:lnTo>
                  <a:lnTo>
                    <a:pt x="80" y="248"/>
                  </a:lnTo>
                  <a:lnTo>
                    <a:pt x="82" y="246"/>
                  </a:lnTo>
                  <a:lnTo>
                    <a:pt x="82" y="246"/>
                  </a:lnTo>
                  <a:lnTo>
                    <a:pt x="84" y="244"/>
                  </a:lnTo>
                  <a:lnTo>
                    <a:pt x="84" y="242"/>
                  </a:lnTo>
                  <a:lnTo>
                    <a:pt x="86" y="240"/>
                  </a:lnTo>
                  <a:lnTo>
                    <a:pt x="86" y="238"/>
                  </a:lnTo>
                  <a:lnTo>
                    <a:pt x="88" y="238"/>
                  </a:lnTo>
                  <a:lnTo>
                    <a:pt x="88" y="238"/>
                  </a:lnTo>
                  <a:lnTo>
                    <a:pt x="90" y="238"/>
                  </a:lnTo>
                  <a:lnTo>
                    <a:pt x="90" y="236"/>
                  </a:lnTo>
                  <a:lnTo>
                    <a:pt x="92" y="236"/>
                  </a:lnTo>
                  <a:lnTo>
                    <a:pt x="94" y="236"/>
                  </a:lnTo>
                  <a:lnTo>
                    <a:pt x="96" y="236"/>
                  </a:lnTo>
                  <a:lnTo>
                    <a:pt x="98" y="236"/>
                  </a:lnTo>
                  <a:lnTo>
                    <a:pt x="100" y="236"/>
                  </a:lnTo>
                  <a:lnTo>
                    <a:pt x="100" y="234"/>
                  </a:lnTo>
                  <a:lnTo>
                    <a:pt x="102" y="234"/>
                  </a:lnTo>
                  <a:lnTo>
                    <a:pt x="102" y="234"/>
                  </a:lnTo>
                  <a:lnTo>
                    <a:pt x="102" y="234"/>
                  </a:lnTo>
                  <a:lnTo>
                    <a:pt x="104" y="232"/>
                  </a:lnTo>
                  <a:lnTo>
                    <a:pt x="104" y="230"/>
                  </a:lnTo>
                  <a:lnTo>
                    <a:pt x="104" y="230"/>
                  </a:lnTo>
                  <a:lnTo>
                    <a:pt x="106" y="226"/>
                  </a:lnTo>
                  <a:lnTo>
                    <a:pt x="106" y="224"/>
                  </a:lnTo>
                  <a:lnTo>
                    <a:pt x="106" y="224"/>
                  </a:lnTo>
                  <a:lnTo>
                    <a:pt x="108" y="224"/>
                  </a:lnTo>
                  <a:lnTo>
                    <a:pt x="108" y="222"/>
                  </a:lnTo>
                  <a:lnTo>
                    <a:pt x="112" y="222"/>
                  </a:lnTo>
                  <a:lnTo>
                    <a:pt x="114" y="220"/>
                  </a:lnTo>
                  <a:lnTo>
                    <a:pt x="116" y="220"/>
                  </a:lnTo>
                  <a:lnTo>
                    <a:pt x="116" y="220"/>
                  </a:lnTo>
                  <a:lnTo>
                    <a:pt x="118" y="218"/>
                  </a:lnTo>
                  <a:lnTo>
                    <a:pt x="118" y="218"/>
                  </a:lnTo>
                  <a:lnTo>
                    <a:pt x="118" y="216"/>
                  </a:lnTo>
                  <a:lnTo>
                    <a:pt x="120" y="214"/>
                  </a:lnTo>
                  <a:lnTo>
                    <a:pt x="120" y="210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4" y="206"/>
                  </a:lnTo>
                  <a:lnTo>
                    <a:pt x="126" y="202"/>
                  </a:lnTo>
                  <a:lnTo>
                    <a:pt x="130" y="200"/>
                  </a:lnTo>
                  <a:lnTo>
                    <a:pt x="130" y="200"/>
                  </a:lnTo>
                  <a:lnTo>
                    <a:pt x="132" y="198"/>
                  </a:lnTo>
                  <a:lnTo>
                    <a:pt x="132" y="198"/>
                  </a:lnTo>
                  <a:lnTo>
                    <a:pt x="134" y="198"/>
                  </a:lnTo>
                  <a:lnTo>
                    <a:pt x="136" y="198"/>
                  </a:lnTo>
                  <a:lnTo>
                    <a:pt x="138" y="196"/>
                  </a:lnTo>
                  <a:lnTo>
                    <a:pt x="138" y="196"/>
                  </a:lnTo>
                  <a:lnTo>
                    <a:pt x="138" y="196"/>
                  </a:lnTo>
                  <a:lnTo>
                    <a:pt x="140" y="196"/>
                  </a:lnTo>
                  <a:lnTo>
                    <a:pt x="140" y="194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0"/>
                  </a:lnTo>
                  <a:lnTo>
                    <a:pt x="142" y="188"/>
                  </a:lnTo>
                  <a:lnTo>
                    <a:pt x="142" y="186"/>
                  </a:lnTo>
                  <a:lnTo>
                    <a:pt x="142" y="184"/>
                  </a:lnTo>
                  <a:lnTo>
                    <a:pt x="142" y="184"/>
                  </a:lnTo>
                  <a:lnTo>
                    <a:pt x="140" y="184"/>
                  </a:lnTo>
                  <a:lnTo>
                    <a:pt x="140" y="184"/>
                  </a:lnTo>
                  <a:lnTo>
                    <a:pt x="138" y="182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36" y="180"/>
                  </a:lnTo>
                  <a:lnTo>
                    <a:pt x="134" y="180"/>
                  </a:lnTo>
                  <a:lnTo>
                    <a:pt x="134" y="180"/>
                  </a:lnTo>
                  <a:lnTo>
                    <a:pt x="134" y="178"/>
                  </a:lnTo>
                  <a:lnTo>
                    <a:pt x="134" y="178"/>
                  </a:lnTo>
                  <a:lnTo>
                    <a:pt x="134" y="176"/>
                  </a:lnTo>
                  <a:lnTo>
                    <a:pt x="134" y="174"/>
                  </a:lnTo>
                  <a:lnTo>
                    <a:pt x="134" y="172"/>
                  </a:lnTo>
                  <a:lnTo>
                    <a:pt x="134" y="170"/>
                  </a:lnTo>
                  <a:lnTo>
                    <a:pt x="132" y="170"/>
                  </a:lnTo>
                  <a:lnTo>
                    <a:pt x="132" y="170"/>
                  </a:lnTo>
                  <a:lnTo>
                    <a:pt x="132" y="170"/>
                  </a:lnTo>
                  <a:lnTo>
                    <a:pt x="132" y="168"/>
                  </a:lnTo>
                  <a:lnTo>
                    <a:pt x="130" y="168"/>
                  </a:lnTo>
                  <a:lnTo>
                    <a:pt x="128" y="168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4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2"/>
                  </a:lnTo>
                  <a:lnTo>
                    <a:pt x="122" y="160"/>
                  </a:lnTo>
                  <a:lnTo>
                    <a:pt x="122" y="158"/>
                  </a:lnTo>
                  <a:lnTo>
                    <a:pt x="122" y="158"/>
                  </a:lnTo>
                  <a:lnTo>
                    <a:pt x="122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8" y="156"/>
                  </a:lnTo>
                  <a:lnTo>
                    <a:pt x="130" y="156"/>
                  </a:lnTo>
                  <a:lnTo>
                    <a:pt x="132" y="156"/>
                  </a:lnTo>
                  <a:lnTo>
                    <a:pt x="132" y="156"/>
                  </a:lnTo>
                  <a:lnTo>
                    <a:pt x="134" y="156"/>
                  </a:lnTo>
                  <a:lnTo>
                    <a:pt x="134" y="156"/>
                  </a:lnTo>
                  <a:lnTo>
                    <a:pt x="134" y="154"/>
                  </a:lnTo>
                  <a:lnTo>
                    <a:pt x="134" y="154"/>
                  </a:lnTo>
                  <a:lnTo>
                    <a:pt x="136" y="154"/>
                  </a:lnTo>
                  <a:lnTo>
                    <a:pt x="136" y="152"/>
                  </a:lnTo>
                  <a:lnTo>
                    <a:pt x="136" y="150"/>
                  </a:lnTo>
                  <a:lnTo>
                    <a:pt x="136" y="148"/>
                  </a:lnTo>
                  <a:lnTo>
                    <a:pt x="136" y="144"/>
                  </a:lnTo>
                  <a:lnTo>
                    <a:pt x="138" y="142"/>
                  </a:lnTo>
                  <a:lnTo>
                    <a:pt x="138" y="140"/>
                  </a:lnTo>
                  <a:lnTo>
                    <a:pt x="140" y="136"/>
                  </a:lnTo>
                  <a:lnTo>
                    <a:pt x="142" y="132"/>
                  </a:lnTo>
                  <a:lnTo>
                    <a:pt x="142" y="130"/>
                  </a:lnTo>
                  <a:lnTo>
                    <a:pt x="144" y="126"/>
                  </a:lnTo>
                  <a:lnTo>
                    <a:pt x="146" y="126"/>
                  </a:lnTo>
                  <a:lnTo>
                    <a:pt x="146" y="124"/>
                  </a:lnTo>
                  <a:lnTo>
                    <a:pt x="148" y="124"/>
                  </a:lnTo>
                  <a:lnTo>
                    <a:pt x="148" y="122"/>
                  </a:lnTo>
                  <a:lnTo>
                    <a:pt x="152" y="122"/>
                  </a:lnTo>
                  <a:lnTo>
                    <a:pt x="152" y="122"/>
                  </a:lnTo>
                  <a:lnTo>
                    <a:pt x="154" y="122"/>
                  </a:lnTo>
                  <a:lnTo>
                    <a:pt x="156" y="122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58" y="118"/>
                  </a:lnTo>
                  <a:lnTo>
                    <a:pt x="158" y="118"/>
                  </a:lnTo>
                  <a:lnTo>
                    <a:pt x="158" y="116"/>
                  </a:lnTo>
                  <a:lnTo>
                    <a:pt x="158" y="114"/>
                  </a:lnTo>
                  <a:lnTo>
                    <a:pt x="158" y="110"/>
                  </a:lnTo>
                  <a:lnTo>
                    <a:pt x="160" y="106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8" y="90"/>
                  </a:lnTo>
                  <a:lnTo>
                    <a:pt x="158" y="84"/>
                  </a:lnTo>
                  <a:lnTo>
                    <a:pt x="158" y="78"/>
                  </a:lnTo>
                  <a:lnTo>
                    <a:pt x="154" y="78"/>
                  </a:lnTo>
                  <a:lnTo>
                    <a:pt x="150" y="78"/>
                  </a:lnTo>
                  <a:lnTo>
                    <a:pt x="148" y="76"/>
                  </a:lnTo>
                  <a:lnTo>
                    <a:pt x="148" y="76"/>
                  </a:lnTo>
                  <a:lnTo>
                    <a:pt x="146" y="76"/>
                  </a:lnTo>
                  <a:lnTo>
                    <a:pt x="144" y="76"/>
                  </a:lnTo>
                  <a:lnTo>
                    <a:pt x="142" y="74"/>
                  </a:lnTo>
                  <a:lnTo>
                    <a:pt x="138" y="70"/>
                  </a:lnTo>
                  <a:lnTo>
                    <a:pt x="134" y="68"/>
                  </a:lnTo>
                  <a:lnTo>
                    <a:pt x="128" y="62"/>
                  </a:lnTo>
                  <a:lnTo>
                    <a:pt x="126" y="60"/>
                  </a:lnTo>
                  <a:lnTo>
                    <a:pt x="124" y="58"/>
                  </a:lnTo>
                  <a:lnTo>
                    <a:pt x="120" y="56"/>
                  </a:lnTo>
                  <a:lnTo>
                    <a:pt x="118" y="54"/>
                  </a:lnTo>
                  <a:lnTo>
                    <a:pt x="114" y="52"/>
                  </a:lnTo>
                  <a:lnTo>
                    <a:pt x="110" y="50"/>
                  </a:lnTo>
                  <a:lnTo>
                    <a:pt x="108" y="50"/>
                  </a:lnTo>
                  <a:lnTo>
                    <a:pt x="102" y="48"/>
                  </a:lnTo>
                  <a:lnTo>
                    <a:pt x="98" y="46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0" y="42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88" y="38"/>
                  </a:lnTo>
                  <a:lnTo>
                    <a:pt x="88" y="34"/>
                  </a:lnTo>
                  <a:lnTo>
                    <a:pt x="86" y="32"/>
                  </a:lnTo>
                  <a:lnTo>
                    <a:pt x="86" y="30"/>
                  </a:lnTo>
                  <a:lnTo>
                    <a:pt x="84" y="30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2" y="28"/>
                  </a:lnTo>
                  <a:lnTo>
                    <a:pt x="80" y="28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4" y="26"/>
                  </a:lnTo>
                  <a:lnTo>
                    <a:pt x="70" y="26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4" y="14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0"/>
                  </a:lnTo>
                  <a:lnTo>
                    <a:pt x="44" y="10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91" name="Freeform 440">
              <a:extLst>
                <a:ext uri="{FF2B5EF4-FFF2-40B4-BE49-F238E27FC236}">
                  <a16:creationId xmlns:a16="http://schemas.microsoft.com/office/drawing/2014/main" id="{299A3345-CBE1-4ED9-87D3-22C101E37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2122" y="3999331"/>
              <a:ext cx="389522" cy="317586"/>
            </a:xfrm>
            <a:custGeom>
              <a:avLst/>
              <a:gdLst>
                <a:gd name="T0" fmla="*/ 54 w 228"/>
                <a:gd name="T1" fmla="*/ 184 h 190"/>
                <a:gd name="T2" fmla="*/ 60 w 228"/>
                <a:gd name="T3" fmla="*/ 172 h 190"/>
                <a:gd name="T4" fmla="*/ 68 w 228"/>
                <a:gd name="T5" fmla="*/ 168 h 190"/>
                <a:gd name="T6" fmla="*/ 84 w 228"/>
                <a:gd name="T7" fmla="*/ 168 h 190"/>
                <a:gd name="T8" fmla="*/ 90 w 228"/>
                <a:gd name="T9" fmla="*/ 174 h 190"/>
                <a:gd name="T10" fmla="*/ 92 w 228"/>
                <a:gd name="T11" fmla="*/ 178 h 190"/>
                <a:gd name="T12" fmla="*/ 94 w 228"/>
                <a:gd name="T13" fmla="*/ 174 h 190"/>
                <a:gd name="T14" fmla="*/ 98 w 228"/>
                <a:gd name="T15" fmla="*/ 170 h 190"/>
                <a:gd name="T16" fmla="*/ 114 w 228"/>
                <a:gd name="T17" fmla="*/ 170 h 190"/>
                <a:gd name="T18" fmla="*/ 124 w 228"/>
                <a:gd name="T19" fmla="*/ 170 h 190"/>
                <a:gd name="T20" fmla="*/ 132 w 228"/>
                <a:gd name="T21" fmla="*/ 176 h 190"/>
                <a:gd name="T22" fmla="*/ 142 w 228"/>
                <a:gd name="T23" fmla="*/ 178 h 190"/>
                <a:gd name="T24" fmla="*/ 144 w 228"/>
                <a:gd name="T25" fmla="*/ 176 h 190"/>
                <a:gd name="T26" fmla="*/ 146 w 228"/>
                <a:gd name="T27" fmla="*/ 170 h 190"/>
                <a:gd name="T28" fmla="*/ 152 w 228"/>
                <a:gd name="T29" fmla="*/ 168 h 190"/>
                <a:gd name="T30" fmla="*/ 166 w 228"/>
                <a:gd name="T31" fmla="*/ 170 h 190"/>
                <a:gd name="T32" fmla="*/ 170 w 228"/>
                <a:gd name="T33" fmla="*/ 178 h 190"/>
                <a:gd name="T34" fmla="*/ 174 w 228"/>
                <a:gd name="T35" fmla="*/ 178 h 190"/>
                <a:gd name="T36" fmla="*/ 180 w 228"/>
                <a:gd name="T37" fmla="*/ 170 h 190"/>
                <a:gd name="T38" fmla="*/ 188 w 228"/>
                <a:gd name="T39" fmla="*/ 156 h 190"/>
                <a:gd name="T40" fmla="*/ 192 w 228"/>
                <a:gd name="T41" fmla="*/ 146 h 190"/>
                <a:gd name="T42" fmla="*/ 202 w 228"/>
                <a:gd name="T43" fmla="*/ 138 h 190"/>
                <a:gd name="T44" fmla="*/ 208 w 228"/>
                <a:gd name="T45" fmla="*/ 128 h 190"/>
                <a:gd name="T46" fmla="*/ 216 w 228"/>
                <a:gd name="T47" fmla="*/ 126 h 190"/>
                <a:gd name="T48" fmla="*/ 222 w 228"/>
                <a:gd name="T49" fmla="*/ 120 h 190"/>
                <a:gd name="T50" fmla="*/ 226 w 228"/>
                <a:gd name="T51" fmla="*/ 108 h 190"/>
                <a:gd name="T52" fmla="*/ 228 w 228"/>
                <a:gd name="T53" fmla="*/ 74 h 190"/>
                <a:gd name="T54" fmla="*/ 224 w 228"/>
                <a:gd name="T55" fmla="*/ 40 h 190"/>
                <a:gd name="T56" fmla="*/ 216 w 228"/>
                <a:gd name="T57" fmla="*/ 20 h 190"/>
                <a:gd name="T58" fmla="*/ 202 w 228"/>
                <a:gd name="T59" fmla="*/ 10 h 190"/>
                <a:gd name="T60" fmla="*/ 188 w 228"/>
                <a:gd name="T61" fmla="*/ 10 h 190"/>
                <a:gd name="T62" fmla="*/ 186 w 228"/>
                <a:gd name="T63" fmla="*/ 4 h 190"/>
                <a:gd name="T64" fmla="*/ 180 w 228"/>
                <a:gd name="T65" fmla="*/ 0 h 190"/>
                <a:gd name="T66" fmla="*/ 164 w 228"/>
                <a:gd name="T67" fmla="*/ 4 h 190"/>
                <a:gd name="T68" fmla="*/ 154 w 228"/>
                <a:gd name="T69" fmla="*/ 12 h 190"/>
                <a:gd name="T70" fmla="*/ 136 w 228"/>
                <a:gd name="T71" fmla="*/ 22 h 190"/>
                <a:gd name="T72" fmla="*/ 130 w 228"/>
                <a:gd name="T73" fmla="*/ 32 h 190"/>
                <a:gd name="T74" fmla="*/ 122 w 228"/>
                <a:gd name="T75" fmla="*/ 36 h 190"/>
                <a:gd name="T76" fmla="*/ 106 w 228"/>
                <a:gd name="T77" fmla="*/ 40 h 190"/>
                <a:gd name="T78" fmla="*/ 102 w 228"/>
                <a:gd name="T79" fmla="*/ 46 h 190"/>
                <a:gd name="T80" fmla="*/ 100 w 228"/>
                <a:gd name="T81" fmla="*/ 54 h 190"/>
                <a:gd name="T82" fmla="*/ 90 w 228"/>
                <a:gd name="T83" fmla="*/ 60 h 190"/>
                <a:gd name="T84" fmla="*/ 82 w 228"/>
                <a:gd name="T85" fmla="*/ 68 h 190"/>
                <a:gd name="T86" fmla="*/ 70 w 228"/>
                <a:gd name="T87" fmla="*/ 68 h 190"/>
                <a:gd name="T88" fmla="*/ 60 w 228"/>
                <a:gd name="T89" fmla="*/ 68 h 190"/>
                <a:gd name="T90" fmla="*/ 56 w 228"/>
                <a:gd name="T91" fmla="*/ 76 h 190"/>
                <a:gd name="T92" fmla="*/ 62 w 228"/>
                <a:gd name="T93" fmla="*/ 106 h 190"/>
                <a:gd name="T94" fmla="*/ 60 w 228"/>
                <a:gd name="T95" fmla="*/ 122 h 190"/>
                <a:gd name="T96" fmla="*/ 58 w 228"/>
                <a:gd name="T97" fmla="*/ 126 h 190"/>
                <a:gd name="T98" fmla="*/ 50 w 228"/>
                <a:gd name="T99" fmla="*/ 126 h 190"/>
                <a:gd name="T100" fmla="*/ 50 w 228"/>
                <a:gd name="T101" fmla="*/ 130 h 190"/>
                <a:gd name="T102" fmla="*/ 48 w 228"/>
                <a:gd name="T103" fmla="*/ 136 h 190"/>
                <a:gd name="T104" fmla="*/ 40 w 228"/>
                <a:gd name="T105" fmla="*/ 138 h 190"/>
                <a:gd name="T106" fmla="*/ 16 w 228"/>
                <a:gd name="T107" fmla="*/ 140 h 190"/>
                <a:gd name="T108" fmla="*/ 0 w 228"/>
                <a:gd name="T109" fmla="*/ 148 h 190"/>
                <a:gd name="T110" fmla="*/ 6 w 228"/>
                <a:gd name="T111" fmla="*/ 158 h 190"/>
                <a:gd name="T112" fmla="*/ 14 w 228"/>
                <a:gd name="T113" fmla="*/ 162 h 190"/>
                <a:gd name="T114" fmla="*/ 14 w 228"/>
                <a:gd name="T115" fmla="*/ 174 h 190"/>
                <a:gd name="T116" fmla="*/ 16 w 228"/>
                <a:gd name="T117" fmla="*/ 178 h 190"/>
                <a:gd name="T118" fmla="*/ 26 w 228"/>
                <a:gd name="T119" fmla="*/ 178 h 190"/>
                <a:gd name="T120" fmla="*/ 32 w 228"/>
                <a:gd name="T121" fmla="*/ 188 h 190"/>
                <a:gd name="T122" fmla="*/ 52 w 228"/>
                <a:gd name="T123" fmla="*/ 18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8" h="190">
                  <a:moveTo>
                    <a:pt x="52" y="188"/>
                  </a:moveTo>
                  <a:lnTo>
                    <a:pt x="52" y="188"/>
                  </a:lnTo>
                  <a:lnTo>
                    <a:pt x="52" y="188"/>
                  </a:lnTo>
                  <a:lnTo>
                    <a:pt x="52" y="186"/>
                  </a:lnTo>
                  <a:lnTo>
                    <a:pt x="52" y="186"/>
                  </a:lnTo>
                  <a:lnTo>
                    <a:pt x="54" y="184"/>
                  </a:lnTo>
                  <a:lnTo>
                    <a:pt x="54" y="182"/>
                  </a:lnTo>
                  <a:lnTo>
                    <a:pt x="56" y="180"/>
                  </a:lnTo>
                  <a:lnTo>
                    <a:pt x="56" y="178"/>
                  </a:lnTo>
                  <a:lnTo>
                    <a:pt x="58" y="174"/>
                  </a:lnTo>
                  <a:lnTo>
                    <a:pt x="58" y="174"/>
                  </a:lnTo>
                  <a:lnTo>
                    <a:pt x="60" y="172"/>
                  </a:lnTo>
                  <a:lnTo>
                    <a:pt x="60" y="170"/>
                  </a:lnTo>
                  <a:lnTo>
                    <a:pt x="62" y="170"/>
                  </a:lnTo>
                  <a:lnTo>
                    <a:pt x="62" y="170"/>
                  </a:lnTo>
                  <a:lnTo>
                    <a:pt x="64" y="168"/>
                  </a:lnTo>
                  <a:lnTo>
                    <a:pt x="66" y="168"/>
                  </a:lnTo>
                  <a:lnTo>
                    <a:pt x="68" y="168"/>
                  </a:lnTo>
                  <a:lnTo>
                    <a:pt x="72" y="166"/>
                  </a:lnTo>
                  <a:lnTo>
                    <a:pt x="74" y="166"/>
                  </a:lnTo>
                  <a:lnTo>
                    <a:pt x="78" y="166"/>
                  </a:lnTo>
                  <a:lnTo>
                    <a:pt x="80" y="166"/>
                  </a:lnTo>
                  <a:lnTo>
                    <a:pt x="82" y="166"/>
                  </a:lnTo>
                  <a:lnTo>
                    <a:pt x="84" y="168"/>
                  </a:lnTo>
                  <a:lnTo>
                    <a:pt x="86" y="168"/>
                  </a:lnTo>
                  <a:lnTo>
                    <a:pt x="86" y="168"/>
                  </a:lnTo>
                  <a:lnTo>
                    <a:pt x="86" y="168"/>
                  </a:lnTo>
                  <a:lnTo>
                    <a:pt x="88" y="168"/>
                  </a:lnTo>
                  <a:lnTo>
                    <a:pt x="88" y="170"/>
                  </a:lnTo>
                  <a:lnTo>
                    <a:pt x="90" y="174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4" y="178"/>
                  </a:lnTo>
                  <a:lnTo>
                    <a:pt x="94" y="178"/>
                  </a:lnTo>
                  <a:lnTo>
                    <a:pt x="94" y="176"/>
                  </a:lnTo>
                  <a:lnTo>
                    <a:pt x="94" y="176"/>
                  </a:lnTo>
                  <a:lnTo>
                    <a:pt x="94" y="174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98" y="170"/>
                  </a:lnTo>
                  <a:lnTo>
                    <a:pt x="100" y="170"/>
                  </a:lnTo>
                  <a:lnTo>
                    <a:pt x="102" y="170"/>
                  </a:lnTo>
                  <a:lnTo>
                    <a:pt x="108" y="170"/>
                  </a:lnTo>
                  <a:lnTo>
                    <a:pt x="110" y="170"/>
                  </a:lnTo>
                  <a:lnTo>
                    <a:pt x="112" y="170"/>
                  </a:lnTo>
                  <a:lnTo>
                    <a:pt x="114" y="170"/>
                  </a:lnTo>
                  <a:lnTo>
                    <a:pt x="118" y="168"/>
                  </a:lnTo>
                  <a:lnTo>
                    <a:pt x="120" y="168"/>
                  </a:lnTo>
                  <a:lnTo>
                    <a:pt x="120" y="168"/>
                  </a:lnTo>
                  <a:lnTo>
                    <a:pt x="122" y="168"/>
                  </a:lnTo>
                  <a:lnTo>
                    <a:pt x="124" y="168"/>
                  </a:lnTo>
                  <a:lnTo>
                    <a:pt x="124" y="170"/>
                  </a:lnTo>
                  <a:lnTo>
                    <a:pt x="126" y="170"/>
                  </a:lnTo>
                  <a:lnTo>
                    <a:pt x="126" y="172"/>
                  </a:lnTo>
                  <a:lnTo>
                    <a:pt x="128" y="172"/>
                  </a:lnTo>
                  <a:lnTo>
                    <a:pt x="130" y="176"/>
                  </a:lnTo>
                  <a:lnTo>
                    <a:pt x="130" y="176"/>
                  </a:lnTo>
                  <a:lnTo>
                    <a:pt x="132" y="176"/>
                  </a:lnTo>
                  <a:lnTo>
                    <a:pt x="132" y="178"/>
                  </a:lnTo>
                  <a:lnTo>
                    <a:pt x="134" y="178"/>
                  </a:lnTo>
                  <a:lnTo>
                    <a:pt x="136" y="178"/>
                  </a:lnTo>
                  <a:lnTo>
                    <a:pt x="138" y="178"/>
                  </a:lnTo>
                  <a:lnTo>
                    <a:pt x="140" y="178"/>
                  </a:lnTo>
                  <a:lnTo>
                    <a:pt x="142" y="178"/>
                  </a:lnTo>
                  <a:lnTo>
                    <a:pt x="142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6"/>
                  </a:lnTo>
                  <a:lnTo>
                    <a:pt x="144" y="176"/>
                  </a:lnTo>
                  <a:lnTo>
                    <a:pt x="144" y="174"/>
                  </a:lnTo>
                  <a:lnTo>
                    <a:pt x="144" y="172"/>
                  </a:lnTo>
                  <a:lnTo>
                    <a:pt x="144" y="172"/>
                  </a:lnTo>
                  <a:lnTo>
                    <a:pt x="146" y="170"/>
                  </a:lnTo>
                  <a:lnTo>
                    <a:pt x="146" y="170"/>
                  </a:lnTo>
                  <a:lnTo>
                    <a:pt x="146" y="170"/>
                  </a:lnTo>
                  <a:lnTo>
                    <a:pt x="146" y="170"/>
                  </a:lnTo>
                  <a:lnTo>
                    <a:pt x="148" y="170"/>
                  </a:lnTo>
                  <a:lnTo>
                    <a:pt x="148" y="168"/>
                  </a:lnTo>
                  <a:lnTo>
                    <a:pt x="150" y="168"/>
                  </a:lnTo>
                  <a:lnTo>
                    <a:pt x="152" y="168"/>
                  </a:lnTo>
                  <a:lnTo>
                    <a:pt x="156" y="168"/>
                  </a:lnTo>
                  <a:lnTo>
                    <a:pt x="158" y="168"/>
                  </a:lnTo>
                  <a:lnTo>
                    <a:pt x="160" y="170"/>
                  </a:lnTo>
                  <a:lnTo>
                    <a:pt x="164" y="170"/>
                  </a:lnTo>
                  <a:lnTo>
                    <a:pt x="166" y="170"/>
                  </a:lnTo>
                  <a:lnTo>
                    <a:pt x="166" y="170"/>
                  </a:lnTo>
                  <a:lnTo>
                    <a:pt x="166" y="172"/>
                  </a:lnTo>
                  <a:lnTo>
                    <a:pt x="168" y="172"/>
                  </a:lnTo>
                  <a:lnTo>
                    <a:pt x="168" y="174"/>
                  </a:lnTo>
                  <a:lnTo>
                    <a:pt x="170" y="176"/>
                  </a:lnTo>
                  <a:lnTo>
                    <a:pt x="170" y="178"/>
                  </a:lnTo>
                  <a:lnTo>
                    <a:pt x="170" y="178"/>
                  </a:lnTo>
                  <a:lnTo>
                    <a:pt x="172" y="178"/>
                  </a:lnTo>
                  <a:lnTo>
                    <a:pt x="172" y="178"/>
                  </a:lnTo>
                  <a:lnTo>
                    <a:pt x="172" y="178"/>
                  </a:lnTo>
                  <a:lnTo>
                    <a:pt x="172" y="178"/>
                  </a:lnTo>
                  <a:lnTo>
                    <a:pt x="174" y="178"/>
                  </a:lnTo>
                  <a:lnTo>
                    <a:pt x="174" y="178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8" y="172"/>
                  </a:lnTo>
                  <a:lnTo>
                    <a:pt x="178" y="172"/>
                  </a:lnTo>
                  <a:lnTo>
                    <a:pt x="180" y="170"/>
                  </a:lnTo>
                  <a:lnTo>
                    <a:pt x="180" y="170"/>
                  </a:lnTo>
                  <a:lnTo>
                    <a:pt x="182" y="168"/>
                  </a:lnTo>
                  <a:lnTo>
                    <a:pt x="186" y="166"/>
                  </a:lnTo>
                  <a:lnTo>
                    <a:pt x="190" y="164"/>
                  </a:lnTo>
                  <a:lnTo>
                    <a:pt x="190" y="162"/>
                  </a:lnTo>
                  <a:lnTo>
                    <a:pt x="188" y="158"/>
                  </a:lnTo>
                  <a:lnTo>
                    <a:pt x="188" y="156"/>
                  </a:lnTo>
                  <a:lnTo>
                    <a:pt x="188" y="154"/>
                  </a:lnTo>
                  <a:lnTo>
                    <a:pt x="188" y="152"/>
                  </a:lnTo>
                  <a:lnTo>
                    <a:pt x="190" y="150"/>
                  </a:lnTo>
                  <a:lnTo>
                    <a:pt x="190" y="148"/>
                  </a:lnTo>
                  <a:lnTo>
                    <a:pt x="190" y="148"/>
                  </a:lnTo>
                  <a:lnTo>
                    <a:pt x="192" y="146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200" y="140"/>
                  </a:lnTo>
                  <a:lnTo>
                    <a:pt x="202" y="138"/>
                  </a:lnTo>
                  <a:lnTo>
                    <a:pt x="204" y="136"/>
                  </a:lnTo>
                  <a:lnTo>
                    <a:pt x="204" y="136"/>
                  </a:lnTo>
                  <a:lnTo>
                    <a:pt x="206" y="134"/>
                  </a:lnTo>
                  <a:lnTo>
                    <a:pt x="206" y="134"/>
                  </a:lnTo>
                  <a:lnTo>
                    <a:pt x="208" y="132"/>
                  </a:lnTo>
                  <a:lnTo>
                    <a:pt x="208" y="128"/>
                  </a:lnTo>
                  <a:lnTo>
                    <a:pt x="210" y="128"/>
                  </a:lnTo>
                  <a:lnTo>
                    <a:pt x="210" y="126"/>
                  </a:lnTo>
                  <a:lnTo>
                    <a:pt x="212" y="126"/>
                  </a:lnTo>
                  <a:lnTo>
                    <a:pt x="212" y="126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8" y="126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22" y="122"/>
                  </a:lnTo>
                  <a:lnTo>
                    <a:pt x="222" y="120"/>
                  </a:lnTo>
                  <a:lnTo>
                    <a:pt x="224" y="118"/>
                  </a:lnTo>
                  <a:lnTo>
                    <a:pt x="224" y="118"/>
                  </a:lnTo>
                  <a:lnTo>
                    <a:pt x="224" y="114"/>
                  </a:lnTo>
                  <a:lnTo>
                    <a:pt x="226" y="112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8" y="102"/>
                  </a:lnTo>
                  <a:lnTo>
                    <a:pt x="228" y="98"/>
                  </a:lnTo>
                  <a:lnTo>
                    <a:pt x="228" y="92"/>
                  </a:lnTo>
                  <a:lnTo>
                    <a:pt x="228" y="86"/>
                  </a:lnTo>
                  <a:lnTo>
                    <a:pt x="228" y="80"/>
                  </a:lnTo>
                  <a:lnTo>
                    <a:pt x="228" y="74"/>
                  </a:lnTo>
                  <a:lnTo>
                    <a:pt x="228" y="68"/>
                  </a:lnTo>
                  <a:lnTo>
                    <a:pt x="228" y="64"/>
                  </a:lnTo>
                  <a:lnTo>
                    <a:pt x="226" y="54"/>
                  </a:lnTo>
                  <a:lnTo>
                    <a:pt x="226" y="44"/>
                  </a:lnTo>
                  <a:lnTo>
                    <a:pt x="224" y="44"/>
                  </a:lnTo>
                  <a:lnTo>
                    <a:pt x="224" y="40"/>
                  </a:lnTo>
                  <a:lnTo>
                    <a:pt x="222" y="36"/>
                  </a:lnTo>
                  <a:lnTo>
                    <a:pt x="218" y="30"/>
                  </a:lnTo>
                  <a:lnTo>
                    <a:pt x="218" y="26"/>
                  </a:lnTo>
                  <a:lnTo>
                    <a:pt x="216" y="24"/>
                  </a:lnTo>
                  <a:lnTo>
                    <a:pt x="216" y="22"/>
                  </a:lnTo>
                  <a:lnTo>
                    <a:pt x="216" y="20"/>
                  </a:lnTo>
                  <a:lnTo>
                    <a:pt x="214" y="18"/>
                  </a:lnTo>
                  <a:lnTo>
                    <a:pt x="214" y="14"/>
                  </a:lnTo>
                  <a:lnTo>
                    <a:pt x="210" y="12"/>
                  </a:lnTo>
                  <a:lnTo>
                    <a:pt x="206" y="12"/>
                  </a:lnTo>
                  <a:lnTo>
                    <a:pt x="204" y="10"/>
                  </a:lnTo>
                  <a:lnTo>
                    <a:pt x="202" y="10"/>
                  </a:lnTo>
                  <a:lnTo>
                    <a:pt x="200" y="10"/>
                  </a:lnTo>
                  <a:lnTo>
                    <a:pt x="196" y="10"/>
                  </a:lnTo>
                  <a:lnTo>
                    <a:pt x="194" y="10"/>
                  </a:lnTo>
                  <a:lnTo>
                    <a:pt x="190" y="10"/>
                  </a:lnTo>
                  <a:lnTo>
                    <a:pt x="190" y="10"/>
                  </a:lnTo>
                  <a:lnTo>
                    <a:pt x="188" y="10"/>
                  </a:lnTo>
                  <a:lnTo>
                    <a:pt x="188" y="10"/>
                  </a:lnTo>
                  <a:lnTo>
                    <a:pt x="188" y="8"/>
                  </a:lnTo>
                  <a:lnTo>
                    <a:pt x="186" y="8"/>
                  </a:lnTo>
                  <a:lnTo>
                    <a:pt x="186" y="8"/>
                  </a:lnTo>
                  <a:lnTo>
                    <a:pt x="186" y="6"/>
                  </a:lnTo>
                  <a:lnTo>
                    <a:pt x="186" y="4"/>
                  </a:lnTo>
                  <a:lnTo>
                    <a:pt x="186" y="2"/>
                  </a:lnTo>
                  <a:lnTo>
                    <a:pt x="186" y="2"/>
                  </a:lnTo>
                  <a:lnTo>
                    <a:pt x="184" y="2"/>
                  </a:lnTo>
                  <a:lnTo>
                    <a:pt x="184" y="2"/>
                  </a:lnTo>
                  <a:lnTo>
                    <a:pt x="182" y="2"/>
                  </a:lnTo>
                  <a:lnTo>
                    <a:pt x="180" y="0"/>
                  </a:lnTo>
                  <a:lnTo>
                    <a:pt x="178" y="0"/>
                  </a:lnTo>
                  <a:lnTo>
                    <a:pt x="174" y="0"/>
                  </a:lnTo>
                  <a:lnTo>
                    <a:pt x="172" y="2"/>
                  </a:lnTo>
                  <a:lnTo>
                    <a:pt x="170" y="2"/>
                  </a:lnTo>
                  <a:lnTo>
                    <a:pt x="166" y="2"/>
                  </a:lnTo>
                  <a:lnTo>
                    <a:pt x="164" y="4"/>
                  </a:lnTo>
                  <a:lnTo>
                    <a:pt x="164" y="6"/>
                  </a:lnTo>
                  <a:lnTo>
                    <a:pt x="162" y="8"/>
                  </a:lnTo>
                  <a:lnTo>
                    <a:pt x="162" y="8"/>
                  </a:lnTo>
                  <a:lnTo>
                    <a:pt x="160" y="8"/>
                  </a:lnTo>
                  <a:lnTo>
                    <a:pt x="158" y="10"/>
                  </a:lnTo>
                  <a:lnTo>
                    <a:pt x="154" y="12"/>
                  </a:lnTo>
                  <a:lnTo>
                    <a:pt x="150" y="12"/>
                  </a:lnTo>
                  <a:lnTo>
                    <a:pt x="148" y="14"/>
                  </a:lnTo>
                  <a:lnTo>
                    <a:pt x="146" y="14"/>
                  </a:lnTo>
                  <a:lnTo>
                    <a:pt x="144" y="16"/>
                  </a:lnTo>
                  <a:lnTo>
                    <a:pt x="140" y="18"/>
                  </a:lnTo>
                  <a:lnTo>
                    <a:pt x="136" y="22"/>
                  </a:lnTo>
                  <a:lnTo>
                    <a:pt x="136" y="24"/>
                  </a:lnTo>
                  <a:lnTo>
                    <a:pt x="134" y="24"/>
                  </a:lnTo>
                  <a:lnTo>
                    <a:pt x="134" y="26"/>
                  </a:lnTo>
                  <a:lnTo>
                    <a:pt x="132" y="26"/>
                  </a:lnTo>
                  <a:lnTo>
                    <a:pt x="132" y="30"/>
                  </a:lnTo>
                  <a:lnTo>
                    <a:pt x="130" y="32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6" y="34"/>
                  </a:lnTo>
                  <a:lnTo>
                    <a:pt x="126" y="36"/>
                  </a:lnTo>
                  <a:lnTo>
                    <a:pt x="124" y="36"/>
                  </a:lnTo>
                  <a:lnTo>
                    <a:pt x="122" y="36"/>
                  </a:lnTo>
                  <a:lnTo>
                    <a:pt x="120" y="38"/>
                  </a:lnTo>
                  <a:lnTo>
                    <a:pt x="116" y="38"/>
                  </a:lnTo>
                  <a:lnTo>
                    <a:pt x="112" y="38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6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100" y="54"/>
                  </a:lnTo>
                  <a:lnTo>
                    <a:pt x="96" y="54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2" y="56"/>
                  </a:lnTo>
                  <a:lnTo>
                    <a:pt x="92" y="58"/>
                  </a:lnTo>
                  <a:lnTo>
                    <a:pt x="90" y="60"/>
                  </a:lnTo>
                  <a:lnTo>
                    <a:pt x="88" y="62"/>
                  </a:lnTo>
                  <a:lnTo>
                    <a:pt x="86" y="64"/>
                  </a:lnTo>
                  <a:lnTo>
                    <a:pt x="84" y="66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0" y="68"/>
                  </a:lnTo>
                  <a:lnTo>
                    <a:pt x="78" y="68"/>
                  </a:lnTo>
                  <a:lnTo>
                    <a:pt x="76" y="68"/>
                  </a:lnTo>
                  <a:lnTo>
                    <a:pt x="74" y="68"/>
                  </a:lnTo>
                  <a:lnTo>
                    <a:pt x="70" y="68"/>
                  </a:lnTo>
                  <a:lnTo>
                    <a:pt x="66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2"/>
                  </a:lnTo>
                  <a:lnTo>
                    <a:pt x="58" y="72"/>
                  </a:lnTo>
                  <a:lnTo>
                    <a:pt x="58" y="74"/>
                  </a:lnTo>
                  <a:lnTo>
                    <a:pt x="56" y="76"/>
                  </a:lnTo>
                  <a:lnTo>
                    <a:pt x="56" y="78"/>
                  </a:lnTo>
                  <a:lnTo>
                    <a:pt x="58" y="84"/>
                  </a:lnTo>
                  <a:lnTo>
                    <a:pt x="60" y="90"/>
                  </a:lnTo>
                  <a:lnTo>
                    <a:pt x="60" y="98"/>
                  </a:lnTo>
                  <a:lnTo>
                    <a:pt x="62" y="102"/>
                  </a:lnTo>
                  <a:lnTo>
                    <a:pt x="62" y="106"/>
                  </a:lnTo>
                  <a:lnTo>
                    <a:pt x="62" y="110"/>
                  </a:lnTo>
                  <a:lnTo>
                    <a:pt x="62" y="114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2" y="120"/>
                  </a:lnTo>
                  <a:lnTo>
                    <a:pt x="60" y="122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6" y="126"/>
                  </a:lnTo>
                  <a:lnTo>
                    <a:pt x="54" y="126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30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6" y="136"/>
                  </a:lnTo>
                  <a:lnTo>
                    <a:pt x="46" y="138"/>
                  </a:lnTo>
                  <a:lnTo>
                    <a:pt x="44" y="138"/>
                  </a:lnTo>
                  <a:lnTo>
                    <a:pt x="42" y="138"/>
                  </a:lnTo>
                  <a:lnTo>
                    <a:pt x="40" y="138"/>
                  </a:lnTo>
                  <a:lnTo>
                    <a:pt x="36" y="140"/>
                  </a:lnTo>
                  <a:lnTo>
                    <a:pt x="32" y="140"/>
                  </a:lnTo>
                  <a:lnTo>
                    <a:pt x="26" y="140"/>
                  </a:lnTo>
                  <a:lnTo>
                    <a:pt x="20" y="140"/>
                  </a:lnTo>
                  <a:lnTo>
                    <a:pt x="18" y="140"/>
                  </a:lnTo>
                  <a:lnTo>
                    <a:pt x="16" y="140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8" y="142"/>
                  </a:lnTo>
                  <a:lnTo>
                    <a:pt x="4" y="144"/>
                  </a:lnTo>
                  <a:lnTo>
                    <a:pt x="0" y="148"/>
                  </a:lnTo>
                  <a:lnTo>
                    <a:pt x="2" y="152"/>
                  </a:lnTo>
                  <a:lnTo>
                    <a:pt x="4" y="154"/>
                  </a:lnTo>
                  <a:lnTo>
                    <a:pt x="4" y="156"/>
                  </a:lnTo>
                  <a:lnTo>
                    <a:pt x="4" y="156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10" y="160"/>
                  </a:lnTo>
                  <a:lnTo>
                    <a:pt x="10" y="160"/>
                  </a:lnTo>
                  <a:lnTo>
                    <a:pt x="12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4"/>
                  </a:lnTo>
                  <a:lnTo>
                    <a:pt x="14" y="166"/>
                  </a:lnTo>
                  <a:lnTo>
                    <a:pt x="14" y="168"/>
                  </a:lnTo>
                  <a:lnTo>
                    <a:pt x="14" y="170"/>
                  </a:lnTo>
                  <a:lnTo>
                    <a:pt x="14" y="172"/>
                  </a:lnTo>
                  <a:lnTo>
                    <a:pt x="14" y="174"/>
                  </a:lnTo>
                  <a:lnTo>
                    <a:pt x="14" y="174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6" y="176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20" y="178"/>
                  </a:lnTo>
                  <a:lnTo>
                    <a:pt x="22" y="178"/>
                  </a:lnTo>
                  <a:lnTo>
                    <a:pt x="24" y="178"/>
                  </a:lnTo>
                  <a:lnTo>
                    <a:pt x="26" y="178"/>
                  </a:lnTo>
                  <a:lnTo>
                    <a:pt x="26" y="178"/>
                  </a:lnTo>
                  <a:lnTo>
                    <a:pt x="26" y="180"/>
                  </a:lnTo>
                  <a:lnTo>
                    <a:pt x="28" y="180"/>
                  </a:lnTo>
                  <a:lnTo>
                    <a:pt x="28" y="182"/>
                  </a:lnTo>
                  <a:lnTo>
                    <a:pt x="30" y="184"/>
                  </a:lnTo>
                  <a:lnTo>
                    <a:pt x="32" y="188"/>
                  </a:lnTo>
                  <a:lnTo>
                    <a:pt x="32" y="190"/>
                  </a:lnTo>
                  <a:lnTo>
                    <a:pt x="46" y="188"/>
                  </a:lnTo>
                  <a:lnTo>
                    <a:pt x="48" y="188"/>
                  </a:lnTo>
                  <a:lnTo>
                    <a:pt x="50" y="188"/>
                  </a:lnTo>
                  <a:lnTo>
                    <a:pt x="50" y="188"/>
                  </a:lnTo>
                  <a:lnTo>
                    <a:pt x="52" y="18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92" name="Freeform 446">
              <a:extLst>
                <a:ext uri="{FF2B5EF4-FFF2-40B4-BE49-F238E27FC236}">
                  <a16:creationId xmlns:a16="http://schemas.microsoft.com/office/drawing/2014/main" id="{A8851F6C-E6ED-458D-918C-0F638BC843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679" y="4978829"/>
              <a:ext cx="205011" cy="397816"/>
            </a:xfrm>
            <a:custGeom>
              <a:avLst/>
              <a:gdLst>
                <a:gd name="T0" fmla="*/ 88 w 120"/>
                <a:gd name="T1" fmla="*/ 12 h 238"/>
                <a:gd name="T2" fmla="*/ 88 w 120"/>
                <a:gd name="T3" fmla="*/ 24 h 238"/>
                <a:gd name="T4" fmla="*/ 82 w 120"/>
                <a:gd name="T5" fmla="*/ 28 h 238"/>
                <a:gd name="T6" fmla="*/ 82 w 120"/>
                <a:gd name="T7" fmla="*/ 40 h 238"/>
                <a:gd name="T8" fmla="*/ 80 w 120"/>
                <a:gd name="T9" fmla="*/ 44 h 238"/>
                <a:gd name="T10" fmla="*/ 72 w 120"/>
                <a:gd name="T11" fmla="*/ 44 h 238"/>
                <a:gd name="T12" fmla="*/ 68 w 120"/>
                <a:gd name="T13" fmla="*/ 52 h 238"/>
                <a:gd name="T14" fmla="*/ 60 w 120"/>
                <a:gd name="T15" fmla="*/ 62 h 238"/>
                <a:gd name="T16" fmla="*/ 56 w 120"/>
                <a:gd name="T17" fmla="*/ 70 h 238"/>
                <a:gd name="T18" fmla="*/ 50 w 120"/>
                <a:gd name="T19" fmla="*/ 72 h 238"/>
                <a:gd name="T20" fmla="*/ 48 w 120"/>
                <a:gd name="T21" fmla="*/ 66 h 238"/>
                <a:gd name="T22" fmla="*/ 46 w 120"/>
                <a:gd name="T23" fmla="*/ 60 h 238"/>
                <a:gd name="T24" fmla="*/ 38 w 120"/>
                <a:gd name="T25" fmla="*/ 62 h 238"/>
                <a:gd name="T26" fmla="*/ 36 w 120"/>
                <a:gd name="T27" fmla="*/ 70 h 238"/>
                <a:gd name="T28" fmla="*/ 28 w 120"/>
                <a:gd name="T29" fmla="*/ 72 h 238"/>
                <a:gd name="T30" fmla="*/ 26 w 120"/>
                <a:gd name="T31" fmla="*/ 80 h 238"/>
                <a:gd name="T32" fmla="*/ 22 w 120"/>
                <a:gd name="T33" fmla="*/ 86 h 238"/>
                <a:gd name="T34" fmla="*/ 16 w 120"/>
                <a:gd name="T35" fmla="*/ 96 h 238"/>
                <a:gd name="T36" fmla="*/ 16 w 120"/>
                <a:gd name="T37" fmla="*/ 116 h 238"/>
                <a:gd name="T38" fmla="*/ 22 w 120"/>
                <a:gd name="T39" fmla="*/ 128 h 238"/>
                <a:gd name="T40" fmla="*/ 28 w 120"/>
                <a:gd name="T41" fmla="*/ 132 h 238"/>
                <a:gd name="T42" fmla="*/ 26 w 120"/>
                <a:gd name="T43" fmla="*/ 142 h 238"/>
                <a:gd name="T44" fmla="*/ 20 w 120"/>
                <a:gd name="T45" fmla="*/ 152 h 238"/>
                <a:gd name="T46" fmla="*/ 18 w 120"/>
                <a:gd name="T47" fmla="*/ 160 h 238"/>
                <a:gd name="T48" fmla="*/ 10 w 120"/>
                <a:gd name="T49" fmla="*/ 164 h 238"/>
                <a:gd name="T50" fmla="*/ 4 w 120"/>
                <a:gd name="T51" fmla="*/ 170 h 238"/>
                <a:gd name="T52" fmla="*/ 0 w 120"/>
                <a:gd name="T53" fmla="*/ 176 h 238"/>
                <a:gd name="T54" fmla="*/ 0 w 120"/>
                <a:gd name="T55" fmla="*/ 190 h 238"/>
                <a:gd name="T56" fmla="*/ 8 w 120"/>
                <a:gd name="T57" fmla="*/ 190 h 238"/>
                <a:gd name="T58" fmla="*/ 14 w 120"/>
                <a:gd name="T59" fmla="*/ 192 h 238"/>
                <a:gd name="T60" fmla="*/ 14 w 120"/>
                <a:gd name="T61" fmla="*/ 200 h 238"/>
                <a:gd name="T62" fmla="*/ 10 w 120"/>
                <a:gd name="T63" fmla="*/ 224 h 238"/>
                <a:gd name="T64" fmla="*/ 14 w 120"/>
                <a:gd name="T65" fmla="*/ 230 h 238"/>
                <a:gd name="T66" fmla="*/ 22 w 120"/>
                <a:gd name="T67" fmla="*/ 228 h 238"/>
                <a:gd name="T68" fmla="*/ 28 w 120"/>
                <a:gd name="T69" fmla="*/ 236 h 238"/>
                <a:gd name="T70" fmla="*/ 36 w 120"/>
                <a:gd name="T71" fmla="*/ 238 h 238"/>
                <a:gd name="T72" fmla="*/ 44 w 120"/>
                <a:gd name="T73" fmla="*/ 228 h 238"/>
                <a:gd name="T74" fmla="*/ 56 w 120"/>
                <a:gd name="T75" fmla="*/ 226 h 238"/>
                <a:gd name="T76" fmla="*/ 68 w 120"/>
                <a:gd name="T77" fmla="*/ 220 h 238"/>
                <a:gd name="T78" fmla="*/ 70 w 120"/>
                <a:gd name="T79" fmla="*/ 212 h 238"/>
                <a:gd name="T80" fmla="*/ 72 w 120"/>
                <a:gd name="T81" fmla="*/ 200 h 238"/>
                <a:gd name="T82" fmla="*/ 80 w 120"/>
                <a:gd name="T83" fmla="*/ 196 h 238"/>
                <a:gd name="T84" fmla="*/ 80 w 120"/>
                <a:gd name="T85" fmla="*/ 176 h 238"/>
                <a:gd name="T86" fmla="*/ 82 w 120"/>
                <a:gd name="T87" fmla="*/ 170 h 238"/>
                <a:gd name="T88" fmla="*/ 86 w 120"/>
                <a:gd name="T89" fmla="*/ 160 h 238"/>
                <a:gd name="T90" fmla="*/ 82 w 120"/>
                <a:gd name="T91" fmla="*/ 138 h 238"/>
                <a:gd name="T92" fmla="*/ 88 w 120"/>
                <a:gd name="T93" fmla="*/ 130 h 238"/>
                <a:gd name="T94" fmla="*/ 100 w 120"/>
                <a:gd name="T95" fmla="*/ 122 h 238"/>
                <a:gd name="T96" fmla="*/ 100 w 120"/>
                <a:gd name="T97" fmla="*/ 110 h 238"/>
                <a:gd name="T98" fmla="*/ 100 w 120"/>
                <a:gd name="T99" fmla="*/ 92 h 238"/>
                <a:gd name="T100" fmla="*/ 108 w 120"/>
                <a:gd name="T101" fmla="*/ 86 h 238"/>
                <a:gd name="T102" fmla="*/ 108 w 120"/>
                <a:gd name="T103" fmla="*/ 72 h 238"/>
                <a:gd name="T104" fmla="*/ 112 w 120"/>
                <a:gd name="T105" fmla="*/ 66 h 238"/>
                <a:gd name="T106" fmla="*/ 120 w 120"/>
                <a:gd name="T107" fmla="*/ 60 h 238"/>
                <a:gd name="T108" fmla="*/ 120 w 120"/>
                <a:gd name="T109" fmla="*/ 42 h 238"/>
                <a:gd name="T110" fmla="*/ 116 w 120"/>
                <a:gd name="T111" fmla="*/ 30 h 238"/>
                <a:gd name="T112" fmla="*/ 108 w 120"/>
                <a:gd name="T113" fmla="*/ 26 h 238"/>
                <a:gd name="T114" fmla="*/ 108 w 120"/>
                <a:gd name="T115" fmla="*/ 18 h 238"/>
                <a:gd name="T116" fmla="*/ 108 w 120"/>
                <a:gd name="T117" fmla="*/ 8 h 238"/>
                <a:gd name="T118" fmla="*/ 98 w 120"/>
                <a:gd name="T119" fmla="*/ 2 h 238"/>
                <a:gd name="T120" fmla="*/ 92 w 120"/>
                <a:gd name="T121" fmla="*/ 2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0" h="238">
                  <a:moveTo>
                    <a:pt x="90" y="4"/>
                  </a:moveTo>
                  <a:lnTo>
                    <a:pt x="90" y="4"/>
                  </a:lnTo>
                  <a:lnTo>
                    <a:pt x="88" y="4"/>
                  </a:lnTo>
                  <a:lnTo>
                    <a:pt x="88" y="6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0" y="14"/>
                  </a:lnTo>
                  <a:lnTo>
                    <a:pt x="90" y="18"/>
                  </a:lnTo>
                  <a:lnTo>
                    <a:pt x="90" y="20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4"/>
                  </a:lnTo>
                  <a:lnTo>
                    <a:pt x="88" y="24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6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82" y="32"/>
                  </a:lnTo>
                  <a:lnTo>
                    <a:pt x="82" y="36"/>
                  </a:lnTo>
                  <a:lnTo>
                    <a:pt x="82" y="38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8" y="44"/>
                  </a:lnTo>
                  <a:lnTo>
                    <a:pt x="76" y="44"/>
                  </a:lnTo>
                  <a:lnTo>
                    <a:pt x="74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4"/>
                  </a:lnTo>
                  <a:lnTo>
                    <a:pt x="70" y="44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0"/>
                  </a:lnTo>
                  <a:lnTo>
                    <a:pt x="68" y="52"/>
                  </a:lnTo>
                  <a:lnTo>
                    <a:pt x="66" y="56"/>
                  </a:lnTo>
                  <a:lnTo>
                    <a:pt x="66" y="56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4" y="58"/>
                  </a:lnTo>
                  <a:lnTo>
                    <a:pt x="62" y="60"/>
                  </a:lnTo>
                  <a:lnTo>
                    <a:pt x="60" y="62"/>
                  </a:lnTo>
                  <a:lnTo>
                    <a:pt x="58" y="62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8" y="66"/>
                  </a:lnTo>
                  <a:lnTo>
                    <a:pt x="56" y="68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0" y="72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6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6" y="62"/>
                  </a:lnTo>
                  <a:lnTo>
                    <a:pt x="46" y="60"/>
                  </a:lnTo>
                  <a:lnTo>
                    <a:pt x="44" y="60"/>
                  </a:lnTo>
                  <a:lnTo>
                    <a:pt x="42" y="60"/>
                  </a:lnTo>
                  <a:lnTo>
                    <a:pt x="42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4"/>
                  </a:lnTo>
                  <a:lnTo>
                    <a:pt x="38" y="66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4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0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4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6" y="80"/>
                  </a:lnTo>
                  <a:lnTo>
                    <a:pt x="26" y="82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2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8" y="88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6"/>
                  </a:lnTo>
                  <a:lnTo>
                    <a:pt x="16" y="98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4" y="108"/>
                  </a:lnTo>
                  <a:lnTo>
                    <a:pt x="16" y="112"/>
                  </a:lnTo>
                  <a:lnTo>
                    <a:pt x="16" y="114"/>
                  </a:lnTo>
                  <a:lnTo>
                    <a:pt x="16" y="116"/>
                  </a:lnTo>
                  <a:lnTo>
                    <a:pt x="16" y="120"/>
                  </a:lnTo>
                  <a:lnTo>
                    <a:pt x="18" y="122"/>
                  </a:lnTo>
                  <a:lnTo>
                    <a:pt x="18" y="124"/>
                  </a:lnTo>
                  <a:lnTo>
                    <a:pt x="20" y="126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30"/>
                  </a:lnTo>
                  <a:lnTo>
                    <a:pt x="26" y="132"/>
                  </a:lnTo>
                  <a:lnTo>
                    <a:pt x="28" y="132"/>
                  </a:lnTo>
                  <a:lnTo>
                    <a:pt x="28" y="134"/>
                  </a:lnTo>
                  <a:lnTo>
                    <a:pt x="28" y="136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26" y="142"/>
                  </a:lnTo>
                  <a:lnTo>
                    <a:pt x="24" y="142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2" y="146"/>
                  </a:lnTo>
                  <a:lnTo>
                    <a:pt x="22" y="146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0" y="154"/>
                  </a:lnTo>
                  <a:lnTo>
                    <a:pt x="20" y="156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18" y="158"/>
                  </a:lnTo>
                  <a:lnTo>
                    <a:pt x="18" y="158"/>
                  </a:lnTo>
                  <a:lnTo>
                    <a:pt x="18" y="160"/>
                  </a:lnTo>
                  <a:lnTo>
                    <a:pt x="14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2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10" y="164"/>
                  </a:lnTo>
                  <a:lnTo>
                    <a:pt x="10" y="166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8" y="170"/>
                  </a:lnTo>
                  <a:lnTo>
                    <a:pt x="6" y="170"/>
                  </a:lnTo>
                  <a:lnTo>
                    <a:pt x="4" y="170"/>
                  </a:lnTo>
                  <a:lnTo>
                    <a:pt x="4" y="170"/>
                  </a:lnTo>
                  <a:lnTo>
                    <a:pt x="2" y="170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0" y="174"/>
                  </a:lnTo>
                  <a:lnTo>
                    <a:pt x="0" y="176"/>
                  </a:lnTo>
                  <a:lnTo>
                    <a:pt x="0" y="178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0" y="186"/>
                  </a:lnTo>
                  <a:lnTo>
                    <a:pt x="0" y="188"/>
                  </a:lnTo>
                  <a:lnTo>
                    <a:pt x="0" y="188"/>
                  </a:lnTo>
                  <a:lnTo>
                    <a:pt x="0" y="190"/>
                  </a:lnTo>
                  <a:lnTo>
                    <a:pt x="2" y="190"/>
                  </a:lnTo>
                  <a:lnTo>
                    <a:pt x="2" y="192"/>
                  </a:lnTo>
                  <a:lnTo>
                    <a:pt x="2" y="192"/>
                  </a:lnTo>
                  <a:lnTo>
                    <a:pt x="4" y="192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8" y="190"/>
                  </a:lnTo>
                  <a:lnTo>
                    <a:pt x="10" y="190"/>
                  </a:lnTo>
                  <a:lnTo>
                    <a:pt x="10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4" y="194"/>
                  </a:lnTo>
                  <a:lnTo>
                    <a:pt x="14" y="194"/>
                  </a:lnTo>
                  <a:lnTo>
                    <a:pt x="14" y="196"/>
                  </a:lnTo>
                  <a:lnTo>
                    <a:pt x="14" y="198"/>
                  </a:lnTo>
                  <a:lnTo>
                    <a:pt x="14" y="200"/>
                  </a:lnTo>
                  <a:lnTo>
                    <a:pt x="14" y="204"/>
                  </a:lnTo>
                  <a:lnTo>
                    <a:pt x="12" y="210"/>
                  </a:lnTo>
                  <a:lnTo>
                    <a:pt x="12" y="216"/>
                  </a:lnTo>
                  <a:lnTo>
                    <a:pt x="10" y="218"/>
                  </a:lnTo>
                  <a:lnTo>
                    <a:pt x="10" y="220"/>
                  </a:lnTo>
                  <a:lnTo>
                    <a:pt x="10" y="224"/>
                  </a:lnTo>
                  <a:lnTo>
                    <a:pt x="10" y="224"/>
                  </a:lnTo>
                  <a:lnTo>
                    <a:pt x="10" y="226"/>
                  </a:lnTo>
                  <a:lnTo>
                    <a:pt x="10" y="226"/>
                  </a:lnTo>
                  <a:lnTo>
                    <a:pt x="12" y="228"/>
                  </a:lnTo>
                  <a:lnTo>
                    <a:pt x="12" y="228"/>
                  </a:lnTo>
                  <a:lnTo>
                    <a:pt x="12" y="228"/>
                  </a:lnTo>
                  <a:lnTo>
                    <a:pt x="12" y="228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6" y="230"/>
                  </a:lnTo>
                  <a:lnTo>
                    <a:pt x="16" y="228"/>
                  </a:lnTo>
                  <a:lnTo>
                    <a:pt x="20" y="228"/>
                  </a:lnTo>
                  <a:lnTo>
                    <a:pt x="20" y="228"/>
                  </a:lnTo>
                  <a:lnTo>
                    <a:pt x="22" y="228"/>
                  </a:lnTo>
                  <a:lnTo>
                    <a:pt x="22" y="228"/>
                  </a:lnTo>
                  <a:lnTo>
                    <a:pt x="22" y="230"/>
                  </a:lnTo>
                  <a:lnTo>
                    <a:pt x="24" y="230"/>
                  </a:lnTo>
                  <a:lnTo>
                    <a:pt x="24" y="232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8" y="236"/>
                  </a:lnTo>
                  <a:lnTo>
                    <a:pt x="30" y="236"/>
                  </a:lnTo>
                  <a:lnTo>
                    <a:pt x="32" y="238"/>
                  </a:lnTo>
                  <a:lnTo>
                    <a:pt x="32" y="238"/>
                  </a:lnTo>
                  <a:lnTo>
                    <a:pt x="34" y="238"/>
                  </a:lnTo>
                  <a:lnTo>
                    <a:pt x="34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6"/>
                  </a:lnTo>
                  <a:lnTo>
                    <a:pt x="38" y="236"/>
                  </a:lnTo>
                  <a:lnTo>
                    <a:pt x="40" y="234"/>
                  </a:lnTo>
                  <a:lnTo>
                    <a:pt x="42" y="232"/>
                  </a:lnTo>
                  <a:lnTo>
                    <a:pt x="42" y="230"/>
                  </a:lnTo>
                  <a:lnTo>
                    <a:pt x="44" y="230"/>
                  </a:lnTo>
                  <a:lnTo>
                    <a:pt x="44" y="228"/>
                  </a:lnTo>
                  <a:lnTo>
                    <a:pt x="46" y="228"/>
                  </a:lnTo>
                  <a:lnTo>
                    <a:pt x="48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4" y="228"/>
                  </a:lnTo>
                  <a:lnTo>
                    <a:pt x="54" y="228"/>
                  </a:lnTo>
                  <a:lnTo>
                    <a:pt x="56" y="226"/>
                  </a:lnTo>
                  <a:lnTo>
                    <a:pt x="56" y="226"/>
                  </a:lnTo>
                  <a:lnTo>
                    <a:pt x="58" y="224"/>
                  </a:lnTo>
                  <a:lnTo>
                    <a:pt x="60" y="222"/>
                  </a:lnTo>
                  <a:lnTo>
                    <a:pt x="62" y="222"/>
                  </a:lnTo>
                  <a:lnTo>
                    <a:pt x="64" y="222"/>
                  </a:lnTo>
                  <a:lnTo>
                    <a:pt x="66" y="220"/>
                  </a:lnTo>
                  <a:lnTo>
                    <a:pt x="68" y="220"/>
                  </a:lnTo>
                  <a:lnTo>
                    <a:pt x="68" y="220"/>
                  </a:lnTo>
                  <a:lnTo>
                    <a:pt x="68" y="218"/>
                  </a:lnTo>
                  <a:lnTo>
                    <a:pt x="70" y="218"/>
                  </a:lnTo>
                  <a:lnTo>
                    <a:pt x="70" y="216"/>
                  </a:lnTo>
                  <a:lnTo>
                    <a:pt x="70" y="216"/>
                  </a:lnTo>
                  <a:lnTo>
                    <a:pt x="70" y="214"/>
                  </a:lnTo>
                  <a:lnTo>
                    <a:pt x="70" y="212"/>
                  </a:lnTo>
                  <a:lnTo>
                    <a:pt x="70" y="210"/>
                  </a:lnTo>
                  <a:lnTo>
                    <a:pt x="70" y="206"/>
                  </a:lnTo>
                  <a:lnTo>
                    <a:pt x="70" y="204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0" y="200"/>
                  </a:lnTo>
                  <a:lnTo>
                    <a:pt x="72" y="200"/>
                  </a:lnTo>
                  <a:lnTo>
                    <a:pt x="72" y="200"/>
                  </a:lnTo>
                  <a:lnTo>
                    <a:pt x="72" y="198"/>
                  </a:lnTo>
                  <a:lnTo>
                    <a:pt x="74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6"/>
                  </a:lnTo>
                  <a:lnTo>
                    <a:pt x="80" y="196"/>
                  </a:lnTo>
                  <a:lnTo>
                    <a:pt x="80" y="194"/>
                  </a:lnTo>
                  <a:lnTo>
                    <a:pt x="80" y="192"/>
                  </a:lnTo>
                  <a:lnTo>
                    <a:pt x="80" y="192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0" y="174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0" y="170"/>
                  </a:lnTo>
                  <a:lnTo>
                    <a:pt x="82" y="170"/>
                  </a:lnTo>
                  <a:lnTo>
                    <a:pt x="84" y="170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86" y="164"/>
                  </a:lnTo>
                  <a:lnTo>
                    <a:pt x="86" y="162"/>
                  </a:lnTo>
                  <a:lnTo>
                    <a:pt x="86" y="160"/>
                  </a:lnTo>
                  <a:lnTo>
                    <a:pt x="86" y="158"/>
                  </a:lnTo>
                  <a:lnTo>
                    <a:pt x="84" y="156"/>
                  </a:lnTo>
                  <a:lnTo>
                    <a:pt x="84" y="150"/>
                  </a:lnTo>
                  <a:lnTo>
                    <a:pt x="84" y="146"/>
                  </a:lnTo>
                  <a:lnTo>
                    <a:pt x="82" y="144"/>
                  </a:lnTo>
                  <a:lnTo>
                    <a:pt x="82" y="140"/>
                  </a:lnTo>
                  <a:lnTo>
                    <a:pt x="82" y="138"/>
                  </a:lnTo>
                  <a:lnTo>
                    <a:pt x="82" y="136"/>
                  </a:lnTo>
                  <a:lnTo>
                    <a:pt x="84" y="134"/>
                  </a:lnTo>
                  <a:lnTo>
                    <a:pt x="84" y="134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6" y="132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92" y="128"/>
                  </a:lnTo>
                  <a:lnTo>
                    <a:pt x="94" y="128"/>
                  </a:lnTo>
                  <a:lnTo>
                    <a:pt x="94" y="126"/>
                  </a:lnTo>
                  <a:lnTo>
                    <a:pt x="96" y="126"/>
                  </a:lnTo>
                  <a:lnTo>
                    <a:pt x="98" y="124"/>
                  </a:lnTo>
                  <a:lnTo>
                    <a:pt x="100" y="122"/>
                  </a:lnTo>
                  <a:lnTo>
                    <a:pt x="100" y="122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18"/>
                  </a:lnTo>
                  <a:lnTo>
                    <a:pt x="100" y="116"/>
                  </a:lnTo>
                  <a:lnTo>
                    <a:pt x="100" y="114"/>
                  </a:lnTo>
                  <a:lnTo>
                    <a:pt x="100" y="110"/>
                  </a:lnTo>
                  <a:lnTo>
                    <a:pt x="100" y="106"/>
                  </a:lnTo>
                  <a:lnTo>
                    <a:pt x="100" y="102"/>
                  </a:lnTo>
                  <a:lnTo>
                    <a:pt x="100" y="98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4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2" y="92"/>
                  </a:lnTo>
                  <a:lnTo>
                    <a:pt x="104" y="90"/>
                  </a:lnTo>
                  <a:lnTo>
                    <a:pt x="106" y="88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08" y="86"/>
                  </a:lnTo>
                  <a:lnTo>
                    <a:pt x="108" y="86"/>
                  </a:lnTo>
                  <a:lnTo>
                    <a:pt x="108" y="84"/>
                  </a:lnTo>
                  <a:lnTo>
                    <a:pt x="108" y="82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6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12" y="66"/>
                  </a:lnTo>
                  <a:lnTo>
                    <a:pt x="112" y="66"/>
                  </a:lnTo>
                  <a:lnTo>
                    <a:pt x="114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8" y="64"/>
                  </a:lnTo>
                  <a:lnTo>
                    <a:pt x="118" y="62"/>
                  </a:lnTo>
                  <a:lnTo>
                    <a:pt x="120" y="60"/>
                  </a:lnTo>
                  <a:lnTo>
                    <a:pt x="120" y="58"/>
                  </a:lnTo>
                  <a:lnTo>
                    <a:pt x="120" y="56"/>
                  </a:lnTo>
                  <a:lnTo>
                    <a:pt x="120" y="54"/>
                  </a:lnTo>
                  <a:lnTo>
                    <a:pt x="120" y="50"/>
                  </a:lnTo>
                  <a:lnTo>
                    <a:pt x="120" y="48"/>
                  </a:lnTo>
                  <a:lnTo>
                    <a:pt x="120" y="46"/>
                  </a:lnTo>
                  <a:lnTo>
                    <a:pt x="120" y="42"/>
                  </a:lnTo>
                  <a:lnTo>
                    <a:pt x="120" y="40"/>
                  </a:lnTo>
                  <a:lnTo>
                    <a:pt x="120" y="38"/>
                  </a:lnTo>
                  <a:lnTo>
                    <a:pt x="120" y="36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0"/>
                  </a:lnTo>
                  <a:lnTo>
                    <a:pt x="116" y="30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4" y="28"/>
                  </a:lnTo>
                  <a:lnTo>
                    <a:pt x="112" y="28"/>
                  </a:lnTo>
                  <a:lnTo>
                    <a:pt x="112" y="26"/>
                  </a:lnTo>
                  <a:lnTo>
                    <a:pt x="110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18"/>
                  </a:lnTo>
                  <a:lnTo>
                    <a:pt x="108" y="16"/>
                  </a:lnTo>
                  <a:lnTo>
                    <a:pt x="108" y="14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2" y="2"/>
                  </a:lnTo>
                  <a:lnTo>
                    <a:pt x="100" y="2"/>
                  </a:lnTo>
                  <a:lnTo>
                    <a:pt x="98" y="2"/>
                  </a:lnTo>
                  <a:lnTo>
                    <a:pt x="98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0" y="4"/>
                  </a:lnTo>
                  <a:lnTo>
                    <a:pt x="90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93" name="Freeform 448">
              <a:extLst>
                <a:ext uri="{FF2B5EF4-FFF2-40B4-BE49-F238E27FC236}">
                  <a16:creationId xmlns:a16="http://schemas.microsoft.com/office/drawing/2014/main" id="{E302BBDD-5DE5-4B2B-B9FB-8EF5AA3E8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0343" y="4320259"/>
              <a:ext cx="54669" cy="50145"/>
            </a:xfrm>
            <a:custGeom>
              <a:avLst/>
              <a:gdLst>
                <a:gd name="T0" fmla="*/ 18 w 32"/>
                <a:gd name="T1" fmla="*/ 30 h 30"/>
                <a:gd name="T2" fmla="*/ 18 w 32"/>
                <a:gd name="T3" fmla="*/ 30 h 30"/>
                <a:gd name="T4" fmla="*/ 14 w 32"/>
                <a:gd name="T5" fmla="*/ 30 h 30"/>
                <a:gd name="T6" fmla="*/ 12 w 32"/>
                <a:gd name="T7" fmla="*/ 30 h 30"/>
                <a:gd name="T8" fmla="*/ 10 w 32"/>
                <a:gd name="T9" fmla="*/ 30 h 30"/>
                <a:gd name="T10" fmla="*/ 8 w 32"/>
                <a:gd name="T11" fmla="*/ 30 h 30"/>
                <a:gd name="T12" fmla="*/ 4 w 32"/>
                <a:gd name="T13" fmla="*/ 28 h 30"/>
                <a:gd name="T14" fmla="*/ 4 w 32"/>
                <a:gd name="T15" fmla="*/ 28 h 30"/>
                <a:gd name="T16" fmla="*/ 2 w 32"/>
                <a:gd name="T17" fmla="*/ 28 h 30"/>
                <a:gd name="T18" fmla="*/ 2 w 32"/>
                <a:gd name="T19" fmla="*/ 28 h 30"/>
                <a:gd name="T20" fmla="*/ 0 w 32"/>
                <a:gd name="T21" fmla="*/ 28 h 30"/>
                <a:gd name="T22" fmla="*/ 0 w 32"/>
                <a:gd name="T23" fmla="*/ 26 h 30"/>
                <a:gd name="T24" fmla="*/ 0 w 32"/>
                <a:gd name="T25" fmla="*/ 26 h 30"/>
                <a:gd name="T26" fmla="*/ 0 w 32"/>
                <a:gd name="T27" fmla="*/ 24 h 30"/>
                <a:gd name="T28" fmla="*/ 0 w 32"/>
                <a:gd name="T29" fmla="*/ 22 h 30"/>
                <a:gd name="T30" fmla="*/ 0 w 32"/>
                <a:gd name="T31" fmla="*/ 20 h 30"/>
                <a:gd name="T32" fmla="*/ 0 w 32"/>
                <a:gd name="T33" fmla="*/ 18 h 30"/>
                <a:gd name="T34" fmla="*/ 0 w 32"/>
                <a:gd name="T35" fmla="*/ 16 h 30"/>
                <a:gd name="T36" fmla="*/ 0 w 32"/>
                <a:gd name="T37" fmla="*/ 12 h 30"/>
                <a:gd name="T38" fmla="*/ 2 w 32"/>
                <a:gd name="T39" fmla="*/ 8 h 30"/>
                <a:gd name="T40" fmla="*/ 2 w 32"/>
                <a:gd name="T41" fmla="*/ 4 h 30"/>
                <a:gd name="T42" fmla="*/ 4 w 32"/>
                <a:gd name="T43" fmla="*/ 0 h 30"/>
                <a:gd name="T44" fmla="*/ 32 w 32"/>
                <a:gd name="T45" fmla="*/ 18 h 30"/>
                <a:gd name="T46" fmla="*/ 18 w 32"/>
                <a:gd name="T4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0">
                  <a:moveTo>
                    <a:pt x="18" y="30"/>
                  </a:moveTo>
                  <a:lnTo>
                    <a:pt x="18" y="30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8" y="30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28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8"/>
                  </a:lnTo>
                  <a:lnTo>
                    <a:pt x="2" y="4"/>
                  </a:lnTo>
                  <a:lnTo>
                    <a:pt x="4" y="0"/>
                  </a:lnTo>
                  <a:lnTo>
                    <a:pt x="32" y="18"/>
                  </a:lnTo>
                  <a:lnTo>
                    <a:pt x="18" y="3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94" name="Freeform 450">
              <a:extLst>
                <a:ext uri="{FF2B5EF4-FFF2-40B4-BE49-F238E27FC236}">
                  <a16:creationId xmlns:a16="http://schemas.microsoft.com/office/drawing/2014/main" id="{E5593D76-EFA1-41AC-B656-D559C0734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1916" y="4932027"/>
              <a:ext cx="78587" cy="187207"/>
            </a:xfrm>
            <a:custGeom>
              <a:avLst/>
              <a:gdLst>
                <a:gd name="T0" fmla="*/ 0 w 46"/>
                <a:gd name="T1" fmla="*/ 68 h 112"/>
                <a:gd name="T2" fmla="*/ 0 w 46"/>
                <a:gd name="T3" fmla="*/ 54 h 112"/>
                <a:gd name="T4" fmla="*/ 2 w 46"/>
                <a:gd name="T5" fmla="*/ 46 h 112"/>
                <a:gd name="T6" fmla="*/ 2 w 46"/>
                <a:gd name="T7" fmla="*/ 42 h 112"/>
                <a:gd name="T8" fmla="*/ 8 w 46"/>
                <a:gd name="T9" fmla="*/ 40 h 112"/>
                <a:gd name="T10" fmla="*/ 10 w 46"/>
                <a:gd name="T11" fmla="*/ 38 h 112"/>
                <a:gd name="T12" fmla="*/ 10 w 46"/>
                <a:gd name="T13" fmla="*/ 34 h 112"/>
                <a:gd name="T14" fmla="*/ 10 w 46"/>
                <a:gd name="T15" fmla="*/ 30 h 112"/>
                <a:gd name="T16" fmla="*/ 6 w 46"/>
                <a:gd name="T17" fmla="*/ 22 h 112"/>
                <a:gd name="T18" fmla="*/ 6 w 46"/>
                <a:gd name="T19" fmla="*/ 14 h 112"/>
                <a:gd name="T20" fmla="*/ 10 w 46"/>
                <a:gd name="T21" fmla="*/ 0 h 112"/>
                <a:gd name="T22" fmla="*/ 18 w 46"/>
                <a:gd name="T23" fmla="*/ 4 h 112"/>
                <a:gd name="T24" fmla="*/ 28 w 46"/>
                <a:gd name="T25" fmla="*/ 16 h 112"/>
                <a:gd name="T26" fmla="*/ 28 w 46"/>
                <a:gd name="T27" fmla="*/ 24 h 112"/>
                <a:gd name="T28" fmla="*/ 28 w 46"/>
                <a:gd name="T29" fmla="*/ 30 h 112"/>
                <a:gd name="T30" fmla="*/ 24 w 46"/>
                <a:gd name="T31" fmla="*/ 40 h 112"/>
                <a:gd name="T32" fmla="*/ 24 w 46"/>
                <a:gd name="T33" fmla="*/ 46 h 112"/>
                <a:gd name="T34" fmla="*/ 24 w 46"/>
                <a:gd name="T35" fmla="*/ 48 h 112"/>
                <a:gd name="T36" fmla="*/ 26 w 46"/>
                <a:gd name="T37" fmla="*/ 52 h 112"/>
                <a:gd name="T38" fmla="*/ 34 w 46"/>
                <a:gd name="T39" fmla="*/ 60 h 112"/>
                <a:gd name="T40" fmla="*/ 40 w 46"/>
                <a:gd name="T41" fmla="*/ 70 h 112"/>
                <a:gd name="T42" fmla="*/ 42 w 46"/>
                <a:gd name="T43" fmla="*/ 76 h 112"/>
                <a:gd name="T44" fmla="*/ 46 w 46"/>
                <a:gd name="T45" fmla="*/ 86 h 112"/>
                <a:gd name="T46" fmla="*/ 46 w 46"/>
                <a:gd name="T47" fmla="*/ 92 h 112"/>
                <a:gd name="T48" fmla="*/ 46 w 46"/>
                <a:gd name="T49" fmla="*/ 92 h 112"/>
                <a:gd name="T50" fmla="*/ 42 w 46"/>
                <a:gd name="T51" fmla="*/ 96 h 112"/>
                <a:gd name="T52" fmla="*/ 38 w 46"/>
                <a:gd name="T53" fmla="*/ 98 h 112"/>
                <a:gd name="T54" fmla="*/ 36 w 46"/>
                <a:gd name="T55" fmla="*/ 102 h 112"/>
                <a:gd name="T56" fmla="*/ 34 w 46"/>
                <a:gd name="T57" fmla="*/ 108 h 112"/>
                <a:gd name="T58" fmla="*/ 32 w 46"/>
                <a:gd name="T59" fmla="*/ 110 h 112"/>
                <a:gd name="T60" fmla="*/ 28 w 46"/>
                <a:gd name="T61" fmla="*/ 112 h 112"/>
                <a:gd name="T62" fmla="*/ 24 w 46"/>
                <a:gd name="T63" fmla="*/ 112 h 112"/>
                <a:gd name="T64" fmla="*/ 22 w 46"/>
                <a:gd name="T65" fmla="*/ 112 h 112"/>
                <a:gd name="T66" fmla="*/ 18 w 46"/>
                <a:gd name="T67" fmla="*/ 110 h 112"/>
                <a:gd name="T68" fmla="*/ 16 w 46"/>
                <a:gd name="T69" fmla="*/ 106 h 112"/>
                <a:gd name="T70" fmla="*/ 16 w 46"/>
                <a:gd name="T71" fmla="*/ 104 h 112"/>
                <a:gd name="T72" fmla="*/ 18 w 46"/>
                <a:gd name="T73" fmla="*/ 98 h 112"/>
                <a:gd name="T74" fmla="*/ 22 w 46"/>
                <a:gd name="T75" fmla="*/ 90 h 112"/>
                <a:gd name="T76" fmla="*/ 22 w 46"/>
                <a:gd name="T77" fmla="*/ 84 h 112"/>
                <a:gd name="T78" fmla="*/ 22 w 46"/>
                <a:gd name="T79" fmla="*/ 80 h 112"/>
                <a:gd name="T80" fmla="*/ 20 w 46"/>
                <a:gd name="T81" fmla="*/ 78 h 112"/>
                <a:gd name="T82" fmla="*/ 16 w 46"/>
                <a:gd name="T83" fmla="*/ 78 h 112"/>
                <a:gd name="T84" fmla="*/ 10 w 46"/>
                <a:gd name="T85" fmla="*/ 76 h 112"/>
                <a:gd name="T86" fmla="*/ 0 w 46"/>
                <a:gd name="T87" fmla="*/ 7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6" h="112">
                  <a:moveTo>
                    <a:pt x="0" y="70"/>
                  </a:moveTo>
                  <a:lnTo>
                    <a:pt x="0" y="70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0" y="30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4"/>
                  </a:lnTo>
                  <a:lnTo>
                    <a:pt x="6" y="8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8" y="4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2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30"/>
                  </a:lnTo>
                  <a:lnTo>
                    <a:pt x="26" y="34"/>
                  </a:lnTo>
                  <a:lnTo>
                    <a:pt x="26" y="36"/>
                  </a:lnTo>
                  <a:lnTo>
                    <a:pt x="24" y="40"/>
                  </a:lnTo>
                  <a:lnTo>
                    <a:pt x="24" y="42"/>
                  </a:lnTo>
                  <a:lnTo>
                    <a:pt x="24" y="44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0"/>
                  </a:lnTo>
                  <a:lnTo>
                    <a:pt x="26" y="50"/>
                  </a:lnTo>
                  <a:lnTo>
                    <a:pt x="26" y="52"/>
                  </a:lnTo>
                  <a:lnTo>
                    <a:pt x="28" y="54"/>
                  </a:lnTo>
                  <a:lnTo>
                    <a:pt x="30" y="56"/>
                  </a:lnTo>
                  <a:lnTo>
                    <a:pt x="34" y="60"/>
                  </a:lnTo>
                  <a:lnTo>
                    <a:pt x="36" y="64"/>
                  </a:lnTo>
                  <a:lnTo>
                    <a:pt x="38" y="66"/>
                  </a:lnTo>
                  <a:lnTo>
                    <a:pt x="40" y="70"/>
                  </a:lnTo>
                  <a:lnTo>
                    <a:pt x="40" y="72"/>
                  </a:lnTo>
                  <a:lnTo>
                    <a:pt x="42" y="74"/>
                  </a:lnTo>
                  <a:lnTo>
                    <a:pt x="42" y="76"/>
                  </a:lnTo>
                  <a:lnTo>
                    <a:pt x="44" y="80"/>
                  </a:lnTo>
                  <a:lnTo>
                    <a:pt x="44" y="82"/>
                  </a:lnTo>
                  <a:lnTo>
                    <a:pt x="46" y="86"/>
                  </a:lnTo>
                  <a:lnTo>
                    <a:pt x="46" y="88"/>
                  </a:lnTo>
                  <a:lnTo>
                    <a:pt x="46" y="90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2"/>
                  </a:lnTo>
                  <a:lnTo>
                    <a:pt x="34" y="104"/>
                  </a:lnTo>
                  <a:lnTo>
                    <a:pt x="34" y="106"/>
                  </a:lnTo>
                  <a:lnTo>
                    <a:pt x="34" y="108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0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6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20" y="94"/>
                  </a:lnTo>
                  <a:lnTo>
                    <a:pt x="20" y="92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2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6" y="78"/>
                  </a:lnTo>
                  <a:lnTo>
                    <a:pt x="14" y="76"/>
                  </a:lnTo>
                  <a:lnTo>
                    <a:pt x="12" y="76"/>
                  </a:lnTo>
                  <a:lnTo>
                    <a:pt x="10" y="76"/>
                  </a:lnTo>
                  <a:lnTo>
                    <a:pt x="8" y="74"/>
                  </a:lnTo>
                  <a:lnTo>
                    <a:pt x="4" y="74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95" name="Freeform 452">
              <a:extLst>
                <a:ext uri="{FF2B5EF4-FFF2-40B4-BE49-F238E27FC236}">
                  <a16:creationId xmlns:a16="http://schemas.microsoft.com/office/drawing/2014/main" id="{7EDB2A4B-8723-4634-BC20-EC7F5F390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9797" y="3584798"/>
              <a:ext cx="99089" cy="180522"/>
            </a:xfrm>
            <a:custGeom>
              <a:avLst/>
              <a:gdLst>
                <a:gd name="T0" fmla="*/ 28 w 58"/>
                <a:gd name="T1" fmla="*/ 108 h 108"/>
                <a:gd name="T2" fmla="*/ 24 w 58"/>
                <a:gd name="T3" fmla="*/ 106 h 108"/>
                <a:gd name="T4" fmla="*/ 22 w 58"/>
                <a:gd name="T5" fmla="*/ 104 h 108"/>
                <a:gd name="T6" fmla="*/ 22 w 58"/>
                <a:gd name="T7" fmla="*/ 96 h 108"/>
                <a:gd name="T8" fmla="*/ 20 w 58"/>
                <a:gd name="T9" fmla="*/ 92 h 108"/>
                <a:gd name="T10" fmla="*/ 18 w 58"/>
                <a:gd name="T11" fmla="*/ 88 h 108"/>
                <a:gd name="T12" fmla="*/ 10 w 58"/>
                <a:gd name="T13" fmla="*/ 86 h 108"/>
                <a:gd name="T14" fmla="*/ 6 w 58"/>
                <a:gd name="T15" fmla="*/ 84 h 108"/>
                <a:gd name="T16" fmla="*/ 2 w 58"/>
                <a:gd name="T17" fmla="*/ 76 h 108"/>
                <a:gd name="T18" fmla="*/ 0 w 58"/>
                <a:gd name="T19" fmla="*/ 68 h 108"/>
                <a:gd name="T20" fmla="*/ 2 w 58"/>
                <a:gd name="T21" fmla="*/ 60 h 108"/>
                <a:gd name="T22" fmla="*/ 6 w 58"/>
                <a:gd name="T23" fmla="*/ 54 h 108"/>
                <a:gd name="T24" fmla="*/ 12 w 58"/>
                <a:gd name="T25" fmla="*/ 52 h 108"/>
                <a:gd name="T26" fmla="*/ 18 w 58"/>
                <a:gd name="T27" fmla="*/ 50 h 108"/>
                <a:gd name="T28" fmla="*/ 18 w 58"/>
                <a:gd name="T29" fmla="*/ 48 h 108"/>
                <a:gd name="T30" fmla="*/ 16 w 58"/>
                <a:gd name="T31" fmla="*/ 44 h 108"/>
                <a:gd name="T32" fmla="*/ 12 w 58"/>
                <a:gd name="T33" fmla="*/ 38 h 108"/>
                <a:gd name="T34" fmla="*/ 10 w 58"/>
                <a:gd name="T35" fmla="*/ 34 h 108"/>
                <a:gd name="T36" fmla="*/ 12 w 58"/>
                <a:gd name="T37" fmla="*/ 28 h 108"/>
                <a:gd name="T38" fmla="*/ 14 w 58"/>
                <a:gd name="T39" fmla="*/ 26 h 108"/>
                <a:gd name="T40" fmla="*/ 20 w 58"/>
                <a:gd name="T41" fmla="*/ 26 h 108"/>
                <a:gd name="T42" fmla="*/ 20 w 58"/>
                <a:gd name="T43" fmla="*/ 24 h 108"/>
                <a:gd name="T44" fmla="*/ 20 w 58"/>
                <a:gd name="T45" fmla="*/ 16 h 108"/>
                <a:gd name="T46" fmla="*/ 22 w 58"/>
                <a:gd name="T47" fmla="*/ 6 h 108"/>
                <a:gd name="T48" fmla="*/ 28 w 58"/>
                <a:gd name="T49" fmla="*/ 2 h 108"/>
                <a:gd name="T50" fmla="*/ 34 w 58"/>
                <a:gd name="T51" fmla="*/ 0 h 108"/>
                <a:gd name="T52" fmla="*/ 40 w 58"/>
                <a:gd name="T53" fmla="*/ 4 h 108"/>
                <a:gd name="T54" fmla="*/ 48 w 58"/>
                <a:gd name="T55" fmla="*/ 8 h 108"/>
                <a:gd name="T56" fmla="*/ 54 w 58"/>
                <a:gd name="T57" fmla="*/ 10 h 108"/>
                <a:gd name="T58" fmla="*/ 54 w 58"/>
                <a:gd name="T59" fmla="*/ 12 h 108"/>
                <a:gd name="T60" fmla="*/ 52 w 58"/>
                <a:gd name="T61" fmla="*/ 18 h 108"/>
                <a:gd name="T62" fmla="*/ 50 w 58"/>
                <a:gd name="T63" fmla="*/ 22 h 108"/>
                <a:gd name="T64" fmla="*/ 52 w 58"/>
                <a:gd name="T65" fmla="*/ 26 h 108"/>
                <a:gd name="T66" fmla="*/ 56 w 58"/>
                <a:gd name="T67" fmla="*/ 32 h 108"/>
                <a:gd name="T68" fmla="*/ 56 w 58"/>
                <a:gd name="T69" fmla="*/ 42 h 108"/>
                <a:gd name="T70" fmla="*/ 54 w 58"/>
                <a:gd name="T71" fmla="*/ 48 h 108"/>
                <a:gd name="T72" fmla="*/ 50 w 58"/>
                <a:gd name="T73" fmla="*/ 50 h 108"/>
                <a:gd name="T74" fmla="*/ 44 w 58"/>
                <a:gd name="T75" fmla="*/ 50 h 108"/>
                <a:gd name="T76" fmla="*/ 42 w 58"/>
                <a:gd name="T77" fmla="*/ 54 h 108"/>
                <a:gd name="T78" fmla="*/ 42 w 58"/>
                <a:gd name="T79" fmla="*/ 62 h 108"/>
                <a:gd name="T80" fmla="*/ 42 w 58"/>
                <a:gd name="T81" fmla="*/ 66 h 108"/>
                <a:gd name="T82" fmla="*/ 46 w 58"/>
                <a:gd name="T83" fmla="*/ 66 h 108"/>
                <a:gd name="T84" fmla="*/ 52 w 58"/>
                <a:gd name="T85" fmla="*/ 70 h 108"/>
                <a:gd name="T86" fmla="*/ 58 w 58"/>
                <a:gd name="T87" fmla="*/ 78 h 108"/>
                <a:gd name="T88" fmla="*/ 56 w 58"/>
                <a:gd name="T89" fmla="*/ 92 h 108"/>
                <a:gd name="T90" fmla="*/ 54 w 58"/>
                <a:gd name="T91" fmla="*/ 98 h 108"/>
                <a:gd name="T92" fmla="*/ 52 w 58"/>
                <a:gd name="T93" fmla="*/ 100 h 108"/>
                <a:gd name="T94" fmla="*/ 42 w 58"/>
                <a:gd name="T95" fmla="*/ 10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8" h="108">
                  <a:moveTo>
                    <a:pt x="32" y="106"/>
                  </a:moveTo>
                  <a:lnTo>
                    <a:pt x="32" y="106"/>
                  </a:lnTo>
                  <a:lnTo>
                    <a:pt x="32" y="106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6" y="108"/>
                  </a:lnTo>
                  <a:lnTo>
                    <a:pt x="24" y="108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2" y="106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2"/>
                  </a:lnTo>
                  <a:lnTo>
                    <a:pt x="22" y="98"/>
                  </a:lnTo>
                  <a:lnTo>
                    <a:pt x="22" y="96"/>
                  </a:lnTo>
                  <a:lnTo>
                    <a:pt x="22" y="94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18" y="90"/>
                  </a:lnTo>
                  <a:lnTo>
                    <a:pt x="18" y="88"/>
                  </a:lnTo>
                  <a:lnTo>
                    <a:pt x="16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0" y="86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6" y="84"/>
                  </a:lnTo>
                  <a:lnTo>
                    <a:pt x="4" y="82"/>
                  </a:lnTo>
                  <a:lnTo>
                    <a:pt x="4" y="80"/>
                  </a:lnTo>
                  <a:lnTo>
                    <a:pt x="2" y="78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4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6" y="52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6"/>
                  </a:lnTo>
                  <a:lnTo>
                    <a:pt x="16" y="46"/>
                  </a:lnTo>
                  <a:lnTo>
                    <a:pt x="16" y="44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8" y="28"/>
                  </a:lnTo>
                  <a:lnTo>
                    <a:pt x="20" y="28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4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22" y="6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4" y="28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2"/>
                  </a:lnTo>
                  <a:lnTo>
                    <a:pt x="56" y="44"/>
                  </a:lnTo>
                  <a:lnTo>
                    <a:pt x="54" y="46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2" y="48"/>
                  </a:lnTo>
                  <a:lnTo>
                    <a:pt x="52" y="50"/>
                  </a:lnTo>
                  <a:lnTo>
                    <a:pt x="50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6" y="50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2" y="54"/>
                  </a:lnTo>
                  <a:lnTo>
                    <a:pt x="42" y="56"/>
                  </a:lnTo>
                  <a:lnTo>
                    <a:pt x="42" y="58"/>
                  </a:lnTo>
                  <a:lnTo>
                    <a:pt x="42" y="60"/>
                  </a:lnTo>
                  <a:lnTo>
                    <a:pt x="42" y="62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2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4" y="72"/>
                  </a:lnTo>
                  <a:lnTo>
                    <a:pt x="58" y="76"/>
                  </a:lnTo>
                  <a:lnTo>
                    <a:pt x="58" y="78"/>
                  </a:lnTo>
                  <a:lnTo>
                    <a:pt x="58" y="82"/>
                  </a:lnTo>
                  <a:lnTo>
                    <a:pt x="58" y="86"/>
                  </a:lnTo>
                  <a:lnTo>
                    <a:pt x="58" y="88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6" y="98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6" y="100"/>
                  </a:lnTo>
                  <a:lnTo>
                    <a:pt x="42" y="102"/>
                  </a:lnTo>
                  <a:lnTo>
                    <a:pt x="38" y="104"/>
                  </a:lnTo>
                  <a:lnTo>
                    <a:pt x="32" y="10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96" name="Freeform 454">
              <a:extLst>
                <a:ext uri="{FF2B5EF4-FFF2-40B4-BE49-F238E27FC236}">
                  <a16:creationId xmlns:a16="http://schemas.microsoft.com/office/drawing/2014/main" id="{9F8E81D8-8F80-4450-863D-B964763B0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522" y="3634944"/>
              <a:ext cx="256264" cy="237354"/>
            </a:xfrm>
            <a:custGeom>
              <a:avLst/>
              <a:gdLst>
                <a:gd name="T0" fmla="*/ 120 w 150"/>
                <a:gd name="T1" fmla="*/ 16 h 142"/>
                <a:gd name="T2" fmla="*/ 128 w 150"/>
                <a:gd name="T3" fmla="*/ 16 h 142"/>
                <a:gd name="T4" fmla="*/ 142 w 150"/>
                <a:gd name="T5" fmla="*/ 20 h 142"/>
                <a:gd name="T6" fmla="*/ 148 w 150"/>
                <a:gd name="T7" fmla="*/ 26 h 142"/>
                <a:gd name="T8" fmla="*/ 146 w 150"/>
                <a:gd name="T9" fmla="*/ 30 h 142"/>
                <a:gd name="T10" fmla="*/ 140 w 150"/>
                <a:gd name="T11" fmla="*/ 38 h 142"/>
                <a:gd name="T12" fmla="*/ 140 w 150"/>
                <a:gd name="T13" fmla="*/ 42 h 142"/>
                <a:gd name="T14" fmla="*/ 146 w 150"/>
                <a:gd name="T15" fmla="*/ 44 h 142"/>
                <a:gd name="T16" fmla="*/ 150 w 150"/>
                <a:gd name="T17" fmla="*/ 48 h 142"/>
                <a:gd name="T18" fmla="*/ 148 w 150"/>
                <a:gd name="T19" fmla="*/ 60 h 142"/>
                <a:gd name="T20" fmla="*/ 144 w 150"/>
                <a:gd name="T21" fmla="*/ 68 h 142"/>
                <a:gd name="T22" fmla="*/ 140 w 150"/>
                <a:gd name="T23" fmla="*/ 72 h 142"/>
                <a:gd name="T24" fmla="*/ 130 w 150"/>
                <a:gd name="T25" fmla="*/ 72 h 142"/>
                <a:gd name="T26" fmla="*/ 126 w 150"/>
                <a:gd name="T27" fmla="*/ 74 h 142"/>
                <a:gd name="T28" fmla="*/ 124 w 150"/>
                <a:gd name="T29" fmla="*/ 80 h 142"/>
                <a:gd name="T30" fmla="*/ 124 w 150"/>
                <a:gd name="T31" fmla="*/ 84 h 142"/>
                <a:gd name="T32" fmla="*/ 130 w 150"/>
                <a:gd name="T33" fmla="*/ 88 h 142"/>
                <a:gd name="T34" fmla="*/ 130 w 150"/>
                <a:gd name="T35" fmla="*/ 94 h 142"/>
                <a:gd name="T36" fmla="*/ 120 w 150"/>
                <a:gd name="T37" fmla="*/ 102 h 142"/>
                <a:gd name="T38" fmla="*/ 110 w 150"/>
                <a:gd name="T39" fmla="*/ 110 h 142"/>
                <a:gd name="T40" fmla="*/ 98 w 150"/>
                <a:gd name="T41" fmla="*/ 120 h 142"/>
                <a:gd name="T42" fmla="*/ 88 w 150"/>
                <a:gd name="T43" fmla="*/ 126 h 142"/>
                <a:gd name="T44" fmla="*/ 80 w 150"/>
                <a:gd name="T45" fmla="*/ 126 h 142"/>
                <a:gd name="T46" fmla="*/ 76 w 150"/>
                <a:gd name="T47" fmla="*/ 130 h 142"/>
                <a:gd name="T48" fmla="*/ 74 w 150"/>
                <a:gd name="T49" fmla="*/ 134 h 142"/>
                <a:gd name="T50" fmla="*/ 66 w 150"/>
                <a:gd name="T51" fmla="*/ 132 h 142"/>
                <a:gd name="T52" fmla="*/ 64 w 150"/>
                <a:gd name="T53" fmla="*/ 132 h 142"/>
                <a:gd name="T54" fmla="*/ 62 w 150"/>
                <a:gd name="T55" fmla="*/ 136 h 142"/>
                <a:gd name="T56" fmla="*/ 62 w 150"/>
                <a:gd name="T57" fmla="*/ 140 h 142"/>
                <a:gd name="T58" fmla="*/ 56 w 150"/>
                <a:gd name="T59" fmla="*/ 142 h 142"/>
                <a:gd name="T60" fmla="*/ 46 w 150"/>
                <a:gd name="T61" fmla="*/ 140 h 142"/>
                <a:gd name="T62" fmla="*/ 48 w 150"/>
                <a:gd name="T63" fmla="*/ 134 h 142"/>
                <a:gd name="T64" fmla="*/ 44 w 150"/>
                <a:gd name="T65" fmla="*/ 132 h 142"/>
                <a:gd name="T66" fmla="*/ 0 w 150"/>
                <a:gd name="T67" fmla="*/ 134 h 142"/>
                <a:gd name="T68" fmla="*/ 10 w 150"/>
                <a:gd name="T69" fmla="*/ 120 h 142"/>
                <a:gd name="T70" fmla="*/ 16 w 150"/>
                <a:gd name="T71" fmla="*/ 118 h 142"/>
                <a:gd name="T72" fmla="*/ 24 w 150"/>
                <a:gd name="T73" fmla="*/ 110 h 142"/>
                <a:gd name="T74" fmla="*/ 28 w 150"/>
                <a:gd name="T75" fmla="*/ 98 h 142"/>
                <a:gd name="T76" fmla="*/ 30 w 150"/>
                <a:gd name="T77" fmla="*/ 66 h 142"/>
                <a:gd name="T78" fmla="*/ 34 w 150"/>
                <a:gd name="T79" fmla="*/ 52 h 142"/>
                <a:gd name="T80" fmla="*/ 38 w 150"/>
                <a:gd name="T81" fmla="*/ 50 h 142"/>
                <a:gd name="T82" fmla="*/ 42 w 150"/>
                <a:gd name="T83" fmla="*/ 52 h 142"/>
                <a:gd name="T84" fmla="*/ 44 w 150"/>
                <a:gd name="T85" fmla="*/ 48 h 142"/>
                <a:gd name="T86" fmla="*/ 44 w 150"/>
                <a:gd name="T87" fmla="*/ 42 h 142"/>
                <a:gd name="T88" fmla="*/ 50 w 150"/>
                <a:gd name="T89" fmla="*/ 40 h 142"/>
                <a:gd name="T90" fmla="*/ 62 w 150"/>
                <a:gd name="T91" fmla="*/ 42 h 142"/>
                <a:gd name="T92" fmla="*/ 68 w 150"/>
                <a:gd name="T93" fmla="*/ 40 h 142"/>
                <a:gd name="T94" fmla="*/ 68 w 150"/>
                <a:gd name="T95" fmla="*/ 34 h 142"/>
                <a:gd name="T96" fmla="*/ 68 w 150"/>
                <a:gd name="T97" fmla="*/ 28 h 142"/>
                <a:gd name="T98" fmla="*/ 76 w 150"/>
                <a:gd name="T99" fmla="*/ 20 h 142"/>
                <a:gd name="T100" fmla="*/ 82 w 150"/>
                <a:gd name="T101" fmla="*/ 8 h 142"/>
                <a:gd name="T102" fmla="*/ 84 w 150"/>
                <a:gd name="T103" fmla="*/ 0 h 142"/>
                <a:gd name="T104" fmla="*/ 88 w 150"/>
                <a:gd name="T105" fmla="*/ 0 h 142"/>
                <a:gd name="T106" fmla="*/ 96 w 150"/>
                <a:gd name="T107" fmla="*/ 6 h 142"/>
                <a:gd name="T108" fmla="*/ 104 w 150"/>
                <a:gd name="T109" fmla="*/ 8 h 142"/>
                <a:gd name="T110" fmla="*/ 112 w 150"/>
                <a:gd name="T111" fmla="*/ 10 h 142"/>
                <a:gd name="T112" fmla="*/ 118 w 150"/>
                <a:gd name="T113" fmla="*/ 1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0" h="142">
                  <a:moveTo>
                    <a:pt x="120" y="18"/>
                  </a:move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2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0" y="16"/>
                  </a:lnTo>
                  <a:lnTo>
                    <a:pt x="134" y="16"/>
                  </a:lnTo>
                  <a:lnTo>
                    <a:pt x="136" y="16"/>
                  </a:lnTo>
                  <a:lnTo>
                    <a:pt x="138" y="16"/>
                  </a:lnTo>
                  <a:lnTo>
                    <a:pt x="142" y="20"/>
                  </a:lnTo>
                  <a:lnTo>
                    <a:pt x="144" y="22"/>
                  </a:lnTo>
                  <a:lnTo>
                    <a:pt x="146" y="24"/>
                  </a:lnTo>
                  <a:lnTo>
                    <a:pt x="146" y="24"/>
                  </a:lnTo>
                  <a:lnTo>
                    <a:pt x="146" y="26"/>
                  </a:lnTo>
                  <a:lnTo>
                    <a:pt x="148" y="26"/>
                  </a:lnTo>
                  <a:lnTo>
                    <a:pt x="148" y="26"/>
                  </a:lnTo>
                  <a:lnTo>
                    <a:pt x="148" y="28"/>
                  </a:lnTo>
                  <a:lnTo>
                    <a:pt x="148" y="28"/>
                  </a:lnTo>
                  <a:lnTo>
                    <a:pt x="146" y="28"/>
                  </a:lnTo>
                  <a:lnTo>
                    <a:pt x="146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2" y="36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0" y="42"/>
                  </a:lnTo>
                  <a:lnTo>
                    <a:pt x="140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4" y="44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48" y="44"/>
                  </a:lnTo>
                  <a:lnTo>
                    <a:pt x="148" y="46"/>
                  </a:lnTo>
                  <a:lnTo>
                    <a:pt x="148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60"/>
                  </a:lnTo>
                  <a:lnTo>
                    <a:pt x="148" y="62"/>
                  </a:lnTo>
                  <a:lnTo>
                    <a:pt x="146" y="64"/>
                  </a:lnTo>
                  <a:lnTo>
                    <a:pt x="146" y="66"/>
                  </a:lnTo>
                  <a:lnTo>
                    <a:pt x="146" y="68"/>
                  </a:lnTo>
                  <a:lnTo>
                    <a:pt x="144" y="68"/>
                  </a:lnTo>
                  <a:lnTo>
                    <a:pt x="144" y="70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4" y="72"/>
                  </a:lnTo>
                  <a:lnTo>
                    <a:pt x="132" y="72"/>
                  </a:lnTo>
                  <a:lnTo>
                    <a:pt x="13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4"/>
                  </a:lnTo>
                  <a:lnTo>
                    <a:pt x="124" y="74"/>
                  </a:lnTo>
                  <a:lnTo>
                    <a:pt x="124" y="76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80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6" y="86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30" y="90"/>
                  </a:lnTo>
                  <a:lnTo>
                    <a:pt x="132" y="90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26" y="96"/>
                  </a:lnTo>
                  <a:lnTo>
                    <a:pt x="124" y="100"/>
                  </a:lnTo>
                  <a:lnTo>
                    <a:pt x="120" y="102"/>
                  </a:lnTo>
                  <a:lnTo>
                    <a:pt x="118" y="102"/>
                  </a:lnTo>
                  <a:lnTo>
                    <a:pt x="114" y="104"/>
                  </a:lnTo>
                  <a:lnTo>
                    <a:pt x="114" y="106"/>
                  </a:lnTo>
                  <a:lnTo>
                    <a:pt x="112" y="106"/>
                  </a:lnTo>
                  <a:lnTo>
                    <a:pt x="110" y="110"/>
                  </a:lnTo>
                  <a:lnTo>
                    <a:pt x="106" y="112"/>
                  </a:lnTo>
                  <a:lnTo>
                    <a:pt x="102" y="116"/>
                  </a:lnTo>
                  <a:lnTo>
                    <a:pt x="102" y="118"/>
                  </a:lnTo>
                  <a:lnTo>
                    <a:pt x="100" y="120"/>
                  </a:lnTo>
                  <a:lnTo>
                    <a:pt x="98" y="120"/>
                  </a:lnTo>
                  <a:lnTo>
                    <a:pt x="94" y="122"/>
                  </a:lnTo>
                  <a:lnTo>
                    <a:pt x="92" y="124"/>
                  </a:lnTo>
                  <a:lnTo>
                    <a:pt x="90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6" y="126"/>
                  </a:lnTo>
                  <a:lnTo>
                    <a:pt x="84" y="126"/>
                  </a:lnTo>
                  <a:lnTo>
                    <a:pt x="82" y="126"/>
                  </a:lnTo>
                  <a:lnTo>
                    <a:pt x="80" y="126"/>
                  </a:lnTo>
                  <a:lnTo>
                    <a:pt x="80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6" y="132"/>
                  </a:lnTo>
                  <a:lnTo>
                    <a:pt x="76" y="132"/>
                  </a:lnTo>
                  <a:lnTo>
                    <a:pt x="74" y="132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2" y="134"/>
                  </a:lnTo>
                  <a:lnTo>
                    <a:pt x="70" y="132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0" y="142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6" y="140"/>
                  </a:lnTo>
                  <a:lnTo>
                    <a:pt x="48" y="138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0" y="134"/>
                  </a:lnTo>
                  <a:lnTo>
                    <a:pt x="0" y="132"/>
                  </a:lnTo>
                  <a:lnTo>
                    <a:pt x="4" y="128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20"/>
                  </a:lnTo>
                  <a:lnTo>
                    <a:pt x="14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8" y="118"/>
                  </a:lnTo>
                  <a:lnTo>
                    <a:pt x="20" y="116"/>
                  </a:lnTo>
                  <a:lnTo>
                    <a:pt x="22" y="112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26" y="104"/>
                  </a:lnTo>
                  <a:lnTo>
                    <a:pt x="28" y="102"/>
                  </a:lnTo>
                  <a:lnTo>
                    <a:pt x="28" y="98"/>
                  </a:lnTo>
                  <a:lnTo>
                    <a:pt x="28" y="92"/>
                  </a:lnTo>
                  <a:lnTo>
                    <a:pt x="28" y="86"/>
                  </a:lnTo>
                  <a:lnTo>
                    <a:pt x="30" y="74"/>
                  </a:lnTo>
                  <a:lnTo>
                    <a:pt x="30" y="68"/>
                  </a:lnTo>
                  <a:lnTo>
                    <a:pt x="30" y="66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0" y="50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4" y="46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6" y="40"/>
                  </a:lnTo>
                  <a:lnTo>
                    <a:pt x="48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4" y="42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0" y="26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6" y="20"/>
                  </a:lnTo>
                  <a:lnTo>
                    <a:pt x="76" y="18"/>
                  </a:lnTo>
                  <a:lnTo>
                    <a:pt x="78" y="16"/>
                  </a:lnTo>
                  <a:lnTo>
                    <a:pt x="80" y="14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6" y="12"/>
                  </a:lnTo>
                  <a:lnTo>
                    <a:pt x="116" y="14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20" y="16"/>
                  </a:lnTo>
                  <a:lnTo>
                    <a:pt x="120" y="18"/>
                  </a:lnTo>
                  <a:lnTo>
                    <a:pt x="120" y="1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97" name="Freeform 603">
              <a:extLst>
                <a:ext uri="{FF2B5EF4-FFF2-40B4-BE49-F238E27FC236}">
                  <a16:creationId xmlns:a16="http://schemas.microsoft.com/office/drawing/2014/main" id="{8F8A4B5B-474F-4FF5-9BA8-BA73CF169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1916" y="4243369"/>
              <a:ext cx="351935" cy="324271"/>
            </a:xfrm>
            <a:custGeom>
              <a:avLst/>
              <a:gdLst>
                <a:gd name="T0" fmla="*/ 202 w 206"/>
                <a:gd name="T1" fmla="*/ 116 h 194"/>
                <a:gd name="T2" fmla="*/ 190 w 206"/>
                <a:gd name="T3" fmla="*/ 108 h 194"/>
                <a:gd name="T4" fmla="*/ 176 w 206"/>
                <a:gd name="T5" fmla="*/ 112 h 194"/>
                <a:gd name="T6" fmla="*/ 168 w 206"/>
                <a:gd name="T7" fmla="*/ 106 h 194"/>
                <a:gd name="T8" fmla="*/ 144 w 206"/>
                <a:gd name="T9" fmla="*/ 80 h 194"/>
                <a:gd name="T10" fmla="*/ 126 w 206"/>
                <a:gd name="T11" fmla="*/ 76 h 194"/>
                <a:gd name="T12" fmla="*/ 122 w 206"/>
                <a:gd name="T13" fmla="*/ 72 h 194"/>
                <a:gd name="T14" fmla="*/ 122 w 206"/>
                <a:gd name="T15" fmla="*/ 58 h 194"/>
                <a:gd name="T16" fmla="*/ 128 w 206"/>
                <a:gd name="T17" fmla="*/ 42 h 194"/>
                <a:gd name="T18" fmla="*/ 120 w 206"/>
                <a:gd name="T19" fmla="*/ 46 h 194"/>
                <a:gd name="T20" fmla="*/ 114 w 206"/>
                <a:gd name="T21" fmla="*/ 38 h 194"/>
                <a:gd name="T22" fmla="*/ 104 w 206"/>
                <a:gd name="T23" fmla="*/ 22 h 194"/>
                <a:gd name="T24" fmla="*/ 88 w 206"/>
                <a:gd name="T25" fmla="*/ 8 h 194"/>
                <a:gd name="T26" fmla="*/ 82 w 206"/>
                <a:gd name="T27" fmla="*/ 6 h 194"/>
                <a:gd name="T28" fmla="*/ 70 w 206"/>
                <a:gd name="T29" fmla="*/ 4 h 194"/>
                <a:gd name="T30" fmla="*/ 54 w 206"/>
                <a:gd name="T31" fmla="*/ 4 h 194"/>
                <a:gd name="T32" fmla="*/ 56 w 206"/>
                <a:gd name="T33" fmla="*/ 18 h 194"/>
                <a:gd name="T34" fmla="*/ 54 w 206"/>
                <a:gd name="T35" fmla="*/ 36 h 194"/>
                <a:gd name="T36" fmla="*/ 48 w 206"/>
                <a:gd name="T37" fmla="*/ 40 h 194"/>
                <a:gd name="T38" fmla="*/ 36 w 206"/>
                <a:gd name="T39" fmla="*/ 42 h 194"/>
                <a:gd name="T40" fmla="*/ 32 w 206"/>
                <a:gd name="T41" fmla="*/ 46 h 194"/>
                <a:gd name="T42" fmla="*/ 34 w 206"/>
                <a:gd name="T43" fmla="*/ 66 h 194"/>
                <a:gd name="T44" fmla="*/ 32 w 206"/>
                <a:gd name="T45" fmla="*/ 74 h 194"/>
                <a:gd name="T46" fmla="*/ 28 w 206"/>
                <a:gd name="T47" fmla="*/ 76 h 194"/>
                <a:gd name="T48" fmla="*/ 20 w 206"/>
                <a:gd name="T49" fmla="*/ 76 h 194"/>
                <a:gd name="T50" fmla="*/ 18 w 206"/>
                <a:gd name="T51" fmla="*/ 82 h 194"/>
                <a:gd name="T52" fmla="*/ 18 w 206"/>
                <a:gd name="T53" fmla="*/ 102 h 194"/>
                <a:gd name="T54" fmla="*/ 14 w 206"/>
                <a:gd name="T55" fmla="*/ 110 h 194"/>
                <a:gd name="T56" fmla="*/ 6 w 206"/>
                <a:gd name="T57" fmla="*/ 108 h 194"/>
                <a:gd name="T58" fmla="*/ 0 w 206"/>
                <a:gd name="T59" fmla="*/ 110 h 194"/>
                <a:gd name="T60" fmla="*/ 2 w 206"/>
                <a:gd name="T61" fmla="*/ 118 h 194"/>
                <a:gd name="T62" fmla="*/ 10 w 206"/>
                <a:gd name="T63" fmla="*/ 126 h 194"/>
                <a:gd name="T64" fmla="*/ 16 w 206"/>
                <a:gd name="T65" fmla="*/ 126 h 194"/>
                <a:gd name="T66" fmla="*/ 16 w 206"/>
                <a:gd name="T67" fmla="*/ 136 h 194"/>
                <a:gd name="T68" fmla="*/ 22 w 206"/>
                <a:gd name="T69" fmla="*/ 142 h 194"/>
                <a:gd name="T70" fmla="*/ 32 w 206"/>
                <a:gd name="T71" fmla="*/ 152 h 194"/>
                <a:gd name="T72" fmla="*/ 36 w 206"/>
                <a:gd name="T73" fmla="*/ 160 h 194"/>
                <a:gd name="T74" fmla="*/ 48 w 206"/>
                <a:gd name="T75" fmla="*/ 170 h 194"/>
                <a:gd name="T76" fmla="*/ 60 w 206"/>
                <a:gd name="T77" fmla="*/ 178 h 194"/>
                <a:gd name="T78" fmla="*/ 64 w 206"/>
                <a:gd name="T79" fmla="*/ 186 h 194"/>
                <a:gd name="T80" fmla="*/ 66 w 206"/>
                <a:gd name="T81" fmla="*/ 192 h 194"/>
                <a:gd name="T82" fmla="*/ 80 w 206"/>
                <a:gd name="T83" fmla="*/ 194 h 194"/>
                <a:gd name="T84" fmla="*/ 92 w 206"/>
                <a:gd name="T85" fmla="*/ 192 h 194"/>
                <a:gd name="T86" fmla="*/ 98 w 206"/>
                <a:gd name="T87" fmla="*/ 186 h 194"/>
                <a:gd name="T88" fmla="*/ 100 w 206"/>
                <a:gd name="T89" fmla="*/ 180 h 194"/>
                <a:gd name="T90" fmla="*/ 114 w 206"/>
                <a:gd name="T91" fmla="*/ 180 h 194"/>
                <a:gd name="T92" fmla="*/ 122 w 206"/>
                <a:gd name="T93" fmla="*/ 186 h 194"/>
                <a:gd name="T94" fmla="*/ 134 w 206"/>
                <a:gd name="T95" fmla="*/ 182 h 194"/>
                <a:gd name="T96" fmla="*/ 140 w 206"/>
                <a:gd name="T97" fmla="*/ 176 h 194"/>
                <a:gd name="T98" fmla="*/ 154 w 206"/>
                <a:gd name="T99" fmla="*/ 176 h 194"/>
                <a:gd name="T100" fmla="*/ 174 w 206"/>
                <a:gd name="T101" fmla="*/ 172 h 194"/>
                <a:gd name="T102" fmla="*/ 186 w 206"/>
                <a:gd name="T103" fmla="*/ 160 h 194"/>
                <a:gd name="T104" fmla="*/ 190 w 206"/>
                <a:gd name="T105" fmla="*/ 148 h 194"/>
                <a:gd name="T106" fmla="*/ 192 w 206"/>
                <a:gd name="T107" fmla="*/ 136 h 194"/>
                <a:gd name="T108" fmla="*/ 200 w 206"/>
                <a:gd name="T109" fmla="*/ 130 h 194"/>
                <a:gd name="T110" fmla="*/ 206 w 206"/>
                <a:gd name="T111" fmla="*/ 12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6" h="194">
                  <a:moveTo>
                    <a:pt x="206" y="122"/>
                  </a:moveTo>
                  <a:lnTo>
                    <a:pt x="206" y="120"/>
                  </a:lnTo>
                  <a:lnTo>
                    <a:pt x="204" y="120"/>
                  </a:lnTo>
                  <a:lnTo>
                    <a:pt x="204" y="118"/>
                  </a:lnTo>
                  <a:lnTo>
                    <a:pt x="204" y="118"/>
                  </a:lnTo>
                  <a:lnTo>
                    <a:pt x="202" y="116"/>
                  </a:lnTo>
                  <a:lnTo>
                    <a:pt x="198" y="114"/>
                  </a:lnTo>
                  <a:lnTo>
                    <a:pt x="196" y="112"/>
                  </a:lnTo>
                  <a:lnTo>
                    <a:pt x="194" y="110"/>
                  </a:lnTo>
                  <a:lnTo>
                    <a:pt x="192" y="110"/>
                  </a:lnTo>
                  <a:lnTo>
                    <a:pt x="192" y="110"/>
                  </a:lnTo>
                  <a:lnTo>
                    <a:pt x="190" y="108"/>
                  </a:lnTo>
                  <a:lnTo>
                    <a:pt x="188" y="110"/>
                  </a:lnTo>
                  <a:lnTo>
                    <a:pt x="186" y="110"/>
                  </a:lnTo>
                  <a:lnTo>
                    <a:pt x="184" y="110"/>
                  </a:lnTo>
                  <a:lnTo>
                    <a:pt x="180" y="110"/>
                  </a:lnTo>
                  <a:lnTo>
                    <a:pt x="178" y="110"/>
                  </a:lnTo>
                  <a:lnTo>
                    <a:pt x="176" y="112"/>
                  </a:lnTo>
                  <a:lnTo>
                    <a:pt x="176" y="110"/>
                  </a:lnTo>
                  <a:lnTo>
                    <a:pt x="174" y="110"/>
                  </a:lnTo>
                  <a:lnTo>
                    <a:pt x="174" y="110"/>
                  </a:lnTo>
                  <a:lnTo>
                    <a:pt x="172" y="108"/>
                  </a:lnTo>
                  <a:lnTo>
                    <a:pt x="170" y="108"/>
                  </a:lnTo>
                  <a:lnTo>
                    <a:pt x="168" y="106"/>
                  </a:lnTo>
                  <a:lnTo>
                    <a:pt x="166" y="104"/>
                  </a:lnTo>
                  <a:lnTo>
                    <a:pt x="162" y="100"/>
                  </a:lnTo>
                  <a:lnTo>
                    <a:pt x="156" y="92"/>
                  </a:lnTo>
                  <a:lnTo>
                    <a:pt x="154" y="90"/>
                  </a:lnTo>
                  <a:lnTo>
                    <a:pt x="150" y="86"/>
                  </a:lnTo>
                  <a:lnTo>
                    <a:pt x="144" y="80"/>
                  </a:lnTo>
                  <a:lnTo>
                    <a:pt x="140" y="76"/>
                  </a:lnTo>
                  <a:lnTo>
                    <a:pt x="138" y="76"/>
                  </a:lnTo>
                  <a:lnTo>
                    <a:pt x="134" y="76"/>
                  </a:lnTo>
                  <a:lnTo>
                    <a:pt x="132" y="76"/>
                  </a:lnTo>
                  <a:lnTo>
                    <a:pt x="130" y="76"/>
                  </a:lnTo>
                  <a:lnTo>
                    <a:pt x="126" y="76"/>
                  </a:lnTo>
                  <a:lnTo>
                    <a:pt x="126" y="76"/>
                  </a:lnTo>
                  <a:lnTo>
                    <a:pt x="124" y="76"/>
                  </a:lnTo>
                  <a:lnTo>
                    <a:pt x="124" y="74"/>
                  </a:lnTo>
                  <a:lnTo>
                    <a:pt x="122" y="74"/>
                  </a:lnTo>
                  <a:lnTo>
                    <a:pt x="122" y="74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0"/>
                  </a:lnTo>
                  <a:lnTo>
                    <a:pt x="122" y="68"/>
                  </a:lnTo>
                  <a:lnTo>
                    <a:pt x="122" y="66"/>
                  </a:lnTo>
                  <a:lnTo>
                    <a:pt x="122" y="62"/>
                  </a:lnTo>
                  <a:lnTo>
                    <a:pt x="122" y="58"/>
                  </a:lnTo>
                  <a:lnTo>
                    <a:pt x="124" y="54"/>
                  </a:lnTo>
                  <a:lnTo>
                    <a:pt x="124" y="50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6" y="44"/>
                  </a:lnTo>
                  <a:lnTo>
                    <a:pt x="122" y="44"/>
                  </a:lnTo>
                  <a:lnTo>
                    <a:pt x="122" y="44"/>
                  </a:lnTo>
                  <a:lnTo>
                    <a:pt x="122" y="46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0" y="44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06" y="26"/>
                  </a:lnTo>
                  <a:lnTo>
                    <a:pt x="106" y="26"/>
                  </a:lnTo>
                  <a:lnTo>
                    <a:pt x="104" y="22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94" y="12"/>
                  </a:lnTo>
                  <a:lnTo>
                    <a:pt x="94" y="10"/>
                  </a:lnTo>
                  <a:lnTo>
                    <a:pt x="92" y="12"/>
                  </a:lnTo>
                  <a:lnTo>
                    <a:pt x="88" y="8"/>
                  </a:lnTo>
                  <a:lnTo>
                    <a:pt x="86" y="10"/>
                  </a:lnTo>
                  <a:lnTo>
                    <a:pt x="84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68" y="4"/>
                  </a:lnTo>
                  <a:lnTo>
                    <a:pt x="66" y="0"/>
                  </a:lnTo>
                  <a:lnTo>
                    <a:pt x="60" y="8"/>
                  </a:lnTo>
                  <a:lnTo>
                    <a:pt x="58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6" y="22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30"/>
                  </a:lnTo>
                  <a:lnTo>
                    <a:pt x="54" y="32"/>
                  </a:lnTo>
                  <a:lnTo>
                    <a:pt x="54" y="36"/>
                  </a:lnTo>
                  <a:lnTo>
                    <a:pt x="54" y="38"/>
                  </a:lnTo>
                  <a:lnTo>
                    <a:pt x="52" y="38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48" y="40"/>
                  </a:lnTo>
                  <a:lnTo>
                    <a:pt x="46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38" y="40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4"/>
                  </a:lnTo>
                  <a:lnTo>
                    <a:pt x="32" y="44"/>
                  </a:lnTo>
                  <a:lnTo>
                    <a:pt x="32" y="46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8"/>
                  </a:lnTo>
                  <a:lnTo>
                    <a:pt x="34" y="64"/>
                  </a:lnTo>
                  <a:lnTo>
                    <a:pt x="34" y="66"/>
                  </a:lnTo>
                  <a:lnTo>
                    <a:pt x="34" y="68"/>
                  </a:lnTo>
                  <a:lnTo>
                    <a:pt x="34" y="70"/>
                  </a:lnTo>
                  <a:lnTo>
                    <a:pt x="32" y="72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4" y="76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8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80"/>
                  </a:lnTo>
                  <a:lnTo>
                    <a:pt x="18" y="82"/>
                  </a:lnTo>
                  <a:lnTo>
                    <a:pt x="16" y="84"/>
                  </a:lnTo>
                  <a:lnTo>
                    <a:pt x="18" y="88"/>
                  </a:lnTo>
                  <a:lnTo>
                    <a:pt x="18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4"/>
                  </a:lnTo>
                  <a:lnTo>
                    <a:pt x="18" y="106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6" y="108"/>
                  </a:lnTo>
                  <a:lnTo>
                    <a:pt x="4" y="108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2" y="116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4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30"/>
                  </a:lnTo>
                  <a:lnTo>
                    <a:pt x="16" y="132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8" y="138"/>
                  </a:lnTo>
                  <a:lnTo>
                    <a:pt x="18" y="140"/>
                  </a:lnTo>
                  <a:lnTo>
                    <a:pt x="20" y="140"/>
                  </a:lnTo>
                  <a:lnTo>
                    <a:pt x="22" y="142"/>
                  </a:lnTo>
                  <a:lnTo>
                    <a:pt x="24" y="144"/>
                  </a:lnTo>
                  <a:lnTo>
                    <a:pt x="26" y="146"/>
                  </a:lnTo>
                  <a:lnTo>
                    <a:pt x="28" y="146"/>
                  </a:lnTo>
                  <a:lnTo>
                    <a:pt x="28" y="148"/>
                  </a:lnTo>
                  <a:lnTo>
                    <a:pt x="30" y="150"/>
                  </a:lnTo>
                  <a:lnTo>
                    <a:pt x="32" y="152"/>
                  </a:lnTo>
                  <a:lnTo>
                    <a:pt x="34" y="154"/>
                  </a:lnTo>
                  <a:lnTo>
                    <a:pt x="34" y="156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4" y="168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6" y="170"/>
                  </a:lnTo>
                  <a:lnTo>
                    <a:pt x="48" y="170"/>
                  </a:lnTo>
                  <a:lnTo>
                    <a:pt x="50" y="172"/>
                  </a:lnTo>
                  <a:lnTo>
                    <a:pt x="52" y="172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58" y="176"/>
                  </a:lnTo>
                  <a:lnTo>
                    <a:pt x="60" y="178"/>
                  </a:lnTo>
                  <a:lnTo>
                    <a:pt x="62" y="178"/>
                  </a:lnTo>
                  <a:lnTo>
                    <a:pt x="62" y="180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84"/>
                  </a:lnTo>
                  <a:lnTo>
                    <a:pt x="64" y="186"/>
                  </a:lnTo>
                  <a:lnTo>
                    <a:pt x="64" y="188"/>
                  </a:lnTo>
                  <a:lnTo>
                    <a:pt x="64" y="190"/>
                  </a:lnTo>
                  <a:lnTo>
                    <a:pt x="64" y="190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8" y="192"/>
                  </a:lnTo>
                  <a:lnTo>
                    <a:pt x="70" y="194"/>
                  </a:lnTo>
                  <a:lnTo>
                    <a:pt x="72" y="194"/>
                  </a:lnTo>
                  <a:lnTo>
                    <a:pt x="74" y="194"/>
                  </a:lnTo>
                  <a:lnTo>
                    <a:pt x="76" y="194"/>
                  </a:lnTo>
                  <a:lnTo>
                    <a:pt x="80" y="194"/>
                  </a:lnTo>
                  <a:lnTo>
                    <a:pt x="82" y="194"/>
                  </a:lnTo>
                  <a:lnTo>
                    <a:pt x="84" y="194"/>
                  </a:lnTo>
                  <a:lnTo>
                    <a:pt x="86" y="194"/>
                  </a:lnTo>
                  <a:lnTo>
                    <a:pt x="88" y="192"/>
                  </a:lnTo>
                  <a:lnTo>
                    <a:pt x="90" y="192"/>
                  </a:lnTo>
                  <a:lnTo>
                    <a:pt x="92" y="192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8" y="188"/>
                  </a:lnTo>
                  <a:lnTo>
                    <a:pt x="98" y="188"/>
                  </a:lnTo>
                  <a:lnTo>
                    <a:pt x="98" y="188"/>
                  </a:lnTo>
                  <a:lnTo>
                    <a:pt x="98" y="186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98" y="182"/>
                  </a:lnTo>
                  <a:lnTo>
                    <a:pt x="100" y="180"/>
                  </a:lnTo>
                  <a:lnTo>
                    <a:pt x="100" y="180"/>
                  </a:lnTo>
                  <a:lnTo>
                    <a:pt x="104" y="180"/>
                  </a:lnTo>
                  <a:lnTo>
                    <a:pt x="106" y="180"/>
                  </a:lnTo>
                  <a:lnTo>
                    <a:pt x="110" y="180"/>
                  </a:lnTo>
                  <a:lnTo>
                    <a:pt x="112" y="180"/>
                  </a:lnTo>
                  <a:lnTo>
                    <a:pt x="114" y="180"/>
                  </a:lnTo>
                  <a:lnTo>
                    <a:pt x="116" y="182"/>
                  </a:lnTo>
                  <a:lnTo>
                    <a:pt x="118" y="182"/>
                  </a:lnTo>
                  <a:lnTo>
                    <a:pt x="118" y="182"/>
                  </a:lnTo>
                  <a:lnTo>
                    <a:pt x="120" y="184"/>
                  </a:lnTo>
                  <a:lnTo>
                    <a:pt x="120" y="186"/>
                  </a:lnTo>
                  <a:lnTo>
                    <a:pt x="122" y="186"/>
                  </a:lnTo>
                  <a:lnTo>
                    <a:pt x="124" y="188"/>
                  </a:lnTo>
                  <a:lnTo>
                    <a:pt x="126" y="190"/>
                  </a:lnTo>
                  <a:lnTo>
                    <a:pt x="128" y="192"/>
                  </a:lnTo>
                  <a:lnTo>
                    <a:pt x="130" y="190"/>
                  </a:lnTo>
                  <a:lnTo>
                    <a:pt x="132" y="184"/>
                  </a:lnTo>
                  <a:lnTo>
                    <a:pt x="134" y="182"/>
                  </a:lnTo>
                  <a:lnTo>
                    <a:pt x="136" y="180"/>
                  </a:lnTo>
                  <a:lnTo>
                    <a:pt x="138" y="178"/>
                  </a:lnTo>
                  <a:lnTo>
                    <a:pt x="138" y="176"/>
                  </a:lnTo>
                  <a:lnTo>
                    <a:pt x="140" y="176"/>
                  </a:lnTo>
                  <a:lnTo>
                    <a:pt x="140" y="176"/>
                  </a:lnTo>
                  <a:lnTo>
                    <a:pt x="140" y="176"/>
                  </a:lnTo>
                  <a:lnTo>
                    <a:pt x="142" y="176"/>
                  </a:lnTo>
                  <a:lnTo>
                    <a:pt x="144" y="176"/>
                  </a:lnTo>
                  <a:lnTo>
                    <a:pt x="146" y="176"/>
                  </a:lnTo>
                  <a:lnTo>
                    <a:pt x="152" y="176"/>
                  </a:lnTo>
                  <a:lnTo>
                    <a:pt x="152" y="176"/>
                  </a:lnTo>
                  <a:lnTo>
                    <a:pt x="154" y="176"/>
                  </a:lnTo>
                  <a:lnTo>
                    <a:pt x="158" y="176"/>
                  </a:lnTo>
                  <a:lnTo>
                    <a:pt x="164" y="174"/>
                  </a:lnTo>
                  <a:lnTo>
                    <a:pt x="166" y="174"/>
                  </a:lnTo>
                  <a:lnTo>
                    <a:pt x="170" y="172"/>
                  </a:lnTo>
                  <a:lnTo>
                    <a:pt x="172" y="172"/>
                  </a:lnTo>
                  <a:lnTo>
                    <a:pt x="174" y="172"/>
                  </a:lnTo>
                  <a:lnTo>
                    <a:pt x="176" y="170"/>
                  </a:lnTo>
                  <a:lnTo>
                    <a:pt x="178" y="168"/>
                  </a:lnTo>
                  <a:lnTo>
                    <a:pt x="180" y="166"/>
                  </a:lnTo>
                  <a:lnTo>
                    <a:pt x="182" y="164"/>
                  </a:lnTo>
                  <a:lnTo>
                    <a:pt x="184" y="162"/>
                  </a:lnTo>
                  <a:lnTo>
                    <a:pt x="186" y="160"/>
                  </a:lnTo>
                  <a:lnTo>
                    <a:pt x="188" y="158"/>
                  </a:lnTo>
                  <a:lnTo>
                    <a:pt x="188" y="156"/>
                  </a:lnTo>
                  <a:lnTo>
                    <a:pt x="188" y="156"/>
                  </a:lnTo>
                  <a:lnTo>
                    <a:pt x="190" y="154"/>
                  </a:lnTo>
                  <a:lnTo>
                    <a:pt x="190" y="152"/>
                  </a:lnTo>
                  <a:lnTo>
                    <a:pt x="190" y="148"/>
                  </a:lnTo>
                  <a:lnTo>
                    <a:pt x="190" y="146"/>
                  </a:lnTo>
                  <a:lnTo>
                    <a:pt x="190" y="142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36"/>
                  </a:lnTo>
                  <a:lnTo>
                    <a:pt x="192" y="136"/>
                  </a:lnTo>
                  <a:lnTo>
                    <a:pt x="192" y="136"/>
                  </a:lnTo>
                  <a:lnTo>
                    <a:pt x="192" y="134"/>
                  </a:lnTo>
                  <a:lnTo>
                    <a:pt x="194" y="134"/>
                  </a:lnTo>
                  <a:lnTo>
                    <a:pt x="194" y="132"/>
                  </a:lnTo>
                  <a:lnTo>
                    <a:pt x="198" y="132"/>
                  </a:lnTo>
                  <a:lnTo>
                    <a:pt x="200" y="130"/>
                  </a:lnTo>
                  <a:lnTo>
                    <a:pt x="202" y="128"/>
                  </a:lnTo>
                  <a:lnTo>
                    <a:pt x="204" y="128"/>
                  </a:lnTo>
                  <a:lnTo>
                    <a:pt x="204" y="126"/>
                  </a:lnTo>
                  <a:lnTo>
                    <a:pt x="204" y="126"/>
                  </a:lnTo>
                  <a:lnTo>
                    <a:pt x="206" y="126"/>
                  </a:lnTo>
                  <a:lnTo>
                    <a:pt x="206" y="124"/>
                  </a:lnTo>
                  <a:lnTo>
                    <a:pt x="206" y="124"/>
                  </a:lnTo>
                  <a:lnTo>
                    <a:pt x="206" y="122"/>
                  </a:lnTo>
                  <a:lnTo>
                    <a:pt x="206" y="12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98" name="Freeform 604">
              <a:extLst>
                <a:ext uri="{FF2B5EF4-FFF2-40B4-BE49-F238E27FC236}">
                  <a16:creationId xmlns:a16="http://schemas.microsoft.com/office/drawing/2014/main" id="{081A318A-E9F0-4E59-9B90-03D8A7924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754" y="4246714"/>
              <a:ext cx="3417" cy="3344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899" name="Freeform 606">
              <a:extLst>
                <a:ext uri="{FF2B5EF4-FFF2-40B4-BE49-F238E27FC236}">
                  <a16:creationId xmlns:a16="http://schemas.microsoft.com/office/drawing/2014/main" id="{8C4875EF-501D-43DB-B54E-BDEC839F4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754" y="4246714"/>
              <a:ext cx="3417" cy="3344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00" name="Freeform 607">
              <a:extLst>
                <a:ext uri="{FF2B5EF4-FFF2-40B4-BE49-F238E27FC236}">
                  <a16:creationId xmlns:a16="http://schemas.microsoft.com/office/drawing/2014/main" id="{CC03BBC6-4041-4857-9AEB-EB74BD590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0253" y="4096278"/>
              <a:ext cx="153759" cy="223981"/>
            </a:xfrm>
            <a:custGeom>
              <a:avLst/>
              <a:gdLst>
                <a:gd name="T0" fmla="*/ 0 w 90"/>
                <a:gd name="T1" fmla="*/ 84 h 134"/>
                <a:gd name="T2" fmla="*/ 4 w 90"/>
                <a:gd name="T3" fmla="*/ 86 h 134"/>
                <a:gd name="T4" fmla="*/ 8 w 90"/>
                <a:gd name="T5" fmla="*/ 86 h 134"/>
                <a:gd name="T6" fmla="*/ 10 w 90"/>
                <a:gd name="T7" fmla="*/ 88 h 134"/>
                <a:gd name="T8" fmla="*/ 14 w 90"/>
                <a:gd name="T9" fmla="*/ 92 h 134"/>
                <a:gd name="T10" fmla="*/ 20 w 90"/>
                <a:gd name="T11" fmla="*/ 96 h 134"/>
                <a:gd name="T12" fmla="*/ 28 w 90"/>
                <a:gd name="T13" fmla="*/ 92 h 134"/>
                <a:gd name="T14" fmla="*/ 32 w 90"/>
                <a:gd name="T15" fmla="*/ 96 h 134"/>
                <a:gd name="T16" fmla="*/ 36 w 90"/>
                <a:gd name="T17" fmla="*/ 96 h 134"/>
                <a:gd name="T18" fmla="*/ 42 w 90"/>
                <a:gd name="T19" fmla="*/ 98 h 134"/>
                <a:gd name="T20" fmla="*/ 48 w 90"/>
                <a:gd name="T21" fmla="*/ 96 h 134"/>
                <a:gd name="T22" fmla="*/ 54 w 90"/>
                <a:gd name="T23" fmla="*/ 100 h 134"/>
                <a:gd name="T24" fmla="*/ 60 w 90"/>
                <a:gd name="T25" fmla="*/ 106 h 134"/>
                <a:gd name="T26" fmla="*/ 66 w 90"/>
                <a:gd name="T27" fmla="*/ 114 h 134"/>
                <a:gd name="T28" fmla="*/ 74 w 90"/>
                <a:gd name="T29" fmla="*/ 126 h 134"/>
                <a:gd name="T30" fmla="*/ 78 w 90"/>
                <a:gd name="T31" fmla="*/ 132 h 134"/>
                <a:gd name="T32" fmla="*/ 80 w 90"/>
                <a:gd name="T33" fmla="*/ 134 h 134"/>
                <a:gd name="T34" fmla="*/ 82 w 90"/>
                <a:gd name="T35" fmla="*/ 132 h 134"/>
                <a:gd name="T36" fmla="*/ 88 w 90"/>
                <a:gd name="T37" fmla="*/ 130 h 134"/>
                <a:gd name="T38" fmla="*/ 88 w 90"/>
                <a:gd name="T39" fmla="*/ 126 h 134"/>
                <a:gd name="T40" fmla="*/ 90 w 90"/>
                <a:gd name="T41" fmla="*/ 122 h 134"/>
                <a:gd name="T42" fmla="*/ 88 w 90"/>
                <a:gd name="T43" fmla="*/ 118 h 134"/>
                <a:gd name="T44" fmla="*/ 80 w 90"/>
                <a:gd name="T45" fmla="*/ 106 h 134"/>
                <a:gd name="T46" fmla="*/ 78 w 90"/>
                <a:gd name="T47" fmla="*/ 100 h 134"/>
                <a:gd name="T48" fmla="*/ 74 w 90"/>
                <a:gd name="T49" fmla="*/ 90 h 134"/>
                <a:gd name="T50" fmla="*/ 70 w 90"/>
                <a:gd name="T51" fmla="*/ 84 h 134"/>
                <a:gd name="T52" fmla="*/ 68 w 90"/>
                <a:gd name="T53" fmla="*/ 82 h 134"/>
                <a:gd name="T54" fmla="*/ 64 w 90"/>
                <a:gd name="T55" fmla="*/ 82 h 134"/>
                <a:gd name="T56" fmla="*/ 56 w 90"/>
                <a:gd name="T57" fmla="*/ 80 h 134"/>
                <a:gd name="T58" fmla="*/ 52 w 90"/>
                <a:gd name="T59" fmla="*/ 78 h 134"/>
                <a:gd name="T60" fmla="*/ 52 w 90"/>
                <a:gd name="T61" fmla="*/ 76 h 134"/>
                <a:gd name="T62" fmla="*/ 50 w 90"/>
                <a:gd name="T63" fmla="*/ 72 h 134"/>
                <a:gd name="T64" fmla="*/ 50 w 90"/>
                <a:gd name="T65" fmla="*/ 66 h 134"/>
                <a:gd name="T66" fmla="*/ 48 w 90"/>
                <a:gd name="T67" fmla="*/ 58 h 134"/>
                <a:gd name="T68" fmla="*/ 38 w 90"/>
                <a:gd name="T69" fmla="*/ 38 h 134"/>
                <a:gd name="T70" fmla="*/ 34 w 90"/>
                <a:gd name="T71" fmla="*/ 32 h 134"/>
                <a:gd name="T72" fmla="*/ 30 w 90"/>
                <a:gd name="T73" fmla="*/ 26 h 134"/>
                <a:gd name="T74" fmla="*/ 22 w 90"/>
                <a:gd name="T75" fmla="*/ 12 h 134"/>
                <a:gd name="T76" fmla="*/ 14 w 90"/>
                <a:gd name="T77" fmla="*/ 4 h 134"/>
                <a:gd name="T78" fmla="*/ 8 w 90"/>
                <a:gd name="T79" fmla="*/ 22 h 134"/>
                <a:gd name="T80" fmla="*/ 6 w 90"/>
                <a:gd name="T81" fmla="*/ 28 h 134"/>
                <a:gd name="T82" fmla="*/ 6 w 90"/>
                <a:gd name="T83" fmla="*/ 36 h 134"/>
                <a:gd name="T84" fmla="*/ 8 w 90"/>
                <a:gd name="T85" fmla="*/ 48 h 134"/>
                <a:gd name="T86" fmla="*/ 10 w 90"/>
                <a:gd name="T87" fmla="*/ 54 h 134"/>
                <a:gd name="T88" fmla="*/ 12 w 90"/>
                <a:gd name="T89" fmla="*/ 62 h 134"/>
                <a:gd name="T90" fmla="*/ 14 w 90"/>
                <a:gd name="T91" fmla="*/ 70 h 134"/>
                <a:gd name="T92" fmla="*/ 14 w 90"/>
                <a:gd name="T93" fmla="*/ 72 h 134"/>
                <a:gd name="T94" fmla="*/ 14 w 90"/>
                <a:gd name="T95" fmla="*/ 74 h 134"/>
                <a:gd name="T96" fmla="*/ 12 w 90"/>
                <a:gd name="T97" fmla="*/ 74 h 134"/>
                <a:gd name="T98" fmla="*/ 6 w 90"/>
                <a:gd name="T99" fmla="*/ 74 h 134"/>
                <a:gd name="T100" fmla="*/ 2 w 90"/>
                <a:gd name="T101" fmla="*/ 72 h 134"/>
                <a:gd name="T102" fmla="*/ 0 w 90"/>
                <a:gd name="T103" fmla="*/ 74 h 134"/>
                <a:gd name="T104" fmla="*/ 0 w 90"/>
                <a:gd name="T105" fmla="*/ 76 h 134"/>
                <a:gd name="T106" fmla="*/ 0 w 90"/>
                <a:gd name="T107" fmla="*/ 8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" h="134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2" y="86"/>
                  </a:lnTo>
                  <a:lnTo>
                    <a:pt x="4" y="86"/>
                  </a:lnTo>
                  <a:lnTo>
                    <a:pt x="6" y="86"/>
                  </a:lnTo>
                  <a:lnTo>
                    <a:pt x="6" y="86"/>
                  </a:lnTo>
                  <a:lnTo>
                    <a:pt x="8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8" y="92"/>
                  </a:lnTo>
                  <a:lnTo>
                    <a:pt x="20" y="96"/>
                  </a:lnTo>
                  <a:lnTo>
                    <a:pt x="26" y="88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42" y="94"/>
                  </a:lnTo>
                  <a:lnTo>
                    <a:pt x="42" y="94"/>
                  </a:lnTo>
                  <a:lnTo>
                    <a:pt x="42" y="98"/>
                  </a:lnTo>
                  <a:lnTo>
                    <a:pt x="44" y="96"/>
                  </a:lnTo>
                  <a:lnTo>
                    <a:pt x="46" y="98"/>
                  </a:lnTo>
                  <a:lnTo>
                    <a:pt x="48" y="96"/>
                  </a:lnTo>
                  <a:lnTo>
                    <a:pt x="52" y="100"/>
                  </a:lnTo>
                  <a:lnTo>
                    <a:pt x="54" y="98"/>
                  </a:lnTo>
                  <a:lnTo>
                    <a:pt x="54" y="100"/>
                  </a:lnTo>
                  <a:lnTo>
                    <a:pt x="54" y="100"/>
                  </a:lnTo>
                  <a:lnTo>
                    <a:pt x="60" y="106"/>
                  </a:lnTo>
                  <a:lnTo>
                    <a:pt x="60" y="106"/>
                  </a:lnTo>
                  <a:lnTo>
                    <a:pt x="64" y="110"/>
                  </a:lnTo>
                  <a:lnTo>
                    <a:pt x="66" y="114"/>
                  </a:lnTo>
                  <a:lnTo>
                    <a:pt x="66" y="114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74" y="126"/>
                  </a:lnTo>
                  <a:lnTo>
                    <a:pt x="76" y="128"/>
                  </a:lnTo>
                  <a:lnTo>
                    <a:pt x="76" y="128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82" y="134"/>
                  </a:lnTo>
                  <a:lnTo>
                    <a:pt x="82" y="132"/>
                  </a:lnTo>
                  <a:lnTo>
                    <a:pt x="82" y="132"/>
                  </a:lnTo>
                  <a:lnTo>
                    <a:pt x="86" y="132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8" y="126"/>
                  </a:lnTo>
                  <a:lnTo>
                    <a:pt x="90" y="124"/>
                  </a:lnTo>
                  <a:lnTo>
                    <a:pt x="90" y="124"/>
                  </a:lnTo>
                  <a:lnTo>
                    <a:pt x="90" y="122"/>
                  </a:lnTo>
                  <a:lnTo>
                    <a:pt x="88" y="122"/>
                  </a:lnTo>
                  <a:lnTo>
                    <a:pt x="88" y="120"/>
                  </a:lnTo>
                  <a:lnTo>
                    <a:pt x="88" y="118"/>
                  </a:lnTo>
                  <a:lnTo>
                    <a:pt x="86" y="116"/>
                  </a:lnTo>
                  <a:lnTo>
                    <a:pt x="84" y="112"/>
                  </a:lnTo>
                  <a:lnTo>
                    <a:pt x="80" y="106"/>
                  </a:lnTo>
                  <a:lnTo>
                    <a:pt x="80" y="104"/>
                  </a:lnTo>
                  <a:lnTo>
                    <a:pt x="78" y="102"/>
                  </a:lnTo>
                  <a:lnTo>
                    <a:pt x="78" y="100"/>
                  </a:lnTo>
                  <a:lnTo>
                    <a:pt x="76" y="98"/>
                  </a:lnTo>
                  <a:lnTo>
                    <a:pt x="74" y="92"/>
                  </a:lnTo>
                  <a:lnTo>
                    <a:pt x="74" y="90"/>
                  </a:lnTo>
                  <a:lnTo>
                    <a:pt x="72" y="86"/>
                  </a:lnTo>
                  <a:lnTo>
                    <a:pt x="72" y="8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0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4" y="82"/>
                  </a:lnTo>
                  <a:lnTo>
                    <a:pt x="62" y="82"/>
                  </a:lnTo>
                  <a:lnTo>
                    <a:pt x="58" y="80"/>
                  </a:lnTo>
                  <a:lnTo>
                    <a:pt x="56" y="80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50" y="74"/>
                  </a:lnTo>
                  <a:lnTo>
                    <a:pt x="50" y="72"/>
                  </a:lnTo>
                  <a:lnTo>
                    <a:pt x="50" y="68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4"/>
                  </a:lnTo>
                  <a:lnTo>
                    <a:pt x="50" y="62"/>
                  </a:lnTo>
                  <a:lnTo>
                    <a:pt x="48" y="58"/>
                  </a:lnTo>
                  <a:lnTo>
                    <a:pt x="46" y="54"/>
                  </a:lnTo>
                  <a:lnTo>
                    <a:pt x="40" y="44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6" y="34"/>
                  </a:lnTo>
                  <a:lnTo>
                    <a:pt x="34" y="32"/>
                  </a:lnTo>
                  <a:lnTo>
                    <a:pt x="32" y="30"/>
                  </a:lnTo>
                  <a:lnTo>
                    <a:pt x="30" y="28"/>
                  </a:lnTo>
                  <a:lnTo>
                    <a:pt x="30" y="26"/>
                  </a:lnTo>
                  <a:lnTo>
                    <a:pt x="28" y="22"/>
                  </a:lnTo>
                  <a:lnTo>
                    <a:pt x="26" y="20"/>
                  </a:lnTo>
                  <a:lnTo>
                    <a:pt x="22" y="12"/>
                  </a:lnTo>
                  <a:lnTo>
                    <a:pt x="18" y="6"/>
                  </a:lnTo>
                  <a:lnTo>
                    <a:pt x="16" y="0"/>
                  </a:lnTo>
                  <a:lnTo>
                    <a:pt x="14" y="4"/>
                  </a:lnTo>
                  <a:lnTo>
                    <a:pt x="12" y="12"/>
                  </a:lnTo>
                  <a:lnTo>
                    <a:pt x="10" y="16"/>
                  </a:lnTo>
                  <a:lnTo>
                    <a:pt x="8" y="22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6" y="36"/>
                  </a:lnTo>
                  <a:lnTo>
                    <a:pt x="6" y="38"/>
                  </a:lnTo>
                  <a:lnTo>
                    <a:pt x="6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10" y="54"/>
                  </a:lnTo>
                  <a:lnTo>
                    <a:pt x="12" y="58"/>
                  </a:lnTo>
                  <a:lnTo>
                    <a:pt x="12" y="60"/>
                  </a:lnTo>
                  <a:lnTo>
                    <a:pt x="12" y="62"/>
                  </a:lnTo>
                  <a:lnTo>
                    <a:pt x="14" y="64"/>
                  </a:lnTo>
                  <a:lnTo>
                    <a:pt x="14" y="68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8" y="74"/>
                  </a:lnTo>
                  <a:lnTo>
                    <a:pt x="6" y="74"/>
                  </a:lnTo>
                  <a:lnTo>
                    <a:pt x="4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0" y="80"/>
                  </a:lnTo>
                  <a:lnTo>
                    <a:pt x="0" y="8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grpSp>
          <p:nvGrpSpPr>
            <p:cNvPr id="1901" name="Gruppieren 679">
              <a:extLst>
                <a:ext uri="{FF2B5EF4-FFF2-40B4-BE49-F238E27FC236}">
                  <a16:creationId xmlns:a16="http://schemas.microsoft.com/office/drawing/2014/main" id="{E0AD93B9-DB6E-4819-B49E-A29F37CE5D3F}"/>
                </a:ext>
              </a:extLst>
            </p:cNvPr>
            <p:cNvGrpSpPr/>
            <p:nvPr/>
          </p:nvGrpSpPr>
          <p:grpSpPr bwMode="auto">
            <a:xfrm>
              <a:off x="1893990" y="1909954"/>
              <a:ext cx="3587696" cy="1497663"/>
              <a:chOff x="4888203" y="2184567"/>
              <a:chExt cx="3333750" cy="1422401"/>
            </a:xfrm>
            <a:solidFill>
              <a:srgbClr val="FF2929">
                <a:alpha val="10196"/>
              </a:srgbClr>
            </a:solidFill>
          </p:grpSpPr>
          <p:sp>
            <p:nvSpPr>
              <p:cNvPr id="2000" name="Freeform 160">
                <a:extLst>
                  <a:ext uri="{FF2B5EF4-FFF2-40B4-BE49-F238E27FC236}">
                    <a16:creationId xmlns:a16="http://schemas.microsoft.com/office/drawing/2014/main" id="{E0A61B1D-11C7-44FA-A981-58628E4F9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5553" y="2692566"/>
                <a:ext cx="34925" cy="38100"/>
              </a:xfrm>
              <a:custGeom>
                <a:avLst/>
                <a:gdLst>
                  <a:gd name="T0" fmla="*/ 10 w 22"/>
                  <a:gd name="T1" fmla="*/ 0 h 24"/>
                  <a:gd name="T2" fmla="*/ 10 w 22"/>
                  <a:gd name="T3" fmla="*/ 0 h 24"/>
                  <a:gd name="T4" fmla="*/ 10 w 22"/>
                  <a:gd name="T5" fmla="*/ 2 h 24"/>
                  <a:gd name="T6" fmla="*/ 10 w 22"/>
                  <a:gd name="T7" fmla="*/ 2 h 24"/>
                  <a:gd name="T8" fmla="*/ 8 w 22"/>
                  <a:gd name="T9" fmla="*/ 2 h 24"/>
                  <a:gd name="T10" fmla="*/ 8 w 22"/>
                  <a:gd name="T11" fmla="*/ 2 h 24"/>
                  <a:gd name="T12" fmla="*/ 6 w 22"/>
                  <a:gd name="T13" fmla="*/ 4 h 24"/>
                  <a:gd name="T14" fmla="*/ 4 w 22"/>
                  <a:gd name="T15" fmla="*/ 6 h 24"/>
                  <a:gd name="T16" fmla="*/ 2 w 22"/>
                  <a:gd name="T17" fmla="*/ 8 h 24"/>
                  <a:gd name="T18" fmla="*/ 0 w 22"/>
                  <a:gd name="T19" fmla="*/ 10 h 24"/>
                  <a:gd name="T20" fmla="*/ 0 w 22"/>
                  <a:gd name="T21" fmla="*/ 12 h 24"/>
                  <a:gd name="T22" fmla="*/ 0 w 22"/>
                  <a:gd name="T23" fmla="*/ 12 h 24"/>
                  <a:gd name="T24" fmla="*/ 0 w 22"/>
                  <a:gd name="T25" fmla="*/ 14 h 24"/>
                  <a:gd name="T26" fmla="*/ 0 w 22"/>
                  <a:gd name="T27" fmla="*/ 14 h 24"/>
                  <a:gd name="T28" fmla="*/ 0 w 22"/>
                  <a:gd name="T29" fmla="*/ 16 h 24"/>
                  <a:gd name="T30" fmla="*/ 0 w 22"/>
                  <a:gd name="T31" fmla="*/ 18 h 24"/>
                  <a:gd name="T32" fmla="*/ 0 w 22"/>
                  <a:gd name="T33" fmla="*/ 20 h 24"/>
                  <a:gd name="T34" fmla="*/ 2 w 22"/>
                  <a:gd name="T35" fmla="*/ 20 h 24"/>
                  <a:gd name="T36" fmla="*/ 2 w 22"/>
                  <a:gd name="T37" fmla="*/ 22 h 24"/>
                  <a:gd name="T38" fmla="*/ 4 w 22"/>
                  <a:gd name="T39" fmla="*/ 22 h 24"/>
                  <a:gd name="T40" fmla="*/ 4 w 22"/>
                  <a:gd name="T41" fmla="*/ 24 h 24"/>
                  <a:gd name="T42" fmla="*/ 6 w 22"/>
                  <a:gd name="T43" fmla="*/ 24 h 24"/>
                  <a:gd name="T44" fmla="*/ 6 w 22"/>
                  <a:gd name="T45" fmla="*/ 24 h 24"/>
                  <a:gd name="T46" fmla="*/ 8 w 22"/>
                  <a:gd name="T47" fmla="*/ 24 h 24"/>
                  <a:gd name="T48" fmla="*/ 8 w 22"/>
                  <a:gd name="T49" fmla="*/ 24 h 24"/>
                  <a:gd name="T50" fmla="*/ 10 w 22"/>
                  <a:gd name="T51" fmla="*/ 24 h 24"/>
                  <a:gd name="T52" fmla="*/ 12 w 22"/>
                  <a:gd name="T53" fmla="*/ 24 h 24"/>
                  <a:gd name="T54" fmla="*/ 12 w 22"/>
                  <a:gd name="T55" fmla="*/ 22 h 24"/>
                  <a:gd name="T56" fmla="*/ 14 w 22"/>
                  <a:gd name="T57" fmla="*/ 22 h 24"/>
                  <a:gd name="T58" fmla="*/ 14 w 22"/>
                  <a:gd name="T59" fmla="*/ 22 h 24"/>
                  <a:gd name="T60" fmla="*/ 16 w 22"/>
                  <a:gd name="T61" fmla="*/ 20 h 24"/>
                  <a:gd name="T62" fmla="*/ 18 w 22"/>
                  <a:gd name="T63" fmla="*/ 18 h 24"/>
                  <a:gd name="T64" fmla="*/ 20 w 22"/>
                  <a:gd name="T65" fmla="*/ 16 h 24"/>
                  <a:gd name="T66" fmla="*/ 20 w 22"/>
                  <a:gd name="T67" fmla="*/ 14 h 24"/>
                  <a:gd name="T68" fmla="*/ 22 w 22"/>
                  <a:gd name="T69" fmla="*/ 14 h 24"/>
                  <a:gd name="T70" fmla="*/ 22 w 22"/>
                  <a:gd name="T71" fmla="*/ 12 h 24"/>
                  <a:gd name="T72" fmla="*/ 22 w 22"/>
                  <a:gd name="T73" fmla="*/ 12 h 24"/>
                  <a:gd name="T74" fmla="*/ 22 w 22"/>
                  <a:gd name="T75" fmla="*/ 10 h 24"/>
                  <a:gd name="T76" fmla="*/ 22 w 22"/>
                  <a:gd name="T77" fmla="*/ 10 h 24"/>
                  <a:gd name="T78" fmla="*/ 22 w 22"/>
                  <a:gd name="T79" fmla="*/ 10 h 24"/>
                  <a:gd name="T80" fmla="*/ 22 w 22"/>
                  <a:gd name="T81" fmla="*/ 8 h 24"/>
                  <a:gd name="T82" fmla="*/ 20 w 22"/>
                  <a:gd name="T83" fmla="*/ 6 h 24"/>
                  <a:gd name="T84" fmla="*/ 20 w 22"/>
                  <a:gd name="T85" fmla="*/ 6 h 24"/>
                  <a:gd name="T86" fmla="*/ 18 w 22"/>
                  <a:gd name="T87" fmla="*/ 4 h 24"/>
                  <a:gd name="T88" fmla="*/ 16 w 22"/>
                  <a:gd name="T89" fmla="*/ 2 h 24"/>
                  <a:gd name="T90" fmla="*/ 14 w 22"/>
                  <a:gd name="T91" fmla="*/ 2 h 24"/>
                  <a:gd name="T92" fmla="*/ 12 w 22"/>
                  <a:gd name="T93" fmla="*/ 2 h 24"/>
                  <a:gd name="T94" fmla="*/ 12 w 22"/>
                  <a:gd name="T95" fmla="*/ 0 h 24"/>
                  <a:gd name="T96" fmla="*/ 10 w 22"/>
                  <a:gd name="T9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24">
                    <a:moveTo>
                      <a:pt x="10" y="0"/>
                    </a:moveTo>
                    <a:lnTo>
                      <a:pt x="10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2" y="24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18" y="18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2001" name="Freeform 162">
                <a:extLst>
                  <a:ext uri="{FF2B5EF4-FFF2-40B4-BE49-F238E27FC236}">
                    <a16:creationId xmlns:a16="http://schemas.microsoft.com/office/drawing/2014/main" id="{9A102F1A-CABB-452E-B75F-13CD12549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3353" y="2660817"/>
                <a:ext cx="50799" cy="25400"/>
              </a:xfrm>
              <a:custGeom>
                <a:avLst/>
                <a:gdLst>
                  <a:gd name="T0" fmla="*/ 28 w 32"/>
                  <a:gd name="T1" fmla="*/ 4 h 16"/>
                  <a:gd name="T2" fmla="*/ 28 w 32"/>
                  <a:gd name="T3" fmla="*/ 4 h 16"/>
                  <a:gd name="T4" fmla="*/ 26 w 32"/>
                  <a:gd name="T5" fmla="*/ 4 h 16"/>
                  <a:gd name="T6" fmla="*/ 24 w 32"/>
                  <a:gd name="T7" fmla="*/ 2 h 16"/>
                  <a:gd name="T8" fmla="*/ 24 w 32"/>
                  <a:gd name="T9" fmla="*/ 2 h 16"/>
                  <a:gd name="T10" fmla="*/ 22 w 32"/>
                  <a:gd name="T11" fmla="*/ 0 h 16"/>
                  <a:gd name="T12" fmla="*/ 20 w 32"/>
                  <a:gd name="T13" fmla="*/ 0 h 16"/>
                  <a:gd name="T14" fmla="*/ 18 w 32"/>
                  <a:gd name="T15" fmla="*/ 0 h 16"/>
                  <a:gd name="T16" fmla="*/ 16 w 32"/>
                  <a:gd name="T17" fmla="*/ 0 h 16"/>
                  <a:gd name="T18" fmla="*/ 14 w 32"/>
                  <a:gd name="T19" fmla="*/ 0 h 16"/>
                  <a:gd name="T20" fmla="*/ 14 w 32"/>
                  <a:gd name="T21" fmla="*/ 0 h 16"/>
                  <a:gd name="T22" fmla="*/ 12 w 32"/>
                  <a:gd name="T23" fmla="*/ 0 h 16"/>
                  <a:gd name="T24" fmla="*/ 10 w 32"/>
                  <a:gd name="T25" fmla="*/ 2 h 16"/>
                  <a:gd name="T26" fmla="*/ 8 w 32"/>
                  <a:gd name="T27" fmla="*/ 2 h 16"/>
                  <a:gd name="T28" fmla="*/ 6 w 32"/>
                  <a:gd name="T29" fmla="*/ 4 h 16"/>
                  <a:gd name="T30" fmla="*/ 4 w 32"/>
                  <a:gd name="T31" fmla="*/ 6 h 16"/>
                  <a:gd name="T32" fmla="*/ 2 w 32"/>
                  <a:gd name="T33" fmla="*/ 8 h 16"/>
                  <a:gd name="T34" fmla="*/ 2 w 32"/>
                  <a:gd name="T35" fmla="*/ 8 h 16"/>
                  <a:gd name="T36" fmla="*/ 2 w 32"/>
                  <a:gd name="T37" fmla="*/ 8 h 16"/>
                  <a:gd name="T38" fmla="*/ 0 w 32"/>
                  <a:gd name="T39" fmla="*/ 10 h 16"/>
                  <a:gd name="T40" fmla="*/ 0 w 32"/>
                  <a:gd name="T41" fmla="*/ 10 h 16"/>
                  <a:gd name="T42" fmla="*/ 0 w 32"/>
                  <a:gd name="T43" fmla="*/ 12 h 16"/>
                  <a:gd name="T44" fmla="*/ 2 w 32"/>
                  <a:gd name="T45" fmla="*/ 12 h 16"/>
                  <a:gd name="T46" fmla="*/ 2 w 32"/>
                  <a:gd name="T47" fmla="*/ 12 h 16"/>
                  <a:gd name="T48" fmla="*/ 2 w 32"/>
                  <a:gd name="T49" fmla="*/ 12 h 16"/>
                  <a:gd name="T50" fmla="*/ 2 w 32"/>
                  <a:gd name="T51" fmla="*/ 12 h 16"/>
                  <a:gd name="T52" fmla="*/ 4 w 32"/>
                  <a:gd name="T53" fmla="*/ 12 h 16"/>
                  <a:gd name="T54" fmla="*/ 4 w 32"/>
                  <a:gd name="T55" fmla="*/ 14 h 16"/>
                  <a:gd name="T56" fmla="*/ 8 w 32"/>
                  <a:gd name="T57" fmla="*/ 12 h 16"/>
                  <a:gd name="T58" fmla="*/ 10 w 32"/>
                  <a:gd name="T59" fmla="*/ 12 h 16"/>
                  <a:gd name="T60" fmla="*/ 10 w 32"/>
                  <a:gd name="T61" fmla="*/ 12 h 16"/>
                  <a:gd name="T62" fmla="*/ 12 w 32"/>
                  <a:gd name="T63" fmla="*/ 14 h 16"/>
                  <a:gd name="T64" fmla="*/ 16 w 32"/>
                  <a:gd name="T65" fmla="*/ 14 h 16"/>
                  <a:gd name="T66" fmla="*/ 18 w 32"/>
                  <a:gd name="T67" fmla="*/ 16 h 16"/>
                  <a:gd name="T68" fmla="*/ 22 w 32"/>
                  <a:gd name="T69" fmla="*/ 16 h 16"/>
                  <a:gd name="T70" fmla="*/ 26 w 32"/>
                  <a:gd name="T71" fmla="*/ 16 h 16"/>
                  <a:gd name="T72" fmla="*/ 28 w 32"/>
                  <a:gd name="T73" fmla="*/ 16 h 16"/>
                  <a:gd name="T74" fmla="*/ 28 w 32"/>
                  <a:gd name="T75" fmla="*/ 16 h 16"/>
                  <a:gd name="T76" fmla="*/ 30 w 32"/>
                  <a:gd name="T77" fmla="*/ 16 h 16"/>
                  <a:gd name="T78" fmla="*/ 30 w 32"/>
                  <a:gd name="T79" fmla="*/ 16 h 16"/>
                  <a:gd name="T80" fmla="*/ 32 w 32"/>
                  <a:gd name="T81" fmla="*/ 16 h 16"/>
                  <a:gd name="T82" fmla="*/ 32 w 32"/>
                  <a:gd name="T83" fmla="*/ 16 h 16"/>
                  <a:gd name="T84" fmla="*/ 32 w 32"/>
                  <a:gd name="T85" fmla="*/ 14 h 16"/>
                  <a:gd name="T86" fmla="*/ 32 w 32"/>
                  <a:gd name="T87" fmla="*/ 14 h 16"/>
                  <a:gd name="T88" fmla="*/ 32 w 32"/>
                  <a:gd name="T89" fmla="*/ 14 h 16"/>
                  <a:gd name="T90" fmla="*/ 32 w 32"/>
                  <a:gd name="T91" fmla="*/ 12 h 16"/>
                  <a:gd name="T92" fmla="*/ 32 w 32"/>
                  <a:gd name="T93" fmla="*/ 12 h 16"/>
                  <a:gd name="T94" fmla="*/ 32 w 32"/>
                  <a:gd name="T95" fmla="*/ 10 h 16"/>
                  <a:gd name="T96" fmla="*/ 30 w 32"/>
                  <a:gd name="T97" fmla="*/ 8 h 16"/>
                  <a:gd name="T98" fmla="*/ 30 w 32"/>
                  <a:gd name="T99" fmla="*/ 6 h 16"/>
                  <a:gd name="T100" fmla="*/ 28 w 32"/>
                  <a:gd name="T101" fmla="*/ 6 h 16"/>
                  <a:gd name="T102" fmla="*/ 28 w 32"/>
                  <a:gd name="T103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16">
                    <a:moveTo>
                      <a:pt x="28" y="4"/>
                    </a:moveTo>
                    <a:lnTo>
                      <a:pt x="28" y="4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0"/>
                    </a:lnTo>
                    <a:lnTo>
                      <a:pt x="30" y="8"/>
                    </a:lnTo>
                    <a:lnTo>
                      <a:pt x="30" y="6"/>
                    </a:lnTo>
                    <a:lnTo>
                      <a:pt x="28" y="6"/>
                    </a:lnTo>
                    <a:lnTo>
                      <a:pt x="28" y="4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2002" name="Freeform 164">
                <a:extLst>
                  <a:ext uri="{FF2B5EF4-FFF2-40B4-BE49-F238E27FC236}">
                    <a16:creationId xmlns:a16="http://schemas.microsoft.com/office/drawing/2014/main" id="{D96E58DF-7F19-4EBA-B7C8-07B85B48D1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9053" y="2390943"/>
                <a:ext cx="311150" cy="269876"/>
              </a:xfrm>
              <a:custGeom>
                <a:avLst/>
                <a:gdLst>
                  <a:gd name="T0" fmla="*/ 50 w 196"/>
                  <a:gd name="T1" fmla="*/ 96 h 170"/>
                  <a:gd name="T2" fmla="*/ 60 w 196"/>
                  <a:gd name="T3" fmla="*/ 88 h 170"/>
                  <a:gd name="T4" fmla="*/ 66 w 196"/>
                  <a:gd name="T5" fmla="*/ 80 h 170"/>
                  <a:gd name="T6" fmla="*/ 86 w 196"/>
                  <a:gd name="T7" fmla="*/ 66 h 170"/>
                  <a:gd name="T8" fmla="*/ 106 w 196"/>
                  <a:gd name="T9" fmla="*/ 52 h 170"/>
                  <a:gd name="T10" fmla="*/ 126 w 196"/>
                  <a:gd name="T11" fmla="*/ 40 h 170"/>
                  <a:gd name="T12" fmla="*/ 160 w 196"/>
                  <a:gd name="T13" fmla="*/ 28 h 170"/>
                  <a:gd name="T14" fmla="*/ 184 w 196"/>
                  <a:gd name="T15" fmla="*/ 20 h 170"/>
                  <a:gd name="T16" fmla="*/ 194 w 196"/>
                  <a:gd name="T17" fmla="*/ 16 h 170"/>
                  <a:gd name="T18" fmla="*/ 196 w 196"/>
                  <a:gd name="T19" fmla="*/ 12 h 170"/>
                  <a:gd name="T20" fmla="*/ 192 w 196"/>
                  <a:gd name="T21" fmla="*/ 6 h 170"/>
                  <a:gd name="T22" fmla="*/ 184 w 196"/>
                  <a:gd name="T23" fmla="*/ 2 h 170"/>
                  <a:gd name="T24" fmla="*/ 170 w 196"/>
                  <a:gd name="T25" fmla="*/ 2 h 170"/>
                  <a:gd name="T26" fmla="*/ 160 w 196"/>
                  <a:gd name="T27" fmla="*/ 4 h 170"/>
                  <a:gd name="T28" fmla="*/ 150 w 196"/>
                  <a:gd name="T29" fmla="*/ 14 h 170"/>
                  <a:gd name="T30" fmla="*/ 136 w 196"/>
                  <a:gd name="T31" fmla="*/ 18 h 170"/>
                  <a:gd name="T32" fmla="*/ 110 w 196"/>
                  <a:gd name="T33" fmla="*/ 22 h 170"/>
                  <a:gd name="T34" fmla="*/ 98 w 196"/>
                  <a:gd name="T35" fmla="*/ 22 h 170"/>
                  <a:gd name="T36" fmla="*/ 92 w 196"/>
                  <a:gd name="T37" fmla="*/ 26 h 170"/>
                  <a:gd name="T38" fmla="*/ 84 w 196"/>
                  <a:gd name="T39" fmla="*/ 34 h 170"/>
                  <a:gd name="T40" fmla="*/ 76 w 196"/>
                  <a:gd name="T41" fmla="*/ 36 h 170"/>
                  <a:gd name="T42" fmla="*/ 68 w 196"/>
                  <a:gd name="T43" fmla="*/ 34 h 170"/>
                  <a:gd name="T44" fmla="*/ 64 w 196"/>
                  <a:gd name="T45" fmla="*/ 40 h 170"/>
                  <a:gd name="T46" fmla="*/ 60 w 196"/>
                  <a:gd name="T47" fmla="*/ 46 h 170"/>
                  <a:gd name="T48" fmla="*/ 54 w 196"/>
                  <a:gd name="T49" fmla="*/ 48 h 170"/>
                  <a:gd name="T50" fmla="*/ 38 w 196"/>
                  <a:gd name="T51" fmla="*/ 50 h 170"/>
                  <a:gd name="T52" fmla="*/ 32 w 196"/>
                  <a:gd name="T53" fmla="*/ 54 h 170"/>
                  <a:gd name="T54" fmla="*/ 30 w 196"/>
                  <a:gd name="T55" fmla="*/ 66 h 170"/>
                  <a:gd name="T56" fmla="*/ 30 w 196"/>
                  <a:gd name="T57" fmla="*/ 76 h 170"/>
                  <a:gd name="T58" fmla="*/ 28 w 196"/>
                  <a:gd name="T59" fmla="*/ 80 h 170"/>
                  <a:gd name="T60" fmla="*/ 24 w 196"/>
                  <a:gd name="T61" fmla="*/ 80 h 170"/>
                  <a:gd name="T62" fmla="*/ 18 w 196"/>
                  <a:gd name="T63" fmla="*/ 78 h 170"/>
                  <a:gd name="T64" fmla="*/ 16 w 196"/>
                  <a:gd name="T65" fmla="*/ 82 h 170"/>
                  <a:gd name="T66" fmla="*/ 18 w 196"/>
                  <a:gd name="T67" fmla="*/ 88 h 170"/>
                  <a:gd name="T68" fmla="*/ 16 w 196"/>
                  <a:gd name="T69" fmla="*/ 94 h 170"/>
                  <a:gd name="T70" fmla="*/ 8 w 196"/>
                  <a:gd name="T71" fmla="*/ 100 h 170"/>
                  <a:gd name="T72" fmla="*/ 4 w 196"/>
                  <a:gd name="T73" fmla="*/ 106 h 170"/>
                  <a:gd name="T74" fmla="*/ 2 w 196"/>
                  <a:gd name="T75" fmla="*/ 122 h 170"/>
                  <a:gd name="T76" fmla="*/ 0 w 196"/>
                  <a:gd name="T77" fmla="*/ 136 h 170"/>
                  <a:gd name="T78" fmla="*/ 2 w 196"/>
                  <a:gd name="T79" fmla="*/ 140 h 170"/>
                  <a:gd name="T80" fmla="*/ 12 w 196"/>
                  <a:gd name="T81" fmla="*/ 144 h 170"/>
                  <a:gd name="T82" fmla="*/ 16 w 196"/>
                  <a:gd name="T83" fmla="*/ 150 h 170"/>
                  <a:gd name="T84" fmla="*/ 22 w 196"/>
                  <a:gd name="T85" fmla="*/ 164 h 170"/>
                  <a:gd name="T86" fmla="*/ 26 w 196"/>
                  <a:gd name="T87" fmla="*/ 168 h 170"/>
                  <a:gd name="T88" fmla="*/ 40 w 196"/>
                  <a:gd name="T89" fmla="*/ 170 h 170"/>
                  <a:gd name="T90" fmla="*/ 60 w 196"/>
                  <a:gd name="T91" fmla="*/ 170 h 170"/>
                  <a:gd name="T92" fmla="*/ 68 w 196"/>
                  <a:gd name="T93" fmla="*/ 168 h 170"/>
                  <a:gd name="T94" fmla="*/ 70 w 196"/>
                  <a:gd name="T95" fmla="*/ 162 h 170"/>
                  <a:gd name="T96" fmla="*/ 70 w 196"/>
                  <a:gd name="T97" fmla="*/ 156 h 170"/>
                  <a:gd name="T98" fmla="*/ 58 w 196"/>
                  <a:gd name="T99" fmla="*/ 152 h 170"/>
                  <a:gd name="T100" fmla="*/ 48 w 196"/>
                  <a:gd name="T101" fmla="*/ 144 h 170"/>
                  <a:gd name="T102" fmla="*/ 44 w 196"/>
                  <a:gd name="T103" fmla="*/ 138 h 170"/>
                  <a:gd name="T104" fmla="*/ 44 w 196"/>
                  <a:gd name="T105" fmla="*/ 118 h 170"/>
                  <a:gd name="T106" fmla="*/ 48 w 196"/>
                  <a:gd name="T107" fmla="*/ 104 h 170"/>
                  <a:gd name="T108" fmla="*/ 48 w 196"/>
                  <a:gd name="T109" fmla="*/ 98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96" h="170">
                    <a:moveTo>
                      <a:pt x="48" y="98"/>
                    </a:moveTo>
                    <a:lnTo>
                      <a:pt x="48" y="98"/>
                    </a:lnTo>
                    <a:lnTo>
                      <a:pt x="48" y="98"/>
                    </a:lnTo>
                    <a:lnTo>
                      <a:pt x="50" y="98"/>
                    </a:lnTo>
                    <a:lnTo>
                      <a:pt x="50" y="96"/>
                    </a:lnTo>
                    <a:lnTo>
                      <a:pt x="52" y="94"/>
                    </a:lnTo>
                    <a:lnTo>
                      <a:pt x="54" y="94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60" y="88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4" y="84"/>
                    </a:lnTo>
                    <a:lnTo>
                      <a:pt x="66" y="82"/>
                    </a:lnTo>
                    <a:lnTo>
                      <a:pt x="66" y="80"/>
                    </a:lnTo>
                    <a:lnTo>
                      <a:pt x="68" y="78"/>
                    </a:lnTo>
                    <a:lnTo>
                      <a:pt x="74" y="74"/>
                    </a:lnTo>
                    <a:lnTo>
                      <a:pt x="78" y="72"/>
                    </a:lnTo>
                    <a:lnTo>
                      <a:pt x="82" y="68"/>
                    </a:lnTo>
                    <a:lnTo>
                      <a:pt x="86" y="66"/>
                    </a:lnTo>
                    <a:lnTo>
                      <a:pt x="92" y="62"/>
                    </a:lnTo>
                    <a:lnTo>
                      <a:pt x="98" y="60"/>
                    </a:lnTo>
                    <a:lnTo>
                      <a:pt x="102" y="56"/>
                    </a:lnTo>
                    <a:lnTo>
                      <a:pt x="104" y="54"/>
                    </a:lnTo>
                    <a:lnTo>
                      <a:pt x="106" y="52"/>
                    </a:lnTo>
                    <a:lnTo>
                      <a:pt x="112" y="48"/>
                    </a:lnTo>
                    <a:lnTo>
                      <a:pt x="120" y="44"/>
                    </a:lnTo>
                    <a:lnTo>
                      <a:pt x="122" y="42"/>
                    </a:lnTo>
                    <a:lnTo>
                      <a:pt x="124" y="40"/>
                    </a:lnTo>
                    <a:lnTo>
                      <a:pt x="126" y="40"/>
                    </a:lnTo>
                    <a:lnTo>
                      <a:pt x="128" y="38"/>
                    </a:lnTo>
                    <a:lnTo>
                      <a:pt x="132" y="38"/>
                    </a:lnTo>
                    <a:lnTo>
                      <a:pt x="138" y="36"/>
                    </a:lnTo>
                    <a:lnTo>
                      <a:pt x="152" y="30"/>
                    </a:lnTo>
                    <a:lnTo>
                      <a:pt x="160" y="28"/>
                    </a:lnTo>
                    <a:lnTo>
                      <a:pt x="166" y="26"/>
                    </a:lnTo>
                    <a:lnTo>
                      <a:pt x="170" y="24"/>
                    </a:lnTo>
                    <a:lnTo>
                      <a:pt x="176" y="22"/>
                    </a:lnTo>
                    <a:lnTo>
                      <a:pt x="182" y="20"/>
                    </a:lnTo>
                    <a:lnTo>
                      <a:pt x="184" y="20"/>
                    </a:lnTo>
                    <a:lnTo>
                      <a:pt x="186" y="18"/>
                    </a:lnTo>
                    <a:lnTo>
                      <a:pt x="188" y="18"/>
                    </a:lnTo>
                    <a:lnTo>
                      <a:pt x="192" y="16"/>
                    </a:lnTo>
                    <a:lnTo>
                      <a:pt x="192" y="16"/>
                    </a:lnTo>
                    <a:lnTo>
                      <a:pt x="194" y="16"/>
                    </a:lnTo>
                    <a:lnTo>
                      <a:pt x="194" y="14"/>
                    </a:lnTo>
                    <a:lnTo>
                      <a:pt x="196" y="14"/>
                    </a:lnTo>
                    <a:lnTo>
                      <a:pt x="196" y="14"/>
                    </a:lnTo>
                    <a:lnTo>
                      <a:pt x="196" y="14"/>
                    </a:lnTo>
                    <a:lnTo>
                      <a:pt x="196" y="12"/>
                    </a:lnTo>
                    <a:lnTo>
                      <a:pt x="194" y="12"/>
                    </a:lnTo>
                    <a:lnTo>
                      <a:pt x="194" y="10"/>
                    </a:lnTo>
                    <a:lnTo>
                      <a:pt x="194" y="8"/>
                    </a:lnTo>
                    <a:lnTo>
                      <a:pt x="192" y="6"/>
                    </a:lnTo>
                    <a:lnTo>
                      <a:pt x="192" y="6"/>
                    </a:lnTo>
                    <a:lnTo>
                      <a:pt x="190" y="4"/>
                    </a:lnTo>
                    <a:lnTo>
                      <a:pt x="188" y="4"/>
                    </a:lnTo>
                    <a:lnTo>
                      <a:pt x="188" y="2"/>
                    </a:lnTo>
                    <a:lnTo>
                      <a:pt x="186" y="2"/>
                    </a:lnTo>
                    <a:lnTo>
                      <a:pt x="184" y="2"/>
                    </a:lnTo>
                    <a:lnTo>
                      <a:pt x="184" y="2"/>
                    </a:lnTo>
                    <a:lnTo>
                      <a:pt x="180" y="2"/>
                    </a:lnTo>
                    <a:lnTo>
                      <a:pt x="176" y="0"/>
                    </a:lnTo>
                    <a:lnTo>
                      <a:pt x="172" y="0"/>
                    </a:lnTo>
                    <a:lnTo>
                      <a:pt x="170" y="2"/>
                    </a:lnTo>
                    <a:lnTo>
                      <a:pt x="166" y="2"/>
                    </a:lnTo>
                    <a:lnTo>
                      <a:pt x="164" y="2"/>
                    </a:lnTo>
                    <a:lnTo>
                      <a:pt x="162" y="2"/>
                    </a:lnTo>
                    <a:lnTo>
                      <a:pt x="162" y="4"/>
                    </a:lnTo>
                    <a:lnTo>
                      <a:pt x="160" y="4"/>
                    </a:lnTo>
                    <a:lnTo>
                      <a:pt x="158" y="6"/>
                    </a:lnTo>
                    <a:lnTo>
                      <a:pt x="156" y="8"/>
                    </a:lnTo>
                    <a:lnTo>
                      <a:pt x="152" y="12"/>
                    </a:lnTo>
                    <a:lnTo>
                      <a:pt x="150" y="14"/>
                    </a:lnTo>
                    <a:lnTo>
                      <a:pt x="150" y="14"/>
                    </a:lnTo>
                    <a:lnTo>
                      <a:pt x="148" y="14"/>
                    </a:lnTo>
                    <a:lnTo>
                      <a:pt x="146" y="16"/>
                    </a:lnTo>
                    <a:lnTo>
                      <a:pt x="144" y="18"/>
                    </a:lnTo>
                    <a:lnTo>
                      <a:pt x="140" y="18"/>
                    </a:lnTo>
                    <a:lnTo>
                      <a:pt x="136" y="18"/>
                    </a:lnTo>
                    <a:lnTo>
                      <a:pt x="130" y="20"/>
                    </a:lnTo>
                    <a:lnTo>
                      <a:pt x="124" y="22"/>
                    </a:lnTo>
                    <a:lnTo>
                      <a:pt x="122" y="22"/>
                    </a:lnTo>
                    <a:lnTo>
                      <a:pt x="118" y="22"/>
                    </a:lnTo>
                    <a:lnTo>
                      <a:pt x="110" y="22"/>
                    </a:lnTo>
                    <a:lnTo>
                      <a:pt x="106" y="22"/>
                    </a:lnTo>
                    <a:lnTo>
                      <a:pt x="102" y="22"/>
                    </a:lnTo>
                    <a:lnTo>
                      <a:pt x="102" y="22"/>
                    </a:lnTo>
                    <a:lnTo>
                      <a:pt x="100" y="22"/>
                    </a:lnTo>
                    <a:lnTo>
                      <a:pt x="98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4"/>
                    </a:lnTo>
                    <a:lnTo>
                      <a:pt x="94" y="24"/>
                    </a:lnTo>
                    <a:lnTo>
                      <a:pt x="92" y="26"/>
                    </a:lnTo>
                    <a:lnTo>
                      <a:pt x="90" y="28"/>
                    </a:lnTo>
                    <a:lnTo>
                      <a:pt x="88" y="30"/>
                    </a:lnTo>
                    <a:lnTo>
                      <a:pt x="86" y="32"/>
                    </a:lnTo>
                    <a:lnTo>
                      <a:pt x="84" y="34"/>
                    </a:lnTo>
                    <a:lnTo>
                      <a:pt x="84" y="34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78" y="36"/>
                    </a:lnTo>
                    <a:lnTo>
                      <a:pt x="76" y="36"/>
                    </a:lnTo>
                    <a:lnTo>
                      <a:pt x="74" y="34"/>
                    </a:lnTo>
                    <a:lnTo>
                      <a:pt x="72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6" y="36"/>
                    </a:lnTo>
                    <a:lnTo>
                      <a:pt x="66" y="36"/>
                    </a:lnTo>
                    <a:lnTo>
                      <a:pt x="66" y="36"/>
                    </a:lnTo>
                    <a:lnTo>
                      <a:pt x="64" y="38"/>
                    </a:lnTo>
                    <a:lnTo>
                      <a:pt x="64" y="40"/>
                    </a:lnTo>
                    <a:lnTo>
                      <a:pt x="62" y="40"/>
                    </a:lnTo>
                    <a:lnTo>
                      <a:pt x="62" y="42"/>
                    </a:lnTo>
                    <a:lnTo>
                      <a:pt x="60" y="44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58" y="46"/>
                    </a:lnTo>
                    <a:lnTo>
                      <a:pt x="58" y="48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2" y="48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6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2" y="52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6"/>
                    </a:lnTo>
                    <a:lnTo>
                      <a:pt x="30" y="58"/>
                    </a:lnTo>
                    <a:lnTo>
                      <a:pt x="30" y="60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30" y="70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6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2"/>
                    </a:lnTo>
                    <a:lnTo>
                      <a:pt x="28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4" y="80"/>
                    </a:lnTo>
                    <a:lnTo>
                      <a:pt x="22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80"/>
                    </a:lnTo>
                    <a:lnTo>
                      <a:pt x="18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4"/>
                    </a:lnTo>
                    <a:lnTo>
                      <a:pt x="18" y="84"/>
                    </a:lnTo>
                    <a:lnTo>
                      <a:pt x="18" y="86"/>
                    </a:lnTo>
                    <a:lnTo>
                      <a:pt x="18" y="88"/>
                    </a:lnTo>
                    <a:lnTo>
                      <a:pt x="18" y="88"/>
                    </a:lnTo>
                    <a:lnTo>
                      <a:pt x="18" y="88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16" y="92"/>
                    </a:lnTo>
                    <a:lnTo>
                      <a:pt x="16" y="94"/>
                    </a:lnTo>
                    <a:lnTo>
                      <a:pt x="14" y="96"/>
                    </a:lnTo>
                    <a:lnTo>
                      <a:pt x="14" y="96"/>
                    </a:lnTo>
                    <a:lnTo>
                      <a:pt x="12" y="98"/>
                    </a:lnTo>
                    <a:lnTo>
                      <a:pt x="10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6" y="100"/>
                    </a:lnTo>
                    <a:lnTo>
                      <a:pt x="6" y="102"/>
                    </a:lnTo>
                    <a:lnTo>
                      <a:pt x="6" y="104"/>
                    </a:lnTo>
                    <a:lnTo>
                      <a:pt x="4" y="106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4" y="118"/>
                    </a:lnTo>
                    <a:lnTo>
                      <a:pt x="2" y="120"/>
                    </a:lnTo>
                    <a:lnTo>
                      <a:pt x="2" y="122"/>
                    </a:lnTo>
                    <a:lnTo>
                      <a:pt x="0" y="128"/>
                    </a:lnTo>
                    <a:lnTo>
                      <a:pt x="0" y="130"/>
                    </a:lnTo>
                    <a:lnTo>
                      <a:pt x="0" y="134"/>
                    </a:lnTo>
                    <a:lnTo>
                      <a:pt x="0" y="134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0" y="138"/>
                    </a:lnTo>
                    <a:lnTo>
                      <a:pt x="0" y="138"/>
                    </a:lnTo>
                    <a:lnTo>
                      <a:pt x="2" y="138"/>
                    </a:lnTo>
                    <a:lnTo>
                      <a:pt x="2" y="140"/>
                    </a:lnTo>
                    <a:lnTo>
                      <a:pt x="4" y="140"/>
                    </a:lnTo>
                    <a:lnTo>
                      <a:pt x="6" y="142"/>
                    </a:lnTo>
                    <a:lnTo>
                      <a:pt x="10" y="142"/>
                    </a:lnTo>
                    <a:lnTo>
                      <a:pt x="12" y="144"/>
                    </a:lnTo>
                    <a:lnTo>
                      <a:pt x="12" y="144"/>
                    </a:lnTo>
                    <a:lnTo>
                      <a:pt x="14" y="144"/>
                    </a:lnTo>
                    <a:lnTo>
                      <a:pt x="14" y="146"/>
                    </a:lnTo>
                    <a:lnTo>
                      <a:pt x="14" y="146"/>
                    </a:lnTo>
                    <a:lnTo>
                      <a:pt x="16" y="148"/>
                    </a:lnTo>
                    <a:lnTo>
                      <a:pt x="16" y="150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20" y="160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6"/>
                    </a:lnTo>
                    <a:lnTo>
                      <a:pt x="24" y="168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8" y="170"/>
                    </a:lnTo>
                    <a:lnTo>
                      <a:pt x="32" y="170"/>
                    </a:lnTo>
                    <a:lnTo>
                      <a:pt x="34" y="170"/>
                    </a:lnTo>
                    <a:lnTo>
                      <a:pt x="36" y="170"/>
                    </a:lnTo>
                    <a:lnTo>
                      <a:pt x="40" y="170"/>
                    </a:lnTo>
                    <a:lnTo>
                      <a:pt x="44" y="170"/>
                    </a:lnTo>
                    <a:lnTo>
                      <a:pt x="50" y="170"/>
                    </a:lnTo>
                    <a:lnTo>
                      <a:pt x="52" y="170"/>
                    </a:lnTo>
                    <a:lnTo>
                      <a:pt x="56" y="170"/>
                    </a:lnTo>
                    <a:lnTo>
                      <a:pt x="60" y="170"/>
                    </a:lnTo>
                    <a:lnTo>
                      <a:pt x="62" y="170"/>
                    </a:lnTo>
                    <a:lnTo>
                      <a:pt x="64" y="170"/>
                    </a:lnTo>
                    <a:lnTo>
                      <a:pt x="66" y="170"/>
                    </a:lnTo>
                    <a:lnTo>
                      <a:pt x="66" y="168"/>
                    </a:lnTo>
                    <a:lnTo>
                      <a:pt x="68" y="168"/>
                    </a:lnTo>
                    <a:lnTo>
                      <a:pt x="68" y="168"/>
                    </a:lnTo>
                    <a:lnTo>
                      <a:pt x="68" y="166"/>
                    </a:lnTo>
                    <a:lnTo>
                      <a:pt x="70" y="164"/>
                    </a:lnTo>
                    <a:lnTo>
                      <a:pt x="70" y="164"/>
                    </a:lnTo>
                    <a:lnTo>
                      <a:pt x="70" y="162"/>
                    </a:lnTo>
                    <a:lnTo>
                      <a:pt x="70" y="160"/>
                    </a:lnTo>
                    <a:lnTo>
                      <a:pt x="70" y="160"/>
                    </a:lnTo>
                    <a:lnTo>
                      <a:pt x="70" y="158"/>
                    </a:lnTo>
                    <a:lnTo>
                      <a:pt x="70" y="158"/>
                    </a:lnTo>
                    <a:lnTo>
                      <a:pt x="70" y="156"/>
                    </a:lnTo>
                    <a:lnTo>
                      <a:pt x="68" y="156"/>
                    </a:lnTo>
                    <a:lnTo>
                      <a:pt x="68" y="156"/>
                    </a:lnTo>
                    <a:lnTo>
                      <a:pt x="66" y="154"/>
                    </a:lnTo>
                    <a:lnTo>
                      <a:pt x="64" y="152"/>
                    </a:lnTo>
                    <a:lnTo>
                      <a:pt x="58" y="152"/>
                    </a:lnTo>
                    <a:lnTo>
                      <a:pt x="56" y="150"/>
                    </a:lnTo>
                    <a:lnTo>
                      <a:pt x="54" y="148"/>
                    </a:lnTo>
                    <a:lnTo>
                      <a:pt x="52" y="148"/>
                    </a:lnTo>
                    <a:lnTo>
                      <a:pt x="50" y="144"/>
                    </a:lnTo>
                    <a:lnTo>
                      <a:pt x="48" y="144"/>
                    </a:lnTo>
                    <a:lnTo>
                      <a:pt x="46" y="142"/>
                    </a:lnTo>
                    <a:lnTo>
                      <a:pt x="46" y="140"/>
                    </a:lnTo>
                    <a:lnTo>
                      <a:pt x="44" y="138"/>
                    </a:lnTo>
                    <a:lnTo>
                      <a:pt x="44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4" y="132"/>
                    </a:lnTo>
                    <a:lnTo>
                      <a:pt x="44" y="128"/>
                    </a:lnTo>
                    <a:lnTo>
                      <a:pt x="44" y="124"/>
                    </a:lnTo>
                    <a:lnTo>
                      <a:pt x="44" y="118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0"/>
                    </a:lnTo>
                    <a:lnTo>
                      <a:pt x="48" y="106"/>
                    </a:lnTo>
                    <a:lnTo>
                      <a:pt x="48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48" y="98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2003" name="Freeform 166">
                <a:extLst>
                  <a:ext uri="{FF2B5EF4-FFF2-40B4-BE49-F238E27FC236}">
                    <a16:creationId xmlns:a16="http://schemas.microsoft.com/office/drawing/2014/main" id="{75D569E8-2226-481D-A160-AFBA26316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8303" y="2489367"/>
                <a:ext cx="15875" cy="28575"/>
              </a:xfrm>
              <a:custGeom>
                <a:avLst/>
                <a:gdLst>
                  <a:gd name="T0" fmla="*/ 6 w 10"/>
                  <a:gd name="T1" fmla="*/ 18 h 18"/>
                  <a:gd name="T2" fmla="*/ 6 w 10"/>
                  <a:gd name="T3" fmla="*/ 18 h 18"/>
                  <a:gd name="T4" fmla="*/ 6 w 10"/>
                  <a:gd name="T5" fmla="*/ 16 h 18"/>
                  <a:gd name="T6" fmla="*/ 8 w 10"/>
                  <a:gd name="T7" fmla="*/ 16 h 18"/>
                  <a:gd name="T8" fmla="*/ 8 w 10"/>
                  <a:gd name="T9" fmla="*/ 16 h 18"/>
                  <a:gd name="T10" fmla="*/ 8 w 10"/>
                  <a:gd name="T11" fmla="*/ 14 h 18"/>
                  <a:gd name="T12" fmla="*/ 10 w 10"/>
                  <a:gd name="T13" fmla="*/ 14 h 18"/>
                  <a:gd name="T14" fmla="*/ 10 w 10"/>
                  <a:gd name="T15" fmla="*/ 12 h 18"/>
                  <a:gd name="T16" fmla="*/ 10 w 10"/>
                  <a:gd name="T17" fmla="*/ 10 h 18"/>
                  <a:gd name="T18" fmla="*/ 10 w 10"/>
                  <a:gd name="T19" fmla="*/ 10 h 18"/>
                  <a:gd name="T20" fmla="*/ 10 w 10"/>
                  <a:gd name="T21" fmla="*/ 8 h 18"/>
                  <a:gd name="T22" fmla="*/ 10 w 10"/>
                  <a:gd name="T23" fmla="*/ 6 h 18"/>
                  <a:gd name="T24" fmla="*/ 10 w 10"/>
                  <a:gd name="T25" fmla="*/ 4 h 18"/>
                  <a:gd name="T26" fmla="*/ 8 w 10"/>
                  <a:gd name="T27" fmla="*/ 4 h 18"/>
                  <a:gd name="T28" fmla="*/ 8 w 10"/>
                  <a:gd name="T29" fmla="*/ 2 h 18"/>
                  <a:gd name="T30" fmla="*/ 8 w 10"/>
                  <a:gd name="T31" fmla="*/ 2 h 18"/>
                  <a:gd name="T32" fmla="*/ 6 w 10"/>
                  <a:gd name="T33" fmla="*/ 2 h 18"/>
                  <a:gd name="T34" fmla="*/ 6 w 10"/>
                  <a:gd name="T35" fmla="*/ 0 h 18"/>
                  <a:gd name="T36" fmla="*/ 4 w 10"/>
                  <a:gd name="T37" fmla="*/ 2 h 18"/>
                  <a:gd name="T38" fmla="*/ 4 w 10"/>
                  <a:gd name="T39" fmla="*/ 2 h 18"/>
                  <a:gd name="T40" fmla="*/ 2 w 10"/>
                  <a:gd name="T41" fmla="*/ 2 h 18"/>
                  <a:gd name="T42" fmla="*/ 2 w 10"/>
                  <a:gd name="T43" fmla="*/ 4 h 18"/>
                  <a:gd name="T44" fmla="*/ 2 w 10"/>
                  <a:gd name="T45" fmla="*/ 4 h 18"/>
                  <a:gd name="T46" fmla="*/ 2 w 10"/>
                  <a:gd name="T47" fmla="*/ 6 h 18"/>
                  <a:gd name="T48" fmla="*/ 0 w 10"/>
                  <a:gd name="T49" fmla="*/ 8 h 18"/>
                  <a:gd name="T50" fmla="*/ 0 w 10"/>
                  <a:gd name="T51" fmla="*/ 10 h 18"/>
                  <a:gd name="T52" fmla="*/ 0 w 10"/>
                  <a:gd name="T53" fmla="*/ 10 h 18"/>
                  <a:gd name="T54" fmla="*/ 2 w 10"/>
                  <a:gd name="T55" fmla="*/ 12 h 18"/>
                  <a:gd name="T56" fmla="*/ 2 w 10"/>
                  <a:gd name="T57" fmla="*/ 14 h 18"/>
                  <a:gd name="T58" fmla="*/ 2 w 10"/>
                  <a:gd name="T59" fmla="*/ 14 h 18"/>
                  <a:gd name="T60" fmla="*/ 2 w 10"/>
                  <a:gd name="T61" fmla="*/ 16 h 18"/>
                  <a:gd name="T62" fmla="*/ 4 w 10"/>
                  <a:gd name="T63" fmla="*/ 16 h 18"/>
                  <a:gd name="T64" fmla="*/ 4 w 10"/>
                  <a:gd name="T65" fmla="*/ 16 h 18"/>
                  <a:gd name="T66" fmla="*/ 6 w 10"/>
                  <a:gd name="T6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" h="18">
                    <a:moveTo>
                      <a:pt x="6" y="18"/>
                    </a:moveTo>
                    <a:lnTo>
                      <a:pt x="6" y="18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2004" name="Freeform 168">
                <a:extLst>
                  <a:ext uri="{FF2B5EF4-FFF2-40B4-BE49-F238E27FC236}">
                    <a16:creationId xmlns:a16="http://schemas.microsoft.com/office/drawing/2014/main" id="{5801B6CA-FBA3-43CF-9D8D-E210A6868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7553" y="2184567"/>
                <a:ext cx="107950" cy="82550"/>
              </a:xfrm>
              <a:custGeom>
                <a:avLst/>
                <a:gdLst>
                  <a:gd name="T0" fmla="*/ 34 w 68"/>
                  <a:gd name="T1" fmla="*/ 8 h 52"/>
                  <a:gd name="T2" fmla="*/ 30 w 68"/>
                  <a:gd name="T3" fmla="*/ 10 h 52"/>
                  <a:gd name="T4" fmla="*/ 26 w 68"/>
                  <a:gd name="T5" fmla="*/ 14 h 52"/>
                  <a:gd name="T6" fmla="*/ 24 w 68"/>
                  <a:gd name="T7" fmla="*/ 16 h 52"/>
                  <a:gd name="T8" fmla="*/ 20 w 68"/>
                  <a:gd name="T9" fmla="*/ 18 h 52"/>
                  <a:gd name="T10" fmla="*/ 16 w 68"/>
                  <a:gd name="T11" fmla="*/ 18 h 52"/>
                  <a:gd name="T12" fmla="*/ 12 w 68"/>
                  <a:gd name="T13" fmla="*/ 18 h 52"/>
                  <a:gd name="T14" fmla="*/ 8 w 68"/>
                  <a:gd name="T15" fmla="*/ 20 h 52"/>
                  <a:gd name="T16" fmla="*/ 4 w 68"/>
                  <a:gd name="T17" fmla="*/ 22 h 52"/>
                  <a:gd name="T18" fmla="*/ 0 w 68"/>
                  <a:gd name="T19" fmla="*/ 26 h 52"/>
                  <a:gd name="T20" fmla="*/ 0 w 68"/>
                  <a:gd name="T21" fmla="*/ 26 h 52"/>
                  <a:gd name="T22" fmla="*/ 0 w 68"/>
                  <a:gd name="T23" fmla="*/ 28 h 52"/>
                  <a:gd name="T24" fmla="*/ 0 w 68"/>
                  <a:gd name="T25" fmla="*/ 30 h 52"/>
                  <a:gd name="T26" fmla="*/ 0 w 68"/>
                  <a:gd name="T27" fmla="*/ 30 h 52"/>
                  <a:gd name="T28" fmla="*/ 2 w 68"/>
                  <a:gd name="T29" fmla="*/ 34 h 52"/>
                  <a:gd name="T30" fmla="*/ 6 w 68"/>
                  <a:gd name="T31" fmla="*/ 38 h 52"/>
                  <a:gd name="T32" fmla="*/ 12 w 68"/>
                  <a:gd name="T33" fmla="*/ 44 h 52"/>
                  <a:gd name="T34" fmla="*/ 16 w 68"/>
                  <a:gd name="T35" fmla="*/ 48 h 52"/>
                  <a:gd name="T36" fmla="*/ 22 w 68"/>
                  <a:gd name="T37" fmla="*/ 50 h 52"/>
                  <a:gd name="T38" fmla="*/ 24 w 68"/>
                  <a:gd name="T39" fmla="*/ 52 h 52"/>
                  <a:gd name="T40" fmla="*/ 26 w 68"/>
                  <a:gd name="T41" fmla="*/ 52 h 52"/>
                  <a:gd name="T42" fmla="*/ 30 w 68"/>
                  <a:gd name="T43" fmla="*/ 52 h 52"/>
                  <a:gd name="T44" fmla="*/ 34 w 68"/>
                  <a:gd name="T45" fmla="*/ 50 h 52"/>
                  <a:gd name="T46" fmla="*/ 44 w 68"/>
                  <a:gd name="T47" fmla="*/ 44 h 52"/>
                  <a:gd name="T48" fmla="*/ 48 w 68"/>
                  <a:gd name="T49" fmla="*/ 42 h 52"/>
                  <a:gd name="T50" fmla="*/ 52 w 68"/>
                  <a:gd name="T51" fmla="*/ 40 h 52"/>
                  <a:gd name="T52" fmla="*/ 62 w 68"/>
                  <a:gd name="T53" fmla="*/ 38 h 52"/>
                  <a:gd name="T54" fmla="*/ 64 w 68"/>
                  <a:gd name="T55" fmla="*/ 36 h 52"/>
                  <a:gd name="T56" fmla="*/ 66 w 68"/>
                  <a:gd name="T57" fmla="*/ 34 h 52"/>
                  <a:gd name="T58" fmla="*/ 68 w 68"/>
                  <a:gd name="T59" fmla="*/ 32 h 52"/>
                  <a:gd name="T60" fmla="*/ 68 w 68"/>
                  <a:gd name="T61" fmla="*/ 30 h 52"/>
                  <a:gd name="T62" fmla="*/ 68 w 68"/>
                  <a:gd name="T63" fmla="*/ 26 h 52"/>
                  <a:gd name="T64" fmla="*/ 66 w 68"/>
                  <a:gd name="T65" fmla="*/ 18 h 52"/>
                  <a:gd name="T66" fmla="*/ 64 w 68"/>
                  <a:gd name="T67" fmla="*/ 14 h 52"/>
                  <a:gd name="T68" fmla="*/ 62 w 68"/>
                  <a:gd name="T69" fmla="*/ 10 h 52"/>
                  <a:gd name="T70" fmla="*/ 58 w 68"/>
                  <a:gd name="T71" fmla="*/ 6 h 52"/>
                  <a:gd name="T72" fmla="*/ 52 w 68"/>
                  <a:gd name="T73" fmla="*/ 2 h 52"/>
                  <a:gd name="T74" fmla="*/ 48 w 68"/>
                  <a:gd name="T75" fmla="*/ 0 h 52"/>
                  <a:gd name="T76" fmla="*/ 46 w 68"/>
                  <a:gd name="T77" fmla="*/ 0 h 52"/>
                  <a:gd name="T78" fmla="*/ 44 w 68"/>
                  <a:gd name="T79" fmla="*/ 0 h 52"/>
                  <a:gd name="T80" fmla="*/ 42 w 68"/>
                  <a:gd name="T81" fmla="*/ 2 h 52"/>
                  <a:gd name="T82" fmla="*/ 38 w 68"/>
                  <a:gd name="T83" fmla="*/ 4 h 52"/>
                  <a:gd name="T84" fmla="*/ 34 w 68"/>
                  <a:gd name="T85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8" h="52">
                    <a:moveTo>
                      <a:pt x="34" y="8"/>
                    </a:moveTo>
                    <a:lnTo>
                      <a:pt x="34" y="8"/>
                    </a:lnTo>
                    <a:lnTo>
                      <a:pt x="32" y="8"/>
                    </a:lnTo>
                    <a:lnTo>
                      <a:pt x="30" y="10"/>
                    </a:lnTo>
                    <a:lnTo>
                      <a:pt x="28" y="14"/>
                    </a:lnTo>
                    <a:lnTo>
                      <a:pt x="26" y="14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2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2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4" y="36"/>
                    </a:lnTo>
                    <a:lnTo>
                      <a:pt x="6" y="38"/>
                    </a:lnTo>
                    <a:lnTo>
                      <a:pt x="8" y="40"/>
                    </a:lnTo>
                    <a:lnTo>
                      <a:pt x="12" y="44"/>
                    </a:lnTo>
                    <a:lnTo>
                      <a:pt x="14" y="46"/>
                    </a:lnTo>
                    <a:lnTo>
                      <a:pt x="16" y="48"/>
                    </a:lnTo>
                    <a:lnTo>
                      <a:pt x="18" y="48"/>
                    </a:lnTo>
                    <a:lnTo>
                      <a:pt x="22" y="50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8" y="52"/>
                    </a:lnTo>
                    <a:lnTo>
                      <a:pt x="30" y="52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8" y="48"/>
                    </a:lnTo>
                    <a:lnTo>
                      <a:pt x="44" y="44"/>
                    </a:lnTo>
                    <a:lnTo>
                      <a:pt x="46" y="42"/>
                    </a:lnTo>
                    <a:lnTo>
                      <a:pt x="48" y="42"/>
                    </a:lnTo>
                    <a:lnTo>
                      <a:pt x="50" y="40"/>
                    </a:lnTo>
                    <a:lnTo>
                      <a:pt x="52" y="40"/>
                    </a:lnTo>
                    <a:lnTo>
                      <a:pt x="58" y="38"/>
                    </a:lnTo>
                    <a:lnTo>
                      <a:pt x="62" y="38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8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4" y="14"/>
                    </a:lnTo>
                    <a:lnTo>
                      <a:pt x="64" y="12"/>
                    </a:lnTo>
                    <a:lnTo>
                      <a:pt x="62" y="10"/>
                    </a:lnTo>
                    <a:lnTo>
                      <a:pt x="60" y="8"/>
                    </a:lnTo>
                    <a:lnTo>
                      <a:pt x="58" y="6"/>
                    </a:lnTo>
                    <a:lnTo>
                      <a:pt x="54" y="4"/>
                    </a:lnTo>
                    <a:lnTo>
                      <a:pt x="52" y="2"/>
                    </a:lnTo>
                    <a:lnTo>
                      <a:pt x="50" y="2"/>
                    </a:lnTo>
                    <a:lnTo>
                      <a:pt x="4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2" y="2"/>
                    </a:lnTo>
                    <a:lnTo>
                      <a:pt x="40" y="2"/>
                    </a:lnTo>
                    <a:lnTo>
                      <a:pt x="38" y="4"/>
                    </a:lnTo>
                    <a:lnTo>
                      <a:pt x="36" y="6"/>
                    </a:lnTo>
                    <a:lnTo>
                      <a:pt x="34" y="8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2005" name="Freeform 170">
                <a:extLst>
                  <a:ext uri="{FF2B5EF4-FFF2-40B4-BE49-F238E27FC236}">
                    <a16:creationId xmlns:a16="http://schemas.microsoft.com/office/drawing/2014/main" id="{FC1D18D6-6093-4873-B375-3A0AB8CD1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7403" y="2244892"/>
                <a:ext cx="107950" cy="69850"/>
              </a:xfrm>
              <a:custGeom>
                <a:avLst/>
                <a:gdLst>
                  <a:gd name="T0" fmla="*/ 20 w 68"/>
                  <a:gd name="T1" fmla="*/ 16 h 44"/>
                  <a:gd name="T2" fmla="*/ 20 w 68"/>
                  <a:gd name="T3" fmla="*/ 14 h 44"/>
                  <a:gd name="T4" fmla="*/ 22 w 68"/>
                  <a:gd name="T5" fmla="*/ 10 h 44"/>
                  <a:gd name="T6" fmla="*/ 24 w 68"/>
                  <a:gd name="T7" fmla="*/ 6 h 44"/>
                  <a:gd name="T8" fmla="*/ 26 w 68"/>
                  <a:gd name="T9" fmla="*/ 4 h 44"/>
                  <a:gd name="T10" fmla="*/ 26 w 68"/>
                  <a:gd name="T11" fmla="*/ 2 h 44"/>
                  <a:gd name="T12" fmla="*/ 30 w 68"/>
                  <a:gd name="T13" fmla="*/ 2 h 44"/>
                  <a:gd name="T14" fmla="*/ 32 w 68"/>
                  <a:gd name="T15" fmla="*/ 0 h 44"/>
                  <a:gd name="T16" fmla="*/ 38 w 68"/>
                  <a:gd name="T17" fmla="*/ 0 h 44"/>
                  <a:gd name="T18" fmla="*/ 40 w 68"/>
                  <a:gd name="T19" fmla="*/ 0 h 44"/>
                  <a:gd name="T20" fmla="*/ 46 w 68"/>
                  <a:gd name="T21" fmla="*/ 2 h 44"/>
                  <a:gd name="T22" fmla="*/ 48 w 68"/>
                  <a:gd name="T23" fmla="*/ 4 h 44"/>
                  <a:gd name="T24" fmla="*/ 50 w 68"/>
                  <a:gd name="T25" fmla="*/ 4 h 44"/>
                  <a:gd name="T26" fmla="*/ 54 w 68"/>
                  <a:gd name="T27" fmla="*/ 8 h 44"/>
                  <a:gd name="T28" fmla="*/ 56 w 68"/>
                  <a:gd name="T29" fmla="*/ 12 h 44"/>
                  <a:gd name="T30" fmla="*/ 58 w 68"/>
                  <a:gd name="T31" fmla="*/ 16 h 44"/>
                  <a:gd name="T32" fmla="*/ 58 w 68"/>
                  <a:gd name="T33" fmla="*/ 18 h 44"/>
                  <a:gd name="T34" fmla="*/ 58 w 68"/>
                  <a:gd name="T35" fmla="*/ 24 h 44"/>
                  <a:gd name="T36" fmla="*/ 58 w 68"/>
                  <a:gd name="T37" fmla="*/ 26 h 44"/>
                  <a:gd name="T38" fmla="*/ 58 w 68"/>
                  <a:gd name="T39" fmla="*/ 28 h 44"/>
                  <a:gd name="T40" fmla="*/ 58 w 68"/>
                  <a:gd name="T41" fmla="*/ 28 h 44"/>
                  <a:gd name="T42" fmla="*/ 60 w 68"/>
                  <a:gd name="T43" fmla="*/ 28 h 44"/>
                  <a:gd name="T44" fmla="*/ 62 w 68"/>
                  <a:gd name="T45" fmla="*/ 28 h 44"/>
                  <a:gd name="T46" fmla="*/ 64 w 68"/>
                  <a:gd name="T47" fmla="*/ 26 h 44"/>
                  <a:gd name="T48" fmla="*/ 66 w 68"/>
                  <a:gd name="T49" fmla="*/ 26 h 44"/>
                  <a:gd name="T50" fmla="*/ 66 w 68"/>
                  <a:gd name="T51" fmla="*/ 26 h 44"/>
                  <a:gd name="T52" fmla="*/ 68 w 68"/>
                  <a:gd name="T53" fmla="*/ 28 h 44"/>
                  <a:gd name="T54" fmla="*/ 68 w 68"/>
                  <a:gd name="T55" fmla="*/ 32 h 44"/>
                  <a:gd name="T56" fmla="*/ 68 w 68"/>
                  <a:gd name="T57" fmla="*/ 34 h 44"/>
                  <a:gd name="T58" fmla="*/ 68 w 68"/>
                  <a:gd name="T59" fmla="*/ 36 h 44"/>
                  <a:gd name="T60" fmla="*/ 66 w 68"/>
                  <a:gd name="T61" fmla="*/ 38 h 44"/>
                  <a:gd name="T62" fmla="*/ 64 w 68"/>
                  <a:gd name="T63" fmla="*/ 40 h 44"/>
                  <a:gd name="T64" fmla="*/ 60 w 68"/>
                  <a:gd name="T65" fmla="*/ 40 h 44"/>
                  <a:gd name="T66" fmla="*/ 54 w 68"/>
                  <a:gd name="T67" fmla="*/ 42 h 44"/>
                  <a:gd name="T68" fmla="*/ 48 w 68"/>
                  <a:gd name="T69" fmla="*/ 44 h 44"/>
                  <a:gd name="T70" fmla="*/ 44 w 68"/>
                  <a:gd name="T71" fmla="*/ 42 h 44"/>
                  <a:gd name="T72" fmla="*/ 40 w 68"/>
                  <a:gd name="T73" fmla="*/ 42 h 44"/>
                  <a:gd name="T74" fmla="*/ 34 w 68"/>
                  <a:gd name="T75" fmla="*/ 40 h 44"/>
                  <a:gd name="T76" fmla="*/ 26 w 68"/>
                  <a:gd name="T77" fmla="*/ 36 h 44"/>
                  <a:gd name="T78" fmla="*/ 20 w 68"/>
                  <a:gd name="T79" fmla="*/ 34 h 44"/>
                  <a:gd name="T80" fmla="*/ 10 w 68"/>
                  <a:gd name="T81" fmla="*/ 32 h 44"/>
                  <a:gd name="T82" fmla="*/ 6 w 68"/>
                  <a:gd name="T83" fmla="*/ 30 h 44"/>
                  <a:gd name="T84" fmla="*/ 4 w 68"/>
                  <a:gd name="T85" fmla="*/ 30 h 44"/>
                  <a:gd name="T86" fmla="*/ 2 w 68"/>
                  <a:gd name="T87" fmla="*/ 28 h 44"/>
                  <a:gd name="T88" fmla="*/ 2 w 68"/>
                  <a:gd name="T89" fmla="*/ 26 h 44"/>
                  <a:gd name="T90" fmla="*/ 0 w 68"/>
                  <a:gd name="T91" fmla="*/ 24 h 44"/>
                  <a:gd name="T92" fmla="*/ 2 w 68"/>
                  <a:gd name="T93" fmla="*/ 22 h 44"/>
                  <a:gd name="T94" fmla="*/ 4 w 68"/>
                  <a:gd name="T95" fmla="*/ 18 h 44"/>
                  <a:gd name="T96" fmla="*/ 6 w 68"/>
                  <a:gd name="T97" fmla="*/ 16 h 44"/>
                  <a:gd name="T98" fmla="*/ 6 w 68"/>
                  <a:gd name="T99" fmla="*/ 16 h 44"/>
                  <a:gd name="T100" fmla="*/ 10 w 68"/>
                  <a:gd name="T101" fmla="*/ 16 h 44"/>
                  <a:gd name="T102" fmla="*/ 14 w 68"/>
                  <a:gd name="T103" fmla="*/ 16 h 44"/>
                  <a:gd name="T104" fmla="*/ 18 w 68"/>
                  <a:gd name="T105" fmla="*/ 16 h 44"/>
                  <a:gd name="T106" fmla="*/ 20 w 68"/>
                  <a:gd name="T107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44">
                    <a:moveTo>
                      <a:pt x="20" y="16"/>
                    </a:moveTo>
                    <a:lnTo>
                      <a:pt x="20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2" y="6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6" y="12"/>
                    </a:lnTo>
                    <a:lnTo>
                      <a:pt x="58" y="14"/>
                    </a:lnTo>
                    <a:lnTo>
                      <a:pt x="58" y="16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6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8"/>
                    </a:lnTo>
                    <a:lnTo>
                      <a:pt x="68" y="28"/>
                    </a:lnTo>
                    <a:lnTo>
                      <a:pt x="68" y="30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6" y="38"/>
                    </a:lnTo>
                    <a:lnTo>
                      <a:pt x="66" y="38"/>
                    </a:lnTo>
                    <a:lnTo>
                      <a:pt x="64" y="40"/>
                    </a:lnTo>
                    <a:lnTo>
                      <a:pt x="64" y="40"/>
                    </a:lnTo>
                    <a:lnTo>
                      <a:pt x="62" y="40"/>
                    </a:lnTo>
                    <a:lnTo>
                      <a:pt x="60" y="40"/>
                    </a:lnTo>
                    <a:lnTo>
                      <a:pt x="58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2"/>
                    </a:lnTo>
                    <a:lnTo>
                      <a:pt x="42" y="42"/>
                    </a:lnTo>
                    <a:lnTo>
                      <a:pt x="40" y="42"/>
                    </a:lnTo>
                    <a:lnTo>
                      <a:pt x="36" y="40"/>
                    </a:lnTo>
                    <a:lnTo>
                      <a:pt x="34" y="40"/>
                    </a:lnTo>
                    <a:lnTo>
                      <a:pt x="28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8" y="32"/>
                    </a:lnTo>
                    <a:lnTo>
                      <a:pt x="10" y="32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6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0" y="16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2006" name="Freeform 172">
                <a:extLst>
                  <a:ext uri="{FF2B5EF4-FFF2-40B4-BE49-F238E27FC236}">
                    <a16:creationId xmlns:a16="http://schemas.microsoft.com/office/drawing/2014/main" id="{B693A2FF-1526-4A62-8AB0-DDBAF8B89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8053" y="2273467"/>
                <a:ext cx="82550" cy="66675"/>
              </a:xfrm>
              <a:custGeom>
                <a:avLst/>
                <a:gdLst>
                  <a:gd name="T0" fmla="*/ 6 w 52"/>
                  <a:gd name="T1" fmla="*/ 18 h 42"/>
                  <a:gd name="T2" fmla="*/ 10 w 52"/>
                  <a:gd name="T3" fmla="*/ 10 h 42"/>
                  <a:gd name="T4" fmla="*/ 12 w 52"/>
                  <a:gd name="T5" fmla="*/ 8 h 42"/>
                  <a:gd name="T6" fmla="*/ 16 w 52"/>
                  <a:gd name="T7" fmla="*/ 4 h 42"/>
                  <a:gd name="T8" fmla="*/ 18 w 52"/>
                  <a:gd name="T9" fmla="*/ 2 h 42"/>
                  <a:gd name="T10" fmla="*/ 20 w 52"/>
                  <a:gd name="T11" fmla="*/ 2 h 42"/>
                  <a:gd name="T12" fmla="*/ 22 w 52"/>
                  <a:gd name="T13" fmla="*/ 0 h 42"/>
                  <a:gd name="T14" fmla="*/ 24 w 52"/>
                  <a:gd name="T15" fmla="*/ 2 h 42"/>
                  <a:gd name="T16" fmla="*/ 24 w 52"/>
                  <a:gd name="T17" fmla="*/ 2 h 42"/>
                  <a:gd name="T18" fmla="*/ 24 w 52"/>
                  <a:gd name="T19" fmla="*/ 4 h 42"/>
                  <a:gd name="T20" fmla="*/ 26 w 52"/>
                  <a:gd name="T21" fmla="*/ 8 h 42"/>
                  <a:gd name="T22" fmla="*/ 28 w 52"/>
                  <a:gd name="T23" fmla="*/ 10 h 42"/>
                  <a:gd name="T24" fmla="*/ 30 w 52"/>
                  <a:gd name="T25" fmla="*/ 10 h 42"/>
                  <a:gd name="T26" fmla="*/ 32 w 52"/>
                  <a:gd name="T27" fmla="*/ 12 h 42"/>
                  <a:gd name="T28" fmla="*/ 36 w 52"/>
                  <a:gd name="T29" fmla="*/ 12 h 42"/>
                  <a:gd name="T30" fmla="*/ 40 w 52"/>
                  <a:gd name="T31" fmla="*/ 12 h 42"/>
                  <a:gd name="T32" fmla="*/ 46 w 52"/>
                  <a:gd name="T33" fmla="*/ 12 h 42"/>
                  <a:gd name="T34" fmla="*/ 48 w 52"/>
                  <a:gd name="T35" fmla="*/ 14 h 42"/>
                  <a:gd name="T36" fmla="*/ 50 w 52"/>
                  <a:gd name="T37" fmla="*/ 14 h 42"/>
                  <a:gd name="T38" fmla="*/ 52 w 52"/>
                  <a:gd name="T39" fmla="*/ 18 h 42"/>
                  <a:gd name="T40" fmla="*/ 52 w 52"/>
                  <a:gd name="T41" fmla="*/ 20 h 42"/>
                  <a:gd name="T42" fmla="*/ 52 w 52"/>
                  <a:gd name="T43" fmla="*/ 24 h 42"/>
                  <a:gd name="T44" fmla="*/ 52 w 52"/>
                  <a:gd name="T45" fmla="*/ 28 h 42"/>
                  <a:gd name="T46" fmla="*/ 52 w 52"/>
                  <a:gd name="T47" fmla="*/ 30 h 42"/>
                  <a:gd name="T48" fmla="*/ 50 w 52"/>
                  <a:gd name="T49" fmla="*/ 34 h 42"/>
                  <a:gd name="T50" fmla="*/ 48 w 52"/>
                  <a:gd name="T51" fmla="*/ 36 h 42"/>
                  <a:gd name="T52" fmla="*/ 46 w 52"/>
                  <a:gd name="T53" fmla="*/ 38 h 42"/>
                  <a:gd name="T54" fmla="*/ 44 w 52"/>
                  <a:gd name="T55" fmla="*/ 40 h 42"/>
                  <a:gd name="T56" fmla="*/ 40 w 52"/>
                  <a:gd name="T57" fmla="*/ 42 h 42"/>
                  <a:gd name="T58" fmla="*/ 34 w 52"/>
                  <a:gd name="T59" fmla="*/ 42 h 42"/>
                  <a:gd name="T60" fmla="*/ 28 w 52"/>
                  <a:gd name="T61" fmla="*/ 42 h 42"/>
                  <a:gd name="T62" fmla="*/ 20 w 52"/>
                  <a:gd name="T63" fmla="*/ 42 h 42"/>
                  <a:gd name="T64" fmla="*/ 14 w 52"/>
                  <a:gd name="T65" fmla="*/ 42 h 42"/>
                  <a:gd name="T66" fmla="*/ 8 w 52"/>
                  <a:gd name="T67" fmla="*/ 40 h 42"/>
                  <a:gd name="T68" fmla="*/ 6 w 52"/>
                  <a:gd name="T69" fmla="*/ 40 h 42"/>
                  <a:gd name="T70" fmla="*/ 4 w 52"/>
                  <a:gd name="T71" fmla="*/ 38 h 42"/>
                  <a:gd name="T72" fmla="*/ 2 w 52"/>
                  <a:gd name="T73" fmla="*/ 36 h 42"/>
                  <a:gd name="T74" fmla="*/ 0 w 52"/>
                  <a:gd name="T75" fmla="*/ 34 h 42"/>
                  <a:gd name="T76" fmla="*/ 0 w 52"/>
                  <a:gd name="T77" fmla="*/ 32 h 42"/>
                  <a:gd name="T78" fmla="*/ 0 w 52"/>
                  <a:gd name="T79" fmla="*/ 30 h 42"/>
                  <a:gd name="T80" fmla="*/ 0 w 52"/>
                  <a:gd name="T81" fmla="*/ 28 h 42"/>
                  <a:gd name="T82" fmla="*/ 4 w 52"/>
                  <a:gd name="T83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2" h="42">
                    <a:moveTo>
                      <a:pt x="6" y="18"/>
                    </a:moveTo>
                    <a:lnTo>
                      <a:pt x="6" y="18"/>
                    </a:lnTo>
                    <a:lnTo>
                      <a:pt x="8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4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6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2" y="10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8" y="10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6"/>
                    </a:lnTo>
                    <a:lnTo>
                      <a:pt x="52" y="18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2"/>
                    </a:lnTo>
                    <a:lnTo>
                      <a:pt x="52" y="24"/>
                    </a:lnTo>
                    <a:lnTo>
                      <a:pt x="52" y="26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2" y="32"/>
                    </a:lnTo>
                    <a:lnTo>
                      <a:pt x="50" y="34"/>
                    </a:lnTo>
                    <a:lnTo>
                      <a:pt x="50" y="36"/>
                    </a:lnTo>
                    <a:lnTo>
                      <a:pt x="48" y="36"/>
                    </a:lnTo>
                    <a:lnTo>
                      <a:pt x="48" y="38"/>
                    </a:lnTo>
                    <a:lnTo>
                      <a:pt x="46" y="38"/>
                    </a:lnTo>
                    <a:lnTo>
                      <a:pt x="46" y="40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2" y="42"/>
                    </a:lnTo>
                    <a:lnTo>
                      <a:pt x="28" y="42"/>
                    </a:lnTo>
                    <a:lnTo>
                      <a:pt x="22" y="42"/>
                    </a:lnTo>
                    <a:lnTo>
                      <a:pt x="20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2" y="38"/>
                    </a:lnTo>
                    <a:lnTo>
                      <a:pt x="2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2" y="26"/>
                    </a:lnTo>
                    <a:lnTo>
                      <a:pt x="4" y="22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2007" name="Freeform 174">
                <a:extLst>
                  <a:ext uri="{FF2B5EF4-FFF2-40B4-BE49-F238E27FC236}">
                    <a16:creationId xmlns:a16="http://schemas.microsoft.com/office/drawing/2014/main" id="{A6933F90-1473-4031-83B5-9366B7D6EF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7353" y="2419517"/>
                <a:ext cx="152399" cy="69850"/>
              </a:xfrm>
              <a:custGeom>
                <a:avLst/>
                <a:gdLst>
                  <a:gd name="T0" fmla="*/ 52 w 96"/>
                  <a:gd name="T1" fmla="*/ 4 h 44"/>
                  <a:gd name="T2" fmla="*/ 52 w 96"/>
                  <a:gd name="T3" fmla="*/ 8 h 44"/>
                  <a:gd name="T4" fmla="*/ 52 w 96"/>
                  <a:gd name="T5" fmla="*/ 14 h 44"/>
                  <a:gd name="T6" fmla="*/ 50 w 96"/>
                  <a:gd name="T7" fmla="*/ 16 h 44"/>
                  <a:gd name="T8" fmla="*/ 48 w 96"/>
                  <a:gd name="T9" fmla="*/ 16 h 44"/>
                  <a:gd name="T10" fmla="*/ 42 w 96"/>
                  <a:gd name="T11" fmla="*/ 16 h 44"/>
                  <a:gd name="T12" fmla="*/ 36 w 96"/>
                  <a:gd name="T13" fmla="*/ 16 h 44"/>
                  <a:gd name="T14" fmla="*/ 32 w 96"/>
                  <a:gd name="T15" fmla="*/ 14 h 44"/>
                  <a:gd name="T16" fmla="*/ 30 w 96"/>
                  <a:gd name="T17" fmla="*/ 8 h 44"/>
                  <a:gd name="T18" fmla="*/ 24 w 96"/>
                  <a:gd name="T19" fmla="*/ 4 h 44"/>
                  <a:gd name="T20" fmla="*/ 18 w 96"/>
                  <a:gd name="T21" fmla="*/ 2 h 44"/>
                  <a:gd name="T22" fmla="*/ 14 w 96"/>
                  <a:gd name="T23" fmla="*/ 0 h 44"/>
                  <a:gd name="T24" fmla="*/ 8 w 96"/>
                  <a:gd name="T25" fmla="*/ 2 h 44"/>
                  <a:gd name="T26" fmla="*/ 4 w 96"/>
                  <a:gd name="T27" fmla="*/ 6 h 44"/>
                  <a:gd name="T28" fmla="*/ 2 w 96"/>
                  <a:gd name="T29" fmla="*/ 10 h 44"/>
                  <a:gd name="T30" fmla="*/ 0 w 96"/>
                  <a:gd name="T31" fmla="*/ 14 h 44"/>
                  <a:gd name="T32" fmla="*/ 0 w 96"/>
                  <a:gd name="T33" fmla="*/ 22 h 44"/>
                  <a:gd name="T34" fmla="*/ 2 w 96"/>
                  <a:gd name="T35" fmla="*/ 28 h 44"/>
                  <a:gd name="T36" fmla="*/ 4 w 96"/>
                  <a:gd name="T37" fmla="*/ 30 h 44"/>
                  <a:gd name="T38" fmla="*/ 12 w 96"/>
                  <a:gd name="T39" fmla="*/ 36 h 44"/>
                  <a:gd name="T40" fmla="*/ 20 w 96"/>
                  <a:gd name="T41" fmla="*/ 40 h 44"/>
                  <a:gd name="T42" fmla="*/ 28 w 96"/>
                  <a:gd name="T43" fmla="*/ 42 h 44"/>
                  <a:gd name="T44" fmla="*/ 38 w 96"/>
                  <a:gd name="T45" fmla="*/ 44 h 44"/>
                  <a:gd name="T46" fmla="*/ 44 w 96"/>
                  <a:gd name="T47" fmla="*/ 42 h 44"/>
                  <a:gd name="T48" fmla="*/ 46 w 96"/>
                  <a:gd name="T49" fmla="*/ 42 h 44"/>
                  <a:gd name="T50" fmla="*/ 50 w 96"/>
                  <a:gd name="T51" fmla="*/ 36 h 44"/>
                  <a:gd name="T52" fmla="*/ 54 w 96"/>
                  <a:gd name="T53" fmla="*/ 34 h 44"/>
                  <a:gd name="T54" fmla="*/ 56 w 96"/>
                  <a:gd name="T55" fmla="*/ 34 h 44"/>
                  <a:gd name="T56" fmla="*/ 60 w 96"/>
                  <a:gd name="T57" fmla="*/ 36 h 44"/>
                  <a:gd name="T58" fmla="*/ 68 w 96"/>
                  <a:gd name="T59" fmla="*/ 40 h 44"/>
                  <a:gd name="T60" fmla="*/ 72 w 96"/>
                  <a:gd name="T61" fmla="*/ 40 h 44"/>
                  <a:gd name="T62" fmla="*/ 78 w 96"/>
                  <a:gd name="T63" fmla="*/ 40 h 44"/>
                  <a:gd name="T64" fmla="*/ 86 w 96"/>
                  <a:gd name="T65" fmla="*/ 40 h 44"/>
                  <a:gd name="T66" fmla="*/ 90 w 96"/>
                  <a:gd name="T67" fmla="*/ 38 h 44"/>
                  <a:gd name="T68" fmla="*/ 94 w 96"/>
                  <a:gd name="T69" fmla="*/ 34 h 44"/>
                  <a:gd name="T70" fmla="*/ 96 w 96"/>
                  <a:gd name="T71" fmla="*/ 30 h 44"/>
                  <a:gd name="T72" fmla="*/ 96 w 96"/>
                  <a:gd name="T73" fmla="*/ 28 h 44"/>
                  <a:gd name="T74" fmla="*/ 94 w 96"/>
                  <a:gd name="T75" fmla="*/ 26 h 44"/>
                  <a:gd name="T76" fmla="*/ 88 w 96"/>
                  <a:gd name="T77" fmla="*/ 26 h 44"/>
                  <a:gd name="T78" fmla="*/ 82 w 96"/>
                  <a:gd name="T79" fmla="*/ 24 h 44"/>
                  <a:gd name="T80" fmla="*/ 80 w 96"/>
                  <a:gd name="T81" fmla="*/ 22 h 44"/>
                  <a:gd name="T82" fmla="*/ 78 w 96"/>
                  <a:gd name="T83" fmla="*/ 18 h 44"/>
                  <a:gd name="T84" fmla="*/ 76 w 96"/>
                  <a:gd name="T85" fmla="*/ 12 h 44"/>
                  <a:gd name="T86" fmla="*/ 74 w 96"/>
                  <a:gd name="T87" fmla="*/ 8 h 44"/>
                  <a:gd name="T88" fmla="*/ 68 w 96"/>
                  <a:gd name="T89" fmla="*/ 6 h 44"/>
                  <a:gd name="T90" fmla="*/ 62 w 96"/>
                  <a:gd name="T91" fmla="*/ 2 h 44"/>
                  <a:gd name="T92" fmla="*/ 58 w 96"/>
                  <a:gd name="T93" fmla="*/ 2 h 44"/>
                  <a:gd name="T94" fmla="*/ 54 w 96"/>
                  <a:gd name="T95" fmla="*/ 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6" h="44">
                    <a:moveTo>
                      <a:pt x="54" y="4"/>
                    </a:moveTo>
                    <a:lnTo>
                      <a:pt x="54" y="4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2" y="16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2" y="16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26" y="6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2"/>
                    </a:lnTo>
                    <a:lnTo>
                      <a:pt x="10" y="34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8" y="42"/>
                    </a:lnTo>
                    <a:lnTo>
                      <a:pt x="32" y="42"/>
                    </a:lnTo>
                    <a:lnTo>
                      <a:pt x="36" y="44"/>
                    </a:lnTo>
                    <a:lnTo>
                      <a:pt x="38" y="44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4" y="42"/>
                    </a:lnTo>
                    <a:lnTo>
                      <a:pt x="44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8" y="40"/>
                    </a:lnTo>
                    <a:lnTo>
                      <a:pt x="50" y="38"/>
                    </a:lnTo>
                    <a:lnTo>
                      <a:pt x="50" y="36"/>
                    </a:lnTo>
                    <a:lnTo>
                      <a:pt x="52" y="36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8" y="34"/>
                    </a:lnTo>
                    <a:lnTo>
                      <a:pt x="60" y="36"/>
                    </a:lnTo>
                    <a:lnTo>
                      <a:pt x="62" y="36"/>
                    </a:lnTo>
                    <a:lnTo>
                      <a:pt x="66" y="38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4" y="40"/>
                    </a:lnTo>
                    <a:lnTo>
                      <a:pt x="76" y="40"/>
                    </a:lnTo>
                    <a:lnTo>
                      <a:pt x="78" y="40"/>
                    </a:lnTo>
                    <a:lnTo>
                      <a:pt x="82" y="40"/>
                    </a:lnTo>
                    <a:lnTo>
                      <a:pt x="84" y="40"/>
                    </a:lnTo>
                    <a:lnTo>
                      <a:pt x="86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6"/>
                    </a:lnTo>
                    <a:lnTo>
                      <a:pt x="94" y="34"/>
                    </a:lnTo>
                    <a:lnTo>
                      <a:pt x="94" y="32"/>
                    </a:lnTo>
                    <a:lnTo>
                      <a:pt x="96" y="32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28"/>
                    </a:lnTo>
                    <a:lnTo>
                      <a:pt x="96" y="28"/>
                    </a:lnTo>
                    <a:lnTo>
                      <a:pt x="94" y="28"/>
                    </a:lnTo>
                    <a:lnTo>
                      <a:pt x="94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88" y="26"/>
                    </a:lnTo>
                    <a:lnTo>
                      <a:pt x="86" y="26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0" y="24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78" y="20"/>
                    </a:lnTo>
                    <a:lnTo>
                      <a:pt x="78" y="18"/>
                    </a:lnTo>
                    <a:lnTo>
                      <a:pt x="76" y="16"/>
                    </a:lnTo>
                    <a:lnTo>
                      <a:pt x="76" y="14"/>
                    </a:lnTo>
                    <a:lnTo>
                      <a:pt x="76" y="12"/>
                    </a:lnTo>
                    <a:lnTo>
                      <a:pt x="74" y="10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2" y="8"/>
                    </a:lnTo>
                    <a:lnTo>
                      <a:pt x="70" y="6"/>
                    </a:lnTo>
                    <a:lnTo>
                      <a:pt x="68" y="6"/>
                    </a:lnTo>
                    <a:lnTo>
                      <a:pt x="66" y="4"/>
                    </a:lnTo>
                    <a:lnTo>
                      <a:pt x="64" y="4"/>
                    </a:lnTo>
                    <a:lnTo>
                      <a:pt x="62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2008" name="Freeform 176">
                <a:extLst>
                  <a:ext uri="{FF2B5EF4-FFF2-40B4-BE49-F238E27FC236}">
                    <a16:creationId xmlns:a16="http://schemas.microsoft.com/office/drawing/2014/main" id="{FD5BA281-D374-40D4-8AA8-780548F02D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4677" y="2444917"/>
                <a:ext cx="92075" cy="34925"/>
              </a:xfrm>
              <a:custGeom>
                <a:avLst/>
                <a:gdLst>
                  <a:gd name="T0" fmla="*/ 2 w 58"/>
                  <a:gd name="T1" fmla="*/ 0 h 22"/>
                  <a:gd name="T2" fmla="*/ 4 w 58"/>
                  <a:gd name="T3" fmla="*/ 0 h 22"/>
                  <a:gd name="T4" fmla="*/ 4 w 58"/>
                  <a:gd name="T5" fmla="*/ 0 h 22"/>
                  <a:gd name="T6" fmla="*/ 6 w 58"/>
                  <a:gd name="T7" fmla="*/ 2 h 22"/>
                  <a:gd name="T8" fmla="*/ 8 w 58"/>
                  <a:gd name="T9" fmla="*/ 4 h 22"/>
                  <a:gd name="T10" fmla="*/ 10 w 58"/>
                  <a:gd name="T11" fmla="*/ 6 h 22"/>
                  <a:gd name="T12" fmla="*/ 14 w 58"/>
                  <a:gd name="T13" fmla="*/ 6 h 22"/>
                  <a:gd name="T14" fmla="*/ 20 w 58"/>
                  <a:gd name="T15" fmla="*/ 6 h 22"/>
                  <a:gd name="T16" fmla="*/ 28 w 58"/>
                  <a:gd name="T17" fmla="*/ 6 h 22"/>
                  <a:gd name="T18" fmla="*/ 34 w 58"/>
                  <a:gd name="T19" fmla="*/ 6 h 22"/>
                  <a:gd name="T20" fmla="*/ 40 w 58"/>
                  <a:gd name="T21" fmla="*/ 4 h 22"/>
                  <a:gd name="T22" fmla="*/ 46 w 58"/>
                  <a:gd name="T23" fmla="*/ 4 h 22"/>
                  <a:gd name="T24" fmla="*/ 50 w 58"/>
                  <a:gd name="T25" fmla="*/ 4 h 22"/>
                  <a:gd name="T26" fmla="*/ 52 w 58"/>
                  <a:gd name="T27" fmla="*/ 4 h 22"/>
                  <a:gd name="T28" fmla="*/ 56 w 58"/>
                  <a:gd name="T29" fmla="*/ 6 h 22"/>
                  <a:gd name="T30" fmla="*/ 56 w 58"/>
                  <a:gd name="T31" fmla="*/ 6 h 22"/>
                  <a:gd name="T32" fmla="*/ 58 w 58"/>
                  <a:gd name="T33" fmla="*/ 10 h 22"/>
                  <a:gd name="T34" fmla="*/ 58 w 58"/>
                  <a:gd name="T35" fmla="*/ 14 h 22"/>
                  <a:gd name="T36" fmla="*/ 58 w 58"/>
                  <a:gd name="T37" fmla="*/ 16 h 22"/>
                  <a:gd name="T38" fmla="*/ 58 w 58"/>
                  <a:gd name="T39" fmla="*/ 18 h 22"/>
                  <a:gd name="T40" fmla="*/ 56 w 58"/>
                  <a:gd name="T41" fmla="*/ 20 h 22"/>
                  <a:gd name="T42" fmla="*/ 54 w 58"/>
                  <a:gd name="T43" fmla="*/ 22 h 22"/>
                  <a:gd name="T44" fmla="*/ 50 w 58"/>
                  <a:gd name="T45" fmla="*/ 22 h 22"/>
                  <a:gd name="T46" fmla="*/ 46 w 58"/>
                  <a:gd name="T47" fmla="*/ 22 h 22"/>
                  <a:gd name="T48" fmla="*/ 40 w 58"/>
                  <a:gd name="T49" fmla="*/ 22 h 22"/>
                  <a:gd name="T50" fmla="*/ 28 w 58"/>
                  <a:gd name="T51" fmla="*/ 22 h 22"/>
                  <a:gd name="T52" fmla="*/ 18 w 58"/>
                  <a:gd name="T53" fmla="*/ 20 h 22"/>
                  <a:gd name="T54" fmla="*/ 14 w 58"/>
                  <a:gd name="T55" fmla="*/ 18 h 22"/>
                  <a:gd name="T56" fmla="*/ 10 w 58"/>
                  <a:gd name="T57" fmla="*/ 16 h 22"/>
                  <a:gd name="T58" fmla="*/ 8 w 58"/>
                  <a:gd name="T59" fmla="*/ 14 h 22"/>
                  <a:gd name="T60" fmla="*/ 4 w 58"/>
                  <a:gd name="T61" fmla="*/ 12 h 22"/>
                  <a:gd name="T62" fmla="*/ 2 w 58"/>
                  <a:gd name="T63" fmla="*/ 10 h 22"/>
                  <a:gd name="T64" fmla="*/ 2 w 58"/>
                  <a:gd name="T65" fmla="*/ 6 h 22"/>
                  <a:gd name="T66" fmla="*/ 0 w 58"/>
                  <a:gd name="T67" fmla="*/ 4 h 22"/>
                  <a:gd name="T68" fmla="*/ 2 w 58"/>
                  <a:gd name="T69" fmla="*/ 2 h 22"/>
                  <a:gd name="T70" fmla="*/ 2 w 58"/>
                  <a:gd name="T71" fmla="*/ 0 h 22"/>
                  <a:gd name="T72" fmla="*/ 2 w 58"/>
                  <a:gd name="T7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8" h="2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20" y="6"/>
                    </a:lnTo>
                    <a:lnTo>
                      <a:pt x="26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8"/>
                    </a:lnTo>
                    <a:lnTo>
                      <a:pt x="58" y="10"/>
                    </a:lnTo>
                    <a:lnTo>
                      <a:pt x="58" y="12"/>
                    </a:lnTo>
                    <a:lnTo>
                      <a:pt x="58" y="14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4" y="22"/>
                    </a:lnTo>
                    <a:lnTo>
                      <a:pt x="52" y="22"/>
                    </a:lnTo>
                    <a:lnTo>
                      <a:pt x="50" y="22"/>
                    </a:lnTo>
                    <a:lnTo>
                      <a:pt x="48" y="22"/>
                    </a:lnTo>
                    <a:lnTo>
                      <a:pt x="46" y="22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34" y="22"/>
                    </a:lnTo>
                    <a:lnTo>
                      <a:pt x="28" y="22"/>
                    </a:lnTo>
                    <a:lnTo>
                      <a:pt x="24" y="20"/>
                    </a:lnTo>
                    <a:lnTo>
                      <a:pt x="18" y="20"/>
                    </a:lnTo>
                    <a:lnTo>
                      <a:pt x="16" y="18"/>
                    </a:lnTo>
                    <a:lnTo>
                      <a:pt x="14" y="18"/>
                    </a:lnTo>
                    <a:lnTo>
                      <a:pt x="12" y="18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4" y="12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2009" name="Freeform 178">
                <a:extLst>
                  <a:ext uri="{FF2B5EF4-FFF2-40B4-BE49-F238E27FC236}">
                    <a16:creationId xmlns:a16="http://schemas.microsoft.com/office/drawing/2014/main" id="{761D11A6-695E-4CC6-8222-710C93660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1753" y="2603667"/>
                <a:ext cx="66675" cy="44450"/>
              </a:xfrm>
              <a:custGeom>
                <a:avLst/>
                <a:gdLst>
                  <a:gd name="T0" fmla="*/ 16 w 42"/>
                  <a:gd name="T1" fmla="*/ 2 h 28"/>
                  <a:gd name="T2" fmla="*/ 16 w 42"/>
                  <a:gd name="T3" fmla="*/ 2 h 28"/>
                  <a:gd name="T4" fmla="*/ 14 w 42"/>
                  <a:gd name="T5" fmla="*/ 4 h 28"/>
                  <a:gd name="T6" fmla="*/ 14 w 42"/>
                  <a:gd name="T7" fmla="*/ 4 h 28"/>
                  <a:gd name="T8" fmla="*/ 10 w 42"/>
                  <a:gd name="T9" fmla="*/ 8 h 28"/>
                  <a:gd name="T10" fmla="*/ 8 w 42"/>
                  <a:gd name="T11" fmla="*/ 8 h 28"/>
                  <a:gd name="T12" fmla="*/ 6 w 42"/>
                  <a:gd name="T13" fmla="*/ 10 h 28"/>
                  <a:gd name="T14" fmla="*/ 4 w 42"/>
                  <a:gd name="T15" fmla="*/ 12 h 28"/>
                  <a:gd name="T16" fmla="*/ 4 w 42"/>
                  <a:gd name="T17" fmla="*/ 14 h 28"/>
                  <a:gd name="T18" fmla="*/ 4 w 42"/>
                  <a:gd name="T19" fmla="*/ 14 h 28"/>
                  <a:gd name="T20" fmla="*/ 2 w 42"/>
                  <a:gd name="T21" fmla="*/ 16 h 28"/>
                  <a:gd name="T22" fmla="*/ 2 w 42"/>
                  <a:gd name="T23" fmla="*/ 18 h 28"/>
                  <a:gd name="T24" fmla="*/ 0 w 42"/>
                  <a:gd name="T25" fmla="*/ 20 h 28"/>
                  <a:gd name="T26" fmla="*/ 0 w 42"/>
                  <a:gd name="T27" fmla="*/ 22 h 28"/>
                  <a:gd name="T28" fmla="*/ 0 w 42"/>
                  <a:gd name="T29" fmla="*/ 24 h 28"/>
                  <a:gd name="T30" fmla="*/ 0 w 42"/>
                  <a:gd name="T31" fmla="*/ 24 h 28"/>
                  <a:gd name="T32" fmla="*/ 0 w 42"/>
                  <a:gd name="T33" fmla="*/ 26 h 28"/>
                  <a:gd name="T34" fmla="*/ 0 w 42"/>
                  <a:gd name="T35" fmla="*/ 26 h 28"/>
                  <a:gd name="T36" fmla="*/ 0 w 42"/>
                  <a:gd name="T37" fmla="*/ 28 h 28"/>
                  <a:gd name="T38" fmla="*/ 0 w 42"/>
                  <a:gd name="T39" fmla="*/ 28 h 28"/>
                  <a:gd name="T40" fmla="*/ 2 w 42"/>
                  <a:gd name="T41" fmla="*/ 28 h 28"/>
                  <a:gd name="T42" fmla="*/ 2 w 42"/>
                  <a:gd name="T43" fmla="*/ 28 h 28"/>
                  <a:gd name="T44" fmla="*/ 4 w 42"/>
                  <a:gd name="T45" fmla="*/ 28 h 28"/>
                  <a:gd name="T46" fmla="*/ 6 w 42"/>
                  <a:gd name="T47" fmla="*/ 28 h 28"/>
                  <a:gd name="T48" fmla="*/ 8 w 42"/>
                  <a:gd name="T49" fmla="*/ 28 h 28"/>
                  <a:gd name="T50" fmla="*/ 10 w 42"/>
                  <a:gd name="T51" fmla="*/ 28 h 28"/>
                  <a:gd name="T52" fmla="*/ 14 w 42"/>
                  <a:gd name="T53" fmla="*/ 28 h 28"/>
                  <a:gd name="T54" fmla="*/ 16 w 42"/>
                  <a:gd name="T55" fmla="*/ 26 h 28"/>
                  <a:gd name="T56" fmla="*/ 20 w 42"/>
                  <a:gd name="T57" fmla="*/ 26 h 28"/>
                  <a:gd name="T58" fmla="*/ 22 w 42"/>
                  <a:gd name="T59" fmla="*/ 26 h 28"/>
                  <a:gd name="T60" fmla="*/ 24 w 42"/>
                  <a:gd name="T61" fmla="*/ 26 h 28"/>
                  <a:gd name="T62" fmla="*/ 26 w 42"/>
                  <a:gd name="T63" fmla="*/ 26 h 28"/>
                  <a:gd name="T64" fmla="*/ 30 w 42"/>
                  <a:gd name="T65" fmla="*/ 26 h 28"/>
                  <a:gd name="T66" fmla="*/ 32 w 42"/>
                  <a:gd name="T67" fmla="*/ 26 h 28"/>
                  <a:gd name="T68" fmla="*/ 34 w 42"/>
                  <a:gd name="T69" fmla="*/ 26 h 28"/>
                  <a:gd name="T70" fmla="*/ 36 w 42"/>
                  <a:gd name="T71" fmla="*/ 26 h 28"/>
                  <a:gd name="T72" fmla="*/ 36 w 42"/>
                  <a:gd name="T73" fmla="*/ 24 h 28"/>
                  <a:gd name="T74" fmla="*/ 36 w 42"/>
                  <a:gd name="T75" fmla="*/ 24 h 28"/>
                  <a:gd name="T76" fmla="*/ 38 w 42"/>
                  <a:gd name="T77" fmla="*/ 24 h 28"/>
                  <a:gd name="T78" fmla="*/ 38 w 42"/>
                  <a:gd name="T79" fmla="*/ 24 h 28"/>
                  <a:gd name="T80" fmla="*/ 38 w 42"/>
                  <a:gd name="T81" fmla="*/ 22 h 28"/>
                  <a:gd name="T82" fmla="*/ 40 w 42"/>
                  <a:gd name="T83" fmla="*/ 20 h 28"/>
                  <a:gd name="T84" fmla="*/ 40 w 42"/>
                  <a:gd name="T85" fmla="*/ 18 h 28"/>
                  <a:gd name="T86" fmla="*/ 40 w 42"/>
                  <a:gd name="T87" fmla="*/ 16 h 28"/>
                  <a:gd name="T88" fmla="*/ 42 w 42"/>
                  <a:gd name="T89" fmla="*/ 12 h 28"/>
                  <a:gd name="T90" fmla="*/ 40 w 42"/>
                  <a:gd name="T91" fmla="*/ 10 h 28"/>
                  <a:gd name="T92" fmla="*/ 40 w 42"/>
                  <a:gd name="T93" fmla="*/ 10 h 28"/>
                  <a:gd name="T94" fmla="*/ 40 w 42"/>
                  <a:gd name="T95" fmla="*/ 10 h 28"/>
                  <a:gd name="T96" fmla="*/ 40 w 42"/>
                  <a:gd name="T97" fmla="*/ 8 h 28"/>
                  <a:gd name="T98" fmla="*/ 40 w 42"/>
                  <a:gd name="T99" fmla="*/ 8 h 28"/>
                  <a:gd name="T100" fmla="*/ 38 w 42"/>
                  <a:gd name="T101" fmla="*/ 6 h 28"/>
                  <a:gd name="T102" fmla="*/ 36 w 42"/>
                  <a:gd name="T103" fmla="*/ 4 h 28"/>
                  <a:gd name="T104" fmla="*/ 34 w 42"/>
                  <a:gd name="T105" fmla="*/ 4 h 28"/>
                  <a:gd name="T106" fmla="*/ 32 w 42"/>
                  <a:gd name="T107" fmla="*/ 2 h 28"/>
                  <a:gd name="T108" fmla="*/ 30 w 42"/>
                  <a:gd name="T109" fmla="*/ 2 h 28"/>
                  <a:gd name="T110" fmla="*/ 28 w 42"/>
                  <a:gd name="T111" fmla="*/ 0 h 28"/>
                  <a:gd name="T112" fmla="*/ 26 w 42"/>
                  <a:gd name="T113" fmla="*/ 0 h 28"/>
                  <a:gd name="T114" fmla="*/ 26 w 42"/>
                  <a:gd name="T115" fmla="*/ 0 h 28"/>
                  <a:gd name="T116" fmla="*/ 24 w 42"/>
                  <a:gd name="T117" fmla="*/ 0 h 28"/>
                  <a:gd name="T118" fmla="*/ 22 w 42"/>
                  <a:gd name="T119" fmla="*/ 2 h 28"/>
                  <a:gd name="T120" fmla="*/ 18 w 42"/>
                  <a:gd name="T121" fmla="*/ 2 h 28"/>
                  <a:gd name="T122" fmla="*/ 16 w 42"/>
                  <a:gd name="T123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2" h="28">
                    <a:moveTo>
                      <a:pt x="16" y="2"/>
                    </a:moveTo>
                    <a:lnTo>
                      <a:pt x="16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4" y="28"/>
                    </a:lnTo>
                    <a:lnTo>
                      <a:pt x="6" y="28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2" y="26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2"/>
                    </a:lnTo>
                    <a:lnTo>
                      <a:pt x="40" y="20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2" y="12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2"/>
                    </a:lnTo>
                    <a:lnTo>
                      <a:pt x="18" y="2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2010" name="Freeform 180">
                <a:extLst>
                  <a:ext uri="{FF2B5EF4-FFF2-40B4-BE49-F238E27FC236}">
                    <a16:creationId xmlns:a16="http://schemas.microsoft.com/office/drawing/2014/main" id="{9CC92CF5-57DC-4A29-A9F5-0997D7E0E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1528" y="3248192"/>
                <a:ext cx="88900" cy="174625"/>
              </a:xfrm>
              <a:custGeom>
                <a:avLst/>
                <a:gdLst>
                  <a:gd name="T0" fmla="*/ 6 w 56"/>
                  <a:gd name="T1" fmla="*/ 12 h 110"/>
                  <a:gd name="T2" fmla="*/ 4 w 56"/>
                  <a:gd name="T3" fmla="*/ 20 h 110"/>
                  <a:gd name="T4" fmla="*/ 6 w 56"/>
                  <a:gd name="T5" fmla="*/ 26 h 110"/>
                  <a:gd name="T6" fmla="*/ 12 w 56"/>
                  <a:gd name="T7" fmla="*/ 46 h 110"/>
                  <a:gd name="T8" fmla="*/ 14 w 56"/>
                  <a:gd name="T9" fmla="*/ 58 h 110"/>
                  <a:gd name="T10" fmla="*/ 18 w 56"/>
                  <a:gd name="T11" fmla="*/ 70 h 110"/>
                  <a:gd name="T12" fmla="*/ 20 w 56"/>
                  <a:gd name="T13" fmla="*/ 76 h 110"/>
                  <a:gd name="T14" fmla="*/ 24 w 56"/>
                  <a:gd name="T15" fmla="*/ 80 h 110"/>
                  <a:gd name="T16" fmla="*/ 28 w 56"/>
                  <a:gd name="T17" fmla="*/ 82 h 110"/>
                  <a:gd name="T18" fmla="*/ 28 w 56"/>
                  <a:gd name="T19" fmla="*/ 84 h 110"/>
                  <a:gd name="T20" fmla="*/ 26 w 56"/>
                  <a:gd name="T21" fmla="*/ 90 h 110"/>
                  <a:gd name="T22" fmla="*/ 22 w 56"/>
                  <a:gd name="T23" fmla="*/ 96 h 110"/>
                  <a:gd name="T24" fmla="*/ 22 w 56"/>
                  <a:gd name="T25" fmla="*/ 98 h 110"/>
                  <a:gd name="T26" fmla="*/ 24 w 56"/>
                  <a:gd name="T27" fmla="*/ 102 h 110"/>
                  <a:gd name="T28" fmla="*/ 26 w 56"/>
                  <a:gd name="T29" fmla="*/ 104 h 110"/>
                  <a:gd name="T30" fmla="*/ 30 w 56"/>
                  <a:gd name="T31" fmla="*/ 104 h 110"/>
                  <a:gd name="T32" fmla="*/ 32 w 56"/>
                  <a:gd name="T33" fmla="*/ 104 h 110"/>
                  <a:gd name="T34" fmla="*/ 40 w 56"/>
                  <a:gd name="T35" fmla="*/ 108 h 110"/>
                  <a:gd name="T36" fmla="*/ 44 w 56"/>
                  <a:gd name="T37" fmla="*/ 110 h 110"/>
                  <a:gd name="T38" fmla="*/ 48 w 56"/>
                  <a:gd name="T39" fmla="*/ 110 h 110"/>
                  <a:gd name="T40" fmla="*/ 52 w 56"/>
                  <a:gd name="T41" fmla="*/ 108 h 110"/>
                  <a:gd name="T42" fmla="*/ 56 w 56"/>
                  <a:gd name="T43" fmla="*/ 106 h 110"/>
                  <a:gd name="T44" fmla="*/ 56 w 56"/>
                  <a:gd name="T45" fmla="*/ 102 h 110"/>
                  <a:gd name="T46" fmla="*/ 54 w 56"/>
                  <a:gd name="T47" fmla="*/ 98 h 110"/>
                  <a:gd name="T48" fmla="*/ 48 w 56"/>
                  <a:gd name="T49" fmla="*/ 88 h 110"/>
                  <a:gd name="T50" fmla="*/ 46 w 56"/>
                  <a:gd name="T51" fmla="*/ 82 h 110"/>
                  <a:gd name="T52" fmla="*/ 40 w 56"/>
                  <a:gd name="T53" fmla="*/ 70 h 110"/>
                  <a:gd name="T54" fmla="*/ 36 w 56"/>
                  <a:gd name="T55" fmla="*/ 64 h 110"/>
                  <a:gd name="T56" fmla="*/ 34 w 56"/>
                  <a:gd name="T57" fmla="*/ 60 h 110"/>
                  <a:gd name="T58" fmla="*/ 36 w 56"/>
                  <a:gd name="T59" fmla="*/ 58 h 110"/>
                  <a:gd name="T60" fmla="*/ 36 w 56"/>
                  <a:gd name="T61" fmla="*/ 56 h 110"/>
                  <a:gd name="T62" fmla="*/ 40 w 56"/>
                  <a:gd name="T63" fmla="*/ 58 h 110"/>
                  <a:gd name="T64" fmla="*/ 44 w 56"/>
                  <a:gd name="T65" fmla="*/ 60 h 110"/>
                  <a:gd name="T66" fmla="*/ 46 w 56"/>
                  <a:gd name="T67" fmla="*/ 60 h 110"/>
                  <a:gd name="T68" fmla="*/ 46 w 56"/>
                  <a:gd name="T69" fmla="*/ 58 h 110"/>
                  <a:gd name="T70" fmla="*/ 46 w 56"/>
                  <a:gd name="T71" fmla="*/ 54 h 110"/>
                  <a:gd name="T72" fmla="*/ 42 w 56"/>
                  <a:gd name="T73" fmla="*/ 50 h 110"/>
                  <a:gd name="T74" fmla="*/ 34 w 56"/>
                  <a:gd name="T75" fmla="*/ 42 h 110"/>
                  <a:gd name="T76" fmla="*/ 26 w 56"/>
                  <a:gd name="T77" fmla="*/ 32 h 110"/>
                  <a:gd name="T78" fmla="*/ 22 w 56"/>
                  <a:gd name="T79" fmla="*/ 26 h 110"/>
                  <a:gd name="T80" fmla="*/ 20 w 56"/>
                  <a:gd name="T81" fmla="*/ 20 h 110"/>
                  <a:gd name="T82" fmla="*/ 20 w 56"/>
                  <a:gd name="T83" fmla="*/ 8 h 110"/>
                  <a:gd name="T84" fmla="*/ 18 w 56"/>
                  <a:gd name="T85" fmla="*/ 6 h 110"/>
                  <a:gd name="T86" fmla="*/ 16 w 56"/>
                  <a:gd name="T87" fmla="*/ 4 h 110"/>
                  <a:gd name="T88" fmla="*/ 10 w 56"/>
                  <a:gd name="T89" fmla="*/ 0 h 110"/>
                  <a:gd name="T90" fmla="*/ 4 w 56"/>
                  <a:gd name="T91" fmla="*/ 0 h 110"/>
                  <a:gd name="T92" fmla="*/ 2 w 56"/>
                  <a:gd name="T93" fmla="*/ 0 h 110"/>
                  <a:gd name="T94" fmla="*/ 0 w 56"/>
                  <a:gd name="T95" fmla="*/ 2 h 110"/>
                  <a:gd name="T96" fmla="*/ 2 w 56"/>
                  <a:gd name="T97" fmla="*/ 4 h 110"/>
                  <a:gd name="T98" fmla="*/ 4 w 56"/>
                  <a:gd name="T99" fmla="*/ 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6" h="110">
                    <a:moveTo>
                      <a:pt x="4" y="12"/>
                    </a:move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8" y="36"/>
                    </a:lnTo>
                    <a:lnTo>
                      <a:pt x="12" y="46"/>
                    </a:lnTo>
                    <a:lnTo>
                      <a:pt x="14" y="54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8" y="70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4" y="78"/>
                    </a:lnTo>
                    <a:lnTo>
                      <a:pt x="24" y="80"/>
                    </a:lnTo>
                    <a:lnTo>
                      <a:pt x="26" y="80"/>
                    </a:lnTo>
                    <a:lnTo>
                      <a:pt x="28" y="82"/>
                    </a:lnTo>
                    <a:lnTo>
                      <a:pt x="28" y="82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6"/>
                    </a:lnTo>
                    <a:lnTo>
                      <a:pt x="26" y="88"/>
                    </a:lnTo>
                    <a:lnTo>
                      <a:pt x="26" y="90"/>
                    </a:lnTo>
                    <a:lnTo>
                      <a:pt x="24" y="92"/>
                    </a:lnTo>
                    <a:lnTo>
                      <a:pt x="24" y="94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24" y="100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4"/>
                    </a:lnTo>
                    <a:lnTo>
                      <a:pt x="24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8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2" y="104"/>
                    </a:lnTo>
                    <a:lnTo>
                      <a:pt x="32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46" y="110"/>
                    </a:lnTo>
                    <a:lnTo>
                      <a:pt x="46" y="110"/>
                    </a:lnTo>
                    <a:lnTo>
                      <a:pt x="48" y="110"/>
                    </a:lnTo>
                    <a:lnTo>
                      <a:pt x="48" y="110"/>
                    </a:lnTo>
                    <a:lnTo>
                      <a:pt x="50" y="110"/>
                    </a:lnTo>
                    <a:lnTo>
                      <a:pt x="52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6" y="106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6" y="102"/>
                    </a:lnTo>
                    <a:lnTo>
                      <a:pt x="56" y="100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0" y="90"/>
                    </a:lnTo>
                    <a:lnTo>
                      <a:pt x="48" y="88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6" y="82"/>
                    </a:lnTo>
                    <a:lnTo>
                      <a:pt x="44" y="78"/>
                    </a:lnTo>
                    <a:lnTo>
                      <a:pt x="42" y="76"/>
                    </a:lnTo>
                    <a:lnTo>
                      <a:pt x="40" y="70"/>
                    </a:lnTo>
                    <a:lnTo>
                      <a:pt x="38" y="68"/>
                    </a:lnTo>
                    <a:lnTo>
                      <a:pt x="36" y="66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4" y="62"/>
                    </a:lnTo>
                    <a:lnTo>
                      <a:pt x="34" y="60"/>
                    </a:lnTo>
                    <a:lnTo>
                      <a:pt x="34" y="58"/>
                    </a:lnTo>
                    <a:lnTo>
                      <a:pt x="36" y="58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40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4"/>
                    </a:lnTo>
                    <a:lnTo>
                      <a:pt x="46" y="54"/>
                    </a:lnTo>
                    <a:lnTo>
                      <a:pt x="44" y="52"/>
                    </a:lnTo>
                    <a:lnTo>
                      <a:pt x="42" y="50"/>
                    </a:lnTo>
                    <a:lnTo>
                      <a:pt x="40" y="46"/>
                    </a:lnTo>
                    <a:lnTo>
                      <a:pt x="36" y="44"/>
                    </a:lnTo>
                    <a:lnTo>
                      <a:pt x="34" y="42"/>
                    </a:lnTo>
                    <a:lnTo>
                      <a:pt x="32" y="40"/>
                    </a:lnTo>
                    <a:lnTo>
                      <a:pt x="30" y="36"/>
                    </a:lnTo>
                    <a:lnTo>
                      <a:pt x="26" y="32"/>
                    </a:lnTo>
                    <a:lnTo>
                      <a:pt x="24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4"/>
                    </a:lnTo>
                    <a:lnTo>
                      <a:pt x="20" y="22"/>
                    </a:lnTo>
                    <a:lnTo>
                      <a:pt x="20" y="20"/>
                    </a:lnTo>
                    <a:lnTo>
                      <a:pt x="20" y="14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2011" name="Freeform 182">
                <a:extLst>
                  <a:ext uri="{FF2B5EF4-FFF2-40B4-BE49-F238E27FC236}">
                    <a16:creationId xmlns:a16="http://schemas.microsoft.com/office/drawing/2014/main" id="{6048B341-B4C8-4EC2-ADAB-7A6B908330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8203" y="2356017"/>
                <a:ext cx="3333750" cy="1250951"/>
              </a:xfrm>
              <a:custGeom>
                <a:avLst/>
                <a:gdLst>
                  <a:gd name="T0" fmla="*/ 330 w 2100"/>
                  <a:gd name="T1" fmla="*/ 590 h 788"/>
                  <a:gd name="T2" fmla="*/ 432 w 2100"/>
                  <a:gd name="T3" fmla="*/ 580 h 788"/>
                  <a:gd name="T4" fmla="*/ 550 w 2100"/>
                  <a:gd name="T5" fmla="*/ 636 h 788"/>
                  <a:gd name="T6" fmla="*/ 590 w 2100"/>
                  <a:gd name="T7" fmla="*/ 570 h 788"/>
                  <a:gd name="T8" fmla="*/ 746 w 2100"/>
                  <a:gd name="T9" fmla="*/ 584 h 788"/>
                  <a:gd name="T10" fmla="*/ 838 w 2100"/>
                  <a:gd name="T11" fmla="*/ 658 h 788"/>
                  <a:gd name="T12" fmla="*/ 970 w 2100"/>
                  <a:gd name="T13" fmla="*/ 680 h 788"/>
                  <a:gd name="T14" fmla="*/ 976 w 2100"/>
                  <a:gd name="T15" fmla="*/ 602 h 788"/>
                  <a:gd name="T16" fmla="*/ 1120 w 2100"/>
                  <a:gd name="T17" fmla="*/ 654 h 788"/>
                  <a:gd name="T18" fmla="*/ 1196 w 2100"/>
                  <a:gd name="T19" fmla="*/ 644 h 788"/>
                  <a:gd name="T20" fmla="*/ 1270 w 2100"/>
                  <a:gd name="T21" fmla="*/ 620 h 788"/>
                  <a:gd name="T22" fmla="*/ 1372 w 2100"/>
                  <a:gd name="T23" fmla="*/ 646 h 788"/>
                  <a:gd name="T24" fmla="*/ 1482 w 2100"/>
                  <a:gd name="T25" fmla="*/ 694 h 788"/>
                  <a:gd name="T26" fmla="*/ 1452 w 2100"/>
                  <a:gd name="T27" fmla="*/ 774 h 788"/>
                  <a:gd name="T28" fmla="*/ 1548 w 2100"/>
                  <a:gd name="T29" fmla="*/ 644 h 788"/>
                  <a:gd name="T30" fmla="*/ 1492 w 2100"/>
                  <a:gd name="T31" fmla="*/ 576 h 788"/>
                  <a:gd name="T32" fmla="*/ 1540 w 2100"/>
                  <a:gd name="T33" fmla="*/ 456 h 788"/>
                  <a:gd name="T34" fmla="*/ 1658 w 2100"/>
                  <a:gd name="T35" fmla="*/ 462 h 788"/>
                  <a:gd name="T36" fmla="*/ 1758 w 2100"/>
                  <a:gd name="T37" fmla="*/ 416 h 788"/>
                  <a:gd name="T38" fmla="*/ 1748 w 2100"/>
                  <a:gd name="T39" fmla="*/ 468 h 788"/>
                  <a:gd name="T40" fmla="*/ 1784 w 2100"/>
                  <a:gd name="T41" fmla="*/ 608 h 788"/>
                  <a:gd name="T42" fmla="*/ 1826 w 2100"/>
                  <a:gd name="T43" fmla="*/ 514 h 788"/>
                  <a:gd name="T44" fmla="*/ 1858 w 2100"/>
                  <a:gd name="T45" fmla="*/ 420 h 788"/>
                  <a:gd name="T46" fmla="*/ 1924 w 2100"/>
                  <a:gd name="T47" fmla="*/ 394 h 788"/>
                  <a:gd name="T48" fmla="*/ 1946 w 2100"/>
                  <a:gd name="T49" fmla="*/ 340 h 788"/>
                  <a:gd name="T50" fmla="*/ 1986 w 2100"/>
                  <a:gd name="T51" fmla="*/ 300 h 788"/>
                  <a:gd name="T52" fmla="*/ 2070 w 2100"/>
                  <a:gd name="T53" fmla="*/ 348 h 788"/>
                  <a:gd name="T54" fmla="*/ 2096 w 2100"/>
                  <a:gd name="T55" fmla="*/ 282 h 788"/>
                  <a:gd name="T56" fmla="*/ 2000 w 2100"/>
                  <a:gd name="T57" fmla="*/ 260 h 788"/>
                  <a:gd name="T58" fmla="*/ 1884 w 2100"/>
                  <a:gd name="T59" fmla="*/ 206 h 788"/>
                  <a:gd name="T60" fmla="*/ 1772 w 2100"/>
                  <a:gd name="T61" fmla="*/ 206 h 788"/>
                  <a:gd name="T62" fmla="*/ 1650 w 2100"/>
                  <a:gd name="T63" fmla="*/ 186 h 788"/>
                  <a:gd name="T64" fmla="*/ 1490 w 2100"/>
                  <a:gd name="T65" fmla="*/ 144 h 788"/>
                  <a:gd name="T66" fmla="*/ 1384 w 2100"/>
                  <a:gd name="T67" fmla="*/ 138 h 788"/>
                  <a:gd name="T68" fmla="*/ 1300 w 2100"/>
                  <a:gd name="T69" fmla="*/ 150 h 788"/>
                  <a:gd name="T70" fmla="*/ 1238 w 2100"/>
                  <a:gd name="T71" fmla="*/ 140 h 788"/>
                  <a:gd name="T72" fmla="*/ 1142 w 2100"/>
                  <a:gd name="T73" fmla="*/ 126 h 788"/>
                  <a:gd name="T74" fmla="*/ 970 w 2100"/>
                  <a:gd name="T75" fmla="*/ 110 h 788"/>
                  <a:gd name="T76" fmla="*/ 970 w 2100"/>
                  <a:gd name="T77" fmla="*/ 22 h 788"/>
                  <a:gd name="T78" fmla="*/ 870 w 2100"/>
                  <a:gd name="T79" fmla="*/ 28 h 788"/>
                  <a:gd name="T80" fmla="*/ 808 w 2100"/>
                  <a:gd name="T81" fmla="*/ 50 h 788"/>
                  <a:gd name="T82" fmla="*/ 714 w 2100"/>
                  <a:gd name="T83" fmla="*/ 68 h 788"/>
                  <a:gd name="T84" fmla="*/ 650 w 2100"/>
                  <a:gd name="T85" fmla="*/ 110 h 788"/>
                  <a:gd name="T86" fmla="*/ 670 w 2100"/>
                  <a:gd name="T87" fmla="*/ 184 h 788"/>
                  <a:gd name="T88" fmla="*/ 612 w 2100"/>
                  <a:gd name="T89" fmla="*/ 180 h 788"/>
                  <a:gd name="T90" fmla="*/ 558 w 2100"/>
                  <a:gd name="T91" fmla="*/ 162 h 788"/>
                  <a:gd name="T92" fmla="*/ 608 w 2100"/>
                  <a:gd name="T93" fmla="*/ 218 h 788"/>
                  <a:gd name="T94" fmla="*/ 602 w 2100"/>
                  <a:gd name="T95" fmla="*/ 234 h 788"/>
                  <a:gd name="T96" fmla="*/ 546 w 2100"/>
                  <a:gd name="T97" fmla="*/ 272 h 788"/>
                  <a:gd name="T98" fmla="*/ 516 w 2100"/>
                  <a:gd name="T99" fmla="*/ 108 h 788"/>
                  <a:gd name="T100" fmla="*/ 502 w 2100"/>
                  <a:gd name="T101" fmla="*/ 230 h 788"/>
                  <a:gd name="T102" fmla="*/ 396 w 2100"/>
                  <a:gd name="T103" fmla="*/ 216 h 788"/>
                  <a:gd name="T104" fmla="*/ 360 w 2100"/>
                  <a:gd name="T105" fmla="*/ 240 h 788"/>
                  <a:gd name="T106" fmla="*/ 238 w 2100"/>
                  <a:gd name="T107" fmla="*/ 278 h 788"/>
                  <a:gd name="T108" fmla="*/ 206 w 2100"/>
                  <a:gd name="T109" fmla="*/ 290 h 788"/>
                  <a:gd name="T110" fmla="*/ 156 w 2100"/>
                  <a:gd name="T111" fmla="*/ 324 h 788"/>
                  <a:gd name="T112" fmla="*/ 110 w 2100"/>
                  <a:gd name="T113" fmla="*/ 336 h 788"/>
                  <a:gd name="T114" fmla="*/ 74 w 2100"/>
                  <a:gd name="T115" fmla="*/ 282 h 788"/>
                  <a:gd name="T116" fmla="*/ 46 w 2100"/>
                  <a:gd name="T117" fmla="*/ 214 h 788"/>
                  <a:gd name="T118" fmla="*/ 10 w 2100"/>
                  <a:gd name="T119" fmla="*/ 420 h 788"/>
                  <a:gd name="T120" fmla="*/ 104 w 2100"/>
                  <a:gd name="T121" fmla="*/ 586 h 788"/>
                  <a:gd name="T122" fmla="*/ 170 w 2100"/>
                  <a:gd name="T123" fmla="*/ 708 h 788"/>
                  <a:gd name="T124" fmla="*/ 228 w 2100"/>
                  <a:gd name="T125" fmla="*/ 758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00" h="788">
                    <a:moveTo>
                      <a:pt x="306" y="726"/>
                    </a:moveTo>
                    <a:lnTo>
                      <a:pt x="306" y="726"/>
                    </a:lnTo>
                    <a:lnTo>
                      <a:pt x="314" y="720"/>
                    </a:lnTo>
                    <a:lnTo>
                      <a:pt x="318" y="716"/>
                    </a:lnTo>
                    <a:lnTo>
                      <a:pt x="318" y="712"/>
                    </a:lnTo>
                    <a:lnTo>
                      <a:pt x="320" y="704"/>
                    </a:lnTo>
                    <a:lnTo>
                      <a:pt x="320" y="700"/>
                    </a:lnTo>
                    <a:lnTo>
                      <a:pt x="322" y="696"/>
                    </a:lnTo>
                    <a:lnTo>
                      <a:pt x="322" y="692"/>
                    </a:lnTo>
                    <a:lnTo>
                      <a:pt x="324" y="690"/>
                    </a:lnTo>
                    <a:lnTo>
                      <a:pt x="324" y="688"/>
                    </a:lnTo>
                    <a:lnTo>
                      <a:pt x="324" y="688"/>
                    </a:lnTo>
                    <a:lnTo>
                      <a:pt x="324" y="686"/>
                    </a:lnTo>
                    <a:lnTo>
                      <a:pt x="326" y="686"/>
                    </a:lnTo>
                    <a:lnTo>
                      <a:pt x="328" y="684"/>
                    </a:lnTo>
                    <a:lnTo>
                      <a:pt x="330" y="682"/>
                    </a:lnTo>
                    <a:lnTo>
                      <a:pt x="332" y="680"/>
                    </a:lnTo>
                    <a:lnTo>
                      <a:pt x="334" y="678"/>
                    </a:lnTo>
                    <a:lnTo>
                      <a:pt x="336" y="676"/>
                    </a:lnTo>
                    <a:lnTo>
                      <a:pt x="336" y="674"/>
                    </a:lnTo>
                    <a:lnTo>
                      <a:pt x="338" y="674"/>
                    </a:lnTo>
                    <a:lnTo>
                      <a:pt x="338" y="672"/>
                    </a:lnTo>
                    <a:lnTo>
                      <a:pt x="338" y="670"/>
                    </a:lnTo>
                    <a:lnTo>
                      <a:pt x="338" y="668"/>
                    </a:lnTo>
                    <a:lnTo>
                      <a:pt x="338" y="664"/>
                    </a:lnTo>
                    <a:lnTo>
                      <a:pt x="338" y="662"/>
                    </a:lnTo>
                    <a:lnTo>
                      <a:pt x="338" y="658"/>
                    </a:lnTo>
                    <a:lnTo>
                      <a:pt x="336" y="656"/>
                    </a:lnTo>
                    <a:lnTo>
                      <a:pt x="336" y="656"/>
                    </a:lnTo>
                    <a:lnTo>
                      <a:pt x="336" y="654"/>
                    </a:lnTo>
                    <a:lnTo>
                      <a:pt x="336" y="654"/>
                    </a:lnTo>
                    <a:lnTo>
                      <a:pt x="334" y="654"/>
                    </a:lnTo>
                    <a:lnTo>
                      <a:pt x="334" y="652"/>
                    </a:lnTo>
                    <a:lnTo>
                      <a:pt x="332" y="652"/>
                    </a:lnTo>
                    <a:lnTo>
                      <a:pt x="330" y="650"/>
                    </a:lnTo>
                    <a:lnTo>
                      <a:pt x="328" y="650"/>
                    </a:lnTo>
                    <a:lnTo>
                      <a:pt x="326" y="648"/>
                    </a:lnTo>
                    <a:lnTo>
                      <a:pt x="322" y="646"/>
                    </a:lnTo>
                    <a:lnTo>
                      <a:pt x="320" y="646"/>
                    </a:lnTo>
                    <a:lnTo>
                      <a:pt x="320" y="644"/>
                    </a:lnTo>
                    <a:lnTo>
                      <a:pt x="318" y="644"/>
                    </a:lnTo>
                    <a:lnTo>
                      <a:pt x="318" y="642"/>
                    </a:lnTo>
                    <a:lnTo>
                      <a:pt x="316" y="640"/>
                    </a:lnTo>
                    <a:lnTo>
                      <a:pt x="316" y="638"/>
                    </a:lnTo>
                    <a:lnTo>
                      <a:pt x="314" y="636"/>
                    </a:lnTo>
                    <a:lnTo>
                      <a:pt x="312" y="634"/>
                    </a:lnTo>
                    <a:lnTo>
                      <a:pt x="312" y="632"/>
                    </a:lnTo>
                    <a:lnTo>
                      <a:pt x="312" y="630"/>
                    </a:lnTo>
                    <a:lnTo>
                      <a:pt x="312" y="630"/>
                    </a:lnTo>
                    <a:lnTo>
                      <a:pt x="312" y="628"/>
                    </a:lnTo>
                    <a:lnTo>
                      <a:pt x="312" y="626"/>
                    </a:lnTo>
                    <a:lnTo>
                      <a:pt x="312" y="624"/>
                    </a:lnTo>
                    <a:lnTo>
                      <a:pt x="312" y="622"/>
                    </a:lnTo>
                    <a:lnTo>
                      <a:pt x="314" y="616"/>
                    </a:lnTo>
                    <a:lnTo>
                      <a:pt x="316" y="612"/>
                    </a:lnTo>
                    <a:lnTo>
                      <a:pt x="318" y="608"/>
                    </a:lnTo>
                    <a:lnTo>
                      <a:pt x="320" y="604"/>
                    </a:lnTo>
                    <a:lnTo>
                      <a:pt x="322" y="600"/>
                    </a:lnTo>
                    <a:lnTo>
                      <a:pt x="326" y="594"/>
                    </a:lnTo>
                    <a:lnTo>
                      <a:pt x="330" y="590"/>
                    </a:lnTo>
                    <a:lnTo>
                      <a:pt x="330" y="588"/>
                    </a:lnTo>
                    <a:lnTo>
                      <a:pt x="332" y="588"/>
                    </a:lnTo>
                    <a:lnTo>
                      <a:pt x="334" y="586"/>
                    </a:lnTo>
                    <a:lnTo>
                      <a:pt x="336" y="584"/>
                    </a:lnTo>
                    <a:lnTo>
                      <a:pt x="338" y="582"/>
                    </a:lnTo>
                    <a:lnTo>
                      <a:pt x="340" y="580"/>
                    </a:lnTo>
                    <a:lnTo>
                      <a:pt x="342" y="580"/>
                    </a:lnTo>
                    <a:lnTo>
                      <a:pt x="344" y="578"/>
                    </a:lnTo>
                    <a:lnTo>
                      <a:pt x="346" y="578"/>
                    </a:lnTo>
                    <a:lnTo>
                      <a:pt x="348" y="576"/>
                    </a:lnTo>
                    <a:lnTo>
                      <a:pt x="350" y="576"/>
                    </a:lnTo>
                    <a:lnTo>
                      <a:pt x="352" y="576"/>
                    </a:lnTo>
                    <a:lnTo>
                      <a:pt x="354" y="576"/>
                    </a:lnTo>
                    <a:lnTo>
                      <a:pt x="356" y="576"/>
                    </a:lnTo>
                    <a:lnTo>
                      <a:pt x="356" y="576"/>
                    </a:lnTo>
                    <a:lnTo>
                      <a:pt x="358" y="576"/>
                    </a:lnTo>
                    <a:lnTo>
                      <a:pt x="358" y="576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2" y="580"/>
                    </a:lnTo>
                    <a:lnTo>
                      <a:pt x="362" y="582"/>
                    </a:lnTo>
                    <a:lnTo>
                      <a:pt x="364" y="584"/>
                    </a:lnTo>
                    <a:lnTo>
                      <a:pt x="366" y="588"/>
                    </a:lnTo>
                    <a:lnTo>
                      <a:pt x="366" y="590"/>
                    </a:lnTo>
                    <a:lnTo>
                      <a:pt x="368" y="590"/>
                    </a:lnTo>
                    <a:lnTo>
                      <a:pt x="368" y="592"/>
                    </a:lnTo>
                    <a:lnTo>
                      <a:pt x="370" y="592"/>
                    </a:lnTo>
                    <a:lnTo>
                      <a:pt x="370" y="594"/>
                    </a:lnTo>
                    <a:lnTo>
                      <a:pt x="372" y="594"/>
                    </a:lnTo>
                    <a:lnTo>
                      <a:pt x="372" y="594"/>
                    </a:lnTo>
                    <a:lnTo>
                      <a:pt x="372" y="594"/>
                    </a:lnTo>
                    <a:lnTo>
                      <a:pt x="374" y="592"/>
                    </a:lnTo>
                    <a:lnTo>
                      <a:pt x="374" y="592"/>
                    </a:lnTo>
                    <a:lnTo>
                      <a:pt x="374" y="592"/>
                    </a:lnTo>
                    <a:lnTo>
                      <a:pt x="374" y="590"/>
                    </a:lnTo>
                    <a:lnTo>
                      <a:pt x="376" y="588"/>
                    </a:lnTo>
                    <a:lnTo>
                      <a:pt x="376" y="586"/>
                    </a:lnTo>
                    <a:lnTo>
                      <a:pt x="376" y="584"/>
                    </a:lnTo>
                    <a:lnTo>
                      <a:pt x="378" y="582"/>
                    </a:lnTo>
                    <a:lnTo>
                      <a:pt x="378" y="582"/>
                    </a:lnTo>
                    <a:lnTo>
                      <a:pt x="378" y="582"/>
                    </a:lnTo>
                    <a:lnTo>
                      <a:pt x="378" y="580"/>
                    </a:lnTo>
                    <a:lnTo>
                      <a:pt x="380" y="580"/>
                    </a:lnTo>
                    <a:lnTo>
                      <a:pt x="382" y="580"/>
                    </a:lnTo>
                    <a:lnTo>
                      <a:pt x="384" y="578"/>
                    </a:lnTo>
                    <a:lnTo>
                      <a:pt x="388" y="578"/>
                    </a:lnTo>
                    <a:lnTo>
                      <a:pt x="390" y="578"/>
                    </a:lnTo>
                    <a:lnTo>
                      <a:pt x="392" y="576"/>
                    </a:lnTo>
                    <a:lnTo>
                      <a:pt x="396" y="576"/>
                    </a:lnTo>
                    <a:lnTo>
                      <a:pt x="398" y="576"/>
                    </a:lnTo>
                    <a:lnTo>
                      <a:pt x="398" y="576"/>
                    </a:lnTo>
                    <a:lnTo>
                      <a:pt x="402" y="576"/>
                    </a:lnTo>
                    <a:lnTo>
                      <a:pt x="406" y="578"/>
                    </a:lnTo>
                    <a:lnTo>
                      <a:pt x="410" y="578"/>
                    </a:lnTo>
                    <a:lnTo>
                      <a:pt x="412" y="580"/>
                    </a:lnTo>
                    <a:lnTo>
                      <a:pt x="414" y="580"/>
                    </a:lnTo>
                    <a:lnTo>
                      <a:pt x="416" y="580"/>
                    </a:lnTo>
                    <a:lnTo>
                      <a:pt x="420" y="580"/>
                    </a:lnTo>
                    <a:lnTo>
                      <a:pt x="428" y="580"/>
                    </a:lnTo>
                    <a:lnTo>
                      <a:pt x="432" y="580"/>
                    </a:lnTo>
                    <a:lnTo>
                      <a:pt x="436" y="580"/>
                    </a:lnTo>
                    <a:lnTo>
                      <a:pt x="438" y="580"/>
                    </a:lnTo>
                    <a:lnTo>
                      <a:pt x="440" y="580"/>
                    </a:lnTo>
                    <a:lnTo>
                      <a:pt x="442" y="582"/>
                    </a:lnTo>
                    <a:lnTo>
                      <a:pt x="446" y="582"/>
                    </a:lnTo>
                    <a:lnTo>
                      <a:pt x="452" y="584"/>
                    </a:lnTo>
                    <a:lnTo>
                      <a:pt x="456" y="588"/>
                    </a:lnTo>
                    <a:lnTo>
                      <a:pt x="462" y="590"/>
                    </a:lnTo>
                    <a:lnTo>
                      <a:pt x="464" y="592"/>
                    </a:lnTo>
                    <a:lnTo>
                      <a:pt x="468" y="594"/>
                    </a:lnTo>
                    <a:lnTo>
                      <a:pt x="470" y="596"/>
                    </a:lnTo>
                    <a:lnTo>
                      <a:pt x="472" y="596"/>
                    </a:lnTo>
                    <a:lnTo>
                      <a:pt x="474" y="598"/>
                    </a:lnTo>
                    <a:lnTo>
                      <a:pt x="476" y="600"/>
                    </a:lnTo>
                    <a:lnTo>
                      <a:pt x="476" y="602"/>
                    </a:lnTo>
                    <a:lnTo>
                      <a:pt x="478" y="604"/>
                    </a:lnTo>
                    <a:lnTo>
                      <a:pt x="478" y="604"/>
                    </a:lnTo>
                    <a:lnTo>
                      <a:pt x="478" y="606"/>
                    </a:lnTo>
                    <a:lnTo>
                      <a:pt x="478" y="606"/>
                    </a:lnTo>
                    <a:lnTo>
                      <a:pt x="478" y="608"/>
                    </a:lnTo>
                    <a:lnTo>
                      <a:pt x="478" y="610"/>
                    </a:lnTo>
                    <a:lnTo>
                      <a:pt x="476" y="610"/>
                    </a:lnTo>
                    <a:lnTo>
                      <a:pt x="476" y="612"/>
                    </a:lnTo>
                    <a:lnTo>
                      <a:pt x="476" y="612"/>
                    </a:lnTo>
                    <a:lnTo>
                      <a:pt x="476" y="614"/>
                    </a:lnTo>
                    <a:lnTo>
                      <a:pt x="476" y="614"/>
                    </a:lnTo>
                    <a:lnTo>
                      <a:pt x="478" y="614"/>
                    </a:lnTo>
                    <a:lnTo>
                      <a:pt x="478" y="614"/>
                    </a:lnTo>
                    <a:lnTo>
                      <a:pt x="480" y="616"/>
                    </a:lnTo>
                    <a:lnTo>
                      <a:pt x="480" y="616"/>
                    </a:lnTo>
                    <a:lnTo>
                      <a:pt x="482" y="618"/>
                    </a:lnTo>
                    <a:lnTo>
                      <a:pt x="484" y="618"/>
                    </a:lnTo>
                    <a:lnTo>
                      <a:pt x="486" y="618"/>
                    </a:lnTo>
                    <a:lnTo>
                      <a:pt x="490" y="618"/>
                    </a:lnTo>
                    <a:lnTo>
                      <a:pt x="492" y="618"/>
                    </a:lnTo>
                    <a:lnTo>
                      <a:pt x="492" y="618"/>
                    </a:lnTo>
                    <a:lnTo>
                      <a:pt x="494" y="618"/>
                    </a:lnTo>
                    <a:lnTo>
                      <a:pt x="500" y="618"/>
                    </a:lnTo>
                    <a:lnTo>
                      <a:pt x="502" y="616"/>
                    </a:lnTo>
                    <a:lnTo>
                      <a:pt x="504" y="616"/>
                    </a:lnTo>
                    <a:lnTo>
                      <a:pt x="508" y="616"/>
                    </a:lnTo>
                    <a:lnTo>
                      <a:pt x="508" y="616"/>
                    </a:lnTo>
                    <a:lnTo>
                      <a:pt x="510" y="616"/>
                    </a:lnTo>
                    <a:lnTo>
                      <a:pt x="510" y="616"/>
                    </a:lnTo>
                    <a:lnTo>
                      <a:pt x="512" y="618"/>
                    </a:lnTo>
                    <a:lnTo>
                      <a:pt x="514" y="618"/>
                    </a:lnTo>
                    <a:lnTo>
                      <a:pt x="516" y="618"/>
                    </a:lnTo>
                    <a:lnTo>
                      <a:pt x="520" y="622"/>
                    </a:lnTo>
                    <a:lnTo>
                      <a:pt x="522" y="624"/>
                    </a:lnTo>
                    <a:lnTo>
                      <a:pt x="530" y="628"/>
                    </a:lnTo>
                    <a:lnTo>
                      <a:pt x="532" y="630"/>
                    </a:lnTo>
                    <a:lnTo>
                      <a:pt x="536" y="632"/>
                    </a:lnTo>
                    <a:lnTo>
                      <a:pt x="538" y="634"/>
                    </a:lnTo>
                    <a:lnTo>
                      <a:pt x="542" y="636"/>
                    </a:lnTo>
                    <a:lnTo>
                      <a:pt x="544" y="636"/>
                    </a:lnTo>
                    <a:lnTo>
                      <a:pt x="546" y="636"/>
                    </a:lnTo>
                    <a:lnTo>
                      <a:pt x="548" y="636"/>
                    </a:lnTo>
                    <a:lnTo>
                      <a:pt x="548" y="636"/>
                    </a:lnTo>
                    <a:lnTo>
                      <a:pt x="548" y="636"/>
                    </a:lnTo>
                    <a:lnTo>
                      <a:pt x="550" y="636"/>
                    </a:lnTo>
                    <a:lnTo>
                      <a:pt x="552" y="636"/>
                    </a:lnTo>
                    <a:lnTo>
                      <a:pt x="552" y="634"/>
                    </a:lnTo>
                    <a:lnTo>
                      <a:pt x="554" y="634"/>
                    </a:lnTo>
                    <a:lnTo>
                      <a:pt x="556" y="632"/>
                    </a:lnTo>
                    <a:lnTo>
                      <a:pt x="556" y="630"/>
                    </a:lnTo>
                    <a:lnTo>
                      <a:pt x="558" y="630"/>
                    </a:lnTo>
                    <a:lnTo>
                      <a:pt x="558" y="628"/>
                    </a:lnTo>
                    <a:lnTo>
                      <a:pt x="558" y="628"/>
                    </a:lnTo>
                    <a:lnTo>
                      <a:pt x="558" y="626"/>
                    </a:lnTo>
                    <a:lnTo>
                      <a:pt x="556" y="626"/>
                    </a:lnTo>
                    <a:lnTo>
                      <a:pt x="556" y="624"/>
                    </a:lnTo>
                    <a:lnTo>
                      <a:pt x="554" y="622"/>
                    </a:lnTo>
                    <a:lnTo>
                      <a:pt x="552" y="618"/>
                    </a:lnTo>
                    <a:lnTo>
                      <a:pt x="550" y="616"/>
                    </a:lnTo>
                    <a:lnTo>
                      <a:pt x="548" y="614"/>
                    </a:lnTo>
                    <a:lnTo>
                      <a:pt x="548" y="612"/>
                    </a:lnTo>
                    <a:lnTo>
                      <a:pt x="546" y="612"/>
                    </a:lnTo>
                    <a:lnTo>
                      <a:pt x="546" y="610"/>
                    </a:lnTo>
                    <a:lnTo>
                      <a:pt x="546" y="610"/>
                    </a:lnTo>
                    <a:lnTo>
                      <a:pt x="548" y="608"/>
                    </a:lnTo>
                    <a:lnTo>
                      <a:pt x="548" y="608"/>
                    </a:lnTo>
                    <a:lnTo>
                      <a:pt x="548" y="608"/>
                    </a:lnTo>
                    <a:lnTo>
                      <a:pt x="550" y="606"/>
                    </a:lnTo>
                    <a:lnTo>
                      <a:pt x="550" y="606"/>
                    </a:lnTo>
                    <a:lnTo>
                      <a:pt x="552" y="606"/>
                    </a:lnTo>
                    <a:lnTo>
                      <a:pt x="556" y="604"/>
                    </a:lnTo>
                    <a:lnTo>
                      <a:pt x="558" y="604"/>
                    </a:lnTo>
                    <a:lnTo>
                      <a:pt x="562" y="604"/>
                    </a:lnTo>
                    <a:lnTo>
                      <a:pt x="564" y="602"/>
                    </a:lnTo>
                    <a:lnTo>
                      <a:pt x="564" y="602"/>
                    </a:lnTo>
                    <a:lnTo>
                      <a:pt x="566" y="602"/>
                    </a:lnTo>
                    <a:lnTo>
                      <a:pt x="568" y="600"/>
                    </a:lnTo>
                    <a:lnTo>
                      <a:pt x="570" y="600"/>
                    </a:lnTo>
                    <a:lnTo>
                      <a:pt x="576" y="598"/>
                    </a:lnTo>
                    <a:lnTo>
                      <a:pt x="578" y="598"/>
                    </a:lnTo>
                    <a:lnTo>
                      <a:pt x="580" y="596"/>
                    </a:lnTo>
                    <a:lnTo>
                      <a:pt x="580" y="596"/>
                    </a:lnTo>
                    <a:lnTo>
                      <a:pt x="582" y="594"/>
                    </a:lnTo>
                    <a:lnTo>
                      <a:pt x="582" y="594"/>
                    </a:lnTo>
                    <a:lnTo>
                      <a:pt x="582" y="594"/>
                    </a:lnTo>
                    <a:lnTo>
                      <a:pt x="584" y="592"/>
                    </a:lnTo>
                    <a:lnTo>
                      <a:pt x="584" y="592"/>
                    </a:lnTo>
                    <a:lnTo>
                      <a:pt x="584" y="590"/>
                    </a:lnTo>
                    <a:lnTo>
                      <a:pt x="582" y="588"/>
                    </a:lnTo>
                    <a:lnTo>
                      <a:pt x="582" y="586"/>
                    </a:lnTo>
                    <a:lnTo>
                      <a:pt x="580" y="582"/>
                    </a:lnTo>
                    <a:lnTo>
                      <a:pt x="580" y="580"/>
                    </a:lnTo>
                    <a:lnTo>
                      <a:pt x="578" y="578"/>
                    </a:lnTo>
                    <a:lnTo>
                      <a:pt x="578" y="576"/>
                    </a:lnTo>
                    <a:lnTo>
                      <a:pt x="578" y="574"/>
                    </a:lnTo>
                    <a:lnTo>
                      <a:pt x="578" y="574"/>
                    </a:lnTo>
                    <a:lnTo>
                      <a:pt x="580" y="572"/>
                    </a:lnTo>
                    <a:lnTo>
                      <a:pt x="580" y="572"/>
                    </a:lnTo>
                    <a:lnTo>
                      <a:pt x="580" y="572"/>
                    </a:lnTo>
                    <a:lnTo>
                      <a:pt x="580" y="572"/>
                    </a:lnTo>
                    <a:lnTo>
                      <a:pt x="582" y="572"/>
                    </a:lnTo>
                    <a:lnTo>
                      <a:pt x="584" y="570"/>
                    </a:lnTo>
                    <a:lnTo>
                      <a:pt x="586" y="570"/>
                    </a:lnTo>
                    <a:lnTo>
                      <a:pt x="588" y="570"/>
                    </a:lnTo>
                    <a:lnTo>
                      <a:pt x="590" y="570"/>
                    </a:lnTo>
                    <a:lnTo>
                      <a:pt x="594" y="572"/>
                    </a:lnTo>
                    <a:lnTo>
                      <a:pt x="596" y="572"/>
                    </a:lnTo>
                    <a:lnTo>
                      <a:pt x="598" y="572"/>
                    </a:lnTo>
                    <a:lnTo>
                      <a:pt x="604" y="574"/>
                    </a:lnTo>
                    <a:lnTo>
                      <a:pt x="606" y="574"/>
                    </a:lnTo>
                    <a:lnTo>
                      <a:pt x="608" y="576"/>
                    </a:lnTo>
                    <a:lnTo>
                      <a:pt x="616" y="576"/>
                    </a:lnTo>
                    <a:lnTo>
                      <a:pt x="626" y="578"/>
                    </a:lnTo>
                    <a:lnTo>
                      <a:pt x="632" y="578"/>
                    </a:lnTo>
                    <a:lnTo>
                      <a:pt x="636" y="578"/>
                    </a:lnTo>
                    <a:lnTo>
                      <a:pt x="640" y="578"/>
                    </a:lnTo>
                    <a:lnTo>
                      <a:pt x="644" y="578"/>
                    </a:lnTo>
                    <a:lnTo>
                      <a:pt x="646" y="578"/>
                    </a:lnTo>
                    <a:lnTo>
                      <a:pt x="650" y="578"/>
                    </a:lnTo>
                    <a:lnTo>
                      <a:pt x="656" y="576"/>
                    </a:lnTo>
                    <a:lnTo>
                      <a:pt x="660" y="576"/>
                    </a:lnTo>
                    <a:lnTo>
                      <a:pt x="666" y="574"/>
                    </a:lnTo>
                    <a:lnTo>
                      <a:pt x="668" y="574"/>
                    </a:lnTo>
                    <a:lnTo>
                      <a:pt x="672" y="572"/>
                    </a:lnTo>
                    <a:lnTo>
                      <a:pt x="680" y="570"/>
                    </a:lnTo>
                    <a:lnTo>
                      <a:pt x="684" y="570"/>
                    </a:lnTo>
                    <a:lnTo>
                      <a:pt x="688" y="568"/>
                    </a:lnTo>
                    <a:lnTo>
                      <a:pt x="690" y="568"/>
                    </a:lnTo>
                    <a:lnTo>
                      <a:pt x="690" y="568"/>
                    </a:lnTo>
                    <a:lnTo>
                      <a:pt x="692" y="568"/>
                    </a:lnTo>
                    <a:lnTo>
                      <a:pt x="694" y="570"/>
                    </a:lnTo>
                    <a:lnTo>
                      <a:pt x="696" y="570"/>
                    </a:lnTo>
                    <a:lnTo>
                      <a:pt x="696" y="570"/>
                    </a:lnTo>
                    <a:lnTo>
                      <a:pt x="698" y="572"/>
                    </a:lnTo>
                    <a:lnTo>
                      <a:pt x="700" y="574"/>
                    </a:lnTo>
                    <a:lnTo>
                      <a:pt x="702" y="576"/>
                    </a:lnTo>
                    <a:lnTo>
                      <a:pt x="704" y="578"/>
                    </a:lnTo>
                    <a:lnTo>
                      <a:pt x="704" y="578"/>
                    </a:lnTo>
                    <a:lnTo>
                      <a:pt x="706" y="580"/>
                    </a:lnTo>
                    <a:lnTo>
                      <a:pt x="706" y="580"/>
                    </a:lnTo>
                    <a:lnTo>
                      <a:pt x="706" y="582"/>
                    </a:lnTo>
                    <a:lnTo>
                      <a:pt x="706" y="582"/>
                    </a:lnTo>
                    <a:lnTo>
                      <a:pt x="706" y="586"/>
                    </a:lnTo>
                    <a:lnTo>
                      <a:pt x="706" y="588"/>
                    </a:lnTo>
                    <a:lnTo>
                      <a:pt x="706" y="590"/>
                    </a:lnTo>
                    <a:lnTo>
                      <a:pt x="706" y="592"/>
                    </a:lnTo>
                    <a:lnTo>
                      <a:pt x="706" y="592"/>
                    </a:lnTo>
                    <a:lnTo>
                      <a:pt x="706" y="592"/>
                    </a:lnTo>
                    <a:lnTo>
                      <a:pt x="708" y="592"/>
                    </a:lnTo>
                    <a:lnTo>
                      <a:pt x="708" y="594"/>
                    </a:lnTo>
                    <a:lnTo>
                      <a:pt x="710" y="594"/>
                    </a:lnTo>
                    <a:lnTo>
                      <a:pt x="710" y="594"/>
                    </a:lnTo>
                    <a:lnTo>
                      <a:pt x="712" y="594"/>
                    </a:lnTo>
                    <a:lnTo>
                      <a:pt x="714" y="594"/>
                    </a:lnTo>
                    <a:lnTo>
                      <a:pt x="716" y="594"/>
                    </a:lnTo>
                    <a:lnTo>
                      <a:pt x="718" y="594"/>
                    </a:lnTo>
                    <a:lnTo>
                      <a:pt x="722" y="594"/>
                    </a:lnTo>
                    <a:lnTo>
                      <a:pt x="724" y="594"/>
                    </a:lnTo>
                    <a:lnTo>
                      <a:pt x="724" y="592"/>
                    </a:lnTo>
                    <a:lnTo>
                      <a:pt x="728" y="592"/>
                    </a:lnTo>
                    <a:lnTo>
                      <a:pt x="730" y="590"/>
                    </a:lnTo>
                    <a:lnTo>
                      <a:pt x="734" y="590"/>
                    </a:lnTo>
                    <a:lnTo>
                      <a:pt x="740" y="586"/>
                    </a:lnTo>
                    <a:lnTo>
                      <a:pt x="742" y="586"/>
                    </a:lnTo>
                    <a:lnTo>
                      <a:pt x="746" y="584"/>
                    </a:lnTo>
                    <a:lnTo>
                      <a:pt x="750" y="584"/>
                    </a:lnTo>
                    <a:lnTo>
                      <a:pt x="752" y="584"/>
                    </a:lnTo>
                    <a:lnTo>
                      <a:pt x="756" y="584"/>
                    </a:lnTo>
                    <a:lnTo>
                      <a:pt x="758" y="584"/>
                    </a:lnTo>
                    <a:lnTo>
                      <a:pt x="760" y="584"/>
                    </a:lnTo>
                    <a:lnTo>
                      <a:pt x="762" y="584"/>
                    </a:lnTo>
                    <a:lnTo>
                      <a:pt x="764" y="584"/>
                    </a:lnTo>
                    <a:lnTo>
                      <a:pt x="764" y="584"/>
                    </a:lnTo>
                    <a:lnTo>
                      <a:pt x="766" y="586"/>
                    </a:lnTo>
                    <a:lnTo>
                      <a:pt x="766" y="586"/>
                    </a:lnTo>
                    <a:lnTo>
                      <a:pt x="768" y="588"/>
                    </a:lnTo>
                    <a:lnTo>
                      <a:pt x="768" y="588"/>
                    </a:lnTo>
                    <a:lnTo>
                      <a:pt x="770" y="590"/>
                    </a:lnTo>
                    <a:lnTo>
                      <a:pt x="770" y="592"/>
                    </a:lnTo>
                    <a:lnTo>
                      <a:pt x="772" y="596"/>
                    </a:lnTo>
                    <a:lnTo>
                      <a:pt x="774" y="598"/>
                    </a:lnTo>
                    <a:lnTo>
                      <a:pt x="776" y="606"/>
                    </a:lnTo>
                    <a:lnTo>
                      <a:pt x="778" y="612"/>
                    </a:lnTo>
                    <a:lnTo>
                      <a:pt x="780" y="614"/>
                    </a:lnTo>
                    <a:lnTo>
                      <a:pt x="780" y="618"/>
                    </a:lnTo>
                    <a:lnTo>
                      <a:pt x="782" y="620"/>
                    </a:lnTo>
                    <a:lnTo>
                      <a:pt x="784" y="622"/>
                    </a:lnTo>
                    <a:lnTo>
                      <a:pt x="784" y="624"/>
                    </a:lnTo>
                    <a:lnTo>
                      <a:pt x="784" y="624"/>
                    </a:lnTo>
                    <a:lnTo>
                      <a:pt x="786" y="626"/>
                    </a:lnTo>
                    <a:lnTo>
                      <a:pt x="786" y="626"/>
                    </a:lnTo>
                    <a:lnTo>
                      <a:pt x="788" y="626"/>
                    </a:lnTo>
                    <a:lnTo>
                      <a:pt x="788" y="626"/>
                    </a:lnTo>
                    <a:lnTo>
                      <a:pt x="790" y="626"/>
                    </a:lnTo>
                    <a:lnTo>
                      <a:pt x="792" y="626"/>
                    </a:lnTo>
                    <a:lnTo>
                      <a:pt x="794" y="626"/>
                    </a:lnTo>
                    <a:lnTo>
                      <a:pt x="796" y="626"/>
                    </a:lnTo>
                    <a:lnTo>
                      <a:pt x="798" y="626"/>
                    </a:lnTo>
                    <a:lnTo>
                      <a:pt x="800" y="626"/>
                    </a:lnTo>
                    <a:lnTo>
                      <a:pt x="800" y="626"/>
                    </a:lnTo>
                    <a:lnTo>
                      <a:pt x="800" y="626"/>
                    </a:lnTo>
                    <a:lnTo>
                      <a:pt x="802" y="628"/>
                    </a:lnTo>
                    <a:lnTo>
                      <a:pt x="802" y="628"/>
                    </a:lnTo>
                    <a:lnTo>
                      <a:pt x="804" y="630"/>
                    </a:lnTo>
                    <a:lnTo>
                      <a:pt x="804" y="630"/>
                    </a:lnTo>
                    <a:lnTo>
                      <a:pt x="806" y="632"/>
                    </a:lnTo>
                    <a:lnTo>
                      <a:pt x="808" y="636"/>
                    </a:lnTo>
                    <a:lnTo>
                      <a:pt x="808" y="636"/>
                    </a:lnTo>
                    <a:lnTo>
                      <a:pt x="810" y="638"/>
                    </a:lnTo>
                    <a:lnTo>
                      <a:pt x="810" y="638"/>
                    </a:lnTo>
                    <a:lnTo>
                      <a:pt x="812" y="640"/>
                    </a:lnTo>
                    <a:lnTo>
                      <a:pt x="814" y="640"/>
                    </a:lnTo>
                    <a:lnTo>
                      <a:pt x="818" y="642"/>
                    </a:lnTo>
                    <a:lnTo>
                      <a:pt x="820" y="642"/>
                    </a:lnTo>
                    <a:lnTo>
                      <a:pt x="824" y="644"/>
                    </a:lnTo>
                    <a:lnTo>
                      <a:pt x="828" y="644"/>
                    </a:lnTo>
                    <a:lnTo>
                      <a:pt x="828" y="646"/>
                    </a:lnTo>
                    <a:lnTo>
                      <a:pt x="830" y="646"/>
                    </a:lnTo>
                    <a:lnTo>
                      <a:pt x="832" y="646"/>
                    </a:lnTo>
                    <a:lnTo>
                      <a:pt x="832" y="648"/>
                    </a:lnTo>
                    <a:lnTo>
                      <a:pt x="834" y="648"/>
                    </a:lnTo>
                    <a:lnTo>
                      <a:pt x="834" y="652"/>
                    </a:lnTo>
                    <a:lnTo>
                      <a:pt x="836" y="654"/>
                    </a:lnTo>
                    <a:lnTo>
                      <a:pt x="836" y="656"/>
                    </a:lnTo>
                    <a:lnTo>
                      <a:pt x="838" y="658"/>
                    </a:lnTo>
                    <a:lnTo>
                      <a:pt x="840" y="662"/>
                    </a:lnTo>
                    <a:lnTo>
                      <a:pt x="842" y="668"/>
                    </a:lnTo>
                    <a:lnTo>
                      <a:pt x="842" y="674"/>
                    </a:lnTo>
                    <a:lnTo>
                      <a:pt x="844" y="678"/>
                    </a:lnTo>
                    <a:lnTo>
                      <a:pt x="846" y="682"/>
                    </a:lnTo>
                    <a:lnTo>
                      <a:pt x="848" y="680"/>
                    </a:lnTo>
                    <a:lnTo>
                      <a:pt x="852" y="678"/>
                    </a:lnTo>
                    <a:lnTo>
                      <a:pt x="852" y="676"/>
                    </a:lnTo>
                    <a:lnTo>
                      <a:pt x="854" y="676"/>
                    </a:lnTo>
                    <a:lnTo>
                      <a:pt x="856" y="674"/>
                    </a:lnTo>
                    <a:lnTo>
                      <a:pt x="858" y="674"/>
                    </a:lnTo>
                    <a:lnTo>
                      <a:pt x="860" y="674"/>
                    </a:lnTo>
                    <a:lnTo>
                      <a:pt x="864" y="672"/>
                    </a:lnTo>
                    <a:lnTo>
                      <a:pt x="868" y="672"/>
                    </a:lnTo>
                    <a:lnTo>
                      <a:pt x="872" y="670"/>
                    </a:lnTo>
                    <a:lnTo>
                      <a:pt x="878" y="670"/>
                    </a:lnTo>
                    <a:lnTo>
                      <a:pt x="882" y="668"/>
                    </a:lnTo>
                    <a:lnTo>
                      <a:pt x="888" y="668"/>
                    </a:lnTo>
                    <a:lnTo>
                      <a:pt x="894" y="666"/>
                    </a:lnTo>
                    <a:lnTo>
                      <a:pt x="900" y="666"/>
                    </a:lnTo>
                    <a:lnTo>
                      <a:pt x="904" y="666"/>
                    </a:lnTo>
                    <a:lnTo>
                      <a:pt x="906" y="666"/>
                    </a:lnTo>
                    <a:lnTo>
                      <a:pt x="910" y="666"/>
                    </a:lnTo>
                    <a:lnTo>
                      <a:pt x="912" y="666"/>
                    </a:lnTo>
                    <a:lnTo>
                      <a:pt x="914" y="666"/>
                    </a:lnTo>
                    <a:lnTo>
                      <a:pt x="916" y="666"/>
                    </a:lnTo>
                    <a:lnTo>
                      <a:pt x="916" y="668"/>
                    </a:lnTo>
                    <a:lnTo>
                      <a:pt x="918" y="668"/>
                    </a:lnTo>
                    <a:lnTo>
                      <a:pt x="918" y="670"/>
                    </a:lnTo>
                    <a:lnTo>
                      <a:pt x="920" y="672"/>
                    </a:lnTo>
                    <a:lnTo>
                      <a:pt x="920" y="672"/>
                    </a:lnTo>
                    <a:lnTo>
                      <a:pt x="920" y="672"/>
                    </a:lnTo>
                    <a:lnTo>
                      <a:pt x="922" y="674"/>
                    </a:lnTo>
                    <a:lnTo>
                      <a:pt x="922" y="674"/>
                    </a:lnTo>
                    <a:lnTo>
                      <a:pt x="924" y="674"/>
                    </a:lnTo>
                    <a:lnTo>
                      <a:pt x="926" y="674"/>
                    </a:lnTo>
                    <a:lnTo>
                      <a:pt x="928" y="674"/>
                    </a:lnTo>
                    <a:lnTo>
                      <a:pt x="930" y="674"/>
                    </a:lnTo>
                    <a:lnTo>
                      <a:pt x="932" y="674"/>
                    </a:lnTo>
                    <a:lnTo>
                      <a:pt x="934" y="674"/>
                    </a:lnTo>
                    <a:lnTo>
                      <a:pt x="936" y="676"/>
                    </a:lnTo>
                    <a:lnTo>
                      <a:pt x="936" y="676"/>
                    </a:lnTo>
                    <a:lnTo>
                      <a:pt x="936" y="676"/>
                    </a:lnTo>
                    <a:lnTo>
                      <a:pt x="938" y="676"/>
                    </a:lnTo>
                    <a:lnTo>
                      <a:pt x="938" y="678"/>
                    </a:lnTo>
                    <a:lnTo>
                      <a:pt x="940" y="680"/>
                    </a:lnTo>
                    <a:lnTo>
                      <a:pt x="942" y="682"/>
                    </a:lnTo>
                    <a:lnTo>
                      <a:pt x="942" y="682"/>
                    </a:lnTo>
                    <a:lnTo>
                      <a:pt x="944" y="682"/>
                    </a:lnTo>
                    <a:lnTo>
                      <a:pt x="946" y="682"/>
                    </a:lnTo>
                    <a:lnTo>
                      <a:pt x="950" y="684"/>
                    </a:lnTo>
                    <a:lnTo>
                      <a:pt x="954" y="684"/>
                    </a:lnTo>
                    <a:lnTo>
                      <a:pt x="956" y="684"/>
                    </a:lnTo>
                    <a:lnTo>
                      <a:pt x="958" y="684"/>
                    </a:lnTo>
                    <a:lnTo>
                      <a:pt x="960" y="682"/>
                    </a:lnTo>
                    <a:lnTo>
                      <a:pt x="964" y="682"/>
                    </a:lnTo>
                    <a:lnTo>
                      <a:pt x="966" y="682"/>
                    </a:lnTo>
                    <a:lnTo>
                      <a:pt x="968" y="682"/>
                    </a:lnTo>
                    <a:lnTo>
                      <a:pt x="968" y="680"/>
                    </a:lnTo>
                    <a:lnTo>
                      <a:pt x="970" y="680"/>
                    </a:lnTo>
                    <a:lnTo>
                      <a:pt x="972" y="680"/>
                    </a:lnTo>
                    <a:lnTo>
                      <a:pt x="972" y="678"/>
                    </a:lnTo>
                    <a:lnTo>
                      <a:pt x="972" y="678"/>
                    </a:lnTo>
                    <a:lnTo>
                      <a:pt x="972" y="678"/>
                    </a:lnTo>
                    <a:lnTo>
                      <a:pt x="972" y="676"/>
                    </a:lnTo>
                    <a:lnTo>
                      <a:pt x="972" y="676"/>
                    </a:lnTo>
                    <a:lnTo>
                      <a:pt x="972" y="674"/>
                    </a:lnTo>
                    <a:lnTo>
                      <a:pt x="972" y="674"/>
                    </a:lnTo>
                    <a:lnTo>
                      <a:pt x="972" y="672"/>
                    </a:lnTo>
                    <a:lnTo>
                      <a:pt x="970" y="670"/>
                    </a:lnTo>
                    <a:lnTo>
                      <a:pt x="968" y="668"/>
                    </a:lnTo>
                    <a:lnTo>
                      <a:pt x="968" y="666"/>
                    </a:lnTo>
                    <a:lnTo>
                      <a:pt x="966" y="664"/>
                    </a:lnTo>
                    <a:lnTo>
                      <a:pt x="964" y="662"/>
                    </a:lnTo>
                    <a:lnTo>
                      <a:pt x="964" y="660"/>
                    </a:lnTo>
                    <a:lnTo>
                      <a:pt x="964" y="660"/>
                    </a:lnTo>
                    <a:lnTo>
                      <a:pt x="962" y="658"/>
                    </a:lnTo>
                    <a:lnTo>
                      <a:pt x="960" y="656"/>
                    </a:lnTo>
                    <a:lnTo>
                      <a:pt x="960" y="656"/>
                    </a:lnTo>
                    <a:lnTo>
                      <a:pt x="960" y="654"/>
                    </a:lnTo>
                    <a:lnTo>
                      <a:pt x="960" y="654"/>
                    </a:lnTo>
                    <a:lnTo>
                      <a:pt x="960" y="654"/>
                    </a:lnTo>
                    <a:lnTo>
                      <a:pt x="960" y="654"/>
                    </a:lnTo>
                    <a:lnTo>
                      <a:pt x="960" y="654"/>
                    </a:lnTo>
                    <a:lnTo>
                      <a:pt x="962" y="654"/>
                    </a:lnTo>
                    <a:lnTo>
                      <a:pt x="962" y="652"/>
                    </a:lnTo>
                    <a:lnTo>
                      <a:pt x="964" y="652"/>
                    </a:lnTo>
                    <a:lnTo>
                      <a:pt x="966" y="654"/>
                    </a:lnTo>
                    <a:lnTo>
                      <a:pt x="968" y="654"/>
                    </a:lnTo>
                    <a:lnTo>
                      <a:pt x="970" y="654"/>
                    </a:lnTo>
                    <a:lnTo>
                      <a:pt x="970" y="654"/>
                    </a:lnTo>
                    <a:lnTo>
                      <a:pt x="972" y="654"/>
                    </a:lnTo>
                    <a:lnTo>
                      <a:pt x="972" y="654"/>
                    </a:lnTo>
                    <a:lnTo>
                      <a:pt x="972" y="652"/>
                    </a:lnTo>
                    <a:lnTo>
                      <a:pt x="974" y="652"/>
                    </a:lnTo>
                    <a:lnTo>
                      <a:pt x="974" y="650"/>
                    </a:lnTo>
                    <a:lnTo>
                      <a:pt x="974" y="650"/>
                    </a:lnTo>
                    <a:lnTo>
                      <a:pt x="974" y="648"/>
                    </a:lnTo>
                    <a:lnTo>
                      <a:pt x="974" y="646"/>
                    </a:lnTo>
                    <a:lnTo>
                      <a:pt x="974" y="644"/>
                    </a:lnTo>
                    <a:lnTo>
                      <a:pt x="974" y="640"/>
                    </a:lnTo>
                    <a:lnTo>
                      <a:pt x="974" y="638"/>
                    </a:lnTo>
                    <a:lnTo>
                      <a:pt x="972" y="634"/>
                    </a:lnTo>
                    <a:lnTo>
                      <a:pt x="972" y="630"/>
                    </a:lnTo>
                    <a:lnTo>
                      <a:pt x="972" y="628"/>
                    </a:lnTo>
                    <a:lnTo>
                      <a:pt x="972" y="624"/>
                    </a:lnTo>
                    <a:lnTo>
                      <a:pt x="972" y="622"/>
                    </a:lnTo>
                    <a:lnTo>
                      <a:pt x="972" y="618"/>
                    </a:lnTo>
                    <a:lnTo>
                      <a:pt x="970" y="614"/>
                    </a:lnTo>
                    <a:lnTo>
                      <a:pt x="970" y="610"/>
                    </a:lnTo>
                    <a:lnTo>
                      <a:pt x="970" y="608"/>
                    </a:lnTo>
                    <a:lnTo>
                      <a:pt x="970" y="606"/>
                    </a:lnTo>
                    <a:lnTo>
                      <a:pt x="970" y="604"/>
                    </a:lnTo>
                    <a:lnTo>
                      <a:pt x="970" y="604"/>
                    </a:lnTo>
                    <a:lnTo>
                      <a:pt x="972" y="602"/>
                    </a:lnTo>
                    <a:lnTo>
                      <a:pt x="972" y="602"/>
                    </a:lnTo>
                    <a:lnTo>
                      <a:pt x="972" y="602"/>
                    </a:lnTo>
                    <a:lnTo>
                      <a:pt x="974" y="602"/>
                    </a:lnTo>
                    <a:lnTo>
                      <a:pt x="974" y="602"/>
                    </a:lnTo>
                    <a:lnTo>
                      <a:pt x="976" y="602"/>
                    </a:lnTo>
                    <a:lnTo>
                      <a:pt x="978" y="602"/>
                    </a:lnTo>
                    <a:lnTo>
                      <a:pt x="980" y="602"/>
                    </a:lnTo>
                    <a:lnTo>
                      <a:pt x="982" y="602"/>
                    </a:lnTo>
                    <a:lnTo>
                      <a:pt x="986" y="604"/>
                    </a:lnTo>
                    <a:lnTo>
                      <a:pt x="992" y="610"/>
                    </a:lnTo>
                    <a:lnTo>
                      <a:pt x="996" y="610"/>
                    </a:lnTo>
                    <a:lnTo>
                      <a:pt x="998" y="612"/>
                    </a:lnTo>
                    <a:lnTo>
                      <a:pt x="998" y="612"/>
                    </a:lnTo>
                    <a:lnTo>
                      <a:pt x="1000" y="612"/>
                    </a:lnTo>
                    <a:lnTo>
                      <a:pt x="1002" y="612"/>
                    </a:lnTo>
                    <a:lnTo>
                      <a:pt x="1008" y="612"/>
                    </a:lnTo>
                    <a:lnTo>
                      <a:pt x="1010" y="612"/>
                    </a:lnTo>
                    <a:lnTo>
                      <a:pt x="1012" y="612"/>
                    </a:lnTo>
                    <a:lnTo>
                      <a:pt x="1014" y="612"/>
                    </a:lnTo>
                    <a:lnTo>
                      <a:pt x="1016" y="612"/>
                    </a:lnTo>
                    <a:lnTo>
                      <a:pt x="1016" y="614"/>
                    </a:lnTo>
                    <a:lnTo>
                      <a:pt x="1018" y="614"/>
                    </a:lnTo>
                    <a:lnTo>
                      <a:pt x="1020" y="616"/>
                    </a:lnTo>
                    <a:lnTo>
                      <a:pt x="1022" y="618"/>
                    </a:lnTo>
                    <a:lnTo>
                      <a:pt x="1024" y="618"/>
                    </a:lnTo>
                    <a:lnTo>
                      <a:pt x="1026" y="622"/>
                    </a:lnTo>
                    <a:lnTo>
                      <a:pt x="1028" y="626"/>
                    </a:lnTo>
                    <a:lnTo>
                      <a:pt x="1030" y="628"/>
                    </a:lnTo>
                    <a:lnTo>
                      <a:pt x="1030" y="628"/>
                    </a:lnTo>
                    <a:lnTo>
                      <a:pt x="1032" y="632"/>
                    </a:lnTo>
                    <a:lnTo>
                      <a:pt x="1032" y="634"/>
                    </a:lnTo>
                    <a:lnTo>
                      <a:pt x="1034" y="636"/>
                    </a:lnTo>
                    <a:lnTo>
                      <a:pt x="1034" y="638"/>
                    </a:lnTo>
                    <a:lnTo>
                      <a:pt x="1034" y="638"/>
                    </a:lnTo>
                    <a:lnTo>
                      <a:pt x="1036" y="638"/>
                    </a:lnTo>
                    <a:lnTo>
                      <a:pt x="1036" y="638"/>
                    </a:lnTo>
                    <a:lnTo>
                      <a:pt x="1038" y="640"/>
                    </a:lnTo>
                    <a:lnTo>
                      <a:pt x="1038" y="640"/>
                    </a:lnTo>
                    <a:lnTo>
                      <a:pt x="1040" y="640"/>
                    </a:lnTo>
                    <a:lnTo>
                      <a:pt x="1042" y="640"/>
                    </a:lnTo>
                    <a:lnTo>
                      <a:pt x="1046" y="640"/>
                    </a:lnTo>
                    <a:lnTo>
                      <a:pt x="1052" y="638"/>
                    </a:lnTo>
                    <a:lnTo>
                      <a:pt x="1054" y="638"/>
                    </a:lnTo>
                    <a:lnTo>
                      <a:pt x="1056" y="638"/>
                    </a:lnTo>
                    <a:lnTo>
                      <a:pt x="1064" y="638"/>
                    </a:lnTo>
                    <a:lnTo>
                      <a:pt x="1072" y="638"/>
                    </a:lnTo>
                    <a:lnTo>
                      <a:pt x="1078" y="640"/>
                    </a:lnTo>
                    <a:lnTo>
                      <a:pt x="1082" y="640"/>
                    </a:lnTo>
                    <a:lnTo>
                      <a:pt x="1084" y="640"/>
                    </a:lnTo>
                    <a:lnTo>
                      <a:pt x="1086" y="640"/>
                    </a:lnTo>
                    <a:lnTo>
                      <a:pt x="1088" y="642"/>
                    </a:lnTo>
                    <a:lnTo>
                      <a:pt x="1090" y="642"/>
                    </a:lnTo>
                    <a:lnTo>
                      <a:pt x="1092" y="642"/>
                    </a:lnTo>
                    <a:lnTo>
                      <a:pt x="1094" y="644"/>
                    </a:lnTo>
                    <a:lnTo>
                      <a:pt x="1098" y="646"/>
                    </a:lnTo>
                    <a:lnTo>
                      <a:pt x="1102" y="648"/>
                    </a:lnTo>
                    <a:lnTo>
                      <a:pt x="1104" y="650"/>
                    </a:lnTo>
                    <a:lnTo>
                      <a:pt x="1106" y="652"/>
                    </a:lnTo>
                    <a:lnTo>
                      <a:pt x="1108" y="652"/>
                    </a:lnTo>
                    <a:lnTo>
                      <a:pt x="1110" y="652"/>
                    </a:lnTo>
                    <a:lnTo>
                      <a:pt x="1112" y="652"/>
                    </a:lnTo>
                    <a:lnTo>
                      <a:pt x="1116" y="652"/>
                    </a:lnTo>
                    <a:lnTo>
                      <a:pt x="1116" y="654"/>
                    </a:lnTo>
                    <a:lnTo>
                      <a:pt x="1118" y="654"/>
                    </a:lnTo>
                    <a:lnTo>
                      <a:pt x="1120" y="654"/>
                    </a:lnTo>
                    <a:lnTo>
                      <a:pt x="1120" y="654"/>
                    </a:lnTo>
                    <a:lnTo>
                      <a:pt x="1120" y="656"/>
                    </a:lnTo>
                    <a:lnTo>
                      <a:pt x="1120" y="656"/>
                    </a:lnTo>
                    <a:lnTo>
                      <a:pt x="1120" y="658"/>
                    </a:lnTo>
                    <a:lnTo>
                      <a:pt x="1122" y="658"/>
                    </a:lnTo>
                    <a:lnTo>
                      <a:pt x="1122" y="660"/>
                    </a:lnTo>
                    <a:lnTo>
                      <a:pt x="1122" y="662"/>
                    </a:lnTo>
                    <a:lnTo>
                      <a:pt x="1122" y="664"/>
                    </a:lnTo>
                    <a:lnTo>
                      <a:pt x="1122" y="666"/>
                    </a:lnTo>
                    <a:lnTo>
                      <a:pt x="1124" y="666"/>
                    </a:lnTo>
                    <a:lnTo>
                      <a:pt x="1124" y="666"/>
                    </a:lnTo>
                    <a:lnTo>
                      <a:pt x="1126" y="666"/>
                    </a:lnTo>
                    <a:lnTo>
                      <a:pt x="1128" y="668"/>
                    </a:lnTo>
                    <a:lnTo>
                      <a:pt x="1130" y="668"/>
                    </a:lnTo>
                    <a:lnTo>
                      <a:pt x="1132" y="668"/>
                    </a:lnTo>
                    <a:lnTo>
                      <a:pt x="1134" y="668"/>
                    </a:lnTo>
                    <a:lnTo>
                      <a:pt x="1136" y="668"/>
                    </a:lnTo>
                    <a:lnTo>
                      <a:pt x="1140" y="668"/>
                    </a:lnTo>
                    <a:lnTo>
                      <a:pt x="1142" y="668"/>
                    </a:lnTo>
                    <a:lnTo>
                      <a:pt x="1146" y="666"/>
                    </a:lnTo>
                    <a:lnTo>
                      <a:pt x="1148" y="666"/>
                    </a:lnTo>
                    <a:lnTo>
                      <a:pt x="1150" y="666"/>
                    </a:lnTo>
                    <a:lnTo>
                      <a:pt x="1154" y="664"/>
                    </a:lnTo>
                    <a:lnTo>
                      <a:pt x="1156" y="664"/>
                    </a:lnTo>
                    <a:lnTo>
                      <a:pt x="1158" y="664"/>
                    </a:lnTo>
                    <a:lnTo>
                      <a:pt x="1160" y="662"/>
                    </a:lnTo>
                    <a:lnTo>
                      <a:pt x="1162" y="662"/>
                    </a:lnTo>
                    <a:lnTo>
                      <a:pt x="1162" y="660"/>
                    </a:lnTo>
                    <a:lnTo>
                      <a:pt x="1162" y="660"/>
                    </a:lnTo>
                    <a:lnTo>
                      <a:pt x="1162" y="658"/>
                    </a:lnTo>
                    <a:lnTo>
                      <a:pt x="1164" y="658"/>
                    </a:lnTo>
                    <a:lnTo>
                      <a:pt x="1164" y="656"/>
                    </a:lnTo>
                    <a:lnTo>
                      <a:pt x="1164" y="654"/>
                    </a:lnTo>
                    <a:lnTo>
                      <a:pt x="1166" y="652"/>
                    </a:lnTo>
                    <a:lnTo>
                      <a:pt x="1166" y="652"/>
                    </a:lnTo>
                    <a:lnTo>
                      <a:pt x="1166" y="652"/>
                    </a:lnTo>
                    <a:lnTo>
                      <a:pt x="1166" y="652"/>
                    </a:lnTo>
                    <a:lnTo>
                      <a:pt x="1168" y="652"/>
                    </a:lnTo>
                    <a:lnTo>
                      <a:pt x="1168" y="650"/>
                    </a:lnTo>
                    <a:lnTo>
                      <a:pt x="1168" y="652"/>
                    </a:lnTo>
                    <a:lnTo>
                      <a:pt x="1170" y="652"/>
                    </a:lnTo>
                    <a:lnTo>
                      <a:pt x="1170" y="652"/>
                    </a:lnTo>
                    <a:lnTo>
                      <a:pt x="1172" y="654"/>
                    </a:lnTo>
                    <a:lnTo>
                      <a:pt x="1174" y="654"/>
                    </a:lnTo>
                    <a:lnTo>
                      <a:pt x="1176" y="656"/>
                    </a:lnTo>
                    <a:lnTo>
                      <a:pt x="1178" y="658"/>
                    </a:lnTo>
                    <a:lnTo>
                      <a:pt x="1178" y="658"/>
                    </a:lnTo>
                    <a:lnTo>
                      <a:pt x="1178" y="658"/>
                    </a:lnTo>
                    <a:lnTo>
                      <a:pt x="1180" y="658"/>
                    </a:lnTo>
                    <a:lnTo>
                      <a:pt x="1180" y="658"/>
                    </a:lnTo>
                    <a:lnTo>
                      <a:pt x="1182" y="658"/>
                    </a:lnTo>
                    <a:lnTo>
                      <a:pt x="1182" y="658"/>
                    </a:lnTo>
                    <a:lnTo>
                      <a:pt x="1184" y="658"/>
                    </a:lnTo>
                    <a:lnTo>
                      <a:pt x="1184" y="656"/>
                    </a:lnTo>
                    <a:lnTo>
                      <a:pt x="1186" y="654"/>
                    </a:lnTo>
                    <a:lnTo>
                      <a:pt x="1190" y="652"/>
                    </a:lnTo>
                    <a:lnTo>
                      <a:pt x="1192" y="648"/>
                    </a:lnTo>
                    <a:lnTo>
                      <a:pt x="1194" y="646"/>
                    </a:lnTo>
                    <a:lnTo>
                      <a:pt x="1194" y="646"/>
                    </a:lnTo>
                    <a:lnTo>
                      <a:pt x="1196" y="644"/>
                    </a:lnTo>
                    <a:lnTo>
                      <a:pt x="1196" y="644"/>
                    </a:lnTo>
                    <a:lnTo>
                      <a:pt x="1198" y="644"/>
                    </a:lnTo>
                    <a:lnTo>
                      <a:pt x="1200" y="644"/>
                    </a:lnTo>
                    <a:lnTo>
                      <a:pt x="1200" y="642"/>
                    </a:lnTo>
                    <a:lnTo>
                      <a:pt x="1202" y="642"/>
                    </a:lnTo>
                    <a:lnTo>
                      <a:pt x="1204" y="642"/>
                    </a:lnTo>
                    <a:lnTo>
                      <a:pt x="1206" y="642"/>
                    </a:lnTo>
                    <a:lnTo>
                      <a:pt x="1208" y="642"/>
                    </a:lnTo>
                    <a:lnTo>
                      <a:pt x="1210" y="642"/>
                    </a:lnTo>
                    <a:lnTo>
                      <a:pt x="1212" y="642"/>
                    </a:lnTo>
                    <a:lnTo>
                      <a:pt x="1214" y="642"/>
                    </a:lnTo>
                    <a:lnTo>
                      <a:pt x="1216" y="644"/>
                    </a:lnTo>
                    <a:lnTo>
                      <a:pt x="1218" y="644"/>
                    </a:lnTo>
                    <a:lnTo>
                      <a:pt x="1220" y="646"/>
                    </a:lnTo>
                    <a:lnTo>
                      <a:pt x="1222" y="648"/>
                    </a:lnTo>
                    <a:lnTo>
                      <a:pt x="1224" y="650"/>
                    </a:lnTo>
                    <a:lnTo>
                      <a:pt x="1226" y="652"/>
                    </a:lnTo>
                    <a:lnTo>
                      <a:pt x="1228" y="654"/>
                    </a:lnTo>
                    <a:lnTo>
                      <a:pt x="1230" y="656"/>
                    </a:lnTo>
                    <a:lnTo>
                      <a:pt x="1232" y="658"/>
                    </a:lnTo>
                    <a:lnTo>
                      <a:pt x="1234" y="660"/>
                    </a:lnTo>
                    <a:lnTo>
                      <a:pt x="1234" y="660"/>
                    </a:lnTo>
                    <a:lnTo>
                      <a:pt x="1236" y="662"/>
                    </a:lnTo>
                    <a:lnTo>
                      <a:pt x="1238" y="662"/>
                    </a:lnTo>
                    <a:lnTo>
                      <a:pt x="1240" y="662"/>
                    </a:lnTo>
                    <a:lnTo>
                      <a:pt x="1242" y="662"/>
                    </a:lnTo>
                    <a:lnTo>
                      <a:pt x="1246" y="662"/>
                    </a:lnTo>
                    <a:lnTo>
                      <a:pt x="1248" y="662"/>
                    </a:lnTo>
                    <a:lnTo>
                      <a:pt x="1250" y="662"/>
                    </a:lnTo>
                    <a:lnTo>
                      <a:pt x="1252" y="662"/>
                    </a:lnTo>
                    <a:lnTo>
                      <a:pt x="1252" y="662"/>
                    </a:lnTo>
                    <a:lnTo>
                      <a:pt x="1254" y="662"/>
                    </a:lnTo>
                    <a:lnTo>
                      <a:pt x="1254" y="662"/>
                    </a:lnTo>
                    <a:lnTo>
                      <a:pt x="1256" y="660"/>
                    </a:lnTo>
                    <a:lnTo>
                      <a:pt x="1256" y="658"/>
                    </a:lnTo>
                    <a:lnTo>
                      <a:pt x="1256" y="658"/>
                    </a:lnTo>
                    <a:lnTo>
                      <a:pt x="1256" y="656"/>
                    </a:lnTo>
                    <a:lnTo>
                      <a:pt x="1256" y="654"/>
                    </a:lnTo>
                    <a:lnTo>
                      <a:pt x="1258" y="652"/>
                    </a:lnTo>
                    <a:lnTo>
                      <a:pt x="1258" y="648"/>
                    </a:lnTo>
                    <a:lnTo>
                      <a:pt x="1256" y="644"/>
                    </a:lnTo>
                    <a:lnTo>
                      <a:pt x="1256" y="640"/>
                    </a:lnTo>
                    <a:lnTo>
                      <a:pt x="1258" y="638"/>
                    </a:lnTo>
                    <a:lnTo>
                      <a:pt x="1258" y="636"/>
                    </a:lnTo>
                    <a:lnTo>
                      <a:pt x="1258" y="634"/>
                    </a:lnTo>
                    <a:lnTo>
                      <a:pt x="1258" y="634"/>
                    </a:lnTo>
                    <a:lnTo>
                      <a:pt x="1258" y="632"/>
                    </a:lnTo>
                    <a:lnTo>
                      <a:pt x="1260" y="632"/>
                    </a:lnTo>
                    <a:lnTo>
                      <a:pt x="1260" y="630"/>
                    </a:lnTo>
                    <a:lnTo>
                      <a:pt x="1262" y="630"/>
                    </a:lnTo>
                    <a:lnTo>
                      <a:pt x="1264" y="628"/>
                    </a:lnTo>
                    <a:lnTo>
                      <a:pt x="1266" y="628"/>
                    </a:lnTo>
                    <a:lnTo>
                      <a:pt x="1268" y="626"/>
                    </a:lnTo>
                    <a:lnTo>
                      <a:pt x="1268" y="626"/>
                    </a:lnTo>
                    <a:lnTo>
                      <a:pt x="1268" y="624"/>
                    </a:lnTo>
                    <a:lnTo>
                      <a:pt x="1270" y="624"/>
                    </a:lnTo>
                    <a:lnTo>
                      <a:pt x="1270" y="624"/>
                    </a:lnTo>
                    <a:lnTo>
                      <a:pt x="1270" y="622"/>
                    </a:lnTo>
                    <a:lnTo>
                      <a:pt x="1270" y="620"/>
                    </a:lnTo>
                    <a:lnTo>
                      <a:pt x="1270" y="620"/>
                    </a:lnTo>
                    <a:lnTo>
                      <a:pt x="1268" y="618"/>
                    </a:lnTo>
                    <a:lnTo>
                      <a:pt x="1268" y="616"/>
                    </a:lnTo>
                    <a:lnTo>
                      <a:pt x="1266" y="614"/>
                    </a:lnTo>
                    <a:lnTo>
                      <a:pt x="1264" y="610"/>
                    </a:lnTo>
                    <a:lnTo>
                      <a:pt x="1262" y="608"/>
                    </a:lnTo>
                    <a:lnTo>
                      <a:pt x="1262" y="604"/>
                    </a:lnTo>
                    <a:lnTo>
                      <a:pt x="1260" y="602"/>
                    </a:lnTo>
                    <a:lnTo>
                      <a:pt x="1260" y="600"/>
                    </a:lnTo>
                    <a:lnTo>
                      <a:pt x="1260" y="600"/>
                    </a:lnTo>
                    <a:lnTo>
                      <a:pt x="1260" y="598"/>
                    </a:lnTo>
                    <a:lnTo>
                      <a:pt x="1260" y="596"/>
                    </a:lnTo>
                    <a:lnTo>
                      <a:pt x="1260" y="594"/>
                    </a:lnTo>
                    <a:lnTo>
                      <a:pt x="1260" y="592"/>
                    </a:lnTo>
                    <a:lnTo>
                      <a:pt x="1262" y="590"/>
                    </a:lnTo>
                    <a:lnTo>
                      <a:pt x="1262" y="588"/>
                    </a:lnTo>
                    <a:lnTo>
                      <a:pt x="1264" y="586"/>
                    </a:lnTo>
                    <a:lnTo>
                      <a:pt x="1266" y="584"/>
                    </a:lnTo>
                    <a:lnTo>
                      <a:pt x="1266" y="584"/>
                    </a:lnTo>
                    <a:lnTo>
                      <a:pt x="1266" y="582"/>
                    </a:lnTo>
                    <a:lnTo>
                      <a:pt x="1268" y="582"/>
                    </a:lnTo>
                    <a:lnTo>
                      <a:pt x="1270" y="582"/>
                    </a:lnTo>
                    <a:lnTo>
                      <a:pt x="1272" y="580"/>
                    </a:lnTo>
                    <a:lnTo>
                      <a:pt x="1276" y="580"/>
                    </a:lnTo>
                    <a:lnTo>
                      <a:pt x="1280" y="578"/>
                    </a:lnTo>
                    <a:lnTo>
                      <a:pt x="1284" y="578"/>
                    </a:lnTo>
                    <a:lnTo>
                      <a:pt x="1288" y="578"/>
                    </a:lnTo>
                    <a:lnTo>
                      <a:pt x="1294" y="578"/>
                    </a:lnTo>
                    <a:lnTo>
                      <a:pt x="1298" y="578"/>
                    </a:lnTo>
                    <a:lnTo>
                      <a:pt x="1302" y="578"/>
                    </a:lnTo>
                    <a:lnTo>
                      <a:pt x="1306" y="580"/>
                    </a:lnTo>
                    <a:lnTo>
                      <a:pt x="1310" y="580"/>
                    </a:lnTo>
                    <a:lnTo>
                      <a:pt x="1314" y="580"/>
                    </a:lnTo>
                    <a:lnTo>
                      <a:pt x="1318" y="582"/>
                    </a:lnTo>
                    <a:lnTo>
                      <a:pt x="1322" y="582"/>
                    </a:lnTo>
                    <a:lnTo>
                      <a:pt x="1326" y="584"/>
                    </a:lnTo>
                    <a:lnTo>
                      <a:pt x="1328" y="584"/>
                    </a:lnTo>
                    <a:lnTo>
                      <a:pt x="1330" y="584"/>
                    </a:lnTo>
                    <a:lnTo>
                      <a:pt x="1330" y="586"/>
                    </a:lnTo>
                    <a:lnTo>
                      <a:pt x="1332" y="588"/>
                    </a:lnTo>
                    <a:lnTo>
                      <a:pt x="1334" y="590"/>
                    </a:lnTo>
                    <a:lnTo>
                      <a:pt x="1336" y="592"/>
                    </a:lnTo>
                    <a:lnTo>
                      <a:pt x="1340" y="596"/>
                    </a:lnTo>
                    <a:lnTo>
                      <a:pt x="1342" y="598"/>
                    </a:lnTo>
                    <a:lnTo>
                      <a:pt x="1344" y="600"/>
                    </a:lnTo>
                    <a:lnTo>
                      <a:pt x="1346" y="604"/>
                    </a:lnTo>
                    <a:lnTo>
                      <a:pt x="1350" y="606"/>
                    </a:lnTo>
                    <a:lnTo>
                      <a:pt x="1354" y="610"/>
                    </a:lnTo>
                    <a:lnTo>
                      <a:pt x="1358" y="614"/>
                    </a:lnTo>
                    <a:lnTo>
                      <a:pt x="1360" y="616"/>
                    </a:lnTo>
                    <a:lnTo>
                      <a:pt x="1364" y="620"/>
                    </a:lnTo>
                    <a:lnTo>
                      <a:pt x="1366" y="622"/>
                    </a:lnTo>
                    <a:lnTo>
                      <a:pt x="1366" y="624"/>
                    </a:lnTo>
                    <a:lnTo>
                      <a:pt x="1368" y="626"/>
                    </a:lnTo>
                    <a:lnTo>
                      <a:pt x="1368" y="628"/>
                    </a:lnTo>
                    <a:lnTo>
                      <a:pt x="1368" y="630"/>
                    </a:lnTo>
                    <a:lnTo>
                      <a:pt x="1370" y="634"/>
                    </a:lnTo>
                    <a:lnTo>
                      <a:pt x="1370" y="640"/>
                    </a:lnTo>
                    <a:lnTo>
                      <a:pt x="1370" y="642"/>
                    </a:lnTo>
                    <a:lnTo>
                      <a:pt x="1372" y="644"/>
                    </a:lnTo>
                    <a:lnTo>
                      <a:pt x="1372" y="646"/>
                    </a:lnTo>
                    <a:lnTo>
                      <a:pt x="1374" y="646"/>
                    </a:lnTo>
                    <a:lnTo>
                      <a:pt x="1374" y="648"/>
                    </a:lnTo>
                    <a:lnTo>
                      <a:pt x="1376" y="652"/>
                    </a:lnTo>
                    <a:lnTo>
                      <a:pt x="1378" y="652"/>
                    </a:lnTo>
                    <a:lnTo>
                      <a:pt x="1380" y="654"/>
                    </a:lnTo>
                    <a:lnTo>
                      <a:pt x="1382" y="656"/>
                    </a:lnTo>
                    <a:lnTo>
                      <a:pt x="1382" y="658"/>
                    </a:lnTo>
                    <a:lnTo>
                      <a:pt x="1384" y="658"/>
                    </a:lnTo>
                    <a:lnTo>
                      <a:pt x="1386" y="658"/>
                    </a:lnTo>
                    <a:lnTo>
                      <a:pt x="1386" y="658"/>
                    </a:lnTo>
                    <a:lnTo>
                      <a:pt x="1388" y="660"/>
                    </a:lnTo>
                    <a:lnTo>
                      <a:pt x="1392" y="660"/>
                    </a:lnTo>
                    <a:lnTo>
                      <a:pt x="1396" y="660"/>
                    </a:lnTo>
                    <a:lnTo>
                      <a:pt x="1398" y="660"/>
                    </a:lnTo>
                    <a:lnTo>
                      <a:pt x="1402" y="660"/>
                    </a:lnTo>
                    <a:lnTo>
                      <a:pt x="1406" y="662"/>
                    </a:lnTo>
                    <a:lnTo>
                      <a:pt x="1406" y="662"/>
                    </a:lnTo>
                    <a:lnTo>
                      <a:pt x="1408" y="662"/>
                    </a:lnTo>
                    <a:lnTo>
                      <a:pt x="1410" y="664"/>
                    </a:lnTo>
                    <a:lnTo>
                      <a:pt x="1410" y="664"/>
                    </a:lnTo>
                    <a:lnTo>
                      <a:pt x="1414" y="668"/>
                    </a:lnTo>
                    <a:lnTo>
                      <a:pt x="1416" y="670"/>
                    </a:lnTo>
                    <a:lnTo>
                      <a:pt x="1418" y="672"/>
                    </a:lnTo>
                    <a:lnTo>
                      <a:pt x="1420" y="672"/>
                    </a:lnTo>
                    <a:lnTo>
                      <a:pt x="1422" y="674"/>
                    </a:lnTo>
                    <a:lnTo>
                      <a:pt x="1426" y="676"/>
                    </a:lnTo>
                    <a:lnTo>
                      <a:pt x="1430" y="680"/>
                    </a:lnTo>
                    <a:lnTo>
                      <a:pt x="1430" y="680"/>
                    </a:lnTo>
                    <a:lnTo>
                      <a:pt x="1432" y="682"/>
                    </a:lnTo>
                    <a:lnTo>
                      <a:pt x="1432" y="682"/>
                    </a:lnTo>
                    <a:lnTo>
                      <a:pt x="1434" y="684"/>
                    </a:lnTo>
                    <a:lnTo>
                      <a:pt x="1434" y="686"/>
                    </a:lnTo>
                    <a:lnTo>
                      <a:pt x="1434" y="688"/>
                    </a:lnTo>
                    <a:lnTo>
                      <a:pt x="1436" y="688"/>
                    </a:lnTo>
                    <a:lnTo>
                      <a:pt x="1436" y="690"/>
                    </a:lnTo>
                    <a:lnTo>
                      <a:pt x="1436" y="690"/>
                    </a:lnTo>
                    <a:lnTo>
                      <a:pt x="1438" y="690"/>
                    </a:lnTo>
                    <a:lnTo>
                      <a:pt x="1438" y="690"/>
                    </a:lnTo>
                    <a:lnTo>
                      <a:pt x="1440" y="692"/>
                    </a:lnTo>
                    <a:lnTo>
                      <a:pt x="1442" y="692"/>
                    </a:lnTo>
                    <a:lnTo>
                      <a:pt x="1444" y="692"/>
                    </a:lnTo>
                    <a:lnTo>
                      <a:pt x="1448" y="692"/>
                    </a:lnTo>
                    <a:lnTo>
                      <a:pt x="1452" y="692"/>
                    </a:lnTo>
                    <a:lnTo>
                      <a:pt x="1454" y="692"/>
                    </a:lnTo>
                    <a:lnTo>
                      <a:pt x="1454" y="690"/>
                    </a:lnTo>
                    <a:lnTo>
                      <a:pt x="1458" y="690"/>
                    </a:lnTo>
                    <a:lnTo>
                      <a:pt x="1464" y="688"/>
                    </a:lnTo>
                    <a:lnTo>
                      <a:pt x="1468" y="686"/>
                    </a:lnTo>
                    <a:lnTo>
                      <a:pt x="1470" y="686"/>
                    </a:lnTo>
                    <a:lnTo>
                      <a:pt x="1472" y="686"/>
                    </a:lnTo>
                    <a:lnTo>
                      <a:pt x="1474" y="686"/>
                    </a:lnTo>
                    <a:lnTo>
                      <a:pt x="1474" y="686"/>
                    </a:lnTo>
                    <a:lnTo>
                      <a:pt x="1476" y="686"/>
                    </a:lnTo>
                    <a:lnTo>
                      <a:pt x="1478" y="686"/>
                    </a:lnTo>
                    <a:lnTo>
                      <a:pt x="1478" y="686"/>
                    </a:lnTo>
                    <a:lnTo>
                      <a:pt x="1478" y="688"/>
                    </a:lnTo>
                    <a:lnTo>
                      <a:pt x="1480" y="688"/>
                    </a:lnTo>
                    <a:lnTo>
                      <a:pt x="1480" y="690"/>
                    </a:lnTo>
                    <a:lnTo>
                      <a:pt x="1482" y="692"/>
                    </a:lnTo>
                    <a:lnTo>
                      <a:pt x="1482" y="694"/>
                    </a:lnTo>
                    <a:lnTo>
                      <a:pt x="1484" y="696"/>
                    </a:lnTo>
                    <a:lnTo>
                      <a:pt x="1484" y="700"/>
                    </a:lnTo>
                    <a:lnTo>
                      <a:pt x="1484" y="702"/>
                    </a:lnTo>
                    <a:lnTo>
                      <a:pt x="1486" y="704"/>
                    </a:lnTo>
                    <a:lnTo>
                      <a:pt x="1486" y="706"/>
                    </a:lnTo>
                    <a:lnTo>
                      <a:pt x="1484" y="706"/>
                    </a:lnTo>
                    <a:lnTo>
                      <a:pt x="1484" y="706"/>
                    </a:lnTo>
                    <a:lnTo>
                      <a:pt x="1484" y="708"/>
                    </a:lnTo>
                    <a:lnTo>
                      <a:pt x="1482" y="708"/>
                    </a:lnTo>
                    <a:lnTo>
                      <a:pt x="1482" y="710"/>
                    </a:lnTo>
                    <a:lnTo>
                      <a:pt x="1480" y="710"/>
                    </a:lnTo>
                    <a:lnTo>
                      <a:pt x="1478" y="712"/>
                    </a:lnTo>
                    <a:lnTo>
                      <a:pt x="1476" y="712"/>
                    </a:lnTo>
                    <a:lnTo>
                      <a:pt x="1476" y="714"/>
                    </a:lnTo>
                    <a:lnTo>
                      <a:pt x="1476" y="714"/>
                    </a:lnTo>
                    <a:lnTo>
                      <a:pt x="1474" y="714"/>
                    </a:lnTo>
                    <a:lnTo>
                      <a:pt x="1474" y="714"/>
                    </a:lnTo>
                    <a:lnTo>
                      <a:pt x="1474" y="716"/>
                    </a:lnTo>
                    <a:lnTo>
                      <a:pt x="1474" y="718"/>
                    </a:lnTo>
                    <a:lnTo>
                      <a:pt x="1474" y="720"/>
                    </a:lnTo>
                    <a:lnTo>
                      <a:pt x="1474" y="722"/>
                    </a:lnTo>
                    <a:lnTo>
                      <a:pt x="1474" y="724"/>
                    </a:lnTo>
                    <a:lnTo>
                      <a:pt x="1474" y="728"/>
                    </a:lnTo>
                    <a:lnTo>
                      <a:pt x="1476" y="734"/>
                    </a:lnTo>
                    <a:lnTo>
                      <a:pt x="1476" y="738"/>
                    </a:lnTo>
                    <a:lnTo>
                      <a:pt x="1476" y="742"/>
                    </a:lnTo>
                    <a:lnTo>
                      <a:pt x="1476" y="744"/>
                    </a:lnTo>
                    <a:lnTo>
                      <a:pt x="1476" y="746"/>
                    </a:lnTo>
                    <a:lnTo>
                      <a:pt x="1476" y="748"/>
                    </a:lnTo>
                    <a:lnTo>
                      <a:pt x="1476" y="748"/>
                    </a:lnTo>
                    <a:lnTo>
                      <a:pt x="1474" y="750"/>
                    </a:lnTo>
                    <a:lnTo>
                      <a:pt x="1474" y="750"/>
                    </a:lnTo>
                    <a:lnTo>
                      <a:pt x="1474" y="750"/>
                    </a:lnTo>
                    <a:lnTo>
                      <a:pt x="1472" y="750"/>
                    </a:lnTo>
                    <a:lnTo>
                      <a:pt x="1472" y="750"/>
                    </a:lnTo>
                    <a:lnTo>
                      <a:pt x="1472" y="750"/>
                    </a:lnTo>
                    <a:lnTo>
                      <a:pt x="1470" y="750"/>
                    </a:lnTo>
                    <a:lnTo>
                      <a:pt x="1468" y="750"/>
                    </a:lnTo>
                    <a:lnTo>
                      <a:pt x="1466" y="750"/>
                    </a:lnTo>
                    <a:lnTo>
                      <a:pt x="1464" y="748"/>
                    </a:lnTo>
                    <a:lnTo>
                      <a:pt x="1462" y="748"/>
                    </a:lnTo>
                    <a:lnTo>
                      <a:pt x="1462" y="748"/>
                    </a:lnTo>
                    <a:lnTo>
                      <a:pt x="1460" y="748"/>
                    </a:lnTo>
                    <a:lnTo>
                      <a:pt x="1460" y="748"/>
                    </a:lnTo>
                    <a:lnTo>
                      <a:pt x="1460" y="748"/>
                    </a:lnTo>
                    <a:lnTo>
                      <a:pt x="1458" y="748"/>
                    </a:lnTo>
                    <a:lnTo>
                      <a:pt x="1458" y="748"/>
                    </a:lnTo>
                    <a:lnTo>
                      <a:pt x="1458" y="750"/>
                    </a:lnTo>
                    <a:lnTo>
                      <a:pt x="1456" y="750"/>
                    </a:lnTo>
                    <a:lnTo>
                      <a:pt x="1456" y="752"/>
                    </a:lnTo>
                    <a:lnTo>
                      <a:pt x="1454" y="754"/>
                    </a:lnTo>
                    <a:lnTo>
                      <a:pt x="1454" y="758"/>
                    </a:lnTo>
                    <a:lnTo>
                      <a:pt x="1454" y="760"/>
                    </a:lnTo>
                    <a:lnTo>
                      <a:pt x="1452" y="762"/>
                    </a:lnTo>
                    <a:lnTo>
                      <a:pt x="1452" y="764"/>
                    </a:lnTo>
                    <a:lnTo>
                      <a:pt x="1452" y="764"/>
                    </a:lnTo>
                    <a:lnTo>
                      <a:pt x="1452" y="766"/>
                    </a:lnTo>
                    <a:lnTo>
                      <a:pt x="1452" y="770"/>
                    </a:lnTo>
                    <a:lnTo>
                      <a:pt x="1452" y="772"/>
                    </a:lnTo>
                    <a:lnTo>
                      <a:pt x="1452" y="774"/>
                    </a:lnTo>
                    <a:lnTo>
                      <a:pt x="1452" y="776"/>
                    </a:lnTo>
                    <a:lnTo>
                      <a:pt x="1452" y="778"/>
                    </a:lnTo>
                    <a:lnTo>
                      <a:pt x="1452" y="778"/>
                    </a:lnTo>
                    <a:lnTo>
                      <a:pt x="1452" y="778"/>
                    </a:lnTo>
                    <a:lnTo>
                      <a:pt x="1454" y="780"/>
                    </a:lnTo>
                    <a:lnTo>
                      <a:pt x="1454" y="780"/>
                    </a:lnTo>
                    <a:lnTo>
                      <a:pt x="1454" y="780"/>
                    </a:lnTo>
                    <a:lnTo>
                      <a:pt x="1456" y="780"/>
                    </a:lnTo>
                    <a:lnTo>
                      <a:pt x="1458" y="780"/>
                    </a:lnTo>
                    <a:lnTo>
                      <a:pt x="1460" y="782"/>
                    </a:lnTo>
                    <a:lnTo>
                      <a:pt x="1464" y="782"/>
                    </a:lnTo>
                    <a:lnTo>
                      <a:pt x="1466" y="782"/>
                    </a:lnTo>
                    <a:lnTo>
                      <a:pt x="1468" y="782"/>
                    </a:lnTo>
                    <a:lnTo>
                      <a:pt x="1470" y="782"/>
                    </a:lnTo>
                    <a:lnTo>
                      <a:pt x="1472" y="784"/>
                    </a:lnTo>
                    <a:lnTo>
                      <a:pt x="1476" y="786"/>
                    </a:lnTo>
                    <a:lnTo>
                      <a:pt x="1478" y="786"/>
                    </a:lnTo>
                    <a:lnTo>
                      <a:pt x="1480" y="788"/>
                    </a:lnTo>
                    <a:lnTo>
                      <a:pt x="1482" y="788"/>
                    </a:lnTo>
                    <a:lnTo>
                      <a:pt x="1484" y="788"/>
                    </a:lnTo>
                    <a:lnTo>
                      <a:pt x="1484" y="788"/>
                    </a:lnTo>
                    <a:lnTo>
                      <a:pt x="1486" y="788"/>
                    </a:lnTo>
                    <a:lnTo>
                      <a:pt x="1488" y="788"/>
                    </a:lnTo>
                    <a:lnTo>
                      <a:pt x="1490" y="786"/>
                    </a:lnTo>
                    <a:lnTo>
                      <a:pt x="1490" y="786"/>
                    </a:lnTo>
                    <a:lnTo>
                      <a:pt x="1494" y="784"/>
                    </a:lnTo>
                    <a:lnTo>
                      <a:pt x="1498" y="780"/>
                    </a:lnTo>
                    <a:lnTo>
                      <a:pt x="1500" y="778"/>
                    </a:lnTo>
                    <a:lnTo>
                      <a:pt x="1504" y="776"/>
                    </a:lnTo>
                    <a:lnTo>
                      <a:pt x="1506" y="772"/>
                    </a:lnTo>
                    <a:lnTo>
                      <a:pt x="1508" y="770"/>
                    </a:lnTo>
                    <a:lnTo>
                      <a:pt x="1510" y="770"/>
                    </a:lnTo>
                    <a:lnTo>
                      <a:pt x="1510" y="768"/>
                    </a:lnTo>
                    <a:lnTo>
                      <a:pt x="1514" y="764"/>
                    </a:lnTo>
                    <a:lnTo>
                      <a:pt x="1516" y="760"/>
                    </a:lnTo>
                    <a:lnTo>
                      <a:pt x="1518" y="756"/>
                    </a:lnTo>
                    <a:lnTo>
                      <a:pt x="1522" y="748"/>
                    </a:lnTo>
                    <a:lnTo>
                      <a:pt x="1526" y="740"/>
                    </a:lnTo>
                    <a:lnTo>
                      <a:pt x="1530" y="732"/>
                    </a:lnTo>
                    <a:lnTo>
                      <a:pt x="1534" y="724"/>
                    </a:lnTo>
                    <a:lnTo>
                      <a:pt x="1540" y="714"/>
                    </a:lnTo>
                    <a:lnTo>
                      <a:pt x="1542" y="706"/>
                    </a:lnTo>
                    <a:lnTo>
                      <a:pt x="1546" y="700"/>
                    </a:lnTo>
                    <a:lnTo>
                      <a:pt x="1550" y="690"/>
                    </a:lnTo>
                    <a:lnTo>
                      <a:pt x="1552" y="686"/>
                    </a:lnTo>
                    <a:lnTo>
                      <a:pt x="1554" y="682"/>
                    </a:lnTo>
                    <a:lnTo>
                      <a:pt x="1554" y="680"/>
                    </a:lnTo>
                    <a:lnTo>
                      <a:pt x="1554" y="678"/>
                    </a:lnTo>
                    <a:lnTo>
                      <a:pt x="1554" y="676"/>
                    </a:lnTo>
                    <a:lnTo>
                      <a:pt x="1556" y="674"/>
                    </a:lnTo>
                    <a:lnTo>
                      <a:pt x="1556" y="672"/>
                    </a:lnTo>
                    <a:lnTo>
                      <a:pt x="1556" y="670"/>
                    </a:lnTo>
                    <a:lnTo>
                      <a:pt x="1554" y="668"/>
                    </a:lnTo>
                    <a:lnTo>
                      <a:pt x="1554" y="666"/>
                    </a:lnTo>
                    <a:lnTo>
                      <a:pt x="1554" y="662"/>
                    </a:lnTo>
                    <a:lnTo>
                      <a:pt x="1552" y="656"/>
                    </a:lnTo>
                    <a:lnTo>
                      <a:pt x="1550" y="652"/>
                    </a:lnTo>
                    <a:lnTo>
                      <a:pt x="1548" y="648"/>
                    </a:lnTo>
                    <a:lnTo>
                      <a:pt x="1548" y="646"/>
                    </a:lnTo>
                    <a:lnTo>
                      <a:pt x="1548" y="644"/>
                    </a:lnTo>
                    <a:lnTo>
                      <a:pt x="1548" y="642"/>
                    </a:lnTo>
                    <a:lnTo>
                      <a:pt x="1548" y="640"/>
                    </a:lnTo>
                    <a:lnTo>
                      <a:pt x="1548" y="638"/>
                    </a:lnTo>
                    <a:lnTo>
                      <a:pt x="1548" y="638"/>
                    </a:lnTo>
                    <a:lnTo>
                      <a:pt x="1550" y="634"/>
                    </a:lnTo>
                    <a:lnTo>
                      <a:pt x="1552" y="632"/>
                    </a:lnTo>
                    <a:lnTo>
                      <a:pt x="1552" y="630"/>
                    </a:lnTo>
                    <a:lnTo>
                      <a:pt x="1552" y="630"/>
                    </a:lnTo>
                    <a:lnTo>
                      <a:pt x="1554" y="628"/>
                    </a:lnTo>
                    <a:lnTo>
                      <a:pt x="1554" y="626"/>
                    </a:lnTo>
                    <a:lnTo>
                      <a:pt x="1554" y="622"/>
                    </a:lnTo>
                    <a:lnTo>
                      <a:pt x="1554" y="616"/>
                    </a:lnTo>
                    <a:lnTo>
                      <a:pt x="1552" y="612"/>
                    </a:lnTo>
                    <a:lnTo>
                      <a:pt x="1552" y="606"/>
                    </a:lnTo>
                    <a:lnTo>
                      <a:pt x="1552" y="602"/>
                    </a:lnTo>
                    <a:lnTo>
                      <a:pt x="1550" y="596"/>
                    </a:lnTo>
                    <a:lnTo>
                      <a:pt x="1548" y="594"/>
                    </a:lnTo>
                    <a:lnTo>
                      <a:pt x="1548" y="590"/>
                    </a:lnTo>
                    <a:lnTo>
                      <a:pt x="1546" y="588"/>
                    </a:lnTo>
                    <a:lnTo>
                      <a:pt x="1544" y="584"/>
                    </a:lnTo>
                    <a:lnTo>
                      <a:pt x="1542" y="580"/>
                    </a:lnTo>
                    <a:lnTo>
                      <a:pt x="1540" y="578"/>
                    </a:lnTo>
                    <a:lnTo>
                      <a:pt x="1538" y="574"/>
                    </a:lnTo>
                    <a:lnTo>
                      <a:pt x="1536" y="572"/>
                    </a:lnTo>
                    <a:lnTo>
                      <a:pt x="1534" y="572"/>
                    </a:lnTo>
                    <a:lnTo>
                      <a:pt x="1534" y="570"/>
                    </a:lnTo>
                    <a:lnTo>
                      <a:pt x="1532" y="568"/>
                    </a:lnTo>
                    <a:lnTo>
                      <a:pt x="1528" y="568"/>
                    </a:lnTo>
                    <a:lnTo>
                      <a:pt x="1526" y="566"/>
                    </a:lnTo>
                    <a:lnTo>
                      <a:pt x="1522" y="564"/>
                    </a:lnTo>
                    <a:lnTo>
                      <a:pt x="1518" y="564"/>
                    </a:lnTo>
                    <a:lnTo>
                      <a:pt x="1518" y="562"/>
                    </a:lnTo>
                    <a:lnTo>
                      <a:pt x="1516" y="562"/>
                    </a:lnTo>
                    <a:lnTo>
                      <a:pt x="1514" y="562"/>
                    </a:lnTo>
                    <a:lnTo>
                      <a:pt x="1512" y="562"/>
                    </a:lnTo>
                    <a:lnTo>
                      <a:pt x="1512" y="562"/>
                    </a:lnTo>
                    <a:lnTo>
                      <a:pt x="1510" y="562"/>
                    </a:lnTo>
                    <a:lnTo>
                      <a:pt x="1510" y="564"/>
                    </a:lnTo>
                    <a:lnTo>
                      <a:pt x="1508" y="564"/>
                    </a:lnTo>
                    <a:lnTo>
                      <a:pt x="1508" y="564"/>
                    </a:lnTo>
                    <a:lnTo>
                      <a:pt x="1508" y="566"/>
                    </a:lnTo>
                    <a:lnTo>
                      <a:pt x="1506" y="568"/>
                    </a:lnTo>
                    <a:lnTo>
                      <a:pt x="1506" y="570"/>
                    </a:lnTo>
                    <a:lnTo>
                      <a:pt x="1506" y="572"/>
                    </a:lnTo>
                    <a:lnTo>
                      <a:pt x="1504" y="574"/>
                    </a:lnTo>
                    <a:lnTo>
                      <a:pt x="1504" y="576"/>
                    </a:lnTo>
                    <a:lnTo>
                      <a:pt x="1504" y="576"/>
                    </a:lnTo>
                    <a:lnTo>
                      <a:pt x="1502" y="576"/>
                    </a:lnTo>
                    <a:lnTo>
                      <a:pt x="1502" y="578"/>
                    </a:lnTo>
                    <a:lnTo>
                      <a:pt x="1500" y="578"/>
                    </a:lnTo>
                    <a:lnTo>
                      <a:pt x="1498" y="578"/>
                    </a:lnTo>
                    <a:lnTo>
                      <a:pt x="1498" y="578"/>
                    </a:lnTo>
                    <a:lnTo>
                      <a:pt x="1496" y="578"/>
                    </a:lnTo>
                    <a:lnTo>
                      <a:pt x="1494" y="578"/>
                    </a:lnTo>
                    <a:lnTo>
                      <a:pt x="1494" y="578"/>
                    </a:lnTo>
                    <a:lnTo>
                      <a:pt x="1492" y="578"/>
                    </a:lnTo>
                    <a:lnTo>
                      <a:pt x="1492" y="578"/>
                    </a:lnTo>
                    <a:lnTo>
                      <a:pt x="1492" y="576"/>
                    </a:lnTo>
                    <a:lnTo>
                      <a:pt x="1492" y="576"/>
                    </a:lnTo>
                    <a:lnTo>
                      <a:pt x="1492" y="576"/>
                    </a:lnTo>
                    <a:lnTo>
                      <a:pt x="1490" y="574"/>
                    </a:lnTo>
                    <a:lnTo>
                      <a:pt x="1490" y="572"/>
                    </a:lnTo>
                    <a:lnTo>
                      <a:pt x="1490" y="570"/>
                    </a:lnTo>
                    <a:lnTo>
                      <a:pt x="1490" y="568"/>
                    </a:lnTo>
                    <a:lnTo>
                      <a:pt x="1490" y="566"/>
                    </a:lnTo>
                    <a:lnTo>
                      <a:pt x="1490" y="564"/>
                    </a:lnTo>
                    <a:lnTo>
                      <a:pt x="1490" y="564"/>
                    </a:lnTo>
                    <a:lnTo>
                      <a:pt x="1488" y="564"/>
                    </a:lnTo>
                    <a:lnTo>
                      <a:pt x="1488" y="562"/>
                    </a:lnTo>
                    <a:lnTo>
                      <a:pt x="1486" y="562"/>
                    </a:lnTo>
                    <a:lnTo>
                      <a:pt x="1486" y="560"/>
                    </a:lnTo>
                    <a:lnTo>
                      <a:pt x="1482" y="560"/>
                    </a:lnTo>
                    <a:lnTo>
                      <a:pt x="1478" y="558"/>
                    </a:lnTo>
                    <a:lnTo>
                      <a:pt x="1476" y="558"/>
                    </a:lnTo>
                    <a:lnTo>
                      <a:pt x="1472" y="556"/>
                    </a:lnTo>
                    <a:lnTo>
                      <a:pt x="1470" y="556"/>
                    </a:lnTo>
                    <a:lnTo>
                      <a:pt x="1470" y="554"/>
                    </a:lnTo>
                    <a:lnTo>
                      <a:pt x="1468" y="554"/>
                    </a:lnTo>
                    <a:lnTo>
                      <a:pt x="1468" y="552"/>
                    </a:lnTo>
                    <a:lnTo>
                      <a:pt x="1466" y="552"/>
                    </a:lnTo>
                    <a:lnTo>
                      <a:pt x="1466" y="550"/>
                    </a:lnTo>
                    <a:lnTo>
                      <a:pt x="1464" y="550"/>
                    </a:lnTo>
                    <a:lnTo>
                      <a:pt x="1464" y="548"/>
                    </a:lnTo>
                    <a:lnTo>
                      <a:pt x="1464" y="546"/>
                    </a:lnTo>
                    <a:lnTo>
                      <a:pt x="1464" y="544"/>
                    </a:lnTo>
                    <a:lnTo>
                      <a:pt x="1464" y="542"/>
                    </a:lnTo>
                    <a:lnTo>
                      <a:pt x="1464" y="542"/>
                    </a:lnTo>
                    <a:lnTo>
                      <a:pt x="1464" y="540"/>
                    </a:lnTo>
                    <a:lnTo>
                      <a:pt x="1464" y="540"/>
                    </a:lnTo>
                    <a:lnTo>
                      <a:pt x="1464" y="538"/>
                    </a:lnTo>
                    <a:lnTo>
                      <a:pt x="1466" y="538"/>
                    </a:lnTo>
                    <a:lnTo>
                      <a:pt x="1468" y="536"/>
                    </a:lnTo>
                    <a:lnTo>
                      <a:pt x="1470" y="534"/>
                    </a:lnTo>
                    <a:lnTo>
                      <a:pt x="1474" y="530"/>
                    </a:lnTo>
                    <a:lnTo>
                      <a:pt x="1476" y="530"/>
                    </a:lnTo>
                    <a:lnTo>
                      <a:pt x="1478" y="528"/>
                    </a:lnTo>
                    <a:lnTo>
                      <a:pt x="1480" y="524"/>
                    </a:lnTo>
                    <a:lnTo>
                      <a:pt x="1482" y="522"/>
                    </a:lnTo>
                    <a:lnTo>
                      <a:pt x="1486" y="514"/>
                    </a:lnTo>
                    <a:lnTo>
                      <a:pt x="1490" y="508"/>
                    </a:lnTo>
                    <a:lnTo>
                      <a:pt x="1494" y="502"/>
                    </a:lnTo>
                    <a:lnTo>
                      <a:pt x="1496" y="496"/>
                    </a:lnTo>
                    <a:lnTo>
                      <a:pt x="1498" y="492"/>
                    </a:lnTo>
                    <a:lnTo>
                      <a:pt x="1500" y="486"/>
                    </a:lnTo>
                    <a:lnTo>
                      <a:pt x="1502" y="482"/>
                    </a:lnTo>
                    <a:lnTo>
                      <a:pt x="1504" y="478"/>
                    </a:lnTo>
                    <a:lnTo>
                      <a:pt x="1508" y="472"/>
                    </a:lnTo>
                    <a:lnTo>
                      <a:pt x="1508" y="470"/>
                    </a:lnTo>
                    <a:lnTo>
                      <a:pt x="1510" y="468"/>
                    </a:lnTo>
                    <a:lnTo>
                      <a:pt x="1512" y="466"/>
                    </a:lnTo>
                    <a:lnTo>
                      <a:pt x="1512" y="466"/>
                    </a:lnTo>
                    <a:lnTo>
                      <a:pt x="1514" y="464"/>
                    </a:lnTo>
                    <a:lnTo>
                      <a:pt x="1516" y="464"/>
                    </a:lnTo>
                    <a:lnTo>
                      <a:pt x="1516" y="462"/>
                    </a:lnTo>
                    <a:lnTo>
                      <a:pt x="1518" y="462"/>
                    </a:lnTo>
                    <a:lnTo>
                      <a:pt x="1520" y="462"/>
                    </a:lnTo>
                    <a:lnTo>
                      <a:pt x="1526" y="460"/>
                    </a:lnTo>
                    <a:lnTo>
                      <a:pt x="1530" y="458"/>
                    </a:lnTo>
                    <a:lnTo>
                      <a:pt x="1536" y="458"/>
                    </a:lnTo>
                    <a:lnTo>
                      <a:pt x="1540" y="456"/>
                    </a:lnTo>
                    <a:lnTo>
                      <a:pt x="1548" y="456"/>
                    </a:lnTo>
                    <a:lnTo>
                      <a:pt x="1550" y="456"/>
                    </a:lnTo>
                    <a:lnTo>
                      <a:pt x="1554" y="456"/>
                    </a:lnTo>
                    <a:lnTo>
                      <a:pt x="1562" y="454"/>
                    </a:lnTo>
                    <a:lnTo>
                      <a:pt x="1570" y="454"/>
                    </a:lnTo>
                    <a:lnTo>
                      <a:pt x="1576" y="454"/>
                    </a:lnTo>
                    <a:lnTo>
                      <a:pt x="1578" y="454"/>
                    </a:lnTo>
                    <a:lnTo>
                      <a:pt x="1580" y="456"/>
                    </a:lnTo>
                    <a:lnTo>
                      <a:pt x="1584" y="456"/>
                    </a:lnTo>
                    <a:lnTo>
                      <a:pt x="1594" y="458"/>
                    </a:lnTo>
                    <a:lnTo>
                      <a:pt x="1600" y="460"/>
                    </a:lnTo>
                    <a:lnTo>
                      <a:pt x="1602" y="460"/>
                    </a:lnTo>
                    <a:lnTo>
                      <a:pt x="1604" y="460"/>
                    </a:lnTo>
                    <a:lnTo>
                      <a:pt x="1608" y="460"/>
                    </a:lnTo>
                    <a:lnTo>
                      <a:pt x="1610" y="460"/>
                    </a:lnTo>
                    <a:lnTo>
                      <a:pt x="1612" y="460"/>
                    </a:lnTo>
                    <a:lnTo>
                      <a:pt x="1614" y="458"/>
                    </a:lnTo>
                    <a:lnTo>
                      <a:pt x="1614" y="458"/>
                    </a:lnTo>
                    <a:lnTo>
                      <a:pt x="1614" y="458"/>
                    </a:lnTo>
                    <a:lnTo>
                      <a:pt x="1616" y="456"/>
                    </a:lnTo>
                    <a:lnTo>
                      <a:pt x="1616" y="456"/>
                    </a:lnTo>
                    <a:lnTo>
                      <a:pt x="1616" y="454"/>
                    </a:lnTo>
                    <a:lnTo>
                      <a:pt x="1618" y="450"/>
                    </a:lnTo>
                    <a:lnTo>
                      <a:pt x="1618" y="448"/>
                    </a:lnTo>
                    <a:lnTo>
                      <a:pt x="1620" y="446"/>
                    </a:lnTo>
                    <a:lnTo>
                      <a:pt x="1620" y="446"/>
                    </a:lnTo>
                    <a:lnTo>
                      <a:pt x="1620" y="444"/>
                    </a:lnTo>
                    <a:lnTo>
                      <a:pt x="1622" y="444"/>
                    </a:lnTo>
                    <a:lnTo>
                      <a:pt x="1622" y="444"/>
                    </a:lnTo>
                    <a:lnTo>
                      <a:pt x="1624" y="442"/>
                    </a:lnTo>
                    <a:lnTo>
                      <a:pt x="1624" y="442"/>
                    </a:lnTo>
                    <a:lnTo>
                      <a:pt x="1626" y="442"/>
                    </a:lnTo>
                    <a:lnTo>
                      <a:pt x="1628" y="442"/>
                    </a:lnTo>
                    <a:lnTo>
                      <a:pt x="1630" y="442"/>
                    </a:lnTo>
                    <a:lnTo>
                      <a:pt x="1632" y="442"/>
                    </a:lnTo>
                    <a:lnTo>
                      <a:pt x="1634" y="442"/>
                    </a:lnTo>
                    <a:lnTo>
                      <a:pt x="1636" y="444"/>
                    </a:lnTo>
                    <a:lnTo>
                      <a:pt x="1638" y="444"/>
                    </a:lnTo>
                    <a:lnTo>
                      <a:pt x="1640" y="444"/>
                    </a:lnTo>
                    <a:lnTo>
                      <a:pt x="1642" y="446"/>
                    </a:lnTo>
                    <a:lnTo>
                      <a:pt x="1644" y="446"/>
                    </a:lnTo>
                    <a:lnTo>
                      <a:pt x="1646" y="446"/>
                    </a:lnTo>
                    <a:lnTo>
                      <a:pt x="1648" y="448"/>
                    </a:lnTo>
                    <a:lnTo>
                      <a:pt x="1648" y="448"/>
                    </a:lnTo>
                    <a:lnTo>
                      <a:pt x="1650" y="450"/>
                    </a:lnTo>
                    <a:lnTo>
                      <a:pt x="1650" y="450"/>
                    </a:lnTo>
                    <a:lnTo>
                      <a:pt x="1650" y="450"/>
                    </a:lnTo>
                    <a:lnTo>
                      <a:pt x="1650" y="452"/>
                    </a:lnTo>
                    <a:lnTo>
                      <a:pt x="1650" y="454"/>
                    </a:lnTo>
                    <a:lnTo>
                      <a:pt x="1650" y="454"/>
                    </a:lnTo>
                    <a:lnTo>
                      <a:pt x="1650" y="456"/>
                    </a:lnTo>
                    <a:lnTo>
                      <a:pt x="1650" y="458"/>
                    </a:lnTo>
                    <a:lnTo>
                      <a:pt x="1650" y="458"/>
                    </a:lnTo>
                    <a:lnTo>
                      <a:pt x="1650" y="460"/>
                    </a:lnTo>
                    <a:lnTo>
                      <a:pt x="1650" y="460"/>
                    </a:lnTo>
                    <a:lnTo>
                      <a:pt x="1650" y="460"/>
                    </a:lnTo>
                    <a:lnTo>
                      <a:pt x="1652" y="460"/>
                    </a:lnTo>
                    <a:lnTo>
                      <a:pt x="1652" y="462"/>
                    </a:lnTo>
                    <a:lnTo>
                      <a:pt x="1656" y="462"/>
                    </a:lnTo>
                    <a:lnTo>
                      <a:pt x="1658" y="462"/>
                    </a:lnTo>
                    <a:lnTo>
                      <a:pt x="1660" y="462"/>
                    </a:lnTo>
                    <a:lnTo>
                      <a:pt x="1662" y="462"/>
                    </a:lnTo>
                    <a:lnTo>
                      <a:pt x="1666" y="462"/>
                    </a:lnTo>
                    <a:lnTo>
                      <a:pt x="1668" y="462"/>
                    </a:lnTo>
                    <a:lnTo>
                      <a:pt x="1672" y="460"/>
                    </a:lnTo>
                    <a:lnTo>
                      <a:pt x="1674" y="460"/>
                    </a:lnTo>
                    <a:lnTo>
                      <a:pt x="1676" y="458"/>
                    </a:lnTo>
                    <a:lnTo>
                      <a:pt x="1678" y="458"/>
                    </a:lnTo>
                    <a:lnTo>
                      <a:pt x="1682" y="456"/>
                    </a:lnTo>
                    <a:lnTo>
                      <a:pt x="1684" y="456"/>
                    </a:lnTo>
                    <a:lnTo>
                      <a:pt x="1684" y="454"/>
                    </a:lnTo>
                    <a:lnTo>
                      <a:pt x="1686" y="454"/>
                    </a:lnTo>
                    <a:lnTo>
                      <a:pt x="1686" y="452"/>
                    </a:lnTo>
                    <a:lnTo>
                      <a:pt x="1688" y="452"/>
                    </a:lnTo>
                    <a:lnTo>
                      <a:pt x="1688" y="450"/>
                    </a:lnTo>
                    <a:lnTo>
                      <a:pt x="1688" y="450"/>
                    </a:lnTo>
                    <a:lnTo>
                      <a:pt x="1688" y="448"/>
                    </a:lnTo>
                    <a:lnTo>
                      <a:pt x="1688" y="446"/>
                    </a:lnTo>
                    <a:lnTo>
                      <a:pt x="1688" y="440"/>
                    </a:lnTo>
                    <a:lnTo>
                      <a:pt x="1688" y="438"/>
                    </a:lnTo>
                    <a:lnTo>
                      <a:pt x="1688" y="436"/>
                    </a:lnTo>
                    <a:lnTo>
                      <a:pt x="1690" y="430"/>
                    </a:lnTo>
                    <a:lnTo>
                      <a:pt x="1692" y="424"/>
                    </a:lnTo>
                    <a:lnTo>
                      <a:pt x="1694" y="418"/>
                    </a:lnTo>
                    <a:lnTo>
                      <a:pt x="1694" y="414"/>
                    </a:lnTo>
                    <a:lnTo>
                      <a:pt x="1696" y="412"/>
                    </a:lnTo>
                    <a:lnTo>
                      <a:pt x="1696" y="408"/>
                    </a:lnTo>
                    <a:lnTo>
                      <a:pt x="1698" y="404"/>
                    </a:lnTo>
                    <a:lnTo>
                      <a:pt x="1698" y="402"/>
                    </a:lnTo>
                    <a:lnTo>
                      <a:pt x="1700" y="400"/>
                    </a:lnTo>
                    <a:lnTo>
                      <a:pt x="1702" y="398"/>
                    </a:lnTo>
                    <a:lnTo>
                      <a:pt x="1702" y="398"/>
                    </a:lnTo>
                    <a:lnTo>
                      <a:pt x="1702" y="398"/>
                    </a:lnTo>
                    <a:lnTo>
                      <a:pt x="1704" y="398"/>
                    </a:lnTo>
                    <a:lnTo>
                      <a:pt x="1706" y="396"/>
                    </a:lnTo>
                    <a:lnTo>
                      <a:pt x="1708" y="396"/>
                    </a:lnTo>
                    <a:lnTo>
                      <a:pt x="1710" y="396"/>
                    </a:lnTo>
                    <a:lnTo>
                      <a:pt x="1714" y="396"/>
                    </a:lnTo>
                    <a:lnTo>
                      <a:pt x="1716" y="394"/>
                    </a:lnTo>
                    <a:lnTo>
                      <a:pt x="1718" y="394"/>
                    </a:lnTo>
                    <a:lnTo>
                      <a:pt x="1722" y="394"/>
                    </a:lnTo>
                    <a:lnTo>
                      <a:pt x="1724" y="394"/>
                    </a:lnTo>
                    <a:lnTo>
                      <a:pt x="1726" y="396"/>
                    </a:lnTo>
                    <a:lnTo>
                      <a:pt x="1730" y="396"/>
                    </a:lnTo>
                    <a:lnTo>
                      <a:pt x="1732" y="396"/>
                    </a:lnTo>
                    <a:lnTo>
                      <a:pt x="1734" y="396"/>
                    </a:lnTo>
                    <a:lnTo>
                      <a:pt x="1736" y="396"/>
                    </a:lnTo>
                    <a:lnTo>
                      <a:pt x="1738" y="398"/>
                    </a:lnTo>
                    <a:lnTo>
                      <a:pt x="1740" y="398"/>
                    </a:lnTo>
                    <a:lnTo>
                      <a:pt x="1742" y="398"/>
                    </a:lnTo>
                    <a:lnTo>
                      <a:pt x="1742" y="400"/>
                    </a:lnTo>
                    <a:lnTo>
                      <a:pt x="1744" y="400"/>
                    </a:lnTo>
                    <a:lnTo>
                      <a:pt x="1746" y="402"/>
                    </a:lnTo>
                    <a:lnTo>
                      <a:pt x="1746" y="406"/>
                    </a:lnTo>
                    <a:lnTo>
                      <a:pt x="1750" y="410"/>
                    </a:lnTo>
                    <a:lnTo>
                      <a:pt x="1752" y="412"/>
                    </a:lnTo>
                    <a:lnTo>
                      <a:pt x="1752" y="412"/>
                    </a:lnTo>
                    <a:lnTo>
                      <a:pt x="1752" y="412"/>
                    </a:lnTo>
                    <a:lnTo>
                      <a:pt x="1754" y="414"/>
                    </a:lnTo>
                    <a:lnTo>
                      <a:pt x="1758" y="416"/>
                    </a:lnTo>
                    <a:lnTo>
                      <a:pt x="1758" y="416"/>
                    </a:lnTo>
                    <a:lnTo>
                      <a:pt x="1760" y="416"/>
                    </a:lnTo>
                    <a:lnTo>
                      <a:pt x="1760" y="418"/>
                    </a:lnTo>
                    <a:lnTo>
                      <a:pt x="1762" y="416"/>
                    </a:lnTo>
                    <a:lnTo>
                      <a:pt x="1762" y="416"/>
                    </a:lnTo>
                    <a:lnTo>
                      <a:pt x="1764" y="416"/>
                    </a:lnTo>
                    <a:lnTo>
                      <a:pt x="1764" y="414"/>
                    </a:lnTo>
                    <a:lnTo>
                      <a:pt x="1766" y="412"/>
                    </a:lnTo>
                    <a:lnTo>
                      <a:pt x="1766" y="412"/>
                    </a:lnTo>
                    <a:lnTo>
                      <a:pt x="1768" y="410"/>
                    </a:lnTo>
                    <a:lnTo>
                      <a:pt x="1768" y="406"/>
                    </a:lnTo>
                    <a:lnTo>
                      <a:pt x="1770" y="402"/>
                    </a:lnTo>
                    <a:lnTo>
                      <a:pt x="1772" y="400"/>
                    </a:lnTo>
                    <a:lnTo>
                      <a:pt x="1772" y="398"/>
                    </a:lnTo>
                    <a:lnTo>
                      <a:pt x="1772" y="396"/>
                    </a:lnTo>
                    <a:lnTo>
                      <a:pt x="1774" y="396"/>
                    </a:lnTo>
                    <a:lnTo>
                      <a:pt x="1774" y="394"/>
                    </a:lnTo>
                    <a:lnTo>
                      <a:pt x="1776" y="394"/>
                    </a:lnTo>
                    <a:lnTo>
                      <a:pt x="1776" y="392"/>
                    </a:lnTo>
                    <a:lnTo>
                      <a:pt x="1778" y="392"/>
                    </a:lnTo>
                    <a:lnTo>
                      <a:pt x="1780" y="392"/>
                    </a:lnTo>
                    <a:lnTo>
                      <a:pt x="1780" y="390"/>
                    </a:lnTo>
                    <a:lnTo>
                      <a:pt x="1782" y="390"/>
                    </a:lnTo>
                    <a:lnTo>
                      <a:pt x="1784" y="390"/>
                    </a:lnTo>
                    <a:lnTo>
                      <a:pt x="1784" y="390"/>
                    </a:lnTo>
                    <a:lnTo>
                      <a:pt x="1784" y="390"/>
                    </a:lnTo>
                    <a:lnTo>
                      <a:pt x="1786" y="390"/>
                    </a:lnTo>
                    <a:lnTo>
                      <a:pt x="1786" y="392"/>
                    </a:lnTo>
                    <a:lnTo>
                      <a:pt x="1786" y="392"/>
                    </a:lnTo>
                    <a:lnTo>
                      <a:pt x="1788" y="394"/>
                    </a:lnTo>
                    <a:lnTo>
                      <a:pt x="1790" y="396"/>
                    </a:lnTo>
                    <a:lnTo>
                      <a:pt x="1790" y="398"/>
                    </a:lnTo>
                    <a:lnTo>
                      <a:pt x="1792" y="400"/>
                    </a:lnTo>
                    <a:lnTo>
                      <a:pt x="1792" y="404"/>
                    </a:lnTo>
                    <a:lnTo>
                      <a:pt x="1794" y="406"/>
                    </a:lnTo>
                    <a:lnTo>
                      <a:pt x="1794" y="408"/>
                    </a:lnTo>
                    <a:lnTo>
                      <a:pt x="1794" y="408"/>
                    </a:lnTo>
                    <a:lnTo>
                      <a:pt x="1794" y="410"/>
                    </a:lnTo>
                    <a:lnTo>
                      <a:pt x="1792" y="412"/>
                    </a:lnTo>
                    <a:lnTo>
                      <a:pt x="1792" y="414"/>
                    </a:lnTo>
                    <a:lnTo>
                      <a:pt x="1790" y="416"/>
                    </a:lnTo>
                    <a:lnTo>
                      <a:pt x="1790" y="418"/>
                    </a:lnTo>
                    <a:lnTo>
                      <a:pt x="1788" y="420"/>
                    </a:lnTo>
                    <a:lnTo>
                      <a:pt x="1786" y="422"/>
                    </a:lnTo>
                    <a:lnTo>
                      <a:pt x="1786" y="424"/>
                    </a:lnTo>
                    <a:lnTo>
                      <a:pt x="1784" y="426"/>
                    </a:lnTo>
                    <a:lnTo>
                      <a:pt x="1784" y="426"/>
                    </a:lnTo>
                    <a:lnTo>
                      <a:pt x="1782" y="428"/>
                    </a:lnTo>
                    <a:lnTo>
                      <a:pt x="1778" y="430"/>
                    </a:lnTo>
                    <a:lnTo>
                      <a:pt x="1776" y="432"/>
                    </a:lnTo>
                    <a:lnTo>
                      <a:pt x="1770" y="436"/>
                    </a:lnTo>
                    <a:lnTo>
                      <a:pt x="1768" y="438"/>
                    </a:lnTo>
                    <a:lnTo>
                      <a:pt x="1766" y="440"/>
                    </a:lnTo>
                    <a:lnTo>
                      <a:pt x="1764" y="444"/>
                    </a:lnTo>
                    <a:lnTo>
                      <a:pt x="1762" y="446"/>
                    </a:lnTo>
                    <a:lnTo>
                      <a:pt x="1758" y="450"/>
                    </a:lnTo>
                    <a:lnTo>
                      <a:pt x="1756" y="454"/>
                    </a:lnTo>
                    <a:lnTo>
                      <a:pt x="1752" y="462"/>
                    </a:lnTo>
                    <a:lnTo>
                      <a:pt x="1750" y="464"/>
                    </a:lnTo>
                    <a:lnTo>
                      <a:pt x="1748" y="468"/>
                    </a:lnTo>
                    <a:lnTo>
                      <a:pt x="1746" y="470"/>
                    </a:lnTo>
                    <a:lnTo>
                      <a:pt x="1744" y="472"/>
                    </a:lnTo>
                    <a:lnTo>
                      <a:pt x="1740" y="478"/>
                    </a:lnTo>
                    <a:lnTo>
                      <a:pt x="1738" y="480"/>
                    </a:lnTo>
                    <a:lnTo>
                      <a:pt x="1736" y="482"/>
                    </a:lnTo>
                    <a:lnTo>
                      <a:pt x="1734" y="484"/>
                    </a:lnTo>
                    <a:lnTo>
                      <a:pt x="1734" y="486"/>
                    </a:lnTo>
                    <a:lnTo>
                      <a:pt x="1732" y="488"/>
                    </a:lnTo>
                    <a:lnTo>
                      <a:pt x="1732" y="488"/>
                    </a:lnTo>
                    <a:lnTo>
                      <a:pt x="1732" y="490"/>
                    </a:lnTo>
                    <a:lnTo>
                      <a:pt x="1732" y="494"/>
                    </a:lnTo>
                    <a:lnTo>
                      <a:pt x="1730" y="498"/>
                    </a:lnTo>
                    <a:lnTo>
                      <a:pt x="1730" y="502"/>
                    </a:lnTo>
                    <a:lnTo>
                      <a:pt x="1730" y="506"/>
                    </a:lnTo>
                    <a:lnTo>
                      <a:pt x="1730" y="510"/>
                    </a:lnTo>
                    <a:lnTo>
                      <a:pt x="1730" y="516"/>
                    </a:lnTo>
                    <a:lnTo>
                      <a:pt x="1730" y="524"/>
                    </a:lnTo>
                    <a:lnTo>
                      <a:pt x="1730" y="528"/>
                    </a:lnTo>
                    <a:lnTo>
                      <a:pt x="1732" y="532"/>
                    </a:lnTo>
                    <a:lnTo>
                      <a:pt x="1732" y="536"/>
                    </a:lnTo>
                    <a:lnTo>
                      <a:pt x="1732" y="540"/>
                    </a:lnTo>
                    <a:lnTo>
                      <a:pt x="1734" y="544"/>
                    </a:lnTo>
                    <a:lnTo>
                      <a:pt x="1734" y="548"/>
                    </a:lnTo>
                    <a:lnTo>
                      <a:pt x="1736" y="550"/>
                    </a:lnTo>
                    <a:lnTo>
                      <a:pt x="1736" y="552"/>
                    </a:lnTo>
                    <a:lnTo>
                      <a:pt x="1738" y="556"/>
                    </a:lnTo>
                    <a:lnTo>
                      <a:pt x="1740" y="558"/>
                    </a:lnTo>
                    <a:lnTo>
                      <a:pt x="1744" y="564"/>
                    </a:lnTo>
                    <a:lnTo>
                      <a:pt x="1746" y="566"/>
                    </a:lnTo>
                    <a:lnTo>
                      <a:pt x="1746" y="570"/>
                    </a:lnTo>
                    <a:lnTo>
                      <a:pt x="1748" y="572"/>
                    </a:lnTo>
                    <a:lnTo>
                      <a:pt x="1748" y="574"/>
                    </a:lnTo>
                    <a:lnTo>
                      <a:pt x="1750" y="582"/>
                    </a:lnTo>
                    <a:lnTo>
                      <a:pt x="1750" y="586"/>
                    </a:lnTo>
                    <a:lnTo>
                      <a:pt x="1752" y="588"/>
                    </a:lnTo>
                    <a:lnTo>
                      <a:pt x="1752" y="592"/>
                    </a:lnTo>
                    <a:lnTo>
                      <a:pt x="1752" y="594"/>
                    </a:lnTo>
                    <a:lnTo>
                      <a:pt x="1754" y="596"/>
                    </a:lnTo>
                    <a:lnTo>
                      <a:pt x="1754" y="598"/>
                    </a:lnTo>
                    <a:lnTo>
                      <a:pt x="1758" y="602"/>
                    </a:lnTo>
                    <a:lnTo>
                      <a:pt x="1758" y="604"/>
                    </a:lnTo>
                    <a:lnTo>
                      <a:pt x="1760" y="606"/>
                    </a:lnTo>
                    <a:lnTo>
                      <a:pt x="1762" y="608"/>
                    </a:lnTo>
                    <a:lnTo>
                      <a:pt x="1762" y="610"/>
                    </a:lnTo>
                    <a:lnTo>
                      <a:pt x="1766" y="612"/>
                    </a:lnTo>
                    <a:lnTo>
                      <a:pt x="1768" y="614"/>
                    </a:lnTo>
                    <a:lnTo>
                      <a:pt x="1768" y="614"/>
                    </a:lnTo>
                    <a:lnTo>
                      <a:pt x="1770" y="616"/>
                    </a:lnTo>
                    <a:lnTo>
                      <a:pt x="1772" y="616"/>
                    </a:lnTo>
                    <a:lnTo>
                      <a:pt x="1774" y="616"/>
                    </a:lnTo>
                    <a:lnTo>
                      <a:pt x="1774" y="618"/>
                    </a:lnTo>
                    <a:lnTo>
                      <a:pt x="1774" y="618"/>
                    </a:lnTo>
                    <a:lnTo>
                      <a:pt x="1776" y="616"/>
                    </a:lnTo>
                    <a:lnTo>
                      <a:pt x="1776" y="616"/>
                    </a:lnTo>
                    <a:lnTo>
                      <a:pt x="1778" y="616"/>
                    </a:lnTo>
                    <a:lnTo>
                      <a:pt x="1780" y="614"/>
                    </a:lnTo>
                    <a:lnTo>
                      <a:pt x="1780" y="614"/>
                    </a:lnTo>
                    <a:lnTo>
                      <a:pt x="1780" y="612"/>
                    </a:lnTo>
                    <a:lnTo>
                      <a:pt x="1782" y="610"/>
                    </a:lnTo>
                    <a:lnTo>
                      <a:pt x="1784" y="608"/>
                    </a:lnTo>
                    <a:lnTo>
                      <a:pt x="1786" y="604"/>
                    </a:lnTo>
                    <a:lnTo>
                      <a:pt x="1786" y="600"/>
                    </a:lnTo>
                    <a:lnTo>
                      <a:pt x="1788" y="596"/>
                    </a:lnTo>
                    <a:lnTo>
                      <a:pt x="1790" y="594"/>
                    </a:lnTo>
                    <a:lnTo>
                      <a:pt x="1792" y="588"/>
                    </a:lnTo>
                    <a:lnTo>
                      <a:pt x="1798" y="580"/>
                    </a:lnTo>
                    <a:lnTo>
                      <a:pt x="1800" y="578"/>
                    </a:lnTo>
                    <a:lnTo>
                      <a:pt x="1800" y="574"/>
                    </a:lnTo>
                    <a:lnTo>
                      <a:pt x="1802" y="570"/>
                    </a:lnTo>
                    <a:lnTo>
                      <a:pt x="1802" y="568"/>
                    </a:lnTo>
                    <a:lnTo>
                      <a:pt x="1804" y="566"/>
                    </a:lnTo>
                    <a:lnTo>
                      <a:pt x="1804" y="566"/>
                    </a:lnTo>
                    <a:lnTo>
                      <a:pt x="1804" y="564"/>
                    </a:lnTo>
                    <a:lnTo>
                      <a:pt x="1804" y="562"/>
                    </a:lnTo>
                    <a:lnTo>
                      <a:pt x="1802" y="558"/>
                    </a:lnTo>
                    <a:lnTo>
                      <a:pt x="1802" y="556"/>
                    </a:lnTo>
                    <a:lnTo>
                      <a:pt x="1802" y="554"/>
                    </a:lnTo>
                    <a:lnTo>
                      <a:pt x="1802" y="552"/>
                    </a:lnTo>
                    <a:lnTo>
                      <a:pt x="1802" y="552"/>
                    </a:lnTo>
                    <a:lnTo>
                      <a:pt x="1802" y="550"/>
                    </a:lnTo>
                    <a:lnTo>
                      <a:pt x="1804" y="550"/>
                    </a:lnTo>
                    <a:lnTo>
                      <a:pt x="1804" y="550"/>
                    </a:lnTo>
                    <a:lnTo>
                      <a:pt x="1804" y="550"/>
                    </a:lnTo>
                    <a:lnTo>
                      <a:pt x="1806" y="550"/>
                    </a:lnTo>
                    <a:lnTo>
                      <a:pt x="1806" y="550"/>
                    </a:lnTo>
                    <a:lnTo>
                      <a:pt x="1808" y="550"/>
                    </a:lnTo>
                    <a:lnTo>
                      <a:pt x="1810" y="550"/>
                    </a:lnTo>
                    <a:lnTo>
                      <a:pt x="1814" y="550"/>
                    </a:lnTo>
                    <a:lnTo>
                      <a:pt x="1816" y="552"/>
                    </a:lnTo>
                    <a:lnTo>
                      <a:pt x="1816" y="552"/>
                    </a:lnTo>
                    <a:lnTo>
                      <a:pt x="1818" y="550"/>
                    </a:lnTo>
                    <a:lnTo>
                      <a:pt x="1818" y="550"/>
                    </a:lnTo>
                    <a:lnTo>
                      <a:pt x="1818" y="550"/>
                    </a:lnTo>
                    <a:lnTo>
                      <a:pt x="1818" y="550"/>
                    </a:lnTo>
                    <a:lnTo>
                      <a:pt x="1820" y="548"/>
                    </a:lnTo>
                    <a:lnTo>
                      <a:pt x="1820" y="548"/>
                    </a:lnTo>
                    <a:lnTo>
                      <a:pt x="1820" y="546"/>
                    </a:lnTo>
                    <a:lnTo>
                      <a:pt x="1820" y="544"/>
                    </a:lnTo>
                    <a:lnTo>
                      <a:pt x="1818" y="544"/>
                    </a:lnTo>
                    <a:lnTo>
                      <a:pt x="1818" y="540"/>
                    </a:lnTo>
                    <a:lnTo>
                      <a:pt x="1816" y="534"/>
                    </a:lnTo>
                    <a:lnTo>
                      <a:pt x="1816" y="532"/>
                    </a:lnTo>
                    <a:lnTo>
                      <a:pt x="1816" y="532"/>
                    </a:lnTo>
                    <a:lnTo>
                      <a:pt x="1816" y="530"/>
                    </a:lnTo>
                    <a:lnTo>
                      <a:pt x="1816" y="526"/>
                    </a:lnTo>
                    <a:lnTo>
                      <a:pt x="1816" y="524"/>
                    </a:lnTo>
                    <a:lnTo>
                      <a:pt x="1816" y="522"/>
                    </a:lnTo>
                    <a:lnTo>
                      <a:pt x="1816" y="520"/>
                    </a:lnTo>
                    <a:lnTo>
                      <a:pt x="1816" y="518"/>
                    </a:lnTo>
                    <a:lnTo>
                      <a:pt x="1818" y="516"/>
                    </a:lnTo>
                    <a:lnTo>
                      <a:pt x="1818" y="516"/>
                    </a:lnTo>
                    <a:lnTo>
                      <a:pt x="1818" y="516"/>
                    </a:lnTo>
                    <a:lnTo>
                      <a:pt x="1818" y="514"/>
                    </a:lnTo>
                    <a:lnTo>
                      <a:pt x="1820" y="514"/>
                    </a:lnTo>
                    <a:lnTo>
                      <a:pt x="1820" y="514"/>
                    </a:lnTo>
                    <a:lnTo>
                      <a:pt x="1822" y="514"/>
                    </a:lnTo>
                    <a:lnTo>
                      <a:pt x="1824" y="514"/>
                    </a:lnTo>
                    <a:lnTo>
                      <a:pt x="1824" y="514"/>
                    </a:lnTo>
                    <a:lnTo>
                      <a:pt x="1826" y="514"/>
                    </a:lnTo>
                    <a:lnTo>
                      <a:pt x="1826" y="514"/>
                    </a:lnTo>
                    <a:lnTo>
                      <a:pt x="1828" y="514"/>
                    </a:lnTo>
                    <a:lnTo>
                      <a:pt x="1828" y="514"/>
                    </a:lnTo>
                    <a:lnTo>
                      <a:pt x="1828" y="514"/>
                    </a:lnTo>
                    <a:lnTo>
                      <a:pt x="1828" y="512"/>
                    </a:lnTo>
                    <a:lnTo>
                      <a:pt x="1828" y="512"/>
                    </a:lnTo>
                    <a:lnTo>
                      <a:pt x="1828" y="512"/>
                    </a:lnTo>
                    <a:lnTo>
                      <a:pt x="1826" y="510"/>
                    </a:lnTo>
                    <a:lnTo>
                      <a:pt x="1826" y="508"/>
                    </a:lnTo>
                    <a:lnTo>
                      <a:pt x="1822" y="504"/>
                    </a:lnTo>
                    <a:lnTo>
                      <a:pt x="1820" y="502"/>
                    </a:lnTo>
                    <a:lnTo>
                      <a:pt x="1818" y="498"/>
                    </a:lnTo>
                    <a:lnTo>
                      <a:pt x="1816" y="496"/>
                    </a:lnTo>
                    <a:lnTo>
                      <a:pt x="1814" y="492"/>
                    </a:lnTo>
                    <a:lnTo>
                      <a:pt x="1812" y="490"/>
                    </a:lnTo>
                    <a:lnTo>
                      <a:pt x="1808" y="488"/>
                    </a:lnTo>
                    <a:lnTo>
                      <a:pt x="1806" y="486"/>
                    </a:lnTo>
                    <a:lnTo>
                      <a:pt x="1806" y="486"/>
                    </a:lnTo>
                    <a:lnTo>
                      <a:pt x="1804" y="484"/>
                    </a:lnTo>
                    <a:lnTo>
                      <a:pt x="1804" y="484"/>
                    </a:lnTo>
                    <a:lnTo>
                      <a:pt x="1802" y="484"/>
                    </a:lnTo>
                    <a:lnTo>
                      <a:pt x="1800" y="484"/>
                    </a:lnTo>
                    <a:lnTo>
                      <a:pt x="1800" y="482"/>
                    </a:lnTo>
                    <a:lnTo>
                      <a:pt x="1798" y="482"/>
                    </a:lnTo>
                    <a:lnTo>
                      <a:pt x="1798" y="482"/>
                    </a:lnTo>
                    <a:lnTo>
                      <a:pt x="1796" y="480"/>
                    </a:lnTo>
                    <a:lnTo>
                      <a:pt x="1796" y="480"/>
                    </a:lnTo>
                    <a:lnTo>
                      <a:pt x="1796" y="480"/>
                    </a:lnTo>
                    <a:lnTo>
                      <a:pt x="1796" y="478"/>
                    </a:lnTo>
                    <a:lnTo>
                      <a:pt x="1796" y="478"/>
                    </a:lnTo>
                    <a:lnTo>
                      <a:pt x="1796" y="474"/>
                    </a:lnTo>
                    <a:lnTo>
                      <a:pt x="1796" y="472"/>
                    </a:lnTo>
                    <a:lnTo>
                      <a:pt x="1796" y="468"/>
                    </a:lnTo>
                    <a:lnTo>
                      <a:pt x="1798" y="466"/>
                    </a:lnTo>
                    <a:lnTo>
                      <a:pt x="1798" y="462"/>
                    </a:lnTo>
                    <a:lnTo>
                      <a:pt x="1798" y="460"/>
                    </a:lnTo>
                    <a:lnTo>
                      <a:pt x="1800" y="456"/>
                    </a:lnTo>
                    <a:lnTo>
                      <a:pt x="1800" y="454"/>
                    </a:lnTo>
                    <a:lnTo>
                      <a:pt x="1802" y="452"/>
                    </a:lnTo>
                    <a:lnTo>
                      <a:pt x="1804" y="448"/>
                    </a:lnTo>
                    <a:lnTo>
                      <a:pt x="1808" y="446"/>
                    </a:lnTo>
                    <a:lnTo>
                      <a:pt x="1808" y="444"/>
                    </a:lnTo>
                    <a:lnTo>
                      <a:pt x="1810" y="444"/>
                    </a:lnTo>
                    <a:lnTo>
                      <a:pt x="1810" y="442"/>
                    </a:lnTo>
                    <a:lnTo>
                      <a:pt x="1812" y="442"/>
                    </a:lnTo>
                    <a:lnTo>
                      <a:pt x="1814" y="440"/>
                    </a:lnTo>
                    <a:lnTo>
                      <a:pt x="1818" y="438"/>
                    </a:lnTo>
                    <a:lnTo>
                      <a:pt x="1822" y="438"/>
                    </a:lnTo>
                    <a:lnTo>
                      <a:pt x="1828" y="434"/>
                    </a:lnTo>
                    <a:lnTo>
                      <a:pt x="1832" y="434"/>
                    </a:lnTo>
                    <a:lnTo>
                      <a:pt x="1834" y="432"/>
                    </a:lnTo>
                    <a:lnTo>
                      <a:pt x="1834" y="432"/>
                    </a:lnTo>
                    <a:lnTo>
                      <a:pt x="1836" y="430"/>
                    </a:lnTo>
                    <a:lnTo>
                      <a:pt x="1840" y="428"/>
                    </a:lnTo>
                    <a:lnTo>
                      <a:pt x="1844" y="424"/>
                    </a:lnTo>
                    <a:lnTo>
                      <a:pt x="1844" y="424"/>
                    </a:lnTo>
                    <a:lnTo>
                      <a:pt x="1846" y="424"/>
                    </a:lnTo>
                    <a:lnTo>
                      <a:pt x="1848" y="422"/>
                    </a:lnTo>
                    <a:lnTo>
                      <a:pt x="1850" y="422"/>
                    </a:lnTo>
                    <a:lnTo>
                      <a:pt x="1854" y="420"/>
                    </a:lnTo>
                    <a:lnTo>
                      <a:pt x="1858" y="420"/>
                    </a:lnTo>
                    <a:lnTo>
                      <a:pt x="1860" y="420"/>
                    </a:lnTo>
                    <a:lnTo>
                      <a:pt x="1862" y="420"/>
                    </a:lnTo>
                    <a:lnTo>
                      <a:pt x="1864" y="420"/>
                    </a:lnTo>
                    <a:lnTo>
                      <a:pt x="1864" y="420"/>
                    </a:lnTo>
                    <a:lnTo>
                      <a:pt x="1866" y="420"/>
                    </a:lnTo>
                    <a:lnTo>
                      <a:pt x="1870" y="420"/>
                    </a:lnTo>
                    <a:lnTo>
                      <a:pt x="1872" y="422"/>
                    </a:lnTo>
                    <a:lnTo>
                      <a:pt x="1874" y="422"/>
                    </a:lnTo>
                    <a:lnTo>
                      <a:pt x="1874" y="424"/>
                    </a:lnTo>
                    <a:lnTo>
                      <a:pt x="1876" y="424"/>
                    </a:lnTo>
                    <a:lnTo>
                      <a:pt x="1878" y="426"/>
                    </a:lnTo>
                    <a:lnTo>
                      <a:pt x="1878" y="428"/>
                    </a:lnTo>
                    <a:lnTo>
                      <a:pt x="1880" y="430"/>
                    </a:lnTo>
                    <a:lnTo>
                      <a:pt x="1882" y="432"/>
                    </a:lnTo>
                    <a:lnTo>
                      <a:pt x="1884" y="434"/>
                    </a:lnTo>
                    <a:lnTo>
                      <a:pt x="1886" y="436"/>
                    </a:lnTo>
                    <a:lnTo>
                      <a:pt x="1886" y="438"/>
                    </a:lnTo>
                    <a:lnTo>
                      <a:pt x="1888" y="440"/>
                    </a:lnTo>
                    <a:lnTo>
                      <a:pt x="1890" y="440"/>
                    </a:lnTo>
                    <a:lnTo>
                      <a:pt x="1890" y="442"/>
                    </a:lnTo>
                    <a:lnTo>
                      <a:pt x="1892" y="442"/>
                    </a:lnTo>
                    <a:lnTo>
                      <a:pt x="1892" y="442"/>
                    </a:lnTo>
                    <a:lnTo>
                      <a:pt x="1892" y="442"/>
                    </a:lnTo>
                    <a:lnTo>
                      <a:pt x="1894" y="442"/>
                    </a:lnTo>
                    <a:lnTo>
                      <a:pt x="1894" y="442"/>
                    </a:lnTo>
                    <a:lnTo>
                      <a:pt x="1894" y="440"/>
                    </a:lnTo>
                    <a:lnTo>
                      <a:pt x="1896" y="440"/>
                    </a:lnTo>
                    <a:lnTo>
                      <a:pt x="1896" y="438"/>
                    </a:lnTo>
                    <a:lnTo>
                      <a:pt x="1896" y="436"/>
                    </a:lnTo>
                    <a:lnTo>
                      <a:pt x="1898" y="434"/>
                    </a:lnTo>
                    <a:lnTo>
                      <a:pt x="1898" y="430"/>
                    </a:lnTo>
                    <a:lnTo>
                      <a:pt x="1898" y="426"/>
                    </a:lnTo>
                    <a:lnTo>
                      <a:pt x="1900" y="422"/>
                    </a:lnTo>
                    <a:lnTo>
                      <a:pt x="1900" y="420"/>
                    </a:lnTo>
                    <a:lnTo>
                      <a:pt x="1900" y="418"/>
                    </a:lnTo>
                    <a:lnTo>
                      <a:pt x="1900" y="416"/>
                    </a:lnTo>
                    <a:lnTo>
                      <a:pt x="1902" y="416"/>
                    </a:lnTo>
                    <a:lnTo>
                      <a:pt x="1902" y="414"/>
                    </a:lnTo>
                    <a:lnTo>
                      <a:pt x="1904" y="414"/>
                    </a:lnTo>
                    <a:lnTo>
                      <a:pt x="1906" y="412"/>
                    </a:lnTo>
                    <a:lnTo>
                      <a:pt x="1908" y="410"/>
                    </a:lnTo>
                    <a:lnTo>
                      <a:pt x="1908" y="408"/>
                    </a:lnTo>
                    <a:lnTo>
                      <a:pt x="1910" y="408"/>
                    </a:lnTo>
                    <a:lnTo>
                      <a:pt x="1910" y="408"/>
                    </a:lnTo>
                    <a:lnTo>
                      <a:pt x="1910" y="406"/>
                    </a:lnTo>
                    <a:lnTo>
                      <a:pt x="1910" y="404"/>
                    </a:lnTo>
                    <a:lnTo>
                      <a:pt x="1910" y="400"/>
                    </a:lnTo>
                    <a:lnTo>
                      <a:pt x="1910" y="398"/>
                    </a:lnTo>
                    <a:lnTo>
                      <a:pt x="1910" y="396"/>
                    </a:lnTo>
                    <a:lnTo>
                      <a:pt x="1910" y="396"/>
                    </a:lnTo>
                    <a:lnTo>
                      <a:pt x="1910" y="396"/>
                    </a:lnTo>
                    <a:lnTo>
                      <a:pt x="1912" y="394"/>
                    </a:lnTo>
                    <a:lnTo>
                      <a:pt x="1912" y="394"/>
                    </a:lnTo>
                    <a:lnTo>
                      <a:pt x="1912" y="394"/>
                    </a:lnTo>
                    <a:lnTo>
                      <a:pt x="1914" y="394"/>
                    </a:lnTo>
                    <a:lnTo>
                      <a:pt x="1914" y="394"/>
                    </a:lnTo>
                    <a:lnTo>
                      <a:pt x="1916" y="394"/>
                    </a:lnTo>
                    <a:lnTo>
                      <a:pt x="1918" y="394"/>
                    </a:lnTo>
                    <a:lnTo>
                      <a:pt x="1922" y="394"/>
                    </a:lnTo>
                    <a:lnTo>
                      <a:pt x="1924" y="394"/>
                    </a:lnTo>
                    <a:lnTo>
                      <a:pt x="1928" y="396"/>
                    </a:lnTo>
                    <a:lnTo>
                      <a:pt x="1928" y="396"/>
                    </a:lnTo>
                    <a:lnTo>
                      <a:pt x="1930" y="396"/>
                    </a:lnTo>
                    <a:lnTo>
                      <a:pt x="1930" y="396"/>
                    </a:lnTo>
                    <a:lnTo>
                      <a:pt x="1932" y="396"/>
                    </a:lnTo>
                    <a:lnTo>
                      <a:pt x="1932" y="396"/>
                    </a:lnTo>
                    <a:lnTo>
                      <a:pt x="1934" y="394"/>
                    </a:lnTo>
                    <a:lnTo>
                      <a:pt x="1936" y="392"/>
                    </a:lnTo>
                    <a:lnTo>
                      <a:pt x="1938" y="390"/>
                    </a:lnTo>
                    <a:lnTo>
                      <a:pt x="1942" y="388"/>
                    </a:lnTo>
                    <a:lnTo>
                      <a:pt x="1944" y="386"/>
                    </a:lnTo>
                    <a:lnTo>
                      <a:pt x="1946" y="384"/>
                    </a:lnTo>
                    <a:lnTo>
                      <a:pt x="1948" y="382"/>
                    </a:lnTo>
                    <a:lnTo>
                      <a:pt x="1950" y="382"/>
                    </a:lnTo>
                    <a:lnTo>
                      <a:pt x="1950" y="382"/>
                    </a:lnTo>
                    <a:lnTo>
                      <a:pt x="1954" y="380"/>
                    </a:lnTo>
                    <a:lnTo>
                      <a:pt x="1956" y="380"/>
                    </a:lnTo>
                    <a:lnTo>
                      <a:pt x="1960" y="380"/>
                    </a:lnTo>
                    <a:lnTo>
                      <a:pt x="1960" y="380"/>
                    </a:lnTo>
                    <a:lnTo>
                      <a:pt x="1962" y="380"/>
                    </a:lnTo>
                    <a:lnTo>
                      <a:pt x="1962" y="380"/>
                    </a:lnTo>
                    <a:lnTo>
                      <a:pt x="1964" y="380"/>
                    </a:lnTo>
                    <a:lnTo>
                      <a:pt x="1966" y="380"/>
                    </a:lnTo>
                    <a:lnTo>
                      <a:pt x="1968" y="380"/>
                    </a:lnTo>
                    <a:lnTo>
                      <a:pt x="1970" y="382"/>
                    </a:lnTo>
                    <a:lnTo>
                      <a:pt x="1972" y="384"/>
                    </a:lnTo>
                    <a:lnTo>
                      <a:pt x="1976" y="386"/>
                    </a:lnTo>
                    <a:lnTo>
                      <a:pt x="1978" y="386"/>
                    </a:lnTo>
                    <a:lnTo>
                      <a:pt x="1978" y="388"/>
                    </a:lnTo>
                    <a:lnTo>
                      <a:pt x="1980" y="388"/>
                    </a:lnTo>
                    <a:lnTo>
                      <a:pt x="1982" y="388"/>
                    </a:lnTo>
                    <a:lnTo>
                      <a:pt x="1982" y="388"/>
                    </a:lnTo>
                    <a:lnTo>
                      <a:pt x="1984" y="388"/>
                    </a:lnTo>
                    <a:lnTo>
                      <a:pt x="1984" y="388"/>
                    </a:lnTo>
                    <a:lnTo>
                      <a:pt x="1984" y="388"/>
                    </a:lnTo>
                    <a:lnTo>
                      <a:pt x="1986" y="386"/>
                    </a:lnTo>
                    <a:lnTo>
                      <a:pt x="1986" y="384"/>
                    </a:lnTo>
                    <a:lnTo>
                      <a:pt x="1988" y="382"/>
                    </a:lnTo>
                    <a:lnTo>
                      <a:pt x="1988" y="382"/>
                    </a:lnTo>
                    <a:lnTo>
                      <a:pt x="1988" y="380"/>
                    </a:lnTo>
                    <a:lnTo>
                      <a:pt x="1988" y="378"/>
                    </a:lnTo>
                    <a:lnTo>
                      <a:pt x="1988" y="376"/>
                    </a:lnTo>
                    <a:lnTo>
                      <a:pt x="1988" y="376"/>
                    </a:lnTo>
                    <a:lnTo>
                      <a:pt x="1988" y="374"/>
                    </a:lnTo>
                    <a:lnTo>
                      <a:pt x="1986" y="372"/>
                    </a:lnTo>
                    <a:lnTo>
                      <a:pt x="1986" y="370"/>
                    </a:lnTo>
                    <a:lnTo>
                      <a:pt x="1984" y="368"/>
                    </a:lnTo>
                    <a:lnTo>
                      <a:pt x="1984" y="368"/>
                    </a:lnTo>
                    <a:lnTo>
                      <a:pt x="1980" y="364"/>
                    </a:lnTo>
                    <a:lnTo>
                      <a:pt x="1978" y="360"/>
                    </a:lnTo>
                    <a:lnTo>
                      <a:pt x="1974" y="358"/>
                    </a:lnTo>
                    <a:lnTo>
                      <a:pt x="1970" y="352"/>
                    </a:lnTo>
                    <a:lnTo>
                      <a:pt x="1968" y="352"/>
                    </a:lnTo>
                    <a:lnTo>
                      <a:pt x="1966" y="350"/>
                    </a:lnTo>
                    <a:lnTo>
                      <a:pt x="1964" y="350"/>
                    </a:lnTo>
                    <a:lnTo>
                      <a:pt x="1962" y="348"/>
                    </a:lnTo>
                    <a:lnTo>
                      <a:pt x="1954" y="344"/>
                    </a:lnTo>
                    <a:lnTo>
                      <a:pt x="1950" y="342"/>
                    </a:lnTo>
                    <a:lnTo>
                      <a:pt x="1948" y="342"/>
                    </a:lnTo>
                    <a:lnTo>
                      <a:pt x="1946" y="340"/>
                    </a:lnTo>
                    <a:lnTo>
                      <a:pt x="1946" y="340"/>
                    </a:lnTo>
                    <a:lnTo>
                      <a:pt x="1944" y="338"/>
                    </a:lnTo>
                    <a:lnTo>
                      <a:pt x="1944" y="338"/>
                    </a:lnTo>
                    <a:lnTo>
                      <a:pt x="1944" y="336"/>
                    </a:lnTo>
                    <a:lnTo>
                      <a:pt x="1944" y="336"/>
                    </a:lnTo>
                    <a:lnTo>
                      <a:pt x="1944" y="336"/>
                    </a:lnTo>
                    <a:lnTo>
                      <a:pt x="1944" y="334"/>
                    </a:lnTo>
                    <a:lnTo>
                      <a:pt x="1944" y="334"/>
                    </a:lnTo>
                    <a:lnTo>
                      <a:pt x="1944" y="334"/>
                    </a:lnTo>
                    <a:lnTo>
                      <a:pt x="1944" y="332"/>
                    </a:lnTo>
                    <a:lnTo>
                      <a:pt x="1946" y="332"/>
                    </a:lnTo>
                    <a:lnTo>
                      <a:pt x="1946" y="330"/>
                    </a:lnTo>
                    <a:lnTo>
                      <a:pt x="1950" y="328"/>
                    </a:lnTo>
                    <a:lnTo>
                      <a:pt x="1954" y="326"/>
                    </a:lnTo>
                    <a:lnTo>
                      <a:pt x="1956" y="324"/>
                    </a:lnTo>
                    <a:lnTo>
                      <a:pt x="1958" y="324"/>
                    </a:lnTo>
                    <a:lnTo>
                      <a:pt x="1962" y="322"/>
                    </a:lnTo>
                    <a:lnTo>
                      <a:pt x="1966" y="320"/>
                    </a:lnTo>
                    <a:lnTo>
                      <a:pt x="1968" y="318"/>
                    </a:lnTo>
                    <a:lnTo>
                      <a:pt x="1968" y="318"/>
                    </a:lnTo>
                    <a:lnTo>
                      <a:pt x="1968" y="318"/>
                    </a:lnTo>
                    <a:lnTo>
                      <a:pt x="1970" y="316"/>
                    </a:lnTo>
                    <a:lnTo>
                      <a:pt x="1970" y="316"/>
                    </a:lnTo>
                    <a:lnTo>
                      <a:pt x="1970" y="314"/>
                    </a:lnTo>
                    <a:lnTo>
                      <a:pt x="1970" y="314"/>
                    </a:lnTo>
                    <a:lnTo>
                      <a:pt x="1970" y="314"/>
                    </a:lnTo>
                    <a:lnTo>
                      <a:pt x="1970" y="312"/>
                    </a:lnTo>
                    <a:lnTo>
                      <a:pt x="1970" y="312"/>
                    </a:lnTo>
                    <a:lnTo>
                      <a:pt x="1968" y="310"/>
                    </a:lnTo>
                    <a:lnTo>
                      <a:pt x="1966" y="308"/>
                    </a:lnTo>
                    <a:lnTo>
                      <a:pt x="1964" y="306"/>
                    </a:lnTo>
                    <a:lnTo>
                      <a:pt x="1964" y="304"/>
                    </a:lnTo>
                    <a:lnTo>
                      <a:pt x="1964" y="304"/>
                    </a:lnTo>
                    <a:lnTo>
                      <a:pt x="1964" y="300"/>
                    </a:lnTo>
                    <a:lnTo>
                      <a:pt x="1964" y="298"/>
                    </a:lnTo>
                    <a:lnTo>
                      <a:pt x="1962" y="296"/>
                    </a:lnTo>
                    <a:lnTo>
                      <a:pt x="1962" y="294"/>
                    </a:lnTo>
                    <a:lnTo>
                      <a:pt x="1964" y="292"/>
                    </a:lnTo>
                    <a:lnTo>
                      <a:pt x="1964" y="290"/>
                    </a:lnTo>
                    <a:lnTo>
                      <a:pt x="1964" y="290"/>
                    </a:lnTo>
                    <a:lnTo>
                      <a:pt x="1964" y="288"/>
                    </a:lnTo>
                    <a:lnTo>
                      <a:pt x="1964" y="288"/>
                    </a:lnTo>
                    <a:lnTo>
                      <a:pt x="1966" y="288"/>
                    </a:lnTo>
                    <a:lnTo>
                      <a:pt x="1968" y="286"/>
                    </a:lnTo>
                    <a:lnTo>
                      <a:pt x="1970" y="284"/>
                    </a:lnTo>
                    <a:lnTo>
                      <a:pt x="1972" y="284"/>
                    </a:lnTo>
                    <a:lnTo>
                      <a:pt x="1974" y="284"/>
                    </a:lnTo>
                    <a:lnTo>
                      <a:pt x="1978" y="282"/>
                    </a:lnTo>
                    <a:lnTo>
                      <a:pt x="1978" y="282"/>
                    </a:lnTo>
                    <a:lnTo>
                      <a:pt x="1978" y="282"/>
                    </a:lnTo>
                    <a:lnTo>
                      <a:pt x="1980" y="284"/>
                    </a:lnTo>
                    <a:lnTo>
                      <a:pt x="1980" y="284"/>
                    </a:lnTo>
                    <a:lnTo>
                      <a:pt x="1982" y="284"/>
                    </a:lnTo>
                    <a:lnTo>
                      <a:pt x="1982" y="284"/>
                    </a:lnTo>
                    <a:lnTo>
                      <a:pt x="1982" y="286"/>
                    </a:lnTo>
                    <a:lnTo>
                      <a:pt x="1984" y="286"/>
                    </a:lnTo>
                    <a:lnTo>
                      <a:pt x="1984" y="288"/>
                    </a:lnTo>
                    <a:lnTo>
                      <a:pt x="1984" y="292"/>
                    </a:lnTo>
                    <a:lnTo>
                      <a:pt x="1986" y="296"/>
                    </a:lnTo>
                    <a:lnTo>
                      <a:pt x="1986" y="300"/>
                    </a:lnTo>
                    <a:lnTo>
                      <a:pt x="1988" y="300"/>
                    </a:lnTo>
                    <a:lnTo>
                      <a:pt x="1988" y="302"/>
                    </a:lnTo>
                    <a:lnTo>
                      <a:pt x="1988" y="304"/>
                    </a:lnTo>
                    <a:lnTo>
                      <a:pt x="1990" y="308"/>
                    </a:lnTo>
                    <a:lnTo>
                      <a:pt x="1990" y="310"/>
                    </a:lnTo>
                    <a:lnTo>
                      <a:pt x="1990" y="312"/>
                    </a:lnTo>
                    <a:lnTo>
                      <a:pt x="1992" y="314"/>
                    </a:lnTo>
                    <a:lnTo>
                      <a:pt x="1992" y="314"/>
                    </a:lnTo>
                    <a:lnTo>
                      <a:pt x="1992" y="314"/>
                    </a:lnTo>
                    <a:lnTo>
                      <a:pt x="1994" y="316"/>
                    </a:lnTo>
                    <a:lnTo>
                      <a:pt x="1994" y="316"/>
                    </a:lnTo>
                    <a:lnTo>
                      <a:pt x="1996" y="316"/>
                    </a:lnTo>
                    <a:lnTo>
                      <a:pt x="1998" y="316"/>
                    </a:lnTo>
                    <a:lnTo>
                      <a:pt x="2000" y="316"/>
                    </a:lnTo>
                    <a:lnTo>
                      <a:pt x="2002" y="316"/>
                    </a:lnTo>
                    <a:lnTo>
                      <a:pt x="2006" y="316"/>
                    </a:lnTo>
                    <a:lnTo>
                      <a:pt x="2010" y="316"/>
                    </a:lnTo>
                    <a:lnTo>
                      <a:pt x="2014" y="316"/>
                    </a:lnTo>
                    <a:lnTo>
                      <a:pt x="2016" y="316"/>
                    </a:lnTo>
                    <a:lnTo>
                      <a:pt x="2018" y="316"/>
                    </a:lnTo>
                    <a:lnTo>
                      <a:pt x="2018" y="316"/>
                    </a:lnTo>
                    <a:lnTo>
                      <a:pt x="2020" y="316"/>
                    </a:lnTo>
                    <a:lnTo>
                      <a:pt x="2020" y="316"/>
                    </a:lnTo>
                    <a:lnTo>
                      <a:pt x="2022" y="318"/>
                    </a:lnTo>
                    <a:lnTo>
                      <a:pt x="2022" y="318"/>
                    </a:lnTo>
                    <a:lnTo>
                      <a:pt x="2024" y="320"/>
                    </a:lnTo>
                    <a:lnTo>
                      <a:pt x="2026" y="322"/>
                    </a:lnTo>
                    <a:lnTo>
                      <a:pt x="2026" y="324"/>
                    </a:lnTo>
                    <a:lnTo>
                      <a:pt x="2028" y="326"/>
                    </a:lnTo>
                    <a:lnTo>
                      <a:pt x="2030" y="326"/>
                    </a:lnTo>
                    <a:lnTo>
                      <a:pt x="2030" y="328"/>
                    </a:lnTo>
                    <a:lnTo>
                      <a:pt x="2032" y="328"/>
                    </a:lnTo>
                    <a:lnTo>
                      <a:pt x="2032" y="328"/>
                    </a:lnTo>
                    <a:lnTo>
                      <a:pt x="2034" y="328"/>
                    </a:lnTo>
                    <a:lnTo>
                      <a:pt x="2036" y="328"/>
                    </a:lnTo>
                    <a:lnTo>
                      <a:pt x="2038" y="328"/>
                    </a:lnTo>
                    <a:lnTo>
                      <a:pt x="2040" y="328"/>
                    </a:lnTo>
                    <a:lnTo>
                      <a:pt x="2044" y="328"/>
                    </a:lnTo>
                    <a:lnTo>
                      <a:pt x="2046" y="328"/>
                    </a:lnTo>
                    <a:lnTo>
                      <a:pt x="2048" y="328"/>
                    </a:lnTo>
                    <a:lnTo>
                      <a:pt x="2048" y="328"/>
                    </a:lnTo>
                    <a:lnTo>
                      <a:pt x="2050" y="328"/>
                    </a:lnTo>
                    <a:lnTo>
                      <a:pt x="2050" y="328"/>
                    </a:lnTo>
                    <a:lnTo>
                      <a:pt x="2050" y="330"/>
                    </a:lnTo>
                    <a:lnTo>
                      <a:pt x="2052" y="330"/>
                    </a:lnTo>
                    <a:lnTo>
                      <a:pt x="2052" y="332"/>
                    </a:lnTo>
                    <a:lnTo>
                      <a:pt x="2054" y="334"/>
                    </a:lnTo>
                    <a:lnTo>
                      <a:pt x="2056" y="336"/>
                    </a:lnTo>
                    <a:lnTo>
                      <a:pt x="2056" y="338"/>
                    </a:lnTo>
                    <a:lnTo>
                      <a:pt x="2058" y="340"/>
                    </a:lnTo>
                    <a:lnTo>
                      <a:pt x="2058" y="342"/>
                    </a:lnTo>
                    <a:lnTo>
                      <a:pt x="2060" y="344"/>
                    </a:lnTo>
                    <a:lnTo>
                      <a:pt x="2060" y="344"/>
                    </a:lnTo>
                    <a:lnTo>
                      <a:pt x="2062" y="346"/>
                    </a:lnTo>
                    <a:lnTo>
                      <a:pt x="2064" y="346"/>
                    </a:lnTo>
                    <a:lnTo>
                      <a:pt x="2064" y="346"/>
                    </a:lnTo>
                    <a:lnTo>
                      <a:pt x="2066" y="346"/>
                    </a:lnTo>
                    <a:lnTo>
                      <a:pt x="2068" y="348"/>
                    </a:lnTo>
                    <a:lnTo>
                      <a:pt x="2070" y="348"/>
                    </a:lnTo>
                    <a:lnTo>
                      <a:pt x="2070" y="348"/>
                    </a:lnTo>
                    <a:lnTo>
                      <a:pt x="2072" y="348"/>
                    </a:lnTo>
                    <a:lnTo>
                      <a:pt x="2072" y="346"/>
                    </a:lnTo>
                    <a:lnTo>
                      <a:pt x="2074" y="346"/>
                    </a:lnTo>
                    <a:lnTo>
                      <a:pt x="2076" y="344"/>
                    </a:lnTo>
                    <a:lnTo>
                      <a:pt x="2078" y="342"/>
                    </a:lnTo>
                    <a:lnTo>
                      <a:pt x="2080" y="340"/>
                    </a:lnTo>
                    <a:lnTo>
                      <a:pt x="2082" y="338"/>
                    </a:lnTo>
                    <a:lnTo>
                      <a:pt x="2082" y="338"/>
                    </a:lnTo>
                    <a:lnTo>
                      <a:pt x="2082" y="336"/>
                    </a:lnTo>
                    <a:lnTo>
                      <a:pt x="2082" y="336"/>
                    </a:lnTo>
                    <a:lnTo>
                      <a:pt x="2082" y="336"/>
                    </a:lnTo>
                    <a:lnTo>
                      <a:pt x="2082" y="334"/>
                    </a:lnTo>
                    <a:lnTo>
                      <a:pt x="2082" y="334"/>
                    </a:lnTo>
                    <a:lnTo>
                      <a:pt x="2082" y="332"/>
                    </a:lnTo>
                    <a:lnTo>
                      <a:pt x="2080" y="332"/>
                    </a:lnTo>
                    <a:lnTo>
                      <a:pt x="2080" y="330"/>
                    </a:lnTo>
                    <a:lnTo>
                      <a:pt x="2076" y="328"/>
                    </a:lnTo>
                    <a:lnTo>
                      <a:pt x="2074" y="326"/>
                    </a:lnTo>
                    <a:lnTo>
                      <a:pt x="2072" y="324"/>
                    </a:lnTo>
                    <a:lnTo>
                      <a:pt x="2072" y="322"/>
                    </a:lnTo>
                    <a:lnTo>
                      <a:pt x="2072" y="322"/>
                    </a:lnTo>
                    <a:lnTo>
                      <a:pt x="2070" y="320"/>
                    </a:lnTo>
                    <a:lnTo>
                      <a:pt x="2070" y="320"/>
                    </a:lnTo>
                    <a:lnTo>
                      <a:pt x="2070" y="318"/>
                    </a:lnTo>
                    <a:lnTo>
                      <a:pt x="2070" y="318"/>
                    </a:lnTo>
                    <a:lnTo>
                      <a:pt x="2070" y="316"/>
                    </a:lnTo>
                    <a:lnTo>
                      <a:pt x="2070" y="314"/>
                    </a:lnTo>
                    <a:lnTo>
                      <a:pt x="2072" y="312"/>
                    </a:lnTo>
                    <a:lnTo>
                      <a:pt x="2072" y="310"/>
                    </a:lnTo>
                    <a:lnTo>
                      <a:pt x="2074" y="310"/>
                    </a:lnTo>
                    <a:lnTo>
                      <a:pt x="2074" y="308"/>
                    </a:lnTo>
                    <a:lnTo>
                      <a:pt x="2074" y="308"/>
                    </a:lnTo>
                    <a:lnTo>
                      <a:pt x="2074" y="308"/>
                    </a:lnTo>
                    <a:lnTo>
                      <a:pt x="2076" y="308"/>
                    </a:lnTo>
                    <a:lnTo>
                      <a:pt x="2078" y="308"/>
                    </a:lnTo>
                    <a:lnTo>
                      <a:pt x="2080" y="308"/>
                    </a:lnTo>
                    <a:lnTo>
                      <a:pt x="2082" y="308"/>
                    </a:lnTo>
                    <a:lnTo>
                      <a:pt x="2084" y="308"/>
                    </a:lnTo>
                    <a:lnTo>
                      <a:pt x="2086" y="308"/>
                    </a:lnTo>
                    <a:lnTo>
                      <a:pt x="2088" y="308"/>
                    </a:lnTo>
                    <a:lnTo>
                      <a:pt x="2090" y="306"/>
                    </a:lnTo>
                    <a:lnTo>
                      <a:pt x="2092" y="306"/>
                    </a:lnTo>
                    <a:lnTo>
                      <a:pt x="2094" y="306"/>
                    </a:lnTo>
                    <a:lnTo>
                      <a:pt x="2094" y="304"/>
                    </a:lnTo>
                    <a:lnTo>
                      <a:pt x="2096" y="304"/>
                    </a:lnTo>
                    <a:lnTo>
                      <a:pt x="2096" y="302"/>
                    </a:lnTo>
                    <a:lnTo>
                      <a:pt x="2098" y="300"/>
                    </a:lnTo>
                    <a:lnTo>
                      <a:pt x="2098" y="296"/>
                    </a:lnTo>
                    <a:lnTo>
                      <a:pt x="2100" y="294"/>
                    </a:lnTo>
                    <a:lnTo>
                      <a:pt x="2100" y="292"/>
                    </a:lnTo>
                    <a:lnTo>
                      <a:pt x="2100" y="290"/>
                    </a:lnTo>
                    <a:lnTo>
                      <a:pt x="2100" y="288"/>
                    </a:lnTo>
                    <a:lnTo>
                      <a:pt x="2100" y="288"/>
                    </a:lnTo>
                    <a:lnTo>
                      <a:pt x="2100" y="286"/>
                    </a:lnTo>
                    <a:lnTo>
                      <a:pt x="2100" y="286"/>
                    </a:lnTo>
                    <a:lnTo>
                      <a:pt x="2100" y="284"/>
                    </a:lnTo>
                    <a:lnTo>
                      <a:pt x="2098" y="284"/>
                    </a:lnTo>
                    <a:lnTo>
                      <a:pt x="2098" y="284"/>
                    </a:lnTo>
                    <a:lnTo>
                      <a:pt x="2096" y="284"/>
                    </a:lnTo>
                    <a:lnTo>
                      <a:pt x="2096" y="282"/>
                    </a:lnTo>
                    <a:lnTo>
                      <a:pt x="2094" y="282"/>
                    </a:lnTo>
                    <a:lnTo>
                      <a:pt x="2092" y="282"/>
                    </a:lnTo>
                    <a:lnTo>
                      <a:pt x="2090" y="282"/>
                    </a:lnTo>
                    <a:lnTo>
                      <a:pt x="2086" y="284"/>
                    </a:lnTo>
                    <a:lnTo>
                      <a:pt x="2082" y="284"/>
                    </a:lnTo>
                    <a:lnTo>
                      <a:pt x="2078" y="284"/>
                    </a:lnTo>
                    <a:lnTo>
                      <a:pt x="2076" y="284"/>
                    </a:lnTo>
                    <a:lnTo>
                      <a:pt x="2074" y="284"/>
                    </a:lnTo>
                    <a:lnTo>
                      <a:pt x="2072" y="284"/>
                    </a:lnTo>
                    <a:lnTo>
                      <a:pt x="2072" y="284"/>
                    </a:lnTo>
                    <a:lnTo>
                      <a:pt x="2070" y="284"/>
                    </a:lnTo>
                    <a:lnTo>
                      <a:pt x="2070" y="284"/>
                    </a:lnTo>
                    <a:lnTo>
                      <a:pt x="2068" y="282"/>
                    </a:lnTo>
                    <a:lnTo>
                      <a:pt x="2066" y="282"/>
                    </a:lnTo>
                    <a:lnTo>
                      <a:pt x="2064" y="280"/>
                    </a:lnTo>
                    <a:lnTo>
                      <a:pt x="2062" y="278"/>
                    </a:lnTo>
                    <a:lnTo>
                      <a:pt x="2058" y="276"/>
                    </a:lnTo>
                    <a:lnTo>
                      <a:pt x="2056" y="276"/>
                    </a:lnTo>
                    <a:lnTo>
                      <a:pt x="2056" y="274"/>
                    </a:lnTo>
                    <a:lnTo>
                      <a:pt x="2056" y="274"/>
                    </a:lnTo>
                    <a:lnTo>
                      <a:pt x="2052" y="274"/>
                    </a:lnTo>
                    <a:lnTo>
                      <a:pt x="2050" y="274"/>
                    </a:lnTo>
                    <a:lnTo>
                      <a:pt x="2046" y="274"/>
                    </a:lnTo>
                    <a:lnTo>
                      <a:pt x="2044" y="274"/>
                    </a:lnTo>
                    <a:lnTo>
                      <a:pt x="2040" y="274"/>
                    </a:lnTo>
                    <a:lnTo>
                      <a:pt x="2038" y="276"/>
                    </a:lnTo>
                    <a:lnTo>
                      <a:pt x="2034" y="276"/>
                    </a:lnTo>
                    <a:lnTo>
                      <a:pt x="2034" y="276"/>
                    </a:lnTo>
                    <a:lnTo>
                      <a:pt x="2032" y="278"/>
                    </a:lnTo>
                    <a:lnTo>
                      <a:pt x="2032" y="278"/>
                    </a:lnTo>
                    <a:lnTo>
                      <a:pt x="2032" y="278"/>
                    </a:lnTo>
                    <a:lnTo>
                      <a:pt x="2030" y="280"/>
                    </a:lnTo>
                    <a:lnTo>
                      <a:pt x="2030" y="280"/>
                    </a:lnTo>
                    <a:lnTo>
                      <a:pt x="2030" y="282"/>
                    </a:lnTo>
                    <a:lnTo>
                      <a:pt x="2028" y="284"/>
                    </a:lnTo>
                    <a:lnTo>
                      <a:pt x="2028" y="286"/>
                    </a:lnTo>
                    <a:lnTo>
                      <a:pt x="2028" y="286"/>
                    </a:lnTo>
                    <a:lnTo>
                      <a:pt x="2028" y="286"/>
                    </a:lnTo>
                    <a:lnTo>
                      <a:pt x="2026" y="288"/>
                    </a:lnTo>
                    <a:lnTo>
                      <a:pt x="2026" y="288"/>
                    </a:lnTo>
                    <a:lnTo>
                      <a:pt x="2026" y="286"/>
                    </a:lnTo>
                    <a:lnTo>
                      <a:pt x="2024" y="286"/>
                    </a:lnTo>
                    <a:lnTo>
                      <a:pt x="2024" y="286"/>
                    </a:lnTo>
                    <a:lnTo>
                      <a:pt x="2024" y="286"/>
                    </a:lnTo>
                    <a:lnTo>
                      <a:pt x="2022" y="284"/>
                    </a:lnTo>
                    <a:lnTo>
                      <a:pt x="2022" y="282"/>
                    </a:lnTo>
                    <a:lnTo>
                      <a:pt x="2020" y="280"/>
                    </a:lnTo>
                    <a:lnTo>
                      <a:pt x="2018" y="274"/>
                    </a:lnTo>
                    <a:lnTo>
                      <a:pt x="2018" y="272"/>
                    </a:lnTo>
                    <a:lnTo>
                      <a:pt x="2018" y="270"/>
                    </a:lnTo>
                    <a:lnTo>
                      <a:pt x="2014" y="266"/>
                    </a:lnTo>
                    <a:lnTo>
                      <a:pt x="2012" y="264"/>
                    </a:lnTo>
                    <a:lnTo>
                      <a:pt x="2012" y="262"/>
                    </a:lnTo>
                    <a:lnTo>
                      <a:pt x="2012" y="262"/>
                    </a:lnTo>
                    <a:lnTo>
                      <a:pt x="2010" y="262"/>
                    </a:lnTo>
                    <a:lnTo>
                      <a:pt x="2008" y="262"/>
                    </a:lnTo>
                    <a:lnTo>
                      <a:pt x="2008" y="260"/>
                    </a:lnTo>
                    <a:lnTo>
                      <a:pt x="2006" y="260"/>
                    </a:lnTo>
                    <a:lnTo>
                      <a:pt x="2004" y="260"/>
                    </a:lnTo>
                    <a:lnTo>
                      <a:pt x="2000" y="260"/>
                    </a:lnTo>
                    <a:lnTo>
                      <a:pt x="1996" y="260"/>
                    </a:lnTo>
                    <a:lnTo>
                      <a:pt x="1994" y="258"/>
                    </a:lnTo>
                    <a:lnTo>
                      <a:pt x="1992" y="258"/>
                    </a:lnTo>
                    <a:lnTo>
                      <a:pt x="1992" y="258"/>
                    </a:lnTo>
                    <a:lnTo>
                      <a:pt x="1990" y="258"/>
                    </a:lnTo>
                    <a:lnTo>
                      <a:pt x="1990" y="256"/>
                    </a:lnTo>
                    <a:lnTo>
                      <a:pt x="1990" y="256"/>
                    </a:lnTo>
                    <a:lnTo>
                      <a:pt x="1990" y="256"/>
                    </a:lnTo>
                    <a:lnTo>
                      <a:pt x="1988" y="254"/>
                    </a:lnTo>
                    <a:lnTo>
                      <a:pt x="1988" y="252"/>
                    </a:lnTo>
                    <a:lnTo>
                      <a:pt x="1988" y="250"/>
                    </a:lnTo>
                    <a:lnTo>
                      <a:pt x="1988" y="248"/>
                    </a:lnTo>
                    <a:lnTo>
                      <a:pt x="1988" y="246"/>
                    </a:lnTo>
                    <a:lnTo>
                      <a:pt x="1988" y="246"/>
                    </a:lnTo>
                    <a:lnTo>
                      <a:pt x="1988" y="246"/>
                    </a:lnTo>
                    <a:lnTo>
                      <a:pt x="1988" y="244"/>
                    </a:lnTo>
                    <a:lnTo>
                      <a:pt x="1988" y="244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2"/>
                    </a:lnTo>
                    <a:lnTo>
                      <a:pt x="1982" y="242"/>
                    </a:lnTo>
                    <a:lnTo>
                      <a:pt x="1980" y="242"/>
                    </a:lnTo>
                    <a:lnTo>
                      <a:pt x="1978" y="244"/>
                    </a:lnTo>
                    <a:lnTo>
                      <a:pt x="1972" y="244"/>
                    </a:lnTo>
                    <a:lnTo>
                      <a:pt x="1968" y="244"/>
                    </a:lnTo>
                    <a:lnTo>
                      <a:pt x="1964" y="244"/>
                    </a:lnTo>
                    <a:lnTo>
                      <a:pt x="1962" y="246"/>
                    </a:lnTo>
                    <a:lnTo>
                      <a:pt x="1962" y="244"/>
                    </a:lnTo>
                    <a:lnTo>
                      <a:pt x="1960" y="244"/>
                    </a:lnTo>
                    <a:lnTo>
                      <a:pt x="1958" y="244"/>
                    </a:lnTo>
                    <a:lnTo>
                      <a:pt x="1958" y="244"/>
                    </a:lnTo>
                    <a:lnTo>
                      <a:pt x="1956" y="244"/>
                    </a:lnTo>
                    <a:lnTo>
                      <a:pt x="1954" y="242"/>
                    </a:lnTo>
                    <a:lnTo>
                      <a:pt x="1954" y="240"/>
                    </a:lnTo>
                    <a:lnTo>
                      <a:pt x="1952" y="238"/>
                    </a:lnTo>
                    <a:lnTo>
                      <a:pt x="1948" y="232"/>
                    </a:lnTo>
                    <a:lnTo>
                      <a:pt x="1946" y="230"/>
                    </a:lnTo>
                    <a:lnTo>
                      <a:pt x="1946" y="230"/>
                    </a:lnTo>
                    <a:lnTo>
                      <a:pt x="1946" y="230"/>
                    </a:lnTo>
                    <a:lnTo>
                      <a:pt x="1944" y="228"/>
                    </a:lnTo>
                    <a:lnTo>
                      <a:pt x="1942" y="226"/>
                    </a:lnTo>
                    <a:lnTo>
                      <a:pt x="1938" y="226"/>
                    </a:lnTo>
                    <a:lnTo>
                      <a:pt x="1936" y="224"/>
                    </a:lnTo>
                    <a:lnTo>
                      <a:pt x="1930" y="220"/>
                    </a:lnTo>
                    <a:lnTo>
                      <a:pt x="1928" y="220"/>
                    </a:lnTo>
                    <a:lnTo>
                      <a:pt x="1926" y="220"/>
                    </a:lnTo>
                    <a:lnTo>
                      <a:pt x="1924" y="218"/>
                    </a:lnTo>
                    <a:lnTo>
                      <a:pt x="1922" y="218"/>
                    </a:lnTo>
                    <a:lnTo>
                      <a:pt x="1916" y="218"/>
                    </a:lnTo>
                    <a:lnTo>
                      <a:pt x="1912" y="218"/>
                    </a:lnTo>
                    <a:lnTo>
                      <a:pt x="1910" y="216"/>
                    </a:lnTo>
                    <a:lnTo>
                      <a:pt x="1908" y="216"/>
                    </a:lnTo>
                    <a:lnTo>
                      <a:pt x="1904" y="216"/>
                    </a:lnTo>
                    <a:lnTo>
                      <a:pt x="1898" y="214"/>
                    </a:lnTo>
                    <a:lnTo>
                      <a:pt x="1892" y="212"/>
                    </a:lnTo>
                    <a:lnTo>
                      <a:pt x="1890" y="210"/>
                    </a:lnTo>
                    <a:lnTo>
                      <a:pt x="1888" y="210"/>
                    </a:lnTo>
                    <a:lnTo>
                      <a:pt x="1886" y="208"/>
                    </a:lnTo>
                    <a:lnTo>
                      <a:pt x="1886" y="208"/>
                    </a:lnTo>
                    <a:lnTo>
                      <a:pt x="1884" y="206"/>
                    </a:lnTo>
                    <a:lnTo>
                      <a:pt x="1880" y="204"/>
                    </a:lnTo>
                    <a:lnTo>
                      <a:pt x="1880" y="204"/>
                    </a:lnTo>
                    <a:lnTo>
                      <a:pt x="1878" y="202"/>
                    </a:lnTo>
                    <a:lnTo>
                      <a:pt x="1876" y="202"/>
                    </a:lnTo>
                    <a:lnTo>
                      <a:pt x="1874" y="200"/>
                    </a:lnTo>
                    <a:lnTo>
                      <a:pt x="1868" y="200"/>
                    </a:lnTo>
                    <a:lnTo>
                      <a:pt x="1864" y="198"/>
                    </a:lnTo>
                    <a:lnTo>
                      <a:pt x="1860" y="196"/>
                    </a:lnTo>
                    <a:lnTo>
                      <a:pt x="1858" y="196"/>
                    </a:lnTo>
                    <a:lnTo>
                      <a:pt x="1856" y="196"/>
                    </a:lnTo>
                    <a:lnTo>
                      <a:pt x="1852" y="196"/>
                    </a:lnTo>
                    <a:lnTo>
                      <a:pt x="1846" y="196"/>
                    </a:lnTo>
                    <a:lnTo>
                      <a:pt x="1838" y="196"/>
                    </a:lnTo>
                    <a:lnTo>
                      <a:pt x="1834" y="196"/>
                    </a:lnTo>
                    <a:lnTo>
                      <a:pt x="1832" y="196"/>
                    </a:lnTo>
                    <a:lnTo>
                      <a:pt x="1830" y="196"/>
                    </a:lnTo>
                    <a:lnTo>
                      <a:pt x="1828" y="196"/>
                    </a:lnTo>
                    <a:lnTo>
                      <a:pt x="1824" y="194"/>
                    </a:lnTo>
                    <a:lnTo>
                      <a:pt x="1820" y="194"/>
                    </a:lnTo>
                    <a:lnTo>
                      <a:pt x="1816" y="192"/>
                    </a:lnTo>
                    <a:lnTo>
                      <a:pt x="1810" y="192"/>
                    </a:lnTo>
                    <a:lnTo>
                      <a:pt x="1808" y="192"/>
                    </a:lnTo>
                    <a:lnTo>
                      <a:pt x="1806" y="192"/>
                    </a:lnTo>
                    <a:lnTo>
                      <a:pt x="1804" y="192"/>
                    </a:lnTo>
                    <a:lnTo>
                      <a:pt x="1802" y="192"/>
                    </a:lnTo>
                    <a:lnTo>
                      <a:pt x="1800" y="192"/>
                    </a:lnTo>
                    <a:lnTo>
                      <a:pt x="1800" y="192"/>
                    </a:lnTo>
                    <a:lnTo>
                      <a:pt x="1800" y="192"/>
                    </a:lnTo>
                    <a:lnTo>
                      <a:pt x="1798" y="194"/>
                    </a:lnTo>
                    <a:lnTo>
                      <a:pt x="1798" y="194"/>
                    </a:lnTo>
                    <a:lnTo>
                      <a:pt x="1798" y="196"/>
                    </a:lnTo>
                    <a:lnTo>
                      <a:pt x="1798" y="196"/>
                    </a:lnTo>
                    <a:lnTo>
                      <a:pt x="1798" y="200"/>
                    </a:lnTo>
                    <a:lnTo>
                      <a:pt x="1798" y="202"/>
                    </a:lnTo>
                    <a:lnTo>
                      <a:pt x="1798" y="206"/>
                    </a:lnTo>
                    <a:lnTo>
                      <a:pt x="1798" y="208"/>
                    </a:lnTo>
                    <a:lnTo>
                      <a:pt x="1798" y="210"/>
                    </a:lnTo>
                    <a:lnTo>
                      <a:pt x="1796" y="212"/>
                    </a:lnTo>
                    <a:lnTo>
                      <a:pt x="1796" y="212"/>
                    </a:lnTo>
                    <a:lnTo>
                      <a:pt x="1796" y="212"/>
                    </a:lnTo>
                    <a:lnTo>
                      <a:pt x="1796" y="214"/>
                    </a:lnTo>
                    <a:lnTo>
                      <a:pt x="1794" y="214"/>
                    </a:lnTo>
                    <a:lnTo>
                      <a:pt x="1792" y="214"/>
                    </a:lnTo>
                    <a:lnTo>
                      <a:pt x="1790" y="216"/>
                    </a:lnTo>
                    <a:lnTo>
                      <a:pt x="1788" y="216"/>
                    </a:lnTo>
                    <a:lnTo>
                      <a:pt x="1786" y="216"/>
                    </a:lnTo>
                    <a:lnTo>
                      <a:pt x="1784" y="216"/>
                    </a:lnTo>
                    <a:lnTo>
                      <a:pt x="1782" y="216"/>
                    </a:lnTo>
                    <a:lnTo>
                      <a:pt x="1780" y="216"/>
                    </a:lnTo>
                    <a:lnTo>
                      <a:pt x="1780" y="216"/>
                    </a:lnTo>
                    <a:lnTo>
                      <a:pt x="1780" y="214"/>
                    </a:lnTo>
                    <a:lnTo>
                      <a:pt x="1778" y="214"/>
                    </a:lnTo>
                    <a:lnTo>
                      <a:pt x="1778" y="212"/>
                    </a:lnTo>
                    <a:lnTo>
                      <a:pt x="1776" y="210"/>
                    </a:lnTo>
                    <a:lnTo>
                      <a:pt x="1776" y="208"/>
                    </a:lnTo>
                    <a:lnTo>
                      <a:pt x="1774" y="208"/>
                    </a:lnTo>
                    <a:lnTo>
                      <a:pt x="1772" y="206"/>
                    </a:lnTo>
                    <a:lnTo>
                      <a:pt x="1772" y="206"/>
                    </a:lnTo>
                    <a:lnTo>
                      <a:pt x="1772" y="206"/>
                    </a:lnTo>
                    <a:lnTo>
                      <a:pt x="1772" y="206"/>
                    </a:lnTo>
                    <a:lnTo>
                      <a:pt x="1770" y="206"/>
                    </a:lnTo>
                    <a:lnTo>
                      <a:pt x="1770" y="206"/>
                    </a:lnTo>
                    <a:lnTo>
                      <a:pt x="1768" y="206"/>
                    </a:lnTo>
                    <a:lnTo>
                      <a:pt x="1766" y="206"/>
                    </a:lnTo>
                    <a:lnTo>
                      <a:pt x="1764" y="206"/>
                    </a:lnTo>
                    <a:lnTo>
                      <a:pt x="1760" y="208"/>
                    </a:lnTo>
                    <a:lnTo>
                      <a:pt x="1758" y="208"/>
                    </a:lnTo>
                    <a:lnTo>
                      <a:pt x="1756" y="210"/>
                    </a:lnTo>
                    <a:lnTo>
                      <a:pt x="1756" y="210"/>
                    </a:lnTo>
                    <a:lnTo>
                      <a:pt x="1754" y="208"/>
                    </a:lnTo>
                    <a:lnTo>
                      <a:pt x="1754" y="208"/>
                    </a:lnTo>
                    <a:lnTo>
                      <a:pt x="1750" y="208"/>
                    </a:lnTo>
                    <a:lnTo>
                      <a:pt x="1748" y="206"/>
                    </a:lnTo>
                    <a:lnTo>
                      <a:pt x="1744" y="206"/>
                    </a:lnTo>
                    <a:lnTo>
                      <a:pt x="1742" y="204"/>
                    </a:lnTo>
                    <a:lnTo>
                      <a:pt x="1738" y="204"/>
                    </a:lnTo>
                    <a:lnTo>
                      <a:pt x="1736" y="202"/>
                    </a:lnTo>
                    <a:lnTo>
                      <a:pt x="1736" y="202"/>
                    </a:lnTo>
                    <a:lnTo>
                      <a:pt x="1734" y="202"/>
                    </a:lnTo>
                    <a:lnTo>
                      <a:pt x="1730" y="202"/>
                    </a:lnTo>
                    <a:lnTo>
                      <a:pt x="1726" y="200"/>
                    </a:lnTo>
                    <a:lnTo>
                      <a:pt x="1722" y="200"/>
                    </a:lnTo>
                    <a:lnTo>
                      <a:pt x="1716" y="202"/>
                    </a:lnTo>
                    <a:lnTo>
                      <a:pt x="1710" y="202"/>
                    </a:lnTo>
                    <a:lnTo>
                      <a:pt x="1708" y="202"/>
                    </a:lnTo>
                    <a:lnTo>
                      <a:pt x="1706" y="202"/>
                    </a:lnTo>
                    <a:lnTo>
                      <a:pt x="1704" y="204"/>
                    </a:lnTo>
                    <a:lnTo>
                      <a:pt x="1702" y="204"/>
                    </a:lnTo>
                    <a:lnTo>
                      <a:pt x="1700" y="204"/>
                    </a:lnTo>
                    <a:lnTo>
                      <a:pt x="1698" y="206"/>
                    </a:lnTo>
                    <a:lnTo>
                      <a:pt x="1698" y="206"/>
                    </a:lnTo>
                    <a:lnTo>
                      <a:pt x="1698" y="206"/>
                    </a:lnTo>
                    <a:lnTo>
                      <a:pt x="1696" y="208"/>
                    </a:lnTo>
                    <a:lnTo>
                      <a:pt x="1696" y="210"/>
                    </a:lnTo>
                    <a:lnTo>
                      <a:pt x="1696" y="212"/>
                    </a:lnTo>
                    <a:lnTo>
                      <a:pt x="1694" y="214"/>
                    </a:lnTo>
                    <a:lnTo>
                      <a:pt x="1694" y="216"/>
                    </a:lnTo>
                    <a:lnTo>
                      <a:pt x="1692" y="216"/>
                    </a:lnTo>
                    <a:lnTo>
                      <a:pt x="1692" y="216"/>
                    </a:lnTo>
                    <a:lnTo>
                      <a:pt x="1692" y="218"/>
                    </a:lnTo>
                    <a:lnTo>
                      <a:pt x="1692" y="218"/>
                    </a:lnTo>
                    <a:lnTo>
                      <a:pt x="1690" y="218"/>
                    </a:lnTo>
                    <a:lnTo>
                      <a:pt x="1690" y="218"/>
                    </a:lnTo>
                    <a:lnTo>
                      <a:pt x="1688" y="218"/>
                    </a:lnTo>
                    <a:lnTo>
                      <a:pt x="1686" y="218"/>
                    </a:lnTo>
                    <a:lnTo>
                      <a:pt x="1684" y="216"/>
                    </a:lnTo>
                    <a:lnTo>
                      <a:pt x="1684" y="216"/>
                    </a:lnTo>
                    <a:lnTo>
                      <a:pt x="1682" y="216"/>
                    </a:lnTo>
                    <a:lnTo>
                      <a:pt x="1678" y="214"/>
                    </a:lnTo>
                    <a:lnTo>
                      <a:pt x="1676" y="212"/>
                    </a:lnTo>
                    <a:lnTo>
                      <a:pt x="1674" y="212"/>
                    </a:lnTo>
                    <a:lnTo>
                      <a:pt x="1672" y="210"/>
                    </a:lnTo>
                    <a:lnTo>
                      <a:pt x="1670" y="208"/>
                    </a:lnTo>
                    <a:lnTo>
                      <a:pt x="1666" y="204"/>
                    </a:lnTo>
                    <a:lnTo>
                      <a:pt x="1662" y="200"/>
                    </a:lnTo>
                    <a:lnTo>
                      <a:pt x="1660" y="198"/>
                    </a:lnTo>
                    <a:lnTo>
                      <a:pt x="1658" y="196"/>
                    </a:lnTo>
                    <a:lnTo>
                      <a:pt x="1654" y="192"/>
                    </a:lnTo>
                    <a:lnTo>
                      <a:pt x="1652" y="188"/>
                    </a:lnTo>
                    <a:lnTo>
                      <a:pt x="1650" y="186"/>
                    </a:lnTo>
                    <a:lnTo>
                      <a:pt x="1648" y="184"/>
                    </a:lnTo>
                    <a:lnTo>
                      <a:pt x="1646" y="184"/>
                    </a:lnTo>
                    <a:lnTo>
                      <a:pt x="1646" y="182"/>
                    </a:lnTo>
                    <a:lnTo>
                      <a:pt x="1644" y="182"/>
                    </a:lnTo>
                    <a:lnTo>
                      <a:pt x="1642" y="180"/>
                    </a:lnTo>
                    <a:lnTo>
                      <a:pt x="1640" y="180"/>
                    </a:lnTo>
                    <a:lnTo>
                      <a:pt x="1638" y="180"/>
                    </a:lnTo>
                    <a:lnTo>
                      <a:pt x="1632" y="178"/>
                    </a:lnTo>
                    <a:lnTo>
                      <a:pt x="1626" y="176"/>
                    </a:lnTo>
                    <a:lnTo>
                      <a:pt x="1620" y="176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6" y="174"/>
                    </a:lnTo>
                    <a:lnTo>
                      <a:pt x="1604" y="174"/>
                    </a:lnTo>
                    <a:lnTo>
                      <a:pt x="1602" y="174"/>
                    </a:lnTo>
                    <a:lnTo>
                      <a:pt x="1598" y="176"/>
                    </a:lnTo>
                    <a:lnTo>
                      <a:pt x="1594" y="176"/>
                    </a:lnTo>
                    <a:lnTo>
                      <a:pt x="1592" y="178"/>
                    </a:lnTo>
                    <a:lnTo>
                      <a:pt x="1590" y="178"/>
                    </a:lnTo>
                    <a:lnTo>
                      <a:pt x="1588" y="180"/>
                    </a:lnTo>
                    <a:lnTo>
                      <a:pt x="1586" y="180"/>
                    </a:lnTo>
                    <a:lnTo>
                      <a:pt x="1584" y="182"/>
                    </a:lnTo>
                    <a:lnTo>
                      <a:pt x="1582" y="182"/>
                    </a:lnTo>
                    <a:lnTo>
                      <a:pt x="1580" y="182"/>
                    </a:lnTo>
                    <a:lnTo>
                      <a:pt x="1578" y="182"/>
                    </a:lnTo>
                    <a:lnTo>
                      <a:pt x="1574" y="182"/>
                    </a:lnTo>
                    <a:lnTo>
                      <a:pt x="1572" y="182"/>
                    </a:lnTo>
                    <a:lnTo>
                      <a:pt x="1568" y="180"/>
                    </a:lnTo>
                    <a:lnTo>
                      <a:pt x="1566" y="180"/>
                    </a:lnTo>
                    <a:lnTo>
                      <a:pt x="1562" y="180"/>
                    </a:lnTo>
                    <a:lnTo>
                      <a:pt x="1560" y="178"/>
                    </a:lnTo>
                    <a:lnTo>
                      <a:pt x="1558" y="178"/>
                    </a:lnTo>
                    <a:lnTo>
                      <a:pt x="1554" y="176"/>
                    </a:lnTo>
                    <a:lnTo>
                      <a:pt x="1550" y="174"/>
                    </a:lnTo>
                    <a:lnTo>
                      <a:pt x="1546" y="172"/>
                    </a:lnTo>
                    <a:lnTo>
                      <a:pt x="1538" y="168"/>
                    </a:lnTo>
                    <a:lnTo>
                      <a:pt x="1536" y="166"/>
                    </a:lnTo>
                    <a:lnTo>
                      <a:pt x="1532" y="164"/>
                    </a:lnTo>
                    <a:lnTo>
                      <a:pt x="1530" y="162"/>
                    </a:lnTo>
                    <a:lnTo>
                      <a:pt x="1528" y="162"/>
                    </a:lnTo>
                    <a:lnTo>
                      <a:pt x="1524" y="160"/>
                    </a:lnTo>
                    <a:lnTo>
                      <a:pt x="1520" y="158"/>
                    </a:lnTo>
                    <a:lnTo>
                      <a:pt x="1518" y="158"/>
                    </a:lnTo>
                    <a:lnTo>
                      <a:pt x="1516" y="156"/>
                    </a:lnTo>
                    <a:lnTo>
                      <a:pt x="1514" y="154"/>
                    </a:lnTo>
                    <a:lnTo>
                      <a:pt x="1514" y="154"/>
                    </a:lnTo>
                    <a:lnTo>
                      <a:pt x="1514" y="154"/>
                    </a:lnTo>
                    <a:lnTo>
                      <a:pt x="1514" y="150"/>
                    </a:lnTo>
                    <a:lnTo>
                      <a:pt x="1512" y="150"/>
                    </a:lnTo>
                    <a:lnTo>
                      <a:pt x="1512" y="148"/>
                    </a:lnTo>
                    <a:lnTo>
                      <a:pt x="1512" y="148"/>
                    </a:lnTo>
                    <a:lnTo>
                      <a:pt x="1512" y="148"/>
                    </a:lnTo>
                    <a:lnTo>
                      <a:pt x="1510" y="146"/>
                    </a:lnTo>
                    <a:lnTo>
                      <a:pt x="1508" y="146"/>
                    </a:lnTo>
                    <a:lnTo>
                      <a:pt x="1504" y="146"/>
                    </a:lnTo>
                    <a:lnTo>
                      <a:pt x="1502" y="144"/>
                    </a:lnTo>
                    <a:lnTo>
                      <a:pt x="1500" y="144"/>
                    </a:lnTo>
                    <a:lnTo>
                      <a:pt x="1496" y="144"/>
                    </a:lnTo>
                    <a:lnTo>
                      <a:pt x="1494" y="144"/>
                    </a:lnTo>
                    <a:lnTo>
                      <a:pt x="1490" y="144"/>
                    </a:lnTo>
                    <a:lnTo>
                      <a:pt x="1484" y="144"/>
                    </a:lnTo>
                    <a:lnTo>
                      <a:pt x="1478" y="146"/>
                    </a:lnTo>
                    <a:lnTo>
                      <a:pt x="1472" y="146"/>
                    </a:lnTo>
                    <a:lnTo>
                      <a:pt x="1468" y="148"/>
                    </a:lnTo>
                    <a:lnTo>
                      <a:pt x="1468" y="148"/>
                    </a:lnTo>
                    <a:lnTo>
                      <a:pt x="1466" y="148"/>
                    </a:lnTo>
                    <a:lnTo>
                      <a:pt x="1462" y="150"/>
                    </a:lnTo>
                    <a:lnTo>
                      <a:pt x="1460" y="152"/>
                    </a:lnTo>
                    <a:lnTo>
                      <a:pt x="1458" y="152"/>
                    </a:lnTo>
                    <a:lnTo>
                      <a:pt x="1458" y="152"/>
                    </a:lnTo>
                    <a:lnTo>
                      <a:pt x="1456" y="152"/>
                    </a:lnTo>
                    <a:lnTo>
                      <a:pt x="1456" y="152"/>
                    </a:lnTo>
                    <a:lnTo>
                      <a:pt x="1454" y="152"/>
                    </a:lnTo>
                    <a:lnTo>
                      <a:pt x="1454" y="152"/>
                    </a:lnTo>
                    <a:lnTo>
                      <a:pt x="1454" y="150"/>
                    </a:lnTo>
                    <a:lnTo>
                      <a:pt x="1452" y="150"/>
                    </a:lnTo>
                    <a:lnTo>
                      <a:pt x="1450" y="148"/>
                    </a:lnTo>
                    <a:lnTo>
                      <a:pt x="1450" y="146"/>
                    </a:lnTo>
                    <a:lnTo>
                      <a:pt x="1448" y="142"/>
                    </a:lnTo>
                    <a:lnTo>
                      <a:pt x="1446" y="140"/>
                    </a:lnTo>
                    <a:lnTo>
                      <a:pt x="1446" y="140"/>
                    </a:lnTo>
                    <a:lnTo>
                      <a:pt x="1444" y="138"/>
                    </a:lnTo>
                    <a:lnTo>
                      <a:pt x="1444" y="138"/>
                    </a:lnTo>
                    <a:lnTo>
                      <a:pt x="1444" y="138"/>
                    </a:lnTo>
                    <a:lnTo>
                      <a:pt x="1442" y="138"/>
                    </a:lnTo>
                    <a:lnTo>
                      <a:pt x="1440" y="136"/>
                    </a:lnTo>
                    <a:lnTo>
                      <a:pt x="1440" y="136"/>
                    </a:lnTo>
                    <a:lnTo>
                      <a:pt x="1438" y="136"/>
                    </a:lnTo>
                    <a:lnTo>
                      <a:pt x="1434" y="136"/>
                    </a:lnTo>
                    <a:lnTo>
                      <a:pt x="1432" y="138"/>
                    </a:lnTo>
                    <a:lnTo>
                      <a:pt x="1428" y="138"/>
                    </a:lnTo>
                    <a:lnTo>
                      <a:pt x="1424" y="138"/>
                    </a:lnTo>
                    <a:lnTo>
                      <a:pt x="1424" y="138"/>
                    </a:lnTo>
                    <a:lnTo>
                      <a:pt x="1422" y="138"/>
                    </a:lnTo>
                    <a:lnTo>
                      <a:pt x="1420" y="138"/>
                    </a:lnTo>
                    <a:lnTo>
                      <a:pt x="1420" y="138"/>
                    </a:lnTo>
                    <a:lnTo>
                      <a:pt x="1418" y="138"/>
                    </a:lnTo>
                    <a:lnTo>
                      <a:pt x="1418" y="136"/>
                    </a:lnTo>
                    <a:lnTo>
                      <a:pt x="1416" y="134"/>
                    </a:lnTo>
                    <a:lnTo>
                      <a:pt x="1416" y="132"/>
                    </a:lnTo>
                    <a:lnTo>
                      <a:pt x="1414" y="130"/>
                    </a:lnTo>
                    <a:lnTo>
                      <a:pt x="1414" y="128"/>
                    </a:lnTo>
                    <a:lnTo>
                      <a:pt x="1412" y="126"/>
                    </a:lnTo>
                    <a:lnTo>
                      <a:pt x="1412" y="126"/>
                    </a:lnTo>
                    <a:lnTo>
                      <a:pt x="1410" y="126"/>
                    </a:lnTo>
                    <a:lnTo>
                      <a:pt x="1410" y="126"/>
                    </a:lnTo>
                    <a:lnTo>
                      <a:pt x="1410" y="124"/>
                    </a:lnTo>
                    <a:lnTo>
                      <a:pt x="1408" y="124"/>
                    </a:lnTo>
                    <a:lnTo>
                      <a:pt x="1408" y="124"/>
                    </a:lnTo>
                    <a:lnTo>
                      <a:pt x="1406" y="126"/>
                    </a:lnTo>
                    <a:lnTo>
                      <a:pt x="1406" y="126"/>
                    </a:lnTo>
                    <a:lnTo>
                      <a:pt x="1404" y="126"/>
                    </a:lnTo>
                    <a:lnTo>
                      <a:pt x="1402" y="128"/>
                    </a:lnTo>
                    <a:lnTo>
                      <a:pt x="1398" y="130"/>
                    </a:lnTo>
                    <a:lnTo>
                      <a:pt x="1396" y="132"/>
                    </a:lnTo>
                    <a:lnTo>
                      <a:pt x="1396" y="132"/>
                    </a:lnTo>
                    <a:lnTo>
                      <a:pt x="1392" y="134"/>
                    </a:lnTo>
                    <a:lnTo>
                      <a:pt x="1388" y="136"/>
                    </a:lnTo>
                    <a:lnTo>
                      <a:pt x="1386" y="138"/>
                    </a:lnTo>
                    <a:lnTo>
                      <a:pt x="1384" y="138"/>
                    </a:lnTo>
                    <a:lnTo>
                      <a:pt x="1384" y="138"/>
                    </a:lnTo>
                    <a:lnTo>
                      <a:pt x="1384" y="140"/>
                    </a:lnTo>
                    <a:lnTo>
                      <a:pt x="1384" y="140"/>
                    </a:lnTo>
                    <a:lnTo>
                      <a:pt x="1382" y="142"/>
                    </a:lnTo>
                    <a:lnTo>
                      <a:pt x="1382" y="142"/>
                    </a:lnTo>
                    <a:lnTo>
                      <a:pt x="1382" y="144"/>
                    </a:lnTo>
                    <a:lnTo>
                      <a:pt x="1384" y="144"/>
                    </a:lnTo>
                    <a:lnTo>
                      <a:pt x="1384" y="146"/>
                    </a:lnTo>
                    <a:lnTo>
                      <a:pt x="1386" y="148"/>
                    </a:lnTo>
                    <a:lnTo>
                      <a:pt x="1388" y="152"/>
                    </a:lnTo>
                    <a:lnTo>
                      <a:pt x="1390" y="154"/>
                    </a:lnTo>
                    <a:lnTo>
                      <a:pt x="1390" y="156"/>
                    </a:lnTo>
                    <a:lnTo>
                      <a:pt x="1392" y="156"/>
                    </a:lnTo>
                    <a:lnTo>
                      <a:pt x="1392" y="158"/>
                    </a:lnTo>
                    <a:lnTo>
                      <a:pt x="1392" y="160"/>
                    </a:lnTo>
                    <a:lnTo>
                      <a:pt x="1392" y="160"/>
                    </a:lnTo>
                    <a:lnTo>
                      <a:pt x="1392" y="162"/>
                    </a:lnTo>
                    <a:lnTo>
                      <a:pt x="1392" y="162"/>
                    </a:lnTo>
                    <a:lnTo>
                      <a:pt x="1390" y="162"/>
                    </a:lnTo>
                    <a:lnTo>
                      <a:pt x="1390" y="164"/>
                    </a:lnTo>
                    <a:lnTo>
                      <a:pt x="1388" y="164"/>
                    </a:lnTo>
                    <a:lnTo>
                      <a:pt x="1388" y="164"/>
                    </a:lnTo>
                    <a:lnTo>
                      <a:pt x="1386" y="164"/>
                    </a:lnTo>
                    <a:lnTo>
                      <a:pt x="1384" y="164"/>
                    </a:lnTo>
                    <a:lnTo>
                      <a:pt x="1380" y="164"/>
                    </a:lnTo>
                    <a:lnTo>
                      <a:pt x="1378" y="164"/>
                    </a:lnTo>
                    <a:lnTo>
                      <a:pt x="1372" y="164"/>
                    </a:lnTo>
                    <a:lnTo>
                      <a:pt x="1370" y="164"/>
                    </a:lnTo>
                    <a:lnTo>
                      <a:pt x="1368" y="164"/>
                    </a:lnTo>
                    <a:lnTo>
                      <a:pt x="1362" y="164"/>
                    </a:lnTo>
                    <a:lnTo>
                      <a:pt x="1356" y="162"/>
                    </a:lnTo>
                    <a:lnTo>
                      <a:pt x="1352" y="162"/>
                    </a:lnTo>
                    <a:lnTo>
                      <a:pt x="1350" y="162"/>
                    </a:lnTo>
                    <a:lnTo>
                      <a:pt x="1346" y="160"/>
                    </a:lnTo>
                    <a:lnTo>
                      <a:pt x="1342" y="160"/>
                    </a:lnTo>
                    <a:lnTo>
                      <a:pt x="1338" y="160"/>
                    </a:lnTo>
                    <a:lnTo>
                      <a:pt x="1336" y="160"/>
                    </a:lnTo>
                    <a:lnTo>
                      <a:pt x="1334" y="160"/>
                    </a:lnTo>
                    <a:lnTo>
                      <a:pt x="1332" y="160"/>
                    </a:lnTo>
                    <a:lnTo>
                      <a:pt x="1332" y="160"/>
                    </a:lnTo>
                    <a:lnTo>
                      <a:pt x="1330" y="162"/>
                    </a:lnTo>
                    <a:lnTo>
                      <a:pt x="1326" y="164"/>
                    </a:lnTo>
                    <a:lnTo>
                      <a:pt x="1326" y="164"/>
                    </a:lnTo>
                    <a:lnTo>
                      <a:pt x="1324" y="166"/>
                    </a:lnTo>
                    <a:lnTo>
                      <a:pt x="1322" y="166"/>
                    </a:lnTo>
                    <a:lnTo>
                      <a:pt x="1322" y="166"/>
                    </a:lnTo>
                    <a:lnTo>
                      <a:pt x="1322" y="166"/>
                    </a:lnTo>
                    <a:lnTo>
                      <a:pt x="1320" y="166"/>
                    </a:lnTo>
                    <a:lnTo>
                      <a:pt x="1320" y="166"/>
                    </a:lnTo>
                    <a:lnTo>
                      <a:pt x="1318" y="166"/>
                    </a:lnTo>
                    <a:lnTo>
                      <a:pt x="1314" y="164"/>
                    </a:lnTo>
                    <a:lnTo>
                      <a:pt x="1312" y="164"/>
                    </a:lnTo>
                    <a:lnTo>
                      <a:pt x="1310" y="162"/>
                    </a:lnTo>
                    <a:lnTo>
                      <a:pt x="1308" y="162"/>
                    </a:lnTo>
                    <a:lnTo>
                      <a:pt x="1304" y="158"/>
                    </a:lnTo>
                    <a:lnTo>
                      <a:pt x="1304" y="158"/>
                    </a:lnTo>
                    <a:lnTo>
                      <a:pt x="1304" y="158"/>
                    </a:lnTo>
                    <a:lnTo>
                      <a:pt x="1302" y="156"/>
                    </a:lnTo>
                    <a:lnTo>
                      <a:pt x="1300" y="152"/>
                    </a:lnTo>
                    <a:lnTo>
                      <a:pt x="1300" y="150"/>
                    </a:lnTo>
                    <a:lnTo>
                      <a:pt x="1298" y="150"/>
                    </a:lnTo>
                    <a:lnTo>
                      <a:pt x="1298" y="150"/>
                    </a:lnTo>
                    <a:lnTo>
                      <a:pt x="1298" y="148"/>
                    </a:lnTo>
                    <a:lnTo>
                      <a:pt x="1296" y="148"/>
                    </a:lnTo>
                    <a:lnTo>
                      <a:pt x="1296" y="148"/>
                    </a:lnTo>
                    <a:lnTo>
                      <a:pt x="1296" y="148"/>
                    </a:lnTo>
                    <a:lnTo>
                      <a:pt x="1294" y="150"/>
                    </a:lnTo>
                    <a:lnTo>
                      <a:pt x="1294" y="150"/>
                    </a:lnTo>
                    <a:lnTo>
                      <a:pt x="1294" y="152"/>
                    </a:lnTo>
                    <a:lnTo>
                      <a:pt x="1294" y="152"/>
                    </a:lnTo>
                    <a:lnTo>
                      <a:pt x="1294" y="154"/>
                    </a:lnTo>
                    <a:lnTo>
                      <a:pt x="1294" y="156"/>
                    </a:lnTo>
                    <a:lnTo>
                      <a:pt x="1294" y="158"/>
                    </a:lnTo>
                    <a:lnTo>
                      <a:pt x="1294" y="162"/>
                    </a:lnTo>
                    <a:lnTo>
                      <a:pt x="1294" y="162"/>
                    </a:lnTo>
                    <a:lnTo>
                      <a:pt x="1294" y="164"/>
                    </a:lnTo>
                    <a:lnTo>
                      <a:pt x="1294" y="164"/>
                    </a:lnTo>
                    <a:lnTo>
                      <a:pt x="1294" y="164"/>
                    </a:lnTo>
                    <a:lnTo>
                      <a:pt x="1292" y="166"/>
                    </a:lnTo>
                    <a:lnTo>
                      <a:pt x="1292" y="166"/>
                    </a:lnTo>
                    <a:lnTo>
                      <a:pt x="1290" y="166"/>
                    </a:lnTo>
                    <a:lnTo>
                      <a:pt x="1288" y="168"/>
                    </a:lnTo>
                    <a:lnTo>
                      <a:pt x="1286" y="168"/>
                    </a:lnTo>
                    <a:lnTo>
                      <a:pt x="1282" y="168"/>
                    </a:lnTo>
                    <a:lnTo>
                      <a:pt x="1280" y="168"/>
                    </a:lnTo>
                    <a:lnTo>
                      <a:pt x="1276" y="168"/>
                    </a:lnTo>
                    <a:lnTo>
                      <a:pt x="1274" y="168"/>
                    </a:lnTo>
                    <a:lnTo>
                      <a:pt x="1270" y="168"/>
                    </a:lnTo>
                    <a:lnTo>
                      <a:pt x="1270" y="168"/>
                    </a:lnTo>
                    <a:lnTo>
                      <a:pt x="1268" y="166"/>
                    </a:lnTo>
                    <a:lnTo>
                      <a:pt x="1264" y="166"/>
                    </a:lnTo>
                    <a:lnTo>
                      <a:pt x="1260" y="164"/>
                    </a:lnTo>
                    <a:lnTo>
                      <a:pt x="1256" y="164"/>
                    </a:lnTo>
                    <a:lnTo>
                      <a:pt x="1248" y="160"/>
                    </a:lnTo>
                    <a:lnTo>
                      <a:pt x="1242" y="158"/>
                    </a:lnTo>
                    <a:lnTo>
                      <a:pt x="1240" y="156"/>
                    </a:lnTo>
                    <a:lnTo>
                      <a:pt x="1238" y="156"/>
                    </a:lnTo>
                    <a:lnTo>
                      <a:pt x="1232" y="156"/>
                    </a:lnTo>
                    <a:lnTo>
                      <a:pt x="1230" y="154"/>
                    </a:lnTo>
                    <a:lnTo>
                      <a:pt x="1228" y="154"/>
                    </a:lnTo>
                    <a:lnTo>
                      <a:pt x="1228" y="154"/>
                    </a:lnTo>
                    <a:lnTo>
                      <a:pt x="1226" y="154"/>
                    </a:lnTo>
                    <a:lnTo>
                      <a:pt x="1226" y="152"/>
                    </a:lnTo>
                    <a:lnTo>
                      <a:pt x="1224" y="152"/>
                    </a:lnTo>
                    <a:lnTo>
                      <a:pt x="1224" y="152"/>
                    </a:lnTo>
                    <a:lnTo>
                      <a:pt x="1224" y="150"/>
                    </a:lnTo>
                    <a:lnTo>
                      <a:pt x="1224" y="150"/>
                    </a:lnTo>
                    <a:lnTo>
                      <a:pt x="1224" y="148"/>
                    </a:lnTo>
                    <a:lnTo>
                      <a:pt x="1224" y="148"/>
                    </a:lnTo>
                    <a:lnTo>
                      <a:pt x="1226" y="146"/>
                    </a:lnTo>
                    <a:lnTo>
                      <a:pt x="1226" y="144"/>
                    </a:lnTo>
                    <a:lnTo>
                      <a:pt x="1228" y="144"/>
                    </a:lnTo>
                    <a:lnTo>
                      <a:pt x="1228" y="142"/>
                    </a:lnTo>
                    <a:lnTo>
                      <a:pt x="1230" y="142"/>
                    </a:lnTo>
                    <a:lnTo>
                      <a:pt x="1230" y="140"/>
                    </a:lnTo>
                    <a:lnTo>
                      <a:pt x="1230" y="140"/>
                    </a:lnTo>
                    <a:lnTo>
                      <a:pt x="1232" y="140"/>
                    </a:lnTo>
                    <a:lnTo>
                      <a:pt x="1234" y="140"/>
                    </a:lnTo>
                    <a:lnTo>
                      <a:pt x="1236" y="140"/>
                    </a:lnTo>
                    <a:lnTo>
                      <a:pt x="1238" y="140"/>
                    </a:lnTo>
                    <a:lnTo>
                      <a:pt x="1240" y="138"/>
                    </a:lnTo>
                    <a:lnTo>
                      <a:pt x="1240" y="138"/>
                    </a:lnTo>
                    <a:lnTo>
                      <a:pt x="1240" y="138"/>
                    </a:lnTo>
                    <a:lnTo>
                      <a:pt x="1242" y="138"/>
                    </a:lnTo>
                    <a:lnTo>
                      <a:pt x="1242" y="138"/>
                    </a:lnTo>
                    <a:lnTo>
                      <a:pt x="1242" y="136"/>
                    </a:lnTo>
                    <a:lnTo>
                      <a:pt x="1242" y="136"/>
                    </a:lnTo>
                    <a:lnTo>
                      <a:pt x="1242" y="134"/>
                    </a:lnTo>
                    <a:lnTo>
                      <a:pt x="1242" y="132"/>
                    </a:lnTo>
                    <a:lnTo>
                      <a:pt x="1242" y="132"/>
                    </a:lnTo>
                    <a:lnTo>
                      <a:pt x="1240" y="130"/>
                    </a:lnTo>
                    <a:lnTo>
                      <a:pt x="1240" y="126"/>
                    </a:lnTo>
                    <a:lnTo>
                      <a:pt x="1238" y="124"/>
                    </a:lnTo>
                    <a:lnTo>
                      <a:pt x="1236" y="122"/>
                    </a:lnTo>
                    <a:lnTo>
                      <a:pt x="1234" y="118"/>
                    </a:lnTo>
                    <a:lnTo>
                      <a:pt x="1232" y="118"/>
                    </a:lnTo>
                    <a:lnTo>
                      <a:pt x="1230" y="116"/>
                    </a:lnTo>
                    <a:lnTo>
                      <a:pt x="1230" y="116"/>
                    </a:lnTo>
                    <a:lnTo>
                      <a:pt x="1226" y="114"/>
                    </a:lnTo>
                    <a:lnTo>
                      <a:pt x="1224" y="112"/>
                    </a:lnTo>
                    <a:lnTo>
                      <a:pt x="1220" y="112"/>
                    </a:lnTo>
                    <a:lnTo>
                      <a:pt x="1216" y="110"/>
                    </a:lnTo>
                    <a:lnTo>
                      <a:pt x="1214" y="110"/>
                    </a:lnTo>
                    <a:lnTo>
                      <a:pt x="1210" y="108"/>
                    </a:lnTo>
                    <a:lnTo>
                      <a:pt x="1208" y="108"/>
                    </a:lnTo>
                    <a:lnTo>
                      <a:pt x="1204" y="108"/>
                    </a:lnTo>
                    <a:lnTo>
                      <a:pt x="1200" y="108"/>
                    </a:lnTo>
                    <a:lnTo>
                      <a:pt x="1196" y="108"/>
                    </a:lnTo>
                    <a:lnTo>
                      <a:pt x="1192" y="108"/>
                    </a:lnTo>
                    <a:lnTo>
                      <a:pt x="1188" y="108"/>
                    </a:lnTo>
                    <a:lnTo>
                      <a:pt x="1184" y="108"/>
                    </a:lnTo>
                    <a:lnTo>
                      <a:pt x="1182" y="108"/>
                    </a:lnTo>
                    <a:lnTo>
                      <a:pt x="1180" y="108"/>
                    </a:lnTo>
                    <a:lnTo>
                      <a:pt x="1180" y="110"/>
                    </a:lnTo>
                    <a:lnTo>
                      <a:pt x="1178" y="110"/>
                    </a:lnTo>
                    <a:lnTo>
                      <a:pt x="1176" y="110"/>
                    </a:lnTo>
                    <a:lnTo>
                      <a:pt x="1176" y="112"/>
                    </a:lnTo>
                    <a:lnTo>
                      <a:pt x="1174" y="112"/>
                    </a:lnTo>
                    <a:lnTo>
                      <a:pt x="1174" y="114"/>
                    </a:lnTo>
                    <a:lnTo>
                      <a:pt x="1174" y="116"/>
                    </a:lnTo>
                    <a:lnTo>
                      <a:pt x="1172" y="120"/>
                    </a:lnTo>
                    <a:lnTo>
                      <a:pt x="1172" y="124"/>
                    </a:lnTo>
                    <a:lnTo>
                      <a:pt x="1170" y="128"/>
                    </a:lnTo>
                    <a:lnTo>
                      <a:pt x="1170" y="128"/>
                    </a:lnTo>
                    <a:lnTo>
                      <a:pt x="1170" y="130"/>
                    </a:lnTo>
                    <a:lnTo>
                      <a:pt x="1168" y="132"/>
                    </a:lnTo>
                    <a:lnTo>
                      <a:pt x="1168" y="134"/>
                    </a:lnTo>
                    <a:lnTo>
                      <a:pt x="1168" y="134"/>
                    </a:lnTo>
                    <a:lnTo>
                      <a:pt x="1166" y="134"/>
                    </a:lnTo>
                    <a:lnTo>
                      <a:pt x="1166" y="136"/>
                    </a:lnTo>
                    <a:lnTo>
                      <a:pt x="1164" y="136"/>
                    </a:lnTo>
                    <a:lnTo>
                      <a:pt x="1162" y="136"/>
                    </a:lnTo>
                    <a:lnTo>
                      <a:pt x="1160" y="134"/>
                    </a:lnTo>
                    <a:lnTo>
                      <a:pt x="1160" y="134"/>
                    </a:lnTo>
                    <a:lnTo>
                      <a:pt x="1158" y="134"/>
                    </a:lnTo>
                    <a:lnTo>
                      <a:pt x="1154" y="132"/>
                    </a:lnTo>
                    <a:lnTo>
                      <a:pt x="1150" y="130"/>
                    </a:lnTo>
                    <a:lnTo>
                      <a:pt x="1148" y="128"/>
                    </a:lnTo>
                    <a:lnTo>
                      <a:pt x="1144" y="128"/>
                    </a:lnTo>
                    <a:lnTo>
                      <a:pt x="1142" y="126"/>
                    </a:lnTo>
                    <a:lnTo>
                      <a:pt x="1138" y="124"/>
                    </a:lnTo>
                    <a:lnTo>
                      <a:pt x="1132" y="120"/>
                    </a:lnTo>
                    <a:lnTo>
                      <a:pt x="1126" y="118"/>
                    </a:lnTo>
                    <a:lnTo>
                      <a:pt x="1124" y="116"/>
                    </a:lnTo>
                    <a:lnTo>
                      <a:pt x="1120" y="116"/>
                    </a:lnTo>
                    <a:lnTo>
                      <a:pt x="1118" y="114"/>
                    </a:lnTo>
                    <a:lnTo>
                      <a:pt x="1114" y="114"/>
                    </a:lnTo>
                    <a:lnTo>
                      <a:pt x="1104" y="112"/>
                    </a:lnTo>
                    <a:lnTo>
                      <a:pt x="1096" y="110"/>
                    </a:lnTo>
                    <a:lnTo>
                      <a:pt x="1092" y="108"/>
                    </a:lnTo>
                    <a:lnTo>
                      <a:pt x="1088" y="108"/>
                    </a:lnTo>
                    <a:lnTo>
                      <a:pt x="1086" y="108"/>
                    </a:lnTo>
                    <a:lnTo>
                      <a:pt x="1082" y="108"/>
                    </a:lnTo>
                    <a:lnTo>
                      <a:pt x="1074" y="108"/>
                    </a:lnTo>
                    <a:lnTo>
                      <a:pt x="1066" y="108"/>
                    </a:lnTo>
                    <a:lnTo>
                      <a:pt x="1058" y="108"/>
                    </a:lnTo>
                    <a:lnTo>
                      <a:pt x="1042" y="108"/>
                    </a:lnTo>
                    <a:lnTo>
                      <a:pt x="1034" y="108"/>
                    </a:lnTo>
                    <a:lnTo>
                      <a:pt x="1028" y="108"/>
                    </a:lnTo>
                    <a:lnTo>
                      <a:pt x="1022" y="108"/>
                    </a:lnTo>
                    <a:lnTo>
                      <a:pt x="1018" y="108"/>
                    </a:lnTo>
                    <a:lnTo>
                      <a:pt x="1014" y="108"/>
                    </a:lnTo>
                    <a:lnTo>
                      <a:pt x="1012" y="108"/>
                    </a:lnTo>
                    <a:lnTo>
                      <a:pt x="1008" y="108"/>
                    </a:lnTo>
                    <a:lnTo>
                      <a:pt x="1006" y="108"/>
                    </a:lnTo>
                    <a:lnTo>
                      <a:pt x="1004" y="110"/>
                    </a:lnTo>
                    <a:lnTo>
                      <a:pt x="1002" y="110"/>
                    </a:lnTo>
                    <a:lnTo>
                      <a:pt x="998" y="112"/>
                    </a:lnTo>
                    <a:lnTo>
                      <a:pt x="996" y="112"/>
                    </a:lnTo>
                    <a:lnTo>
                      <a:pt x="990" y="116"/>
                    </a:lnTo>
                    <a:lnTo>
                      <a:pt x="988" y="116"/>
                    </a:lnTo>
                    <a:lnTo>
                      <a:pt x="984" y="118"/>
                    </a:lnTo>
                    <a:lnTo>
                      <a:pt x="984" y="118"/>
                    </a:lnTo>
                    <a:lnTo>
                      <a:pt x="982" y="118"/>
                    </a:lnTo>
                    <a:lnTo>
                      <a:pt x="978" y="120"/>
                    </a:lnTo>
                    <a:lnTo>
                      <a:pt x="974" y="124"/>
                    </a:lnTo>
                    <a:lnTo>
                      <a:pt x="968" y="126"/>
                    </a:lnTo>
                    <a:lnTo>
                      <a:pt x="966" y="126"/>
                    </a:lnTo>
                    <a:lnTo>
                      <a:pt x="964" y="128"/>
                    </a:lnTo>
                    <a:lnTo>
                      <a:pt x="962" y="128"/>
                    </a:lnTo>
                    <a:lnTo>
                      <a:pt x="960" y="128"/>
                    </a:lnTo>
                    <a:lnTo>
                      <a:pt x="958" y="128"/>
                    </a:lnTo>
                    <a:lnTo>
                      <a:pt x="958" y="128"/>
                    </a:lnTo>
                    <a:lnTo>
                      <a:pt x="956" y="128"/>
                    </a:lnTo>
                    <a:lnTo>
                      <a:pt x="956" y="128"/>
                    </a:lnTo>
                    <a:lnTo>
                      <a:pt x="956" y="128"/>
                    </a:lnTo>
                    <a:lnTo>
                      <a:pt x="956" y="128"/>
                    </a:lnTo>
                    <a:lnTo>
                      <a:pt x="954" y="128"/>
                    </a:lnTo>
                    <a:lnTo>
                      <a:pt x="954" y="126"/>
                    </a:lnTo>
                    <a:lnTo>
                      <a:pt x="954" y="126"/>
                    </a:lnTo>
                    <a:lnTo>
                      <a:pt x="954" y="126"/>
                    </a:lnTo>
                    <a:lnTo>
                      <a:pt x="954" y="124"/>
                    </a:lnTo>
                    <a:lnTo>
                      <a:pt x="956" y="122"/>
                    </a:lnTo>
                    <a:lnTo>
                      <a:pt x="956" y="122"/>
                    </a:lnTo>
                    <a:lnTo>
                      <a:pt x="956" y="120"/>
                    </a:lnTo>
                    <a:lnTo>
                      <a:pt x="958" y="120"/>
                    </a:lnTo>
                    <a:lnTo>
                      <a:pt x="960" y="118"/>
                    </a:lnTo>
                    <a:lnTo>
                      <a:pt x="962" y="116"/>
                    </a:lnTo>
                    <a:lnTo>
                      <a:pt x="966" y="114"/>
                    </a:lnTo>
                    <a:lnTo>
                      <a:pt x="970" y="110"/>
                    </a:lnTo>
                    <a:lnTo>
                      <a:pt x="972" y="108"/>
                    </a:lnTo>
                    <a:lnTo>
                      <a:pt x="972" y="108"/>
                    </a:lnTo>
                    <a:lnTo>
                      <a:pt x="976" y="106"/>
                    </a:lnTo>
                    <a:lnTo>
                      <a:pt x="980" y="104"/>
                    </a:lnTo>
                    <a:lnTo>
                      <a:pt x="984" y="102"/>
                    </a:lnTo>
                    <a:lnTo>
                      <a:pt x="994" y="98"/>
                    </a:lnTo>
                    <a:lnTo>
                      <a:pt x="996" y="96"/>
                    </a:lnTo>
                    <a:lnTo>
                      <a:pt x="1000" y="94"/>
                    </a:lnTo>
                    <a:lnTo>
                      <a:pt x="1006" y="92"/>
                    </a:lnTo>
                    <a:lnTo>
                      <a:pt x="1010" y="90"/>
                    </a:lnTo>
                    <a:lnTo>
                      <a:pt x="1012" y="88"/>
                    </a:lnTo>
                    <a:lnTo>
                      <a:pt x="1012" y="88"/>
                    </a:lnTo>
                    <a:lnTo>
                      <a:pt x="1016" y="86"/>
                    </a:lnTo>
                    <a:lnTo>
                      <a:pt x="1018" y="84"/>
                    </a:lnTo>
                    <a:lnTo>
                      <a:pt x="1022" y="82"/>
                    </a:lnTo>
                    <a:lnTo>
                      <a:pt x="1022" y="80"/>
                    </a:lnTo>
                    <a:lnTo>
                      <a:pt x="1026" y="78"/>
                    </a:lnTo>
                    <a:lnTo>
                      <a:pt x="1026" y="76"/>
                    </a:lnTo>
                    <a:lnTo>
                      <a:pt x="1028" y="74"/>
                    </a:lnTo>
                    <a:lnTo>
                      <a:pt x="1028" y="72"/>
                    </a:lnTo>
                    <a:lnTo>
                      <a:pt x="1030" y="68"/>
                    </a:lnTo>
                    <a:lnTo>
                      <a:pt x="1030" y="66"/>
                    </a:lnTo>
                    <a:lnTo>
                      <a:pt x="1030" y="62"/>
                    </a:lnTo>
                    <a:lnTo>
                      <a:pt x="1032" y="60"/>
                    </a:lnTo>
                    <a:lnTo>
                      <a:pt x="1032" y="56"/>
                    </a:lnTo>
                    <a:lnTo>
                      <a:pt x="1032" y="56"/>
                    </a:lnTo>
                    <a:lnTo>
                      <a:pt x="1032" y="54"/>
                    </a:lnTo>
                    <a:lnTo>
                      <a:pt x="1030" y="52"/>
                    </a:lnTo>
                    <a:lnTo>
                      <a:pt x="1030" y="52"/>
                    </a:lnTo>
                    <a:lnTo>
                      <a:pt x="1030" y="50"/>
                    </a:lnTo>
                    <a:lnTo>
                      <a:pt x="1028" y="50"/>
                    </a:lnTo>
                    <a:lnTo>
                      <a:pt x="1028" y="50"/>
                    </a:lnTo>
                    <a:lnTo>
                      <a:pt x="1026" y="48"/>
                    </a:lnTo>
                    <a:lnTo>
                      <a:pt x="1024" y="48"/>
                    </a:lnTo>
                    <a:lnTo>
                      <a:pt x="1020" y="46"/>
                    </a:lnTo>
                    <a:lnTo>
                      <a:pt x="1018" y="46"/>
                    </a:lnTo>
                    <a:lnTo>
                      <a:pt x="1014" y="46"/>
                    </a:lnTo>
                    <a:lnTo>
                      <a:pt x="1012" y="44"/>
                    </a:lnTo>
                    <a:lnTo>
                      <a:pt x="1012" y="44"/>
                    </a:lnTo>
                    <a:lnTo>
                      <a:pt x="1010" y="44"/>
                    </a:lnTo>
                    <a:lnTo>
                      <a:pt x="1010" y="42"/>
                    </a:lnTo>
                    <a:lnTo>
                      <a:pt x="1010" y="42"/>
                    </a:lnTo>
                    <a:lnTo>
                      <a:pt x="1008" y="40"/>
                    </a:lnTo>
                    <a:lnTo>
                      <a:pt x="1006" y="38"/>
                    </a:lnTo>
                    <a:lnTo>
                      <a:pt x="1006" y="36"/>
                    </a:lnTo>
                    <a:lnTo>
                      <a:pt x="1004" y="34"/>
                    </a:lnTo>
                    <a:lnTo>
                      <a:pt x="1004" y="32"/>
                    </a:lnTo>
                    <a:lnTo>
                      <a:pt x="1002" y="30"/>
                    </a:lnTo>
                    <a:lnTo>
                      <a:pt x="1002" y="30"/>
                    </a:lnTo>
                    <a:lnTo>
                      <a:pt x="1002" y="30"/>
                    </a:lnTo>
                    <a:lnTo>
                      <a:pt x="1000" y="28"/>
                    </a:lnTo>
                    <a:lnTo>
                      <a:pt x="996" y="28"/>
                    </a:lnTo>
                    <a:lnTo>
                      <a:pt x="994" y="26"/>
                    </a:lnTo>
                    <a:lnTo>
                      <a:pt x="992" y="26"/>
                    </a:lnTo>
                    <a:lnTo>
                      <a:pt x="988" y="24"/>
                    </a:lnTo>
                    <a:lnTo>
                      <a:pt x="984" y="24"/>
                    </a:lnTo>
                    <a:lnTo>
                      <a:pt x="982" y="24"/>
                    </a:lnTo>
                    <a:lnTo>
                      <a:pt x="978" y="24"/>
                    </a:lnTo>
                    <a:lnTo>
                      <a:pt x="974" y="22"/>
                    </a:lnTo>
                    <a:lnTo>
                      <a:pt x="970" y="22"/>
                    </a:lnTo>
                    <a:lnTo>
                      <a:pt x="968" y="22"/>
                    </a:lnTo>
                    <a:lnTo>
                      <a:pt x="964" y="24"/>
                    </a:lnTo>
                    <a:lnTo>
                      <a:pt x="962" y="24"/>
                    </a:lnTo>
                    <a:lnTo>
                      <a:pt x="958" y="24"/>
                    </a:lnTo>
                    <a:lnTo>
                      <a:pt x="956" y="24"/>
                    </a:lnTo>
                    <a:lnTo>
                      <a:pt x="954" y="26"/>
                    </a:lnTo>
                    <a:lnTo>
                      <a:pt x="952" y="26"/>
                    </a:lnTo>
                    <a:lnTo>
                      <a:pt x="952" y="26"/>
                    </a:lnTo>
                    <a:lnTo>
                      <a:pt x="952" y="28"/>
                    </a:lnTo>
                    <a:lnTo>
                      <a:pt x="950" y="28"/>
                    </a:lnTo>
                    <a:lnTo>
                      <a:pt x="950" y="30"/>
                    </a:lnTo>
                    <a:lnTo>
                      <a:pt x="948" y="32"/>
                    </a:lnTo>
                    <a:lnTo>
                      <a:pt x="946" y="34"/>
                    </a:lnTo>
                    <a:lnTo>
                      <a:pt x="946" y="34"/>
                    </a:lnTo>
                    <a:lnTo>
                      <a:pt x="946" y="36"/>
                    </a:lnTo>
                    <a:lnTo>
                      <a:pt x="944" y="36"/>
                    </a:lnTo>
                    <a:lnTo>
                      <a:pt x="944" y="36"/>
                    </a:lnTo>
                    <a:lnTo>
                      <a:pt x="942" y="36"/>
                    </a:lnTo>
                    <a:lnTo>
                      <a:pt x="942" y="36"/>
                    </a:lnTo>
                    <a:lnTo>
                      <a:pt x="940" y="34"/>
                    </a:lnTo>
                    <a:lnTo>
                      <a:pt x="938" y="34"/>
                    </a:lnTo>
                    <a:lnTo>
                      <a:pt x="936" y="32"/>
                    </a:lnTo>
                    <a:lnTo>
                      <a:pt x="934" y="32"/>
                    </a:lnTo>
                    <a:lnTo>
                      <a:pt x="932" y="30"/>
                    </a:lnTo>
                    <a:lnTo>
                      <a:pt x="930" y="28"/>
                    </a:lnTo>
                    <a:lnTo>
                      <a:pt x="928" y="28"/>
                    </a:lnTo>
                    <a:lnTo>
                      <a:pt x="928" y="26"/>
                    </a:lnTo>
                    <a:lnTo>
                      <a:pt x="926" y="26"/>
                    </a:lnTo>
                    <a:lnTo>
                      <a:pt x="926" y="22"/>
                    </a:lnTo>
                    <a:lnTo>
                      <a:pt x="924" y="18"/>
                    </a:lnTo>
                    <a:lnTo>
                      <a:pt x="922" y="18"/>
                    </a:lnTo>
                    <a:lnTo>
                      <a:pt x="922" y="16"/>
                    </a:lnTo>
                    <a:lnTo>
                      <a:pt x="920" y="16"/>
                    </a:lnTo>
                    <a:lnTo>
                      <a:pt x="920" y="14"/>
                    </a:lnTo>
                    <a:lnTo>
                      <a:pt x="916" y="10"/>
                    </a:lnTo>
                    <a:lnTo>
                      <a:pt x="912" y="8"/>
                    </a:lnTo>
                    <a:lnTo>
                      <a:pt x="910" y="6"/>
                    </a:lnTo>
                    <a:lnTo>
                      <a:pt x="906" y="4"/>
                    </a:lnTo>
                    <a:lnTo>
                      <a:pt x="904" y="2"/>
                    </a:lnTo>
                    <a:lnTo>
                      <a:pt x="902" y="2"/>
                    </a:lnTo>
                    <a:lnTo>
                      <a:pt x="900" y="0"/>
                    </a:lnTo>
                    <a:lnTo>
                      <a:pt x="900" y="0"/>
                    </a:lnTo>
                    <a:lnTo>
                      <a:pt x="898" y="0"/>
                    </a:lnTo>
                    <a:lnTo>
                      <a:pt x="896" y="0"/>
                    </a:lnTo>
                    <a:lnTo>
                      <a:pt x="896" y="0"/>
                    </a:lnTo>
                    <a:lnTo>
                      <a:pt x="892" y="0"/>
                    </a:lnTo>
                    <a:lnTo>
                      <a:pt x="888" y="2"/>
                    </a:lnTo>
                    <a:lnTo>
                      <a:pt x="886" y="4"/>
                    </a:lnTo>
                    <a:lnTo>
                      <a:pt x="882" y="4"/>
                    </a:lnTo>
                    <a:lnTo>
                      <a:pt x="878" y="6"/>
                    </a:lnTo>
                    <a:lnTo>
                      <a:pt x="876" y="8"/>
                    </a:lnTo>
                    <a:lnTo>
                      <a:pt x="876" y="10"/>
                    </a:lnTo>
                    <a:lnTo>
                      <a:pt x="874" y="10"/>
                    </a:lnTo>
                    <a:lnTo>
                      <a:pt x="874" y="10"/>
                    </a:lnTo>
                    <a:lnTo>
                      <a:pt x="874" y="12"/>
                    </a:lnTo>
                    <a:lnTo>
                      <a:pt x="872" y="14"/>
                    </a:lnTo>
                    <a:lnTo>
                      <a:pt x="872" y="16"/>
                    </a:lnTo>
                    <a:lnTo>
                      <a:pt x="872" y="20"/>
                    </a:lnTo>
                    <a:lnTo>
                      <a:pt x="870" y="24"/>
                    </a:lnTo>
                    <a:lnTo>
                      <a:pt x="870" y="28"/>
                    </a:lnTo>
                    <a:lnTo>
                      <a:pt x="870" y="30"/>
                    </a:lnTo>
                    <a:lnTo>
                      <a:pt x="868" y="30"/>
                    </a:lnTo>
                    <a:lnTo>
                      <a:pt x="868" y="30"/>
                    </a:lnTo>
                    <a:lnTo>
                      <a:pt x="866" y="32"/>
                    </a:lnTo>
                    <a:lnTo>
                      <a:pt x="866" y="34"/>
                    </a:lnTo>
                    <a:lnTo>
                      <a:pt x="864" y="34"/>
                    </a:lnTo>
                    <a:lnTo>
                      <a:pt x="864" y="36"/>
                    </a:lnTo>
                    <a:lnTo>
                      <a:pt x="864" y="36"/>
                    </a:lnTo>
                    <a:lnTo>
                      <a:pt x="864" y="36"/>
                    </a:lnTo>
                    <a:lnTo>
                      <a:pt x="864" y="38"/>
                    </a:lnTo>
                    <a:lnTo>
                      <a:pt x="864" y="38"/>
                    </a:lnTo>
                    <a:lnTo>
                      <a:pt x="866" y="38"/>
                    </a:lnTo>
                    <a:lnTo>
                      <a:pt x="866" y="38"/>
                    </a:lnTo>
                    <a:lnTo>
                      <a:pt x="868" y="38"/>
                    </a:lnTo>
                    <a:lnTo>
                      <a:pt x="870" y="38"/>
                    </a:lnTo>
                    <a:lnTo>
                      <a:pt x="872" y="38"/>
                    </a:lnTo>
                    <a:lnTo>
                      <a:pt x="874" y="38"/>
                    </a:lnTo>
                    <a:lnTo>
                      <a:pt x="874" y="40"/>
                    </a:lnTo>
                    <a:lnTo>
                      <a:pt x="874" y="40"/>
                    </a:lnTo>
                    <a:lnTo>
                      <a:pt x="876" y="40"/>
                    </a:lnTo>
                    <a:lnTo>
                      <a:pt x="876" y="40"/>
                    </a:lnTo>
                    <a:lnTo>
                      <a:pt x="876" y="42"/>
                    </a:lnTo>
                    <a:lnTo>
                      <a:pt x="876" y="42"/>
                    </a:lnTo>
                    <a:lnTo>
                      <a:pt x="874" y="42"/>
                    </a:lnTo>
                    <a:lnTo>
                      <a:pt x="874" y="44"/>
                    </a:lnTo>
                    <a:lnTo>
                      <a:pt x="872" y="44"/>
                    </a:lnTo>
                    <a:lnTo>
                      <a:pt x="872" y="44"/>
                    </a:lnTo>
                    <a:lnTo>
                      <a:pt x="870" y="46"/>
                    </a:lnTo>
                    <a:lnTo>
                      <a:pt x="866" y="48"/>
                    </a:lnTo>
                    <a:lnTo>
                      <a:pt x="864" y="48"/>
                    </a:lnTo>
                    <a:lnTo>
                      <a:pt x="862" y="48"/>
                    </a:lnTo>
                    <a:lnTo>
                      <a:pt x="860" y="50"/>
                    </a:lnTo>
                    <a:lnTo>
                      <a:pt x="858" y="50"/>
                    </a:lnTo>
                    <a:lnTo>
                      <a:pt x="856" y="50"/>
                    </a:lnTo>
                    <a:lnTo>
                      <a:pt x="854" y="48"/>
                    </a:lnTo>
                    <a:lnTo>
                      <a:pt x="850" y="48"/>
                    </a:lnTo>
                    <a:lnTo>
                      <a:pt x="848" y="48"/>
                    </a:lnTo>
                    <a:lnTo>
                      <a:pt x="840" y="46"/>
                    </a:lnTo>
                    <a:lnTo>
                      <a:pt x="838" y="44"/>
                    </a:lnTo>
                    <a:lnTo>
                      <a:pt x="836" y="44"/>
                    </a:lnTo>
                    <a:lnTo>
                      <a:pt x="836" y="44"/>
                    </a:lnTo>
                    <a:lnTo>
                      <a:pt x="832" y="44"/>
                    </a:lnTo>
                    <a:lnTo>
                      <a:pt x="826" y="44"/>
                    </a:lnTo>
                    <a:lnTo>
                      <a:pt x="824" y="44"/>
                    </a:lnTo>
                    <a:lnTo>
                      <a:pt x="822" y="46"/>
                    </a:lnTo>
                    <a:lnTo>
                      <a:pt x="820" y="46"/>
                    </a:lnTo>
                    <a:lnTo>
                      <a:pt x="818" y="46"/>
                    </a:lnTo>
                    <a:lnTo>
                      <a:pt x="818" y="48"/>
                    </a:lnTo>
                    <a:lnTo>
                      <a:pt x="816" y="48"/>
                    </a:lnTo>
                    <a:lnTo>
                      <a:pt x="816" y="50"/>
                    </a:lnTo>
                    <a:lnTo>
                      <a:pt x="814" y="52"/>
                    </a:lnTo>
                    <a:lnTo>
                      <a:pt x="814" y="54"/>
                    </a:lnTo>
                    <a:lnTo>
                      <a:pt x="812" y="54"/>
                    </a:lnTo>
                    <a:lnTo>
                      <a:pt x="812" y="54"/>
                    </a:lnTo>
                    <a:lnTo>
                      <a:pt x="812" y="54"/>
                    </a:lnTo>
                    <a:lnTo>
                      <a:pt x="810" y="54"/>
                    </a:lnTo>
                    <a:lnTo>
                      <a:pt x="810" y="54"/>
                    </a:lnTo>
                    <a:lnTo>
                      <a:pt x="810" y="54"/>
                    </a:lnTo>
                    <a:lnTo>
                      <a:pt x="808" y="52"/>
                    </a:lnTo>
                    <a:lnTo>
                      <a:pt x="808" y="50"/>
                    </a:lnTo>
                    <a:lnTo>
                      <a:pt x="806" y="48"/>
                    </a:lnTo>
                    <a:lnTo>
                      <a:pt x="804" y="46"/>
                    </a:lnTo>
                    <a:lnTo>
                      <a:pt x="804" y="44"/>
                    </a:lnTo>
                    <a:lnTo>
                      <a:pt x="804" y="44"/>
                    </a:lnTo>
                    <a:lnTo>
                      <a:pt x="802" y="42"/>
                    </a:lnTo>
                    <a:lnTo>
                      <a:pt x="802" y="42"/>
                    </a:lnTo>
                    <a:lnTo>
                      <a:pt x="802" y="42"/>
                    </a:lnTo>
                    <a:lnTo>
                      <a:pt x="800" y="42"/>
                    </a:lnTo>
                    <a:lnTo>
                      <a:pt x="800" y="42"/>
                    </a:lnTo>
                    <a:lnTo>
                      <a:pt x="798" y="42"/>
                    </a:lnTo>
                    <a:lnTo>
                      <a:pt x="798" y="42"/>
                    </a:lnTo>
                    <a:lnTo>
                      <a:pt x="796" y="44"/>
                    </a:lnTo>
                    <a:lnTo>
                      <a:pt x="794" y="44"/>
                    </a:lnTo>
                    <a:lnTo>
                      <a:pt x="792" y="46"/>
                    </a:lnTo>
                    <a:lnTo>
                      <a:pt x="790" y="46"/>
                    </a:lnTo>
                    <a:lnTo>
                      <a:pt x="788" y="48"/>
                    </a:lnTo>
                    <a:lnTo>
                      <a:pt x="788" y="48"/>
                    </a:lnTo>
                    <a:lnTo>
                      <a:pt x="788" y="48"/>
                    </a:lnTo>
                    <a:lnTo>
                      <a:pt x="786" y="48"/>
                    </a:lnTo>
                    <a:lnTo>
                      <a:pt x="786" y="48"/>
                    </a:lnTo>
                    <a:lnTo>
                      <a:pt x="784" y="48"/>
                    </a:lnTo>
                    <a:lnTo>
                      <a:pt x="780" y="46"/>
                    </a:lnTo>
                    <a:lnTo>
                      <a:pt x="780" y="44"/>
                    </a:lnTo>
                    <a:lnTo>
                      <a:pt x="778" y="44"/>
                    </a:lnTo>
                    <a:lnTo>
                      <a:pt x="776" y="44"/>
                    </a:lnTo>
                    <a:lnTo>
                      <a:pt x="776" y="44"/>
                    </a:lnTo>
                    <a:lnTo>
                      <a:pt x="776" y="44"/>
                    </a:lnTo>
                    <a:lnTo>
                      <a:pt x="774" y="44"/>
                    </a:lnTo>
                    <a:lnTo>
                      <a:pt x="774" y="44"/>
                    </a:lnTo>
                    <a:lnTo>
                      <a:pt x="774" y="46"/>
                    </a:lnTo>
                    <a:lnTo>
                      <a:pt x="774" y="46"/>
                    </a:lnTo>
                    <a:lnTo>
                      <a:pt x="774" y="46"/>
                    </a:lnTo>
                    <a:lnTo>
                      <a:pt x="774" y="48"/>
                    </a:lnTo>
                    <a:lnTo>
                      <a:pt x="774" y="50"/>
                    </a:lnTo>
                    <a:lnTo>
                      <a:pt x="774" y="52"/>
                    </a:lnTo>
                    <a:lnTo>
                      <a:pt x="774" y="54"/>
                    </a:lnTo>
                    <a:lnTo>
                      <a:pt x="774" y="54"/>
                    </a:lnTo>
                    <a:lnTo>
                      <a:pt x="774" y="56"/>
                    </a:lnTo>
                    <a:lnTo>
                      <a:pt x="774" y="56"/>
                    </a:lnTo>
                    <a:lnTo>
                      <a:pt x="774" y="56"/>
                    </a:lnTo>
                    <a:lnTo>
                      <a:pt x="772" y="58"/>
                    </a:lnTo>
                    <a:lnTo>
                      <a:pt x="772" y="58"/>
                    </a:lnTo>
                    <a:lnTo>
                      <a:pt x="770" y="58"/>
                    </a:lnTo>
                    <a:lnTo>
                      <a:pt x="768" y="58"/>
                    </a:lnTo>
                    <a:lnTo>
                      <a:pt x="766" y="58"/>
                    </a:lnTo>
                    <a:lnTo>
                      <a:pt x="766" y="60"/>
                    </a:lnTo>
                    <a:lnTo>
                      <a:pt x="762" y="58"/>
                    </a:lnTo>
                    <a:lnTo>
                      <a:pt x="754" y="58"/>
                    </a:lnTo>
                    <a:lnTo>
                      <a:pt x="752" y="58"/>
                    </a:lnTo>
                    <a:lnTo>
                      <a:pt x="748" y="58"/>
                    </a:lnTo>
                    <a:lnTo>
                      <a:pt x="744" y="58"/>
                    </a:lnTo>
                    <a:lnTo>
                      <a:pt x="736" y="58"/>
                    </a:lnTo>
                    <a:lnTo>
                      <a:pt x="734" y="60"/>
                    </a:lnTo>
                    <a:lnTo>
                      <a:pt x="730" y="60"/>
                    </a:lnTo>
                    <a:lnTo>
                      <a:pt x="728" y="60"/>
                    </a:lnTo>
                    <a:lnTo>
                      <a:pt x="726" y="60"/>
                    </a:lnTo>
                    <a:lnTo>
                      <a:pt x="724" y="62"/>
                    </a:lnTo>
                    <a:lnTo>
                      <a:pt x="722" y="62"/>
                    </a:lnTo>
                    <a:lnTo>
                      <a:pt x="718" y="64"/>
                    </a:lnTo>
                    <a:lnTo>
                      <a:pt x="714" y="68"/>
                    </a:lnTo>
                    <a:lnTo>
                      <a:pt x="712" y="68"/>
                    </a:lnTo>
                    <a:lnTo>
                      <a:pt x="710" y="70"/>
                    </a:lnTo>
                    <a:lnTo>
                      <a:pt x="708" y="70"/>
                    </a:lnTo>
                    <a:lnTo>
                      <a:pt x="706" y="70"/>
                    </a:lnTo>
                    <a:lnTo>
                      <a:pt x="702" y="72"/>
                    </a:lnTo>
                    <a:lnTo>
                      <a:pt x="700" y="72"/>
                    </a:lnTo>
                    <a:lnTo>
                      <a:pt x="698" y="74"/>
                    </a:lnTo>
                    <a:lnTo>
                      <a:pt x="696" y="74"/>
                    </a:lnTo>
                    <a:lnTo>
                      <a:pt x="696" y="74"/>
                    </a:lnTo>
                    <a:lnTo>
                      <a:pt x="694" y="76"/>
                    </a:lnTo>
                    <a:lnTo>
                      <a:pt x="694" y="76"/>
                    </a:lnTo>
                    <a:lnTo>
                      <a:pt x="694" y="76"/>
                    </a:lnTo>
                    <a:lnTo>
                      <a:pt x="694" y="78"/>
                    </a:lnTo>
                    <a:lnTo>
                      <a:pt x="692" y="80"/>
                    </a:lnTo>
                    <a:lnTo>
                      <a:pt x="692" y="82"/>
                    </a:lnTo>
                    <a:lnTo>
                      <a:pt x="692" y="84"/>
                    </a:lnTo>
                    <a:lnTo>
                      <a:pt x="694" y="86"/>
                    </a:lnTo>
                    <a:lnTo>
                      <a:pt x="694" y="88"/>
                    </a:lnTo>
                    <a:lnTo>
                      <a:pt x="694" y="88"/>
                    </a:lnTo>
                    <a:lnTo>
                      <a:pt x="694" y="88"/>
                    </a:lnTo>
                    <a:lnTo>
                      <a:pt x="696" y="88"/>
                    </a:lnTo>
                    <a:lnTo>
                      <a:pt x="696" y="90"/>
                    </a:lnTo>
                    <a:lnTo>
                      <a:pt x="698" y="90"/>
                    </a:lnTo>
                    <a:lnTo>
                      <a:pt x="700" y="90"/>
                    </a:lnTo>
                    <a:lnTo>
                      <a:pt x="702" y="90"/>
                    </a:lnTo>
                    <a:lnTo>
                      <a:pt x="704" y="90"/>
                    </a:lnTo>
                    <a:lnTo>
                      <a:pt x="706" y="92"/>
                    </a:lnTo>
                    <a:lnTo>
                      <a:pt x="706" y="92"/>
                    </a:lnTo>
                    <a:lnTo>
                      <a:pt x="706" y="92"/>
                    </a:lnTo>
                    <a:lnTo>
                      <a:pt x="708" y="94"/>
                    </a:lnTo>
                    <a:lnTo>
                      <a:pt x="708" y="96"/>
                    </a:lnTo>
                    <a:lnTo>
                      <a:pt x="710" y="98"/>
                    </a:lnTo>
                    <a:lnTo>
                      <a:pt x="710" y="100"/>
                    </a:lnTo>
                    <a:lnTo>
                      <a:pt x="712" y="102"/>
                    </a:lnTo>
                    <a:lnTo>
                      <a:pt x="712" y="104"/>
                    </a:lnTo>
                    <a:lnTo>
                      <a:pt x="712" y="104"/>
                    </a:lnTo>
                    <a:lnTo>
                      <a:pt x="712" y="106"/>
                    </a:lnTo>
                    <a:lnTo>
                      <a:pt x="712" y="106"/>
                    </a:lnTo>
                    <a:lnTo>
                      <a:pt x="710" y="108"/>
                    </a:lnTo>
                    <a:lnTo>
                      <a:pt x="710" y="108"/>
                    </a:lnTo>
                    <a:lnTo>
                      <a:pt x="710" y="110"/>
                    </a:lnTo>
                    <a:lnTo>
                      <a:pt x="708" y="110"/>
                    </a:lnTo>
                    <a:lnTo>
                      <a:pt x="708" y="110"/>
                    </a:lnTo>
                    <a:lnTo>
                      <a:pt x="706" y="110"/>
                    </a:lnTo>
                    <a:lnTo>
                      <a:pt x="704" y="110"/>
                    </a:lnTo>
                    <a:lnTo>
                      <a:pt x="704" y="110"/>
                    </a:lnTo>
                    <a:lnTo>
                      <a:pt x="700" y="108"/>
                    </a:lnTo>
                    <a:lnTo>
                      <a:pt x="694" y="106"/>
                    </a:lnTo>
                    <a:lnTo>
                      <a:pt x="690" y="106"/>
                    </a:lnTo>
                    <a:lnTo>
                      <a:pt x="688" y="106"/>
                    </a:lnTo>
                    <a:lnTo>
                      <a:pt x="688" y="106"/>
                    </a:lnTo>
                    <a:lnTo>
                      <a:pt x="682" y="106"/>
                    </a:lnTo>
                    <a:lnTo>
                      <a:pt x="674" y="106"/>
                    </a:lnTo>
                    <a:lnTo>
                      <a:pt x="670" y="106"/>
                    </a:lnTo>
                    <a:lnTo>
                      <a:pt x="666" y="106"/>
                    </a:lnTo>
                    <a:lnTo>
                      <a:pt x="662" y="106"/>
                    </a:lnTo>
                    <a:lnTo>
                      <a:pt x="658" y="108"/>
                    </a:lnTo>
                    <a:lnTo>
                      <a:pt x="654" y="108"/>
                    </a:lnTo>
                    <a:lnTo>
                      <a:pt x="652" y="108"/>
                    </a:lnTo>
                    <a:lnTo>
                      <a:pt x="650" y="110"/>
                    </a:lnTo>
                    <a:lnTo>
                      <a:pt x="648" y="110"/>
                    </a:lnTo>
                    <a:lnTo>
                      <a:pt x="646" y="112"/>
                    </a:lnTo>
                    <a:lnTo>
                      <a:pt x="644" y="112"/>
                    </a:lnTo>
                    <a:lnTo>
                      <a:pt x="644" y="112"/>
                    </a:lnTo>
                    <a:lnTo>
                      <a:pt x="642" y="114"/>
                    </a:lnTo>
                    <a:lnTo>
                      <a:pt x="642" y="114"/>
                    </a:lnTo>
                    <a:lnTo>
                      <a:pt x="642" y="114"/>
                    </a:lnTo>
                    <a:lnTo>
                      <a:pt x="640" y="116"/>
                    </a:lnTo>
                    <a:lnTo>
                      <a:pt x="640" y="118"/>
                    </a:lnTo>
                    <a:lnTo>
                      <a:pt x="640" y="122"/>
                    </a:lnTo>
                    <a:lnTo>
                      <a:pt x="638" y="124"/>
                    </a:lnTo>
                    <a:lnTo>
                      <a:pt x="638" y="126"/>
                    </a:lnTo>
                    <a:lnTo>
                      <a:pt x="638" y="128"/>
                    </a:lnTo>
                    <a:lnTo>
                      <a:pt x="638" y="130"/>
                    </a:lnTo>
                    <a:lnTo>
                      <a:pt x="640" y="132"/>
                    </a:lnTo>
                    <a:lnTo>
                      <a:pt x="640" y="134"/>
                    </a:lnTo>
                    <a:lnTo>
                      <a:pt x="640" y="136"/>
                    </a:lnTo>
                    <a:lnTo>
                      <a:pt x="642" y="138"/>
                    </a:lnTo>
                    <a:lnTo>
                      <a:pt x="642" y="140"/>
                    </a:lnTo>
                    <a:lnTo>
                      <a:pt x="644" y="142"/>
                    </a:lnTo>
                    <a:lnTo>
                      <a:pt x="646" y="142"/>
                    </a:lnTo>
                    <a:lnTo>
                      <a:pt x="646" y="144"/>
                    </a:lnTo>
                    <a:lnTo>
                      <a:pt x="646" y="144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50" y="144"/>
                    </a:lnTo>
                    <a:lnTo>
                      <a:pt x="652" y="144"/>
                    </a:lnTo>
                    <a:lnTo>
                      <a:pt x="654" y="144"/>
                    </a:lnTo>
                    <a:lnTo>
                      <a:pt x="656" y="144"/>
                    </a:lnTo>
                    <a:lnTo>
                      <a:pt x="658" y="144"/>
                    </a:lnTo>
                    <a:lnTo>
                      <a:pt x="658" y="144"/>
                    </a:lnTo>
                    <a:lnTo>
                      <a:pt x="658" y="144"/>
                    </a:lnTo>
                    <a:lnTo>
                      <a:pt x="660" y="146"/>
                    </a:lnTo>
                    <a:lnTo>
                      <a:pt x="662" y="148"/>
                    </a:lnTo>
                    <a:lnTo>
                      <a:pt x="664" y="148"/>
                    </a:lnTo>
                    <a:lnTo>
                      <a:pt x="664" y="150"/>
                    </a:lnTo>
                    <a:lnTo>
                      <a:pt x="666" y="154"/>
                    </a:lnTo>
                    <a:lnTo>
                      <a:pt x="670" y="158"/>
                    </a:lnTo>
                    <a:lnTo>
                      <a:pt x="672" y="162"/>
                    </a:lnTo>
                    <a:lnTo>
                      <a:pt x="674" y="166"/>
                    </a:lnTo>
                    <a:lnTo>
                      <a:pt x="676" y="168"/>
                    </a:lnTo>
                    <a:lnTo>
                      <a:pt x="676" y="170"/>
                    </a:lnTo>
                    <a:lnTo>
                      <a:pt x="678" y="172"/>
                    </a:lnTo>
                    <a:lnTo>
                      <a:pt x="678" y="174"/>
                    </a:lnTo>
                    <a:lnTo>
                      <a:pt x="678" y="176"/>
                    </a:lnTo>
                    <a:lnTo>
                      <a:pt x="678" y="178"/>
                    </a:lnTo>
                    <a:lnTo>
                      <a:pt x="678" y="180"/>
                    </a:lnTo>
                    <a:lnTo>
                      <a:pt x="678" y="182"/>
                    </a:lnTo>
                    <a:lnTo>
                      <a:pt x="678" y="184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6" y="186"/>
                    </a:lnTo>
                    <a:lnTo>
                      <a:pt x="676" y="186"/>
                    </a:lnTo>
                    <a:lnTo>
                      <a:pt x="676" y="186"/>
                    </a:lnTo>
                    <a:lnTo>
                      <a:pt x="676" y="186"/>
                    </a:lnTo>
                    <a:lnTo>
                      <a:pt x="674" y="186"/>
                    </a:lnTo>
                    <a:lnTo>
                      <a:pt x="674" y="186"/>
                    </a:lnTo>
                    <a:lnTo>
                      <a:pt x="672" y="186"/>
                    </a:lnTo>
                    <a:lnTo>
                      <a:pt x="670" y="184"/>
                    </a:lnTo>
                    <a:lnTo>
                      <a:pt x="670" y="184"/>
                    </a:lnTo>
                    <a:lnTo>
                      <a:pt x="668" y="182"/>
                    </a:lnTo>
                    <a:lnTo>
                      <a:pt x="666" y="178"/>
                    </a:lnTo>
                    <a:lnTo>
                      <a:pt x="662" y="174"/>
                    </a:lnTo>
                    <a:lnTo>
                      <a:pt x="660" y="170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6" y="166"/>
                    </a:lnTo>
                    <a:lnTo>
                      <a:pt x="656" y="164"/>
                    </a:lnTo>
                    <a:lnTo>
                      <a:pt x="654" y="164"/>
                    </a:lnTo>
                    <a:lnTo>
                      <a:pt x="654" y="164"/>
                    </a:lnTo>
                    <a:lnTo>
                      <a:pt x="650" y="164"/>
                    </a:lnTo>
                    <a:lnTo>
                      <a:pt x="648" y="162"/>
                    </a:lnTo>
                    <a:lnTo>
                      <a:pt x="644" y="162"/>
                    </a:lnTo>
                    <a:lnTo>
                      <a:pt x="642" y="162"/>
                    </a:lnTo>
                    <a:lnTo>
                      <a:pt x="638" y="160"/>
                    </a:lnTo>
                    <a:lnTo>
                      <a:pt x="636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4" y="158"/>
                    </a:lnTo>
                    <a:lnTo>
                      <a:pt x="632" y="158"/>
                    </a:lnTo>
                    <a:lnTo>
                      <a:pt x="632" y="156"/>
                    </a:lnTo>
                    <a:lnTo>
                      <a:pt x="630" y="154"/>
                    </a:lnTo>
                    <a:lnTo>
                      <a:pt x="628" y="152"/>
                    </a:lnTo>
                    <a:lnTo>
                      <a:pt x="628" y="150"/>
                    </a:lnTo>
                    <a:lnTo>
                      <a:pt x="626" y="148"/>
                    </a:lnTo>
                    <a:lnTo>
                      <a:pt x="626" y="146"/>
                    </a:lnTo>
                    <a:lnTo>
                      <a:pt x="626" y="146"/>
                    </a:lnTo>
                    <a:lnTo>
                      <a:pt x="624" y="146"/>
                    </a:lnTo>
                    <a:lnTo>
                      <a:pt x="624" y="144"/>
                    </a:lnTo>
                    <a:lnTo>
                      <a:pt x="622" y="144"/>
                    </a:lnTo>
                    <a:lnTo>
                      <a:pt x="620" y="144"/>
                    </a:lnTo>
                    <a:lnTo>
                      <a:pt x="620" y="144"/>
                    </a:lnTo>
                    <a:lnTo>
                      <a:pt x="618" y="144"/>
                    </a:lnTo>
                    <a:lnTo>
                      <a:pt x="616" y="144"/>
                    </a:lnTo>
                    <a:lnTo>
                      <a:pt x="614" y="144"/>
                    </a:lnTo>
                    <a:lnTo>
                      <a:pt x="612" y="146"/>
                    </a:lnTo>
                    <a:lnTo>
                      <a:pt x="612" y="146"/>
                    </a:lnTo>
                    <a:lnTo>
                      <a:pt x="610" y="146"/>
                    </a:lnTo>
                    <a:lnTo>
                      <a:pt x="610" y="148"/>
                    </a:lnTo>
                    <a:lnTo>
                      <a:pt x="608" y="150"/>
                    </a:lnTo>
                    <a:lnTo>
                      <a:pt x="608" y="152"/>
                    </a:lnTo>
                    <a:lnTo>
                      <a:pt x="606" y="154"/>
                    </a:lnTo>
                    <a:lnTo>
                      <a:pt x="606" y="156"/>
                    </a:lnTo>
                    <a:lnTo>
                      <a:pt x="604" y="158"/>
                    </a:lnTo>
                    <a:lnTo>
                      <a:pt x="604" y="160"/>
                    </a:lnTo>
                    <a:lnTo>
                      <a:pt x="604" y="162"/>
                    </a:lnTo>
                    <a:lnTo>
                      <a:pt x="606" y="164"/>
                    </a:lnTo>
                    <a:lnTo>
                      <a:pt x="606" y="164"/>
                    </a:lnTo>
                    <a:lnTo>
                      <a:pt x="606" y="166"/>
                    </a:lnTo>
                    <a:lnTo>
                      <a:pt x="608" y="166"/>
                    </a:lnTo>
                    <a:lnTo>
                      <a:pt x="610" y="170"/>
                    </a:lnTo>
                    <a:lnTo>
                      <a:pt x="610" y="170"/>
                    </a:lnTo>
                    <a:lnTo>
                      <a:pt x="612" y="172"/>
                    </a:lnTo>
                    <a:lnTo>
                      <a:pt x="612" y="174"/>
                    </a:lnTo>
                    <a:lnTo>
                      <a:pt x="612" y="176"/>
                    </a:lnTo>
                    <a:lnTo>
                      <a:pt x="612" y="178"/>
                    </a:lnTo>
                    <a:lnTo>
                      <a:pt x="614" y="178"/>
                    </a:lnTo>
                    <a:lnTo>
                      <a:pt x="612" y="180"/>
                    </a:lnTo>
                    <a:lnTo>
                      <a:pt x="612" y="180"/>
                    </a:lnTo>
                    <a:lnTo>
                      <a:pt x="612" y="180"/>
                    </a:lnTo>
                    <a:lnTo>
                      <a:pt x="612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8" y="180"/>
                    </a:lnTo>
                    <a:lnTo>
                      <a:pt x="608" y="180"/>
                    </a:lnTo>
                    <a:lnTo>
                      <a:pt x="606" y="180"/>
                    </a:lnTo>
                    <a:lnTo>
                      <a:pt x="604" y="178"/>
                    </a:lnTo>
                    <a:lnTo>
                      <a:pt x="602" y="178"/>
                    </a:lnTo>
                    <a:lnTo>
                      <a:pt x="598" y="176"/>
                    </a:lnTo>
                    <a:lnTo>
                      <a:pt x="594" y="174"/>
                    </a:lnTo>
                    <a:lnTo>
                      <a:pt x="592" y="172"/>
                    </a:lnTo>
                    <a:lnTo>
                      <a:pt x="590" y="170"/>
                    </a:lnTo>
                    <a:lnTo>
                      <a:pt x="588" y="170"/>
                    </a:lnTo>
                    <a:lnTo>
                      <a:pt x="586" y="168"/>
                    </a:lnTo>
                    <a:lnTo>
                      <a:pt x="582" y="164"/>
                    </a:lnTo>
                    <a:lnTo>
                      <a:pt x="580" y="162"/>
                    </a:lnTo>
                    <a:lnTo>
                      <a:pt x="578" y="160"/>
                    </a:lnTo>
                    <a:lnTo>
                      <a:pt x="578" y="160"/>
                    </a:lnTo>
                    <a:lnTo>
                      <a:pt x="578" y="158"/>
                    </a:lnTo>
                    <a:lnTo>
                      <a:pt x="576" y="158"/>
                    </a:lnTo>
                    <a:lnTo>
                      <a:pt x="576" y="156"/>
                    </a:lnTo>
                    <a:lnTo>
                      <a:pt x="576" y="154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76" y="144"/>
                    </a:lnTo>
                    <a:lnTo>
                      <a:pt x="576" y="142"/>
                    </a:lnTo>
                    <a:lnTo>
                      <a:pt x="574" y="140"/>
                    </a:lnTo>
                    <a:lnTo>
                      <a:pt x="574" y="140"/>
                    </a:lnTo>
                    <a:lnTo>
                      <a:pt x="574" y="136"/>
                    </a:lnTo>
                    <a:lnTo>
                      <a:pt x="572" y="134"/>
                    </a:lnTo>
                    <a:lnTo>
                      <a:pt x="572" y="134"/>
                    </a:lnTo>
                    <a:lnTo>
                      <a:pt x="570" y="132"/>
                    </a:lnTo>
                    <a:lnTo>
                      <a:pt x="570" y="130"/>
                    </a:lnTo>
                    <a:lnTo>
                      <a:pt x="568" y="130"/>
                    </a:lnTo>
                    <a:lnTo>
                      <a:pt x="568" y="128"/>
                    </a:lnTo>
                    <a:lnTo>
                      <a:pt x="568" y="128"/>
                    </a:lnTo>
                    <a:lnTo>
                      <a:pt x="566" y="128"/>
                    </a:lnTo>
                    <a:lnTo>
                      <a:pt x="566" y="128"/>
                    </a:lnTo>
                    <a:lnTo>
                      <a:pt x="566" y="128"/>
                    </a:lnTo>
                    <a:lnTo>
                      <a:pt x="564" y="130"/>
                    </a:lnTo>
                    <a:lnTo>
                      <a:pt x="564" y="130"/>
                    </a:lnTo>
                    <a:lnTo>
                      <a:pt x="564" y="130"/>
                    </a:lnTo>
                    <a:lnTo>
                      <a:pt x="562" y="132"/>
                    </a:lnTo>
                    <a:lnTo>
                      <a:pt x="560" y="134"/>
                    </a:lnTo>
                    <a:lnTo>
                      <a:pt x="560" y="136"/>
                    </a:lnTo>
                    <a:lnTo>
                      <a:pt x="558" y="138"/>
                    </a:lnTo>
                    <a:lnTo>
                      <a:pt x="558" y="138"/>
                    </a:lnTo>
                    <a:lnTo>
                      <a:pt x="558" y="140"/>
                    </a:lnTo>
                    <a:lnTo>
                      <a:pt x="558" y="140"/>
                    </a:lnTo>
                    <a:lnTo>
                      <a:pt x="558" y="142"/>
                    </a:lnTo>
                    <a:lnTo>
                      <a:pt x="558" y="144"/>
                    </a:lnTo>
                    <a:lnTo>
                      <a:pt x="558" y="146"/>
                    </a:lnTo>
                    <a:lnTo>
                      <a:pt x="560" y="150"/>
                    </a:lnTo>
                    <a:lnTo>
                      <a:pt x="560" y="152"/>
                    </a:lnTo>
                    <a:lnTo>
                      <a:pt x="560" y="154"/>
                    </a:lnTo>
                    <a:lnTo>
                      <a:pt x="560" y="154"/>
                    </a:lnTo>
                    <a:lnTo>
                      <a:pt x="560" y="156"/>
                    </a:lnTo>
                    <a:lnTo>
                      <a:pt x="560" y="158"/>
                    </a:lnTo>
                    <a:lnTo>
                      <a:pt x="558" y="162"/>
                    </a:lnTo>
                    <a:lnTo>
                      <a:pt x="558" y="162"/>
                    </a:lnTo>
                    <a:lnTo>
                      <a:pt x="558" y="164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8" y="170"/>
                    </a:lnTo>
                    <a:lnTo>
                      <a:pt x="560" y="172"/>
                    </a:lnTo>
                    <a:lnTo>
                      <a:pt x="560" y="172"/>
                    </a:lnTo>
                    <a:lnTo>
                      <a:pt x="560" y="174"/>
                    </a:lnTo>
                    <a:lnTo>
                      <a:pt x="562" y="174"/>
                    </a:lnTo>
                    <a:lnTo>
                      <a:pt x="562" y="174"/>
                    </a:lnTo>
                    <a:lnTo>
                      <a:pt x="564" y="176"/>
                    </a:lnTo>
                    <a:lnTo>
                      <a:pt x="566" y="176"/>
                    </a:lnTo>
                    <a:lnTo>
                      <a:pt x="568" y="176"/>
                    </a:lnTo>
                    <a:lnTo>
                      <a:pt x="568" y="176"/>
                    </a:lnTo>
                    <a:lnTo>
                      <a:pt x="570" y="178"/>
                    </a:lnTo>
                    <a:lnTo>
                      <a:pt x="570" y="178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4"/>
                    </a:lnTo>
                    <a:lnTo>
                      <a:pt x="570" y="186"/>
                    </a:lnTo>
                    <a:lnTo>
                      <a:pt x="570" y="190"/>
                    </a:lnTo>
                    <a:lnTo>
                      <a:pt x="570" y="198"/>
                    </a:lnTo>
                    <a:lnTo>
                      <a:pt x="570" y="202"/>
                    </a:lnTo>
                    <a:lnTo>
                      <a:pt x="570" y="204"/>
                    </a:lnTo>
                    <a:lnTo>
                      <a:pt x="570" y="208"/>
                    </a:lnTo>
                    <a:lnTo>
                      <a:pt x="572" y="212"/>
                    </a:lnTo>
                    <a:lnTo>
                      <a:pt x="572" y="214"/>
                    </a:lnTo>
                    <a:lnTo>
                      <a:pt x="572" y="216"/>
                    </a:lnTo>
                    <a:lnTo>
                      <a:pt x="572" y="216"/>
                    </a:lnTo>
                    <a:lnTo>
                      <a:pt x="572" y="218"/>
                    </a:lnTo>
                    <a:lnTo>
                      <a:pt x="574" y="218"/>
                    </a:lnTo>
                    <a:lnTo>
                      <a:pt x="574" y="218"/>
                    </a:lnTo>
                    <a:lnTo>
                      <a:pt x="576" y="220"/>
                    </a:lnTo>
                    <a:lnTo>
                      <a:pt x="578" y="220"/>
                    </a:lnTo>
                    <a:lnTo>
                      <a:pt x="580" y="220"/>
                    </a:lnTo>
                    <a:lnTo>
                      <a:pt x="582" y="222"/>
                    </a:lnTo>
                    <a:lnTo>
                      <a:pt x="586" y="222"/>
                    </a:lnTo>
                    <a:lnTo>
                      <a:pt x="588" y="222"/>
                    </a:lnTo>
                    <a:lnTo>
                      <a:pt x="590" y="222"/>
                    </a:lnTo>
                    <a:lnTo>
                      <a:pt x="590" y="222"/>
                    </a:lnTo>
                    <a:lnTo>
                      <a:pt x="592" y="220"/>
                    </a:lnTo>
                    <a:lnTo>
                      <a:pt x="592" y="220"/>
                    </a:lnTo>
                    <a:lnTo>
                      <a:pt x="592" y="220"/>
                    </a:lnTo>
                    <a:lnTo>
                      <a:pt x="592" y="220"/>
                    </a:lnTo>
                    <a:lnTo>
                      <a:pt x="592" y="218"/>
                    </a:lnTo>
                    <a:lnTo>
                      <a:pt x="594" y="218"/>
                    </a:lnTo>
                    <a:lnTo>
                      <a:pt x="594" y="216"/>
                    </a:lnTo>
                    <a:lnTo>
                      <a:pt x="594" y="216"/>
                    </a:lnTo>
                    <a:lnTo>
                      <a:pt x="594" y="214"/>
                    </a:lnTo>
                    <a:lnTo>
                      <a:pt x="594" y="214"/>
                    </a:lnTo>
                    <a:lnTo>
                      <a:pt x="594" y="214"/>
                    </a:lnTo>
                    <a:lnTo>
                      <a:pt x="594" y="212"/>
                    </a:lnTo>
                    <a:lnTo>
                      <a:pt x="596" y="212"/>
                    </a:lnTo>
                    <a:lnTo>
                      <a:pt x="596" y="212"/>
                    </a:lnTo>
                    <a:lnTo>
                      <a:pt x="598" y="212"/>
                    </a:lnTo>
                    <a:lnTo>
                      <a:pt x="598" y="212"/>
                    </a:lnTo>
                    <a:lnTo>
                      <a:pt x="600" y="214"/>
                    </a:lnTo>
                    <a:lnTo>
                      <a:pt x="602" y="214"/>
                    </a:lnTo>
                    <a:lnTo>
                      <a:pt x="606" y="216"/>
                    </a:lnTo>
                    <a:lnTo>
                      <a:pt x="608" y="218"/>
                    </a:lnTo>
                    <a:lnTo>
                      <a:pt x="608" y="218"/>
                    </a:lnTo>
                    <a:lnTo>
                      <a:pt x="614" y="220"/>
                    </a:lnTo>
                    <a:lnTo>
                      <a:pt x="616" y="220"/>
                    </a:lnTo>
                    <a:lnTo>
                      <a:pt x="616" y="222"/>
                    </a:lnTo>
                    <a:lnTo>
                      <a:pt x="618" y="222"/>
                    </a:lnTo>
                    <a:lnTo>
                      <a:pt x="618" y="222"/>
                    </a:lnTo>
                    <a:lnTo>
                      <a:pt x="620" y="224"/>
                    </a:lnTo>
                    <a:lnTo>
                      <a:pt x="620" y="226"/>
                    </a:lnTo>
                    <a:lnTo>
                      <a:pt x="622" y="228"/>
                    </a:lnTo>
                    <a:lnTo>
                      <a:pt x="624" y="230"/>
                    </a:lnTo>
                    <a:lnTo>
                      <a:pt x="624" y="232"/>
                    </a:lnTo>
                    <a:lnTo>
                      <a:pt x="624" y="234"/>
                    </a:lnTo>
                    <a:lnTo>
                      <a:pt x="626" y="238"/>
                    </a:lnTo>
                    <a:lnTo>
                      <a:pt x="626" y="240"/>
                    </a:lnTo>
                    <a:lnTo>
                      <a:pt x="626" y="242"/>
                    </a:lnTo>
                    <a:lnTo>
                      <a:pt x="626" y="242"/>
                    </a:lnTo>
                    <a:lnTo>
                      <a:pt x="628" y="244"/>
                    </a:lnTo>
                    <a:lnTo>
                      <a:pt x="628" y="246"/>
                    </a:lnTo>
                    <a:lnTo>
                      <a:pt x="628" y="246"/>
                    </a:lnTo>
                    <a:lnTo>
                      <a:pt x="630" y="248"/>
                    </a:lnTo>
                    <a:lnTo>
                      <a:pt x="634" y="250"/>
                    </a:lnTo>
                    <a:lnTo>
                      <a:pt x="636" y="250"/>
                    </a:lnTo>
                    <a:lnTo>
                      <a:pt x="636" y="252"/>
                    </a:lnTo>
                    <a:lnTo>
                      <a:pt x="636" y="252"/>
                    </a:lnTo>
                    <a:lnTo>
                      <a:pt x="640" y="252"/>
                    </a:lnTo>
                    <a:lnTo>
                      <a:pt x="642" y="254"/>
                    </a:lnTo>
                    <a:lnTo>
                      <a:pt x="642" y="254"/>
                    </a:lnTo>
                    <a:lnTo>
                      <a:pt x="644" y="254"/>
                    </a:lnTo>
                    <a:lnTo>
                      <a:pt x="644" y="256"/>
                    </a:lnTo>
                    <a:lnTo>
                      <a:pt x="644" y="256"/>
                    </a:lnTo>
                    <a:lnTo>
                      <a:pt x="644" y="258"/>
                    </a:lnTo>
                    <a:lnTo>
                      <a:pt x="644" y="260"/>
                    </a:lnTo>
                    <a:lnTo>
                      <a:pt x="646" y="262"/>
                    </a:lnTo>
                    <a:lnTo>
                      <a:pt x="646" y="262"/>
                    </a:lnTo>
                    <a:lnTo>
                      <a:pt x="644" y="264"/>
                    </a:lnTo>
                    <a:lnTo>
                      <a:pt x="644" y="266"/>
                    </a:lnTo>
                    <a:lnTo>
                      <a:pt x="644" y="266"/>
                    </a:lnTo>
                    <a:lnTo>
                      <a:pt x="644" y="266"/>
                    </a:lnTo>
                    <a:lnTo>
                      <a:pt x="644" y="266"/>
                    </a:lnTo>
                    <a:lnTo>
                      <a:pt x="642" y="266"/>
                    </a:lnTo>
                    <a:lnTo>
                      <a:pt x="642" y="266"/>
                    </a:lnTo>
                    <a:lnTo>
                      <a:pt x="640" y="266"/>
                    </a:lnTo>
                    <a:lnTo>
                      <a:pt x="640" y="264"/>
                    </a:lnTo>
                    <a:lnTo>
                      <a:pt x="638" y="264"/>
                    </a:lnTo>
                    <a:lnTo>
                      <a:pt x="636" y="262"/>
                    </a:lnTo>
                    <a:lnTo>
                      <a:pt x="634" y="260"/>
                    </a:lnTo>
                    <a:lnTo>
                      <a:pt x="632" y="258"/>
                    </a:lnTo>
                    <a:lnTo>
                      <a:pt x="630" y="258"/>
                    </a:lnTo>
                    <a:lnTo>
                      <a:pt x="628" y="256"/>
                    </a:lnTo>
                    <a:lnTo>
                      <a:pt x="626" y="252"/>
                    </a:lnTo>
                    <a:lnTo>
                      <a:pt x="624" y="250"/>
                    </a:lnTo>
                    <a:lnTo>
                      <a:pt x="622" y="248"/>
                    </a:lnTo>
                    <a:lnTo>
                      <a:pt x="622" y="246"/>
                    </a:lnTo>
                    <a:lnTo>
                      <a:pt x="618" y="244"/>
                    </a:lnTo>
                    <a:lnTo>
                      <a:pt x="614" y="240"/>
                    </a:lnTo>
                    <a:lnTo>
                      <a:pt x="612" y="238"/>
                    </a:lnTo>
                    <a:lnTo>
                      <a:pt x="610" y="238"/>
                    </a:lnTo>
                    <a:lnTo>
                      <a:pt x="608" y="236"/>
                    </a:lnTo>
                    <a:lnTo>
                      <a:pt x="606" y="236"/>
                    </a:lnTo>
                    <a:lnTo>
                      <a:pt x="604" y="236"/>
                    </a:lnTo>
                    <a:lnTo>
                      <a:pt x="602" y="234"/>
                    </a:lnTo>
                    <a:lnTo>
                      <a:pt x="600" y="234"/>
                    </a:lnTo>
                    <a:lnTo>
                      <a:pt x="598" y="234"/>
                    </a:lnTo>
                    <a:lnTo>
                      <a:pt x="596" y="234"/>
                    </a:lnTo>
                    <a:lnTo>
                      <a:pt x="594" y="234"/>
                    </a:lnTo>
                    <a:lnTo>
                      <a:pt x="592" y="234"/>
                    </a:lnTo>
                    <a:lnTo>
                      <a:pt x="592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6"/>
                    </a:lnTo>
                    <a:lnTo>
                      <a:pt x="590" y="238"/>
                    </a:lnTo>
                    <a:lnTo>
                      <a:pt x="588" y="240"/>
                    </a:lnTo>
                    <a:lnTo>
                      <a:pt x="588" y="244"/>
                    </a:lnTo>
                    <a:lnTo>
                      <a:pt x="586" y="246"/>
                    </a:lnTo>
                    <a:lnTo>
                      <a:pt x="586" y="250"/>
                    </a:lnTo>
                    <a:lnTo>
                      <a:pt x="586" y="252"/>
                    </a:lnTo>
                    <a:lnTo>
                      <a:pt x="584" y="256"/>
                    </a:lnTo>
                    <a:lnTo>
                      <a:pt x="582" y="260"/>
                    </a:lnTo>
                    <a:lnTo>
                      <a:pt x="578" y="268"/>
                    </a:lnTo>
                    <a:lnTo>
                      <a:pt x="576" y="272"/>
                    </a:lnTo>
                    <a:lnTo>
                      <a:pt x="574" y="278"/>
                    </a:lnTo>
                    <a:lnTo>
                      <a:pt x="572" y="280"/>
                    </a:lnTo>
                    <a:lnTo>
                      <a:pt x="572" y="284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68" y="288"/>
                    </a:lnTo>
                    <a:lnTo>
                      <a:pt x="566" y="288"/>
                    </a:lnTo>
                    <a:lnTo>
                      <a:pt x="564" y="290"/>
                    </a:lnTo>
                    <a:lnTo>
                      <a:pt x="562" y="290"/>
                    </a:lnTo>
                    <a:lnTo>
                      <a:pt x="560" y="292"/>
                    </a:lnTo>
                    <a:lnTo>
                      <a:pt x="558" y="292"/>
                    </a:lnTo>
                    <a:lnTo>
                      <a:pt x="556" y="292"/>
                    </a:lnTo>
                    <a:lnTo>
                      <a:pt x="554" y="294"/>
                    </a:lnTo>
                    <a:lnTo>
                      <a:pt x="552" y="294"/>
                    </a:lnTo>
                    <a:lnTo>
                      <a:pt x="550" y="294"/>
                    </a:lnTo>
                    <a:lnTo>
                      <a:pt x="546" y="294"/>
                    </a:lnTo>
                    <a:lnTo>
                      <a:pt x="542" y="292"/>
                    </a:lnTo>
                    <a:lnTo>
                      <a:pt x="538" y="292"/>
                    </a:lnTo>
                    <a:lnTo>
                      <a:pt x="536" y="290"/>
                    </a:lnTo>
                    <a:lnTo>
                      <a:pt x="534" y="290"/>
                    </a:lnTo>
                    <a:lnTo>
                      <a:pt x="532" y="290"/>
                    </a:lnTo>
                    <a:lnTo>
                      <a:pt x="530" y="288"/>
                    </a:lnTo>
                    <a:lnTo>
                      <a:pt x="530" y="288"/>
                    </a:lnTo>
                    <a:lnTo>
                      <a:pt x="528" y="286"/>
                    </a:lnTo>
                    <a:lnTo>
                      <a:pt x="528" y="286"/>
                    </a:lnTo>
                    <a:lnTo>
                      <a:pt x="528" y="286"/>
                    </a:lnTo>
                    <a:lnTo>
                      <a:pt x="528" y="284"/>
                    </a:lnTo>
                    <a:lnTo>
                      <a:pt x="528" y="284"/>
                    </a:lnTo>
                    <a:lnTo>
                      <a:pt x="528" y="282"/>
                    </a:lnTo>
                    <a:lnTo>
                      <a:pt x="528" y="282"/>
                    </a:lnTo>
                    <a:lnTo>
                      <a:pt x="530" y="280"/>
                    </a:lnTo>
                    <a:lnTo>
                      <a:pt x="530" y="278"/>
                    </a:lnTo>
                    <a:lnTo>
                      <a:pt x="532" y="278"/>
                    </a:lnTo>
                    <a:lnTo>
                      <a:pt x="532" y="278"/>
                    </a:lnTo>
                    <a:lnTo>
                      <a:pt x="532" y="276"/>
                    </a:lnTo>
                    <a:lnTo>
                      <a:pt x="534" y="276"/>
                    </a:lnTo>
                    <a:lnTo>
                      <a:pt x="534" y="276"/>
                    </a:lnTo>
                    <a:lnTo>
                      <a:pt x="536" y="274"/>
                    </a:lnTo>
                    <a:lnTo>
                      <a:pt x="540" y="274"/>
                    </a:lnTo>
                    <a:lnTo>
                      <a:pt x="544" y="274"/>
                    </a:lnTo>
                    <a:lnTo>
                      <a:pt x="546" y="272"/>
                    </a:lnTo>
                    <a:lnTo>
                      <a:pt x="546" y="272"/>
                    </a:lnTo>
                    <a:lnTo>
                      <a:pt x="550" y="270"/>
                    </a:lnTo>
                    <a:lnTo>
                      <a:pt x="554" y="268"/>
                    </a:lnTo>
                    <a:lnTo>
                      <a:pt x="556" y="268"/>
                    </a:lnTo>
                    <a:lnTo>
                      <a:pt x="558" y="266"/>
                    </a:lnTo>
                    <a:lnTo>
                      <a:pt x="560" y="266"/>
                    </a:lnTo>
                    <a:lnTo>
                      <a:pt x="560" y="264"/>
                    </a:lnTo>
                    <a:lnTo>
                      <a:pt x="562" y="264"/>
                    </a:lnTo>
                    <a:lnTo>
                      <a:pt x="562" y="262"/>
                    </a:lnTo>
                    <a:lnTo>
                      <a:pt x="564" y="260"/>
                    </a:lnTo>
                    <a:lnTo>
                      <a:pt x="564" y="256"/>
                    </a:lnTo>
                    <a:lnTo>
                      <a:pt x="564" y="254"/>
                    </a:lnTo>
                    <a:lnTo>
                      <a:pt x="566" y="252"/>
                    </a:lnTo>
                    <a:lnTo>
                      <a:pt x="566" y="250"/>
                    </a:lnTo>
                    <a:lnTo>
                      <a:pt x="566" y="248"/>
                    </a:lnTo>
                    <a:lnTo>
                      <a:pt x="566" y="248"/>
                    </a:lnTo>
                    <a:lnTo>
                      <a:pt x="566" y="246"/>
                    </a:lnTo>
                    <a:lnTo>
                      <a:pt x="564" y="244"/>
                    </a:lnTo>
                    <a:lnTo>
                      <a:pt x="564" y="240"/>
                    </a:lnTo>
                    <a:lnTo>
                      <a:pt x="562" y="236"/>
                    </a:lnTo>
                    <a:lnTo>
                      <a:pt x="560" y="230"/>
                    </a:lnTo>
                    <a:lnTo>
                      <a:pt x="558" y="226"/>
                    </a:lnTo>
                    <a:lnTo>
                      <a:pt x="556" y="218"/>
                    </a:lnTo>
                    <a:lnTo>
                      <a:pt x="554" y="214"/>
                    </a:lnTo>
                    <a:lnTo>
                      <a:pt x="554" y="214"/>
                    </a:lnTo>
                    <a:lnTo>
                      <a:pt x="554" y="212"/>
                    </a:lnTo>
                    <a:lnTo>
                      <a:pt x="554" y="210"/>
                    </a:lnTo>
                    <a:lnTo>
                      <a:pt x="552" y="208"/>
                    </a:lnTo>
                    <a:lnTo>
                      <a:pt x="554" y="206"/>
                    </a:lnTo>
                    <a:lnTo>
                      <a:pt x="554" y="202"/>
                    </a:lnTo>
                    <a:lnTo>
                      <a:pt x="554" y="202"/>
                    </a:lnTo>
                    <a:lnTo>
                      <a:pt x="554" y="200"/>
                    </a:lnTo>
                    <a:lnTo>
                      <a:pt x="552" y="198"/>
                    </a:lnTo>
                    <a:lnTo>
                      <a:pt x="552" y="198"/>
                    </a:lnTo>
                    <a:lnTo>
                      <a:pt x="550" y="194"/>
                    </a:lnTo>
                    <a:lnTo>
                      <a:pt x="550" y="190"/>
                    </a:lnTo>
                    <a:lnTo>
                      <a:pt x="548" y="186"/>
                    </a:lnTo>
                    <a:lnTo>
                      <a:pt x="548" y="182"/>
                    </a:lnTo>
                    <a:lnTo>
                      <a:pt x="546" y="178"/>
                    </a:lnTo>
                    <a:lnTo>
                      <a:pt x="544" y="168"/>
                    </a:lnTo>
                    <a:lnTo>
                      <a:pt x="542" y="156"/>
                    </a:lnTo>
                    <a:lnTo>
                      <a:pt x="538" y="144"/>
                    </a:lnTo>
                    <a:lnTo>
                      <a:pt x="536" y="140"/>
                    </a:lnTo>
                    <a:lnTo>
                      <a:pt x="536" y="134"/>
                    </a:lnTo>
                    <a:lnTo>
                      <a:pt x="536" y="132"/>
                    </a:lnTo>
                    <a:lnTo>
                      <a:pt x="534" y="128"/>
                    </a:lnTo>
                    <a:lnTo>
                      <a:pt x="534" y="126"/>
                    </a:lnTo>
                    <a:lnTo>
                      <a:pt x="532" y="124"/>
                    </a:lnTo>
                    <a:lnTo>
                      <a:pt x="532" y="122"/>
                    </a:lnTo>
                    <a:lnTo>
                      <a:pt x="530" y="120"/>
                    </a:lnTo>
                    <a:lnTo>
                      <a:pt x="530" y="118"/>
                    </a:lnTo>
                    <a:lnTo>
                      <a:pt x="528" y="116"/>
                    </a:lnTo>
                    <a:lnTo>
                      <a:pt x="526" y="114"/>
                    </a:lnTo>
                    <a:lnTo>
                      <a:pt x="524" y="112"/>
                    </a:lnTo>
                    <a:lnTo>
                      <a:pt x="522" y="110"/>
                    </a:lnTo>
                    <a:lnTo>
                      <a:pt x="522" y="110"/>
                    </a:lnTo>
                    <a:lnTo>
                      <a:pt x="520" y="110"/>
                    </a:lnTo>
                    <a:lnTo>
                      <a:pt x="520" y="110"/>
                    </a:lnTo>
                    <a:lnTo>
                      <a:pt x="518" y="110"/>
                    </a:lnTo>
                    <a:lnTo>
                      <a:pt x="516" y="108"/>
                    </a:lnTo>
                    <a:lnTo>
                      <a:pt x="514" y="108"/>
                    </a:lnTo>
                    <a:lnTo>
                      <a:pt x="510" y="110"/>
                    </a:lnTo>
                    <a:lnTo>
                      <a:pt x="508" y="110"/>
                    </a:lnTo>
                    <a:lnTo>
                      <a:pt x="506" y="110"/>
                    </a:lnTo>
                    <a:lnTo>
                      <a:pt x="504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0" y="112"/>
                    </a:lnTo>
                    <a:lnTo>
                      <a:pt x="500" y="114"/>
                    </a:lnTo>
                    <a:lnTo>
                      <a:pt x="498" y="116"/>
                    </a:lnTo>
                    <a:lnTo>
                      <a:pt x="498" y="116"/>
                    </a:lnTo>
                    <a:lnTo>
                      <a:pt x="496" y="120"/>
                    </a:lnTo>
                    <a:lnTo>
                      <a:pt x="496" y="124"/>
                    </a:lnTo>
                    <a:lnTo>
                      <a:pt x="494" y="126"/>
                    </a:lnTo>
                    <a:lnTo>
                      <a:pt x="492" y="130"/>
                    </a:lnTo>
                    <a:lnTo>
                      <a:pt x="492" y="136"/>
                    </a:lnTo>
                    <a:lnTo>
                      <a:pt x="492" y="138"/>
                    </a:lnTo>
                    <a:lnTo>
                      <a:pt x="492" y="138"/>
                    </a:lnTo>
                    <a:lnTo>
                      <a:pt x="490" y="142"/>
                    </a:lnTo>
                    <a:lnTo>
                      <a:pt x="490" y="148"/>
                    </a:lnTo>
                    <a:lnTo>
                      <a:pt x="490" y="152"/>
                    </a:lnTo>
                    <a:lnTo>
                      <a:pt x="490" y="156"/>
                    </a:lnTo>
                    <a:lnTo>
                      <a:pt x="490" y="158"/>
                    </a:lnTo>
                    <a:lnTo>
                      <a:pt x="488" y="158"/>
                    </a:lnTo>
                    <a:lnTo>
                      <a:pt x="488" y="160"/>
                    </a:lnTo>
                    <a:lnTo>
                      <a:pt x="488" y="162"/>
                    </a:lnTo>
                    <a:lnTo>
                      <a:pt x="488" y="162"/>
                    </a:lnTo>
                    <a:lnTo>
                      <a:pt x="486" y="162"/>
                    </a:lnTo>
                    <a:lnTo>
                      <a:pt x="486" y="164"/>
                    </a:lnTo>
                    <a:lnTo>
                      <a:pt x="484" y="164"/>
                    </a:lnTo>
                    <a:lnTo>
                      <a:pt x="482" y="166"/>
                    </a:lnTo>
                    <a:lnTo>
                      <a:pt x="480" y="166"/>
                    </a:lnTo>
                    <a:lnTo>
                      <a:pt x="476" y="168"/>
                    </a:lnTo>
                    <a:lnTo>
                      <a:pt x="474" y="168"/>
                    </a:lnTo>
                    <a:lnTo>
                      <a:pt x="474" y="170"/>
                    </a:lnTo>
                    <a:lnTo>
                      <a:pt x="472" y="170"/>
                    </a:lnTo>
                    <a:lnTo>
                      <a:pt x="472" y="170"/>
                    </a:lnTo>
                    <a:lnTo>
                      <a:pt x="472" y="172"/>
                    </a:lnTo>
                    <a:lnTo>
                      <a:pt x="470" y="172"/>
                    </a:lnTo>
                    <a:lnTo>
                      <a:pt x="470" y="172"/>
                    </a:lnTo>
                    <a:lnTo>
                      <a:pt x="470" y="174"/>
                    </a:lnTo>
                    <a:lnTo>
                      <a:pt x="470" y="178"/>
                    </a:lnTo>
                    <a:lnTo>
                      <a:pt x="470" y="180"/>
                    </a:lnTo>
                    <a:lnTo>
                      <a:pt x="472" y="182"/>
                    </a:lnTo>
                    <a:lnTo>
                      <a:pt x="472" y="184"/>
                    </a:lnTo>
                    <a:lnTo>
                      <a:pt x="472" y="186"/>
                    </a:lnTo>
                    <a:lnTo>
                      <a:pt x="472" y="188"/>
                    </a:lnTo>
                    <a:lnTo>
                      <a:pt x="474" y="190"/>
                    </a:lnTo>
                    <a:lnTo>
                      <a:pt x="474" y="192"/>
                    </a:lnTo>
                    <a:lnTo>
                      <a:pt x="476" y="194"/>
                    </a:lnTo>
                    <a:lnTo>
                      <a:pt x="478" y="196"/>
                    </a:lnTo>
                    <a:lnTo>
                      <a:pt x="480" y="200"/>
                    </a:lnTo>
                    <a:lnTo>
                      <a:pt x="482" y="202"/>
                    </a:lnTo>
                    <a:lnTo>
                      <a:pt x="488" y="212"/>
                    </a:lnTo>
                    <a:lnTo>
                      <a:pt x="494" y="220"/>
                    </a:lnTo>
                    <a:lnTo>
                      <a:pt x="496" y="222"/>
                    </a:lnTo>
                    <a:lnTo>
                      <a:pt x="498" y="224"/>
                    </a:lnTo>
                    <a:lnTo>
                      <a:pt x="502" y="228"/>
                    </a:lnTo>
                    <a:lnTo>
                      <a:pt x="502" y="230"/>
                    </a:lnTo>
                    <a:lnTo>
                      <a:pt x="502" y="230"/>
                    </a:lnTo>
                    <a:lnTo>
                      <a:pt x="504" y="234"/>
                    </a:lnTo>
                    <a:lnTo>
                      <a:pt x="506" y="236"/>
                    </a:lnTo>
                    <a:lnTo>
                      <a:pt x="506" y="238"/>
                    </a:lnTo>
                    <a:lnTo>
                      <a:pt x="506" y="240"/>
                    </a:lnTo>
                    <a:lnTo>
                      <a:pt x="506" y="240"/>
                    </a:lnTo>
                    <a:lnTo>
                      <a:pt x="506" y="242"/>
                    </a:lnTo>
                    <a:lnTo>
                      <a:pt x="506" y="242"/>
                    </a:lnTo>
                    <a:lnTo>
                      <a:pt x="506" y="242"/>
                    </a:lnTo>
                    <a:lnTo>
                      <a:pt x="506" y="244"/>
                    </a:lnTo>
                    <a:lnTo>
                      <a:pt x="504" y="244"/>
                    </a:lnTo>
                    <a:lnTo>
                      <a:pt x="502" y="246"/>
                    </a:lnTo>
                    <a:lnTo>
                      <a:pt x="500" y="246"/>
                    </a:lnTo>
                    <a:lnTo>
                      <a:pt x="498" y="246"/>
                    </a:lnTo>
                    <a:lnTo>
                      <a:pt x="496" y="248"/>
                    </a:lnTo>
                    <a:lnTo>
                      <a:pt x="494" y="248"/>
                    </a:lnTo>
                    <a:lnTo>
                      <a:pt x="494" y="248"/>
                    </a:lnTo>
                    <a:lnTo>
                      <a:pt x="492" y="246"/>
                    </a:lnTo>
                    <a:lnTo>
                      <a:pt x="492" y="246"/>
                    </a:lnTo>
                    <a:lnTo>
                      <a:pt x="490" y="246"/>
                    </a:lnTo>
                    <a:lnTo>
                      <a:pt x="490" y="244"/>
                    </a:lnTo>
                    <a:lnTo>
                      <a:pt x="488" y="244"/>
                    </a:lnTo>
                    <a:lnTo>
                      <a:pt x="488" y="242"/>
                    </a:lnTo>
                    <a:lnTo>
                      <a:pt x="486" y="238"/>
                    </a:lnTo>
                    <a:lnTo>
                      <a:pt x="482" y="232"/>
                    </a:lnTo>
                    <a:lnTo>
                      <a:pt x="480" y="230"/>
                    </a:lnTo>
                    <a:lnTo>
                      <a:pt x="480" y="228"/>
                    </a:lnTo>
                    <a:lnTo>
                      <a:pt x="478" y="228"/>
                    </a:lnTo>
                    <a:lnTo>
                      <a:pt x="476" y="226"/>
                    </a:lnTo>
                    <a:lnTo>
                      <a:pt x="474" y="224"/>
                    </a:lnTo>
                    <a:lnTo>
                      <a:pt x="470" y="222"/>
                    </a:lnTo>
                    <a:lnTo>
                      <a:pt x="468" y="220"/>
                    </a:lnTo>
                    <a:lnTo>
                      <a:pt x="464" y="218"/>
                    </a:lnTo>
                    <a:lnTo>
                      <a:pt x="460" y="216"/>
                    </a:lnTo>
                    <a:lnTo>
                      <a:pt x="458" y="216"/>
                    </a:lnTo>
                    <a:lnTo>
                      <a:pt x="454" y="214"/>
                    </a:lnTo>
                    <a:lnTo>
                      <a:pt x="452" y="214"/>
                    </a:lnTo>
                    <a:lnTo>
                      <a:pt x="448" y="212"/>
                    </a:lnTo>
                    <a:lnTo>
                      <a:pt x="444" y="210"/>
                    </a:lnTo>
                    <a:lnTo>
                      <a:pt x="440" y="210"/>
                    </a:lnTo>
                    <a:lnTo>
                      <a:pt x="432" y="208"/>
                    </a:lnTo>
                    <a:lnTo>
                      <a:pt x="426" y="206"/>
                    </a:lnTo>
                    <a:lnTo>
                      <a:pt x="420" y="206"/>
                    </a:lnTo>
                    <a:lnTo>
                      <a:pt x="418" y="206"/>
                    </a:lnTo>
                    <a:lnTo>
                      <a:pt x="414" y="204"/>
                    </a:lnTo>
                    <a:lnTo>
                      <a:pt x="410" y="204"/>
                    </a:lnTo>
                    <a:lnTo>
                      <a:pt x="408" y="204"/>
                    </a:lnTo>
                    <a:lnTo>
                      <a:pt x="406" y="204"/>
                    </a:lnTo>
                    <a:lnTo>
                      <a:pt x="404" y="204"/>
                    </a:lnTo>
                    <a:lnTo>
                      <a:pt x="404" y="204"/>
                    </a:lnTo>
                    <a:lnTo>
                      <a:pt x="402" y="206"/>
                    </a:lnTo>
                    <a:lnTo>
                      <a:pt x="402" y="206"/>
                    </a:lnTo>
                    <a:lnTo>
                      <a:pt x="400" y="208"/>
                    </a:lnTo>
                    <a:lnTo>
                      <a:pt x="398" y="208"/>
                    </a:lnTo>
                    <a:lnTo>
                      <a:pt x="398" y="210"/>
                    </a:lnTo>
                    <a:lnTo>
                      <a:pt x="396" y="212"/>
                    </a:lnTo>
                    <a:lnTo>
                      <a:pt x="396" y="212"/>
                    </a:lnTo>
                    <a:lnTo>
                      <a:pt x="396" y="214"/>
                    </a:lnTo>
                    <a:lnTo>
                      <a:pt x="396" y="214"/>
                    </a:lnTo>
                    <a:lnTo>
                      <a:pt x="396" y="216"/>
                    </a:lnTo>
                    <a:lnTo>
                      <a:pt x="396" y="216"/>
                    </a:lnTo>
                    <a:lnTo>
                      <a:pt x="396" y="216"/>
                    </a:lnTo>
                    <a:lnTo>
                      <a:pt x="396" y="216"/>
                    </a:lnTo>
                    <a:lnTo>
                      <a:pt x="398" y="218"/>
                    </a:lnTo>
                    <a:lnTo>
                      <a:pt x="400" y="218"/>
                    </a:lnTo>
                    <a:lnTo>
                      <a:pt x="402" y="220"/>
                    </a:lnTo>
                    <a:lnTo>
                      <a:pt x="402" y="220"/>
                    </a:lnTo>
                    <a:lnTo>
                      <a:pt x="404" y="220"/>
                    </a:lnTo>
                    <a:lnTo>
                      <a:pt x="404" y="220"/>
                    </a:lnTo>
                    <a:lnTo>
                      <a:pt x="404" y="222"/>
                    </a:lnTo>
                    <a:lnTo>
                      <a:pt x="404" y="222"/>
                    </a:lnTo>
                    <a:lnTo>
                      <a:pt x="404" y="224"/>
                    </a:lnTo>
                    <a:lnTo>
                      <a:pt x="404" y="228"/>
                    </a:lnTo>
                    <a:lnTo>
                      <a:pt x="404" y="230"/>
                    </a:lnTo>
                    <a:lnTo>
                      <a:pt x="404" y="232"/>
                    </a:lnTo>
                    <a:lnTo>
                      <a:pt x="404" y="236"/>
                    </a:lnTo>
                    <a:lnTo>
                      <a:pt x="404" y="238"/>
                    </a:lnTo>
                    <a:lnTo>
                      <a:pt x="402" y="238"/>
                    </a:lnTo>
                    <a:lnTo>
                      <a:pt x="402" y="240"/>
                    </a:lnTo>
                    <a:lnTo>
                      <a:pt x="402" y="240"/>
                    </a:lnTo>
                    <a:lnTo>
                      <a:pt x="400" y="242"/>
                    </a:lnTo>
                    <a:lnTo>
                      <a:pt x="398" y="242"/>
                    </a:lnTo>
                    <a:lnTo>
                      <a:pt x="396" y="242"/>
                    </a:lnTo>
                    <a:lnTo>
                      <a:pt x="394" y="244"/>
                    </a:lnTo>
                    <a:lnTo>
                      <a:pt x="392" y="244"/>
                    </a:lnTo>
                    <a:lnTo>
                      <a:pt x="390" y="244"/>
                    </a:lnTo>
                    <a:lnTo>
                      <a:pt x="390" y="244"/>
                    </a:lnTo>
                    <a:lnTo>
                      <a:pt x="390" y="244"/>
                    </a:lnTo>
                    <a:lnTo>
                      <a:pt x="388" y="242"/>
                    </a:lnTo>
                    <a:lnTo>
                      <a:pt x="388" y="242"/>
                    </a:lnTo>
                    <a:lnTo>
                      <a:pt x="388" y="242"/>
                    </a:lnTo>
                    <a:lnTo>
                      <a:pt x="388" y="240"/>
                    </a:lnTo>
                    <a:lnTo>
                      <a:pt x="388" y="238"/>
                    </a:lnTo>
                    <a:lnTo>
                      <a:pt x="388" y="236"/>
                    </a:lnTo>
                    <a:lnTo>
                      <a:pt x="388" y="232"/>
                    </a:lnTo>
                    <a:lnTo>
                      <a:pt x="388" y="230"/>
                    </a:lnTo>
                    <a:lnTo>
                      <a:pt x="386" y="230"/>
                    </a:lnTo>
                    <a:lnTo>
                      <a:pt x="386" y="228"/>
                    </a:lnTo>
                    <a:lnTo>
                      <a:pt x="386" y="228"/>
                    </a:lnTo>
                    <a:lnTo>
                      <a:pt x="386" y="226"/>
                    </a:lnTo>
                    <a:lnTo>
                      <a:pt x="384" y="226"/>
                    </a:lnTo>
                    <a:lnTo>
                      <a:pt x="384" y="226"/>
                    </a:lnTo>
                    <a:lnTo>
                      <a:pt x="382" y="226"/>
                    </a:lnTo>
                    <a:lnTo>
                      <a:pt x="380" y="226"/>
                    </a:lnTo>
                    <a:lnTo>
                      <a:pt x="380" y="226"/>
                    </a:lnTo>
                    <a:lnTo>
                      <a:pt x="378" y="226"/>
                    </a:lnTo>
                    <a:lnTo>
                      <a:pt x="376" y="226"/>
                    </a:lnTo>
                    <a:lnTo>
                      <a:pt x="376" y="226"/>
                    </a:lnTo>
                    <a:lnTo>
                      <a:pt x="374" y="226"/>
                    </a:lnTo>
                    <a:lnTo>
                      <a:pt x="374" y="226"/>
                    </a:lnTo>
                    <a:lnTo>
                      <a:pt x="374" y="228"/>
                    </a:lnTo>
                    <a:lnTo>
                      <a:pt x="372" y="230"/>
                    </a:lnTo>
                    <a:lnTo>
                      <a:pt x="370" y="232"/>
                    </a:lnTo>
                    <a:lnTo>
                      <a:pt x="370" y="234"/>
                    </a:lnTo>
                    <a:lnTo>
                      <a:pt x="368" y="236"/>
                    </a:lnTo>
                    <a:lnTo>
                      <a:pt x="366" y="238"/>
                    </a:lnTo>
                    <a:lnTo>
                      <a:pt x="366" y="238"/>
                    </a:lnTo>
                    <a:lnTo>
                      <a:pt x="366" y="238"/>
                    </a:lnTo>
                    <a:lnTo>
                      <a:pt x="364" y="238"/>
                    </a:lnTo>
                    <a:lnTo>
                      <a:pt x="362" y="238"/>
                    </a:lnTo>
                    <a:lnTo>
                      <a:pt x="360" y="240"/>
                    </a:lnTo>
                    <a:lnTo>
                      <a:pt x="358" y="240"/>
                    </a:lnTo>
                    <a:lnTo>
                      <a:pt x="354" y="238"/>
                    </a:lnTo>
                    <a:lnTo>
                      <a:pt x="350" y="238"/>
                    </a:lnTo>
                    <a:lnTo>
                      <a:pt x="346" y="238"/>
                    </a:lnTo>
                    <a:lnTo>
                      <a:pt x="342" y="238"/>
                    </a:lnTo>
                    <a:lnTo>
                      <a:pt x="340" y="238"/>
                    </a:lnTo>
                    <a:lnTo>
                      <a:pt x="338" y="238"/>
                    </a:lnTo>
                    <a:lnTo>
                      <a:pt x="336" y="238"/>
                    </a:lnTo>
                    <a:lnTo>
                      <a:pt x="336" y="238"/>
                    </a:lnTo>
                    <a:lnTo>
                      <a:pt x="334" y="238"/>
                    </a:lnTo>
                    <a:lnTo>
                      <a:pt x="334" y="240"/>
                    </a:lnTo>
                    <a:lnTo>
                      <a:pt x="334" y="240"/>
                    </a:lnTo>
                    <a:lnTo>
                      <a:pt x="332" y="240"/>
                    </a:lnTo>
                    <a:lnTo>
                      <a:pt x="332" y="242"/>
                    </a:lnTo>
                    <a:lnTo>
                      <a:pt x="330" y="246"/>
                    </a:lnTo>
                    <a:lnTo>
                      <a:pt x="328" y="248"/>
                    </a:lnTo>
                    <a:lnTo>
                      <a:pt x="328" y="250"/>
                    </a:lnTo>
                    <a:lnTo>
                      <a:pt x="326" y="250"/>
                    </a:lnTo>
                    <a:lnTo>
                      <a:pt x="326" y="250"/>
                    </a:lnTo>
                    <a:lnTo>
                      <a:pt x="324" y="250"/>
                    </a:lnTo>
                    <a:lnTo>
                      <a:pt x="324" y="250"/>
                    </a:lnTo>
                    <a:lnTo>
                      <a:pt x="324" y="250"/>
                    </a:lnTo>
                    <a:lnTo>
                      <a:pt x="322" y="250"/>
                    </a:lnTo>
                    <a:lnTo>
                      <a:pt x="322" y="250"/>
                    </a:lnTo>
                    <a:lnTo>
                      <a:pt x="322" y="248"/>
                    </a:lnTo>
                    <a:lnTo>
                      <a:pt x="320" y="246"/>
                    </a:lnTo>
                    <a:lnTo>
                      <a:pt x="320" y="244"/>
                    </a:lnTo>
                    <a:lnTo>
                      <a:pt x="318" y="240"/>
                    </a:lnTo>
                    <a:lnTo>
                      <a:pt x="318" y="238"/>
                    </a:lnTo>
                    <a:lnTo>
                      <a:pt x="318" y="238"/>
                    </a:lnTo>
                    <a:lnTo>
                      <a:pt x="316" y="236"/>
                    </a:lnTo>
                    <a:lnTo>
                      <a:pt x="316" y="236"/>
                    </a:lnTo>
                    <a:lnTo>
                      <a:pt x="316" y="236"/>
                    </a:lnTo>
                    <a:lnTo>
                      <a:pt x="314" y="236"/>
                    </a:lnTo>
                    <a:lnTo>
                      <a:pt x="312" y="236"/>
                    </a:lnTo>
                    <a:lnTo>
                      <a:pt x="312" y="236"/>
                    </a:lnTo>
                    <a:lnTo>
                      <a:pt x="310" y="236"/>
                    </a:lnTo>
                    <a:lnTo>
                      <a:pt x="308" y="238"/>
                    </a:lnTo>
                    <a:lnTo>
                      <a:pt x="306" y="238"/>
                    </a:lnTo>
                    <a:lnTo>
                      <a:pt x="302" y="240"/>
                    </a:lnTo>
                    <a:lnTo>
                      <a:pt x="296" y="242"/>
                    </a:lnTo>
                    <a:lnTo>
                      <a:pt x="292" y="244"/>
                    </a:lnTo>
                    <a:lnTo>
                      <a:pt x="288" y="246"/>
                    </a:lnTo>
                    <a:lnTo>
                      <a:pt x="284" y="248"/>
                    </a:lnTo>
                    <a:lnTo>
                      <a:pt x="280" y="248"/>
                    </a:lnTo>
                    <a:lnTo>
                      <a:pt x="276" y="250"/>
                    </a:lnTo>
                    <a:lnTo>
                      <a:pt x="274" y="252"/>
                    </a:lnTo>
                    <a:lnTo>
                      <a:pt x="272" y="252"/>
                    </a:lnTo>
                    <a:lnTo>
                      <a:pt x="270" y="254"/>
                    </a:lnTo>
                    <a:lnTo>
                      <a:pt x="268" y="256"/>
                    </a:lnTo>
                    <a:lnTo>
                      <a:pt x="266" y="258"/>
                    </a:lnTo>
                    <a:lnTo>
                      <a:pt x="262" y="260"/>
                    </a:lnTo>
                    <a:lnTo>
                      <a:pt x="256" y="266"/>
                    </a:lnTo>
                    <a:lnTo>
                      <a:pt x="254" y="268"/>
                    </a:lnTo>
                    <a:lnTo>
                      <a:pt x="252" y="270"/>
                    </a:lnTo>
                    <a:lnTo>
                      <a:pt x="248" y="272"/>
                    </a:lnTo>
                    <a:lnTo>
                      <a:pt x="244" y="274"/>
                    </a:lnTo>
                    <a:lnTo>
                      <a:pt x="242" y="276"/>
                    </a:lnTo>
                    <a:lnTo>
                      <a:pt x="238" y="278"/>
                    </a:lnTo>
                    <a:lnTo>
                      <a:pt x="238" y="278"/>
                    </a:lnTo>
                    <a:lnTo>
                      <a:pt x="236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2" y="280"/>
                    </a:lnTo>
                    <a:lnTo>
                      <a:pt x="230" y="280"/>
                    </a:lnTo>
                    <a:lnTo>
                      <a:pt x="230" y="280"/>
                    </a:lnTo>
                    <a:lnTo>
                      <a:pt x="230" y="278"/>
                    </a:lnTo>
                    <a:lnTo>
                      <a:pt x="228" y="278"/>
                    </a:lnTo>
                    <a:lnTo>
                      <a:pt x="228" y="278"/>
                    </a:lnTo>
                    <a:lnTo>
                      <a:pt x="228" y="276"/>
                    </a:lnTo>
                    <a:lnTo>
                      <a:pt x="226" y="274"/>
                    </a:lnTo>
                    <a:lnTo>
                      <a:pt x="226" y="272"/>
                    </a:lnTo>
                    <a:lnTo>
                      <a:pt x="224" y="270"/>
                    </a:lnTo>
                    <a:lnTo>
                      <a:pt x="224" y="266"/>
                    </a:lnTo>
                    <a:lnTo>
                      <a:pt x="224" y="264"/>
                    </a:lnTo>
                    <a:lnTo>
                      <a:pt x="224" y="264"/>
                    </a:lnTo>
                    <a:lnTo>
                      <a:pt x="224" y="260"/>
                    </a:lnTo>
                    <a:lnTo>
                      <a:pt x="224" y="256"/>
                    </a:lnTo>
                    <a:lnTo>
                      <a:pt x="224" y="256"/>
                    </a:lnTo>
                    <a:lnTo>
                      <a:pt x="224" y="254"/>
                    </a:lnTo>
                    <a:lnTo>
                      <a:pt x="222" y="252"/>
                    </a:lnTo>
                    <a:lnTo>
                      <a:pt x="222" y="250"/>
                    </a:lnTo>
                    <a:lnTo>
                      <a:pt x="220" y="248"/>
                    </a:lnTo>
                    <a:lnTo>
                      <a:pt x="218" y="246"/>
                    </a:lnTo>
                    <a:lnTo>
                      <a:pt x="216" y="244"/>
                    </a:lnTo>
                    <a:lnTo>
                      <a:pt x="214" y="242"/>
                    </a:lnTo>
                    <a:lnTo>
                      <a:pt x="212" y="240"/>
                    </a:lnTo>
                    <a:lnTo>
                      <a:pt x="210" y="240"/>
                    </a:lnTo>
                    <a:lnTo>
                      <a:pt x="210" y="240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2" y="238"/>
                    </a:lnTo>
                    <a:lnTo>
                      <a:pt x="198" y="238"/>
                    </a:lnTo>
                    <a:lnTo>
                      <a:pt x="194" y="238"/>
                    </a:lnTo>
                    <a:lnTo>
                      <a:pt x="194" y="238"/>
                    </a:lnTo>
                    <a:lnTo>
                      <a:pt x="192" y="240"/>
                    </a:lnTo>
                    <a:lnTo>
                      <a:pt x="190" y="240"/>
                    </a:lnTo>
                    <a:lnTo>
                      <a:pt x="190" y="240"/>
                    </a:lnTo>
                    <a:lnTo>
                      <a:pt x="188" y="242"/>
                    </a:lnTo>
                    <a:lnTo>
                      <a:pt x="188" y="242"/>
                    </a:lnTo>
                    <a:lnTo>
                      <a:pt x="188" y="242"/>
                    </a:lnTo>
                    <a:lnTo>
                      <a:pt x="188" y="244"/>
                    </a:lnTo>
                    <a:lnTo>
                      <a:pt x="188" y="244"/>
                    </a:lnTo>
                    <a:lnTo>
                      <a:pt x="188" y="244"/>
                    </a:lnTo>
                    <a:lnTo>
                      <a:pt x="188" y="246"/>
                    </a:lnTo>
                    <a:lnTo>
                      <a:pt x="190" y="248"/>
                    </a:lnTo>
                    <a:lnTo>
                      <a:pt x="192" y="252"/>
                    </a:lnTo>
                    <a:lnTo>
                      <a:pt x="192" y="252"/>
                    </a:lnTo>
                    <a:lnTo>
                      <a:pt x="194" y="254"/>
                    </a:lnTo>
                    <a:lnTo>
                      <a:pt x="194" y="258"/>
                    </a:lnTo>
                    <a:lnTo>
                      <a:pt x="196" y="262"/>
                    </a:lnTo>
                    <a:lnTo>
                      <a:pt x="196" y="266"/>
                    </a:lnTo>
                    <a:lnTo>
                      <a:pt x="198" y="270"/>
                    </a:lnTo>
                    <a:lnTo>
                      <a:pt x="200" y="272"/>
                    </a:lnTo>
                    <a:lnTo>
                      <a:pt x="202" y="276"/>
                    </a:lnTo>
                    <a:lnTo>
                      <a:pt x="204" y="280"/>
                    </a:lnTo>
                    <a:lnTo>
                      <a:pt x="204" y="282"/>
                    </a:lnTo>
                    <a:lnTo>
                      <a:pt x="204" y="284"/>
                    </a:lnTo>
                    <a:lnTo>
                      <a:pt x="206" y="288"/>
                    </a:lnTo>
                    <a:lnTo>
                      <a:pt x="206" y="290"/>
                    </a:lnTo>
                    <a:lnTo>
                      <a:pt x="206" y="292"/>
                    </a:lnTo>
                    <a:lnTo>
                      <a:pt x="208" y="296"/>
                    </a:lnTo>
                    <a:lnTo>
                      <a:pt x="208" y="296"/>
                    </a:lnTo>
                    <a:lnTo>
                      <a:pt x="208" y="298"/>
                    </a:lnTo>
                    <a:lnTo>
                      <a:pt x="206" y="298"/>
                    </a:lnTo>
                    <a:lnTo>
                      <a:pt x="206" y="300"/>
                    </a:lnTo>
                    <a:lnTo>
                      <a:pt x="206" y="300"/>
                    </a:lnTo>
                    <a:lnTo>
                      <a:pt x="206" y="300"/>
                    </a:lnTo>
                    <a:lnTo>
                      <a:pt x="206" y="302"/>
                    </a:lnTo>
                    <a:lnTo>
                      <a:pt x="204" y="302"/>
                    </a:lnTo>
                    <a:lnTo>
                      <a:pt x="204" y="302"/>
                    </a:lnTo>
                    <a:lnTo>
                      <a:pt x="202" y="300"/>
                    </a:lnTo>
                    <a:lnTo>
                      <a:pt x="202" y="300"/>
                    </a:lnTo>
                    <a:lnTo>
                      <a:pt x="200" y="300"/>
                    </a:lnTo>
                    <a:lnTo>
                      <a:pt x="198" y="298"/>
                    </a:lnTo>
                    <a:lnTo>
                      <a:pt x="194" y="296"/>
                    </a:lnTo>
                    <a:lnTo>
                      <a:pt x="192" y="294"/>
                    </a:lnTo>
                    <a:lnTo>
                      <a:pt x="192" y="294"/>
                    </a:lnTo>
                    <a:lnTo>
                      <a:pt x="190" y="294"/>
                    </a:lnTo>
                    <a:lnTo>
                      <a:pt x="188" y="292"/>
                    </a:lnTo>
                    <a:lnTo>
                      <a:pt x="184" y="292"/>
                    </a:lnTo>
                    <a:lnTo>
                      <a:pt x="180" y="290"/>
                    </a:lnTo>
                    <a:lnTo>
                      <a:pt x="178" y="290"/>
                    </a:lnTo>
                    <a:lnTo>
                      <a:pt x="178" y="290"/>
                    </a:lnTo>
                    <a:lnTo>
                      <a:pt x="176" y="290"/>
                    </a:lnTo>
                    <a:lnTo>
                      <a:pt x="176" y="290"/>
                    </a:lnTo>
                    <a:lnTo>
                      <a:pt x="174" y="292"/>
                    </a:lnTo>
                    <a:lnTo>
                      <a:pt x="174" y="292"/>
                    </a:lnTo>
                    <a:lnTo>
                      <a:pt x="174" y="292"/>
                    </a:lnTo>
                    <a:lnTo>
                      <a:pt x="172" y="294"/>
                    </a:lnTo>
                    <a:lnTo>
                      <a:pt x="172" y="296"/>
                    </a:lnTo>
                    <a:lnTo>
                      <a:pt x="168" y="298"/>
                    </a:lnTo>
                    <a:lnTo>
                      <a:pt x="168" y="300"/>
                    </a:lnTo>
                    <a:lnTo>
                      <a:pt x="166" y="300"/>
                    </a:lnTo>
                    <a:lnTo>
                      <a:pt x="166" y="302"/>
                    </a:lnTo>
                    <a:lnTo>
                      <a:pt x="164" y="302"/>
                    </a:lnTo>
                    <a:lnTo>
                      <a:pt x="162" y="302"/>
                    </a:lnTo>
                    <a:lnTo>
                      <a:pt x="160" y="302"/>
                    </a:lnTo>
                    <a:lnTo>
                      <a:pt x="156" y="304"/>
                    </a:lnTo>
                    <a:lnTo>
                      <a:pt x="154" y="304"/>
                    </a:lnTo>
                    <a:lnTo>
                      <a:pt x="152" y="304"/>
                    </a:lnTo>
                    <a:lnTo>
                      <a:pt x="150" y="304"/>
                    </a:lnTo>
                    <a:lnTo>
                      <a:pt x="150" y="304"/>
                    </a:lnTo>
                    <a:lnTo>
                      <a:pt x="148" y="306"/>
                    </a:lnTo>
                    <a:lnTo>
                      <a:pt x="148" y="306"/>
                    </a:lnTo>
                    <a:lnTo>
                      <a:pt x="148" y="308"/>
                    </a:lnTo>
                    <a:lnTo>
                      <a:pt x="146" y="308"/>
                    </a:lnTo>
                    <a:lnTo>
                      <a:pt x="146" y="310"/>
                    </a:lnTo>
                    <a:lnTo>
                      <a:pt x="146" y="312"/>
                    </a:lnTo>
                    <a:lnTo>
                      <a:pt x="146" y="314"/>
                    </a:lnTo>
                    <a:lnTo>
                      <a:pt x="146" y="316"/>
                    </a:lnTo>
                    <a:lnTo>
                      <a:pt x="146" y="318"/>
                    </a:lnTo>
                    <a:lnTo>
                      <a:pt x="146" y="318"/>
                    </a:lnTo>
                    <a:lnTo>
                      <a:pt x="146" y="320"/>
                    </a:lnTo>
                    <a:lnTo>
                      <a:pt x="148" y="320"/>
                    </a:lnTo>
                    <a:lnTo>
                      <a:pt x="148" y="320"/>
                    </a:lnTo>
                    <a:lnTo>
                      <a:pt x="150" y="322"/>
                    </a:lnTo>
                    <a:lnTo>
                      <a:pt x="152" y="322"/>
                    </a:lnTo>
                    <a:lnTo>
                      <a:pt x="154" y="322"/>
                    </a:lnTo>
                    <a:lnTo>
                      <a:pt x="156" y="324"/>
                    </a:lnTo>
                    <a:lnTo>
                      <a:pt x="156" y="324"/>
                    </a:lnTo>
                    <a:lnTo>
                      <a:pt x="156" y="324"/>
                    </a:lnTo>
                    <a:lnTo>
                      <a:pt x="158" y="324"/>
                    </a:lnTo>
                    <a:lnTo>
                      <a:pt x="158" y="324"/>
                    </a:lnTo>
                    <a:lnTo>
                      <a:pt x="158" y="326"/>
                    </a:lnTo>
                    <a:lnTo>
                      <a:pt x="158" y="326"/>
                    </a:lnTo>
                    <a:lnTo>
                      <a:pt x="158" y="328"/>
                    </a:lnTo>
                    <a:lnTo>
                      <a:pt x="158" y="332"/>
                    </a:lnTo>
                    <a:lnTo>
                      <a:pt x="158" y="334"/>
                    </a:lnTo>
                    <a:lnTo>
                      <a:pt x="156" y="336"/>
                    </a:lnTo>
                    <a:lnTo>
                      <a:pt x="156" y="338"/>
                    </a:lnTo>
                    <a:lnTo>
                      <a:pt x="154" y="340"/>
                    </a:lnTo>
                    <a:lnTo>
                      <a:pt x="154" y="340"/>
                    </a:lnTo>
                    <a:lnTo>
                      <a:pt x="152" y="342"/>
                    </a:lnTo>
                    <a:lnTo>
                      <a:pt x="152" y="342"/>
                    </a:lnTo>
                    <a:lnTo>
                      <a:pt x="150" y="342"/>
                    </a:lnTo>
                    <a:lnTo>
                      <a:pt x="148" y="342"/>
                    </a:lnTo>
                    <a:lnTo>
                      <a:pt x="146" y="342"/>
                    </a:lnTo>
                    <a:lnTo>
                      <a:pt x="144" y="342"/>
                    </a:lnTo>
                    <a:lnTo>
                      <a:pt x="142" y="342"/>
                    </a:lnTo>
                    <a:lnTo>
                      <a:pt x="140" y="342"/>
                    </a:lnTo>
                    <a:lnTo>
                      <a:pt x="140" y="342"/>
                    </a:lnTo>
                    <a:lnTo>
                      <a:pt x="138" y="342"/>
                    </a:lnTo>
                    <a:lnTo>
                      <a:pt x="138" y="340"/>
                    </a:lnTo>
                    <a:lnTo>
                      <a:pt x="138" y="340"/>
                    </a:lnTo>
                    <a:lnTo>
                      <a:pt x="138" y="340"/>
                    </a:lnTo>
                    <a:lnTo>
                      <a:pt x="138" y="338"/>
                    </a:lnTo>
                    <a:lnTo>
                      <a:pt x="138" y="336"/>
                    </a:lnTo>
                    <a:lnTo>
                      <a:pt x="138" y="334"/>
                    </a:lnTo>
                    <a:lnTo>
                      <a:pt x="140" y="330"/>
                    </a:lnTo>
                    <a:lnTo>
                      <a:pt x="140" y="328"/>
                    </a:lnTo>
                    <a:lnTo>
                      <a:pt x="140" y="328"/>
                    </a:lnTo>
                    <a:lnTo>
                      <a:pt x="140" y="326"/>
                    </a:lnTo>
                    <a:lnTo>
                      <a:pt x="140" y="326"/>
                    </a:lnTo>
                    <a:lnTo>
                      <a:pt x="138" y="324"/>
                    </a:lnTo>
                    <a:lnTo>
                      <a:pt x="138" y="324"/>
                    </a:lnTo>
                    <a:lnTo>
                      <a:pt x="138" y="324"/>
                    </a:lnTo>
                    <a:lnTo>
                      <a:pt x="136" y="322"/>
                    </a:lnTo>
                    <a:lnTo>
                      <a:pt x="134" y="322"/>
                    </a:lnTo>
                    <a:lnTo>
                      <a:pt x="132" y="320"/>
                    </a:lnTo>
                    <a:lnTo>
                      <a:pt x="130" y="320"/>
                    </a:lnTo>
                    <a:lnTo>
                      <a:pt x="128" y="318"/>
                    </a:lnTo>
                    <a:lnTo>
                      <a:pt x="126" y="318"/>
                    </a:lnTo>
                    <a:lnTo>
                      <a:pt x="124" y="318"/>
                    </a:lnTo>
                    <a:lnTo>
                      <a:pt x="122" y="318"/>
                    </a:lnTo>
                    <a:lnTo>
                      <a:pt x="120" y="320"/>
                    </a:lnTo>
                    <a:lnTo>
                      <a:pt x="118" y="320"/>
                    </a:lnTo>
                    <a:lnTo>
                      <a:pt x="116" y="320"/>
                    </a:lnTo>
                    <a:lnTo>
                      <a:pt x="114" y="322"/>
                    </a:lnTo>
                    <a:lnTo>
                      <a:pt x="112" y="322"/>
                    </a:lnTo>
                    <a:lnTo>
                      <a:pt x="110" y="324"/>
                    </a:lnTo>
                    <a:lnTo>
                      <a:pt x="110" y="324"/>
                    </a:lnTo>
                    <a:lnTo>
                      <a:pt x="110" y="324"/>
                    </a:lnTo>
                    <a:lnTo>
                      <a:pt x="110" y="326"/>
                    </a:lnTo>
                    <a:lnTo>
                      <a:pt x="110" y="328"/>
                    </a:lnTo>
                    <a:lnTo>
                      <a:pt x="110" y="330"/>
                    </a:lnTo>
                    <a:lnTo>
                      <a:pt x="110" y="332"/>
                    </a:lnTo>
                    <a:lnTo>
                      <a:pt x="110" y="334"/>
                    </a:lnTo>
                    <a:lnTo>
                      <a:pt x="110" y="334"/>
                    </a:lnTo>
                    <a:lnTo>
                      <a:pt x="110" y="336"/>
                    </a:lnTo>
                    <a:lnTo>
                      <a:pt x="112" y="338"/>
                    </a:lnTo>
                    <a:lnTo>
                      <a:pt x="112" y="338"/>
                    </a:lnTo>
                    <a:lnTo>
                      <a:pt x="112" y="338"/>
                    </a:lnTo>
                    <a:lnTo>
                      <a:pt x="114" y="338"/>
                    </a:lnTo>
                    <a:lnTo>
                      <a:pt x="114" y="340"/>
                    </a:lnTo>
                    <a:lnTo>
                      <a:pt x="116" y="340"/>
                    </a:lnTo>
                    <a:lnTo>
                      <a:pt x="120" y="340"/>
                    </a:lnTo>
                    <a:lnTo>
                      <a:pt x="120" y="340"/>
                    </a:lnTo>
                    <a:lnTo>
                      <a:pt x="122" y="342"/>
                    </a:lnTo>
                    <a:lnTo>
                      <a:pt x="122" y="342"/>
                    </a:lnTo>
                    <a:lnTo>
                      <a:pt x="124" y="344"/>
                    </a:lnTo>
                    <a:lnTo>
                      <a:pt x="124" y="346"/>
                    </a:lnTo>
                    <a:lnTo>
                      <a:pt x="124" y="346"/>
                    </a:lnTo>
                    <a:lnTo>
                      <a:pt x="126" y="346"/>
                    </a:lnTo>
                    <a:lnTo>
                      <a:pt x="126" y="348"/>
                    </a:lnTo>
                    <a:lnTo>
                      <a:pt x="124" y="348"/>
                    </a:lnTo>
                    <a:lnTo>
                      <a:pt x="124" y="350"/>
                    </a:lnTo>
                    <a:lnTo>
                      <a:pt x="124" y="352"/>
                    </a:lnTo>
                    <a:lnTo>
                      <a:pt x="122" y="352"/>
                    </a:lnTo>
                    <a:lnTo>
                      <a:pt x="122" y="354"/>
                    </a:lnTo>
                    <a:lnTo>
                      <a:pt x="120" y="354"/>
                    </a:lnTo>
                    <a:lnTo>
                      <a:pt x="118" y="354"/>
                    </a:lnTo>
                    <a:lnTo>
                      <a:pt x="118" y="356"/>
                    </a:lnTo>
                    <a:lnTo>
                      <a:pt x="116" y="356"/>
                    </a:lnTo>
                    <a:lnTo>
                      <a:pt x="116" y="354"/>
                    </a:lnTo>
                    <a:lnTo>
                      <a:pt x="114" y="354"/>
                    </a:lnTo>
                    <a:lnTo>
                      <a:pt x="114" y="354"/>
                    </a:lnTo>
                    <a:lnTo>
                      <a:pt x="112" y="352"/>
                    </a:lnTo>
                    <a:lnTo>
                      <a:pt x="110" y="350"/>
                    </a:lnTo>
                    <a:lnTo>
                      <a:pt x="108" y="348"/>
                    </a:lnTo>
                    <a:lnTo>
                      <a:pt x="106" y="346"/>
                    </a:lnTo>
                    <a:lnTo>
                      <a:pt x="102" y="344"/>
                    </a:lnTo>
                    <a:lnTo>
                      <a:pt x="100" y="342"/>
                    </a:lnTo>
                    <a:lnTo>
                      <a:pt x="100" y="340"/>
                    </a:lnTo>
                    <a:lnTo>
                      <a:pt x="96" y="336"/>
                    </a:lnTo>
                    <a:lnTo>
                      <a:pt x="94" y="332"/>
                    </a:lnTo>
                    <a:lnTo>
                      <a:pt x="92" y="328"/>
                    </a:lnTo>
                    <a:lnTo>
                      <a:pt x="90" y="326"/>
                    </a:lnTo>
                    <a:lnTo>
                      <a:pt x="88" y="322"/>
                    </a:lnTo>
                    <a:lnTo>
                      <a:pt x="84" y="318"/>
                    </a:lnTo>
                    <a:lnTo>
                      <a:pt x="84" y="316"/>
                    </a:lnTo>
                    <a:lnTo>
                      <a:pt x="84" y="314"/>
                    </a:lnTo>
                    <a:lnTo>
                      <a:pt x="84" y="312"/>
                    </a:lnTo>
                    <a:lnTo>
                      <a:pt x="82" y="308"/>
                    </a:lnTo>
                    <a:lnTo>
                      <a:pt x="82" y="302"/>
                    </a:lnTo>
                    <a:lnTo>
                      <a:pt x="82" y="300"/>
                    </a:lnTo>
                    <a:lnTo>
                      <a:pt x="82" y="296"/>
                    </a:lnTo>
                    <a:lnTo>
                      <a:pt x="80" y="294"/>
                    </a:lnTo>
                    <a:lnTo>
                      <a:pt x="80" y="292"/>
                    </a:lnTo>
                    <a:lnTo>
                      <a:pt x="80" y="292"/>
                    </a:lnTo>
                    <a:lnTo>
                      <a:pt x="78" y="290"/>
                    </a:lnTo>
                    <a:lnTo>
                      <a:pt x="76" y="288"/>
                    </a:lnTo>
                    <a:lnTo>
                      <a:pt x="74" y="286"/>
                    </a:lnTo>
                    <a:lnTo>
                      <a:pt x="74" y="286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74" y="282"/>
                    </a:lnTo>
                    <a:lnTo>
                      <a:pt x="74" y="282"/>
                    </a:lnTo>
                    <a:lnTo>
                      <a:pt x="76" y="282"/>
                    </a:lnTo>
                    <a:lnTo>
                      <a:pt x="76" y="282"/>
                    </a:lnTo>
                    <a:lnTo>
                      <a:pt x="78" y="282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6" y="286"/>
                    </a:lnTo>
                    <a:lnTo>
                      <a:pt x="88" y="288"/>
                    </a:lnTo>
                    <a:lnTo>
                      <a:pt x="90" y="288"/>
                    </a:lnTo>
                    <a:lnTo>
                      <a:pt x="92" y="290"/>
                    </a:lnTo>
                    <a:lnTo>
                      <a:pt x="96" y="290"/>
                    </a:lnTo>
                    <a:lnTo>
                      <a:pt x="102" y="292"/>
                    </a:lnTo>
                    <a:lnTo>
                      <a:pt x="106" y="294"/>
                    </a:lnTo>
                    <a:lnTo>
                      <a:pt x="110" y="296"/>
                    </a:lnTo>
                    <a:lnTo>
                      <a:pt x="112" y="296"/>
                    </a:lnTo>
                    <a:lnTo>
                      <a:pt x="114" y="296"/>
                    </a:lnTo>
                    <a:lnTo>
                      <a:pt x="116" y="296"/>
                    </a:lnTo>
                    <a:lnTo>
                      <a:pt x="118" y="296"/>
                    </a:lnTo>
                    <a:lnTo>
                      <a:pt x="120" y="296"/>
                    </a:lnTo>
                    <a:lnTo>
                      <a:pt x="124" y="294"/>
                    </a:lnTo>
                    <a:lnTo>
                      <a:pt x="128" y="294"/>
                    </a:lnTo>
                    <a:lnTo>
                      <a:pt x="130" y="294"/>
                    </a:lnTo>
                    <a:lnTo>
                      <a:pt x="134" y="292"/>
                    </a:lnTo>
                    <a:lnTo>
                      <a:pt x="136" y="290"/>
                    </a:lnTo>
                    <a:lnTo>
                      <a:pt x="138" y="290"/>
                    </a:lnTo>
                    <a:lnTo>
                      <a:pt x="140" y="288"/>
                    </a:lnTo>
                    <a:lnTo>
                      <a:pt x="142" y="288"/>
                    </a:lnTo>
                    <a:lnTo>
                      <a:pt x="144" y="286"/>
                    </a:lnTo>
                    <a:lnTo>
                      <a:pt x="146" y="282"/>
                    </a:lnTo>
                    <a:lnTo>
                      <a:pt x="150" y="280"/>
                    </a:lnTo>
                    <a:lnTo>
                      <a:pt x="150" y="278"/>
                    </a:lnTo>
                    <a:lnTo>
                      <a:pt x="154" y="274"/>
                    </a:lnTo>
                    <a:lnTo>
                      <a:pt x="154" y="272"/>
                    </a:lnTo>
                    <a:lnTo>
                      <a:pt x="156" y="272"/>
                    </a:lnTo>
                    <a:lnTo>
                      <a:pt x="156" y="270"/>
                    </a:lnTo>
                    <a:lnTo>
                      <a:pt x="156" y="268"/>
                    </a:lnTo>
                    <a:lnTo>
                      <a:pt x="156" y="268"/>
                    </a:lnTo>
                    <a:lnTo>
                      <a:pt x="154" y="266"/>
                    </a:lnTo>
                    <a:lnTo>
                      <a:pt x="154" y="266"/>
                    </a:lnTo>
                    <a:lnTo>
                      <a:pt x="152" y="264"/>
                    </a:lnTo>
                    <a:lnTo>
                      <a:pt x="152" y="262"/>
                    </a:lnTo>
                    <a:lnTo>
                      <a:pt x="150" y="262"/>
                    </a:lnTo>
                    <a:lnTo>
                      <a:pt x="148" y="260"/>
                    </a:lnTo>
                    <a:lnTo>
                      <a:pt x="144" y="258"/>
                    </a:lnTo>
                    <a:lnTo>
                      <a:pt x="140" y="256"/>
                    </a:lnTo>
                    <a:lnTo>
                      <a:pt x="136" y="252"/>
                    </a:lnTo>
                    <a:lnTo>
                      <a:pt x="134" y="250"/>
                    </a:lnTo>
                    <a:lnTo>
                      <a:pt x="130" y="250"/>
                    </a:lnTo>
                    <a:lnTo>
                      <a:pt x="128" y="248"/>
                    </a:lnTo>
                    <a:lnTo>
                      <a:pt x="124" y="246"/>
                    </a:lnTo>
                    <a:lnTo>
                      <a:pt x="116" y="242"/>
                    </a:lnTo>
                    <a:lnTo>
                      <a:pt x="106" y="238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2" y="232"/>
                    </a:lnTo>
                    <a:lnTo>
                      <a:pt x="84" y="226"/>
                    </a:lnTo>
                    <a:lnTo>
                      <a:pt x="76" y="222"/>
                    </a:lnTo>
                    <a:lnTo>
                      <a:pt x="68" y="218"/>
                    </a:lnTo>
                    <a:lnTo>
                      <a:pt x="60" y="214"/>
                    </a:lnTo>
                    <a:lnTo>
                      <a:pt x="54" y="210"/>
                    </a:lnTo>
                    <a:lnTo>
                      <a:pt x="46" y="214"/>
                    </a:lnTo>
                    <a:lnTo>
                      <a:pt x="40" y="218"/>
                    </a:lnTo>
                    <a:lnTo>
                      <a:pt x="38" y="220"/>
                    </a:lnTo>
                    <a:lnTo>
                      <a:pt x="36" y="222"/>
                    </a:lnTo>
                    <a:lnTo>
                      <a:pt x="32" y="226"/>
                    </a:lnTo>
                    <a:lnTo>
                      <a:pt x="28" y="230"/>
                    </a:lnTo>
                    <a:lnTo>
                      <a:pt x="26" y="232"/>
                    </a:lnTo>
                    <a:lnTo>
                      <a:pt x="24" y="234"/>
                    </a:lnTo>
                    <a:lnTo>
                      <a:pt x="22" y="236"/>
                    </a:lnTo>
                    <a:lnTo>
                      <a:pt x="20" y="238"/>
                    </a:lnTo>
                    <a:lnTo>
                      <a:pt x="18" y="240"/>
                    </a:lnTo>
                    <a:lnTo>
                      <a:pt x="18" y="242"/>
                    </a:lnTo>
                    <a:lnTo>
                      <a:pt x="16" y="248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4" y="266"/>
                    </a:lnTo>
                    <a:lnTo>
                      <a:pt x="14" y="268"/>
                    </a:lnTo>
                    <a:lnTo>
                      <a:pt x="14" y="270"/>
                    </a:lnTo>
                    <a:lnTo>
                      <a:pt x="14" y="272"/>
                    </a:lnTo>
                    <a:lnTo>
                      <a:pt x="14" y="274"/>
                    </a:lnTo>
                    <a:lnTo>
                      <a:pt x="16" y="280"/>
                    </a:lnTo>
                    <a:lnTo>
                      <a:pt x="18" y="286"/>
                    </a:lnTo>
                    <a:lnTo>
                      <a:pt x="18" y="288"/>
                    </a:lnTo>
                    <a:lnTo>
                      <a:pt x="18" y="290"/>
                    </a:lnTo>
                    <a:lnTo>
                      <a:pt x="18" y="294"/>
                    </a:lnTo>
                    <a:lnTo>
                      <a:pt x="18" y="296"/>
                    </a:lnTo>
                    <a:lnTo>
                      <a:pt x="20" y="302"/>
                    </a:lnTo>
                    <a:lnTo>
                      <a:pt x="20" y="310"/>
                    </a:lnTo>
                    <a:lnTo>
                      <a:pt x="20" y="312"/>
                    </a:lnTo>
                    <a:lnTo>
                      <a:pt x="20" y="314"/>
                    </a:lnTo>
                    <a:lnTo>
                      <a:pt x="20" y="316"/>
                    </a:lnTo>
                    <a:lnTo>
                      <a:pt x="20" y="318"/>
                    </a:lnTo>
                    <a:lnTo>
                      <a:pt x="22" y="324"/>
                    </a:lnTo>
                    <a:lnTo>
                      <a:pt x="26" y="334"/>
                    </a:lnTo>
                    <a:lnTo>
                      <a:pt x="28" y="340"/>
                    </a:lnTo>
                    <a:lnTo>
                      <a:pt x="30" y="346"/>
                    </a:lnTo>
                    <a:lnTo>
                      <a:pt x="30" y="350"/>
                    </a:lnTo>
                    <a:lnTo>
                      <a:pt x="32" y="352"/>
                    </a:lnTo>
                    <a:lnTo>
                      <a:pt x="32" y="356"/>
                    </a:lnTo>
                    <a:lnTo>
                      <a:pt x="34" y="358"/>
                    </a:lnTo>
                    <a:lnTo>
                      <a:pt x="34" y="358"/>
                    </a:lnTo>
                    <a:lnTo>
                      <a:pt x="36" y="360"/>
                    </a:lnTo>
                    <a:lnTo>
                      <a:pt x="38" y="362"/>
                    </a:lnTo>
                    <a:lnTo>
                      <a:pt x="40" y="364"/>
                    </a:lnTo>
                    <a:lnTo>
                      <a:pt x="42" y="366"/>
                    </a:lnTo>
                    <a:lnTo>
                      <a:pt x="44" y="368"/>
                    </a:lnTo>
                    <a:lnTo>
                      <a:pt x="48" y="372"/>
                    </a:lnTo>
                    <a:lnTo>
                      <a:pt x="52" y="374"/>
                    </a:lnTo>
                    <a:lnTo>
                      <a:pt x="46" y="378"/>
                    </a:lnTo>
                    <a:lnTo>
                      <a:pt x="44" y="382"/>
                    </a:lnTo>
                    <a:lnTo>
                      <a:pt x="40" y="384"/>
                    </a:lnTo>
                    <a:lnTo>
                      <a:pt x="36" y="388"/>
                    </a:lnTo>
                    <a:lnTo>
                      <a:pt x="32" y="392"/>
                    </a:lnTo>
                    <a:lnTo>
                      <a:pt x="26" y="402"/>
                    </a:lnTo>
                    <a:lnTo>
                      <a:pt x="18" y="408"/>
                    </a:lnTo>
                    <a:lnTo>
                      <a:pt x="16" y="412"/>
                    </a:lnTo>
                    <a:lnTo>
                      <a:pt x="14" y="414"/>
                    </a:lnTo>
                    <a:lnTo>
                      <a:pt x="12" y="416"/>
                    </a:lnTo>
                    <a:lnTo>
                      <a:pt x="12" y="418"/>
                    </a:lnTo>
                    <a:lnTo>
                      <a:pt x="10" y="418"/>
                    </a:lnTo>
                    <a:lnTo>
                      <a:pt x="10" y="420"/>
                    </a:lnTo>
                    <a:lnTo>
                      <a:pt x="8" y="424"/>
                    </a:lnTo>
                    <a:lnTo>
                      <a:pt x="8" y="428"/>
                    </a:lnTo>
                    <a:lnTo>
                      <a:pt x="8" y="432"/>
                    </a:lnTo>
                    <a:lnTo>
                      <a:pt x="8" y="434"/>
                    </a:lnTo>
                    <a:lnTo>
                      <a:pt x="8" y="436"/>
                    </a:lnTo>
                    <a:lnTo>
                      <a:pt x="8" y="440"/>
                    </a:lnTo>
                    <a:lnTo>
                      <a:pt x="8" y="448"/>
                    </a:lnTo>
                    <a:lnTo>
                      <a:pt x="0" y="452"/>
                    </a:lnTo>
                    <a:lnTo>
                      <a:pt x="16" y="474"/>
                    </a:lnTo>
                    <a:lnTo>
                      <a:pt x="38" y="494"/>
                    </a:lnTo>
                    <a:lnTo>
                      <a:pt x="44" y="496"/>
                    </a:lnTo>
                    <a:lnTo>
                      <a:pt x="50" y="498"/>
                    </a:lnTo>
                    <a:lnTo>
                      <a:pt x="56" y="500"/>
                    </a:lnTo>
                    <a:lnTo>
                      <a:pt x="60" y="500"/>
                    </a:lnTo>
                    <a:lnTo>
                      <a:pt x="62" y="502"/>
                    </a:lnTo>
                    <a:lnTo>
                      <a:pt x="66" y="502"/>
                    </a:lnTo>
                    <a:lnTo>
                      <a:pt x="70" y="504"/>
                    </a:lnTo>
                    <a:lnTo>
                      <a:pt x="72" y="506"/>
                    </a:lnTo>
                    <a:lnTo>
                      <a:pt x="74" y="508"/>
                    </a:lnTo>
                    <a:lnTo>
                      <a:pt x="76" y="508"/>
                    </a:lnTo>
                    <a:lnTo>
                      <a:pt x="78" y="510"/>
                    </a:lnTo>
                    <a:lnTo>
                      <a:pt x="78" y="510"/>
                    </a:lnTo>
                    <a:lnTo>
                      <a:pt x="80" y="512"/>
                    </a:lnTo>
                    <a:lnTo>
                      <a:pt x="80" y="516"/>
                    </a:lnTo>
                    <a:lnTo>
                      <a:pt x="82" y="518"/>
                    </a:lnTo>
                    <a:lnTo>
                      <a:pt x="82" y="522"/>
                    </a:lnTo>
                    <a:lnTo>
                      <a:pt x="84" y="524"/>
                    </a:lnTo>
                    <a:lnTo>
                      <a:pt x="84" y="528"/>
                    </a:lnTo>
                    <a:lnTo>
                      <a:pt x="84" y="532"/>
                    </a:lnTo>
                    <a:lnTo>
                      <a:pt x="84" y="536"/>
                    </a:lnTo>
                    <a:lnTo>
                      <a:pt x="84" y="540"/>
                    </a:lnTo>
                    <a:lnTo>
                      <a:pt x="84" y="544"/>
                    </a:lnTo>
                    <a:lnTo>
                      <a:pt x="84" y="548"/>
                    </a:lnTo>
                    <a:lnTo>
                      <a:pt x="84" y="550"/>
                    </a:lnTo>
                    <a:lnTo>
                      <a:pt x="84" y="554"/>
                    </a:lnTo>
                    <a:lnTo>
                      <a:pt x="82" y="558"/>
                    </a:lnTo>
                    <a:lnTo>
                      <a:pt x="82" y="560"/>
                    </a:lnTo>
                    <a:lnTo>
                      <a:pt x="82" y="562"/>
                    </a:lnTo>
                    <a:lnTo>
                      <a:pt x="80" y="564"/>
                    </a:lnTo>
                    <a:lnTo>
                      <a:pt x="80" y="564"/>
                    </a:lnTo>
                    <a:lnTo>
                      <a:pt x="78" y="566"/>
                    </a:lnTo>
                    <a:lnTo>
                      <a:pt x="76" y="568"/>
                    </a:lnTo>
                    <a:lnTo>
                      <a:pt x="76" y="568"/>
                    </a:lnTo>
                    <a:lnTo>
                      <a:pt x="76" y="568"/>
                    </a:lnTo>
                    <a:lnTo>
                      <a:pt x="74" y="570"/>
                    </a:lnTo>
                    <a:lnTo>
                      <a:pt x="72" y="574"/>
                    </a:lnTo>
                    <a:lnTo>
                      <a:pt x="72" y="578"/>
                    </a:lnTo>
                    <a:lnTo>
                      <a:pt x="70" y="580"/>
                    </a:lnTo>
                    <a:lnTo>
                      <a:pt x="70" y="586"/>
                    </a:lnTo>
                    <a:lnTo>
                      <a:pt x="68" y="590"/>
                    </a:lnTo>
                    <a:lnTo>
                      <a:pt x="74" y="588"/>
                    </a:lnTo>
                    <a:lnTo>
                      <a:pt x="78" y="588"/>
                    </a:lnTo>
                    <a:lnTo>
                      <a:pt x="84" y="586"/>
                    </a:lnTo>
                    <a:lnTo>
                      <a:pt x="88" y="586"/>
                    </a:lnTo>
                    <a:lnTo>
                      <a:pt x="90" y="586"/>
                    </a:lnTo>
                    <a:lnTo>
                      <a:pt x="94" y="586"/>
                    </a:lnTo>
                    <a:lnTo>
                      <a:pt x="96" y="586"/>
                    </a:lnTo>
                    <a:lnTo>
                      <a:pt x="100" y="586"/>
                    </a:lnTo>
                    <a:lnTo>
                      <a:pt x="102" y="586"/>
                    </a:lnTo>
                    <a:lnTo>
                      <a:pt x="104" y="586"/>
                    </a:lnTo>
                    <a:lnTo>
                      <a:pt x="106" y="586"/>
                    </a:lnTo>
                    <a:lnTo>
                      <a:pt x="106" y="588"/>
                    </a:lnTo>
                    <a:lnTo>
                      <a:pt x="108" y="588"/>
                    </a:lnTo>
                    <a:lnTo>
                      <a:pt x="108" y="588"/>
                    </a:lnTo>
                    <a:lnTo>
                      <a:pt x="108" y="590"/>
                    </a:lnTo>
                    <a:lnTo>
                      <a:pt x="110" y="592"/>
                    </a:lnTo>
                    <a:lnTo>
                      <a:pt x="110" y="594"/>
                    </a:lnTo>
                    <a:lnTo>
                      <a:pt x="110" y="598"/>
                    </a:lnTo>
                    <a:lnTo>
                      <a:pt x="112" y="600"/>
                    </a:lnTo>
                    <a:lnTo>
                      <a:pt x="112" y="604"/>
                    </a:lnTo>
                    <a:lnTo>
                      <a:pt x="114" y="606"/>
                    </a:lnTo>
                    <a:lnTo>
                      <a:pt x="114" y="608"/>
                    </a:lnTo>
                    <a:lnTo>
                      <a:pt x="114" y="608"/>
                    </a:lnTo>
                    <a:lnTo>
                      <a:pt x="116" y="610"/>
                    </a:lnTo>
                    <a:lnTo>
                      <a:pt x="116" y="612"/>
                    </a:lnTo>
                    <a:lnTo>
                      <a:pt x="118" y="614"/>
                    </a:lnTo>
                    <a:lnTo>
                      <a:pt x="120" y="614"/>
                    </a:lnTo>
                    <a:lnTo>
                      <a:pt x="124" y="618"/>
                    </a:lnTo>
                    <a:lnTo>
                      <a:pt x="128" y="620"/>
                    </a:lnTo>
                    <a:lnTo>
                      <a:pt x="132" y="624"/>
                    </a:lnTo>
                    <a:lnTo>
                      <a:pt x="136" y="626"/>
                    </a:lnTo>
                    <a:lnTo>
                      <a:pt x="144" y="632"/>
                    </a:lnTo>
                    <a:lnTo>
                      <a:pt x="150" y="636"/>
                    </a:lnTo>
                    <a:lnTo>
                      <a:pt x="154" y="638"/>
                    </a:lnTo>
                    <a:lnTo>
                      <a:pt x="158" y="642"/>
                    </a:lnTo>
                    <a:lnTo>
                      <a:pt x="162" y="644"/>
                    </a:lnTo>
                    <a:lnTo>
                      <a:pt x="166" y="648"/>
                    </a:lnTo>
                    <a:lnTo>
                      <a:pt x="166" y="648"/>
                    </a:lnTo>
                    <a:lnTo>
                      <a:pt x="168" y="650"/>
                    </a:lnTo>
                    <a:lnTo>
                      <a:pt x="170" y="652"/>
                    </a:lnTo>
                    <a:lnTo>
                      <a:pt x="170" y="654"/>
                    </a:lnTo>
                    <a:lnTo>
                      <a:pt x="172" y="656"/>
                    </a:lnTo>
                    <a:lnTo>
                      <a:pt x="172" y="658"/>
                    </a:lnTo>
                    <a:lnTo>
                      <a:pt x="172" y="658"/>
                    </a:lnTo>
                    <a:lnTo>
                      <a:pt x="172" y="660"/>
                    </a:lnTo>
                    <a:lnTo>
                      <a:pt x="172" y="660"/>
                    </a:lnTo>
                    <a:lnTo>
                      <a:pt x="172" y="662"/>
                    </a:lnTo>
                    <a:lnTo>
                      <a:pt x="172" y="664"/>
                    </a:lnTo>
                    <a:lnTo>
                      <a:pt x="172" y="666"/>
                    </a:lnTo>
                    <a:lnTo>
                      <a:pt x="170" y="670"/>
                    </a:lnTo>
                    <a:lnTo>
                      <a:pt x="170" y="672"/>
                    </a:lnTo>
                    <a:lnTo>
                      <a:pt x="168" y="680"/>
                    </a:lnTo>
                    <a:lnTo>
                      <a:pt x="166" y="686"/>
                    </a:lnTo>
                    <a:lnTo>
                      <a:pt x="164" y="688"/>
                    </a:lnTo>
                    <a:lnTo>
                      <a:pt x="164" y="692"/>
                    </a:lnTo>
                    <a:lnTo>
                      <a:pt x="162" y="694"/>
                    </a:lnTo>
                    <a:lnTo>
                      <a:pt x="162" y="696"/>
                    </a:lnTo>
                    <a:lnTo>
                      <a:pt x="162" y="700"/>
                    </a:lnTo>
                    <a:lnTo>
                      <a:pt x="162" y="700"/>
                    </a:lnTo>
                    <a:lnTo>
                      <a:pt x="162" y="702"/>
                    </a:lnTo>
                    <a:lnTo>
                      <a:pt x="164" y="702"/>
                    </a:lnTo>
                    <a:lnTo>
                      <a:pt x="164" y="702"/>
                    </a:lnTo>
                    <a:lnTo>
                      <a:pt x="164" y="704"/>
                    </a:lnTo>
                    <a:lnTo>
                      <a:pt x="166" y="704"/>
                    </a:lnTo>
                    <a:lnTo>
                      <a:pt x="166" y="706"/>
                    </a:lnTo>
                    <a:lnTo>
                      <a:pt x="168" y="706"/>
                    </a:lnTo>
                    <a:lnTo>
                      <a:pt x="170" y="708"/>
                    </a:lnTo>
                    <a:lnTo>
                      <a:pt x="170" y="708"/>
                    </a:lnTo>
                    <a:lnTo>
                      <a:pt x="170" y="708"/>
                    </a:lnTo>
                    <a:lnTo>
                      <a:pt x="170" y="708"/>
                    </a:lnTo>
                    <a:lnTo>
                      <a:pt x="170" y="710"/>
                    </a:lnTo>
                    <a:lnTo>
                      <a:pt x="170" y="710"/>
                    </a:lnTo>
                    <a:lnTo>
                      <a:pt x="170" y="712"/>
                    </a:lnTo>
                    <a:lnTo>
                      <a:pt x="168" y="712"/>
                    </a:lnTo>
                    <a:lnTo>
                      <a:pt x="168" y="714"/>
                    </a:lnTo>
                    <a:lnTo>
                      <a:pt x="166" y="714"/>
                    </a:lnTo>
                    <a:lnTo>
                      <a:pt x="164" y="716"/>
                    </a:lnTo>
                    <a:lnTo>
                      <a:pt x="160" y="720"/>
                    </a:lnTo>
                    <a:lnTo>
                      <a:pt x="156" y="722"/>
                    </a:lnTo>
                    <a:lnTo>
                      <a:pt x="156" y="722"/>
                    </a:lnTo>
                    <a:lnTo>
                      <a:pt x="148" y="728"/>
                    </a:lnTo>
                    <a:lnTo>
                      <a:pt x="146" y="732"/>
                    </a:lnTo>
                    <a:lnTo>
                      <a:pt x="144" y="734"/>
                    </a:lnTo>
                    <a:lnTo>
                      <a:pt x="142" y="736"/>
                    </a:lnTo>
                    <a:lnTo>
                      <a:pt x="142" y="738"/>
                    </a:lnTo>
                    <a:lnTo>
                      <a:pt x="140" y="740"/>
                    </a:lnTo>
                    <a:lnTo>
                      <a:pt x="140" y="742"/>
                    </a:lnTo>
                    <a:lnTo>
                      <a:pt x="138" y="742"/>
                    </a:lnTo>
                    <a:lnTo>
                      <a:pt x="138" y="744"/>
                    </a:lnTo>
                    <a:lnTo>
                      <a:pt x="138" y="744"/>
                    </a:lnTo>
                    <a:lnTo>
                      <a:pt x="138" y="746"/>
                    </a:lnTo>
                    <a:lnTo>
                      <a:pt x="140" y="746"/>
                    </a:lnTo>
                    <a:lnTo>
                      <a:pt x="140" y="748"/>
                    </a:lnTo>
                    <a:lnTo>
                      <a:pt x="140" y="748"/>
                    </a:lnTo>
                    <a:lnTo>
                      <a:pt x="142" y="748"/>
                    </a:lnTo>
                    <a:lnTo>
                      <a:pt x="144" y="750"/>
                    </a:lnTo>
                    <a:lnTo>
                      <a:pt x="148" y="752"/>
                    </a:lnTo>
                    <a:lnTo>
                      <a:pt x="154" y="754"/>
                    </a:lnTo>
                    <a:lnTo>
                      <a:pt x="156" y="754"/>
                    </a:lnTo>
                    <a:lnTo>
                      <a:pt x="156" y="754"/>
                    </a:lnTo>
                    <a:lnTo>
                      <a:pt x="158" y="756"/>
                    </a:lnTo>
                    <a:lnTo>
                      <a:pt x="160" y="756"/>
                    </a:lnTo>
                    <a:lnTo>
                      <a:pt x="160" y="758"/>
                    </a:lnTo>
                    <a:lnTo>
                      <a:pt x="164" y="762"/>
                    </a:lnTo>
                    <a:lnTo>
                      <a:pt x="168" y="766"/>
                    </a:lnTo>
                    <a:lnTo>
                      <a:pt x="172" y="764"/>
                    </a:lnTo>
                    <a:lnTo>
                      <a:pt x="176" y="762"/>
                    </a:lnTo>
                    <a:lnTo>
                      <a:pt x="180" y="758"/>
                    </a:lnTo>
                    <a:lnTo>
                      <a:pt x="186" y="754"/>
                    </a:lnTo>
                    <a:lnTo>
                      <a:pt x="188" y="754"/>
                    </a:lnTo>
                    <a:lnTo>
                      <a:pt x="190" y="752"/>
                    </a:lnTo>
                    <a:lnTo>
                      <a:pt x="194" y="750"/>
                    </a:lnTo>
                    <a:lnTo>
                      <a:pt x="196" y="750"/>
                    </a:lnTo>
                    <a:lnTo>
                      <a:pt x="198" y="748"/>
                    </a:lnTo>
                    <a:lnTo>
                      <a:pt x="200" y="748"/>
                    </a:lnTo>
                    <a:lnTo>
                      <a:pt x="200" y="748"/>
                    </a:lnTo>
                    <a:lnTo>
                      <a:pt x="202" y="748"/>
                    </a:lnTo>
                    <a:lnTo>
                      <a:pt x="202" y="750"/>
                    </a:lnTo>
                    <a:lnTo>
                      <a:pt x="204" y="750"/>
                    </a:lnTo>
                    <a:lnTo>
                      <a:pt x="206" y="752"/>
                    </a:lnTo>
                    <a:lnTo>
                      <a:pt x="208" y="754"/>
                    </a:lnTo>
                    <a:lnTo>
                      <a:pt x="212" y="754"/>
                    </a:lnTo>
                    <a:lnTo>
                      <a:pt x="214" y="756"/>
                    </a:lnTo>
                    <a:lnTo>
                      <a:pt x="216" y="758"/>
                    </a:lnTo>
                    <a:lnTo>
                      <a:pt x="216" y="758"/>
                    </a:lnTo>
                    <a:lnTo>
                      <a:pt x="218" y="758"/>
                    </a:lnTo>
                    <a:lnTo>
                      <a:pt x="218" y="758"/>
                    </a:lnTo>
                    <a:lnTo>
                      <a:pt x="220" y="758"/>
                    </a:lnTo>
                    <a:lnTo>
                      <a:pt x="224" y="758"/>
                    </a:lnTo>
                    <a:lnTo>
                      <a:pt x="228" y="758"/>
                    </a:lnTo>
                    <a:lnTo>
                      <a:pt x="228" y="758"/>
                    </a:lnTo>
                    <a:lnTo>
                      <a:pt x="230" y="758"/>
                    </a:lnTo>
                    <a:lnTo>
                      <a:pt x="232" y="760"/>
                    </a:lnTo>
                    <a:lnTo>
                      <a:pt x="234" y="760"/>
                    </a:lnTo>
                    <a:lnTo>
                      <a:pt x="234" y="762"/>
                    </a:lnTo>
                    <a:lnTo>
                      <a:pt x="236" y="764"/>
                    </a:lnTo>
                    <a:lnTo>
                      <a:pt x="240" y="768"/>
                    </a:lnTo>
                    <a:lnTo>
                      <a:pt x="244" y="770"/>
                    </a:lnTo>
                    <a:lnTo>
                      <a:pt x="246" y="774"/>
                    </a:lnTo>
                    <a:lnTo>
                      <a:pt x="252" y="780"/>
                    </a:lnTo>
                    <a:lnTo>
                      <a:pt x="258" y="788"/>
                    </a:lnTo>
                    <a:lnTo>
                      <a:pt x="286" y="780"/>
                    </a:lnTo>
                    <a:lnTo>
                      <a:pt x="284" y="776"/>
                    </a:lnTo>
                    <a:lnTo>
                      <a:pt x="282" y="772"/>
                    </a:lnTo>
                    <a:lnTo>
                      <a:pt x="280" y="768"/>
                    </a:lnTo>
                    <a:lnTo>
                      <a:pt x="280" y="764"/>
                    </a:lnTo>
                    <a:lnTo>
                      <a:pt x="278" y="762"/>
                    </a:lnTo>
                    <a:lnTo>
                      <a:pt x="278" y="760"/>
                    </a:lnTo>
                    <a:lnTo>
                      <a:pt x="278" y="760"/>
                    </a:lnTo>
                    <a:lnTo>
                      <a:pt x="278" y="758"/>
                    </a:lnTo>
                    <a:lnTo>
                      <a:pt x="280" y="756"/>
                    </a:lnTo>
                    <a:lnTo>
                      <a:pt x="280" y="754"/>
                    </a:lnTo>
                    <a:lnTo>
                      <a:pt x="282" y="752"/>
                    </a:lnTo>
                    <a:lnTo>
                      <a:pt x="284" y="748"/>
                    </a:lnTo>
                    <a:lnTo>
                      <a:pt x="286" y="746"/>
                    </a:lnTo>
                    <a:lnTo>
                      <a:pt x="288" y="744"/>
                    </a:lnTo>
                    <a:lnTo>
                      <a:pt x="290" y="740"/>
                    </a:lnTo>
                    <a:lnTo>
                      <a:pt x="294" y="738"/>
                    </a:lnTo>
                    <a:lnTo>
                      <a:pt x="296" y="736"/>
                    </a:lnTo>
                    <a:lnTo>
                      <a:pt x="302" y="730"/>
                    </a:lnTo>
                    <a:lnTo>
                      <a:pt x="306" y="726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</p:grpSp>
        <p:grpSp>
          <p:nvGrpSpPr>
            <p:cNvPr id="1902" name="Gruppieren 697">
              <a:extLst>
                <a:ext uri="{FF2B5EF4-FFF2-40B4-BE49-F238E27FC236}">
                  <a16:creationId xmlns:a16="http://schemas.microsoft.com/office/drawing/2014/main" id="{FEABEA21-A345-42EC-A606-4F014560925F}"/>
                </a:ext>
              </a:extLst>
            </p:cNvPr>
            <p:cNvGrpSpPr/>
            <p:nvPr/>
          </p:nvGrpSpPr>
          <p:grpSpPr bwMode="auto">
            <a:xfrm>
              <a:off x="4401959" y="3290616"/>
              <a:ext cx="317767" cy="481393"/>
              <a:chOff x="7218653" y="3495842"/>
              <a:chExt cx="295275" cy="457200"/>
            </a:xfrm>
            <a:solidFill>
              <a:srgbClr val="FF2929">
                <a:alpha val="10196"/>
              </a:srgbClr>
            </a:solidFill>
          </p:grpSpPr>
          <p:sp>
            <p:nvSpPr>
              <p:cNvPr id="1996" name="Freeform 54">
                <a:extLst>
                  <a:ext uri="{FF2B5EF4-FFF2-40B4-BE49-F238E27FC236}">
                    <a16:creationId xmlns:a16="http://schemas.microsoft.com/office/drawing/2014/main" id="{A06002D9-E108-454E-9327-6ECA0B7FD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2803" y="3495842"/>
                <a:ext cx="111125" cy="142875"/>
              </a:xfrm>
              <a:custGeom>
                <a:avLst/>
                <a:gdLst>
                  <a:gd name="T0" fmla="*/ 12 w 70"/>
                  <a:gd name="T1" fmla="*/ 8 h 90"/>
                  <a:gd name="T2" fmla="*/ 12 w 70"/>
                  <a:gd name="T3" fmla="*/ 14 h 90"/>
                  <a:gd name="T4" fmla="*/ 14 w 70"/>
                  <a:gd name="T5" fmla="*/ 24 h 90"/>
                  <a:gd name="T6" fmla="*/ 16 w 70"/>
                  <a:gd name="T7" fmla="*/ 34 h 90"/>
                  <a:gd name="T8" fmla="*/ 16 w 70"/>
                  <a:gd name="T9" fmla="*/ 42 h 90"/>
                  <a:gd name="T10" fmla="*/ 16 w 70"/>
                  <a:gd name="T11" fmla="*/ 48 h 90"/>
                  <a:gd name="T12" fmla="*/ 10 w 70"/>
                  <a:gd name="T13" fmla="*/ 56 h 90"/>
                  <a:gd name="T14" fmla="*/ 6 w 70"/>
                  <a:gd name="T15" fmla="*/ 62 h 90"/>
                  <a:gd name="T16" fmla="*/ 0 w 70"/>
                  <a:gd name="T17" fmla="*/ 70 h 90"/>
                  <a:gd name="T18" fmla="*/ 0 w 70"/>
                  <a:gd name="T19" fmla="*/ 72 h 90"/>
                  <a:gd name="T20" fmla="*/ 2 w 70"/>
                  <a:gd name="T21" fmla="*/ 76 h 90"/>
                  <a:gd name="T22" fmla="*/ 6 w 70"/>
                  <a:gd name="T23" fmla="*/ 80 h 90"/>
                  <a:gd name="T24" fmla="*/ 8 w 70"/>
                  <a:gd name="T25" fmla="*/ 82 h 90"/>
                  <a:gd name="T26" fmla="*/ 12 w 70"/>
                  <a:gd name="T27" fmla="*/ 80 h 90"/>
                  <a:gd name="T28" fmla="*/ 18 w 70"/>
                  <a:gd name="T29" fmla="*/ 78 h 90"/>
                  <a:gd name="T30" fmla="*/ 24 w 70"/>
                  <a:gd name="T31" fmla="*/ 76 h 90"/>
                  <a:gd name="T32" fmla="*/ 26 w 70"/>
                  <a:gd name="T33" fmla="*/ 74 h 90"/>
                  <a:gd name="T34" fmla="*/ 34 w 70"/>
                  <a:gd name="T35" fmla="*/ 76 h 90"/>
                  <a:gd name="T36" fmla="*/ 40 w 70"/>
                  <a:gd name="T37" fmla="*/ 78 h 90"/>
                  <a:gd name="T38" fmla="*/ 42 w 70"/>
                  <a:gd name="T39" fmla="*/ 80 h 90"/>
                  <a:gd name="T40" fmla="*/ 48 w 70"/>
                  <a:gd name="T41" fmla="*/ 88 h 90"/>
                  <a:gd name="T42" fmla="*/ 48 w 70"/>
                  <a:gd name="T43" fmla="*/ 90 h 90"/>
                  <a:gd name="T44" fmla="*/ 50 w 70"/>
                  <a:gd name="T45" fmla="*/ 88 h 90"/>
                  <a:gd name="T46" fmla="*/ 52 w 70"/>
                  <a:gd name="T47" fmla="*/ 82 h 90"/>
                  <a:gd name="T48" fmla="*/ 56 w 70"/>
                  <a:gd name="T49" fmla="*/ 72 h 90"/>
                  <a:gd name="T50" fmla="*/ 60 w 70"/>
                  <a:gd name="T51" fmla="*/ 68 h 90"/>
                  <a:gd name="T52" fmla="*/ 64 w 70"/>
                  <a:gd name="T53" fmla="*/ 64 h 90"/>
                  <a:gd name="T54" fmla="*/ 68 w 70"/>
                  <a:gd name="T55" fmla="*/ 62 h 90"/>
                  <a:gd name="T56" fmla="*/ 70 w 70"/>
                  <a:gd name="T57" fmla="*/ 62 h 90"/>
                  <a:gd name="T58" fmla="*/ 70 w 70"/>
                  <a:gd name="T59" fmla="*/ 58 h 90"/>
                  <a:gd name="T60" fmla="*/ 70 w 70"/>
                  <a:gd name="T61" fmla="*/ 50 h 90"/>
                  <a:gd name="T62" fmla="*/ 68 w 70"/>
                  <a:gd name="T63" fmla="*/ 44 h 90"/>
                  <a:gd name="T64" fmla="*/ 66 w 70"/>
                  <a:gd name="T65" fmla="*/ 42 h 90"/>
                  <a:gd name="T66" fmla="*/ 60 w 70"/>
                  <a:gd name="T67" fmla="*/ 40 h 90"/>
                  <a:gd name="T68" fmla="*/ 52 w 70"/>
                  <a:gd name="T69" fmla="*/ 38 h 90"/>
                  <a:gd name="T70" fmla="*/ 40 w 70"/>
                  <a:gd name="T71" fmla="*/ 36 h 90"/>
                  <a:gd name="T72" fmla="*/ 34 w 70"/>
                  <a:gd name="T73" fmla="*/ 32 h 90"/>
                  <a:gd name="T74" fmla="*/ 30 w 70"/>
                  <a:gd name="T75" fmla="*/ 30 h 90"/>
                  <a:gd name="T76" fmla="*/ 28 w 70"/>
                  <a:gd name="T77" fmla="*/ 28 h 90"/>
                  <a:gd name="T78" fmla="*/ 26 w 70"/>
                  <a:gd name="T79" fmla="*/ 18 h 90"/>
                  <a:gd name="T80" fmla="*/ 24 w 70"/>
                  <a:gd name="T81" fmla="*/ 12 h 90"/>
                  <a:gd name="T82" fmla="*/ 22 w 70"/>
                  <a:gd name="T83" fmla="*/ 4 h 90"/>
                  <a:gd name="T84" fmla="*/ 20 w 70"/>
                  <a:gd name="T85" fmla="*/ 0 h 90"/>
                  <a:gd name="T86" fmla="*/ 18 w 70"/>
                  <a:gd name="T87" fmla="*/ 0 h 90"/>
                  <a:gd name="T88" fmla="*/ 14 w 70"/>
                  <a:gd name="T89" fmla="*/ 2 h 90"/>
                  <a:gd name="T90" fmla="*/ 12 w 70"/>
                  <a:gd name="T91" fmla="*/ 6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0" h="90">
                    <a:moveTo>
                      <a:pt x="12" y="8"/>
                    </a:moveTo>
                    <a:lnTo>
                      <a:pt x="12" y="8"/>
                    </a:lnTo>
                    <a:lnTo>
                      <a:pt x="12" y="8"/>
                    </a:lnTo>
                    <a:lnTo>
                      <a:pt x="12" y="10"/>
                    </a:lnTo>
                    <a:lnTo>
                      <a:pt x="12" y="12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4" y="22"/>
                    </a:lnTo>
                    <a:lnTo>
                      <a:pt x="14" y="24"/>
                    </a:lnTo>
                    <a:lnTo>
                      <a:pt x="16" y="26"/>
                    </a:ln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0" y="56"/>
                    </a:lnTo>
                    <a:lnTo>
                      <a:pt x="8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2" y="66"/>
                    </a:lnTo>
                    <a:lnTo>
                      <a:pt x="2" y="68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4" y="78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8" y="80"/>
                    </a:lnTo>
                    <a:lnTo>
                      <a:pt x="8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4" y="80"/>
                    </a:lnTo>
                    <a:lnTo>
                      <a:pt x="18" y="78"/>
                    </a:lnTo>
                    <a:lnTo>
                      <a:pt x="20" y="76"/>
                    </a:lnTo>
                    <a:lnTo>
                      <a:pt x="22" y="76"/>
                    </a:lnTo>
                    <a:lnTo>
                      <a:pt x="24" y="76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2" y="76"/>
                    </a:lnTo>
                    <a:lnTo>
                      <a:pt x="34" y="76"/>
                    </a:lnTo>
                    <a:lnTo>
                      <a:pt x="36" y="76"/>
                    </a:lnTo>
                    <a:lnTo>
                      <a:pt x="38" y="76"/>
                    </a:lnTo>
                    <a:lnTo>
                      <a:pt x="4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0"/>
                    </a:lnTo>
                    <a:lnTo>
                      <a:pt x="44" y="82"/>
                    </a:lnTo>
                    <a:lnTo>
                      <a:pt x="46" y="86"/>
                    </a:lnTo>
                    <a:lnTo>
                      <a:pt x="48" y="88"/>
                    </a:lnTo>
                    <a:lnTo>
                      <a:pt x="48" y="88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0" y="90"/>
                    </a:lnTo>
                    <a:lnTo>
                      <a:pt x="50" y="88"/>
                    </a:lnTo>
                    <a:lnTo>
                      <a:pt x="50" y="88"/>
                    </a:lnTo>
                    <a:lnTo>
                      <a:pt x="50" y="86"/>
                    </a:lnTo>
                    <a:lnTo>
                      <a:pt x="50" y="84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4" y="74"/>
                    </a:lnTo>
                    <a:lnTo>
                      <a:pt x="56" y="72"/>
                    </a:lnTo>
                    <a:lnTo>
                      <a:pt x="58" y="70"/>
                    </a:lnTo>
                    <a:lnTo>
                      <a:pt x="58" y="68"/>
                    </a:lnTo>
                    <a:lnTo>
                      <a:pt x="60" y="68"/>
                    </a:lnTo>
                    <a:lnTo>
                      <a:pt x="60" y="66"/>
                    </a:lnTo>
                    <a:lnTo>
                      <a:pt x="62" y="66"/>
                    </a:lnTo>
                    <a:lnTo>
                      <a:pt x="64" y="64"/>
                    </a:lnTo>
                    <a:lnTo>
                      <a:pt x="66" y="64"/>
                    </a:lnTo>
                    <a:lnTo>
                      <a:pt x="68" y="64"/>
                    </a:lnTo>
                    <a:lnTo>
                      <a:pt x="68" y="62"/>
                    </a:lnTo>
                    <a:lnTo>
                      <a:pt x="68" y="62"/>
                    </a:lnTo>
                    <a:lnTo>
                      <a:pt x="70" y="62"/>
                    </a:lnTo>
                    <a:lnTo>
                      <a:pt x="70" y="62"/>
                    </a:lnTo>
                    <a:lnTo>
                      <a:pt x="70" y="60"/>
                    </a:lnTo>
                    <a:lnTo>
                      <a:pt x="70" y="60"/>
                    </a:lnTo>
                    <a:lnTo>
                      <a:pt x="70" y="58"/>
                    </a:lnTo>
                    <a:lnTo>
                      <a:pt x="70" y="56"/>
                    </a:lnTo>
                    <a:lnTo>
                      <a:pt x="70" y="52"/>
                    </a:lnTo>
                    <a:lnTo>
                      <a:pt x="70" y="50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6" y="44"/>
                    </a:lnTo>
                    <a:lnTo>
                      <a:pt x="66" y="42"/>
                    </a:lnTo>
                    <a:lnTo>
                      <a:pt x="66" y="42"/>
                    </a:lnTo>
                    <a:lnTo>
                      <a:pt x="64" y="42"/>
                    </a:lnTo>
                    <a:lnTo>
                      <a:pt x="62" y="40"/>
                    </a:lnTo>
                    <a:lnTo>
                      <a:pt x="60" y="40"/>
                    </a:lnTo>
                    <a:lnTo>
                      <a:pt x="56" y="38"/>
                    </a:lnTo>
                    <a:lnTo>
                      <a:pt x="54" y="38"/>
                    </a:lnTo>
                    <a:lnTo>
                      <a:pt x="52" y="38"/>
                    </a:lnTo>
                    <a:lnTo>
                      <a:pt x="50" y="38"/>
                    </a:lnTo>
                    <a:lnTo>
                      <a:pt x="46" y="36"/>
                    </a:lnTo>
                    <a:lnTo>
                      <a:pt x="40" y="36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2"/>
                    </a:lnTo>
                    <a:lnTo>
                      <a:pt x="32" y="32"/>
                    </a:lnTo>
                    <a:lnTo>
                      <a:pt x="30" y="32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8" y="28"/>
                    </a:lnTo>
                    <a:lnTo>
                      <a:pt x="28" y="26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97" name="Freeform 57">
                <a:extLst>
                  <a:ext uri="{FF2B5EF4-FFF2-40B4-BE49-F238E27FC236}">
                    <a16:creationId xmlns:a16="http://schemas.microsoft.com/office/drawing/2014/main" id="{F8888260-EA76-423F-B9CD-D406F09DC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9452" y="3648242"/>
                <a:ext cx="215900" cy="228600"/>
              </a:xfrm>
              <a:custGeom>
                <a:avLst/>
                <a:gdLst>
                  <a:gd name="T0" fmla="*/ 108 w 136"/>
                  <a:gd name="T1" fmla="*/ 0 h 144"/>
                  <a:gd name="T2" fmla="*/ 116 w 136"/>
                  <a:gd name="T3" fmla="*/ 2 h 144"/>
                  <a:gd name="T4" fmla="*/ 120 w 136"/>
                  <a:gd name="T5" fmla="*/ 12 h 144"/>
                  <a:gd name="T6" fmla="*/ 122 w 136"/>
                  <a:gd name="T7" fmla="*/ 30 h 144"/>
                  <a:gd name="T8" fmla="*/ 134 w 136"/>
                  <a:gd name="T9" fmla="*/ 42 h 144"/>
                  <a:gd name="T10" fmla="*/ 136 w 136"/>
                  <a:gd name="T11" fmla="*/ 48 h 144"/>
                  <a:gd name="T12" fmla="*/ 128 w 136"/>
                  <a:gd name="T13" fmla="*/ 54 h 144"/>
                  <a:gd name="T14" fmla="*/ 120 w 136"/>
                  <a:gd name="T15" fmla="*/ 62 h 144"/>
                  <a:gd name="T16" fmla="*/ 120 w 136"/>
                  <a:gd name="T17" fmla="*/ 72 h 144"/>
                  <a:gd name="T18" fmla="*/ 126 w 136"/>
                  <a:gd name="T19" fmla="*/ 88 h 144"/>
                  <a:gd name="T20" fmla="*/ 124 w 136"/>
                  <a:gd name="T21" fmla="*/ 100 h 144"/>
                  <a:gd name="T22" fmla="*/ 120 w 136"/>
                  <a:gd name="T23" fmla="*/ 110 h 144"/>
                  <a:gd name="T24" fmla="*/ 112 w 136"/>
                  <a:gd name="T25" fmla="*/ 114 h 144"/>
                  <a:gd name="T26" fmla="*/ 106 w 136"/>
                  <a:gd name="T27" fmla="*/ 120 h 144"/>
                  <a:gd name="T28" fmla="*/ 104 w 136"/>
                  <a:gd name="T29" fmla="*/ 128 h 144"/>
                  <a:gd name="T30" fmla="*/ 100 w 136"/>
                  <a:gd name="T31" fmla="*/ 128 h 144"/>
                  <a:gd name="T32" fmla="*/ 94 w 136"/>
                  <a:gd name="T33" fmla="*/ 118 h 144"/>
                  <a:gd name="T34" fmla="*/ 90 w 136"/>
                  <a:gd name="T35" fmla="*/ 120 h 144"/>
                  <a:gd name="T36" fmla="*/ 84 w 136"/>
                  <a:gd name="T37" fmla="*/ 126 h 144"/>
                  <a:gd name="T38" fmla="*/ 70 w 136"/>
                  <a:gd name="T39" fmla="*/ 126 h 144"/>
                  <a:gd name="T40" fmla="*/ 68 w 136"/>
                  <a:gd name="T41" fmla="*/ 122 h 144"/>
                  <a:gd name="T42" fmla="*/ 64 w 136"/>
                  <a:gd name="T43" fmla="*/ 116 h 144"/>
                  <a:gd name="T44" fmla="*/ 58 w 136"/>
                  <a:gd name="T45" fmla="*/ 118 h 144"/>
                  <a:gd name="T46" fmla="*/ 56 w 136"/>
                  <a:gd name="T47" fmla="*/ 124 h 144"/>
                  <a:gd name="T48" fmla="*/ 60 w 136"/>
                  <a:gd name="T49" fmla="*/ 138 h 144"/>
                  <a:gd name="T50" fmla="*/ 56 w 136"/>
                  <a:gd name="T51" fmla="*/ 142 h 144"/>
                  <a:gd name="T52" fmla="*/ 50 w 136"/>
                  <a:gd name="T53" fmla="*/ 138 h 144"/>
                  <a:gd name="T54" fmla="*/ 42 w 136"/>
                  <a:gd name="T55" fmla="*/ 128 h 144"/>
                  <a:gd name="T56" fmla="*/ 40 w 136"/>
                  <a:gd name="T57" fmla="*/ 128 h 144"/>
                  <a:gd name="T58" fmla="*/ 38 w 136"/>
                  <a:gd name="T59" fmla="*/ 138 h 144"/>
                  <a:gd name="T60" fmla="*/ 36 w 136"/>
                  <a:gd name="T61" fmla="*/ 142 h 144"/>
                  <a:gd name="T62" fmla="*/ 28 w 136"/>
                  <a:gd name="T63" fmla="*/ 144 h 144"/>
                  <a:gd name="T64" fmla="*/ 22 w 136"/>
                  <a:gd name="T65" fmla="*/ 136 h 144"/>
                  <a:gd name="T66" fmla="*/ 18 w 136"/>
                  <a:gd name="T67" fmla="*/ 132 h 144"/>
                  <a:gd name="T68" fmla="*/ 6 w 136"/>
                  <a:gd name="T69" fmla="*/ 130 h 144"/>
                  <a:gd name="T70" fmla="*/ 0 w 136"/>
                  <a:gd name="T71" fmla="*/ 126 h 144"/>
                  <a:gd name="T72" fmla="*/ 4 w 136"/>
                  <a:gd name="T73" fmla="*/ 120 h 144"/>
                  <a:gd name="T74" fmla="*/ 14 w 136"/>
                  <a:gd name="T75" fmla="*/ 112 h 144"/>
                  <a:gd name="T76" fmla="*/ 28 w 136"/>
                  <a:gd name="T77" fmla="*/ 102 h 144"/>
                  <a:gd name="T78" fmla="*/ 36 w 136"/>
                  <a:gd name="T79" fmla="*/ 98 h 144"/>
                  <a:gd name="T80" fmla="*/ 50 w 136"/>
                  <a:gd name="T81" fmla="*/ 102 h 144"/>
                  <a:gd name="T82" fmla="*/ 56 w 136"/>
                  <a:gd name="T83" fmla="*/ 100 h 144"/>
                  <a:gd name="T84" fmla="*/ 58 w 136"/>
                  <a:gd name="T85" fmla="*/ 90 h 144"/>
                  <a:gd name="T86" fmla="*/ 60 w 136"/>
                  <a:gd name="T87" fmla="*/ 76 h 144"/>
                  <a:gd name="T88" fmla="*/ 62 w 136"/>
                  <a:gd name="T89" fmla="*/ 74 h 144"/>
                  <a:gd name="T90" fmla="*/ 70 w 136"/>
                  <a:gd name="T91" fmla="*/ 76 h 144"/>
                  <a:gd name="T92" fmla="*/ 84 w 136"/>
                  <a:gd name="T93" fmla="*/ 78 h 144"/>
                  <a:gd name="T94" fmla="*/ 90 w 136"/>
                  <a:gd name="T95" fmla="*/ 74 h 144"/>
                  <a:gd name="T96" fmla="*/ 92 w 136"/>
                  <a:gd name="T97" fmla="*/ 64 h 144"/>
                  <a:gd name="T98" fmla="*/ 92 w 136"/>
                  <a:gd name="T99" fmla="*/ 48 h 144"/>
                  <a:gd name="T100" fmla="*/ 98 w 136"/>
                  <a:gd name="T101" fmla="*/ 38 h 144"/>
                  <a:gd name="T102" fmla="*/ 98 w 136"/>
                  <a:gd name="T103" fmla="*/ 30 h 144"/>
                  <a:gd name="T104" fmla="*/ 94 w 136"/>
                  <a:gd name="T105" fmla="*/ 14 h 144"/>
                  <a:gd name="T106" fmla="*/ 96 w 136"/>
                  <a:gd name="T107" fmla="*/ 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6" h="144">
                    <a:moveTo>
                      <a:pt x="102" y="2"/>
                    </a:moveTo>
                    <a:lnTo>
                      <a:pt x="102" y="2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6" y="0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2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16" y="2"/>
                    </a:lnTo>
                    <a:lnTo>
                      <a:pt x="116" y="2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18" y="6"/>
                    </a:lnTo>
                    <a:lnTo>
                      <a:pt x="118" y="8"/>
                    </a:lnTo>
                    <a:lnTo>
                      <a:pt x="118" y="10"/>
                    </a:lnTo>
                    <a:lnTo>
                      <a:pt x="120" y="12"/>
                    </a:lnTo>
                    <a:lnTo>
                      <a:pt x="120" y="20"/>
                    </a:lnTo>
                    <a:lnTo>
                      <a:pt x="120" y="22"/>
                    </a:lnTo>
                    <a:lnTo>
                      <a:pt x="120" y="24"/>
                    </a:lnTo>
                    <a:lnTo>
                      <a:pt x="120" y="26"/>
                    </a:lnTo>
                    <a:lnTo>
                      <a:pt x="122" y="28"/>
                    </a:lnTo>
                    <a:lnTo>
                      <a:pt x="122" y="30"/>
                    </a:lnTo>
                    <a:lnTo>
                      <a:pt x="124" y="34"/>
                    </a:lnTo>
                    <a:lnTo>
                      <a:pt x="126" y="36"/>
                    </a:lnTo>
                    <a:lnTo>
                      <a:pt x="126" y="36"/>
                    </a:lnTo>
                    <a:lnTo>
                      <a:pt x="128" y="38"/>
                    </a:lnTo>
                    <a:lnTo>
                      <a:pt x="132" y="40"/>
                    </a:lnTo>
                    <a:lnTo>
                      <a:pt x="134" y="42"/>
                    </a:lnTo>
                    <a:lnTo>
                      <a:pt x="136" y="44"/>
                    </a:lnTo>
                    <a:lnTo>
                      <a:pt x="136" y="44"/>
                    </a:lnTo>
                    <a:lnTo>
                      <a:pt x="136" y="46"/>
                    </a:lnTo>
                    <a:lnTo>
                      <a:pt x="136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6" y="48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2" y="52"/>
                    </a:lnTo>
                    <a:lnTo>
                      <a:pt x="132" y="52"/>
                    </a:lnTo>
                    <a:lnTo>
                      <a:pt x="128" y="54"/>
                    </a:lnTo>
                    <a:lnTo>
                      <a:pt x="126" y="56"/>
                    </a:lnTo>
                    <a:lnTo>
                      <a:pt x="122" y="58"/>
                    </a:lnTo>
                    <a:lnTo>
                      <a:pt x="122" y="58"/>
                    </a:lnTo>
                    <a:lnTo>
                      <a:pt x="120" y="60"/>
                    </a:lnTo>
                    <a:lnTo>
                      <a:pt x="120" y="60"/>
                    </a:lnTo>
                    <a:lnTo>
                      <a:pt x="120" y="62"/>
                    </a:lnTo>
                    <a:lnTo>
                      <a:pt x="120" y="64"/>
                    </a:lnTo>
                    <a:lnTo>
                      <a:pt x="118" y="64"/>
                    </a:lnTo>
                    <a:lnTo>
                      <a:pt x="120" y="66"/>
                    </a:lnTo>
                    <a:lnTo>
                      <a:pt x="120" y="68"/>
                    </a:lnTo>
                    <a:lnTo>
                      <a:pt x="120" y="70"/>
                    </a:lnTo>
                    <a:lnTo>
                      <a:pt x="120" y="72"/>
                    </a:lnTo>
                    <a:lnTo>
                      <a:pt x="122" y="74"/>
                    </a:lnTo>
                    <a:lnTo>
                      <a:pt x="124" y="78"/>
                    </a:lnTo>
                    <a:lnTo>
                      <a:pt x="126" y="82"/>
                    </a:lnTo>
                    <a:lnTo>
                      <a:pt x="126" y="84"/>
                    </a:lnTo>
                    <a:lnTo>
                      <a:pt x="126" y="86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90"/>
                    </a:lnTo>
                    <a:lnTo>
                      <a:pt x="126" y="92"/>
                    </a:lnTo>
                    <a:lnTo>
                      <a:pt x="126" y="94"/>
                    </a:lnTo>
                    <a:lnTo>
                      <a:pt x="126" y="96"/>
                    </a:lnTo>
                    <a:lnTo>
                      <a:pt x="124" y="100"/>
                    </a:lnTo>
                    <a:lnTo>
                      <a:pt x="124" y="102"/>
                    </a:lnTo>
                    <a:lnTo>
                      <a:pt x="124" y="104"/>
                    </a:lnTo>
                    <a:lnTo>
                      <a:pt x="122" y="104"/>
                    </a:lnTo>
                    <a:lnTo>
                      <a:pt x="122" y="106"/>
                    </a:lnTo>
                    <a:lnTo>
                      <a:pt x="122" y="108"/>
                    </a:lnTo>
                    <a:lnTo>
                      <a:pt x="120" y="110"/>
                    </a:lnTo>
                    <a:lnTo>
                      <a:pt x="118" y="112"/>
                    </a:lnTo>
                    <a:lnTo>
                      <a:pt x="116" y="112"/>
                    </a:lnTo>
                    <a:lnTo>
                      <a:pt x="116" y="114"/>
                    </a:lnTo>
                    <a:lnTo>
                      <a:pt x="114" y="114"/>
                    </a:lnTo>
                    <a:lnTo>
                      <a:pt x="114" y="114"/>
                    </a:lnTo>
                    <a:lnTo>
                      <a:pt x="112" y="114"/>
                    </a:lnTo>
                    <a:lnTo>
                      <a:pt x="110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8"/>
                    </a:lnTo>
                    <a:lnTo>
                      <a:pt x="106" y="120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06" y="126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2" y="128"/>
                    </a:lnTo>
                    <a:lnTo>
                      <a:pt x="102" y="128"/>
                    </a:lnTo>
                    <a:lnTo>
                      <a:pt x="102" y="128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98" y="126"/>
                    </a:lnTo>
                    <a:lnTo>
                      <a:pt x="98" y="124"/>
                    </a:lnTo>
                    <a:lnTo>
                      <a:pt x="96" y="122"/>
                    </a:lnTo>
                    <a:lnTo>
                      <a:pt x="96" y="120"/>
                    </a:lnTo>
                    <a:lnTo>
                      <a:pt x="94" y="118"/>
                    </a:lnTo>
                    <a:lnTo>
                      <a:pt x="94" y="118"/>
                    </a:lnTo>
                    <a:lnTo>
                      <a:pt x="94" y="118"/>
                    </a:lnTo>
                    <a:lnTo>
                      <a:pt x="92" y="118"/>
                    </a:lnTo>
                    <a:lnTo>
                      <a:pt x="92" y="118"/>
                    </a:lnTo>
                    <a:lnTo>
                      <a:pt x="92" y="118"/>
                    </a:lnTo>
                    <a:lnTo>
                      <a:pt x="92" y="118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8" y="122"/>
                    </a:lnTo>
                    <a:lnTo>
                      <a:pt x="88" y="124"/>
                    </a:lnTo>
                    <a:lnTo>
                      <a:pt x="88" y="124"/>
                    </a:lnTo>
                    <a:lnTo>
                      <a:pt x="86" y="124"/>
                    </a:lnTo>
                    <a:lnTo>
                      <a:pt x="84" y="126"/>
                    </a:lnTo>
                    <a:lnTo>
                      <a:pt x="80" y="126"/>
                    </a:lnTo>
                    <a:lnTo>
                      <a:pt x="78" y="126"/>
                    </a:lnTo>
                    <a:lnTo>
                      <a:pt x="76" y="126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0" y="126"/>
                    </a:lnTo>
                    <a:lnTo>
                      <a:pt x="70" y="126"/>
                    </a:lnTo>
                    <a:lnTo>
                      <a:pt x="68" y="126"/>
                    </a:lnTo>
                    <a:lnTo>
                      <a:pt x="68" y="124"/>
                    </a:lnTo>
                    <a:lnTo>
                      <a:pt x="68" y="124"/>
                    </a:lnTo>
                    <a:lnTo>
                      <a:pt x="68" y="124"/>
                    </a:lnTo>
                    <a:lnTo>
                      <a:pt x="68" y="122"/>
                    </a:lnTo>
                    <a:lnTo>
                      <a:pt x="66" y="120"/>
                    </a:lnTo>
                    <a:lnTo>
                      <a:pt x="66" y="120"/>
                    </a:lnTo>
                    <a:lnTo>
                      <a:pt x="66" y="118"/>
                    </a:lnTo>
                    <a:lnTo>
                      <a:pt x="66" y="116"/>
                    </a:lnTo>
                    <a:lnTo>
                      <a:pt x="66" y="116"/>
                    </a:lnTo>
                    <a:lnTo>
                      <a:pt x="64" y="116"/>
                    </a:lnTo>
                    <a:lnTo>
                      <a:pt x="64" y="116"/>
                    </a:lnTo>
                    <a:lnTo>
                      <a:pt x="64" y="116"/>
                    </a:lnTo>
                    <a:lnTo>
                      <a:pt x="62" y="116"/>
                    </a:lnTo>
                    <a:lnTo>
                      <a:pt x="60" y="116"/>
                    </a:lnTo>
                    <a:lnTo>
                      <a:pt x="60" y="116"/>
                    </a:lnTo>
                    <a:lnTo>
                      <a:pt x="58" y="118"/>
                    </a:lnTo>
                    <a:lnTo>
                      <a:pt x="58" y="118"/>
                    </a:lnTo>
                    <a:lnTo>
                      <a:pt x="58" y="118"/>
                    </a:lnTo>
                    <a:lnTo>
                      <a:pt x="56" y="120"/>
                    </a:lnTo>
                    <a:lnTo>
                      <a:pt x="56" y="120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8" y="128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8" y="136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8" y="140"/>
                    </a:lnTo>
                    <a:lnTo>
                      <a:pt x="58" y="140"/>
                    </a:lnTo>
                    <a:lnTo>
                      <a:pt x="58" y="142"/>
                    </a:lnTo>
                    <a:lnTo>
                      <a:pt x="58" y="142"/>
                    </a:lnTo>
                    <a:lnTo>
                      <a:pt x="56" y="142"/>
                    </a:lnTo>
                    <a:lnTo>
                      <a:pt x="56" y="142"/>
                    </a:lnTo>
                    <a:lnTo>
                      <a:pt x="56" y="142"/>
                    </a:lnTo>
                    <a:lnTo>
                      <a:pt x="56" y="142"/>
                    </a:lnTo>
                    <a:lnTo>
                      <a:pt x="54" y="140"/>
                    </a:lnTo>
                    <a:lnTo>
                      <a:pt x="52" y="140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48" y="136"/>
                    </a:lnTo>
                    <a:lnTo>
                      <a:pt x="46" y="134"/>
                    </a:lnTo>
                    <a:lnTo>
                      <a:pt x="46" y="132"/>
                    </a:lnTo>
                    <a:lnTo>
                      <a:pt x="44" y="130"/>
                    </a:lnTo>
                    <a:lnTo>
                      <a:pt x="44" y="128"/>
                    </a:lnTo>
                    <a:lnTo>
                      <a:pt x="42" y="128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0" y="126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8" y="136"/>
                    </a:lnTo>
                    <a:lnTo>
                      <a:pt x="38" y="138"/>
                    </a:lnTo>
                    <a:lnTo>
                      <a:pt x="38" y="140"/>
                    </a:lnTo>
                    <a:lnTo>
                      <a:pt x="38" y="140"/>
                    </a:lnTo>
                    <a:lnTo>
                      <a:pt x="38" y="140"/>
                    </a:lnTo>
                    <a:lnTo>
                      <a:pt x="38" y="142"/>
                    </a:lnTo>
                    <a:lnTo>
                      <a:pt x="36" y="142"/>
                    </a:lnTo>
                    <a:lnTo>
                      <a:pt x="36" y="142"/>
                    </a:lnTo>
                    <a:lnTo>
                      <a:pt x="34" y="144"/>
                    </a:lnTo>
                    <a:lnTo>
                      <a:pt x="32" y="144"/>
                    </a:lnTo>
                    <a:lnTo>
                      <a:pt x="32" y="144"/>
                    </a:lnTo>
                    <a:lnTo>
                      <a:pt x="30" y="144"/>
                    </a:lnTo>
                    <a:lnTo>
                      <a:pt x="30" y="144"/>
                    </a:lnTo>
                    <a:lnTo>
                      <a:pt x="28" y="144"/>
                    </a:lnTo>
                    <a:lnTo>
                      <a:pt x="28" y="144"/>
                    </a:lnTo>
                    <a:lnTo>
                      <a:pt x="28" y="144"/>
                    </a:lnTo>
                    <a:lnTo>
                      <a:pt x="26" y="142"/>
                    </a:lnTo>
                    <a:lnTo>
                      <a:pt x="26" y="140"/>
                    </a:lnTo>
                    <a:lnTo>
                      <a:pt x="24" y="138"/>
                    </a:lnTo>
                    <a:lnTo>
                      <a:pt x="22" y="136"/>
                    </a:lnTo>
                    <a:lnTo>
                      <a:pt x="22" y="134"/>
                    </a:lnTo>
                    <a:lnTo>
                      <a:pt x="20" y="134"/>
                    </a:lnTo>
                    <a:lnTo>
                      <a:pt x="20" y="132"/>
                    </a:lnTo>
                    <a:lnTo>
                      <a:pt x="20" y="132"/>
                    </a:lnTo>
                    <a:lnTo>
                      <a:pt x="18" y="132"/>
                    </a:lnTo>
                    <a:lnTo>
                      <a:pt x="18" y="132"/>
                    </a:lnTo>
                    <a:lnTo>
                      <a:pt x="16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6" y="130"/>
                    </a:lnTo>
                    <a:lnTo>
                      <a:pt x="4" y="130"/>
                    </a:lnTo>
                    <a:lnTo>
                      <a:pt x="4" y="128"/>
                    </a:lnTo>
                    <a:lnTo>
                      <a:pt x="2" y="128"/>
                    </a:lnTo>
                    <a:lnTo>
                      <a:pt x="2" y="128"/>
                    </a:lnTo>
                    <a:lnTo>
                      <a:pt x="0" y="126"/>
                    </a:lnTo>
                    <a:lnTo>
                      <a:pt x="0" y="126"/>
                    </a:lnTo>
                    <a:lnTo>
                      <a:pt x="0" y="126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2" y="122"/>
                    </a:lnTo>
                    <a:lnTo>
                      <a:pt x="2" y="122"/>
                    </a:lnTo>
                    <a:lnTo>
                      <a:pt x="4" y="120"/>
                    </a:lnTo>
                    <a:lnTo>
                      <a:pt x="4" y="118"/>
                    </a:lnTo>
                    <a:lnTo>
                      <a:pt x="8" y="118"/>
                    </a:lnTo>
                    <a:lnTo>
                      <a:pt x="8" y="116"/>
                    </a:lnTo>
                    <a:lnTo>
                      <a:pt x="12" y="114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8" y="110"/>
                    </a:lnTo>
                    <a:lnTo>
                      <a:pt x="22" y="108"/>
                    </a:lnTo>
                    <a:lnTo>
                      <a:pt x="24" y="106"/>
                    </a:lnTo>
                    <a:lnTo>
                      <a:pt x="26" y="106"/>
                    </a:lnTo>
                    <a:lnTo>
                      <a:pt x="26" y="104"/>
                    </a:lnTo>
                    <a:lnTo>
                      <a:pt x="28" y="102"/>
                    </a:lnTo>
                    <a:lnTo>
                      <a:pt x="30" y="100"/>
                    </a:lnTo>
                    <a:lnTo>
                      <a:pt x="32" y="100"/>
                    </a:lnTo>
                    <a:lnTo>
                      <a:pt x="32" y="100"/>
                    </a:lnTo>
                    <a:lnTo>
                      <a:pt x="34" y="98"/>
                    </a:lnTo>
                    <a:lnTo>
                      <a:pt x="34" y="98"/>
                    </a:lnTo>
                    <a:lnTo>
                      <a:pt x="36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8" y="102"/>
                    </a:lnTo>
                    <a:lnTo>
                      <a:pt x="50" y="102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54" y="102"/>
                    </a:lnTo>
                    <a:lnTo>
                      <a:pt x="56" y="102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58" y="100"/>
                    </a:lnTo>
                    <a:lnTo>
                      <a:pt x="58" y="98"/>
                    </a:lnTo>
                    <a:lnTo>
                      <a:pt x="58" y="96"/>
                    </a:lnTo>
                    <a:lnTo>
                      <a:pt x="58" y="94"/>
                    </a:lnTo>
                    <a:lnTo>
                      <a:pt x="58" y="90"/>
                    </a:lnTo>
                    <a:lnTo>
                      <a:pt x="58" y="88"/>
                    </a:lnTo>
                    <a:lnTo>
                      <a:pt x="58" y="86"/>
                    </a:lnTo>
                    <a:lnTo>
                      <a:pt x="58" y="82"/>
                    </a:lnTo>
                    <a:lnTo>
                      <a:pt x="58" y="80"/>
                    </a:lnTo>
                    <a:lnTo>
                      <a:pt x="60" y="78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60" y="74"/>
                    </a:lnTo>
                    <a:lnTo>
                      <a:pt x="62" y="74"/>
                    </a:lnTo>
                    <a:lnTo>
                      <a:pt x="62" y="74"/>
                    </a:lnTo>
                    <a:lnTo>
                      <a:pt x="62" y="74"/>
                    </a:lnTo>
                    <a:lnTo>
                      <a:pt x="62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8"/>
                    </a:lnTo>
                    <a:lnTo>
                      <a:pt x="72" y="78"/>
                    </a:lnTo>
                    <a:lnTo>
                      <a:pt x="74" y="78"/>
                    </a:lnTo>
                    <a:lnTo>
                      <a:pt x="78" y="78"/>
                    </a:lnTo>
                    <a:lnTo>
                      <a:pt x="80" y="78"/>
                    </a:lnTo>
                    <a:lnTo>
                      <a:pt x="84" y="78"/>
                    </a:lnTo>
                    <a:lnTo>
                      <a:pt x="86" y="76"/>
                    </a:lnTo>
                    <a:lnTo>
                      <a:pt x="88" y="76"/>
                    </a:lnTo>
                    <a:lnTo>
                      <a:pt x="88" y="76"/>
                    </a:lnTo>
                    <a:lnTo>
                      <a:pt x="90" y="76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2" y="72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66"/>
                    </a:lnTo>
                    <a:lnTo>
                      <a:pt x="92" y="64"/>
                    </a:lnTo>
                    <a:lnTo>
                      <a:pt x="92" y="62"/>
                    </a:lnTo>
                    <a:lnTo>
                      <a:pt x="92" y="60"/>
                    </a:lnTo>
                    <a:lnTo>
                      <a:pt x="92" y="54"/>
                    </a:lnTo>
                    <a:lnTo>
                      <a:pt x="92" y="52"/>
                    </a:lnTo>
                    <a:lnTo>
                      <a:pt x="92" y="50"/>
                    </a:lnTo>
                    <a:lnTo>
                      <a:pt x="92" y="48"/>
                    </a:lnTo>
                    <a:lnTo>
                      <a:pt x="92" y="46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8" y="36"/>
                    </a:lnTo>
                    <a:lnTo>
                      <a:pt x="98" y="36"/>
                    </a:lnTo>
                    <a:lnTo>
                      <a:pt x="100" y="34"/>
                    </a:lnTo>
                    <a:lnTo>
                      <a:pt x="98" y="32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6" y="24"/>
                    </a:lnTo>
                    <a:lnTo>
                      <a:pt x="96" y="20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94" y="14"/>
                    </a:lnTo>
                    <a:lnTo>
                      <a:pt x="94" y="12"/>
                    </a:lnTo>
                    <a:lnTo>
                      <a:pt x="94" y="12"/>
                    </a:lnTo>
                    <a:lnTo>
                      <a:pt x="94" y="10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96" y="6"/>
                    </a:lnTo>
                    <a:lnTo>
                      <a:pt x="98" y="4"/>
                    </a:lnTo>
                    <a:lnTo>
                      <a:pt x="100" y="4"/>
                    </a:lnTo>
                    <a:lnTo>
                      <a:pt x="100" y="2"/>
                    </a:lnTo>
                    <a:lnTo>
                      <a:pt x="102" y="2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98" name="Freeform 61">
                <a:extLst>
                  <a:ext uri="{FF2B5EF4-FFF2-40B4-BE49-F238E27FC236}">
                    <a16:creationId xmlns:a16="http://schemas.microsoft.com/office/drawing/2014/main" id="{F0C446D2-9D30-4795-BD5B-14D09145D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1678" y="3886367"/>
                <a:ext cx="28575" cy="28575"/>
              </a:xfrm>
              <a:custGeom>
                <a:avLst/>
                <a:gdLst>
                  <a:gd name="T0" fmla="*/ 2 w 18"/>
                  <a:gd name="T1" fmla="*/ 6 h 18"/>
                  <a:gd name="T2" fmla="*/ 2 w 18"/>
                  <a:gd name="T3" fmla="*/ 6 h 18"/>
                  <a:gd name="T4" fmla="*/ 2 w 18"/>
                  <a:gd name="T5" fmla="*/ 8 h 18"/>
                  <a:gd name="T6" fmla="*/ 2 w 18"/>
                  <a:gd name="T7" fmla="*/ 8 h 18"/>
                  <a:gd name="T8" fmla="*/ 0 w 18"/>
                  <a:gd name="T9" fmla="*/ 12 h 18"/>
                  <a:gd name="T10" fmla="*/ 0 w 18"/>
                  <a:gd name="T11" fmla="*/ 12 h 18"/>
                  <a:gd name="T12" fmla="*/ 0 w 18"/>
                  <a:gd name="T13" fmla="*/ 14 h 18"/>
                  <a:gd name="T14" fmla="*/ 0 w 18"/>
                  <a:gd name="T15" fmla="*/ 16 h 18"/>
                  <a:gd name="T16" fmla="*/ 0 w 18"/>
                  <a:gd name="T17" fmla="*/ 16 h 18"/>
                  <a:gd name="T18" fmla="*/ 0 w 18"/>
                  <a:gd name="T19" fmla="*/ 16 h 18"/>
                  <a:gd name="T20" fmla="*/ 2 w 18"/>
                  <a:gd name="T21" fmla="*/ 16 h 18"/>
                  <a:gd name="T22" fmla="*/ 2 w 18"/>
                  <a:gd name="T23" fmla="*/ 16 h 18"/>
                  <a:gd name="T24" fmla="*/ 4 w 18"/>
                  <a:gd name="T25" fmla="*/ 18 h 18"/>
                  <a:gd name="T26" fmla="*/ 4 w 18"/>
                  <a:gd name="T27" fmla="*/ 18 h 18"/>
                  <a:gd name="T28" fmla="*/ 6 w 18"/>
                  <a:gd name="T29" fmla="*/ 16 h 18"/>
                  <a:gd name="T30" fmla="*/ 8 w 18"/>
                  <a:gd name="T31" fmla="*/ 16 h 18"/>
                  <a:gd name="T32" fmla="*/ 8 w 18"/>
                  <a:gd name="T33" fmla="*/ 16 h 18"/>
                  <a:gd name="T34" fmla="*/ 10 w 18"/>
                  <a:gd name="T35" fmla="*/ 16 h 18"/>
                  <a:gd name="T36" fmla="*/ 10 w 18"/>
                  <a:gd name="T37" fmla="*/ 16 h 18"/>
                  <a:gd name="T38" fmla="*/ 12 w 18"/>
                  <a:gd name="T39" fmla="*/ 14 h 18"/>
                  <a:gd name="T40" fmla="*/ 14 w 18"/>
                  <a:gd name="T41" fmla="*/ 14 h 18"/>
                  <a:gd name="T42" fmla="*/ 14 w 18"/>
                  <a:gd name="T43" fmla="*/ 12 h 18"/>
                  <a:gd name="T44" fmla="*/ 16 w 18"/>
                  <a:gd name="T45" fmla="*/ 10 h 18"/>
                  <a:gd name="T46" fmla="*/ 16 w 18"/>
                  <a:gd name="T47" fmla="*/ 8 h 18"/>
                  <a:gd name="T48" fmla="*/ 18 w 18"/>
                  <a:gd name="T49" fmla="*/ 8 h 18"/>
                  <a:gd name="T50" fmla="*/ 18 w 18"/>
                  <a:gd name="T51" fmla="*/ 6 h 18"/>
                  <a:gd name="T52" fmla="*/ 18 w 18"/>
                  <a:gd name="T53" fmla="*/ 6 h 18"/>
                  <a:gd name="T54" fmla="*/ 18 w 18"/>
                  <a:gd name="T55" fmla="*/ 6 h 18"/>
                  <a:gd name="T56" fmla="*/ 16 w 18"/>
                  <a:gd name="T57" fmla="*/ 6 h 18"/>
                  <a:gd name="T58" fmla="*/ 16 w 18"/>
                  <a:gd name="T59" fmla="*/ 4 h 18"/>
                  <a:gd name="T60" fmla="*/ 16 w 18"/>
                  <a:gd name="T61" fmla="*/ 4 h 18"/>
                  <a:gd name="T62" fmla="*/ 14 w 18"/>
                  <a:gd name="T63" fmla="*/ 2 h 18"/>
                  <a:gd name="T64" fmla="*/ 12 w 18"/>
                  <a:gd name="T65" fmla="*/ 2 h 18"/>
                  <a:gd name="T66" fmla="*/ 10 w 18"/>
                  <a:gd name="T67" fmla="*/ 2 h 18"/>
                  <a:gd name="T68" fmla="*/ 8 w 18"/>
                  <a:gd name="T69" fmla="*/ 0 h 18"/>
                  <a:gd name="T70" fmla="*/ 6 w 18"/>
                  <a:gd name="T71" fmla="*/ 0 h 18"/>
                  <a:gd name="T72" fmla="*/ 4 w 18"/>
                  <a:gd name="T73" fmla="*/ 0 h 18"/>
                  <a:gd name="T74" fmla="*/ 4 w 18"/>
                  <a:gd name="T75" fmla="*/ 0 h 18"/>
                  <a:gd name="T76" fmla="*/ 2 w 18"/>
                  <a:gd name="T77" fmla="*/ 2 h 18"/>
                  <a:gd name="T78" fmla="*/ 2 w 18"/>
                  <a:gd name="T79" fmla="*/ 2 h 18"/>
                  <a:gd name="T80" fmla="*/ 2 w 18"/>
                  <a:gd name="T81" fmla="*/ 2 h 18"/>
                  <a:gd name="T82" fmla="*/ 2 w 18"/>
                  <a:gd name="T83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" h="18">
                    <a:moveTo>
                      <a:pt x="2" y="6"/>
                    </a:move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99" name="Freeform 63">
                <a:extLst>
                  <a:ext uri="{FF2B5EF4-FFF2-40B4-BE49-F238E27FC236}">
                    <a16:creationId xmlns:a16="http://schemas.microsoft.com/office/drawing/2014/main" id="{779F125B-5A01-4DC0-B179-790332CD4A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8653" y="3867317"/>
                <a:ext cx="57150" cy="85725"/>
              </a:xfrm>
              <a:custGeom>
                <a:avLst/>
                <a:gdLst>
                  <a:gd name="T0" fmla="*/ 16 w 36"/>
                  <a:gd name="T1" fmla="*/ 4 h 54"/>
                  <a:gd name="T2" fmla="*/ 14 w 36"/>
                  <a:gd name="T3" fmla="*/ 6 h 54"/>
                  <a:gd name="T4" fmla="*/ 10 w 36"/>
                  <a:gd name="T5" fmla="*/ 12 h 54"/>
                  <a:gd name="T6" fmla="*/ 10 w 36"/>
                  <a:gd name="T7" fmla="*/ 14 h 54"/>
                  <a:gd name="T8" fmla="*/ 8 w 36"/>
                  <a:gd name="T9" fmla="*/ 16 h 54"/>
                  <a:gd name="T10" fmla="*/ 4 w 36"/>
                  <a:gd name="T11" fmla="*/ 18 h 54"/>
                  <a:gd name="T12" fmla="*/ 2 w 36"/>
                  <a:gd name="T13" fmla="*/ 20 h 54"/>
                  <a:gd name="T14" fmla="*/ 0 w 36"/>
                  <a:gd name="T15" fmla="*/ 20 h 54"/>
                  <a:gd name="T16" fmla="*/ 0 w 36"/>
                  <a:gd name="T17" fmla="*/ 22 h 54"/>
                  <a:gd name="T18" fmla="*/ 0 w 36"/>
                  <a:gd name="T19" fmla="*/ 24 h 54"/>
                  <a:gd name="T20" fmla="*/ 2 w 36"/>
                  <a:gd name="T21" fmla="*/ 28 h 54"/>
                  <a:gd name="T22" fmla="*/ 4 w 36"/>
                  <a:gd name="T23" fmla="*/ 32 h 54"/>
                  <a:gd name="T24" fmla="*/ 6 w 36"/>
                  <a:gd name="T25" fmla="*/ 34 h 54"/>
                  <a:gd name="T26" fmla="*/ 8 w 36"/>
                  <a:gd name="T27" fmla="*/ 34 h 54"/>
                  <a:gd name="T28" fmla="*/ 8 w 36"/>
                  <a:gd name="T29" fmla="*/ 36 h 54"/>
                  <a:gd name="T30" fmla="*/ 10 w 36"/>
                  <a:gd name="T31" fmla="*/ 34 h 54"/>
                  <a:gd name="T32" fmla="*/ 12 w 36"/>
                  <a:gd name="T33" fmla="*/ 34 h 54"/>
                  <a:gd name="T34" fmla="*/ 12 w 36"/>
                  <a:gd name="T35" fmla="*/ 30 h 54"/>
                  <a:gd name="T36" fmla="*/ 14 w 36"/>
                  <a:gd name="T37" fmla="*/ 28 h 54"/>
                  <a:gd name="T38" fmla="*/ 16 w 36"/>
                  <a:gd name="T39" fmla="*/ 28 h 54"/>
                  <a:gd name="T40" fmla="*/ 18 w 36"/>
                  <a:gd name="T41" fmla="*/ 28 h 54"/>
                  <a:gd name="T42" fmla="*/ 18 w 36"/>
                  <a:gd name="T43" fmla="*/ 28 h 54"/>
                  <a:gd name="T44" fmla="*/ 20 w 36"/>
                  <a:gd name="T45" fmla="*/ 30 h 54"/>
                  <a:gd name="T46" fmla="*/ 22 w 36"/>
                  <a:gd name="T47" fmla="*/ 30 h 54"/>
                  <a:gd name="T48" fmla="*/ 22 w 36"/>
                  <a:gd name="T49" fmla="*/ 32 h 54"/>
                  <a:gd name="T50" fmla="*/ 22 w 36"/>
                  <a:gd name="T51" fmla="*/ 34 h 54"/>
                  <a:gd name="T52" fmla="*/ 20 w 36"/>
                  <a:gd name="T53" fmla="*/ 38 h 54"/>
                  <a:gd name="T54" fmla="*/ 20 w 36"/>
                  <a:gd name="T55" fmla="*/ 40 h 54"/>
                  <a:gd name="T56" fmla="*/ 20 w 36"/>
                  <a:gd name="T57" fmla="*/ 44 h 54"/>
                  <a:gd name="T58" fmla="*/ 22 w 36"/>
                  <a:gd name="T59" fmla="*/ 48 h 54"/>
                  <a:gd name="T60" fmla="*/ 24 w 36"/>
                  <a:gd name="T61" fmla="*/ 52 h 54"/>
                  <a:gd name="T62" fmla="*/ 24 w 36"/>
                  <a:gd name="T63" fmla="*/ 52 h 54"/>
                  <a:gd name="T64" fmla="*/ 26 w 36"/>
                  <a:gd name="T65" fmla="*/ 54 h 54"/>
                  <a:gd name="T66" fmla="*/ 26 w 36"/>
                  <a:gd name="T67" fmla="*/ 54 h 54"/>
                  <a:gd name="T68" fmla="*/ 30 w 36"/>
                  <a:gd name="T69" fmla="*/ 52 h 54"/>
                  <a:gd name="T70" fmla="*/ 32 w 36"/>
                  <a:gd name="T71" fmla="*/ 50 h 54"/>
                  <a:gd name="T72" fmla="*/ 34 w 36"/>
                  <a:gd name="T73" fmla="*/ 48 h 54"/>
                  <a:gd name="T74" fmla="*/ 34 w 36"/>
                  <a:gd name="T75" fmla="*/ 46 h 54"/>
                  <a:gd name="T76" fmla="*/ 36 w 36"/>
                  <a:gd name="T77" fmla="*/ 44 h 54"/>
                  <a:gd name="T78" fmla="*/ 36 w 36"/>
                  <a:gd name="T79" fmla="*/ 40 h 54"/>
                  <a:gd name="T80" fmla="*/ 34 w 36"/>
                  <a:gd name="T81" fmla="*/ 32 h 54"/>
                  <a:gd name="T82" fmla="*/ 34 w 36"/>
                  <a:gd name="T83" fmla="*/ 20 h 54"/>
                  <a:gd name="T84" fmla="*/ 34 w 36"/>
                  <a:gd name="T85" fmla="*/ 12 h 54"/>
                  <a:gd name="T86" fmla="*/ 32 w 36"/>
                  <a:gd name="T87" fmla="*/ 8 h 54"/>
                  <a:gd name="T88" fmla="*/ 30 w 36"/>
                  <a:gd name="T89" fmla="*/ 2 h 54"/>
                  <a:gd name="T90" fmla="*/ 28 w 36"/>
                  <a:gd name="T91" fmla="*/ 0 h 54"/>
                  <a:gd name="T92" fmla="*/ 26 w 36"/>
                  <a:gd name="T93" fmla="*/ 0 h 54"/>
                  <a:gd name="T94" fmla="*/ 26 w 36"/>
                  <a:gd name="T95" fmla="*/ 0 h 54"/>
                  <a:gd name="T96" fmla="*/ 22 w 36"/>
                  <a:gd name="T97" fmla="*/ 0 h 54"/>
                  <a:gd name="T98" fmla="*/ 20 w 36"/>
                  <a:gd name="T99" fmla="*/ 2 h 54"/>
                  <a:gd name="T100" fmla="*/ 16 w 36"/>
                  <a:gd name="T101" fmla="*/ 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6" h="54">
                    <a:moveTo>
                      <a:pt x="16" y="4"/>
                    </a:moveTo>
                    <a:lnTo>
                      <a:pt x="16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10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4"/>
                    </a:lnTo>
                    <a:lnTo>
                      <a:pt x="22" y="36"/>
                    </a:lnTo>
                    <a:lnTo>
                      <a:pt x="20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6"/>
                    </a:lnTo>
                    <a:lnTo>
                      <a:pt x="22" y="48"/>
                    </a:lnTo>
                    <a:lnTo>
                      <a:pt x="22" y="50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28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2" y="50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6" y="44"/>
                    </a:lnTo>
                    <a:lnTo>
                      <a:pt x="36" y="42"/>
                    </a:lnTo>
                    <a:lnTo>
                      <a:pt x="36" y="40"/>
                    </a:lnTo>
                    <a:lnTo>
                      <a:pt x="34" y="34"/>
                    </a:lnTo>
                    <a:lnTo>
                      <a:pt x="34" y="32"/>
                    </a:lnTo>
                    <a:lnTo>
                      <a:pt x="34" y="26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2" y="10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</p:grpSp>
        <p:grpSp>
          <p:nvGrpSpPr>
            <p:cNvPr id="1903" name="Gruppieren 713">
              <a:extLst>
                <a:ext uri="{FF2B5EF4-FFF2-40B4-BE49-F238E27FC236}">
                  <a16:creationId xmlns:a16="http://schemas.microsoft.com/office/drawing/2014/main" id="{02C899D8-C7E3-45AF-8DAC-F4F50C4759F5}"/>
                </a:ext>
              </a:extLst>
            </p:cNvPr>
            <p:cNvGrpSpPr/>
            <p:nvPr/>
          </p:nvGrpSpPr>
          <p:grpSpPr bwMode="auto">
            <a:xfrm>
              <a:off x="4176447" y="4123022"/>
              <a:ext cx="235763" cy="371076"/>
              <a:chOff x="7009103" y="4286417"/>
              <a:chExt cx="219075" cy="352426"/>
            </a:xfrm>
            <a:solidFill>
              <a:srgbClr val="FF2929">
                <a:alpha val="10196"/>
              </a:srgbClr>
            </a:solidFill>
          </p:grpSpPr>
          <p:sp>
            <p:nvSpPr>
              <p:cNvPr id="1987" name="Freeform 95">
                <a:extLst>
                  <a:ext uri="{FF2B5EF4-FFF2-40B4-BE49-F238E27FC236}">
                    <a16:creationId xmlns:a16="http://schemas.microsoft.com/office/drawing/2014/main" id="{02A06039-9401-4F79-A8ED-42B1E43BD2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9103" y="4483267"/>
                <a:ext cx="53975" cy="92075"/>
              </a:xfrm>
              <a:custGeom>
                <a:avLst/>
                <a:gdLst>
                  <a:gd name="T0" fmla="*/ 26 w 34"/>
                  <a:gd name="T1" fmla="*/ 6 h 58"/>
                  <a:gd name="T2" fmla="*/ 24 w 34"/>
                  <a:gd name="T3" fmla="*/ 8 h 58"/>
                  <a:gd name="T4" fmla="*/ 24 w 34"/>
                  <a:gd name="T5" fmla="*/ 14 h 58"/>
                  <a:gd name="T6" fmla="*/ 22 w 34"/>
                  <a:gd name="T7" fmla="*/ 16 h 58"/>
                  <a:gd name="T8" fmla="*/ 22 w 34"/>
                  <a:gd name="T9" fmla="*/ 18 h 58"/>
                  <a:gd name="T10" fmla="*/ 18 w 34"/>
                  <a:gd name="T11" fmla="*/ 20 h 58"/>
                  <a:gd name="T12" fmla="*/ 12 w 34"/>
                  <a:gd name="T13" fmla="*/ 24 h 58"/>
                  <a:gd name="T14" fmla="*/ 8 w 34"/>
                  <a:gd name="T15" fmla="*/ 26 h 58"/>
                  <a:gd name="T16" fmla="*/ 4 w 34"/>
                  <a:gd name="T17" fmla="*/ 32 h 58"/>
                  <a:gd name="T18" fmla="*/ 2 w 34"/>
                  <a:gd name="T19" fmla="*/ 36 h 58"/>
                  <a:gd name="T20" fmla="*/ 2 w 34"/>
                  <a:gd name="T21" fmla="*/ 38 h 58"/>
                  <a:gd name="T22" fmla="*/ 0 w 34"/>
                  <a:gd name="T23" fmla="*/ 44 h 58"/>
                  <a:gd name="T24" fmla="*/ 0 w 34"/>
                  <a:gd name="T25" fmla="*/ 50 h 58"/>
                  <a:gd name="T26" fmla="*/ 0 w 34"/>
                  <a:gd name="T27" fmla="*/ 54 h 58"/>
                  <a:gd name="T28" fmla="*/ 2 w 34"/>
                  <a:gd name="T29" fmla="*/ 56 h 58"/>
                  <a:gd name="T30" fmla="*/ 2 w 34"/>
                  <a:gd name="T31" fmla="*/ 58 h 58"/>
                  <a:gd name="T32" fmla="*/ 4 w 34"/>
                  <a:gd name="T33" fmla="*/ 58 h 58"/>
                  <a:gd name="T34" fmla="*/ 6 w 34"/>
                  <a:gd name="T35" fmla="*/ 58 h 58"/>
                  <a:gd name="T36" fmla="*/ 8 w 34"/>
                  <a:gd name="T37" fmla="*/ 56 h 58"/>
                  <a:gd name="T38" fmla="*/ 12 w 34"/>
                  <a:gd name="T39" fmla="*/ 54 h 58"/>
                  <a:gd name="T40" fmla="*/ 16 w 34"/>
                  <a:gd name="T41" fmla="*/ 48 h 58"/>
                  <a:gd name="T42" fmla="*/ 20 w 34"/>
                  <a:gd name="T43" fmla="*/ 42 h 58"/>
                  <a:gd name="T44" fmla="*/ 24 w 34"/>
                  <a:gd name="T45" fmla="*/ 34 h 58"/>
                  <a:gd name="T46" fmla="*/ 28 w 34"/>
                  <a:gd name="T47" fmla="*/ 24 h 58"/>
                  <a:gd name="T48" fmla="*/ 32 w 34"/>
                  <a:gd name="T49" fmla="*/ 18 h 58"/>
                  <a:gd name="T50" fmla="*/ 34 w 34"/>
                  <a:gd name="T51" fmla="*/ 14 h 58"/>
                  <a:gd name="T52" fmla="*/ 34 w 34"/>
                  <a:gd name="T53" fmla="*/ 10 h 58"/>
                  <a:gd name="T54" fmla="*/ 34 w 34"/>
                  <a:gd name="T55" fmla="*/ 8 h 58"/>
                  <a:gd name="T56" fmla="*/ 32 w 34"/>
                  <a:gd name="T57" fmla="*/ 4 h 58"/>
                  <a:gd name="T58" fmla="*/ 30 w 34"/>
                  <a:gd name="T59" fmla="*/ 0 h 58"/>
                  <a:gd name="T60" fmla="*/ 30 w 34"/>
                  <a:gd name="T61" fmla="*/ 0 h 58"/>
                  <a:gd name="T62" fmla="*/ 28 w 34"/>
                  <a:gd name="T63" fmla="*/ 0 h 58"/>
                  <a:gd name="T64" fmla="*/ 28 w 34"/>
                  <a:gd name="T65" fmla="*/ 0 h 58"/>
                  <a:gd name="T66" fmla="*/ 28 w 34"/>
                  <a:gd name="T67" fmla="*/ 2 h 58"/>
                  <a:gd name="T68" fmla="*/ 26 w 34"/>
                  <a:gd name="T69" fmla="*/ 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" h="58">
                    <a:moveTo>
                      <a:pt x="26" y="6"/>
                    </a:moveTo>
                    <a:lnTo>
                      <a:pt x="26" y="6"/>
                    </a:lnTo>
                    <a:lnTo>
                      <a:pt x="24" y="6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4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8"/>
                    </a:lnTo>
                    <a:lnTo>
                      <a:pt x="20" y="18"/>
                    </a:lnTo>
                    <a:lnTo>
                      <a:pt x="18" y="20"/>
                    </a:lnTo>
                    <a:lnTo>
                      <a:pt x="16" y="20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8" y="26"/>
                    </a:lnTo>
                    <a:lnTo>
                      <a:pt x="6" y="28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8"/>
                    </a:lnTo>
                    <a:lnTo>
                      <a:pt x="0" y="40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2" y="56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6" y="48"/>
                    </a:lnTo>
                    <a:lnTo>
                      <a:pt x="18" y="44"/>
                    </a:lnTo>
                    <a:lnTo>
                      <a:pt x="20" y="42"/>
                    </a:lnTo>
                    <a:lnTo>
                      <a:pt x="22" y="40"/>
                    </a:lnTo>
                    <a:lnTo>
                      <a:pt x="24" y="34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30" y="20"/>
                    </a:lnTo>
                    <a:lnTo>
                      <a:pt x="32" y="18"/>
                    </a:lnTo>
                    <a:lnTo>
                      <a:pt x="32" y="16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6"/>
                    </a:lnTo>
                    <a:lnTo>
                      <a:pt x="32" y="4"/>
                    </a:lnTo>
                    <a:lnTo>
                      <a:pt x="32" y="2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4"/>
                    </a:lnTo>
                    <a:lnTo>
                      <a:pt x="26" y="6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88" name="Freeform 97">
                <a:extLst>
                  <a:ext uri="{FF2B5EF4-FFF2-40B4-BE49-F238E27FC236}">
                    <a16:creationId xmlns:a16="http://schemas.microsoft.com/office/drawing/2014/main" id="{E021ECBB-BC5B-4903-9096-CC797AC8D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0854" y="4286417"/>
                <a:ext cx="82550" cy="123825"/>
              </a:xfrm>
              <a:custGeom>
                <a:avLst/>
                <a:gdLst>
                  <a:gd name="T0" fmla="*/ 24 w 52"/>
                  <a:gd name="T1" fmla="*/ 0 h 78"/>
                  <a:gd name="T2" fmla="*/ 24 w 52"/>
                  <a:gd name="T3" fmla="*/ 2 h 78"/>
                  <a:gd name="T4" fmla="*/ 22 w 52"/>
                  <a:gd name="T5" fmla="*/ 4 h 78"/>
                  <a:gd name="T6" fmla="*/ 20 w 52"/>
                  <a:gd name="T7" fmla="*/ 8 h 78"/>
                  <a:gd name="T8" fmla="*/ 18 w 52"/>
                  <a:gd name="T9" fmla="*/ 12 h 78"/>
                  <a:gd name="T10" fmla="*/ 16 w 52"/>
                  <a:gd name="T11" fmla="*/ 18 h 78"/>
                  <a:gd name="T12" fmla="*/ 14 w 52"/>
                  <a:gd name="T13" fmla="*/ 28 h 78"/>
                  <a:gd name="T14" fmla="*/ 14 w 52"/>
                  <a:gd name="T15" fmla="*/ 34 h 78"/>
                  <a:gd name="T16" fmla="*/ 12 w 52"/>
                  <a:gd name="T17" fmla="*/ 38 h 78"/>
                  <a:gd name="T18" fmla="*/ 10 w 52"/>
                  <a:gd name="T19" fmla="*/ 40 h 78"/>
                  <a:gd name="T20" fmla="*/ 6 w 52"/>
                  <a:gd name="T21" fmla="*/ 42 h 78"/>
                  <a:gd name="T22" fmla="*/ 4 w 52"/>
                  <a:gd name="T23" fmla="*/ 44 h 78"/>
                  <a:gd name="T24" fmla="*/ 2 w 52"/>
                  <a:gd name="T25" fmla="*/ 46 h 78"/>
                  <a:gd name="T26" fmla="*/ 2 w 52"/>
                  <a:gd name="T27" fmla="*/ 48 h 78"/>
                  <a:gd name="T28" fmla="*/ 0 w 52"/>
                  <a:gd name="T29" fmla="*/ 52 h 78"/>
                  <a:gd name="T30" fmla="*/ 0 w 52"/>
                  <a:gd name="T31" fmla="*/ 58 h 78"/>
                  <a:gd name="T32" fmla="*/ 2 w 52"/>
                  <a:gd name="T33" fmla="*/ 62 h 78"/>
                  <a:gd name="T34" fmla="*/ 2 w 52"/>
                  <a:gd name="T35" fmla="*/ 66 h 78"/>
                  <a:gd name="T36" fmla="*/ 4 w 52"/>
                  <a:gd name="T37" fmla="*/ 68 h 78"/>
                  <a:gd name="T38" fmla="*/ 4 w 52"/>
                  <a:gd name="T39" fmla="*/ 68 h 78"/>
                  <a:gd name="T40" fmla="*/ 8 w 52"/>
                  <a:gd name="T41" fmla="*/ 68 h 78"/>
                  <a:gd name="T42" fmla="*/ 12 w 52"/>
                  <a:gd name="T43" fmla="*/ 68 h 78"/>
                  <a:gd name="T44" fmla="*/ 16 w 52"/>
                  <a:gd name="T45" fmla="*/ 70 h 78"/>
                  <a:gd name="T46" fmla="*/ 16 w 52"/>
                  <a:gd name="T47" fmla="*/ 72 h 78"/>
                  <a:gd name="T48" fmla="*/ 18 w 52"/>
                  <a:gd name="T49" fmla="*/ 76 h 78"/>
                  <a:gd name="T50" fmla="*/ 20 w 52"/>
                  <a:gd name="T51" fmla="*/ 78 h 78"/>
                  <a:gd name="T52" fmla="*/ 22 w 52"/>
                  <a:gd name="T53" fmla="*/ 78 h 78"/>
                  <a:gd name="T54" fmla="*/ 22 w 52"/>
                  <a:gd name="T55" fmla="*/ 78 h 78"/>
                  <a:gd name="T56" fmla="*/ 26 w 52"/>
                  <a:gd name="T57" fmla="*/ 78 h 78"/>
                  <a:gd name="T58" fmla="*/ 32 w 52"/>
                  <a:gd name="T59" fmla="*/ 78 h 78"/>
                  <a:gd name="T60" fmla="*/ 40 w 52"/>
                  <a:gd name="T61" fmla="*/ 76 h 78"/>
                  <a:gd name="T62" fmla="*/ 44 w 52"/>
                  <a:gd name="T63" fmla="*/ 76 h 78"/>
                  <a:gd name="T64" fmla="*/ 48 w 52"/>
                  <a:gd name="T65" fmla="*/ 74 h 78"/>
                  <a:gd name="T66" fmla="*/ 50 w 52"/>
                  <a:gd name="T67" fmla="*/ 74 h 78"/>
                  <a:gd name="T68" fmla="*/ 52 w 52"/>
                  <a:gd name="T69" fmla="*/ 72 h 78"/>
                  <a:gd name="T70" fmla="*/ 52 w 52"/>
                  <a:gd name="T71" fmla="*/ 70 h 78"/>
                  <a:gd name="T72" fmla="*/ 52 w 52"/>
                  <a:gd name="T73" fmla="*/ 68 h 78"/>
                  <a:gd name="T74" fmla="*/ 50 w 52"/>
                  <a:gd name="T75" fmla="*/ 62 h 78"/>
                  <a:gd name="T76" fmla="*/ 46 w 52"/>
                  <a:gd name="T77" fmla="*/ 54 h 78"/>
                  <a:gd name="T78" fmla="*/ 46 w 52"/>
                  <a:gd name="T79" fmla="*/ 52 h 78"/>
                  <a:gd name="T80" fmla="*/ 46 w 52"/>
                  <a:gd name="T81" fmla="*/ 48 h 78"/>
                  <a:gd name="T82" fmla="*/ 48 w 52"/>
                  <a:gd name="T83" fmla="*/ 42 h 78"/>
                  <a:gd name="T84" fmla="*/ 48 w 52"/>
                  <a:gd name="T85" fmla="*/ 38 h 78"/>
                  <a:gd name="T86" fmla="*/ 48 w 52"/>
                  <a:gd name="T87" fmla="*/ 34 h 78"/>
                  <a:gd name="T88" fmla="*/ 48 w 52"/>
                  <a:gd name="T89" fmla="*/ 28 h 78"/>
                  <a:gd name="T90" fmla="*/ 48 w 52"/>
                  <a:gd name="T91" fmla="*/ 24 h 78"/>
                  <a:gd name="T92" fmla="*/ 44 w 52"/>
                  <a:gd name="T93" fmla="*/ 14 h 78"/>
                  <a:gd name="T94" fmla="*/ 42 w 52"/>
                  <a:gd name="T95" fmla="*/ 6 h 78"/>
                  <a:gd name="T96" fmla="*/ 42 w 52"/>
                  <a:gd name="T97" fmla="*/ 4 h 78"/>
                  <a:gd name="T98" fmla="*/ 40 w 52"/>
                  <a:gd name="T99" fmla="*/ 2 h 78"/>
                  <a:gd name="T100" fmla="*/ 36 w 52"/>
                  <a:gd name="T101" fmla="*/ 0 h 78"/>
                  <a:gd name="T102" fmla="*/ 32 w 52"/>
                  <a:gd name="T103" fmla="*/ 0 h 78"/>
                  <a:gd name="T104" fmla="*/ 28 w 52"/>
                  <a:gd name="T105" fmla="*/ 0 h 78"/>
                  <a:gd name="T106" fmla="*/ 26 w 52"/>
                  <a:gd name="T107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" h="78">
                    <a:moveTo>
                      <a:pt x="24" y="0"/>
                    </a:moveTo>
                    <a:lnTo>
                      <a:pt x="24" y="0"/>
                    </a:lnTo>
                    <a:lnTo>
                      <a:pt x="24" y="0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2" y="4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18" y="10"/>
                    </a:lnTo>
                    <a:lnTo>
                      <a:pt x="18" y="12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4" y="28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2" y="36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6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2" y="64"/>
                    </a:lnTo>
                    <a:lnTo>
                      <a:pt x="2" y="66"/>
                    </a:lnTo>
                    <a:lnTo>
                      <a:pt x="4" y="66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8" y="68"/>
                    </a:lnTo>
                    <a:lnTo>
                      <a:pt x="10" y="68"/>
                    </a:lnTo>
                    <a:lnTo>
                      <a:pt x="12" y="68"/>
                    </a:lnTo>
                    <a:lnTo>
                      <a:pt x="14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2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20" y="76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4" y="78"/>
                    </a:lnTo>
                    <a:lnTo>
                      <a:pt x="26" y="78"/>
                    </a:lnTo>
                    <a:lnTo>
                      <a:pt x="28" y="78"/>
                    </a:lnTo>
                    <a:lnTo>
                      <a:pt x="32" y="78"/>
                    </a:lnTo>
                    <a:lnTo>
                      <a:pt x="36" y="78"/>
                    </a:lnTo>
                    <a:lnTo>
                      <a:pt x="40" y="76"/>
                    </a:lnTo>
                    <a:lnTo>
                      <a:pt x="42" y="76"/>
                    </a:lnTo>
                    <a:lnTo>
                      <a:pt x="44" y="76"/>
                    </a:lnTo>
                    <a:lnTo>
                      <a:pt x="46" y="74"/>
                    </a:lnTo>
                    <a:lnTo>
                      <a:pt x="48" y="74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0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0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0" y="66"/>
                    </a:lnTo>
                    <a:lnTo>
                      <a:pt x="50" y="62"/>
                    </a:lnTo>
                    <a:lnTo>
                      <a:pt x="48" y="56"/>
                    </a:lnTo>
                    <a:lnTo>
                      <a:pt x="46" y="54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6" y="50"/>
                    </a:lnTo>
                    <a:lnTo>
                      <a:pt x="46" y="48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0"/>
                    </a:lnTo>
                    <a:lnTo>
                      <a:pt x="48" y="38"/>
                    </a:lnTo>
                    <a:lnTo>
                      <a:pt x="48" y="36"/>
                    </a:lnTo>
                    <a:lnTo>
                      <a:pt x="48" y="34"/>
                    </a:lnTo>
                    <a:lnTo>
                      <a:pt x="48" y="30"/>
                    </a:lnTo>
                    <a:lnTo>
                      <a:pt x="48" y="28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6" y="20"/>
                    </a:lnTo>
                    <a:lnTo>
                      <a:pt x="44" y="14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89" name="Freeform 102">
                <a:extLst>
                  <a:ext uri="{FF2B5EF4-FFF2-40B4-BE49-F238E27FC236}">
                    <a16:creationId xmlns:a16="http://schemas.microsoft.com/office/drawing/2014/main" id="{E29A4843-B1C6-432C-BBEE-34A2D935E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9903" y="4432467"/>
                <a:ext cx="47625" cy="38100"/>
              </a:xfrm>
              <a:custGeom>
                <a:avLst/>
                <a:gdLst>
                  <a:gd name="T0" fmla="*/ 18 w 30"/>
                  <a:gd name="T1" fmla="*/ 6 h 24"/>
                  <a:gd name="T2" fmla="*/ 18 w 30"/>
                  <a:gd name="T3" fmla="*/ 4 h 24"/>
                  <a:gd name="T4" fmla="*/ 16 w 30"/>
                  <a:gd name="T5" fmla="*/ 2 h 24"/>
                  <a:gd name="T6" fmla="*/ 14 w 30"/>
                  <a:gd name="T7" fmla="*/ 2 h 24"/>
                  <a:gd name="T8" fmla="*/ 8 w 30"/>
                  <a:gd name="T9" fmla="*/ 0 h 24"/>
                  <a:gd name="T10" fmla="*/ 6 w 30"/>
                  <a:gd name="T11" fmla="*/ 0 h 24"/>
                  <a:gd name="T12" fmla="*/ 4 w 30"/>
                  <a:gd name="T13" fmla="*/ 0 h 24"/>
                  <a:gd name="T14" fmla="*/ 2 w 30"/>
                  <a:gd name="T15" fmla="*/ 0 h 24"/>
                  <a:gd name="T16" fmla="*/ 2 w 30"/>
                  <a:gd name="T17" fmla="*/ 2 h 24"/>
                  <a:gd name="T18" fmla="*/ 0 w 30"/>
                  <a:gd name="T19" fmla="*/ 4 h 24"/>
                  <a:gd name="T20" fmla="*/ 0 w 30"/>
                  <a:gd name="T21" fmla="*/ 8 h 24"/>
                  <a:gd name="T22" fmla="*/ 2 w 30"/>
                  <a:gd name="T23" fmla="*/ 10 h 24"/>
                  <a:gd name="T24" fmla="*/ 2 w 30"/>
                  <a:gd name="T25" fmla="*/ 14 h 24"/>
                  <a:gd name="T26" fmla="*/ 4 w 30"/>
                  <a:gd name="T27" fmla="*/ 16 h 24"/>
                  <a:gd name="T28" fmla="*/ 6 w 30"/>
                  <a:gd name="T29" fmla="*/ 20 h 24"/>
                  <a:gd name="T30" fmla="*/ 8 w 30"/>
                  <a:gd name="T31" fmla="*/ 22 h 24"/>
                  <a:gd name="T32" fmla="*/ 12 w 30"/>
                  <a:gd name="T33" fmla="*/ 22 h 24"/>
                  <a:gd name="T34" fmla="*/ 14 w 30"/>
                  <a:gd name="T35" fmla="*/ 24 h 24"/>
                  <a:gd name="T36" fmla="*/ 20 w 30"/>
                  <a:gd name="T37" fmla="*/ 24 h 24"/>
                  <a:gd name="T38" fmla="*/ 22 w 30"/>
                  <a:gd name="T39" fmla="*/ 24 h 24"/>
                  <a:gd name="T40" fmla="*/ 26 w 30"/>
                  <a:gd name="T41" fmla="*/ 24 h 24"/>
                  <a:gd name="T42" fmla="*/ 28 w 30"/>
                  <a:gd name="T43" fmla="*/ 22 h 24"/>
                  <a:gd name="T44" fmla="*/ 28 w 30"/>
                  <a:gd name="T45" fmla="*/ 22 h 24"/>
                  <a:gd name="T46" fmla="*/ 30 w 30"/>
                  <a:gd name="T47" fmla="*/ 20 h 24"/>
                  <a:gd name="T48" fmla="*/ 30 w 30"/>
                  <a:gd name="T49" fmla="*/ 18 h 24"/>
                  <a:gd name="T50" fmla="*/ 28 w 30"/>
                  <a:gd name="T51" fmla="*/ 14 h 24"/>
                  <a:gd name="T52" fmla="*/ 28 w 30"/>
                  <a:gd name="T53" fmla="*/ 12 h 24"/>
                  <a:gd name="T54" fmla="*/ 26 w 30"/>
                  <a:gd name="T55" fmla="*/ 12 h 24"/>
                  <a:gd name="T56" fmla="*/ 22 w 30"/>
                  <a:gd name="T57" fmla="*/ 10 h 24"/>
                  <a:gd name="T58" fmla="*/ 20 w 30"/>
                  <a:gd name="T59" fmla="*/ 8 h 24"/>
                  <a:gd name="T60" fmla="*/ 18 w 30"/>
                  <a:gd name="T61" fmla="*/ 6 h 24"/>
                  <a:gd name="T62" fmla="*/ 18 w 30"/>
                  <a:gd name="T63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0" h="24">
                    <a:moveTo>
                      <a:pt x="18" y="6"/>
                    </a:move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4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4" y="10"/>
                    </a:lnTo>
                    <a:lnTo>
                      <a:pt x="22" y="1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90" name="Freeform 107">
                <a:extLst>
                  <a:ext uri="{FF2B5EF4-FFF2-40B4-BE49-F238E27FC236}">
                    <a16:creationId xmlns:a16="http://schemas.microsoft.com/office/drawing/2014/main" id="{9616C566-1391-489E-8CF0-186A1EA27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3402" y="4419767"/>
                <a:ext cx="50800" cy="38100"/>
              </a:xfrm>
              <a:custGeom>
                <a:avLst/>
                <a:gdLst>
                  <a:gd name="T0" fmla="*/ 2 w 32"/>
                  <a:gd name="T1" fmla="*/ 2 h 24"/>
                  <a:gd name="T2" fmla="*/ 2 w 32"/>
                  <a:gd name="T3" fmla="*/ 2 h 24"/>
                  <a:gd name="T4" fmla="*/ 2 w 32"/>
                  <a:gd name="T5" fmla="*/ 4 h 24"/>
                  <a:gd name="T6" fmla="*/ 2 w 32"/>
                  <a:gd name="T7" fmla="*/ 6 h 24"/>
                  <a:gd name="T8" fmla="*/ 2 w 32"/>
                  <a:gd name="T9" fmla="*/ 8 h 24"/>
                  <a:gd name="T10" fmla="*/ 2 w 32"/>
                  <a:gd name="T11" fmla="*/ 10 h 24"/>
                  <a:gd name="T12" fmla="*/ 0 w 32"/>
                  <a:gd name="T13" fmla="*/ 12 h 24"/>
                  <a:gd name="T14" fmla="*/ 0 w 32"/>
                  <a:gd name="T15" fmla="*/ 14 h 24"/>
                  <a:gd name="T16" fmla="*/ 2 w 32"/>
                  <a:gd name="T17" fmla="*/ 14 h 24"/>
                  <a:gd name="T18" fmla="*/ 2 w 32"/>
                  <a:gd name="T19" fmla="*/ 14 h 24"/>
                  <a:gd name="T20" fmla="*/ 2 w 32"/>
                  <a:gd name="T21" fmla="*/ 16 h 24"/>
                  <a:gd name="T22" fmla="*/ 4 w 32"/>
                  <a:gd name="T23" fmla="*/ 16 h 24"/>
                  <a:gd name="T24" fmla="*/ 4 w 32"/>
                  <a:gd name="T25" fmla="*/ 18 h 24"/>
                  <a:gd name="T26" fmla="*/ 6 w 32"/>
                  <a:gd name="T27" fmla="*/ 18 h 24"/>
                  <a:gd name="T28" fmla="*/ 8 w 32"/>
                  <a:gd name="T29" fmla="*/ 20 h 24"/>
                  <a:gd name="T30" fmla="*/ 12 w 32"/>
                  <a:gd name="T31" fmla="*/ 20 h 24"/>
                  <a:gd name="T32" fmla="*/ 16 w 32"/>
                  <a:gd name="T33" fmla="*/ 22 h 24"/>
                  <a:gd name="T34" fmla="*/ 18 w 32"/>
                  <a:gd name="T35" fmla="*/ 22 h 24"/>
                  <a:gd name="T36" fmla="*/ 22 w 32"/>
                  <a:gd name="T37" fmla="*/ 22 h 24"/>
                  <a:gd name="T38" fmla="*/ 24 w 32"/>
                  <a:gd name="T39" fmla="*/ 24 h 24"/>
                  <a:gd name="T40" fmla="*/ 26 w 32"/>
                  <a:gd name="T41" fmla="*/ 24 h 24"/>
                  <a:gd name="T42" fmla="*/ 26 w 32"/>
                  <a:gd name="T43" fmla="*/ 24 h 24"/>
                  <a:gd name="T44" fmla="*/ 28 w 32"/>
                  <a:gd name="T45" fmla="*/ 22 h 24"/>
                  <a:gd name="T46" fmla="*/ 28 w 32"/>
                  <a:gd name="T47" fmla="*/ 22 h 24"/>
                  <a:gd name="T48" fmla="*/ 30 w 32"/>
                  <a:gd name="T49" fmla="*/ 22 h 24"/>
                  <a:gd name="T50" fmla="*/ 30 w 32"/>
                  <a:gd name="T51" fmla="*/ 22 h 24"/>
                  <a:gd name="T52" fmla="*/ 32 w 32"/>
                  <a:gd name="T53" fmla="*/ 22 h 24"/>
                  <a:gd name="T54" fmla="*/ 32 w 32"/>
                  <a:gd name="T55" fmla="*/ 20 h 24"/>
                  <a:gd name="T56" fmla="*/ 32 w 32"/>
                  <a:gd name="T57" fmla="*/ 20 h 24"/>
                  <a:gd name="T58" fmla="*/ 32 w 32"/>
                  <a:gd name="T59" fmla="*/ 18 h 24"/>
                  <a:gd name="T60" fmla="*/ 32 w 32"/>
                  <a:gd name="T61" fmla="*/ 16 h 24"/>
                  <a:gd name="T62" fmla="*/ 32 w 32"/>
                  <a:gd name="T63" fmla="*/ 14 h 24"/>
                  <a:gd name="T64" fmla="*/ 32 w 32"/>
                  <a:gd name="T65" fmla="*/ 12 h 24"/>
                  <a:gd name="T66" fmla="*/ 32 w 32"/>
                  <a:gd name="T67" fmla="*/ 10 h 24"/>
                  <a:gd name="T68" fmla="*/ 30 w 32"/>
                  <a:gd name="T69" fmla="*/ 10 h 24"/>
                  <a:gd name="T70" fmla="*/ 30 w 32"/>
                  <a:gd name="T71" fmla="*/ 8 h 24"/>
                  <a:gd name="T72" fmla="*/ 30 w 32"/>
                  <a:gd name="T73" fmla="*/ 8 h 24"/>
                  <a:gd name="T74" fmla="*/ 28 w 32"/>
                  <a:gd name="T75" fmla="*/ 6 h 24"/>
                  <a:gd name="T76" fmla="*/ 26 w 32"/>
                  <a:gd name="T77" fmla="*/ 4 h 24"/>
                  <a:gd name="T78" fmla="*/ 24 w 32"/>
                  <a:gd name="T79" fmla="*/ 4 h 24"/>
                  <a:gd name="T80" fmla="*/ 22 w 32"/>
                  <a:gd name="T81" fmla="*/ 2 h 24"/>
                  <a:gd name="T82" fmla="*/ 20 w 32"/>
                  <a:gd name="T83" fmla="*/ 0 h 24"/>
                  <a:gd name="T84" fmla="*/ 18 w 32"/>
                  <a:gd name="T85" fmla="*/ 0 h 24"/>
                  <a:gd name="T86" fmla="*/ 16 w 32"/>
                  <a:gd name="T87" fmla="*/ 0 h 24"/>
                  <a:gd name="T88" fmla="*/ 14 w 32"/>
                  <a:gd name="T89" fmla="*/ 0 h 24"/>
                  <a:gd name="T90" fmla="*/ 12 w 32"/>
                  <a:gd name="T91" fmla="*/ 0 h 24"/>
                  <a:gd name="T92" fmla="*/ 10 w 32"/>
                  <a:gd name="T93" fmla="*/ 0 h 24"/>
                  <a:gd name="T94" fmla="*/ 8 w 32"/>
                  <a:gd name="T95" fmla="*/ 0 h 24"/>
                  <a:gd name="T96" fmla="*/ 6 w 32"/>
                  <a:gd name="T97" fmla="*/ 0 h 24"/>
                  <a:gd name="T98" fmla="*/ 4 w 32"/>
                  <a:gd name="T99" fmla="*/ 0 h 24"/>
                  <a:gd name="T100" fmla="*/ 4 w 32"/>
                  <a:gd name="T101" fmla="*/ 0 h 24"/>
                  <a:gd name="T102" fmla="*/ 4 w 32"/>
                  <a:gd name="T103" fmla="*/ 0 h 24"/>
                  <a:gd name="T104" fmla="*/ 4 w 32"/>
                  <a:gd name="T105" fmla="*/ 2 h 24"/>
                  <a:gd name="T106" fmla="*/ 2 w 32"/>
                  <a:gd name="T107" fmla="*/ 2 h 24"/>
                  <a:gd name="T108" fmla="*/ 2 w 32"/>
                  <a:gd name="T109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2" h="24">
                    <a:moveTo>
                      <a:pt x="2" y="2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22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18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2" y="10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91" name="Freeform 112">
                <a:extLst>
                  <a:ext uri="{FF2B5EF4-FFF2-40B4-BE49-F238E27FC236}">
                    <a16:creationId xmlns:a16="http://schemas.microsoft.com/office/drawing/2014/main" id="{18E24881-DA31-4157-946C-8F407227F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7053" y="4476917"/>
                <a:ext cx="31751" cy="31750"/>
              </a:xfrm>
              <a:custGeom>
                <a:avLst/>
                <a:gdLst>
                  <a:gd name="T0" fmla="*/ 4 w 20"/>
                  <a:gd name="T1" fmla="*/ 0 h 20"/>
                  <a:gd name="T2" fmla="*/ 4 w 20"/>
                  <a:gd name="T3" fmla="*/ 0 h 20"/>
                  <a:gd name="T4" fmla="*/ 4 w 20"/>
                  <a:gd name="T5" fmla="*/ 2 h 20"/>
                  <a:gd name="T6" fmla="*/ 4 w 20"/>
                  <a:gd name="T7" fmla="*/ 4 h 20"/>
                  <a:gd name="T8" fmla="*/ 2 w 20"/>
                  <a:gd name="T9" fmla="*/ 6 h 20"/>
                  <a:gd name="T10" fmla="*/ 0 w 20"/>
                  <a:gd name="T11" fmla="*/ 8 h 20"/>
                  <a:gd name="T12" fmla="*/ 0 w 20"/>
                  <a:gd name="T13" fmla="*/ 10 h 20"/>
                  <a:gd name="T14" fmla="*/ 0 w 20"/>
                  <a:gd name="T15" fmla="*/ 10 h 20"/>
                  <a:gd name="T16" fmla="*/ 0 w 20"/>
                  <a:gd name="T17" fmla="*/ 12 h 20"/>
                  <a:gd name="T18" fmla="*/ 0 w 20"/>
                  <a:gd name="T19" fmla="*/ 12 h 20"/>
                  <a:gd name="T20" fmla="*/ 0 w 20"/>
                  <a:gd name="T21" fmla="*/ 12 h 20"/>
                  <a:gd name="T22" fmla="*/ 0 w 20"/>
                  <a:gd name="T23" fmla="*/ 14 h 20"/>
                  <a:gd name="T24" fmla="*/ 0 w 20"/>
                  <a:gd name="T25" fmla="*/ 16 h 20"/>
                  <a:gd name="T26" fmla="*/ 2 w 20"/>
                  <a:gd name="T27" fmla="*/ 16 h 20"/>
                  <a:gd name="T28" fmla="*/ 2 w 20"/>
                  <a:gd name="T29" fmla="*/ 18 h 20"/>
                  <a:gd name="T30" fmla="*/ 2 w 20"/>
                  <a:gd name="T31" fmla="*/ 20 h 20"/>
                  <a:gd name="T32" fmla="*/ 4 w 20"/>
                  <a:gd name="T33" fmla="*/ 20 h 20"/>
                  <a:gd name="T34" fmla="*/ 4 w 20"/>
                  <a:gd name="T35" fmla="*/ 20 h 20"/>
                  <a:gd name="T36" fmla="*/ 6 w 20"/>
                  <a:gd name="T37" fmla="*/ 20 h 20"/>
                  <a:gd name="T38" fmla="*/ 6 w 20"/>
                  <a:gd name="T39" fmla="*/ 20 h 20"/>
                  <a:gd name="T40" fmla="*/ 8 w 20"/>
                  <a:gd name="T41" fmla="*/ 20 h 20"/>
                  <a:gd name="T42" fmla="*/ 10 w 20"/>
                  <a:gd name="T43" fmla="*/ 20 h 20"/>
                  <a:gd name="T44" fmla="*/ 12 w 20"/>
                  <a:gd name="T45" fmla="*/ 20 h 20"/>
                  <a:gd name="T46" fmla="*/ 16 w 20"/>
                  <a:gd name="T47" fmla="*/ 20 h 20"/>
                  <a:gd name="T48" fmla="*/ 16 w 20"/>
                  <a:gd name="T49" fmla="*/ 18 h 20"/>
                  <a:gd name="T50" fmla="*/ 18 w 20"/>
                  <a:gd name="T51" fmla="*/ 18 h 20"/>
                  <a:gd name="T52" fmla="*/ 18 w 20"/>
                  <a:gd name="T53" fmla="*/ 16 h 20"/>
                  <a:gd name="T54" fmla="*/ 20 w 20"/>
                  <a:gd name="T55" fmla="*/ 16 h 20"/>
                  <a:gd name="T56" fmla="*/ 20 w 20"/>
                  <a:gd name="T57" fmla="*/ 16 h 20"/>
                  <a:gd name="T58" fmla="*/ 20 w 20"/>
                  <a:gd name="T59" fmla="*/ 16 h 20"/>
                  <a:gd name="T60" fmla="*/ 20 w 20"/>
                  <a:gd name="T61" fmla="*/ 14 h 20"/>
                  <a:gd name="T62" fmla="*/ 20 w 20"/>
                  <a:gd name="T63" fmla="*/ 14 h 20"/>
                  <a:gd name="T64" fmla="*/ 20 w 20"/>
                  <a:gd name="T65" fmla="*/ 12 h 20"/>
                  <a:gd name="T66" fmla="*/ 18 w 20"/>
                  <a:gd name="T67" fmla="*/ 10 h 20"/>
                  <a:gd name="T68" fmla="*/ 18 w 20"/>
                  <a:gd name="T69" fmla="*/ 8 h 20"/>
                  <a:gd name="T70" fmla="*/ 18 w 20"/>
                  <a:gd name="T71" fmla="*/ 6 h 20"/>
                  <a:gd name="T72" fmla="*/ 16 w 20"/>
                  <a:gd name="T73" fmla="*/ 6 h 20"/>
                  <a:gd name="T74" fmla="*/ 16 w 20"/>
                  <a:gd name="T75" fmla="*/ 4 h 20"/>
                  <a:gd name="T76" fmla="*/ 16 w 20"/>
                  <a:gd name="T77" fmla="*/ 4 h 20"/>
                  <a:gd name="T78" fmla="*/ 14 w 20"/>
                  <a:gd name="T79" fmla="*/ 4 h 20"/>
                  <a:gd name="T80" fmla="*/ 12 w 20"/>
                  <a:gd name="T81" fmla="*/ 4 h 20"/>
                  <a:gd name="T82" fmla="*/ 12 w 20"/>
                  <a:gd name="T83" fmla="*/ 4 h 20"/>
                  <a:gd name="T84" fmla="*/ 10 w 20"/>
                  <a:gd name="T85" fmla="*/ 2 h 20"/>
                  <a:gd name="T86" fmla="*/ 8 w 20"/>
                  <a:gd name="T87" fmla="*/ 2 h 20"/>
                  <a:gd name="T88" fmla="*/ 6 w 20"/>
                  <a:gd name="T89" fmla="*/ 2 h 20"/>
                  <a:gd name="T90" fmla="*/ 4 w 20"/>
                  <a:gd name="T91" fmla="*/ 2 h 20"/>
                  <a:gd name="T92" fmla="*/ 4 w 20"/>
                  <a:gd name="T93" fmla="*/ 2 h 20"/>
                  <a:gd name="T94" fmla="*/ 4 w 20"/>
                  <a:gd name="T95" fmla="*/ 2 h 20"/>
                  <a:gd name="T96" fmla="*/ 4 w 20"/>
                  <a:gd name="T9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0" h="20">
                    <a:moveTo>
                      <a:pt x="4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2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92" name="Freeform 114">
                <a:extLst>
                  <a:ext uri="{FF2B5EF4-FFF2-40B4-BE49-F238E27FC236}">
                    <a16:creationId xmlns:a16="http://schemas.microsoft.com/office/drawing/2014/main" id="{91E868B0-2ECD-4E38-A487-E05CE0AD95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7378" y="4470567"/>
                <a:ext cx="28575" cy="22225"/>
              </a:xfrm>
              <a:custGeom>
                <a:avLst/>
                <a:gdLst>
                  <a:gd name="T0" fmla="*/ 0 w 18"/>
                  <a:gd name="T1" fmla="*/ 6 h 14"/>
                  <a:gd name="T2" fmla="*/ 0 w 18"/>
                  <a:gd name="T3" fmla="*/ 6 h 14"/>
                  <a:gd name="T4" fmla="*/ 0 w 18"/>
                  <a:gd name="T5" fmla="*/ 6 h 14"/>
                  <a:gd name="T6" fmla="*/ 0 w 18"/>
                  <a:gd name="T7" fmla="*/ 8 h 14"/>
                  <a:gd name="T8" fmla="*/ 0 w 18"/>
                  <a:gd name="T9" fmla="*/ 8 h 14"/>
                  <a:gd name="T10" fmla="*/ 0 w 18"/>
                  <a:gd name="T11" fmla="*/ 10 h 14"/>
                  <a:gd name="T12" fmla="*/ 0 w 18"/>
                  <a:gd name="T13" fmla="*/ 10 h 14"/>
                  <a:gd name="T14" fmla="*/ 0 w 18"/>
                  <a:gd name="T15" fmla="*/ 12 h 14"/>
                  <a:gd name="T16" fmla="*/ 2 w 18"/>
                  <a:gd name="T17" fmla="*/ 12 h 14"/>
                  <a:gd name="T18" fmla="*/ 2 w 18"/>
                  <a:gd name="T19" fmla="*/ 14 h 14"/>
                  <a:gd name="T20" fmla="*/ 2 w 18"/>
                  <a:gd name="T21" fmla="*/ 14 h 14"/>
                  <a:gd name="T22" fmla="*/ 4 w 18"/>
                  <a:gd name="T23" fmla="*/ 14 h 14"/>
                  <a:gd name="T24" fmla="*/ 4 w 18"/>
                  <a:gd name="T25" fmla="*/ 14 h 14"/>
                  <a:gd name="T26" fmla="*/ 6 w 18"/>
                  <a:gd name="T27" fmla="*/ 14 h 14"/>
                  <a:gd name="T28" fmla="*/ 8 w 18"/>
                  <a:gd name="T29" fmla="*/ 14 h 14"/>
                  <a:gd name="T30" fmla="*/ 10 w 18"/>
                  <a:gd name="T31" fmla="*/ 14 h 14"/>
                  <a:gd name="T32" fmla="*/ 12 w 18"/>
                  <a:gd name="T33" fmla="*/ 12 h 14"/>
                  <a:gd name="T34" fmla="*/ 14 w 18"/>
                  <a:gd name="T35" fmla="*/ 12 h 14"/>
                  <a:gd name="T36" fmla="*/ 16 w 18"/>
                  <a:gd name="T37" fmla="*/ 12 h 14"/>
                  <a:gd name="T38" fmla="*/ 16 w 18"/>
                  <a:gd name="T39" fmla="*/ 10 h 14"/>
                  <a:gd name="T40" fmla="*/ 16 w 18"/>
                  <a:gd name="T41" fmla="*/ 10 h 14"/>
                  <a:gd name="T42" fmla="*/ 16 w 18"/>
                  <a:gd name="T43" fmla="*/ 10 h 14"/>
                  <a:gd name="T44" fmla="*/ 18 w 18"/>
                  <a:gd name="T45" fmla="*/ 8 h 14"/>
                  <a:gd name="T46" fmla="*/ 18 w 18"/>
                  <a:gd name="T47" fmla="*/ 6 h 14"/>
                  <a:gd name="T48" fmla="*/ 18 w 18"/>
                  <a:gd name="T49" fmla="*/ 6 h 14"/>
                  <a:gd name="T50" fmla="*/ 18 w 18"/>
                  <a:gd name="T51" fmla="*/ 4 h 14"/>
                  <a:gd name="T52" fmla="*/ 18 w 18"/>
                  <a:gd name="T53" fmla="*/ 4 h 14"/>
                  <a:gd name="T54" fmla="*/ 18 w 18"/>
                  <a:gd name="T55" fmla="*/ 2 h 14"/>
                  <a:gd name="T56" fmla="*/ 18 w 18"/>
                  <a:gd name="T57" fmla="*/ 2 h 14"/>
                  <a:gd name="T58" fmla="*/ 18 w 18"/>
                  <a:gd name="T59" fmla="*/ 2 h 14"/>
                  <a:gd name="T60" fmla="*/ 18 w 18"/>
                  <a:gd name="T61" fmla="*/ 2 h 14"/>
                  <a:gd name="T62" fmla="*/ 16 w 18"/>
                  <a:gd name="T63" fmla="*/ 0 h 14"/>
                  <a:gd name="T64" fmla="*/ 16 w 18"/>
                  <a:gd name="T65" fmla="*/ 0 h 14"/>
                  <a:gd name="T66" fmla="*/ 14 w 18"/>
                  <a:gd name="T67" fmla="*/ 0 h 14"/>
                  <a:gd name="T68" fmla="*/ 12 w 18"/>
                  <a:gd name="T69" fmla="*/ 0 h 14"/>
                  <a:gd name="T70" fmla="*/ 10 w 18"/>
                  <a:gd name="T71" fmla="*/ 2 h 14"/>
                  <a:gd name="T72" fmla="*/ 8 w 18"/>
                  <a:gd name="T73" fmla="*/ 2 h 14"/>
                  <a:gd name="T74" fmla="*/ 6 w 18"/>
                  <a:gd name="T75" fmla="*/ 2 h 14"/>
                  <a:gd name="T76" fmla="*/ 2 w 18"/>
                  <a:gd name="T77" fmla="*/ 2 h 14"/>
                  <a:gd name="T78" fmla="*/ 2 w 18"/>
                  <a:gd name="T79" fmla="*/ 4 h 14"/>
                  <a:gd name="T80" fmla="*/ 0 w 18"/>
                  <a:gd name="T81" fmla="*/ 4 h 14"/>
                  <a:gd name="T82" fmla="*/ 0 w 18"/>
                  <a:gd name="T83" fmla="*/ 4 h 14"/>
                  <a:gd name="T84" fmla="*/ 0 w 18"/>
                  <a:gd name="T8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" h="14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93" name="Freeform 116">
                <a:extLst>
                  <a:ext uri="{FF2B5EF4-FFF2-40B4-BE49-F238E27FC236}">
                    <a16:creationId xmlns:a16="http://schemas.microsoft.com/office/drawing/2014/main" id="{ECB29438-75F5-42BC-A268-04F8560289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978" y="4534068"/>
                <a:ext cx="76200" cy="104775"/>
              </a:xfrm>
              <a:custGeom>
                <a:avLst/>
                <a:gdLst>
                  <a:gd name="T0" fmla="*/ 28 w 48"/>
                  <a:gd name="T1" fmla="*/ 0 h 66"/>
                  <a:gd name="T2" fmla="*/ 26 w 48"/>
                  <a:gd name="T3" fmla="*/ 0 h 66"/>
                  <a:gd name="T4" fmla="*/ 22 w 48"/>
                  <a:gd name="T5" fmla="*/ 2 h 66"/>
                  <a:gd name="T6" fmla="*/ 18 w 48"/>
                  <a:gd name="T7" fmla="*/ 8 h 66"/>
                  <a:gd name="T8" fmla="*/ 10 w 48"/>
                  <a:gd name="T9" fmla="*/ 14 h 66"/>
                  <a:gd name="T10" fmla="*/ 6 w 48"/>
                  <a:gd name="T11" fmla="*/ 18 h 66"/>
                  <a:gd name="T12" fmla="*/ 2 w 48"/>
                  <a:gd name="T13" fmla="*/ 22 h 66"/>
                  <a:gd name="T14" fmla="*/ 0 w 48"/>
                  <a:gd name="T15" fmla="*/ 24 h 66"/>
                  <a:gd name="T16" fmla="*/ 0 w 48"/>
                  <a:gd name="T17" fmla="*/ 26 h 66"/>
                  <a:gd name="T18" fmla="*/ 0 w 48"/>
                  <a:gd name="T19" fmla="*/ 28 h 66"/>
                  <a:gd name="T20" fmla="*/ 0 w 48"/>
                  <a:gd name="T21" fmla="*/ 30 h 66"/>
                  <a:gd name="T22" fmla="*/ 4 w 48"/>
                  <a:gd name="T23" fmla="*/ 36 h 66"/>
                  <a:gd name="T24" fmla="*/ 6 w 48"/>
                  <a:gd name="T25" fmla="*/ 38 h 66"/>
                  <a:gd name="T26" fmla="*/ 16 w 48"/>
                  <a:gd name="T27" fmla="*/ 50 h 66"/>
                  <a:gd name="T28" fmla="*/ 20 w 48"/>
                  <a:gd name="T29" fmla="*/ 54 h 66"/>
                  <a:gd name="T30" fmla="*/ 22 w 48"/>
                  <a:gd name="T31" fmla="*/ 58 h 66"/>
                  <a:gd name="T32" fmla="*/ 24 w 48"/>
                  <a:gd name="T33" fmla="*/ 62 h 66"/>
                  <a:gd name="T34" fmla="*/ 28 w 48"/>
                  <a:gd name="T35" fmla="*/ 64 h 66"/>
                  <a:gd name="T36" fmla="*/ 28 w 48"/>
                  <a:gd name="T37" fmla="*/ 66 h 66"/>
                  <a:gd name="T38" fmla="*/ 30 w 48"/>
                  <a:gd name="T39" fmla="*/ 66 h 66"/>
                  <a:gd name="T40" fmla="*/ 32 w 48"/>
                  <a:gd name="T41" fmla="*/ 64 h 66"/>
                  <a:gd name="T42" fmla="*/ 34 w 48"/>
                  <a:gd name="T43" fmla="*/ 62 h 66"/>
                  <a:gd name="T44" fmla="*/ 36 w 48"/>
                  <a:gd name="T45" fmla="*/ 56 h 66"/>
                  <a:gd name="T46" fmla="*/ 38 w 48"/>
                  <a:gd name="T47" fmla="*/ 54 h 66"/>
                  <a:gd name="T48" fmla="*/ 40 w 48"/>
                  <a:gd name="T49" fmla="*/ 52 h 66"/>
                  <a:gd name="T50" fmla="*/ 44 w 48"/>
                  <a:gd name="T51" fmla="*/ 48 h 66"/>
                  <a:gd name="T52" fmla="*/ 46 w 48"/>
                  <a:gd name="T53" fmla="*/ 46 h 66"/>
                  <a:gd name="T54" fmla="*/ 48 w 48"/>
                  <a:gd name="T55" fmla="*/ 44 h 66"/>
                  <a:gd name="T56" fmla="*/ 48 w 48"/>
                  <a:gd name="T57" fmla="*/ 42 h 66"/>
                  <a:gd name="T58" fmla="*/ 48 w 48"/>
                  <a:gd name="T59" fmla="*/ 36 h 66"/>
                  <a:gd name="T60" fmla="*/ 48 w 48"/>
                  <a:gd name="T61" fmla="*/ 28 h 66"/>
                  <a:gd name="T62" fmla="*/ 48 w 48"/>
                  <a:gd name="T63" fmla="*/ 20 h 66"/>
                  <a:gd name="T64" fmla="*/ 48 w 48"/>
                  <a:gd name="T65" fmla="*/ 16 h 66"/>
                  <a:gd name="T66" fmla="*/ 44 w 48"/>
                  <a:gd name="T67" fmla="*/ 12 h 66"/>
                  <a:gd name="T68" fmla="*/ 42 w 48"/>
                  <a:gd name="T69" fmla="*/ 8 h 66"/>
                  <a:gd name="T70" fmla="*/ 40 w 48"/>
                  <a:gd name="T71" fmla="*/ 6 h 66"/>
                  <a:gd name="T72" fmla="*/ 36 w 48"/>
                  <a:gd name="T73" fmla="*/ 2 h 66"/>
                  <a:gd name="T74" fmla="*/ 34 w 48"/>
                  <a:gd name="T75" fmla="*/ 0 h 66"/>
                  <a:gd name="T76" fmla="*/ 30 w 48"/>
                  <a:gd name="T7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" h="66">
                    <a:moveTo>
                      <a:pt x="28" y="0"/>
                    </a:move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18" y="8"/>
                    </a:lnTo>
                    <a:lnTo>
                      <a:pt x="14" y="10"/>
                    </a:lnTo>
                    <a:lnTo>
                      <a:pt x="10" y="14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20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2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8"/>
                    </a:lnTo>
                    <a:lnTo>
                      <a:pt x="12" y="46"/>
                    </a:lnTo>
                    <a:lnTo>
                      <a:pt x="16" y="50"/>
                    </a:lnTo>
                    <a:lnTo>
                      <a:pt x="18" y="54"/>
                    </a:lnTo>
                    <a:lnTo>
                      <a:pt x="20" y="54"/>
                    </a:lnTo>
                    <a:lnTo>
                      <a:pt x="20" y="56"/>
                    </a:lnTo>
                    <a:lnTo>
                      <a:pt x="22" y="58"/>
                    </a:lnTo>
                    <a:lnTo>
                      <a:pt x="24" y="60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8" y="64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2" y="6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4" y="62"/>
                    </a:lnTo>
                    <a:lnTo>
                      <a:pt x="34" y="60"/>
                    </a:lnTo>
                    <a:lnTo>
                      <a:pt x="36" y="56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4" y="50"/>
                    </a:lnTo>
                    <a:lnTo>
                      <a:pt x="44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0"/>
                    </a:lnTo>
                    <a:lnTo>
                      <a:pt x="48" y="36"/>
                    </a:lnTo>
                    <a:lnTo>
                      <a:pt x="48" y="32"/>
                    </a:lnTo>
                    <a:lnTo>
                      <a:pt x="48" y="28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6" y="14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8" y="4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94" name="Freeform 121">
                <a:extLst>
                  <a:ext uri="{FF2B5EF4-FFF2-40B4-BE49-F238E27FC236}">
                    <a16:creationId xmlns:a16="http://schemas.microsoft.com/office/drawing/2014/main" id="{5CD41FA3-D988-4A9E-8B55-7F2E78ECF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7528" y="4543592"/>
                <a:ext cx="44450" cy="57150"/>
              </a:xfrm>
              <a:custGeom>
                <a:avLst/>
                <a:gdLst>
                  <a:gd name="T0" fmla="*/ 18 w 28"/>
                  <a:gd name="T1" fmla="*/ 0 h 36"/>
                  <a:gd name="T2" fmla="*/ 18 w 28"/>
                  <a:gd name="T3" fmla="*/ 0 h 36"/>
                  <a:gd name="T4" fmla="*/ 18 w 28"/>
                  <a:gd name="T5" fmla="*/ 0 h 36"/>
                  <a:gd name="T6" fmla="*/ 18 w 28"/>
                  <a:gd name="T7" fmla="*/ 0 h 36"/>
                  <a:gd name="T8" fmla="*/ 18 w 28"/>
                  <a:gd name="T9" fmla="*/ 2 h 36"/>
                  <a:gd name="T10" fmla="*/ 18 w 28"/>
                  <a:gd name="T11" fmla="*/ 2 h 36"/>
                  <a:gd name="T12" fmla="*/ 16 w 28"/>
                  <a:gd name="T13" fmla="*/ 4 h 36"/>
                  <a:gd name="T14" fmla="*/ 14 w 28"/>
                  <a:gd name="T15" fmla="*/ 4 h 36"/>
                  <a:gd name="T16" fmla="*/ 12 w 28"/>
                  <a:gd name="T17" fmla="*/ 8 h 36"/>
                  <a:gd name="T18" fmla="*/ 10 w 28"/>
                  <a:gd name="T19" fmla="*/ 8 h 36"/>
                  <a:gd name="T20" fmla="*/ 10 w 28"/>
                  <a:gd name="T21" fmla="*/ 10 h 36"/>
                  <a:gd name="T22" fmla="*/ 8 w 28"/>
                  <a:gd name="T23" fmla="*/ 12 h 36"/>
                  <a:gd name="T24" fmla="*/ 8 w 28"/>
                  <a:gd name="T25" fmla="*/ 14 h 36"/>
                  <a:gd name="T26" fmla="*/ 6 w 28"/>
                  <a:gd name="T27" fmla="*/ 18 h 36"/>
                  <a:gd name="T28" fmla="*/ 4 w 28"/>
                  <a:gd name="T29" fmla="*/ 22 h 36"/>
                  <a:gd name="T30" fmla="*/ 4 w 28"/>
                  <a:gd name="T31" fmla="*/ 24 h 36"/>
                  <a:gd name="T32" fmla="*/ 2 w 28"/>
                  <a:gd name="T33" fmla="*/ 28 h 36"/>
                  <a:gd name="T34" fmla="*/ 0 w 28"/>
                  <a:gd name="T35" fmla="*/ 30 h 36"/>
                  <a:gd name="T36" fmla="*/ 0 w 28"/>
                  <a:gd name="T37" fmla="*/ 32 h 36"/>
                  <a:gd name="T38" fmla="*/ 0 w 28"/>
                  <a:gd name="T39" fmla="*/ 32 h 36"/>
                  <a:gd name="T40" fmla="*/ 0 w 28"/>
                  <a:gd name="T41" fmla="*/ 34 h 36"/>
                  <a:gd name="T42" fmla="*/ 0 w 28"/>
                  <a:gd name="T43" fmla="*/ 34 h 36"/>
                  <a:gd name="T44" fmla="*/ 0 w 28"/>
                  <a:gd name="T45" fmla="*/ 34 h 36"/>
                  <a:gd name="T46" fmla="*/ 0 w 28"/>
                  <a:gd name="T47" fmla="*/ 34 h 36"/>
                  <a:gd name="T48" fmla="*/ 2 w 28"/>
                  <a:gd name="T49" fmla="*/ 36 h 36"/>
                  <a:gd name="T50" fmla="*/ 2 w 28"/>
                  <a:gd name="T51" fmla="*/ 36 h 36"/>
                  <a:gd name="T52" fmla="*/ 2 w 28"/>
                  <a:gd name="T53" fmla="*/ 36 h 36"/>
                  <a:gd name="T54" fmla="*/ 4 w 28"/>
                  <a:gd name="T55" fmla="*/ 36 h 36"/>
                  <a:gd name="T56" fmla="*/ 6 w 28"/>
                  <a:gd name="T57" fmla="*/ 34 h 36"/>
                  <a:gd name="T58" fmla="*/ 8 w 28"/>
                  <a:gd name="T59" fmla="*/ 34 h 36"/>
                  <a:gd name="T60" fmla="*/ 10 w 28"/>
                  <a:gd name="T61" fmla="*/ 34 h 36"/>
                  <a:gd name="T62" fmla="*/ 12 w 28"/>
                  <a:gd name="T63" fmla="*/ 32 h 36"/>
                  <a:gd name="T64" fmla="*/ 14 w 28"/>
                  <a:gd name="T65" fmla="*/ 30 h 36"/>
                  <a:gd name="T66" fmla="*/ 14 w 28"/>
                  <a:gd name="T67" fmla="*/ 30 h 36"/>
                  <a:gd name="T68" fmla="*/ 16 w 28"/>
                  <a:gd name="T69" fmla="*/ 28 h 36"/>
                  <a:gd name="T70" fmla="*/ 16 w 28"/>
                  <a:gd name="T71" fmla="*/ 28 h 36"/>
                  <a:gd name="T72" fmla="*/ 18 w 28"/>
                  <a:gd name="T73" fmla="*/ 26 h 36"/>
                  <a:gd name="T74" fmla="*/ 18 w 28"/>
                  <a:gd name="T75" fmla="*/ 24 h 36"/>
                  <a:gd name="T76" fmla="*/ 20 w 28"/>
                  <a:gd name="T77" fmla="*/ 20 h 36"/>
                  <a:gd name="T78" fmla="*/ 22 w 28"/>
                  <a:gd name="T79" fmla="*/ 18 h 36"/>
                  <a:gd name="T80" fmla="*/ 24 w 28"/>
                  <a:gd name="T81" fmla="*/ 14 h 36"/>
                  <a:gd name="T82" fmla="*/ 26 w 28"/>
                  <a:gd name="T83" fmla="*/ 10 h 36"/>
                  <a:gd name="T84" fmla="*/ 26 w 28"/>
                  <a:gd name="T85" fmla="*/ 8 h 36"/>
                  <a:gd name="T86" fmla="*/ 26 w 28"/>
                  <a:gd name="T87" fmla="*/ 6 h 36"/>
                  <a:gd name="T88" fmla="*/ 28 w 28"/>
                  <a:gd name="T89" fmla="*/ 6 h 36"/>
                  <a:gd name="T90" fmla="*/ 28 w 28"/>
                  <a:gd name="T91" fmla="*/ 6 h 36"/>
                  <a:gd name="T92" fmla="*/ 28 w 28"/>
                  <a:gd name="T93" fmla="*/ 4 h 36"/>
                  <a:gd name="T94" fmla="*/ 26 w 28"/>
                  <a:gd name="T95" fmla="*/ 4 h 36"/>
                  <a:gd name="T96" fmla="*/ 26 w 28"/>
                  <a:gd name="T97" fmla="*/ 4 h 36"/>
                  <a:gd name="T98" fmla="*/ 26 w 28"/>
                  <a:gd name="T99" fmla="*/ 2 h 36"/>
                  <a:gd name="T100" fmla="*/ 26 w 28"/>
                  <a:gd name="T101" fmla="*/ 2 h 36"/>
                  <a:gd name="T102" fmla="*/ 24 w 28"/>
                  <a:gd name="T103" fmla="*/ 2 h 36"/>
                  <a:gd name="T104" fmla="*/ 22 w 28"/>
                  <a:gd name="T105" fmla="*/ 2 h 36"/>
                  <a:gd name="T106" fmla="*/ 22 w 28"/>
                  <a:gd name="T107" fmla="*/ 2 h 36"/>
                  <a:gd name="T108" fmla="*/ 20 w 28"/>
                  <a:gd name="T109" fmla="*/ 0 h 36"/>
                  <a:gd name="T110" fmla="*/ 20 w 28"/>
                  <a:gd name="T111" fmla="*/ 0 h 36"/>
                  <a:gd name="T112" fmla="*/ 20 w 28"/>
                  <a:gd name="T113" fmla="*/ 0 h 36"/>
                  <a:gd name="T114" fmla="*/ 18 w 28"/>
                  <a:gd name="T115" fmla="*/ 0 h 36"/>
                  <a:gd name="T116" fmla="*/ 18 w 28"/>
                  <a:gd name="T11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8" h="36">
                    <a:moveTo>
                      <a:pt x="18" y="0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6" y="18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6" y="34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2" y="32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8" y="26"/>
                    </a:lnTo>
                    <a:lnTo>
                      <a:pt x="18" y="24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4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95" name="Freeform 123">
                <a:extLst>
                  <a:ext uri="{FF2B5EF4-FFF2-40B4-BE49-F238E27FC236}">
                    <a16:creationId xmlns:a16="http://schemas.microsoft.com/office/drawing/2014/main" id="{6D2AD90A-F9E0-4594-83FD-EF8AE7387F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5153" y="4508667"/>
                <a:ext cx="15875" cy="19050"/>
              </a:xfrm>
              <a:custGeom>
                <a:avLst/>
                <a:gdLst>
                  <a:gd name="T0" fmla="*/ 6 w 10"/>
                  <a:gd name="T1" fmla="*/ 12 h 12"/>
                  <a:gd name="T2" fmla="*/ 6 w 10"/>
                  <a:gd name="T3" fmla="*/ 12 h 12"/>
                  <a:gd name="T4" fmla="*/ 4 w 10"/>
                  <a:gd name="T5" fmla="*/ 12 h 12"/>
                  <a:gd name="T6" fmla="*/ 4 w 10"/>
                  <a:gd name="T7" fmla="*/ 12 h 12"/>
                  <a:gd name="T8" fmla="*/ 2 w 10"/>
                  <a:gd name="T9" fmla="*/ 10 h 12"/>
                  <a:gd name="T10" fmla="*/ 2 w 10"/>
                  <a:gd name="T11" fmla="*/ 10 h 12"/>
                  <a:gd name="T12" fmla="*/ 0 w 10"/>
                  <a:gd name="T13" fmla="*/ 8 h 12"/>
                  <a:gd name="T14" fmla="*/ 0 w 10"/>
                  <a:gd name="T15" fmla="*/ 8 h 12"/>
                  <a:gd name="T16" fmla="*/ 0 w 10"/>
                  <a:gd name="T17" fmla="*/ 6 h 12"/>
                  <a:gd name="T18" fmla="*/ 0 w 10"/>
                  <a:gd name="T19" fmla="*/ 6 h 12"/>
                  <a:gd name="T20" fmla="*/ 0 w 10"/>
                  <a:gd name="T21" fmla="*/ 4 h 12"/>
                  <a:gd name="T22" fmla="*/ 0 w 10"/>
                  <a:gd name="T23" fmla="*/ 4 h 12"/>
                  <a:gd name="T24" fmla="*/ 0 w 10"/>
                  <a:gd name="T25" fmla="*/ 2 h 12"/>
                  <a:gd name="T26" fmla="*/ 2 w 10"/>
                  <a:gd name="T27" fmla="*/ 2 h 12"/>
                  <a:gd name="T28" fmla="*/ 2 w 10"/>
                  <a:gd name="T29" fmla="*/ 0 h 12"/>
                  <a:gd name="T30" fmla="*/ 4 w 10"/>
                  <a:gd name="T31" fmla="*/ 0 h 12"/>
                  <a:gd name="T32" fmla="*/ 4 w 10"/>
                  <a:gd name="T33" fmla="*/ 0 h 12"/>
                  <a:gd name="T34" fmla="*/ 6 w 10"/>
                  <a:gd name="T35" fmla="*/ 0 h 12"/>
                  <a:gd name="T36" fmla="*/ 6 w 10"/>
                  <a:gd name="T37" fmla="*/ 0 h 12"/>
                  <a:gd name="T38" fmla="*/ 8 w 10"/>
                  <a:gd name="T39" fmla="*/ 0 h 12"/>
                  <a:gd name="T40" fmla="*/ 8 w 10"/>
                  <a:gd name="T41" fmla="*/ 0 h 12"/>
                  <a:gd name="T42" fmla="*/ 8 w 10"/>
                  <a:gd name="T43" fmla="*/ 2 h 12"/>
                  <a:gd name="T44" fmla="*/ 10 w 10"/>
                  <a:gd name="T45" fmla="*/ 2 h 12"/>
                  <a:gd name="T46" fmla="*/ 10 w 10"/>
                  <a:gd name="T47" fmla="*/ 4 h 12"/>
                  <a:gd name="T48" fmla="*/ 10 w 10"/>
                  <a:gd name="T49" fmla="*/ 4 h 12"/>
                  <a:gd name="T50" fmla="*/ 10 w 10"/>
                  <a:gd name="T51" fmla="*/ 6 h 12"/>
                  <a:gd name="T52" fmla="*/ 10 w 10"/>
                  <a:gd name="T53" fmla="*/ 6 h 12"/>
                  <a:gd name="T54" fmla="*/ 10 w 10"/>
                  <a:gd name="T55" fmla="*/ 8 h 12"/>
                  <a:gd name="T56" fmla="*/ 10 w 10"/>
                  <a:gd name="T57" fmla="*/ 8 h 12"/>
                  <a:gd name="T58" fmla="*/ 8 w 10"/>
                  <a:gd name="T59" fmla="*/ 10 h 12"/>
                  <a:gd name="T60" fmla="*/ 8 w 10"/>
                  <a:gd name="T61" fmla="*/ 10 h 12"/>
                  <a:gd name="T62" fmla="*/ 8 w 10"/>
                  <a:gd name="T63" fmla="*/ 12 h 12"/>
                  <a:gd name="T64" fmla="*/ 6 w 10"/>
                  <a:gd name="T65" fmla="*/ 12 h 12"/>
                  <a:gd name="T66" fmla="*/ 6 w 10"/>
                  <a:gd name="T6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" h="12">
                    <a:moveTo>
                      <a:pt x="6" y="12"/>
                    </a:moveTo>
                    <a:lnTo>
                      <a:pt x="6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2"/>
                    </a:lnTo>
                    <a:lnTo>
                      <a:pt x="6" y="12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</p:grpSp>
        <p:grpSp>
          <p:nvGrpSpPr>
            <p:cNvPr id="1904" name="Gruppieren 26631">
              <a:extLst>
                <a:ext uri="{FF2B5EF4-FFF2-40B4-BE49-F238E27FC236}">
                  <a16:creationId xmlns:a16="http://schemas.microsoft.com/office/drawing/2014/main" id="{27F3996F-0249-4E99-8BDD-581E798EDAFA}"/>
                </a:ext>
              </a:extLst>
            </p:cNvPr>
            <p:cNvGrpSpPr/>
            <p:nvPr/>
          </p:nvGrpSpPr>
          <p:grpSpPr bwMode="auto">
            <a:xfrm>
              <a:off x="3612666" y="4457321"/>
              <a:ext cx="1216400" cy="481393"/>
              <a:chOff x="6485228" y="4603917"/>
              <a:chExt cx="1130300" cy="457200"/>
            </a:xfrm>
            <a:solidFill>
              <a:srgbClr val="FF2929">
                <a:alpha val="10196"/>
              </a:srgbClr>
            </a:solidFill>
          </p:grpSpPr>
          <p:sp>
            <p:nvSpPr>
              <p:cNvPr id="1971" name="Freeform 213">
                <a:extLst>
                  <a:ext uri="{FF2B5EF4-FFF2-40B4-BE49-F238E27FC236}">
                    <a16:creationId xmlns:a16="http://schemas.microsoft.com/office/drawing/2014/main" id="{20B7FDFA-ACF4-487B-A30E-D2D34C66E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5628" y="5035717"/>
                <a:ext cx="28575" cy="25400"/>
              </a:xfrm>
              <a:custGeom>
                <a:avLst/>
                <a:gdLst>
                  <a:gd name="T0" fmla="*/ 18 w 18"/>
                  <a:gd name="T1" fmla="*/ 2 h 16"/>
                  <a:gd name="T2" fmla="*/ 18 w 18"/>
                  <a:gd name="T3" fmla="*/ 2 h 16"/>
                  <a:gd name="T4" fmla="*/ 16 w 18"/>
                  <a:gd name="T5" fmla="*/ 0 h 16"/>
                  <a:gd name="T6" fmla="*/ 16 w 18"/>
                  <a:gd name="T7" fmla="*/ 0 h 16"/>
                  <a:gd name="T8" fmla="*/ 14 w 18"/>
                  <a:gd name="T9" fmla="*/ 0 h 16"/>
                  <a:gd name="T10" fmla="*/ 14 w 18"/>
                  <a:gd name="T11" fmla="*/ 0 h 16"/>
                  <a:gd name="T12" fmla="*/ 12 w 18"/>
                  <a:gd name="T13" fmla="*/ 0 h 16"/>
                  <a:gd name="T14" fmla="*/ 10 w 18"/>
                  <a:gd name="T15" fmla="*/ 0 h 16"/>
                  <a:gd name="T16" fmla="*/ 8 w 18"/>
                  <a:gd name="T17" fmla="*/ 2 h 16"/>
                  <a:gd name="T18" fmla="*/ 8 w 18"/>
                  <a:gd name="T19" fmla="*/ 2 h 16"/>
                  <a:gd name="T20" fmla="*/ 6 w 18"/>
                  <a:gd name="T21" fmla="*/ 2 h 16"/>
                  <a:gd name="T22" fmla="*/ 4 w 18"/>
                  <a:gd name="T23" fmla="*/ 4 h 16"/>
                  <a:gd name="T24" fmla="*/ 4 w 18"/>
                  <a:gd name="T25" fmla="*/ 4 h 16"/>
                  <a:gd name="T26" fmla="*/ 2 w 18"/>
                  <a:gd name="T27" fmla="*/ 6 h 16"/>
                  <a:gd name="T28" fmla="*/ 2 w 18"/>
                  <a:gd name="T29" fmla="*/ 8 h 16"/>
                  <a:gd name="T30" fmla="*/ 0 w 18"/>
                  <a:gd name="T31" fmla="*/ 10 h 16"/>
                  <a:gd name="T32" fmla="*/ 0 w 18"/>
                  <a:gd name="T33" fmla="*/ 12 h 16"/>
                  <a:gd name="T34" fmla="*/ 0 w 18"/>
                  <a:gd name="T35" fmla="*/ 12 h 16"/>
                  <a:gd name="T36" fmla="*/ 0 w 18"/>
                  <a:gd name="T37" fmla="*/ 12 h 16"/>
                  <a:gd name="T38" fmla="*/ 0 w 18"/>
                  <a:gd name="T39" fmla="*/ 14 h 16"/>
                  <a:gd name="T40" fmla="*/ 0 w 18"/>
                  <a:gd name="T41" fmla="*/ 14 h 16"/>
                  <a:gd name="T42" fmla="*/ 0 w 18"/>
                  <a:gd name="T43" fmla="*/ 14 h 16"/>
                  <a:gd name="T44" fmla="*/ 0 w 18"/>
                  <a:gd name="T45" fmla="*/ 14 h 16"/>
                  <a:gd name="T46" fmla="*/ 2 w 18"/>
                  <a:gd name="T47" fmla="*/ 16 h 16"/>
                  <a:gd name="T48" fmla="*/ 2 w 18"/>
                  <a:gd name="T49" fmla="*/ 16 h 16"/>
                  <a:gd name="T50" fmla="*/ 4 w 18"/>
                  <a:gd name="T51" fmla="*/ 16 h 16"/>
                  <a:gd name="T52" fmla="*/ 4 w 18"/>
                  <a:gd name="T53" fmla="*/ 16 h 16"/>
                  <a:gd name="T54" fmla="*/ 6 w 18"/>
                  <a:gd name="T55" fmla="*/ 14 h 16"/>
                  <a:gd name="T56" fmla="*/ 8 w 18"/>
                  <a:gd name="T57" fmla="*/ 14 h 16"/>
                  <a:gd name="T58" fmla="*/ 10 w 18"/>
                  <a:gd name="T59" fmla="*/ 14 h 16"/>
                  <a:gd name="T60" fmla="*/ 10 w 18"/>
                  <a:gd name="T61" fmla="*/ 12 h 16"/>
                  <a:gd name="T62" fmla="*/ 12 w 18"/>
                  <a:gd name="T63" fmla="*/ 12 h 16"/>
                  <a:gd name="T64" fmla="*/ 14 w 18"/>
                  <a:gd name="T65" fmla="*/ 10 h 16"/>
                  <a:gd name="T66" fmla="*/ 14 w 18"/>
                  <a:gd name="T67" fmla="*/ 10 h 16"/>
                  <a:gd name="T68" fmla="*/ 16 w 18"/>
                  <a:gd name="T69" fmla="*/ 8 h 16"/>
                  <a:gd name="T70" fmla="*/ 16 w 18"/>
                  <a:gd name="T71" fmla="*/ 8 h 16"/>
                  <a:gd name="T72" fmla="*/ 18 w 18"/>
                  <a:gd name="T73" fmla="*/ 6 h 16"/>
                  <a:gd name="T74" fmla="*/ 18 w 18"/>
                  <a:gd name="T75" fmla="*/ 6 h 16"/>
                  <a:gd name="T76" fmla="*/ 18 w 18"/>
                  <a:gd name="T77" fmla="*/ 4 h 16"/>
                  <a:gd name="T78" fmla="*/ 18 w 18"/>
                  <a:gd name="T79" fmla="*/ 2 h 16"/>
                  <a:gd name="T80" fmla="*/ 18 w 18"/>
                  <a:gd name="T81" fmla="*/ 2 h 16"/>
                  <a:gd name="T82" fmla="*/ 18 w 18"/>
                  <a:gd name="T8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" h="16">
                    <a:moveTo>
                      <a:pt x="18" y="2"/>
                    </a:moveTo>
                    <a:lnTo>
                      <a:pt x="18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72" name="Freeform 191">
                <a:extLst>
                  <a:ext uri="{FF2B5EF4-FFF2-40B4-BE49-F238E27FC236}">
                    <a16:creationId xmlns:a16="http://schemas.microsoft.com/office/drawing/2014/main" id="{7DD23D33-F605-4E62-8174-009D7045B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7228" y="4829342"/>
                <a:ext cx="28575" cy="9525"/>
              </a:xfrm>
              <a:custGeom>
                <a:avLst/>
                <a:gdLst>
                  <a:gd name="T0" fmla="*/ 8 w 18"/>
                  <a:gd name="T1" fmla="*/ 6 h 6"/>
                  <a:gd name="T2" fmla="*/ 8 w 18"/>
                  <a:gd name="T3" fmla="*/ 6 h 6"/>
                  <a:gd name="T4" fmla="*/ 6 w 18"/>
                  <a:gd name="T5" fmla="*/ 6 h 6"/>
                  <a:gd name="T6" fmla="*/ 6 w 18"/>
                  <a:gd name="T7" fmla="*/ 6 h 6"/>
                  <a:gd name="T8" fmla="*/ 4 w 18"/>
                  <a:gd name="T9" fmla="*/ 6 h 6"/>
                  <a:gd name="T10" fmla="*/ 2 w 18"/>
                  <a:gd name="T11" fmla="*/ 6 h 6"/>
                  <a:gd name="T12" fmla="*/ 2 w 18"/>
                  <a:gd name="T13" fmla="*/ 4 h 6"/>
                  <a:gd name="T14" fmla="*/ 0 w 18"/>
                  <a:gd name="T15" fmla="*/ 4 h 6"/>
                  <a:gd name="T16" fmla="*/ 0 w 18"/>
                  <a:gd name="T17" fmla="*/ 4 h 6"/>
                  <a:gd name="T18" fmla="*/ 0 w 18"/>
                  <a:gd name="T19" fmla="*/ 4 h 6"/>
                  <a:gd name="T20" fmla="*/ 0 w 18"/>
                  <a:gd name="T21" fmla="*/ 2 h 6"/>
                  <a:gd name="T22" fmla="*/ 0 w 18"/>
                  <a:gd name="T23" fmla="*/ 2 h 6"/>
                  <a:gd name="T24" fmla="*/ 2 w 18"/>
                  <a:gd name="T25" fmla="*/ 2 h 6"/>
                  <a:gd name="T26" fmla="*/ 2 w 18"/>
                  <a:gd name="T27" fmla="*/ 0 h 6"/>
                  <a:gd name="T28" fmla="*/ 4 w 18"/>
                  <a:gd name="T29" fmla="*/ 0 h 6"/>
                  <a:gd name="T30" fmla="*/ 6 w 18"/>
                  <a:gd name="T31" fmla="*/ 0 h 6"/>
                  <a:gd name="T32" fmla="*/ 6 w 18"/>
                  <a:gd name="T33" fmla="*/ 0 h 6"/>
                  <a:gd name="T34" fmla="*/ 8 w 18"/>
                  <a:gd name="T35" fmla="*/ 0 h 6"/>
                  <a:gd name="T36" fmla="*/ 10 w 18"/>
                  <a:gd name="T37" fmla="*/ 0 h 6"/>
                  <a:gd name="T38" fmla="*/ 12 w 18"/>
                  <a:gd name="T39" fmla="*/ 0 h 6"/>
                  <a:gd name="T40" fmla="*/ 14 w 18"/>
                  <a:gd name="T41" fmla="*/ 0 h 6"/>
                  <a:gd name="T42" fmla="*/ 14 w 18"/>
                  <a:gd name="T43" fmla="*/ 0 h 6"/>
                  <a:gd name="T44" fmla="*/ 16 w 18"/>
                  <a:gd name="T45" fmla="*/ 2 h 6"/>
                  <a:gd name="T46" fmla="*/ 16 w 18"/>
                  <a:gd name="T47" fmla="*/ 2 h 6"/>
                  <a:gd name="T48" fmla="*/ 18 w 18"/>
                  <a:gd name="T49" fmla="*/ 2 h 6"/>
                  <a:gd name="T50" fmla="*/ 18 w 18"/>
                  <a:gd name="T51" fmla="*/ 4 h 6"/>
                  <a:gd name="T52" fmla="*/ 18 w 18"/>
                  <a:gd name="T53" fmla="*/ 4 h 6"/>
                  <a:gd name="T54" fmla="*/ 16 w 18"/>
                  <a:gd name="T55" fmla="*/ 4 h 6"/>
                  <a:gd name="T56" fmla="*/ 16 w 18"/>
                  <a:gd name="T57" fmla="*/ 4 h 6"/>
                  <a:gd name="T58" fmla="*/ 14 w 18"/>
                  <a:gd name="T59" fmla="*/ 6 h 6"/>
                  <a:gd name="T60" fmla="*/ 14 w 18"/>
                  <a:gd name="T61" fmla="*/ 6 h 6"/>
                  <a:gd name="T62" fmla="*/ 12 w 18"/>
                  <a:gd name="T63" fmla="*/ 6 h 6"/>
                  <a:gd name="T64" fmla="*/ 10 w 18"/>
                  <a:gd name="T65" fmla="*/ 6 h 6"/>
                  <a:gd name="T66" fmla="*/ 8 w 18"/>
                  <a:gd name="T6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" h="6">
                    <a:moveTo>
                      <a:pt x="8" y="6"/>
                    </a:moveTo>
                    <a:lnTo>
                      <a:pt x="8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73" name="Freeform 193">
                <a:extLst>
                  <a:ext uri="{FF2B5EF4-FFF2-40B4-BE49-F238E27FC236}">
                    <a16:creationId xmlns:a16="http://schemas.microsoft.com/office/drawing/2014/main" id="{C4C5D0EB-3CFC-4CE7-B12F-3138B688E6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5228" y="4645192"/>
                <a:ext cx="273050" cy="298450"/>
              </a:xfrm>
              <a:custGeom>
                <a:avLst/>
                <a:gdLst>
                  <a:gd name="T0" fmla="*/ 62 w 172"/>
                  <a:gd name="T1" fmla="*/ 28 h 188"/>
                  <a:gd name="T2" fmla="*/ 50 w 172"/>
                  <a:gd name="T3" fmla="*/ 24 h 188"/>
                  <a:gd name="T4" fmla="*/ 44 w 172"/>
                  <a:gd name="T5" fmla="*/ 22 h 188"/>
                  <a:gd name="T6" fmla="*/ 42 w 172"/>
                  <a:gd name="T7" fmla="*/ 20 h 188"/>
                  <a:gd name="T8" fmla="*/ 34 w 172"/>
                  <a:gd name="T9" fmla="*/ 10 h 188"/>
                  <a:gd name="T10" fmla="*/ 28 w 172"/>
                  <a:gd name="T11" fmla="*/ 4 h 188"/>
                  <a:gd name="T12" fmla="*/ 26 w 172"/>
                  <a:gd name="T13" fmla="*/ 0 h 188"/>
                  <a:gd name="T14" fmla="*/ 20 w 172"/>
                  <a:gd name="T15" fmla="*/ 0 h 188"/>
                  <a:gd name="T16" fmla="*/ 10 w 172"/>
                  <a:gd name="T17" fmla="*/ 0 h 188"/>
                  <a:gd name="T18" fmla="*/ 4 w 172"/>
                  <a:gd name="T19" fmla="*/ 2 h 188"/>
                  <a:gd name="T20" fmla="*/ 2 w 172"/>
                  <a:gd name="T21" fmla="*/ 4 h 188"/>
                  <a:gd name="T22" fmla="*/ 0 w 172"/>
                  <a:gd name="T23" fmla="*/ 8 h 188"/>
                  <a:gd name="T24" fmla="*/ 0 w 172"/>
                  <a:gd name="T25" fmla="*/ 12 h 188"/>
                  <a:gd name="T26" fmla="*/ 2 w 172"/>
                  <a:gd name="T27" fmla="*/ 14 h 188"/>
                  <a:gd name="T28" fmla="*/ 6 w 172"/>
                  <a:gd name="T29" fmla="*/ 18 h 188"/>
                  <a:gd name="T30" fmla="*/ 20 w 172"/>
                  <a:gd name="T31" fmla="*/ 26 h 188"/>
                  <a:gd name="T32" fmla="*/ 26 w 172"/>
                  <a:gd name="T33" fmla="*/ 30 h 188"/>
                  <a:gd name="T34" fmla="*/ 38 w 172"/>
                  <a:gd name="T35" fmla="*/ 40 h 188"/>
                  <a:gd name="T36" fmla="*/ 58 w 172"/>
                  <a:gd name="T37" fmla="*/ 56 h 188"/>
                  <a:gd name="T38" fmla="*/ 64 w 172"/>
                  <a:gd name="T39" fmla="*/ 62 h 188"/>
                  <a:gd name="T40" fmla="*/ 66 w 172"/>
                  <a:gd name="T41" fmla="*/ 66 h 188"/>
                  <a:gd name="T42" fmla="*/ 68 w 172"/>
                  <a:gd name="T43" fmla="*/ 74 h 188"/>
                  <a:gd name="T44" fmla="*/ 70 w 172"/>
                  <a:gd name="T45" fmla="*/ 86 h 188"/>
                  <a:gd name="T46" fmla="*/ 76 w 172"/>
                  <a:gd name="T47" fmla="*/ 100 h 188"/>
                  <a:gd name="T48" fmla="*/ 84 w 172"/>
                  <a:gd name="T49" fmla="*/ 114 h 188"/>
                  <a:gd name="T50" fmla="*/ 102 w 172"/>
                  <a:gd name="T51" fmla="*/ 136 h 188"/>
                  <a:gd name="T52" fmla="*/ 122 w 172"/>
                  <a:gd name="T53" fmla="*/ 160 h 188"/>
                  <a:gd name="T54" fmla="*/ 136 w 172"/>
                  <a:gd name="T55" fmla="*/ 176 h 188"/>
                  <a:gd name="T56" fmla="*/ 140 w 172"/>
                  <a:gd name="T57" fmla="*/ 184 h 188"/>
                  <a:gd name="T58" fmla="*/ 144 w 172"/>
                  <a:gd name="T59" fmla="*/ 186 h 188"/>
                  <a:gd name="T60" fmla="*/ 148 w 172"/>
                  <a:gd name="T61" fmla="*/ 188 h 188"/>
                  <a:gd name="T62" fmla="*/ 152 w 172"/>
                  <a:gd name="T63" fmla="*/ 186 h 188"/>
                  <a:gd name="T64" fmla="*/ 160 w 172"/>
                  <a:gd name="T65" fmla="*/ 184 h 188"/>
                  <a:gd name="T66" fmla="*/ 164 w 172"/>
                  <a:gd name="T67" fmla="*/ 182 h 188"/>
                  <a:gd name="T68" fmla="*/ 168 w 172"/>
                  <a:gd name="T69" fmla="*/ 178 h 188"/>
                  <a:gd name="T70" fmla="*/ 172 w 172"/>
                  <a:gd name="T71" fmla="*/ 174 h 188"/>
                  <a:gd name="T72" fmla="*/ 172 w 172"/>
                  <a:gd name="T73" fmla="*/ 172 h 188"/>
                  <a:gd name="T74" fmla="*/ 168 w 172"/>
                  <a:gd name="T75" fmla="*/ 164 h 188"/>
                  <a:gd name="T76" fmla="*/ 166 w 172"/>
                  <a:gd name="T77" fmla="*/ 158 h 188"/>
                  <a:gd name="T78" fmla="*/ 168 w 172"/>
                  <a:gd name="T79" fmla="*/ 146 h 188"/>
                  <a:gd name="T80" fmla="*/ 168 w 172"/>
                  <a:gd name="T81" fmla="*/ 140 h 188"/>
                  <a:gd name="T82" fmla="*/ 166 w 172"/>
                  <a:gd name="T83" fmla="*/ 136 h 188"/>
                  <a:gd name="T84" fmla="*/ 162 w 172"/>
                  <a:gd name="T85" fmla="*/ 132 h 188"/>
                  <a:gd name="T86" fmla="*/ 160 w 172"/>
                  <a:gd name="T87" fmla="*/ 128 h 188"/>
                  <a:gd name="T88" fmla="*/ 156 w 172"/>
                  <a:gd name="T89" fmla="*/ 126 h 188"/>
                  <a:gd name="T90" fmla="*/ 148 w 172"/>
                  <a:gd name="T91" fmla="*/ 124 h 188"/>
                  <a:gd name="T92" fmla="*/ 140 w 172"/>
                  <a:gd name="T93" fmla="*/ 122 h 188"/>
                  <a:gd name="T94" fmla="*/ 136 w 172"/>
                  <a:gd name="T95" fmla="*/ 120 h 188"/>
                  <a:gd name="T96" fmla="*/ 136 w 172"/>
                  <a:gd name="T97" fmla="*/ 118 h 188"/>
                  <a:gd name="T98" fmla="*/ 136 w 172"/>
                  <a:gd name="T99" fmla="*/ 112 h 188"/>
                  <a:gd name="T100" fmla="*/ 136 w 172"/>
                  <a:gd name="T101" fmla="*/ 108 h 188"/>
                  <a:gd name="T102" fmla="*/ 130 w 172"/>
                  <a:gd name="T103" fmla="*/ 100 h 188"/>
                  <a:gd name="T104" fmla="*/ 128 w 172"/>
                  <a:gd name="T105" fmla="*/ 96 h 188"/>
                  <a:gd name="T106" fmla="*/ 128 w 172"/>
                  <a:gd name="T107" fmla="*/ 86 h 188"/>
                  <a:gd name="T108" fmla="*/ 128 w 172"/>
                  <a:gd name="T109" fmla="*/ 82 h 188"/>
                  <a:gd name="T110" fmla="*/ 126 w 172"/>
                  <a:gd name="T111" fmla="*/ 78 h 188"/>
                  <a:gd name="T112" fmla="*/ 122 w 172"/>
                  <a:gd name="T113" fmla="*/ 72 h 188"/>
                  <a:gd name="T114" fmla="*/ 112 w 172"/>
                  <a:gd name="T115" fmla="*/ 64 h 188"/>
                  <a:gd name="T116" fmla="*/ 102 w 172"/>
                  <a:gd name="T117" fmla="*/ 60 h 188"/>
                  <a:gd name="T118" fmla="*/ 92 w 172"/>
                  <a:gd name="T119" fmla="*/ 54 h 188"/>
                  <a:gd name="T120" fmla="*/ 78 w 172"/>
                  <a:gd name="T121" fmla="*/ 42 h 188"/>
                  <a:gd name="T122" fmla="*/ 68 w 172"/>
                  <a:gd name="T123" fmla="*/ 32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2" h="188">
                    <a:moveTo>
                      <a:pt x="64" y="30"/>
                    </a:moveTo>
                    <a:lnTo>
                      <a:pt x="64" y="30"/>
                    </a:lnTo>
                    <a:lnTo>
                      <a:pt x="62" y="28"/>
                    </a:lnTo>
                    <a:lnTo>
                      <a:pt x="60" y="28"/>
                    </a:lnTo>
                    <a:lnTo>
                      <a:pt x="54" y="26"/>
                    </a:lnTo>
                    <a:lnTo>
                      <a:pt x="50" y="24"/>
                    </a:lnTo>
                    <a:lnTo>
                      <a:pt x="48" y="24"/>
                    </a:lnTo>
                    <a:lnTo>
                      <a:pt x="46" y="22"/>
                    </a:lnTo>
                    <a:lnTo>
                      <a:pt x="44" y="22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6" y="14"/>
                    </a:lnTo>
                    <a:lnTo>
                      <a:pt x="34" y="10"/>
                    </a:lnTo>
                    <a:lnTo>
                      <a:pt x="32" y="8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20"/>
                    </a:lnTo>
                    <a:lnTo>
                      <a:pt x="12" y="22"/>
                    </a:lnTo>
                    <a:lnTo>
                      <a:pt x="20" y="26"/>
                    </a:lnTo>
                    <a:lnTo>
                      <a:pt x="24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2"/>
                    </a:lnTo>
                    <a:lnTo>
                      <a:pt x="32" y="34"/>
                    </a:lnTo>
                    <a:lnTo>
                      <a:pt x="38" y="40"/>
                    </a:lnTo>
                    <a:lnTo>
                      <a:pt x="50" y="50"/>
                    </a:lnTo>
                    <a:lnTo>
                      <a:pt x="54" y="52"/>
                    </a:lnTo>
                    <a:lnTo>
                      <a:pt x="58" y="56"/>
                    </a:lnTo>
                    <a:lnTo>
                      <a:pt x="60" y="58"/>
                    </a:lnTo>
                    <a:lnTo>
                      <a:pt x="62" y="60"/>
                    </a:lnTo>
                    <a:lnTo>
                      <a:pt x="64" y="62"/>
                    </a:lnTo>
                    <a:lnTo>
                      <a:pt x="64" y="64"/>
                    </a:lnTo>
                    <a:lnTo>
                      <a:pt x="66" y="64"/>
                    </a:lnTo>
                    <a:lnTo>
                      <a:pt x="66" y="66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68" y="74"/>
                    </a:lnTo>
                    <a:lnTo>
                      <a:pt x="68" y="80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2" y="90"/>
                    </a:lnTo>
                    <a:lnTo>
                      <a:pt x="74" y="94"/>
                    </a:lnTo>
                    <a:lnTo>
                      <a:pt x="76" y="100"/>
                    </a:lnTo>
                    <a:lnTo>
                      <a:pt x="78" y="104"/>
                    </a:lnTo>
                    <a:lnTo>
                      <a:pt x="82" y="108"/>
                    </a:lnTo>
                    <a:lnTo>
                      <a:pt x="84" y="114"/>
                    </a:lnTo>
                    <a:lnTo>
                      <a:pt x="88" y="118"/>
                    </a:lnTo>
                    <a:lnTo>
                      <a:pt x="94" y="124"/>
                    </a:lnTo>
                    <a:lnTo>
                      <a:pt x="102" y="136"/>
                    </a:lnTo>
                    <a:lnTo>
                      <a:pt x="108" y="144"/>
                    </a:lnTo>
                    <a:lnTo>
                      <a:pt x="114" y="152"/>
                    </a:lnTo>
                    <a:lnTo>
                      <a:pt x="122" y="160"/>
                    </a:lnTo>
                    <a:lnTo>
                      <a:pt x="130" y="168"/>
                    </a:lnTo>
                    <a:lnTo>
                      <a:pt x="136" y="176"/>
                    </a:lnTo>
                    <a:lnTo>
                      <a:pt x="136" y="176"/>
                    </a:lnTo>
                    <a:lnTo>
                      <a:pt x="138" y="178"/>
                    </a:lnTo>
                    <a:lnTo>
                      <a:pt x="140" y="182"/>
                    </a:lnTo>
                    <a:lnTo>
                      <a:pt x="140" y="184"/>
                    </a:lnTo>
                    <a:lnTo>
                      <a:pt x="142" y="186"/>
                    </a:lnTo>
                    <a:lnTo>
                      <a:pt x="142" y="186"/>
                    </a:lnTo>
                    <a:lnTo>
                      <a:pt x="144" y="186"/>
                    </a:lnTo>
                    <a:lnTo>
                      <a:pt x="144" y="186"/>
                    </a:lnTo>
                    <a:lnTo>
                      <a:pt x="146" y="188"/>
                    </a:lnTo>
                    <a:lnTo>
                      <a:pt x="148" y="188"/>
                    </a:lnTo>
                    <a:lnTo>
                      <a:pt x="150" y="188"/>
                    </a:lnTo>
                    <a:lnTo>
                      <a:pt x="150" y="186"/>
                    </a:lnTo>
                    <a:lnTo>
                      <a:pt x="152" y="186"/>
                    </a:lnTo>
                    <a:lnTo>
                      <a:pt x="154" y="186"/>
                    </a:lnTo>
                    <a:lnTo>
                      <a:pt x="156" y="186"/>
                    </a:lnTo>
                    <a:lnTo>
                      <a:pt x="160" y="184"/>
                    </a:lnTo>
                    <a:lnTo>
                      <a:pt x="160" y="184"/>
                    </a:lnTo>
                    <a:lnTo>
                      <a:pt x="162" y="182"/>
                    </a:lnTo>
                    <a:lnTo>
                      <a:pt x="164" y="182"/>
                    </a:lnTo>
                    <a:lnTo>
                      <a:pt x="166" y="180"/>
                    </a:lnTo>
                    <a:lnTo>
                      <a:pt x="168" y="180"/>
                    </a:lnTo>
                    <a:lnTo>
                      <a:pt x="168" y="178"/>
                    </a:lnTo>
                    <a:lnTo>
                      <a:pt x="170" y="176"/>
                    </a:lnTo>
                    <a:lnTo>
                      <a:pt x="170" y="176"/>
                    </a:lnTo>
                    <a:lnTo>
                      <a:pt x="172" y="174"/>
                    </a:lnTo>
                    <a:lnTo>
                      <a:pt x="172" y="174"/>
                    </a:lnTo>
                    <a:lnTo>
                      <a:pt x="172" y="174"/>
                    </a:lnTo>
                    <a:lnTo>
                      <a:pt x="172" y="172"/>
                    </a:lnTo>
                    <a:lnTo>
                      <a:pt x="170" y="170"/>
                    </a:lnTo>
                    <a:lnTo>
                      <a:pt x="170" y="168"/>
                    </a:lnTo>
                    <a:lnTo>
                      <a:pt x="168" y="164"/>
                    </a:lnTo>
                    <a:lnTo>
                      <a:pt x="168" y="160"/>
                    </a:lnTo>
                    <a:lnTo>
                      <a:pt x="166" y="160"/>
                    </a:lnTo>
                    <a:lnTo>
                      <a:pt x="166" y="158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46"/>
                    </a:lnTo>
                    <a:lnTo>
                      <a:pt x="168" y="144"/>
                    </a:lnTo>
                    <a:lnTo>
                      <a:pt x="168" y="142"/>
                    </a:lnTo>
                    <a:lnTo>
                      <a:pt x="168" y="140"/>
                    </a:lnTo>
                    <a:lnTo>
                      <a:pt x="166" y="140"/>
                    </a:lnTo>
                    <a:lnTo>
                      <a:pt x="166" y="138"/>
                    </a:lnTo>
                    <a:lnTo>
                      <a:pt x="166" y="136"/>
                    </a:lnTo>
                    <a:lnTo>
                      <a:pt x="164" y="134"/>
                    </a:lnTo>
                    <a:lnTo>
                      <a:pt x="164" y="134"/>
                    </a:lnTo>
                    <a:lnTo>
                      <a:pt x="162" y="132"/>
                    </a:lnTo>
                    <a:lnTo>
                      <a:pt x="162" y="130"/>
                    </a:lnTo>
                    <a:lnTo>
                      <a:pt x="160" y="128"/>
                    </a:lnTo>
                    <a:lnTo>
                      <a:pt x="160" y="128"/>
                    </a:lnTo>
                    <a:lnTo>
                      <a:pt x="158" y="128"/>
                    </a:lnTo>
                    <a:lnTo>
                      <a:pt x="158" y="126"/>
                    </a:lnTo>
                    <a:lnTo>
                      <a:pt x="156" y="126"/>
                    </a:lnTo>
                    <a:lnTo>
                      <a:pt x="154" y="126"/>
                    </a:lnTo>
                    <a:lnTo>
                      <a:pt x="152" y="126"/>
                    </a:lnTo>
                    <a:lnTo>
                      <a:pt x="148" y="124"/>
                    </a:lnTo>
                    <a:lnTo>
                      <a:pt x="144" y="124"/>
                    </a:lnTo>
                    <a:lnTo>
                      <a:pt x="140" y="124"/>
                    </a:lnTo>
                    <a:lnTo>
                      <a:pt x="140" y="122"/>
                    </a:lnTo>
                    <a:lnTo>
                      <a:pt x="138" y="122"/>
                    </a:lnTo>
                    <a:lnTo>
                      <a:pt x="138" y="122"/>
                    </a:lnTo>
                    <a:lnTo>
                      <a:pt x="136" y="120"/>
                    </a:lnTo>
                    <a:lnTo>
                      <a:pt x="136" y="120"/>
                    </a:lnTo>
                    <a:lnTo>
                      <a:pt x="136" y="120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2"/>
                    </a:lnTo>
                    <a:lnTo>
                      <a:pt x="136" y="112"/>
                    </a:lnTo>
                    <a:lnTo>
                      <a:pt x="136" y="110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4" y="104"/>
                    </a:lnTo>
                    <a:lnTo>
                      <a:pt x="130" y="100"/>
                    </a:lnTo>
                    <a:lnTo>
                      <a:pt x="130" y="98"/>
                    </a:lnTo>
                    <a:lnTo>
                      <a:pt x="128" y="98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88"/>
                    </a:lnTo>
                    <a:lnTo>
                      <a:pt x="128" y="86"/>
                    </a:lnTo>
                    <a:lnTo>
                      <a:pt x="128" y="84"/>
                    </a:lnTo>
                    <a:lnTo>
                      <a:pt x="128" y="82"/>
                    </a:lnTo>
                    <a:lnTo>
                      <a:pt x="128" y="82"/>
                    </a:lnTo>
                    <a:lnTo>
                      <a:pt x="128" y="80"/>
                    </a:lnTo>
                    <a:lnTo>
                      <a:pt x="128" y="80"/>
                    </a:lnTo>
                    <a:lnTo>
                      <a:pt x="126" y="78"/>
                    </a:lnTo>
                    <a:lnTo>
                      <a:pt x="126" y="76"/>
                    </a:lnTo>
                    <a:lnTo>
                      <a:pt x="124" y="74"/>
                    </a:lnTo>
                    <a:lnTo>
                      <a:pt x="122" y="72"/>
                    </a:lnTo>
                    <a:lnTo>
                      <a:pt x="118" y="70"/>
                    </a:lnTo>
                    <a:lnTo>
                      <a:pt x="116" y="68"/>
                    </a:lnTo>
                    <a:lnTo>
                      <a:pt x="112" y="64"/>
                    </a:lnTo>
                    <a:lnTo>
                      <a:pt x="110" y="64"/>
                    </a:lnTo>
                    <a:lnTo>
                      <a:pt x="108" y="62"/>
                    </a:lnTo>
                    <a:lnTo>
                      <a:pt x="102" y="60"/>
                    </a:lnTo>
                    <a:lnTo>
                      <a:pt x="96" y="56"/>
                    </a:lnTo>
                    <a:lnTo>
                      <a:pt x="94" y="54"/>
                    </a:lnTo>
                    <a:lnTo>
                      <a:pt x="92" y="54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78" y="42"/>
                    </a:lnTo>
                    <a:lnTo>
                      <a:pt x="74" y="38"/>
                    </a:lnTo>
                    <a:lnTo>
                      <a:pt x="72" y="34"/>
                    </a:lnTo>
                    <a:lnTo>
                      <a:pt x="68" y="32"/>
                    </a:lnTo>
                    <a:lnTo>
                      <a:pt x="66" y="30"/>
                    </a:lnTo>
                    <a:lnTo>
                      <a:pt x="64" y="30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74" name="Freeform 198">
                <a:extLst>
                  <a:ext uri="{FF2B5EF4-FFF2-40B4-BE49-F238E27FC236}">
                    <a16:creationId xmlns:a16="http://schemas.microsoft.com/office/drawing/2014/main" id="{BE2D64E3-2C26-4C1F-9B57-93D50CC00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9228" y="4819817"/>
                <a:ext cx="38100" cy="41275"/>
              </a:xfrm>
              <a:custGeom>
                <a:avLst/>
                <a:gdLst>
                  <a:gd name="T0" fmla="*/ 0 w 24"/>
                  <a:gd name="T1" fmla="*/ 0 h 26"/>
                  <a:gd name="T2" fmla="*/ 0 w 24"/>
                  <a:gd name="T3" fmla="*/ 0 h 26"/>
                  <a:gd name="T4" fmla="*/ 0 w 24"/>
                  <a:gd name="T5" fmla="*/ 0 h 26"/>
                  <a:gd name="T6" fmla="*/ 0 w 24"/>
                  <a:gd name="T7" fmla="*/ 2 h 26"/>
                  <a:gd name="T8" fmla="*/ 2 w 24"/>
                  <a:gd name="T9" fmla="*/ 2 h 26"/>
                  <a:gd name="T10" fmla="*/ 2 w 24"/>
                  <a:gd name="T11" fmla="*/ 2 h 26"/>
                  <a:gd name="T12" fmla="*/ 4 w 24"/>
                  <a:gd name="T13" fmla="*/ 2 h 26"/>
                  <a:gd name="T14" fmla="*/ 6 w 24"/>
                  <a:gd name="T15" fmla="*/ 2 h 26"/>
                  <a:gd name="T16" fmla="*/ 8 w 24"/>
                  <a:gd name="T17" fmla="*/ 2 h 26"/>
                  <a:gd name="T18" fmla="*/ 10 w 24"/>
                  <a:gd name="T19" fmla="*/ 2 h 26"/>
                  <a:gd name="T20" fmla="*/ 12 w 24"/>
                  <a:gd name="T21" fmla="*/ 2 h 26"/>
                  <a:gd name="T22" fmla="*/ 12 w 24"/>
                  <a:gd name="T23" fmla="*/ 2 h 26"/>
                  <a:gd name="T24" fmla="*/ 12 w 24"/>
                  <a:gd name="T25" fmla="*/ 2 h 26"/>
                  <a:gd name="T26" fmla="*/ 14 w 24"/>
                  <a:gd name="T27" fmla="*/ 4 h 26"/>
                  <a:gd name="T28" fmla="*/ 16 w 24"/>
                  <a:gd name="T29" fmla="*/ 6 h 26"/>
                  <a:gd name="T30" fmla="*/ 18 w 24"/>
                  <a:gd name="T31" fmla="*/ 8 h 26"/>
                  <a:gd name="T32" fmla="*/ 20 w 24"/>
                  <a:gd name="T33" fmla="*/ 10 h 26"/>
                  <a:gd name="T34" fmla="*/ 20 w 24"/>
                  <a:gd name="T35" fmla="*/ 12 h 26"/>
                  <a:gd name="T36" fmla="*/ 22 w 24"/>
                  <a:gd name="T37" fmla="*/ 14 h 26"/>
                  <a:gd name="T38" fmla="*/ 22 w 24"/>
                  <a:gd name="T39" fmla="*/ 16 h 26"/>
                  <a:gd name="T40" fmla="*/ 24 w 24"/>
                  <a:gd name="T41" fmla="*/ 18 h 26"/>
                  <a:gd name="T42" fmla="*/ 24 w 24"/>
                  <a:gd name="T43" fmla="*/ 20 h 26"/>
                  <a:gd name="T44" fmla="*/ 24 w 24"/>
                  <a:gd name="T45" fmla="*/ 22 h 26"/>
                  <a:gd name="T46" fmla="*/ 24 w 24"/>
                  <a:gd name="T47" fmla="*/ 22 h 26"/>
                  <a:gd name="T48" fmla="*/ 24 w 24"/>
                  <a:gd name="T49" fmla="*/ 22 h 26"/>
                  <a:gd name="T50" fmla="*/ 24 w 24"/>
                  <a:gd name="T51" fmla="*/ 24 h 26"/>
                  <a:gd name="T52" fmla="*/ 24 w 24"/>
                  <a:gd name="T53" fmla="*/ 24 h 26"/>
                  <a:gd name="T54" fmla="*/ 24 w 24"/>
                  <a:gd name="T55" fmla="*/ 24 h 26"/>
                  <a:gd name="T56" fmla="*/ 24 w 24"/>
                  <a:gd name="T57" fmla="*/ 24 h 26"/>
                  <a:gd name="T58" fmla="*/ 22 w 24"/>
                  <a:gd name="T59" fmla="*/ 26 h 26"/>
                  <a:gd name="T60" fmla="*/ 22 w 24"/>
                  <a:gd name="T61" fmla="*/ 26 h 26"/>
                  <a:gd name="T62" fmla="*/ 20 w 24"/>
                  <a:gd name="T63" fmla="*/ 26 h 26"/>
                  <a:gd name="T64" fmla="*/ 18 w 24"/>
                  <a:gd name="T65" fmla="*/ 26 h 26"/>
                  <a:gd name="T66" fmla="*/ 16 w 24"/>
                  <a:gd name="T67" fmla="*/ 26 h 26"/>
                  <a:gd name="T68" fmla="*/ 16 w 24"/>
                  <a:gd name="T69" fmla="*/ 26 h 26"/>
                  <a:gd name="T70" fmla="*/ 14 w 24"/>
                  <a:gd name="T71" fmla="*/ 26 h 26"/>
                  <a:gd name="T72" fmla="*/ 14 w 24"/>
                  <a:gd name="T73" fmla="*/ 26 h 26"/>
                  <a:gd name="T74" fmla="*/ 12 w 24"/>
                  <a:gd name="T75" fmla="*/ 24 h 26"/>
                  <a:gd name="T76" fmla="*/ 10 w 24"/>
                  <a:gd name="T77" fmla="*/ 24 h 26"/>
                  <a:gd name="T78" fmla="*/ 8 w 24"/>
                  <a:gd name="T79" fmla="*/ 22 h 26"/>
                  <a:gd name="T80" fmla="*/ 6 w 24"/>
                  <a:gd name="T81" fmla="*/ 20 h 26"/>
                  <a:gd name="T82" fmla="*/ 4 w 24"/>
                  <a:gd name="T83" fmla="*/ 16 h 26"/>
                  <a:gd name="T84" fmla="*/ 2 w 24"/>
                  <a:gd name="T85" fmla="*/ 14 h 26"/>
                  <a:gd name="T86" fmla="*/ 0 w 24"/>
                  <a:gd name="T87" fmla="*/ 12 h 26"/>
                  <a:gd name="T88" fmla="*/ 0 w 24"/>
                  <a:gd name="T89" fmla="*/ 10 h 26"/>
                  <a:gd name="T90" fmla="*/ 0 w 24"/>
                  <a:gd name="T91" fmla="*/ 10 h 26"/>
                  <a:gd name="T92" fmla="*/ 0 w 24"/>
                  <a:gd name="T93" fmla="*/ 10 h 26"/>
                  <a:gd name="T94" fmla="*/ 0 w 24"/>
                  <a:gd name="T95" fmla="*/ 8 h 26"/>
                  <a:gd name="T96" fmla="*/ 0 w 24"/>
                  <a:gd name="T97" fmla="*/ 6 h 26"/>
                  <a:gd name="T98" fmla="*/ 0 w 24"/>
                  <a:gd name="T99" fmla="*/ 2 h 26"/>
                  <a:gd name="T100" fmla="*/ 0 w 24"/>
                  <a:gd name="T101" fmla="*/ 2 h 26"/>
                  <a:gd name="T102" fmla="*/ 0 w 24"/>
                  <a:gd name="T10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4" h="2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4" y="4"/>
                    </a:lnTo>
                    <a:lnTo>
                      <a:pt x="16" y="6"/>
                    </a:lnTo>
                    <a:lnTo>
                      <a:pt x="18" y="8"/>
                    </a:lnTo>
                    <a:lnTo>
                      <a:pt x="20" y="10"/>
                    </a:lnTo>
                    <a:lnTo>
                      <a:pt x="20" y="12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4" y="18"/>
                    </a:lnTo>
                    <a:lnTo>
                      <a:pt x="24" y="20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18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8" y="22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75" name="Freeform 200">
                <a:extLst>
                  <a:ext uri="{FF2B5EF4-FFF2-40B4-BE49-F238E27FC236}">
                    <a16:creationId xmlns:a16="http://schemas.microsoft.com/office/drawing/2014/main" id="{7A610336-5E7D-4D6F-B367-4D366AC49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2403" y="4937292"/>
                <a:ext cx="215901" cy="76200"/>
              </a:xfrm>
              <a:custGeom>
                <a:avLst/>
                <a:gdLst>
                  <a:gd name="T0" fmla="*/ 16 w 136"/>
                  <a:gd name="T1" fmla="*/ 2 h 48"/>
                  <a:gd name="T2" fmla="*/ 8 w 136"/>
                  <a:gd name="T3" fmla="*/ 6 h 48"/>
                  <a:gd name="T4" fmla="*/ 4 w 136"/>
                  <a:gd name="T5" fmla="*/ 10 h 48"/>
                  <a:gd name="T6" fmla="*/ 0 w 136"/>
                  <a:gd name="T7" fmla="*/ 14 h 48"/>
                  <a:gd name="T8" fmla="*/ 0 w 136"/>
                  <a:gd name="T9" fmla="*/ 16 h 48"/>
                  <a:gd name="T10" fmla="*/ 0 w 136"/>
                  <a:gd name="T11" fmla="*/ 20 h 48"/>
                  <a:gd name="T12" fmla="*/ 4 w 136"/>
                  <a:gd name="T13" fmla="*/ 26 h 48"/>
                  <a:gd name="T14" fmla="*/ 8 w 136"/>
                  <a:gd name="T15" fmla="*/ 30 h 48"/>
                  <a:gd name="T16" fmla="*/ 12 w 136"/>
                  <a:gd name="T17" fmla="*/ 32 h 48"/>
                  <a:gd name="T18" fmla="*/ 22 w 136"/>
                  <a:gd name="T19" fmla="*/ 30 h 48"/>
                  <a:gd name="T20" fmla="*/ 32 w 136"/>
                  <a:gd name="T21" fmla="*/ 30 h 48"/>
                  <a:gd name="T22" fmla="*/ 36 w 136"/>
                  <a:gd name="T23" fmla="*/ 30 h 48"/>
                  <a:gd name="T24" fmla="*/ 42 w 136"/>
                  <a:gd name="T25" fmla="*/ 34 h 48"/>
                  <a:gd name="T26" fmla="*/ 46 w 136"/>
                  <a:gd name="T27" fmla="*/ 36 h 48"/>
                  <a:gd name="T28" fmla="*/ 54 w 136"/>
                  <a:gd name="T29" fmla="*/ 36 h 48"/>
                  <a:gd name="T30" fmla="*/ 62 w 136"/>
                  <a:gd name="T31" fmla="*/ 34 h 48"/>
                  <a:gd name="T32" fmla="*/ 66 w 136"/>
                  <a:gd name="T33" fmla="*/ 34 h 48"/>
                  <a:gd name="T34" fmla="*/ 68 w 136"/>
                  <a:gd name="T35" fmla="*/ 36 h 48"/>
                  <a:gd name="T36" fmla="*/ 70 w 136"/>
                  <a:gd name="T37" fmla="*/ 40 h 48"/>
                  <a:gd name="T38" fmla="*/ 70 w 136"/>
                  <a:gd name="T39" fmla="*/ 44 h 48"/>
                  <a:gd name="T40" fmla="*/ 70 w 136"/>
                  <a:gd name="T41" fmla="*/ 46 h 48"/>
                  <a:gd name="T42" fmla="*/ 72 w 136"/>
                  <a:gd name="T43" fmla="*/ 48 h 48"/>
                  <a:gd name="T44" fmla="*/ 78 w 136"/>
                  <a:gd name="T45" fmla="*/ 48 h 48"/>
                  <a:gd name="T46" fmla="*/ 88 w 136"/>
                  <a:gd name="T47" fmla="*/ 48 h 48"/>
                  <a:gd name="T48" fmla="*/ 102 w 136"/>
                  <a:gd name="T49" fmla="*/ 46 h 48"/>
                  <a:gd name="T50" fmla="*/ 112 w 136"/>
                  <a:gd name="T51" fmla="*/ 46 h 48"/>
                  <a:gd name="T52" fmla="*/ 130 w 136"/>
                  <a:gd name="T53" fmla="*/ 46 h 48"/>
                  <a:gd name="T54" fmla="*/ 134 w 136"/>
                  <a:gd name="T55" fmla="*/ 46 h 48"/>
                  <a:gd name="T56" fmla="*/ 134 w 136"/>
                  <a:gd name="T57" fmla="*/ 46 h 48"/>
                  <a:gd name="T58" fmla="*/ 136 w 136"/>
                  <a:gd name="T59" fmla="*/ 42 h 48"/>
                  <a:gd name="T60" fmla="*/ 136 w 136"/>
                  <a:gd name="T61" fmla="*/ 36 h 48"/>
                  <a:gd name="T62" fmla="*/ 134 w 136"/>
                  <a:gd name="T63" fmla="*/ 34 h 48"/>
                  <a:gd name="T64" fmla="*/ 132 w 136"/>
                  <a:gd name="T65" fmla="*/ 32 h 48"/>
                  <a:gd name="T66" fmla="*/ 126 w 136"/>
                  <a:gd name="T67" fmla="*/ 30 h 48"/>
                  <a:gd name="T68" fmla="*/ 122 w 136"/>
                  <a:gd name="T69" fmla="*/ 28 h 48"/>
                  <a:gd name="T70" fmla="*/ 122 w 136"/>
                  <a:gd name="T71" fmla="*/ 28 h 48"/>
                  <a:gd name="T72" fmla="*/ 122 w 136"/>
                  <a:gd name="T73" fmla="*/ 24 h 48"/>
                  <a:gd name="T74" fmla="*/ 124 w 136"/>
                  <a:gd name="T75" fmla="*/ 18 h 48"/>
                  <a:gd name="T76" fmla="*/ 124 w 136"/>
                  <a:gd name="T77" fmla="*/ 16 h 48"/>
                  <a:gd name="T78" fmla="*/ 122 w 136"/>
                  <a:gd name="T79" fmla="*/ 16 h 48"/>
                  <a:gd name="T80" fmla="*/ 120 w 136"/>
                  <a:gd name="T81" fmla="*/ 16 h 48"/>
                  <a:gd name="T82" fmla="*/ 112 w 136"/>
                  <a:gd name="T83" fmla="*/ 18 h 48"/>
                  <a:gd name="T84" fmla="*/ 104 w 136"/>
                  <a:gd name="T85" fmla="*/ 18 h 48"/>
                  <a:gd name="T86" fmla="*/ 96 w 136"/>
                  <a:gd name="T87" fmla="*/ 16 h 48"/>
                  <a:gd name="T88" fmla="*/ 88 w 136"/>
                  <a:gd name="T89" fmla="*/ 12 h 48"/>
                  <a:gd name="T90" fmla="*/ 82 w 136"/>
                  <a:gd name="T91" fmla="*/ 8 h 48"/>
                  <a:gd name="T92" fmla="*/ 74 w 136"/>
                  <a:gd name="T93" fmla="*/ 8 h 48"/>
                  <a:gd name="T94" fmla="*/ 64 w 136"/>
                  <a:gd name="T95" fmla="*/ 8 h 48"/>
                  <a:gd name="T96" fmla="*/ 56 w 136"/>
                  <a:gd name="T97" fmla="*/ 6 h 48"/>
                  <a:gd name="T98" fmla="*/ 44 w 136"/>
                  <a:gd name="T99" fmla="*/ 0 h 48"/>
                  <a:gd name="T100" fmla="*/ 38 w 136"/>
                  <a:gd name="T101" fmla="*/ 0 h 48"/>
                  <a:gd name="T102" fmla="*/ 30 w 136"/>
                  <a:gd name="T103" fmla="*/ 0 h 48"/>
                  <a:gd name="T104" fmla="*/ 20 w 136"/>
                  <a:gd name="T10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6" h="48">
                    <a:moveTo>
                      <a:pt x="20" y="0"/>
                    </a:moveTo>
                    <a:lnTo>
                      <a:pt x="20" y="0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0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2"/>
                    </a:lnTo>
                    <a:lnTo>
                      <a:pt x="12" y="32"/>
                    </a:lnTo>
                    <a:lnTo>
                      <a:pt x="14" y="32"/>
                    </a:lnTo>
                    <a:lnTo>
                      <a:pt x="18" y="32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6" y="30"/>
                    </a:lnTo>
                    <a:lnTo>
                      <a:pt x="38" y="32"/>
                    </a:lnTo>
                    <a:lnTo>
                      <a:pt x="40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4" y="36"/>
                    </a:lnTo>
                    <a:lnTo>
                      <a:pt x="58" y="34"/>
                    </a:lnTo>
                    <a:lnTo>
                      <a:pt x="60" y="34"/>
                    </a:lnTo>
                    <a:lnTo>
                      <a:pt x="62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70" y="36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2" y="46"/>
                    </a:lnTo>
                    <a:lnTo>
                      <a:pt x="72" y="48"/>
                    </a:lnTo>
                    <a:lnTo>
                      <a:pt x="74" y="48"/>
                    </a:lnTo>
                    <a:lnTo>
                      <a:pt x="76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4" y="48"/>
                    </a:lnTo>
                    <a:lnTo>
                      <a:pt x="88" y="48"/>
                    </a:lnTo>
                    <a:lnTo>
                      <a:pt x="90" y="48"/>
                    </a:lnTo>
                    <a:lnTo>
                      <a:pt x="96" y="48"/>
                    </a:lnTo>
                    <a:lnTo>
                      <a:pt x="102" y="46"/>
                    </a:lnTo>
                    <a:lnTo>
                      <a:pt x="108" y="46"/>
                    </a:lnTo>
                    <a:lnTo>
                      <a:pt x="110" y="46"/>
                    </a:lnTo>
                    <a:lnTo>
                      <a:pt x="112" y="46"/>
                    </a:lnTo>
                    <a:lnTo>
                      <a:pt x="124" y="46"/>
                    </a:lnTo>
                    <a:lnTo>
                      <a:pt x="126" y="46"/>
                    </a:lnTo>
                    <a:lnTo>
                      <a:pt x="130" y="46"/>
                    </a:lnTo>
                    <a:lnTo>
                      <a:pt x="130" y="46"/>
                    </a:lnTo>
                    <a:lnTo>
                      <a:pt x="132" y="46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34" y="44"/>
                    </a:lnTo>
                    <a:lnTo>
                      <a:pt x="136" y="44"/>
                    </a:lnTo>
                    <a:lnTo>
                      <a:pt x="136" y="42"/>
                    </a:lnTo>
                    <a:lnTo>
                      <a:pt x="136" y="40"/>
                    </a:lnTo>
                    <a:lnTo>
                      <a:pt x="136" y="38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4" y="34"/>
                    </a:lnTo>
                    <a:lnTo>
                      <a:pt x="134" y="34"/>
                    </a:lnTo>
                    <a:lnTo>
                      <a:pt x="134" y="34"/>
                    </a:lnTo>
                    <a:lnTo>
                      <a:pt x="134" y="32"/>
                    </a:lnTo>
                    <a:lnTo>
                      <a:pt x="132" y="32"/>
                    </a:lnTo>
                    <a:lnTo>
                      <a:pt x="130" y="32"/>
                    </a:lnTo>
                    <a:lnTo>
                      <a:pt x="128" y="30"/>
                    </a:lnTo>
                    <a:lnTo>
                      <a:pt x="126" y="30"/>
                    </a:lnTo>
                    <a:lnTo>
                      <a:pt x="124" y="30"/>
                    </a:lnTo>
                    <a:lnTo>
                      <a:pt x="124" y="30"/>
                    </a:lnTo>
                    <a:lnTo>
                      <a:pt x="122" y="28"/>
                    </a:lnTo>
                    <a:lnTo>
                      <a:pt x="122" y="28"/>
                    </a:lnTo>
                    <a:lnTo>
                      <a:pt x="122" y="28"/>
                    </a:lnTo>
                    <a:lnTo>
                      <a:pt x="122" y="28"/>
                    </a:lnTo>
                    <a:lnTo>
                      <a:pt x="122" y="26"/>
                    </a:lnTo>
                    <a:lnTo>
                      <a:pt x="122" y="26"/>
                    </a:lnTo>
                    <a:lnTo>
                      <a:pt x="122" y="24"/>
                    </a:lnTo>
                    <a:lnTo>
                      <a:pt x="122" y="22"/>
                    </a:lnTo>
                    <a:lnTo>
                      <a:pt x="124" y="20"/>
                    </a:lnTo>
                    <a:lnTo>
                      <a:pt x="124" y="18"/>
                    </a:lnTo>
                    <a:lnTo>
                      <a:pt x="124" y="18"/>
                    </a:lnTo>
                    <a:lnTo>
                      <a:pt x="124" y="18"/>
                    </a:lnTo>
                    <a:lnTo>
                      <a:pt x="124" y="16"/>
                    </a:lnTo>
                    <a:lnTo>
                      <a:pt x="124" y="16"/>
                    </a:lnTo>
                    <a:lnTo>
                      <a:pt x="124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0" y="16"/>
                    </a:lnTo>
                    <a:lnTo>
                      <a:pt x="118" y="16"/>
                    </a:lnTo>
                    <a:lnTo>
                      <a:pt x="114" y="18"/>
                    </a:lnTo>
                    <a:lnTo>
                      <a:pt x="112" y="18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4" y="18"/>
                    </a:lnTo>
                    <a:lnTo>
                      <a:pt x="98" y="18"/>
                    </a:lnTo>
                    <a:lnTo>
                      <a:pt x="96" y="16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2" y="14"/>
                    </a:lnTo>
                    <a:lnTo>
                      <a:pt x="88" y="12"/>
                    </a:lnTo>
                    <a:lnTo>
                      <a:pt x="86" y="10"/>
                    </a:lnTo>
                    <a:lnTo>
                      <a:pt x="84" y="10"/>
                    </a:lnTo>
                    <a:lnTo>
                      <a:pt x="82" y="8"/>
                    </a:lnTo>
                    <a:lnTo>
                      <a:pt x="80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2" y="8"/>
                    </a:lnTo>
                    <a:lnTo>
                      <a:pt x="66" y="8"/>
                    </a:lnTo>
                    <a:lnTo>
                      <a:pt x="64" y="8"/>
                    </a:lnTo>
                    <a:lnTo>
                      <a:pt x="62" y="8"/>
                    </a:lnTo>
                    <a:lnTo>
                      <a:pt x="58" y="6"/>
                    </a:lnTo>
                    <a:lnTo>
                      <a:pt x="56" y="6"/>
                    </a:lnTo>
                    <a:lnTo>
                      <a:pt x="50" y="4"/>
                    </a:lnTo>
                    <a:lnTo>
                      <a:pt x="48" y="2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76" name="Freeform 202">
                <a:extLst>
                  <a:ext uri="{FF2B5EF4-FFF2-40B4-BE49-F238E27FC236}">
                    <a16:creationId xmlns:a16="http://schemas.microsoft.com/office/drawing/2014/main" id="{0878FBD1-67CD-4160-A430-F2F0DCDD4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1003" y="5003967"/>
                <a:ext cx="19050" cy="12700"/>
              </a:xfrm>
              <a:custGeom>
                <a:avLst/>
                <a:gdLst>
                  <a:gd name="T0" fmla="*/ 6 w 12"/>
                  <a:gd name="T1" fmla="*/ 8 h 8"/>
                  <a:gd name="T2" fmla="*/ 6 w 12"/>
                  <a:gd name="T3" fmla="*/ 8 h 8"/>
                  <a:gd name="T4" fmla="*/ 8 w 12"/>
                  <a:gd name="T5" fmla="*/ 8 h 8"/>
                  <a:gd name="T6" fmla="*/ 8 w 12"/>
                  <a:gd name="T7" fmla="*/ 8 h 8"/>
                  <a:gd name="T8" fmla="*/ 10 w 12"/>
                  <a:gd name="T9" fmla="*/ 8 h 8"/>
                  <a:gd name="T10" fmla="*/ 10 w 12"/>
                  <a:gd name="T11" fmla="*/ 6 h 8"/>
                  <a:gd name="T12" fmla="*/ 12 w 12"/>
                  <a:gd name="T13" fmla="*/ 6 h 8"/>
                  <a:gd name="T14" fmla="*/ 12 w 12"/>
                  <a:gd name="T15" fmla="*/ 6 h 8"/>
                  <a:gd name="T16" fmla="*/ 12 w 12"/>
                  <a:gd name="T17" fmla="*/ 4 h 8"/>
                  <a:gd name="T18" fmla="*/ 12 w 12"/>
                  <a:gd name="T19" fmla="*/ 4 h 8"/>
                  <a:gd name="T20" fmla="*/ 12 w 12"/>
                  <a:gd name="T21" fmla="*/ 4 h 8"/>
                  <a:gd name="T22" fmla="*/ 12 w 12"/>
                  <a:gd name="T23" fmla="*/ 2 h 8"/>
                  <a:gd name="T24" fmla="*/ 12 w 12"/>
                  <a:gd name="T25" fmla="*/ 2 h 8"/>
                  <a:gd name="T26" fmla="*/ 10 w 12"/>
                  <a:gd name="T27" fmla="*/ 2 h 8"/>
                  <a:gd name="T28" fmla="*/ 10 w 12"/>
                  <a:gd name="T29" fmla="*/ 0 h 8"/>
                  <a:gd name="T30" fmla="*/ 8 w 12"/>
                  <a:gd name="T31" fmla="*/ 0 h 8"/>
                  <a:gd name="T32" fmla="*/ 8 w 12"/>
                  <a:gd name="T33" fmla="*/ 0 h 8"/>
                  <a:gd name="T34" fmla="*/ 6 w 12"/>
                  <a:gd name="T35" fmla="*/ 0 h 8"/>
                  <a:gd name="T36" fmla="*/ 4 w 12"/>
                  <a:gd name="T37" fmla="*/ 0 h 8"/>
                  <a:gd name="T38" fmla="*/ 4 w 12"/>
                  <a:gd name="T39" fmla="*/ 0 h 8"/>
                  <a:gd name="T40" fmla="*/ 2 w 12"/>
                  <a:gd name="T41" fmla="*/ 0 h 8"/>
                  <a:gd name="T42" fmla="*/ 2 w 12"/>
                  <a:gd name="T43" fmla="*/ 2 h 8"/>
                  <a:gd name="T44" fmla="*/ 0 w 12"/>
                  <a:gd name="T45" fmla="*/ 2 h 8"/>
                  <a:gd name="T46" fmla="*/ 0 w 12"/>
                  <a:gd name="T47" fmla="*/ 2 h 8"/>
                  <a:gd name="T48" fmla="*/ 0 w 12"/>
                  <a:gd name="T49" fmla="*/ 4 h 8"/>
                  <a:gd name="T50" fmla="*/ 0 w 12"/>
                  <a:gd name="T51" fmla="*/ 4 h 8"/>
                  <a:gd name="T52" fmla="*/ 0 w 12"/>
                  <a:gd name="T53" fmla="*/ 4 h 8"/>
                  <a:gd name="T54" fmla="*/ 0 w 12"/>
                  <a:gd name="T55" fmla="*/ 6 h 8"/>
                  <a:gd name="T56" fmla="*/ 0 w 12"/>
                  <a:gd name="T57" fmla="*/ 6 h 8"/>
                  <a:gd name="T58" fmla="*/ 2 w 12"/>
                  <a:gd name="T59" fmla="*/ 6 h 8"/>
                  <a:gd name="T60" fmla="*/ 2 w 12"/>
                  <a:gd name="T61" fmla="*/ 8 h 8"/>
                  <a:gd name="T62" fmla="*/ 4 w 12"/>
                  <a:gd name="T63" fmla="*/ 8 h 8"/>
                  <a:gd name="T64" fmla="*/ 4 w 12"/>
                  <a:gd name="T65" fmla="*/ 8 h 8"/>
                  <a:gd name="T66" fmla="*/ 6 w 12"/>
                  <a:gd name="T6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8">
                    <a:moveTo>
                      <a:pt x="6" y="8"/>
                    </a:moveTo>
                    <a:lnTo>
                      <a:pt x="6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77" name="Freeform 204">
                <a:extLst>
                  <a:ext uri="{FF2B5EF4-FFF2-40B4-BE49-F238E27FC236}">
                    <a16:creationId xmlns:a16="http://schemas.microsoft.com/office/drawing/2014/main" id="{C0223F12-C4A5-463D-85F4-1131D9882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9578" y="5003967"/>
                <a:ext cx="9525" cy="12700"/>
              </a:xfrm>
              <a:custGeom>
                <a:avLst/>
                <a:gdLst>
                  <a:gd name="T0" fmla="*/ 4 w 6"/>
                  <a:gd name="T1" fmla="*/ 8 h 8"/>
                  <a:gd name="T2" fmla="*/ 4 w 6"/>
                  <a:gd name="T3" fmla="*/ 8 h 8"/>
                  <a:gd name="T4" fmla="*/ 2 w 6"/>
                  <a:gd name="T5" fmla="*/ 8 h 8"/>
                  <a:gd name="T6" fmla="*/ 2 w 6"/>
                  <a:gd name="T7" fmla="*/ 8 h 8"/>
                  <a:gd name="T8" fmla="*/ 2 w 6"/>
                  <a:gd name="T9" fmla="*/ 8 h 8"/>
                  <a:gd name="T10" fmla="*/ 2 w 6"/>
                  <a:gd name="T11" fmla="*/ 6 h 8"/>
                  <a:gd name="T12" fmla="*/ 2 w 6"/>
                  <a:gd name="T13" fmla="*/ 6 h 8"/>
                  <a:gd name="T14" fmla="*/ 0 w 6"/>
                  <a:gd name="T15" fmla="*/ 6 h 8"/>
                  <a:gd name="T16" fmla="*/ 0 w 6"/>
                  <a:gd name="T17" fmla="*/ 4 h 8"/>
                  <a:gd name="T18" fmla="*/ 0 w 6"/>
                  <a:gd name="T19" fmla="*/ 4 h 8"/>
                  <a:gd name="T20" fmla="*/ 0 w 6"/>
                  <a:gd name="T21" fmla="*/ 4 h 8"/>
                  <a:gd name="T22" fmla="*/ 0 w 6"/>
                  <a:gd name="T23" fmla="*/ 2 h 8"/>
                  <a:gd name="T24" fmla="*/ 2 w 6"/>
                  <a:gd name="T25" fmla="*/ 2 h 8"/>
                  <a:gd name="T26" fmla="*/ 2 w 6"/>
                  <a:gd name="T27" fmla="*/ 2 h 8"/>
                  <a:gd name="T28" fmla="*/ 2 w 6"/>
                  <a:gd name="T29" fmla="*/ 0 h 8"/>
                  <a:gd name="T30" fmla="*/ 2 w 6"/>
                  <a:gd name="T31" fmla="*/ 0 h 8"/>
                  <a:gd name="T32" fmla="*/ 2 w 6"/>
                  <a:gd name="T33" fmla="*/ 0 h 8"/>
                  <a:gd name="T34" fmla="*/ 4 w 6"/>
                  <a:gd name="T35" fmla="*/ 0 h 8"/>
                  <a:gd name="T36" fmla="*/ 4 w 6"/>
                  <a:gd name="T37" fmla="*/ 0 h 8"/>
                  <a:gd name="T38" fmla="*/ 4 w 6"/>
                  <a:gd name="T39" fmla="*/ 0 h 8"/>
                  <a:gd name="T40" fmla="*/ 4 w 6"/>
                  <a:gd name="T41" fmla="*/ 0 h 8"/>
                  <a:gd name="T42" fmla="*/ 6 w 6"/>
                  <a:gd name="T43" fmla="*/ 2 h 8"/>
                  <a:gd name="T44" fmla="*/ 6 w 6"/>
                  <a:gd name="T45" fmla="*/ 2 h 8"/>
                  <a:gd name="T46" fmla="*/ 6 w 6"/>
                  <a:gd name="T47" fmla="*/ 2 h 8"/>
                  <a:gd name="T48" fmla="*/ 6 w 6"/>
                  <a:gd name="T49" fmla="*/ 4 h 8"/>
                  <a:gd name="T50" fmla="*/ 6 w 6"/>
                  <a:gd name="T51" fmla="*/ 4 h 8"/>
                  <a:gd name="T52" fmla="*/ 6 w 6"/>
                  <a:gd name="T53" fmla="*/ 4 h 8"/>
                  <a:gd name="T54" fmla="*/ 6 w 6"/>
                  <a:gd name="T55" fmla="*/ 6 h 8"/>
                  <a:gd name="T56" fmla="*/ 6 w 6"/>
                  <a:gd name="T57" fmla="*/ 6 h 8"/>
                  <a:gd name="T58" fmla="*/ 6 w 6"/>
                  <a:gd name="T59" fmla="*/ 6 h 8"/>
                  <a:gd name="T60" fmla="*/ 4 w 6"/>
                  <a:gd name="T61" fmla="*/ 8 h 8"/>
                  <a:gd name="T62" fmla="*/ 4 w 6"/>
                  <a:gd name="T63" fmla="*/ 8 h 8"/>
                  <a:gd name="T64" fmla="*/ 4 w 6"/>
                  <a:gd name="T65" fmla="*/ 8 h 8"/>
                  <a:gd name="T66" fmla="*/ 4 w 6"/>
                  <a:gd name="T6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" h="8">
                    <a:moveTo>
                      <a:pt x="4" y="8"/>
                    </a:moveTo>
                    <a:lnTo>
                      <a:pt x="4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78" name="Freeform 207">
                <a:extLst>
                  <a:ext uri="{FF2B5EF4-FFF2-40B4-BE49-F238E27FC236}">
                    <a16:creationId xmlns:a16="http://schemas.microsoft.com/office/drawing/2014/main" id="{2926CE1E-8B12-4A18-A9A3-7D551FC0DC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4978" y="4994441"/>
                <a:ext cx="25400" cy="25400"/>
              </a:xfrm>
              <a:custGeom>
                <a:avLst/>
                <a:gdLst>
                  <a:gd name="T0" fmla="*/ 2 w 16"/>
                  <a:gd name="T1" fmla="*/ 6 h 16"/>
                  <a:gd name="T2" fmla="*/ 2 w 16"/>
                  <a:gd name="T3" fmla="*/ 6 h 16"/>
                  <a:gd name="T4" fmla="*/ 2 w 16"/>
                  <a:gd name="T5" fmla="*/ 6 h 16"/>
                  <a:gd name="T6" fmla="*/ 2 w 16"/>
                  <a:gd name="T7" fmla="*/ 4 h 16"/>
                  <a:gd name="T8" fmla="*/ 4 w 16"/>
                  <a:gd name="T9" fmla="*/ 2 h 16"/>
                  <a:gd name="T10" fmla="*/ 6 w 16"/>
                  <a:gd name="T11" fmla="*/ 2 h 16"/>
                  <a:gd name="T12" fmla="*/ 6 w 16"/>
                  <a:gd name="T13" fmla="*/ 2 h 16"/>
                  <a:gd name="T14" fmla="*/ 8 w 16"/>
                  <a:gd name="T15" fmla="*/ 0 h 16"/>
                  <a:gd name="T16" fmla="*/ 8 w 16"/>
                  <a:gd name="T17" fmla="*/ 0 h 16"/>
                  <a:gd name="T18" fmla="*/ 10 w 16"/>
                  <a:gd name="T19" fmla="*/ 0 h 16"/>
                  <a:gd name="T20" fmla="*/ 10 w 16"/>
                  <a:gd name="T21" fmla="*/ 2 h 16"/>
                  <a:gd name="T22" fmla="*/ 12 w 16"/>
                  <a:gd name="T23" fmla="*/ 2 h 16"/>
                  <a:gd name="T24" fmla="*/ 12 w 16"/>
                  <a:gd name="T25" fmla="*/ 2 h 16"/>
                  <a:gd name="T26" fmla="*/ 14 w 16"/>
                  <a:gd name="T27" fmla="*/ 4 h 16"/>
                  <a:gd name="T28" fmla="*/ 14 w 16"/>
                  <a:gd name="T29" fmla="*/ 4 h 16"/>
                  <a:gd name="T30" fmla="*/ 14 w 16"/>
                  <a:gd name="T31" fmla="*/ 6 h 16"/>
                  <a:gd name="T32" fmla="*/ 16 w 16"/>
                  <a:gd name="T33" fmla="*/ 6 h 16"/>
                  <a:gd name="T34" fmla="*/ 16 w 16"/>
                  <a:gd name="T35" fmla="*/ 6 h 16"/>
                  <a:gd name="T36" fmla="*/ 16 w 16"/>
                  <a:gd name="T37" fmla="*/ 8 h 16"/>
                  <a:gd name="T38" fmla="*/ 16 w 16"/>
                  <a:gd name="T39" fmla="*/ 10 h 16"/>
                  <a:gd name="T40" fmla="*/ 16 w 16"/>
                  <a:gd name="T41" fmla="*/ 10 h 16"/>
                  <a:gd name="T42" fmla="*/ 16 w 16"/>
                  <a:gd name="T43" fmla="*/ 12 h 16"/>
                  <a:gd name="T44" fmla="*/ 16 w 16"/>
                  <a:gd name="T45" fmla="*/ 14 h 16"/>
                  <a:gd name="T46" fmla="*/ 14 w 16"/>
                  <a:gd name="T47" fmla="*/ 14 h 16"/>
                  <a:gd name="T48" fmla="*/ 14 w 16"/>
                  <a:gd name="T49" fmla="*/ 14 h 16"/>
                  <a:gd name="T50" fmla="*/ 14 w 16"/>
                  <a:gd name="T51" fmla="*/ 16 h 16"/>
                  <a:gd name="T52" fmla="*/ 14 w 16"/>
                  <a:gd name="T53" fmla="*/ 16 h 16"/>
                  <a:gd name="T54" fmla="*/ 12 w 16"/>
                  <a:gd name="T55" fmla="*/ 16 h 16"/>
                  <a:gd name="T56" fmla="*/ 12 w 16"/>
                  <a:gd name="T57" fmla="*/ 16 h 16"/>
                  <a:gd name="T58" fmla="*/ 10 w 16"/>
                  <a:gd name="T59" fmla="*/ 16 h 16"/>
                  <a:gd name="T60" fmla="*/ 8 w 16"/>
                  <a:gd name="T61" fmla="*/ 16 h 16"/>
                  <a:gd name="T62" fmla="*/ 6 w 16"/>
                  <a:gd name="T63" fmla="*/ 14 h 16"/>
                  <a:gd name="T64" fmla="*/ 4 w 16"/>
                  <a:gd name="T65" fmla="*/ 14 h 16"/>
                  <a:gd name="T66" fmla="*/ 2 w 16"/>
                  <a:gd name="T67" fmla="*/ 12 h 16"/>
                  <a:gd name="T68" fmla="*/ 0 w 16"/>
                  <a:gd name="T69" fmla="*/ 12 h 16"/>
                  <a:gd name="T70" fmla="*/ 0 w 16"/>
                  <a:gd name="T71" fmla="*/ 12 h 16"/>
                  <a:gd name="T72" fmla="*/ 0 w 16"/>
                  <a:gd name="T73" fmla="*/ 10 h 16"/>
                  <a:gd name="T74" fmla="*/ 0 w 16"/>
                  <a:gd name="T75" fmla="*/ 10 h 16"/>
                  <a:gd name="T76" fmla="*/ 0 w 16"/>
                  <a:gd name="T77" fmla="*/ 10 h 16"/>
                  <a:gd name="T78" fmla="*/ 0 w 16"/>
                  <a:gd name="T79" fmla="*/ 8 h 16"/>
                  <a:gd name="T80" fmla="*/ 0 w 16"/>
                  <a:gd name="T81" fmla="*/ 6 h 16"/>
                  <a:gd name="T82" fmla="*/ 2 w 16"/>
                  <a:gd name="T83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" h="1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2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79" name="Freeform 209">
                <a:extLst>
                  <a:ext uri="{FF2B5EF4-FFF2-40B4-BE49-F238E27FC236}">
                    <a16:creationId xmlns:a16="http://schemas.microsoft.com/office/drawing/2014/main" id="{62A3830E-D6CA-43C5-997D-57AE7130E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56728" y="5035717"/>
                <a:ext cx="31750" cy="19050"/>
              </a:xfrm>
              <a:custGeom>
                <a:avLst/>
                <a:gdLst>
                  <a:gd name="T0" fmla="*/ 4 w 20"/>
                  <a:gd name="T1" fmla="*/ 2 h 12"/>
                  <a:gd name="T2" fmla="*/ 4 w 20"/>
                  <a:gd name="T3" fmla="*/ 2 h 12"/>
                  <a:gd name="T4" fmla="*/ 2 w 20"/>
                  <a:gd name="T5" fmla="*/ 2 h 12"/>
                  <a:gd name="T6" fmla="*/ 2 w 20"/>
                  <a:gd name="T7" fmla="*/ 4 h 12"/>
                  <a:gd name="T8" fmla="*/ 2 w 20"/>
                  <a:gd name="T9" fmla="*/ 6 h 12"/>
                  <a:gd name="T10" fmla="*/ 0 w 20"/>
                  <a:gd name="T11" fmla="*/ 8 h 12"/>
                  <a:gd name="T12" fmla="*/ 0 w 20"/>
                  <a:gd name="T13" fmla="*/ 8 h 12"/>
                  <a:gd name="T14" fmla="*/ 0 w 20"/>
                  <a:gd name="T15" fmla="*/ 10 h 12"/>
                  <a:gd name="T16" fmla="*/ 0 w 20"/>
                  <a:gd name="T17" fmla="*/ 12 h 12"/>
                  <a:gd name="T18" fmla="*/ 0 w 20"/>
                  <a:gd name="T19" fmla="*/ 12 h 12"/>
                  <a:gd name="T20" fmla="*/ 0 w 20"/>
                  <a:gd name="T21" fmla="*/ 12 h 12"/>
                  <a:gd name="T22" fmla="*/ 2 w 20"/>
                  <a:gd name="T23" fmla="*/ 12 h 12"/>
                  <a:gd name="T24" fmla="*/ 2 w 20"/>
                  <a:gd name="T25" fmla="*/ 12 h 12"/>
                  <a:gd name="T26" fmla="*/ 2 w 20"/>
                  <a:gd name="T27" fmla="*/ 12 h 12"/>
                  <a:gd name="T28" fmla="*/ 4 w 20"/>
                  <a:gd name="T29" fmla="*/ 12 h 12"/>
                  <a:gd name="T30" fmla="*/ 4 w 20"/>
                  <a:gd name="T31" fmla="*/ 12 h 12"/>
                  <a:gd name="T32" fmla="*/ 6 w 20"/>
                  <a:gd name="T33" fmla="*/ 12 h 12"/>
                  <a:gd name="T34" fmla="*/ 8 w 20"/>
                  <a:gd name="T35" fmla="*/ 12 h 12"/>
                  <a:gd name="T36" fmla="*/ 10 w 20"/>
                  <a:gd name="T37" fmla="*/ 10 h 12"/>
                  <a:gd name="T38" fmla="*/ 12 w 20"/>
                  <a:gd name="T39" fmla="*/ 10 h 12"/>
                  <a:gd name="T40" fmla="*/ 14 w 20"/>
                  <a:gd name="T41" fmla="*/ 8 h 12"/>
                  <a:gd name="T42" fmla="*/ 16 w 20"/>
                  <a:gd name="T43" fmla="*/ 8 h 12"/>
                  <a:gd name="T44" fmla="*/ 18 w 20"/>
                  <a:gd name="T45" fmla="*/ 6 h 12"/>
                  <a:gd name="T46" fmla="*/ 18 w 20"/>
                  <a:gd name="T47" fmla="*/ 4 h 12"/>
                  <a:gd name="T48" fmla="*/ 20 w 20"/>
                  <a:gd name="T49" fmla="*/ 4 h 12"/>
                  <a:gd name="T50" fmla="*/ 20 w 20"/>
                  <a:gd name="T51" fmla="*/ 2 h 12"/>
                  <a:gd name="T52" fmla="*/ 20 w 20"/>
                  <a:gd name="T53" fmla="*/ 2 h 12"/>
                  <a:gd name="T54" fmla="*/ 20 w 20"/>
                  <a:gd name="T55" fmla="*/ 2 h 12"/>
                  <a:gd name="T56" fmla="*/ 20 w 20"/>
                  <a:gd name="T57" fmla="*/ 0 h 12"/>
                  <a:gd name="T58" fmla="*/ 20 w 20"/>
                  <a:gd name="T59" fmla="*/ 0 h 12"/>
                  <a:gd name="T60" fmla="*/ 18 w 20"/>
                  <a:gd name="T61" fmla="*/ 0 h 12"/>
                  <a:gd name="T62" fmla="*/ 18 w 20"/>
                  <a:gd name="T63" fmla="*/ 0 h 12"/>
                  <a:gd name="T64" fmla="*/ 16 w 20"/>
                  <a:gd name="T65" fmla="*/ 0 h 12"/>
                  <a:gd name="T66" fmla="*/ 16 w 20"/>
                  <a:gd name="T67" fmla="*/ 0 h 12"/>
                  <a:gd name="T68" fmla="*/ 14 w 20"/>
                  <a:gd name="T69" fmla="*/ 0 h 12"/>
                  <a:gd name="T70" fmla="*/ 12 w 20"/>
                  <a:gd name="T71" fmla="*/ 0 h 12"/>
                  <a:gd name="T72" fmla="*/ 10 w 20"/>
                  <a:gd name="T73" fmla="*/ 0 h 12"/>
                  <a:gd name="T74" fmla="*/ 6 w 20"/>
                  <a:gd name="T75" fmla="*/ 0 h 12"/>
                  <a:gd name="T76" fmla="*/ 4 w 20"/>
                  <a:gd name="T77" fmla="*/ 2 h 12"/>
                  <a:gd name="T78" fmla="*/ 4 w 20"/>
                  <a:gd name="T79" fmla="*/ 2 h 12"/>
                  <a:gd name="T80" fmla="*/ 4 w 20"/>
                  <a:gd name="T81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" h="12">
                    <a:moveTo>
                      <a:pt x="4" y="2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80" name="Freeform 211">
                <a:extLst>
                  <a:ext uri="{FF2B5EF4-FFF2-40B4-BE49-F238E27FC236}">
                    <a16:creationId xmlns:a16="http://schemas.microsoft.com/office/drawing/2014/main" id="{9C0D2B6A-36B4-4E2F-A16A-4DE37CC088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8953" y="5003967"/>
                <a:ext cx="53975" cy="25400"/>
              </a:xfrm>
              <a:custGeom>
                <a:avLst/>
                <a:gdLst>
                  <a:gd name="T0" fmla="*/ 0 w 34"/>
                  <a:gd name="T1" fmla="*/ 4 h 16"/>
                  <a:gd name="T2" fmla="*/ 0 w 34"/>
                  <a:gd name="T3" fmla="*/ 4 h 16"/>
                  <a:gd name="T4" fmla="*/ 0 w 34"/>
                  <a:gd name="T5" fmla="*/ 2 h 16"/>
                  <a:gd name="T6" fmla="*/ 2 w 34"/>
                  <a:gd name="T7" fmla="*/ 2 h 16"/>
                  <a:gd name="T8" fmla="*/ 2 w 34"/>
                  <a:gd name="T9" fmla="*/ 2 h 16"/>
                  <a:gd name="T10" fmla="*/ 2 w 34"/>
                  <a:gd name="T11" fmla="*/ 0 h 16"/>
                  <a:gd name="T12" fmla="*/ 6 w 34"/>
                  <a:gd name="T13" fmla="*/ 0 h 16"/>
                  <a:gd name="T14" fmla="*/ 8 w 34"/>
                  <a:gd name="T15" fmla="*/ 0 h 16"/>
                  <a:gd name="T16" fmla="*/ 10 w 34"/>
                  <a:gd name="T17" fmla="*/ 0 h 16"/>
                  <a:gd name="T18" fmla="*/ 14 w 34"/>
                  <a:gd name="T19" fmla="*/ 0 h 16"/>
                  <a:gd name="T20" fmla="*/ 18 w 34"/>
                  <a:gd name="T21" fmla="*/ 0 h 16"/>
                  <a:gd name="T22" fmla="*/ 22 w 34"/>
                  <a:gd name="T23" fmla="*/ 2 h 16"/>
                  <a:gd name="T24" fmla="*/ 24 w 34"/>
                  <a:gd name="T25" fmla="*/ 2 h 16"/>
                  <a:gd name="T26" fmla="*/ 26 w 34"/>
                  <a:gd name="T27" fmla="*/ 2 h 16"/>
                  <a:gd name="T28" fmla="*/ 28 w 34"/>
                  <a:gd name="T29" fmla="*/ 4 h 16"/>
                  <a:gd name="T30" fmla="*/ 30 w 34"/>
                  <a:gd name="T31" fmla="*/ 4 h 16"/>
                  <a:gd name="T32" fmla="*/ 30 w 34"/>
                  <a:gd name="T33" fmla="*/ 4 h 16"/>
                  <a:gd name="T34" fmla="*/ 32 w 34"/>
                  <a:gd name="T35" fmla="*/ 4 h 16"/>
                  <a:gd name="T36" fmla="*/ 32 w 34"/>
                  <a:gd name="T37" fmla="*/ 6 h 16"/>
                  <a:gd name="T38" fmla="*/ 32 w 34"/>
                  <a:gd name="T39" fmla="*/ 6 h 16"/>
                  <a:gd name="T40" fmla="*/ 34 w 34"/>
                  <a:gd name="T41" fmla="*/ 6 h 16"/>
                  <a:gd name="T42" fmla="*/ 34 w 34"/>
                  <a:gd name="T43" fmla="*/ 8 h 16"/>
                  <a:gd name="T44" fmla="*/ 32 w 34"/>
                  <a:gd name="T45" fmla="*/ 8 h 16"/>
                  <a:gd name="T46" fmla="*/ 32 w 34"/>
                  <a:gd name="T47" fmla="*/ 10 h 16"/>
                  <a:gd name="T48" fmla="*/ 32 w 34"/>
                  <a:gd name="T49" fmla="*/ 10 h 16"/>
                  <a:gd name="T50" fmla="*/ 30 w 34"/>
                  <a:gd name="T51" fmla="*/ 12 h 16"/>
                  <a:gd name="T52" fmla="*/ 28 w 34"/>
                  <a:gd name="T53" fmla="*/ 12 h 16"/>
                  <a:gd name="T54" fmla="*/ 26 w 34"/>
                  <a:gd name="T55" fmla="*/ 14 h 16"/>
                  <a:gd name="T56" fmla="*/ 24 w 34"/>
                  <a:gd name="T57" fmla="*/ 14 h 16"/>
                  <a:gd name="T58" fmla="*/ 22 w 34"/>
                  <a:gd name="T59" fmla="*/ 16 h 16"/>
                  <a:gd name="T60" fmla="*/ 22 w 34"/>
                  <a:gd name="T61" fmla="*/ 16 h 16"/>
                  <a:gd name="T62" fmla="*/ 20 w 34"/>
                  <a:gd name="T63" fmla="*/ 16 h 16"/>
                  <a:gd name="T64" fmla="*/ 18 w 34"/>
                  <a:gd name="T65" fmla="*/ 16 h 16"/>
                  <a:gd name="T66" fmla="*/ 14 w 34"/>
                  <a:gd name="T67" fmla="*/ 16 h 16"/>
                  <a:gd name="T68" fmla="*/ 12 w 34"/>
                  <a:gd name="T69" fmla="*/ 16 h 16"/>
                  <a:gd name="T70" fmla="*/ 8 w 34"/>
                  <a:gd name="T71" fmla="*/ 16 h 16"/>
                  <a:gd name="T72" fmla="*/ 6 w 34"/>
                  <a:gd name="T73" fmla="*/ 14 h 16"/>
                  <a:gd name="T74" fmla="*/ 4 w 34"/>
                  <a:gd name="T75" fmla="*/ 14 h 16"/>
                  <a:gd name="T76" fmla="*/ 4 w 34"/>
                  <a:gd name="T77" fmla="*/ 12 h 16"/>
                  <a:gd name="T78" fmla="*/ 2 w 34"/>
                  <a:gd name="T79" fmla="*/ 12 h 16"/>
                  <a:gd name="T80" fmla="*/ 2 w 34"/>
                  <a:gd name="T81" fmla="*/ 12 h 16"/>
                  <a:gd name="T82" fmla="*/ 2 w 34"/>
                  <a:gd name="T83" fmla="*/ 10 h 16"/>
                  <a:gd name="T84" fmla="*/ 0 w 34"/>
                  <a:gd name="T85" fmla="*/ 10 h 16"/>
                  <a:gd name="T86" fmla="*/ 0 w 34"/>
                  <a:gd name="T87" fmla="*/ 8 h 16"/>
                  <a:gd name="T88" fmla="*/ 0 w 34"/>
                  <a:gd name="T89" fmla="*/ 6 h 16"/>
                  <a:gd name="T90" fmla="*/ 0 w 34"/>
                  <a:gd name="T91" fmla="*/ 6 h 16"/>
                  <a:gd name="T92" fmla="*/ 0 w 34"/>
                  <a:gd name="T93" fmla="*/ 4 h 16"/>
                  <a:gd name="T94" fmla="*/ 0 w 34"/>
                  <a:gd name="T95" fmla="*/ 4 h 16"/>
                  <a:gd name="T96" fmla="*/ 0 w 34"/>
                  <a:gd name="T97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4" h="16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4" y="2"/>
                    </a:lnTo>
                    <a:lnTo>
                      <a:pt x="26" y="2"/>
                    </a:lnTo>
                    <a:lnTo>
                      <a:pt x="28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32" y="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12"/>
                    </a:lnTo>
                    <a:lnTo>
                      <a:pt x="28" y="12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0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81" name="Freeform 215">
                <a:extLst>
                  <a:ext uri="{FF2B5EF4-FFF2-40B4-BE49-F238E27FC236}">
                    <a16:creationId xmlns:a16="http://schemas.microsoft.com/office/drawing/2014/main" id="{A16FBFB1-C7FF-4E3F-A175-6E799BA96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5903" y="4603917"/>
                <a:ext cx="260350" cy="292100"/>
              </a:xfrm>
              <a:custGeom>
                <a:avLst/>
                <a:gdLst>
                  <a:gd name="T0" fmla="*/ 28 w 164"/>
                  <a:gd name="T1" fmla="*/ 90 h 184"/>
                  <a:gd name="T2" fmla="*/ 12 w 164"/>
                  <a:gd name="T3" fmla="*/ 88 h 184"/>
                  <a:gd name="T4" fmla="*/ 4 w 164"/>
                  <a:gd name="T5" fmla="*/ 90 h 184"/>
                  <a:gd name="T6" fmla="*/ 0 w 164"/>
                  <a:gd name="T7" fmla="*/ 100 h 184"/>
                  <a:gd name="T8" fmla="*/ 2 w 164"/>
                  <a:gd name="T9" fmla="*/ 112 h 184"/>
                  <a:gd name="T10" fmla="*/ 8 w 164"/>
                  <a:gd name="T11" fmla="*/ 116 h 184"/>
                  <a:gd name="T12" fmla="*/ 12 w 164"/>
                  <a:gd name="T13" fmla="*/ 120 h 184"/>
                  <a:gd name="T14" fmla="*/ 12 w 164"/>
                  <a:gd name="T15" fmla="*/ 134 h 184"/>
                  <a:gd name="T16" fmla="*/ 14 w 164"/>
                  <a:gd name="T17" fmla="*/ 138 h 184"/>
                  <a:gd name="T18" fmla="*/ 24 w 164"/>
                  <a:gd name="T19" fmla="*/ 138 h 184"/>
                  <a:gd name="T20" fmla="*/ 26 w 164"/>
                  <a:gd name="T21" fmla="*/ 144 h 184"/>
                  <a:gd name="T22" fmla="*/ 26 w 164"/>
                  <a:gd name="T23" fmla="*/ 158 h 184"/>
                  <a:gd name="T24" fmla="*/ 32 w 164"/>
                  <a:gd name="T25" fmla="*/ 162 h 184"/>
                  <a:gd name="T26" fmla="*/ 38 w 164"/>
                  <a:gd name="T27" fmla="*/ 166 h 184"/>
                  <a:gd name="T28" fmla="*/ 48 w 164"/>
                  <a:gd name="T29" fmla="*/ 174 h 184"/>
                  <a:gd name="T30" fmla="*/ 62 w 164"/>
                  <a:gd name="T31" fmla="*/ 176 h 184"/>
                  <a:gd name="T32" fmla="*/ 66 w 164"/>
                  <a:gd name="T33" fmla="*/ 170 h 184"/>
                  <a:gd name="T34" fmla="*/ 72 w 164"/>
                  <a:gd name="T35" fmla="*/ 166 h 184"/>
                  <a:gd name="T36" fmla="*/ 82 w 164"/>
                  <a:gd name="T37" fmla="*/ 168 h 184"/>
                  <a:gd name="T38" fmla="*/ 86 w 164"/>
                  <a:gd name="T39" fmla="*/ 176 h 184"/>
                  <a:gd name="T40" fmla="*/ 90 w 164"/>
                  <a:gd name="T41" fmla="*/ 184 h 184"/>
                  <a:gd name="T42" fmla="*/ 104 w 164"/>
                  <a:gd name="T43" fmla="*/ 184 h 184"/>
                  <a:gd name="T44" fmla="*/ 110 w 164"/>
                  <a:gd name="T45" fmla="*/ 180 h 184"/>
                  <a:gd name="T46" fmla="*/ 114 w 164"/>
                  <a:gd name="T47" fmla="*/ 170 h 184"/>
                  <a:gd name="T48" fmla="*/ 122 w 164"/>
                  <a:gd name="T49" fmla="*/ 158 h 184"/>
                  <a:gd name="T50" fmla="*/ 120 w 164"/>
                  <a:gd name="T51" fmla="*/ 144 h 184"/>
                  <a:gd name="T52" fmla="*/ 126 w 164"/>
                  <a:gd name="T53" fmla="*/ 138 h 184"/>
                  <a:gd name="T54" fmla="*/ 134 w 164"/>
                  <a:gd name="T55" fmla="*/ 132 h 184"/>
                  <a:gd name="T56" fmla="*/ 138 w 164"/>
                  <a:gd name="T57" fmla="*/ 116 h 184"/>
                  <a:gd name="T58" fmla="*/ 140 w 164"/>
                  <a:gd name="T59" fmla="*/ 108 h 184"/>
                  <a:gd name="T60" fmla="*/ 150 w 164"/>
                  <a:gd name="T61" fmla="*/ 104 h 184"/>
                  <a:gd name="T62" fmla="*/ 154 w 164"/>
                  <a:gd name="T63" fmla="*/ 100 h 184"/>
                  <a:gd name="T64" fmla="*/ 152 w 164"/>
                  <a:gd name="T65" fmla="*/ 88 h 184"/>
                  <a:gd name="T66" fmla="*/ 144 w 164"/>
                  <a:gd name="T67" fmla="*/ 82 h 184"/>
                  <a:gd name="T68" fmla="*/ 138 w 164"/>
                  <a:gd name="T69" fmla="*/ 76 h 184"/>
                  <a:gd name="T70" fmla="*/ 138 w 164"/>
                  <a:gd name="T71" fmla="*/ 56 h 184"/>
                  <a:gd name="T72" fmla="*/ 158 w 164"/>
                  <a:gd name="T73" fmla="*/ 38 h 184"/>
                  <a:gd name="T74" fmla="*/ 164 w 164"/>
                  <a:gd name="T75" fmla="*/ 32 h 184"/>
                  <a:gd name="T76" fmla="*/ 164 w 164"/>
                  <a:gd name="T77" fmla="*/ 22 h 184"/>
                  <a:gd name="T78" fmla="*/ 158 w 164"/>
                  <a:gd name="T79" fmla="*/ 16 h 184"/>
                  <a:gd name="T80" fmla="*/ 142 w 164"/>
                  <a:gd name="T81" fmla="*/ 14 h 184"/>
                  <a:gd name="T82" fmla="*/ 124 w 164"/>
                  <a:gd name="T83" fmla="*/ 4 h 184"/>
                  <a:gd name="T84" fmla="*/ 116 w 164"/>
                  <a:gd name="T85" fmla="*/ 0 h 184"/>
                  <a:gd name="T86" fmla="*/ 114 w 164"/>
                  <a:gd name="T87" fmla="*/ 6 h 184"/>
                  <a:gd name="T88" fmla="*/ 108 w 164"/>
                  <a:gd name="T89" fmla="*/ 16 h 184"/>
                  <a:gd name="T90" fmla="*/ 100 w 164"/>
                  <a:gd name="T91" fmla="*/ 20 h 184"/>
                  <a:gd name="T92" fmla="*/ 98 w 164"/>
                  <a:gd name="T93" fmla="*/ 38 h 184"/>
                  <a:gd name="T94" fmla="*/ 76 w 164"/>
                  <a:gd name="T95" fmla="*/ 50 h 184"/>
                  <a:gd name="T96" fmla="*/ 70 w 164"/>
                  <a:gd name="T97" fmla="*/ 56 h 184"/>
                  <a:gd name="T98" fmla="*/ 64 w 164"/>
                  <a:gd name="T99" fmla="*/ 68 h 184"/>
                  <a:gd name="T100" fmla="*/ 58 w 164"/>
                  <a:gd name="T101" fmla="*/ 68 h 184"/>
                  <a:gd name="T102" fmla="*/ 46 w 164"/>
                  <a:gd name="T103" fmla="*/ 66 h 184"/>
                  <a:gd name="T104" fmla="*/ 44 w 164"/>
                  <a:gd name="T105" fmla="*/ 72 h 184"/>
                  <a:gd name="T106" fmla="*/ 40 w 164"/>
                  <a:gd name="T107" fmla="*/ 8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4" h="184">
                    <a:moveTo>
                      <a:pt x="36" y="90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2" y="90"/>
                    </a:lnTo>
                    <a:lnTo>
                      <a:pt x="30" y="90"/>
                    </a:lnTo>
                    <a:lnTo>
                      <a:pt x="28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88"/>
                    </a:lnTo>
                    <a:lnTo>
                      <a:pt x="16" y="88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0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4" y="88"/>
                    </a:lnTo>
                    <a:lnTo>
                      <a:pt x="4" y="90"/>
                    </a:lnTo>
                    <a:lnTo>
                      <a:pt x="4" y="90"/>
                    </a:lnTo>
                    <a:lnTo>
                      <a:pt x="2" y="92"/>
                    </a:lnTo>
                    <a:lnTo>
                      <a:pt x="2" y="94"/>
                    </a:lnTo>
                    <a:lnTo>
                      <a:pt x="2" y="96"/>
                    </a:lnTo>
                    <a:lnTo>
                      <a:pt x="2" y="96"/>
                    </a:lnTo>
                    <a:lnTo>
                      <a:pt x="0" y="100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0" y="108"/>
                    </a:lnTo>
                    <a:lnTo>
                      <a:pt x="0" y="110"/>
                    </a:lnTo>
                    <a:lnTo>
                      <a:pt x="0" y="112"/>
                    </a:lnTo>
                    <a:lnTo>
                      <a:pt x="2" y="112"/>
                    </a:lnTo>
                    <a:lnTo>
                      <a:pt x="2" y="114"/>
                    </a:lnTo>
                    <a:lnTo>
                      <a:pt x="2" y="114"/>
                    </a:lnTo>
                    <a:lnTo>
                      <a:pt x="4" y="114"/>
                    </a:lnTo>
                    <a:lnTo>
                      <a:pt x="4" y="116"/>
                    </a:lnTo>
                    <a:lnTo>
                      <a:pt x="6" y="116"/>
                    </a:lnTo>
                    <a:lnTo>
                      <a:pt x="8" y="116"/>
                    </a:lnTo>
                    <a:lnTo>
                      <a:pt x="10" y="118"/>
                    </a:lnTo>
                    <a:lnTo>
                      <a:pt x="10" y="118"/>
                    </a:lnTo>
                    <a:lnTo>
                      <a:pt x="10" y="118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2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2" y="128"/>
                    </a:lnTo>
                    <a:lnTo>
                      <a:pt x="12" y="130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6"/>
                    </a:lnTo>
                    <a:lnTo>
                      <a:pt x="12" y="136"/>
                    </a:lnTo>
                    <a:lnTo>
                      <a:pt x="12" y="136"/>
                    </a:lnTo>
                    <a:lnTo>
                      <a:pt x="14" y="138"/>
                    </a:lnTo>
                    <a:lnTo>
                      <a:pt x="14" y="138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8" y="138"/>
                    </a:lnTo>
                    <a:lnTo>
                      <a:pt x="20" y="138"/>
                    </a:lnTo>
                    <a:lnTo>
                      <a:pt x="22" y="138"/>
                    </a:lnTo>
                    <a:lnTo>
                      <a:pt x="24" y="138"/>
                    </a:lnTo>
                    <a:lnTo>
                      <a:pt x="24" y="138"/>
                    </a:lnTo>
                    <a:lnTo>
                      <a:pt x="26" y="140"/>
                    </a:lnTo>
                    <a:lnTo>
                      <a:pt x="26" y="140"/>
                    </a:lnTo>
                    <a:lnTo>
                      <a:pt x="26" y="142"/>
                    </a:lnTo>
                    <a:lnTo>
                      <a:pt x="26" y="142"/>
                    </a:lnTo>
                    <a:lnTo>
                      <a:pt x="26" y="144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6" y="154"/>
                    </a:lnTo>
                    <a:lnTo>
                      <a:pt x="26" y="156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8" y="160"/>
                    </a:lnTo>
                    <a:lnTo>
                      <a:pt x="28" y="160"/>
                    </a:lnTo>
                    <a:lnTo>
                      <a:pt x="28" y="162"/>
                    </a:lnTo>
                    <a:lnTo>
                      <a:pt x="30" y="162"/>
                    </a:lnTo>
                    <a:lnTo>
                      <a:pt x="30" y="162"/>
                    </a:lnTo>
                    <a:lnTo>
                      <a:pt x="32" y="162"/>
                    </a:lnTo>
                    <a:lnTo>
                      <a:pt x="34" y="162"/>
                    </a:lnTo>
                    <a:lnTo>
                      <a:pt x="34" y="162"/>
                    </a:lnTo>
                    <a:lnTo>
                      <a:pt x="36" y="162"/>
                    </a:lnTo>
                    <a:lnTo>
                      <a:pt x="36" y="162"/>
                    </a:lnTo>
                    <a:lnTo>
                      <a:pt x="38" y="164"/>
                    </a:lnTo>
                    <a:lnTo>
                      <a:pt x="38" y="166"/>
                    </a:lnTo>
                    <a:lnTo>
                      <a:pt x="40" y="168"/>
                    </a:lnTo>
                    <a:lnTo>
                      <a:pt x="40" y="170"/>
                    </a:lnTo>
                    <a:lnTo>
                      <a:pt x="42" y="170"/>
                    </a:lnTo>
                    <a:lnTo>
                      <a:pt x="44" y="172"/>
                    </a:lnTo>
                    <a:lnTo>
                      <a:pt x="46" y="174"/>
                    </a:lnTo>
                    <a:lnTo>
                      <a:pt x="48" y="174"/>
                    </a:lnTo>
                    <a:lnTo>
                      <a:pt x="52" y="176"/>
                    </a:lnTo>
                    <a:lnTo>
                      <a:pt x="56" y="176"/>
                    </a:lnTo>
                    <a:lnTo>
                      <a:pt x="58" y="176"/>
                    </a:lnTo>
                    <a:lnTo>
                      <a:pt x="60" y="176"/>
                    </a:lnTo>
                    <a:lnTo>
                      <a:pt x="60" y="176"/>
                    </a:lnTo>
                    <a:lnTo>
                      <a:pt x="62" y="176"/>
                    </a:lnTo>
                    <a:lnTo>
                      <a:pt x="62" y="176"/>
                    </a:lnTo>
                    <a:lnTo>
                      <a:pt x="64" y="176"/>
                    </a:lnTo>
                    <a:lnTo>
                      <a:pt x="64" y="174"/>
                    </a:lnTo>
                    <a:lnTo>
                      <a:pt x="66" y="174"/>
                    </a:lnTo>
                    <a:lnTo>
                      <a:pt x="66" y="172"/>
                    </a:lnTo>
                    <a:lnTo>
                      <a:pt x="66" y="170"/>
                    </a:lnTo>
                    <a:lnTo>
                      <a:pt x="68" y="170"/>
                    </a:lnTo>
                    <a:lnTo>
                      <a:pt x="68" y="168"/>
                    </a:lnTo>
                    <a:lnTo>
                      <a:pt x="70" y="166"/>
                    </a:lnTo>
                    <a:lnTo>
                      <a:pt x="70" y="166"/>
                    </a:lnTo>
                    <a:lnTo>
                      <a:pt x="70" y="166"/>
                    </a:lnTo>
                    <a:lnTo>
                      <a:pt x="72" y="166"/>
                    </a:lnTo>
                    <a:lnTo>
                      <a:pt x="74" y="166"/>
                    </a:lnTo>
                    <a:lnTo>
                      <a:pt x="76" y="166"/>
                    </a:lnTo>
                    <a:lnTo>
                      <a:pt x="76" y="166"/>
                    </a:lnTo>
                    <a:lnTo>
                      <a:pt x="78" y="166"/>
                    </a:lnTo>
                    <a:lnTo>
                      <a:pt x="80" y="166"/>
                    </a:lnTo>
                    <a:lnTo>
                      <a:pt x="82" y="168"/>
                    </a:lnTo>
                    <a:lnTo>
                      <a:pt x="84" y="168"/>
                    </a:lnTo>
                    <a:lnTo>
                      <a:pt x="84" y="168"/>
                    </a:lnTo>
                    <a:lnTo>
                      <a:pt x="84" y="170"/>
                    </a:lnTo>
                    <a:lnTo>
                      <a:pt x="86" y="172"/>
                    </a:lnTo>
                    <a:lnTo>
                      <a:pt x="86" y="174"/>
                    </a:lnTo>
                    <a:lnTo>
                      <a:pt x="86" y="176"/>
                    </a:lnTo>
                    <a:lnTo>
                      <a:pt x="88" y="178"/>
                    </a:lnTo>
                    <a:lnTo>
                      <a:pt x="88" y="180"/>
                    </a:lnTo>
                    <a:lnTo>
                      <a:pt x="88" y="182"/>
                    </a:lnTo>
                    <a:lnTo>
                      <a:pt x="90" y="182"/>
                    </a:lnTo>
                    <a:lnTo>
                      <a:pt x="90" y="182"/>
                    </a:lnTo>
                    <a:lnTo>
                      <a:pt x="90" y="184"/>
                    </a:lnTo>
                    <a:lnTo>
                      <a:pt x="92" y="184"/>
                    </a:lnTo>
                    <a:lnTo>
                      <a:pt x="92" y="184"/>
                    </a:lnTo>
                    <a:lnTo>
                      <a:pt x="94" y="184"/>
                    </a:lnTo>
                    <a:lnTo>
                      <a:pt x="98" y="184"/>
                    </a:lnTo>
                    <a:lnTo>
                      <a:pt x="100" y="184"/>
                    </a:lnTo>
                    <a:lnTo>
                      <a:pt x="104" y="184"/>
                    </a:lnTo>
                    <a:lnTo>
                      <a:pt x="106" y="184"/>
                    </a:lnTo>
                    <a:lnTo>
                      <a:pt x="108" y="184"/>
                    </a:lnTo>
                    <a:lnTo>
                      <a:pt x="108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0"/>
                    </a:lnTo>
                    <a:lnTo>
                      <a:pt x="112" y="180"/>
                    </a:lnTo>
                    <a:lnTo>
                      <a:pt x="112" y="178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4" y="170"/>
                    </a:lnTo>
                    <a:lnTo>
                      <a:pt x="114" y="170"/>
                    </a:lnTo>
                    <a:lnTo>
                      <a:pt x="114" y="168"/>
                    </a:lnTo>
                    <a:lnTo>
                      <a:pt x="116" y="166"/>
                    </a:lnTo>
                    <a:lnTo>
                      <a:pt x="118" y="164"/>
                    </a:lnTo>
                    <a:lnTo>
                      <a:pt x="120" y="160"/>
                    </a:lnTo>
                    <a:lnTo>
                      <a:pt x="120" y="158"/>
                    </a:lnTo>
                    <a:lnTo>
                      <a:pt x="122" y="158"/>
                    </a:lnTo>
                    <a:lnTo>
                      <a:pt x="122" y="156"/>
                    </a:lnTo>
                    <a:lnTo>
                      <a:pt x="122" y="154"/>
                    </a:lnTo>
                    <a:lnTo>
                      <a:pt x="120" y="150"/>
                    </a:lnTo>
                    <a:lnTo>
                      <a:pt x="120" y="148"/>
                    </a:lnTo>
                    <a:lnTo>
                      <a:pt x="120" y="146"/>
                    </a:lnTo>
                    <a:lnTo>
                      <a:pt x="120" y="144"/>
                    </a:lnTo>
                    <a:lnTo>
                      <a:pt x="120" y="144"/>
                    </a:lnTo>
                    <a:lnTo>
                      <a:pt x="122" y="144"/>
                    </a:lnTo>
                    <a:lnTo>
                      <a:pt x="122" y="142"/>
                    </a:lnTo>
                    <a:lnTo>
                      <a:pt x="122" y="142"/>
                    </a:lnTo>
                    <a:lnTo>
                      <a:pt x="124" y="140"/>
                    </a:lnTo>
                    <a:lnTo>
                      <a:pt x="126" y="138"/>
                    </a:lnTo>
                    <a:lnTo>
                      <a:pt x="126" y="138"/>
                    </a:lnTo>
                    <a:lnTo>
                      <a:pt x="130" y="136"/>
                    </a:lnTo>
                    <a:lnTo>
                      <a:pt x="132" y="134"/>
                    </a:lnTo>
                    <a:lnTo>
                      <a:pt x="132" y="134"/>
                    </a:lnTo>
                    <a:lnTo>
                      <a:pt x="134" y="132"/>
                    </a:lnTo>
                    <a:lnTo>
                      <a:pt x="134" y="132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6" y="126"/>
                    </a:lnTo>
                    <a:lnTo>
                      <a:pt x="136" y="124"/>
                    </a:lnTo>
                    <a:lnTo>
                      <a:pt x="136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12"/>
                    </a:lnTo>
                    <a:lnTo>
                      <a:pt x="138" y="110"/>
                    </a:lnTo>
                    <a:lnTo>
                      <a:pt x="140" y="108"/>
                    </a:lnTo>
                    <a:lnTo>
                      <a:pt x="140" y="108"/>
                    </a:lnTo>
                    <a:lnTo>
                      <a:pt x="140" y="108"/>
                    </a:lnTo>
                    <a:lnTo>
                      <a:pt x="142" y="108"/>
                    </a:lnTo>
                    <a:lnTo>
                      <a:pt x="142" y="106"/>
                    </a:lnTo>
                    <a:lnTo>
                      <a:pt x="144" y="106"/>
                    </a:lnTo>
                    <a:lnTo>
                      <a:pt x="146" y="106"/>
                    </a:lnTo>
                    <a:lnTo>
                      <a:pt x="148" y="104"/>
                    </a:lnTo>
                    <a:lnTo>
                      <a:pt x="150" y="104"/>
                    </a:lnTo>
                    <a:lnTo>
                      <a:pt x="152" y="104"/>
                    </a:lnTo>
                    <a:lnTo>
                      <a:pt x="152" y="104"/>
                    </a:lnTo>
                    <a:lnTo>
                      <a:pt x="152" y="102"/>
                    </a:lnTo>
                    <a:lnTo>
                      <a:pt x="152" y="102"/>
                    </a:lnTo>
                    <a:lnTo>
                      <a:pt x="154" y="102"/>
                    </a:lnTo>
                    <a:lnTo>
                      <a:pt x="154" y="100"/>
                    </a:lnTo>
                    <a:lnTo>
                      <a:pt x="154" y="98"/>
                    </a:lnTo>
                    <a:lnTo>
                      <a:pt x="154" y="96"/>
                    </a:lnTo>
                    <a:lnTo>
                      <a:pt x="154" y="94"/>
                    </a:lnTo>
                    <a:lnTo>
                      <a:pt x="154" y="92"/>
                    </a:lnTo>
                    <a:lnTo>
                      <a:pt x="154" y="90"/>
                    </a:lnTo>
                    <a:lnTo>
                      <a:pt x="152" y="88"/>
                    </a:lnTo>
                    <a:lnTo>
                      <a:pt x="152" y="88"/>
                    </a:lnTo>
                    <a:lnTo>
                      <a:pt x="152" y="86"/>
                    </a:lnTo>
                    <a:lnTo>
                      <a:pt x="150" y="86"/>
                    </a:lnTo>
                    <a:lnTo>
                      <a:pt x="148" y="84"/>
                    </a:lnTo>
                    <a:lnTo>
                      <a:pt x="146" y="82"/>
                    </a:lnTo>
                    <a:lnTo>
                      <a:pt x="144" y="82"/>
                    </a:lnTo>
                    <a:lnTo>
                      <a:pt x="142" y="80"/>
                    </a:lnTo>
                    <a:lnTo>
                      <a:pt x="140" y="80"/>
                    </a:lnTo>
                    <a:lnTo>
                      <a:pt x="140" y="78"/>
                    </a:lnTo>
                    <a:lnTo>
                      <a:pt x="138" y="78"/>
                    </a:lnTo>
                    <a:lnTo>
                      <a:pt x="138" y="76"/>
                    </a:lnTo>
                    <a:lnTo>
                      <a:pt x="138" y="76"/>
                    </a:lnTo>
                    <a:lnTo>
                      <a:pt x="138" y="74"/>
                    </a:lnTo>
                    <a:lnTo>
                      <a:pt x="138" y="72"/>
                    </a:lnTo>
                    <a:lnTo>
                      <a:pt x="138" y="68"/>
                    </a:lnTo>
                    <a:lnTo>
                      <a:pt x="138" y="62"/>
                    </a:lnTo>
                    <a:lnTo>
                      <a:pt x="138" y="58"/>
                    </a:lnTo>
                    <a:lnTo>
                      <a:pt x="138" y="56"/>
                    </a:lnTo>
                    <a:lnTo>
                      <a:pt x="138" y="52"/>
                    </a:lnTo>
                    <a:lnTo>
                      <a:pt x="144" y="48"/>
                    </a:lnTo>
                    <a:lnTo>
                      <a:pt x="150" y="44"/>
                    </a:lnTo>
                    <a:lnTo>
                      <a:pt x="152" y="42"/>
                    </a:lnTo>
                    <a:lnTo>
                      <a:pt x="154" y="42"/>
                    </a:lnTo>
                    <a:lnTo>
                      <a:pt x="158" y="38"/>
                    </a:lnTo>
                    <a:lnTo>
                      <a:pt x="160" y="36"/>
                    </a:lnTo>
                    <a:lnTo>
                      <a:pt x="162" y="36"/>
                    </a:lnTo>
                    <a:lnTo>
                      <a:pt x="162" y="34"/>
                    </a:lnTo>
                    <a:lnTo>
                      <a:pt x="164" y="34"/>
                    </a:lnTo>
                    <a:lnTo>
                      <a:pt x="164" y="32"/>
                    </a:lnTo>
                    <a:lnTo>
                      <a:pt x="164" y="32"/>
                    </a:lnTo>
                    <a:lnTo>
                      <a:pt x="164" y="32"/>
                    </a:lnTo>
                    <a:lnTo>
                      <a:pt x="164" y="30"/>
                    </a:lnTo>
                    <a:lnTo>
                      <a:pt x="164" y="28"/>
                    </a:lnTo>
                    <a:lnTo>
                      <a:pt x="164" y="26"/>
                    </a:lnTo>
                    <a:lnTo>
                      <a:pt x="164" y="24"/>
                    </a:lnTo>
                    <a:lnTo>
                      <a:pt x="164" y="22"/>
                    </a:lnTo>
                    <a:lnTo>
                      <a:pt x="162" y="20"/>
                    </a:lnTo>
                    <a:lnTo>
                      <a:pt x="162" y="18"/>
                    </a:lnTo>
                    <a:lnTo>
                      <a:pt x="160" y="16"/>
                    </a:lnTo>
                    <a:lnTo>
                      <a:pt x="160" y="16"/>
                    </a:lnTo>
                    <a:lnTo>
                      <a:pt x="160" y="16"/>
                    </a:lnTo>
                    <a:lnTo>
                      <a:pt x="158" y="16"/>
                    </a:lnTo>
                    <a:lnTo>
                      <a:pt x="156" y="16"/>
                    </a:lnTo>
                    <a:lnTo>
                      <a:pt x="154" y="14"/>
                    </a:lnTo>
                    <a:lnTo>
                      <a:pt x="152" y="14"/>
                    </a:lnTo>
                    <a:lnTo>
                      <a:pt x="146" y="14"/>
                    </a:lnTo>
                    <a:lnTo>
                      <a:pt x="144" y="14"/>
                    </a:lnTo>
                    <a:lnTo>
                      <a:pt x="142" y="14"/>
                    </a:lnTo>
                    <a:lnTo>
                      <a:pt x="140" y="12"/>
                    </a:lnTo>
                    <a:lnTo>
                      <a:pt x="138" y="12"/>
                    </a:lnTo>
                    <a:lnTo>
                      <a:pt x="132" y="10"/>
                    </a:lnTo>
                    <a:lnTo>
                      <a:pt x="130" y="8"/>
                    </a:lnTo>
                    <a:lnTo>
                      <a:pt x="128" y="6"/>
                    </a:lnTo>
                    <a:lnTo>
                      <a:pt x="124" y="4"/>
                    </a:lnTo>
                    <a:lnTo>
                      <a:pt x="122" y="2"/>
                    </a:lnTo>
                    <a:lnTo>
                      <a:pt x="120" y="2"/>
                    </a:lnTo>
                    <a:lnTo>
                      <a:pt x="120" y="0"/>
                    </a:lnTo>
                    <a:lnTo>
                      <a:pt x="118" y="0"/>
                    </a:lnTo>
                    <a:lnTo>
                      <a:pt x="116" y="0"/>
                    </a:lnTo>
                    <a:lnTo>
                      <a:pt x="116" y="0"/>
                    </a:lnTo>
                    <a:lnTo>
                      <a:pt x="116" y="0"/>
                    </a:lnTo>
                    <a:lnTo>
                      <a:pt x="114" y="0"/>
                    </a:lnTo>
                    <a:lnTo>
                      <a:pt x="114" y="2"/>
                    </a:lnTo>
                    <a:lnTo>
                      <a:pt x="114" y="2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2" y="8"/>
                    </a:lnTo>
                    <a:lnTo>
                      <a:pt x="112" y="10"/>
                    </a:lnTo>
                    <a:lnTo>
                      <a:pt x="112" y="12"/>
                    </a:lnTo>
                    <a:lnTo>
                      <a:pt x="112" y="14"/>
                    </a:lnTo>
                    <a:lnTo>
                      <a:pt x="110" y="14"/>
                    </a:lnTo>
                    <a:lnTo>
                      <a:pt x="108" y="16"/>
                    </a:lnTo>
                    <a:lnTo>
                      <a:pt x="106" y="16"/>
                    </a:lnTo>
                    <a:lnTo>
                      <a:pt x="104" y="18"/>
                    </a:lnTo>
                    <a:lnTo>
                      <a:pt x="102" y="18"/>
                    </a:lnTo>
                    <a:lnTo>
                      <a:pt x="102" y="20"/>
                    </a:lnTo>
                    <a:lnTo>
                      <a:pt x="102" y="20"/>
                    </a:lnTo>
                    <a:lnTo>
                      <a:pt x="100" y="20"/>
                    </a:lnTo>
                    <a:lnTo>
                      <a:pt x="100" y="22"/>
                    </a:lnTo>
                    <a:lnTo>
                      <a:pt x="100" y="24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92" y="40"/>
                    </a:lnTo>
                    <a:lnTo>
                      <a:pt x="88" y="42"/>
                    </a:lnTo>
                    <a:lnTo>
                      <a:pt x="84" y="44"/>
                    </a:lnTo>
                    <a:lnTo>
                      <a:pt x="82" y="46"/>
                    </a:lnTo>
                    <a:lnTo>
                      <a:pt x="78" y="48"/>
                    </a:lnTo>
                    <a:lnTo>
                      <a:pt x="76" y="50"/>
                    </a:lnTo>
                    <a:lnTo>
                      <a:pt x="74" y="50"/>
                    </a:lnTo>
                    <a:lnTo>
                      <a:pt x="72" y="52"/>
                    </a:lnTo>
                    <a:lnTo>
                      <a:pt x="72" y="54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6"/>
                    </a:lnTo>
                    <a:lnTo>
                      <a:pt x="68" y="62"/>
                    </a:lnTo>
                    <a:lnTo>
                      <a:pt x="66" y="64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2" y="68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60" y="68"/>
                    </a:lnTo>
                    <a:lnTo>
                      <a:pt x="58" y="68"/>
                    </a:lnTo>
                    <a:lnTo>
                      <a:pt x="54" y="68"/>
                    </a:lnTo>
                    <a:lnTo>
                      <a:pt x="52" y="68"/>
                    </a:lnTo>
                    <a:lnTo>
                      <a:pt x="50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6" y="66"/>
                    </a:lnTo>
                    <a:lnTo>
                      <a:pt x="46" y="68"/>
                    </a:lnTo>
                    <a:lnTo>
                      <a:pt x="46" y="68"/>
                    </a:lnTo>
                    <a:lnTo>
                      <a:pt x="44" y="68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4" y="72"/>
                    </a:lnTo>
                    <a:lnTo>
                      <a:pt x="44" y="74"/>
                    </a:lnTo>
                    <a:lnTo>
                      <a:pt x="42" y="78"/>
                    </a:lnTo>
                    <a:lnTo>
                      <a:pt x="42" y="80"/>
                    </a:lnTo>
                    <a:lnTo>
                      <a:pt x="42" y="82"/>
                    </a:lnTo>
                    <a:lnTo>
                      <a:pt x="40" y="84"/>
                    </a:lnTo>
                    <a:lnTo>
                      <a:pt x="40" y="86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6" y="90"/>
                    </a:lnTo>
                    <a:lnTo>
                      <a:pt x="36" y="90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82" name="Freeform 217">
                <a:extLst>
                  <a:ext uri="{FF2B5EF4-FFF2-40B4-BE49-F238E27FC236}">
                    <a16:creationId xmlns:a16="http://schemas.microsoft.com/office/drawing/2014/main" id="{33CE859B-4ECB-4D78-9A97-A6F6F018C2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4503" y="4740440"/>
                <a:ext cx="158750" cy="196850"/>
              </a:xfrm>
              <a:custGeom>
                <a:avLst/>
                <a:gdLst>
                  <a:gd name="T0" fmla="*/ 26 w 100"/>
                  <a:gd name="T1" fmla="*/ 30 h 124"/>
                  <a:gd name="T2" fmla="*/ 22 w 100"/>
                  <a:gd name="T3" fmla="*/ 38 h 124"/>
                  <a:gd name="T4" fmla="*/ 16 w 100"/>
                  <a:gd name="T5" fmla="*/ 48 h 124"/>
                  <a:gd name="T6" fmla="*/ 14 w 100"/>
                  <a:gd name="T7" fmla="*/ 60 h 124"/>
                  <a:gd name="T8" fmla="*/ 6 w 100"/>
                  <a:gd name="T9" fmla="*/ 64 h 124"/>
                  <a:gd name="T10" fmla="*/ 2 w 100"/>
                  <a:gd name="T11" fmla="*/ 70 h 124"/>
                  <a:gd name="T12" fmla="*/ 0 w 100"/>
                  <a:gd name="T13" fmla="*/ 88 h 124"/>
                  <a:gd name="T14" fmla="*/ 4 w 100"/>
                  <a:gd name="T15" fmla="*/ 94 h 124"/>
                  <a:gd name="T16" fmla="*/ 14 w 100"/>
                  <a:gd name="T17" fmla="*/ 100 h 124"/>
                  <a:gd name="T18" fmla="*/ 16 w 100"/>
                  <a:gd name="T19" fmla="*/ 104 h 124"/>
                  <a:gd name="T20" fmla="*/ 18 w 100"/>
                  <a:gd name="T21" fmla="*/ 116 h 124"/>
                  <a:gd name="T22" fmla="*/ 24 w 100"/>
                  <a:gd name="T23" fmla="*/ 120 h 124"/>
                  <a:gd name="T24" fmla="*/ 30 w 100"/>
                  <a:gd name="T25" fmla="*/ 120 h 124"/>
                  <a:gd name="T26" fmla="*/ 34 w 100"/>
                  <a:gd name="T27" fmla="*/ 110 h 124"/>
                  <a:gd name="T28" fmla="*/ 34 w 100"/>
                  <a:gd name="T29" fmla="*/ 94 h 124"/>
                  <a:gd name="T30" fmla="*/ 40 w 100"/>
                  <a:gd name="T31" fmla="*/ 90 h 124"/>
                  <a:gd name="T32" fmla="*/ 46 w 100"/>
                  <a:gd name="T33" fmla="*/ 88 h 124"/>
                  <a:gd name="T34" fmla="*/ 46 w 100"/>
                  <a:gd name="T35" fmla="*/ 94 h 124"/>
                  <a:gd name="T36" fmla="*/ 44 w 100"/>
                  <a:gd name="T37" fmla="*/ 110 h 124"/>
                  <a:gd name="T38" fmla="*/ 48 w 100"/>
                  <a:gd name="T39" fmla="*/ 114 h 124"/>
                  <a:gd name="T40" fmla="*/ 56 w 100"/>
                  <a:gd name="T41" fmla="*/ 116 h 124"/>
                  <a:gd name="T42" fmla="*/ 60 w 100"/>
                  <a:gd name="T43" fmla="*/ 122 h 124"/>
                  <a:gd name="T44" fmla="*/ 70 w 100"/>
                  <a:gd name="T45" fmla="*/ 122 h 124"/>
                  <a:gd name="T46" fmla="*/ 72 w 100"/>
                  <a:gd name="T47" fmla="*/ 118 h 124"/>
                  <a:gd name="T48" fmla="*/ 70 w 100"/>
                  <a:gd name="T49" fmla="*/ 104 h 124"/>
                  <a:gd name="T50" fmla="*/ 60 w 100"/>
                  <a:gd name="T51" fmla="*/ 88 h 124"/>
                  <a:gd name="T52" fmla="*/ 52 w 100"/>
                  <a:gd name="T53" fmla="*/ 74 h 124"/>
                  <a:gd name="T54" fmla="*/ 56 w 100"/>
                  <a:gd name="T55" fmla="*/ 68 h 124"/>
                  <a:gd name="T56" fmla="*/ 66 w 100"/>
                  <a:gd name="T57" fmla="*/ 58 h 124"/>
                  <a:gd name="T58" fmla="*/ 70 w 100"/>
                  <a:gd name="T59" fmla="*/ 48 h 124"/>
                  <a:gd name="T60" fmla="*/ 68 w 100"/>
                  <a:gd name="T61" fmla="*/ 42 h 124"/>
                  <a:gd name="T62" fmla="*/ 62 w 100"/>
                  <a:gd name="T63" fmla="*/ 42 h 124"/>
                  <a:gd name="T64" fmla="*/ 52 w 100"/>
                  <a:gd name="T65" fmla="*/ 48 h 124"/>
                  <a:gd name="T66" fmla="*/ 44 w 100"/>
                  <a:gd name="T67" fmla="*/ 52 h 124"/>
                  <a:gd name="T68" fmla="*/ 40 w 100"/>
                  <a:gd name="T69" fmla="*/ 46 h 124"/>
                  <a:gd name="T70" fmla="*/ 38 w 100"/>
                  <a:gd name="T71" fmla="*/ 30 h 124"/>
                  <a:gd name="T72" fmla="*/ 34 w 100"/>
                  <a:gd name="T73" fmla="*/ 18 h 124"/>
                  <a:gd name="T74" fmla="*/ 36 w 100"/>
                  <a:gd name="T75" fmla="*/ 14 h 124"/>
                  <a:gd name="T76" fmla="*/ 44 w 100"/>
                  <a:gd name="T77" fmla="*/ 18 h 124"/>
                  <a:gd name="T78" fmla="*/ 52 w 100"/>
                  <a:gd name="T79" fmla="*/ 24 h 124"/>
                  <a:gd name="T80" fmla="*/ 64 w 100"/>
                  <a:gd name="T81" fmla="*/ 22 h 124"/>
                  <a:gd name="T82" fmla="*/ 70 w 100"/>
                  <a:gd name="T83" fmla="*/ 24 h 124"/>
                  <a:gd name="T84" fmla="*/ 78 w 100"/>
                  <a:gd name="T85" fmla="*/ 26 h 124"/>
                  <a:gd name="T86" fmla="*/ 96 w 100"/>
                  <a:gd name="T87" fmla="*/ 20 h 124"/>
                  <a:gd name="T88" fmla="*/ 100 w 100"/>
                  <a:gd name="T89" fmla="*/ 14 h 124"/>
                  <a:gd name="T90" fmla="*/ 96 w 100"/>
                  <a:gd name="T91" fmla="*/ 2 h 124"/>
                  <a:gd name="T92" fmla="*/ 92 w 100"/>
                  <a:gd name="T93" fmla="*/ 0 h 124"/>
                  <a:gd name="T94" fmla="*/ 86 w 100"/>
                  <a:gd name="T95" fmla="*/ 0 h 124"/>
                  <a:gd name="T96" fmla="*/ 82 w 100"/>
                  <a:gd name="T97" fmla="*/ 10 h 124"/>
                  <a:gd name="T98" fmla="*/ 74 w 100"/>
                  <a:gd name="T99" fmla="*/ 12 h 124"/>
                  <a:gd name="T100" fmla="*/ 50 w 100"/>
                  <a:gd name="T101" fmla="*/ 8 h 124"/>
                  <a:gd name="T102" fmla="*/ 32 w 100"/>
                  <a:gd name="T103" fmla="*/ 8 h 124"/>
                  <a:gd name="T104" fmla="*/ 28 w 100"/>
                  <a:gd name="T105" fmla="*/ 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0" h="124">
                    <a:moveTo>
                      <a:pt x="26" y="16"/>
                    </a:moveTo>
                    <a:lnTo>
                      <a:pt x="26" y="16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2"/>
                    </a:lnTo>
                    <a:lnTo>
                      <a:pt x="24" y="34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4" y="38"/>
                    </a:lnTo>
                    <a:lnTo>
                      <a:pt x="22" y="38"/>
                    </a:lnTo>
                    <a:lnTo>
                      <a:pt x="20" y="40"/>
                    </a:lnTo>
                    <a:lnTo>
                      <a:pt x="18" y="42"/>
                    </a:lnTo>
                    <a:lnTo>
                      <a:pt x="18" y="44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4"/>
                    </a:lnTo>
                    <a:lnTo>
                      <a:pt x="16" y="56"/>
                    </a:lnTo>
                    <a:lnTo>
                      <a:pt x="14" y="58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62"/>
                    </a:lnTo>
                    <a:lnTo>
                      <a:pt x="10" y="62"/>
                    </a:lnTo>
                    <a:lnTo>
                      <a:pt x="8" y="64"/>
                    </a:lnTo>
                    <a:lnTo>
                      <a:pt x="6" y="64"/>
                    </a:lnTo>
                    <a:lnTo>
                      <a:pt x="6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2" y="68"/>
                    </a:lnTo>
                    <a:lnTo>
                      <a:pt x="2" y="68"/>
                    </a:lnTo>
                    <a:lnTo>
                      <a:pt x="2" y="70"/>
                    </a:lnTo>
                    <a:lnTo>
                      <a:pt x="2" y="72"/>
                    </a:lnTo>
                    <a:lnTo>
                      <a:pt x="0" y="74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84"/>
                    </a:lnTo>
                    <a:lnTo>
                      <a:pt x="0" y="88"/>
                    </a:lnTo>
                    <a:lnTo>
                      <a:pt x="2" y="90"/>
                    </a:lnTo>
                    <a:lnTo>
                      <a:pt x="2" y="92"/>
                    </a:lnTo>
                    <a:lnTo>
                      <a:pt x="2" y="92"/>
                    </a:lnTo>
                    <a:lnTo>
                      <a:pt x="2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6" y="96"/>
                    </a:lnTo>
                    <a:lnTo>
                      <a:pt x="8" y="96"/>
                    </a:lnTo>
                    <a:lnTo>
                      <a:pt x="10" y="96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2"/>
                    </a:lnTo>
                    <a:lnTo>
                      <a:pt x="16" y="102"/>
                    </a:lnTo>
                    <a:lnTo>
                      <a:pt x="16" y="104"/>
                    </a:lnTo>
                    <a:lnTo>
                      <a:pt x="16" y="106"/>
                    </a:lnTo>
                    <a:lnTo>
                      <a:pt x="16" y="108"/>
                    </a:lnTo>
                    <a:lnTo>
                      <a:pt x="16" y="112"/>
                    </a:lnTo>
                    <a:lnTo>
                      <a:pt x="16" y="114"/>
                    </a:lnTo>
                    <a:lnTo>
                      <a:pt x="16" y="116"/>
                    </a:lnTo>
                    <a:lnTo>
                      <a:pt x="18" y="116"/>
                    </a:lnTo>
                    <a:lnTo>
                      <a:pt x="18" y="116"/>
                    </a:lnTo>
                    <a:lnTo>
                      <a:pt x="18" y="118"/>
                    </a:lnTo>
                    <a:lnTo>
                      <a:pt x="20" y="118"/>
                    </a:lnTo>
                    <a:lnTo>
                      <a:pt x="20" y="120"/>
                    </a:lnTo>
                    <a:lnTo>
                      <a:pt x="22" y="120"/>
                    </a:lnTo>
                    <a:lnTo>
                      <a:pt x="24" y="120"/>
                    </a:lnTo>
                    <a:lnTo>
                      <a:pt x="26" y="120"/>
                    </a:lnTo>
                    <a:lnTo>
                      <a:pt x="28" y="120"/>
                    </a:lnTo>
                    <a:lnTo>
                      <a:pt x="30" y="120"/>
                    </a:lnTo>
                    <a:lnTo>
                      <a:pt x="30" y="120"/>
                    </a:lnTo>
                    <a:lnTo>
                      <a:pt x="30" y="120"/>
                    </a:lnTo>
                    <a:lnTo>
                      <a:pt x="30" y="120"/>
                    </a:lnTo>
                    <a:lnTo>
                      <a:pt x="32" y="120"/>
                    </a:lnTo>
                    <a:lnTo>
                      <a:pt x="32" y="118"/>
                    </a:lnTo>
                    <a:lnTo>
                      <a:pt x="32" y="116"/>
                    </a:lnTo>
                    <a:lnTo>
                      <a:pt x="34" y="114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4" y="100"/>
                    </a:lnTo>
                    <a:lnTo>
                      <a:pt x="34" y="98"/>
                    </a:lnTo>
                    <a:lnTo>
                      <a:pt x="34" y="96"/>
                    </a:lnTo>
                    <a:lnTo>
                      <a:pt x="34" y="94"/>
                    </a:lnTo>
                    <a:lnTo>
                      <a:pt x="34" y="92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0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40" y="88"/>
                    </a:lnTo>
                    <a:lnTo>
                      <a:pt x="42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2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4" y="104"/>
                    </a:lnTo>
                    <a:lnTo>
                      <a:pt x="44" y="106"/>
                    </a:lnTo>
                    <a:lnTo>
                      <a:pt x="44" y="108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6" y="112"/>
                    </a:lnTo>
                    <a:lnTo>
                      <a:pt x="46" y="112"/>
                    </a:lnTo>
                    <a:lnTo>
                      <a:pt x="48" y="114"/>
                    </a:lnTo>
                    <a:lnTo>
                      <a:pt x="50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6" y="114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8" y="118"/>
                    </a:lnTo>
                    <a:lnTo>
                      <a:pt x="58" y="120"/>
                    </a:lnTo>
                    <a:lnTo>
                      <a:pt x="58" y="122"/>
                    </a:lnTo>
                    <a:lnTo>
                      <a:pt x="58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62" y="124"/>
                    </a:lnTo>
                    <a:lnTo>
                      <a:pt x="64" y="122"/>
                    </a:lnTo>
                    <a:lnTo>
                      <a:pt x="66" y="122"/>
                    </a:lnTo>
                    <a:lnTo>
                      <a:pt x="68" y="122"/>
                    </a:lnTo>
                    <a:lnTo>
                      <a:pt x="70" y="122"/>
                    </a:lnTo>
                    <a:lnTo>
                      <a:pt x="70" y="122"/>
                    </a:lnTo>
                    <a:lnTo>
                      <a:pt x="72" y="120"/>
                    </a:lnTo>
                    <a:lnTo>
                      <a:pt x="72" y="120"/>
                    </a:lnTo>
                    <a:lnTo>
                      <a:pt x="72" y="120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2" y="116"/>
                    </a:lnTo>
                    <a:lnTo>
                      <a:pt x="72" y="114"/>
                    </a:lnTo>
                    <a:lnTo>
                      <a:pt x="72" y="112"/>
                    </a:lnTo>
                    <a:lnTo>
                      <a:pt x="72" y="110"/>
                    </a:lnTo>
                    <a:lnTo>
                      <a:pt x="72" y="108"/>
                    </a:lnTo>
                    <a:lnTo>
                      <a:pt x="70" y="104"/>
                    </a:lnTo>
                    <a:lnTo>
                      <a:pt x="70" y="102"/>
                    </a:lnTo>
                    <a:lnTo>
                      <a:pt x="70" y="100"/>
                    </a:lnTo>
                    <a:lnTo>
                      <a:pt x="68" y="98"/>
                    </a:lnTo>
                    <a:lnTo>
                      <a:pt x="66" y="96"/>
                    </a:lnTo>
                    <a:lnTo>
                      <a:pt x="64" y="92"/>
                    </a:lnTo>
                    <a:lnTo>
                      <a:pt x="60" y="88"/>
                    </a:lnTo>
                    <a:lnTo>
                      <a:pt x="58" y="84"/>
                    </a:lnTo>
                    <a:lnTo>
                      <a:pt x="56" y="82"/>
                    </a:lnTo>
                    <a:lnTo>
                      <a:pt x="54" y="78"/>
                    </a:lnTo>
                    <a:lnTo>
                      <a:pt x="54" y="76"/>
                    </a:lnTo>
                    <a:lnTo>
                      <a:pt x="54" y="74"/>
                    </a:lnTo>
                    <a:lnTo>
                      <a:pt x="52" y="74"/>
                    </a:lnTo>
                    <a:lnTo>
                      <a:pt x="52" y="72"/>
                    </a:lnTo>
                    <a:lnTo>
                      <a:pt x="54" y="72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60" y="66"/>
                    </a:lnTo>
                    <a:lnTo>
                      <a:pt x="60" y="64"/>
                    </a:lnTo>
                    <a:lnTo>
                      <a:pt x="62" y="64"/>
                    </a:lnTo>
                    <a:lnTo>
                      <a:pt x="64" y="60"/>
                    </a:lnTo>
                    <a:lnTo>
                      <a:pt x="66" y="58"/>
                    </a:lnTo>
                    <a:lnTo>
                      <a:pt x="68" y="56"/>
                    </a:lnTo>
                    <a:lnTo>
                      <a:pt x="68" y="54"/>
                    </a:lnTo>
                    <a:lnTo>
                      <a:pt x="70" y="52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2"/>
                    </a:lnTo>
                    <a:lnTo>
                      <a:pt x="66" y="42"/>
                    </a:lnTo>
                    <a:lnTo>
                      <a:pt x="66" y="42"/>
                    </a:lnTo>
                    <a:lnTo>
                      <a:pt x="64" y="42"/>
                    </a:lnTo>
                    <a:lnTo>
                      <a:pt x="64" y="42"/>
                    </a:lnTo>
                    <a:lnTo>
                      <a:pt x="64" y="42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2" y="48"/>
                    </a:lnTo>
                    <a:lnTo>
                      <a:pt x="50" y="50"/>
                    </a:lnTo>
                    <a:lnTo>
                      <a:pt x="48" y="50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0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42" y="48"/>
                    </a:lnTo>
                    <a:lnTo>
                      <a:pt x="40" y="48"/>
                    </a:lnTo>
                    <a:lnTo>
                      <a:pt x="40" y="46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2"/>
                    </a:lnTo>
                    <a:lnTo>
                      <a:pt x="38" y="30"/>
                    </a:lnTo>
                    <a:lnTo>
                      <a:pt x="36" y="28"/>
                    </a:lnTo>
                    <a:lnTo>
                      <a:pt x="36" y="26"/>
                    </a:lnTo>
                    <a:lnTo>
                      <a:pt x="36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38" y="16"/>
                    </a:lnTo>
                    <a:lnTo>
                      <a:pt x="40" y="16"/>
                    </a:lnTo>
                    <a:lnTo>
                      <a:pt x="42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6" y="18"/>
                    </a:lnTo>
                    <a:lnTo>
                      <a:pt x="48" y="20"/>
                    </a:lnTo>
                    <a:lnTo>
                      <a:pt x="50" y="22"/>
                    </a:lnTo>
                    <a:lnTo>
                      <a:pt x="50" y="24"/>
                    </a:lnTo>
                    <a:lnTo>
                      <a:pt x="52" y="24"/>
                    </a:lnTo>
                    <a:lnTo>
                      <a:pt x="52" y="24"/>
                    </a:lnTo>
                    <a:lnTo>
                      <a:pt x="54" y="24"/>
                    </a:lnTo>
                    <a:lnTo>
                      <a:pt x="56" y="24"/>
                    </a:lnTo>
                    <a:lnTo>
                      <a:pt x="58" y="24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4"/>
                    </a:lnTo>
                    <a:lnTo>
                      <a:pt x="72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8" y="26"/>
                    </a:lnTo>
                    <a:lnTo>
                      <a:pt x="80" y="26"/>
                    </a:lnTo>
                    <a:lnTo>
                      <a:pt x="82" y="24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2" y="20"/>
                    </a:lnTo>
                    <a:lnTo>
                      <a:pt x="96" y="20"/>
                    </a:lnTo>
                    <a:lnTo>
                      <a:pt x="96" y="18"/>
                    </a:lnTo>
                    <a:lnTo>
                      <a:pt x="98" y="18"/>
                    </a:lnTo>
                    <a:lnTo>
                      <a:pt x="100" y="18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0" y="10"/>
                    </a:lnTo>
                    <a:lnTo>
                      <a:pt x="100" y="8"/>
                    </a:lnTo>
                    <a:lnTo>
                      <a:pt x="98" y="6"/>
                    </a:lnTo>
                    <a:lnTo>
                      <a:pt x="98" y="4"/>
                    </a:lnTo>
                    <a:lnTo>
                      <a:pt x="96" y="2"/>
                    </a:lnTo>
                    <a:lnTo>
                      <a:pt x="96" y="0"/>
                    </a:lnTo>
                    <a:lnTo>
                      <a:pt x="96" y="0"/>
                    </a:lnTo>
                    <a:lnTo>
                      <a:pt x="96" y="0"/>
                    </a:lnTo>
                    <a:lnTo>
                      <a:pt x="94" y="0"/>
                    </a:lnTo>
                    <a:lnTo>
                      <a:pt x="92" y="0"/>
                    </a:lnTo>
                    <a:lnTo>
                      <a:pt x="92" y="0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6" y="2"/>
                    </a:lnTo>
                    <a:lnTo>
                      <a:pt x="84" y="4"/>
                    </a:lnTo>
                    <a:lnTo>
                      <a:pt x="84" y="6"/>
                    </a:lnTo>
                    <a:lnTo>
                      <a:pt x="84" y="8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78" y="12"/>
                    </a:lnTo>
                    <a:lnTo>
                      <a:pt x="76" y="12"/>
                    </a:lnTo>
                    <a:lnTo>
                      <a:pt x="74" y="12"/>
                    </a:lnTo>
                    <a:lnTo>
                      <a:pt x="72" y="12"/>
                    </a:lnTo>
                    <a:lnTo>
                      <a:pt x="70" y="12"/>
                    </a:lnTo>
                    <a:lnTo>
                      <a:pt x="64" y="12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0" y="8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38" y="8"/>
                    </a:lnTo>
                    <a:lnTo>
                      <a:pt x="36" y="8"/>
                    </a:lnTo>
                    <a:lnTo>
                      <a:pt x="34" y="8"/>
                    </a:lnTo>
                    <a:lnTo>
                      <a:pt x="32" y="8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8" y="10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4"/>
                    </a:lnTo>
                    <a:lnTo>
                      <a:pt x="26" y="16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83" name="Freeform 219">
                <a:extLst>
                  <a:ext uri="{FF2B5EF4-FFF2-40B4-BE49-F238E27FC236}">
                    <a16:creationId xmlns:a16="http://schemas.microsoft.com/office/drawing/2014/main" id="{8F1737CB-FC11-414E-90B3-DF021C1FB6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7703" y="4711866"/>
                <a:ext cx="38100" cy="85725"/>
              </a:xfrm>
              <a:custGeom>
                <a:avLst/>
                <a:gdLst>
                  <a:gd name="T0" fmla="*/ 12 w 24"/>
                  <a:gd name="T1" fmla="*/ 22 h 54"/>
                  <a:gd name="T2" fmla="*/ 12 w 24"/>
                  <a:gd name="T3" fmla="*/ 22 h 54"/>
                  <a:gd name="T4" fmla="*/ 8 w 24"/>
                  <a:gd name="T5" fmla="*/ 24 h 54"/>
                  <a:gd name="T6" fmla="*/ 4 w 24"/>
                  <a:gd name="T7" fmla="*/ 26 h 54"/>
                  <a:gd name="T8" fmla="*/ 0 w 24"/>
                  <a:gd name="T9" fmla="*/ 26 h 54"/>
                  <a:gd name="T10" fmla="*/ 0 w 24"/>
                  <a:gd name="T11" fmla="*/ 28 h 54"/>
                  <a:gd name="T12" fmla="*/ 0 w 24"/>
                  <a:gd name="T13" fmla="*/ 28 h 54"/>
                  <a:gd name="T14" fmla="*/ 0 w 24"/>
                  <a:gd name="T15" fmla="*/ 32 h 54"/>
                  <a:gd name="T16" fmla="*/ 0 w 24"/>
                  <a:gd name="T17" fmla="*/ 36 h 54"/>
                  <a:gd name="T18" fmla="*/ 2 w 24"/>
                  <a:gd name="T19" fmla="*/ 40 h 54"/>
                  <a:gd name="T20" fmla="*/ 4 w 24"/>
                  <a:gd name="T21" fmla="*/ 44 h 54"/>
                  <a:gd name="T22" fmla="*/ 6 w 24"/>
                  <a:gd name="T23" fmla="*/ 46 h 54"/>
                  <a:gd name="T24" fmla="*/ 10 w 24"/>
                  <a:gd name="T25" fmla="*/ 50 h 54"/>
                  <a:gd name="T26" fmla="*/ 14 w 24"/>
                  <a:gd name="T27" fmla="*/ 52 h 54"/>
                  <a:gd name="T28" fmla="*/ 16 w 24"/>
                  <a:gd name="T29" fmla="*/ 54 h 54"/>
                  <a:gd name="T30" fmla="*/ 18 w 24"/>
                  <a:gd name="T31" fmla="*/ 54 h 54"/>
                  <a:gd name="T32" fmla="*/ 20 w 24"/>
                  <a:gd name="T33" fmla="*/ 52 h 54"/>
                  <a:gd name="T34" fmla="*/ 20 w 24"/>
                  <a:gd name="T35" fmla="*/ 50 h 54"/>
                  <a:gd name="T36" fmla="*/ 22 w 24"/>
                  <a:gd name="T37" fmla="*/ 48 h 54"/>
                  <a:gd name="T38" fmla="*/ 22 w 24"/>
                  <a:gd name="T39" fmla="*/ 44 h 54"/>
                  <a:gd name="T40" fmla="*/ 22 w 24"/>
                  <a:gd name="T41" fmla="*/ 36 h 54"/>
                  <a:gd name="T42" fmla="*/ 24 w 24"/>
                  <a:gd name="T43" fmla="*/ 32 h 54"/>
                  <a:gd name="T44" fmla="*/ 24 w 24"/>
                  <a:gd name="T45" fmla="*/ 22 h 54"/>
                  <a:gd name="T46" fmla="*/ 24 w 24"/>
                  <a:gd name="T47" fmla="*/ 16 h 54"/>
                  <a:gd name="T48" fmla="*/ 24 w 24"/>
                  <a:gd name="T49" fmla="*/ 10 h 54"/>
                  <a:gd name="T50" fmla="*/ 24 w 24"/>
                  <a:gd name="T51" fmla="*/ 6 h 54"/>
                  <a:gd name="T52" fmla="*/ 22 w 24"/>
                  <a:gd name="T53" fmla="*/ 2 h 54"/>
                  <a:gd name="T54" fmla="*/ 20 w 24"/>
                  <a:gd name="T55" fmla="*/ 0 h 54"/>
                  <a:gd name="T56" fmla="*/ 20 w 24"/>
                  <a:gd name="T57" fmla="*/ 0 h 54"/>
                  <a:gd name="T58" fmla="*/ 18 w 24"/>
                  <a:gd name="T59" fmla="*/ 0 h 54"/>
                  <a:gd name="T60" fmla="*/ 16 w 24"/>
                  <a:gd name="T61" fmla="*/ 0 h 54"/>
                  <a:gd name="T62" fmla="*/ 14 w 24"/>
                  <a:gd name="T63" fmla="*/ 2 h 54"/>
                  <a:gd name="T64" fmla="*/ 12 w 24"/>
                  <a:gd name="T65" fmla="*/ 6 h 54"/>
                  <a:gd name="T66" fmla="*/ 12 w 24"/>
                  <a:gd name="T67" fmla="*/ 6 h 54"/>
                  <a:gd name="T68" fmla="*/ 12 w 24"/>
                  <a:gd name="T69" fmla="*/ 10 h 54"/>
                  <a:gd name="T70" fmla="*/ 12 w 24"/>
                  <a:gd name="T71" fmla="*/ 14 h 54"/>
                  <a:gd name="T72" fmla="*/ 12 w 24"/>
                  <a:gd name="T73" fmla="*/ 18 h 54"/>
                  <a:gd name="T74" fmla="*/ 12 w 24"/>
                  <a:gd name="T75" fmla="*/ 2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4" h="54"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0" y="24"/>
                    </a:lnTo>
                    <a:lnTo>
                      <a:pt x="8" y="24"/>
                    </a:lnTo>
                    <a:lnTo>
                      <a:pt x="6" y="24"/>
                    </a:lnTo>
                    <a:lnTo>
                      <a:pt x="4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6" y="46"/>
                    </a:lnTo>
                    <a:lnTo>
                      <a:pt x="8" y="48"/>
                    </a:lnTo>
                    <a:lnTo>
                      <a:pt x="10" y="50"/>
                    </a:lnTo>
                    <a:lnTo>
                      <a:pt x="12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2" y="50"/>
                    </a:lnTo>
                    <a:lnTo>
                      <a:pt x="22" y="48"/>
                    </a:lnTo>
                    <a:lnTo>
                      <a:pt x="22" y="46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4" y="28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8"/>
                    </a:lnTo>
                    <a:lnTo>
                      <a:pt x="12" y="10"/>
                    </a:lnTo>
                    <a:lnTo>
                      <a:pt x="12" y="12"/>
                    </a:lnTo>
                    <a:lnTo>
                      <a:pt x="12" y="14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84" name="Freeform 221">
                <a:extLst>
                  <a:ext uri="{FF2B5EF4-FFF2-40B4-BE49-F238E27FC236}">
                    <a16:creationId xmlns:a16="http://schemas.microsoft.com/office/drawing/2014/main" id="{92D1A908-752B-4854-B12B-D4EB7D35A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9453" y="4851567"/>
                <a:ext cx="57150" cy="31750"/>
              </a:xfrm>
              <a:custGeom>
                <a:avLst/>
                <a:gdLst>
                  <a:gd name="T0" fmla="*/ 4 w 36"/>
                  <a:gd name="T1" fmla="*/ 6 h 20"/>
                  <a:gd name="T2" fmla="*/ 4 w 36"/>
                  <a:gd name="T3" fmla="*/ 6 h 20"/>
                  <a:gd name="T4" fmla="*/ 4 w 36"/>
                  <a:gd name="T5" fmla="*/ 4 h 20"/>
                  <a:gd name="T6" fmla="*/ 6 w 36"/>
                  <a:gd name="T7" fmla="*/ 4 h 20"/>
                  <a:gd name="T8" fmla="*/ 8 w 36"/>
                  <a:gd name="T9" fmla="*/ 2 h 20"/>
                  <a:gd name="T10" fmla="*/ 10 w 36"/>
                  <a:gd name="T11" fmla="*/ 2 h 20"/>
                  <a:gd name="T12" fmla="*/ 14 w 36"/>
                  <a:gd name="T13" fmla="*/ 2 h 20"/>
                  <a:gd name="T14" fmla="*/ 16 w 36"/>
                  <a:gd name="T15" fmla="*/ 2 h 20"/>
                  <a:gd name="T16" fmla="*/ 18 w 36"/>
                  <a:gd name="T17" fmla="*/ 2 h 20"/>
                  <a:gd name="T18" fmla="*/ 22 w 36"/>
                  <a:gd name="T19" fmla="*/ 0 h 20"/>
                  <a:gd name="T20" fmla="*/ 22 w 36"/>
                  <a:gd name="T21" fmla="*/ 0 h 20"/>
                  <a:gd name="T22" fmla="*/ 24 w 36"/>
                  <a:gd name="T23" fmla="*/ 0 h 20"/>
                  <a:gd name="T24" fmla="*/ 26 w 36"/>
                  <a:gd name="T25" fmla="*/ 2 h 20"/>
                  <a:gd name="T26" fmla="*/ 26 w 36"/>
                  <a:gd name="T27" fmla="*/ 2 h 20"/>
                  <a:gd name="T28" fmla="*/ 28 w 36"/>
                  <a:gd name="T29" fmla="*/ 2 h 20"/>
                  <a:gd name="T30" fmla="*/ 28 w 36"/>
                  <a:gd name="T31" fmla="*/ 2 h 20"/>
                  <a:gd name="T32" fmla="*/ 30 w 36"/>
                  <a:gd name="T33" fmla="*/ 4 h 20"/>
                  <a:gd name="T34" fmla="*/ 30 w 36"/>
                  <a:gd name="T35" fmla="*/ 6 h 20"/>
                  <a:gd name="T36" fmla="*/ 32 w 36"/>
                  <a:gd name="T37" fmla="*/ 8 h 20"/>
                  <a:gd name="T38" fmla="*/ 34 w 36"/>
                  <a:gd name="T39" fmla="*/ 12 h 20"/>
                  <a:gd name="T40" fmla="*/ 34 w 36"/>
                  <a:gd name="T41" fmla="*/ 14 h 20"/>
                  <a:gd name="T42" fmla="*/ 36 w 36"/>
                  <a:gd name="T43" fmla="*/ 16 h 20"/>
                  <a:gd name="T44" fmla="*/ 36 w 36"/>
                  <a:gd name="T45" fmla="*/ 16 h 20"/>
                  <a:gd name="T46" fmla="*/ 36 w 36"/>
                  <a:gd name="T47" fmla="*/ 18 h 20"/>
                  <a:gd name="T48" fmla="*/ 36 w 36"/>
                  <a:gd name="T49" fmla="*/ 18 h 20"/>
                  <a:gd name="T50" fmla="*/ 36 w 36"/>
                  <a:gd name="T51" fmla="*/ 18 h 20"/>
                  <a:gd name="T52" fmla="*/ 36 w 36"/>
                  <a:gd name="T53" fmla="*/ 20 h 20"/>
                  <a:gd name="T54" fmla="*/ 34 w 36"/>
                  <a:gd name="T55" fmla="*/ 20 h 20"/>
                  <a:gd name="T56" fmla="*/ 34 w 36"/>
                  <a:gd name="T57" fmla="*/ 20 h 20"/>
                  <a:gd name="T58" fmla="*/ 34 w 36"/>
                  <a:gd name="T59" fmla="*/ 20 h 20"/>
                  <a:gd name="T60" fmla="*/ 32 w 36"/>
                  <a:gd name="T61" fmla="*/ 20 h 20"/>
                  <a:gd name="T62" fmla="*/ 32 w 36"/>
                  <a:gd name="T63" fmla="*/ 18 h 20"/>
                  <a:gd name="T64" fmla="*/ 30 w 36"/>
                  <a:gd name="T65" fmla="*/ 18 h 20"/>
                  <a:gd name="T66" fmla="*/ 26 w 36"/>
                  <a:gd name="T67" fmla="*/ 16 h 20"/>
                  <a:gd name="T68" fmla="*/ 24 w 36"/>
                  <a:gd name="T69" fmla="*/ 14 h 20"/>
                  <a:gd name="T70" fmla="*/ 24 w 36"/>
                  <a:gd name="T71" fmla="*/ 14 h 20"/>
                  <a:gd name="T72" fmla="*/ 22 w 36"/>
                  <a:gd name="T73" fmla="*/ 14 h 20"/>
                  <a:gd name="T74" fmla="*/ 18 w 36"/>
                  <a:gd name="T75" fmla="*/ 12 h 20"/>
                  <a:gd name="T76" fmla="*/ 14 w 36"/>
                  <a:gd name="T77" fmla="*/ 12 h 20"/>
                  <a:gd name="T78" fmla="*/ 14 w 36"/>
                  <a:gd name="T79" fmla="*/ 12 h 20"/>
                  <a:gd name="T80" fmla="*/ 12 w 36"/>
                  <a:gd name="T81" fmla="*/ 12 h 20"/>
                  <a:gd name="T82" fmla="*/ 10 w 36"/>
                  <a:gd name="T83" fmla="*/ 12 h 20"/>
                  <a:gd name="T84" fmla="*/ 10 w 36"/>
                  <a:gd name="T85" fmla="*/ 12 h 20"/>
                  <a:gd name="T86" fmla="*/ 6 w 36"/>
                  <a:gd name="T87" fmla="*/ 14 h 20"/>
                  <a:gd name="T88" fmla="*/ 4 w 36"/>
                  <a:gd name="T89" fmla="*/ 14 h 20"/>
                  <a:gd name="T90" fmla="*/ 2 w 36"/>
                  <a:gd name="T91" fmla="*/ 14 h 20"/>
                  <a:gd name="T92" fmla="*/ 2 w 36"/>
                  <a:gd name="T93" fmla="*/ 14 h 20"/>
                  <a:gd name="T94" fmla="*/ 0 w 36"/>
                  <a:gd name="T95" fmla="*/ 14 h 20"/>
                  <a:gd name="T96" fmla="*/ 0 w 36"/>
                  <a:gd name="T97" fmla="*/ 14 h 20"/>
                  <a:gd name="T98" fmla="*/ 0 w 36"/>
                  <a:gd name="T99" fmla="*/ 14 h 20"/>
                  <a:gd name="T100" fmla="*/ 0 w 36"/>
                  <a:gd name="T101" fmla="*/ 14 h 20"/>
                  <a:gd name="T102" fmla="*/ 0 w 36"/>
                  <a:gd name="T103" fmla="*/ 14 h 20"/>
                  <a:gd name="T104" fmla="*/ 0 w 36"/>
                  <a:gd name="T105" fmla="*/ 12 h 20"/>
                  <a:gd name="T106" fmla="*/ 0 w 36"/>
                  <a:gd name="T107" fmla="*/ 10 h 20"/>
                  <a:gd name="T108" fmla="*/ 0 w 36"/>
                  <a:gd name="T109" fmla="*/ 10 h 20"/>
                  <a:gd name="T110" fmla="*/ 2 w 36"/>
                  <a:gd name="T111" fmla="*/ 8 h 20"/>
                  <a:gd name="T112" fmla="*/ 2 w 36"/>
                  <a:gd name="T113" fmla="*/ 6 h 20"/>
                  <a:gd name="T114" fmla="*/ 2 w 36"/>
                  <a:gd name="T115" fmla="*/ 6 h 20"/>
                  <a:gd name="T116" fmla="*/ 4 w 36"/>
                  <a:gd name="T117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6" h="20">
                    <a:moveTo>
                      <a:pt x="4" y="6"/>
                    </a:moveTo>
                    <a:lnTo>
                      <a:pt x="4" y="6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4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2" y="8"/>
                    </a:lnTo>
                    <a:lnTo>
                      <a:pt x="34" y="12"/>
                    </a:lnTo>
                    <a:lnTo>
                      <a:pt x="34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2" y="20"/>
                    </a:lnTo>
                    <a:lnTo>
                      <a:pt x="32" y="18"/>
                    </a:lnTo>
                    <a:lnTo>
                      <a:pt x="30" y="18"/>
                    </a:lnTo>
                    <a:lnTo>
                      <a:pt x="26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2" y="14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85" name="Freeform 225">
                <a:extLst>
                  <a:ext uri="{FF2B5EF4-FFF2-40B4-BE49-F238E27FC236}">
                    <a16:creationId xmlns:a16="http://schemas.microsoft.com/office/drawing/2014/main" id="{B5E2DBFE-45A4-4451-AC4F-8B6268973C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9627" y="4803942"/>
                <a:ext cx="60325" cy="41275"/>
              </a:xfrm>
              <a:custGeom>
                <a:avLst/>
                <a:gdLst>
                  <a:gd name="T0" fmla="*/ 14 w 38"/>
                  <a:gd name="T1" fmla="*/ 24 h 26"/>
                  <a:gd name="T2" fmla="*/ 14 w 38"/>
                  <a:gd name="T3" fmla="*/ 24 h 26"/>
                  <a:gd name="T4" fmla="*/ 14 w 38"/>
                  <a:gd name="T5" fmla="*/ 24 h 26"/>
                  <a:gd name="T6" fmla="*/ 12 w 38"/>
                  <a:gd name="T7" fmla="*/ 24 h 26"/>
                  <a:gd name="T8" fmla="*/ 8 w 38"/>
                  <a:gd name="T9" fmla="*/ 24 h 26"/>
                  <a:gd name="T10" fmla="*/ 6 w 38"/>
                  <a:gd name="T11" fmla="*/ 26 h 26"/>
                  <a:gd name="T12" fmla="*/ 4 w 38"/>
                  <a:gd name="T13" fmla="*/ 26 h 26"/>
                  <a:gd name="T14" fmla="*/ 4 w 38"/>
                  <a:gd name="T15" fmla="*/ 26 h 26"/>
                  <a:gd name="T16" fmla="*/ 2 w 38"/>
                  <a:gd name="T17" fmla="*/ 26 h 26"/>
                  <a:gd name="T18" fmla="*/ 2 w 38"/>
                  <a:gd name="T19" fmla="*/ 24 h 26"/>
                  <a:gd name="T20" fmla="*/ 2 w 38"/>
                  <a:gd name="T21" fmla="*/ 24 h 26"/>
                  <a:gd name="T22" fmla="*/ 2 w 38"/>
                  <a:gd name="T23" fmla="*/ 24 h 26"/>
                  <a:gd name="T24" fmla="*/ 0 w 38"/>
                  <a:gd name="T25" fmla="*/ 24 h 26"/>
                  <a:gd name="T26" fmla="*/ 0 w 38"/>
                  <a:gd name="T27" fmla="*/ 22 h 26"/>
                  <a:gd name="T28" fmla="*/ 0 w 38"/>
                  <a:gd name="T29" fmla="*/ 22 h 26"/>
                  <a:gd name="T30" fmla="*/ 2 w 38"/>
                  <a:gd name="T31" fmla="*/ 20 h 26"/>
                  <a:gd name="T32" fmla="*/ 2 w 38"/>
                  <a:gd name="T33" fmla="*/ 20 h 26"/>
                  <a:gd name="T34" fmla="*/ 2 w 38"/>
                  <a:gd name="T35" fmla="*/ 16 h 26"/>
                  <a:gd name="T36" fmla="*/ 4 w 38"/>
                  <a:gd name="T37" fmla="*/ 14 h 26"/>
                  <a:gd name="T38" fmla="*/ 4 w 38"/>
                  <a:gd name="T39" fmla="*/ 10 h 26"/>
                  <a:gd name="T40" fmla="*/ 6 w 38"/>
                  <a:gd name="T41" fmla="*/ 6 h 26"/>
                  <a:gd name="T42" fmla="*/ 6 w 38"/>
                  <a:gd name="T43" fmla="*/ 4 h 26"/>
                  <a:gd name="T44" fmla="*/ 8 w 38"/>
                  <a:gd name="T45" fmla="*/ 4 h 26"/>
                  <a:gd name="T46" fmla="*/ 8 w 38"/>
                  <a:gd name="T47" fmla="*/ 2 h 26"/>
                  <a:gd name="T48" fmla="*/ 10 w 38"/>
                  <a:gd name="T49" fmla="*/ 2 h 26"/>
                  <a:gd name="T50" fmla="*/ 10 w 38"/>
                  <a:gd name="T51" fmla="*/ 2 h 26"/>
                  <a:gd name="T52" fmla="*/ 10 w 38"/>
                  <a:gd name="T53" fmla="*/ 2 h 26"/>
                  <a:gd name="T54" fmla="*/ 12 w 38"/>
                  <a:gd name="T55" fmla="*/ 0 h 26"/>
                  <a:gd name="T56" fmla="*/ 14 w 38"/>
                  <a:gd name="T57" fmla="*/ 0 h 26"/>
                  <a:gd name="T58" fmla="*/ 16 w 38"/>
                  <a:gd name="T59" fmla="*/ 2 h 26"/>
                  <a:gd name="T60" fmla="*/ 18 w 38"/>
                  <a:gd name="T61" fmla="*/ 2 h 26"/>
                  <a:gd name="T62" fmla="*/ 22 w 38"/>
                  <a:gd name="T63" fmla="*/ 2 h 26"/>
                  <a:gd name="T64" fmla="*/ 24 w 38"/>
                  <a:gd name="T65" fmla="*/ 4 h 26"/>
                  <a:gd name="T66" fmla="*/ 28 w 38"/>
                  <a:gd name="T67" fmla="*/ 4 h 26"/>
                  <a:gd name="T68" fmla="*/ 32 w 38"/>
                  <a:gd name="T69" fmla="*/ 4 h 26"/>
                  <a:gd name="T70" fmla="*/ 34 w 38"/>
                  <a:gd name="T71" fmla="*/ 6 h 26"/>
                  <a:gd name="T72" fmla="*/ 34 w 38"/>
                  <a:gd name="T73" fmla="*/ 6 h 26"/>
                  <a:gd name="T74" fmla="*/ 36 w 38"/>
                  <a:gd name="T75" fmla="*/ 6 h 26"/>
                  <a:gd name="T76" fmla="*/ 36 w 38"/>
                  <a:gd name="T77" fmla="*/ 6 h 26"/>
                  <a:gd name="T78" fmla="*/ 36 w 38"/>
                  <a:gd name="T79" fmla="*/ 6 h 26"/>
                  <a:gd name="T80" fmla="*/ 38 w 38"/>
                  <a:gd name="T81" fmla="*/ 8 h 26"/>
                  <a:gd name="T82" fmla="*/ 38 w 38"/>
                  <a:gd name="T83" fmla="*/ 8 h 26"/>
                  <a:gd name="T84" fmla="*/ 38 w 38"/>
                  <a:gd name="T85" fmla="*/ 8 h 26"/>
                  <a:gd name="T86" fmla="*/ 38 w 38"/>
                  <a:gd name="T87" fmla="*/ 10 h 26"/>
                  <a:gd name="T88" fmla="*/ 36 w 38"/>
                  <a:gd name="T89" fmla="*/ 10 h 26"/>
                  <a:gd name="T90" fmla="*/ 36 w 38"/>
                  <a:gd name="T91" fmla="*/ 12 h 26"/>
                  <a:gd name="T92" fmla="*/ 34 w 38"/>
                  <a:gd name="T93" fmla="*/ 14 h 26"/>
                  <a:gd name="T94" fmla="*/ 34 w 38"/>
                  <a:gd name="T95" fmla="*/ 16 h 26"/>
                  <a:gd name="T96" fmla="*/ 32 w 38"/>
                  <a:gd name="T97" fmla="*/ 18 h 26"/>
                  <a:gd name="T98" fmla="*/ 28 w 38"/>
                  <a:gd name="T99" fmla="*/ 20 h 26"/>
                  <a:gd name="T100" fmla="*/ 28 w 38"/>
                  <a:gd name="T101" fmla="*/ 22 h 26"/>
                  <a:gd name="T102" fmla="*/ 26 w 38"/>
                  <a:gd name="T103" fmla="*/ 24 h 26"/>
                  <a:gd name="T104" fmla="*/ 24 w 38"/>
                  <a:gd name="T105" fmla="*/ 24 h 26"/>
                  <a:gd name="T106" fmla="*/ 24 w 38"/>
                  <a:gd name="T107" fmla="*/ 24 h 26"/>
                  <a:gd name="T108" fmla="*/ 22 w 38"/>
                  <a:gd name="T109" fmla="*/ 24 h 26"/>
                  <a:gd name="T110" fmla="*/ 22 w 38"/>
                  <a:gd name="T111" fmla="*/ 24 h 26"/>
                  <a:gd name="T112" fmla="*/ 20 w 38"/>
                  <a:gd name="T113" fmla="*/ 24 h 26"/>
                  <a:gd name="T114" fmla="*/ 16 w 38"/>
                  <a:gd name="T115" fmla="*/ 24 h 26"/>
                  <a:gd name="T116" fmla="*/ 16 w 38"/>
                  <a:gd name="T117" fmla="*/ 24 h 26"/>
                  <a:gd name="T118" fmla="*/ 14 w 38"/>
                  <a:gd name="T119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8" h="26">
                    <a:moveTo>
                      <a:pt x="14" y="24"/>
                    </a:moveTo>
                    <a:lnTo>
                      <a:pt x="14" y="24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0"/>
                    </a:lnTo>
                    <a:lnTo>
                      <a:pt x="36" y="10"/>
                    </a:lnTo>
                    <a:lnTo>
                      <a:pt x="36" y="12"/>
                    </a:lnTo>
                    <a:lnTo>
                      <a:pt x="34" y="14"/>
                    </a:lnTo>
                    <a:lnTo>
                      <a:pt x="34" y="16"/>
                    </a:lnTo>
                    <a:lnTo>
                      <a:pt x="32" y="18"/>
                    </a:lnTo>
                    <a:lnTo>
                      <a:pt x="28" y="20"/>
                    </a:lnTo>
                    <a:lnTo>
                      <a:pt x="28" y="22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4" y="24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86" name="Freeform 227">
                <a:extLst>
                  <a:ext uri="{FF2B5EF4-FFF2-40B4-BE49-F238E27FC236}">
                    <a16:creationId xmlns:a16="http://schemas.microsoft.com/office/drawing/2014/main" id="{880EBFD6-5DE9-4F8A-8B39-5BB3EC9B3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6928" y="4822992"/>
                <a:ext cx="228600" cy="206375"/>
              </a:xfrm>
              <a:custGeom>
                <a:avLst/>
                <a:gdLst>
                  <a:gd name="T0" fmla="*/ 120 w 144"/>
                  <a:gd name="T1" fmla="*/ 22 h 130"/>
                  <a:gd name="T2" fmla="*/ 88 w 144"/>
                  <a:gd name="T3" fmla="*/ 10 h 130"/>
                  <a:gd name="T4" fmla="*/ 80 w 144"/>
                  <a:gd name="T5" fmla="*/ 6 h 130"/>
                  <a:gd name="T6" fmla="*/ 76 w 144"/>
                  <a:gd name="T7" fmla="*/ 2 h 130"/>
                  <a:gd name="T8" fmla="*/ 72 w 144"/>
                  <a:gd name="T9" fmla="*/ 0 h 130"/>
                  <a:gd name="T10" fmla="*/ 66 w 144"/>
                  <a:gd name="T11" fmla="*/ 0 h 130"/>
                  <a:gd name="T12" fmla="*/ 60 w 144"/>
                  <a:gd name="T13" fmla="*/ 2 h 130"/>
                  <a:gd name="T14" fmla="*/ 56 w 144"/>
                  <a:gd name="T15" fmla="*/ 4 h 130"/>
                  <a:gd name="T16" fmla="*/ 50 w 144"/>
                  <a:gd name="T17" fmla="*/ 10 h 130"/>
                  <a:gd name="T18" fmla="*/ 42 w 144"/>
                  <a:gd name="T19" fmla="*/ 18 h 130"/>
                  <a:gd name="T20" fmla="*/ 38 w 144"/>
                  <a:gd name="T21" fmla="*/ 22 h 130"/>
                  <a:gd name="T22" fmla="*/ 26 w 144"/>
                  <a:gd name="T23" fmla="*/ 30 h 130"/>
                  <a:gd name="T24" fmla="*/ 20 w 144"/>
                  <a:gd name="T25" fmla="*/ 32 h 130"/>
                  <a:gd name="T26" fmla="*/ 8 w 144"/>
                  <a:gd name="T27" fmla="*/ 32 h 130"/>
                  <a:gd name="T28" fmla="*/ 4 w 144"/>
                  <a:gd name="T29" fmla="*/ 34 h 130"/>
                  <a:gd name="T30" fmla="*/ 2 w 144"/>
                  <a:gd name="T31" fmla="*/ 34 h 130"/>
                  <a:gd name="T32" fmla="*/ 0 w 144"/>
                  <a:gd name="T33" fmla="*/ 36 h 130"/>
                  <a:gd name="T34" fmla="*/ 2 w 144"/>
                  <a:gd name="T35" fmla="*/ 42 h 130"/>
                  <a:gd name="T36" fmla="*/ 6 w 144"/>
                  <a:gd name="T37" fmla="*/ 46 h 130"/>
                  <a:gd name="T38" fmla="*/ 8 w 144"/>
                  <a:gd name="T39" fmla="*/ 48 h 130"/>
                  <a:gd name="T40" fmla="*/ 12 w 144"/>
                  <a:gd name="T41" fmla="*/ 46 h 130"/>
                  <a:gd name="T42" fmla="*/ 18 w 144"/>
                  <a:gd name="T43" fmla="*/ 44 h 130"/>
                  <a:gd name="T44" fmla="*/ 22 w 144"/>
                  <a:gd name="T45" fmla="*/ 44 h 130"/>
                  <a:gd name="T46" fmla="*/ 28 w 144"/>
                  <a:gd name="T47" fmla="*/ 46 h 130"/>
                  <a:gd name="T48" fmla="*/ 38 w 144"/>
                  <a:gd name="T49" fmla="*/ 52 h 130"/>
                  <a:gd name="T50" fmla="*/ 54 w 144"/>
                  <a:gd name="T51" fmla="*/ 62 h 130"/>
                  <a:gd name="T52" fmla="*/ 64 w 144"/>
                  <a:gd name="T53" fmla="*/ 70 h 130"/>
                  <a:gd name="T54" fmla="*/ 70 w 144"/>
                  <a:gd name="T55" fmla="*/ 76 h 130"/>
                  <a:gd name="T56" fmla="*/ 70 w 144"/>
                  <a:gd name="T57" fmla="*/ 78 h 130"/>
                  <a:gd name="T58" fmla="*/ 72 w 144"/>
                  <a:gd name="T59" fmla="*/ 86 h 130"/>
                  <a:gd name="T60" fmla="*/ 72 w 144"/>
                  <a:gd name="T61" fmla="*/ 92 h 130"/>
                  <a:gd name="T62" fmla="*/ 70 w 144"/>
                  <a:gd name="T63" fmla="*/ 98 h 130"/>
                  <a:gd name="T64" fmla="*/ 68 w 144"/>
                  <a:gd name="T65" fmla="*/ 102 h 130"/>
                  <a:gd name="T66" fmla="*/ 64 w 144"/>
                  <a:gd name="T67" fmla="*/ 102 h 130"/>
                  <a:gd name="T68" fmla="*/ 58 w 144"/>
                  <a:gd name="T69" fmla="*/ 104 h 130"/>
                  <a:gd name="T70" fmla="*/ 56 w 144"/>
                  <a:gd name="T71" fmla="*/ 106 h 130"/>
                  <a:gd name="T72" fmla="*/ 54 w 144"/>
                  <a:gd name="T73" fmla="*/ 108 h 130"/>
                  <a:gd name="T74" fmla="*/ 54 w 144"/>
                  <a:gd name="T75" fmla="*/ 112 h 130"/>
                  <a:gd name="T76" fmla="*/ 56 w 144"/>
                  <a:gd name="T77" fmla="*/ 118 h 130"/>
                  <a:gd name="T78" fmla="*/ 58 w 144"/>
                  <a:gd name="T79" fmla="*/ 120 h 130"/>
                  <a:gd name="T80" fmla="*/ 62 w 144"/>
                  <a:gd name="T81" fmla="*/ 120 h 130"/>
                  <a:gd name="T82" fmla="*/ 72 w 144"/>
                  <a:gd name="T83" fmla="*/ 118 h 130"/>
                  <a:gd name="T84" fmla="*/ 80 w 144"/>
                  <a:gd name="T85" fmla="*/ 118 h 130"/>
                  <a:gd name="T86" fmla="*/ 90 w 144"/>
                  <a:gd name="T87" fmla="*/ 116 h 130"/>
                  <a:gd name="T88" fmla="*/ 94 w 144"/>
                  <a:gd name="T89" fmla="*/ 118 h 130"/>
                  <a:gd name="T90" fmla="*/ 98 w 144"/>
                  <a:gd name="T91" fmla="*/ 122 h 130"/>
                  <a:gd name="T92" fmla="*/ 100 w 144"/>
                  <a:gd name="T93" fmla="*/ 126 h 130"/>
                  <a:gd name="T94" fmla="*/ 106 w 144"/>
                  <a:gd name="T95" fmla="*/ 128 h 130"/>
                  <a:gd name="T96" fmla="*/ 112 w 144"/>
                  <a:gd name="T97" fmla="*/ 130 h 130"/>
                  <a:gd name="T98" fmla="*/ 118 w 144"/>
                  <a:gd name="T99" fmla="*/ 130 h 130"/>
                  <a:gd name="T100" fmla="*/ 124 w 144"/>
                  <a:gd name="T101" fmla="*/ 128 h 130"/>
                  <a:gd name="T102" fmla="*/ 130 w 144"/>
                  <a:gd name="T103" fmla="*/ 124 h 130"/>
                  <a:gd name="T104" fmla="*/ 134 w 144"/>
                  <a:gd name="T105" fmla="*/ 120 h 130"/>
                  <a:gd name="T106" fmla="*/ 138 w 144"/>
                  <a:gd name="T107" fmla="*/ 112 h 130"/>
                  <a:gd name="T108" fmla="*/ 144 w 144"/>
                  <a:gd name="T109" fmla="*/ 10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44" h="130">
                    <a:moveTo>
                      <a:pt x="128" y="24"/>
                    </a:moveTo>
                    <a:lnTo>
                      <a:pt x="128" y="24"/>
                    </a:lnTo>
                    <a:lnTo>
                      <a:pt x="120" y="22"/>
                    </a:lnTo>
                    <a:lnTo>
                      <a:pt x="112" y="18"/>
                    </a:lnTo>
                    <a:lnTo>
                      <a:pt x="96" y="12"/>
                    </a:lnTo>
                    <a:lnTo>
                      <a:pt x="88" y="10"/>
                    </a:lnTo>
                    <a:lnTo>
                      <a:pt x="84" y="8"/>
                    </a:lnTo>
                    <a:lnTo>
                      <a:pt x="82" y="6"/>
                    </a:lnTo>
                    <a:lnTo>
                      <a:pt x="80" y="6"/>
                    </a:lnTo>
                    <a:lnTo>
                      <a:pt x="80" y="4"/>
                    </a:lnTo>
                    <a:lnTo>
                      <a:pt x="78" y="2"/>
                    </a:lnTo>
                    <a:lnTo>
                      <a:pt x="76" y="2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6" y="0"/>
                    </a:lnTo>
                    <a:lnTo>
                      <a:pt x="64" y="0"/>
                    </a:lnTo>
                    <a:lnTo>
                      <a:pt x="62" y="2"/>
                    </a:lnTo>
                    <a:lnTo>
                      <a:pt x="60" y="2"/>
                    </a:lnTo>
                    <a:lnTo>
                      <a:pt x="58" y="2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4" y="4"/>
                    </a:lnTo>
                    <a:lnTo>
                      <a:pt x="52" y="6"/>
                    </a:lnTo>
                    <a:lnTo>
                      <a:pt x="50" y="10"/>
                    </a:lnTo>
                    <a:lnTo>
                      <a:pt x="48" y="12"/>
                    </a:lnTo>
                    <a:lnTo>
                      <a:pt x="44" y="16"/>
                    </a:lnTo>
                    <a:lnTo>
                      <a:pt x="42" y="18"/>
                    </a:lnTo>
                    <a:lnTo>
                      <a:pt x="42" y="20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2" y="26"/>
                    </a:lnTo>
                    <a:lnTo>
                      <a:pt x="28" y="28"/>
                    </a:lnTo>
                    <a:lnTo>
                      <a:pt x="26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0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6" y="34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6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8"/>
                    </a:lnTo>
                    <a:lnTo>
                      <a:pt x="10" y="48"/>
                    </a:lnTo>
                    <a:lnTo>
                      <a:pt x="10" y="46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6" y="46"/>
                    </a:lnTo>
                    <a:lnTo>
                      <a:pt x="18" y="44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8" y="46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8" y="52"/>
                    </a:lnTo>
                    <a:lnTo>
                      <a:pt x="42" y="56"/>
                    </a:lnTo>
                    <a:lnTo>
                      <a:pt x="50" y="60"/>
                    </a:lnTo>
                    <a:lnTo>
                      <a:pt x="54" y="62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4" y="70"/>
                    </a:lnTo>
                    <a:lnTo>
                      <a:pt x="66" y="72"/>
                    </a:lnTo>
                    <a:lnTo>
                      <a:pt x="68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8"/>
                    </a:lnTo>
                    <a:lnTo>
                      <a:pt x="70" y="78"/>
                    </a:lnTo>
                    <a:lnTo>
                      <a:pt x="72" y="80"/>
                    </a:lnTo>
                    <a:lnTo>
                      <a:pt x="72" y="84"/>
                    </a:lnTo>
                    <a:lnTo>
                      <a:pt x="72" y="86"/>
                    </a:lnTo>
                    <a:lnTo>
                      <a:pt x="72" y="88"/>
                    </a:lnTo>
                    <a:lnTo>
                      <a:pt x="72" y="90"/>
                    </a:lnTo>
                    <a:lnTo>
                      <a:pt x="72" y="92"/>
                    </a:lnTo>
                    <a:lnTo>
                      <a:pt x="72" y="94"/>
                    </a:lnTo>
                    <a:lnTo>
                      <a:pt x="70" y="96"/>
                    </a:lnTo>
                    <a:lnTo>
                      <a:pt x="70" y="98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6" y="102"/>
                    </a:lnTo>
                    <a:lnTo>
                      <a:pt x="64" y="102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58" y="104"/>
                    </a:lnTo>
                    <a:lnTo>
                      <a:pt x="56" y="106"/>
                    </a:lnTo>
                    <a:lnTo>
                      <a:pt x="56" y="106"/>
                    </a:lnTo>
                    <a:lnTo>
                      <a:pt x="56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4" y="108"/>
                    </a:lnTo>
                    <a:lnTo>
                      <a:pt x="54" y="110"/>
                    </a:lnTo>
                    <a:lnTo>
                      <a:pt x="54" y="112"/>
                    </a:lnTo>
                    <a:lnTo>
                      <a:pt x="54" y="112"/>
                    </a:lnTo>
                    <a:lnTo>
                      <a:pt x="56" y="114"/>
                    </a:lnTo>
                    <a:lnTo>
                      <a:pt x="56" y="116"/>
                    </a:lnTo>
                    <a:lnTo>
                      <a:pt x="56" y="118"/>
                    </a:lnTo>
                    <a:lnTo>
                      <a:pt x="58" y="118"/>
                    </a:lnTo>
                    <a:lnTo>
                      <a:pt x="58" y="118"/>
                    </a:lnTo>
                    <a:lnTo>
                      <a:pt x="58" y="120"/>
                    </a:lnTo>
                    <a:lnTo>
                      <a:pt x="60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4" y="120"/>
                    </a:lnTo>
                    <a:lnTo>
                      <a:pt x="66" y="120"/>
                    </a:lnTo>
                    <a:lnTo>
                      <a:pt x="72" y="118"/>
                    </a:lnTo>
                    <a:lnTo>
                      <a:pt x="74" y="118"/>
                    </a:lnTo>
                    <a:lnTo>
                      <a:pt x="76" y="118"/>
                    </a:lnTo>
                    <a:lnTo>
                      <a:pt x="80" y="118"/>
                    </a:lnTo>
                    <a:lnTo>
                      <a:pt x="86" y="118"/>
                    </a:lnTo>
                    <a:lnTo>
                      <a:pt x="88" y="116"/>
                    </a:lnTo>
                    <a:lnTo>
                      <a:pt x="90" y="116"/>
                    </a:lnTo>
                    <a:lnTo>
                      <a:pt x="92" y="118"/>
                    </a:lnTo>
                    <a:lnTo>
                      <a:pt x="94" y="118"/>
                    </a:lnTo>
                    <a:lnTo>
                      <a:pt x="94" y="118"/>
                    </a:lnTo>
                    <a:lnTo>
                      <a:pt x="94" y="118"/>
                    </a:lnTo>
                    <a:lnTo>
                      <a:pt x="96" y="120"/>
                    </a:lnTo>
                    <a:lnTo>
                      <a:pt x="98" y="122"/>
                    </a:lnTo>
                    <a:lnTo>
                      <a:pt x="98" y="124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2" y="126"/>
                    </a:lnTo>
                    <a:lnTo>
                      <a:pt x="104" y="128"/>
                    </a:lnTo>
                    <a:lnTo>
                      <a:pt x="106" y="128"/>
                    </a:lnTo>
                    <a:lnTo>
                      <a:pt x="108" y="130"/>
                    </a:lnTo>
                    <a:lnTo>
                      <a:pt x="110" y="130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4" y="130"/>
                    </a:lnTo>
                    <a:lnTo>
                      <a:pt x="118" y="130"/>
                    </a:lnTo>
                    <a:lnTo>
                      <a:pt x="120" y="130"/>
                    </a:lnTo>
                    <a:lnTo>
                      <a:pt x="122" y="128"/>
                    </a:lnTo>
                    <a:lnTo>
                      <a:pt x="124" y="128"/>
                    </a:lnTo>
                    <a:lnTo>
                      <a:pt x="128" y="126"/>
                    </a:lnTo>
                    <a:lnTo>
                      <a:pt x="128" y="126"/>
                    </a:lnTo>
                    <a:lnTo>
                      <a:pt x="130" y="124"/>
                    </a:lnTo>
                    <a:lnTo>
                      <a:pt x="132" y="124"/>
                    </a:lnTo>
                    <a:lnTo>
                      <a:pt x="132" y="122"/>
                    </a:lnTo>
                    <a:lnTo>
                      <a:pt x="134" y="120"/>
                    </a:lnTo>
                    <a:lnTo>
                      <a:pt x="134" y="118"/>
                    </a:lnTo>
                    <a:lnTo>
                      <a:pt x="136" y="114"/>
                    </a:lnTo>
                    <a:lnTo>
                      <a:pt x="138" y="112"/>
                    </a:lnTo>
                    <a:lnTo>
                      <a:pt x="138" y="110"/>
                    </a:lnTo>
                    <a:lnTo>
                      <a:pt x="142" y="104"/>
                    </a:lnTo>
                    <a:lnTo>
                      <a:pt x="144" y="100"/>
                    </a:lnTo>
                    <a:lnTo>
                      <a:pt x="128" y="24"/>
                    </a:lnTo>
                    <a:close/>
                  </a:path>
                </a:pathLst>
              </a:custGeom>
              <a:grpFill/>
              <a:ln w="6350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</p:grpSp>
        <p:sp>
          <p:nvSpPr>
            <p:cNvPr id="1905" name="Rectangle 602">
              <a:extLst>
                <a:ext uri="{FF2B5EF4-FFF2-40B4-BE49-F238E27FC236}">
                  <a16:creationId xmlns:a16="http://schemas.microsoft.com/office/drawing/2014/main" id="{793136B2-9024-45CE-B21B-E71ED004EA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5195" y="4514152"/>
              <a:ext cx="1710" cy="1673"/>
            </a:xfrm>
            <a:prstGeom prst="rect">
              <a:avLst/>
            </a:prstGeom>
            <a:solidFill>
              <a:srgbClr val="FF2929">
                <a:alpha val="10196"/>
              </a:srgbClr>
            </a:solidFill>
            <a:ln w="635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06" name="Freeform 536">
              <a:extLst>
                <a:ext uri="{FF2B5EF4-FFF2-40B4-BE49-F238E27FC236}">
                  <a16:creationId xmlns:a16="http://schemas.microsoft.com/office/drawing/2014/main" id="{AFE2AB6B-D7F9-426D-82FB-8FFC93CBF76B}"/>
                </a:ext>
              </a:extLst>
            </p:cNvPr>
            <p:cNvSpPr/>
            <p:nvPr/>
          </p:nvSpPr>
          <p:spPr bwMode="gray">
            <a:xfrm>
              <a:off x="1852988" y="4326355"/>
              <a:ext cx="290432" cy="231256"/>
            </a:xfrm>
            <a:custGeom>
              <a:avLst/>
              <a:gdLst>
                <a:gd name="connsiteX0" fmla="*/ 231731 w 294452"/>
                <a:gd name="connsiteY0" fmla="*/ 10 h 239637"/>
                <a:gd name="connsiteX1" fmla="*/ 246404 w 294452"/>
                <a:gd name="connsiteY1" fmla="*/ 5482 h 239637"/>
                <a:gd name="connsiteX2" fmla="*/ 245140 w 294452"/>
                <a:gd name="connsiteY2" fmla="*/ 45916 h 239637"/>
                <a:gd name="connsiteX3" fmla="*/ 263275 w 294452"/>
                <a:gd name="connsiteY3" fmla="*/ 52559 h 239637"/>
                <a:gd name="connsiteX4" fmla="*/ 263275 w 294452"/>
                <a:gd name="connsiteY4" fmla="*/ 52573 h 239637"/>
                <a:gd name="connsiteX5" fmla="*/ 263275 w 294452"/>
                <a:gd name="connsiteY5" fmla="*/ 56037 h 239637"/>
                <a:gd name="connsiteX6" fmla="*/ 263275 w 294452"/>
                <a:gd name="connsiteY6" fmla="*/ 59501 h 239637"/>
                <a:gd name="connsiteX7" fmla="*/ 263275 w 294452"/>
                <a:gd name="connsiteY7" fmla="*/ 62693 h 239637"/>
                <a:gd name="connsiteX8" fmla="*/ 263274 w 294452"/>
                <a:gd name="connsiteY8" fmla="*/ 62693 h 239637"/>
                <a:gd name="connsiteX9" fmla="*/ 263274 w 294452"/>
                <a:gd name="connsiteY9" fmla="*/ 62966 h 239637"/>
                <a:gd name="connsiteX10" fmla="*/ 263274 w 294452"/>
                <a:gd name="connsiteY10" fmla="*/ 73358 h 239637"/>
                <a:gd name="connsiteX11" fmla="*/ 263274 w 294452"/>
                <a:gd name="connsiteY11" fmla="*/ 80286 h 239637"/>
                <a:gd name="connsiteX12" fmla="*/ 263274 w 294452"/>
                <a:gd name="connsiteY12" fmla="*/ 87215 h 239637"/>
                <a:gd name="connsiteX13" fmla="*/ 263274 w 294452"/>
                <a:gd name="connsiteY13" fmla="*/ 90679 h 239637"/>
                <a:gd name="connsiteX14" fmla="*/ 263274 w 294452"/>
                <a:gd name="connsiteY14" fmla="*/ 94143 h 239637"/>
                <a:gd name="connsiteX15" fmla="*/ 263274 w 294452"/>
                <a:gd name="connsiteY15" fmla="*/ 97607 h 239637"/>
                <a:gd name="connsiteX16" fmla="*/ 259810 w 294452"/>
                <a:gd name="connsiteY16" fmla="*/ 101071 h 239637"/>
                <a:gd name="connsiteX17" fmla="*/ 256346 w 294452"/>
                <a:gd name="connsiteY17" fmla="*/ 101071 h 239637"/>
                <a:gd name="connsiteX18" fmla="*/ 252882 w 294452"/>
                <a:gd name="connsiteY18" fmla="*/ 101071 h 239637"/>
                <a:gd name="connsiteX19" fmla="*/ 249418 w 294452"/>
                <a:gd name="connsiteY19" fmla="*/ 101071 h 239637"/>
                <a:gd name="connsiteX20" fmla="*/ 245954 w 294452"/>
                <a:gd name="connsiteY20" fmla="*/ 101071 h 239637"/>
                <a:gd name="connsiteX21" fmla="*/ 242489 w 294452"/>
                <a:gd name="connsiteY21" fmla="*/ 101071 h 239637"/>
                <a:gd name="connsiteX22" fmla="*/ 239025 w 294452"/>
                <a:gd name="connsiteY22" fmla="*/ 101071 h 239637"/>
                <a:gd name="connsiteX23" fmla="*/ 235561 w 294452"/>
                <a:gd name="connsiteY23" fmla="*/ 101071 h 239637"/>
                <a:gd name="connsiteX24" fmla="*/ 235561 w 294452"/>
                <a:gd name="connsiteY24" fmla="*/ 104535 h 239637"/>
                <a:gd name="connsiteX25" fmla="*/ 232097 w 294452"/>
                <a:gd name="connsiteY25" fmla="*/ 104535 h 239637"/>
                <a:gd name="connsiteX26" fmla="*/ 232097 w 294452"/>
                <a:gd name="connsiteY26" fmla="*/ 108000 h 239637"/>
                <a:gd name="connsiteX27" fmla="*/ 235561 w 294452"/>
                <a:gd name="connsiteY27" fmla="*/ 108000 h 239637"/>
                <a:gd name="connsiteX28" fmla="*/ 235561 w 294452"/>
                <a:gd name="connsiteY28" fmla="*/ 111464 h 239637"/>
                <a:gd name="connsiteX29" fmla="*/ 239025 w 294452"/>
                <a:gd name="connsiteY29" fmla="*/ 114928 h 239637"/>
                <a:gd name="connsiteX30" fmla="*/ 239025 w 294452"/>
                <a:gd name="connsiteY30" fmla="*/ 121856 h 239637"/>
                <a:gd name="connsiteX31" fmla="*/ 242489 w 294452"/>
                <a:gd name="connsiteY31" fmla="*/ 125320 h 239637"/>
                <a:gd name="connsiteX32" fmla="*/ 245954 w 294452"/>
                <a:gd name="connsiteY32" fmla="*/ 125320 h 239637"/>
                <a:gd name="connsiteX33" fmla="*/ 249418 w 294452"/>
                <a:gd name="connsiteY33" fmla="*/ 128784 h 239637"/>
                <a:gd name="connsiteX34" fmla="*/ 252882 w 294452"/>
                <a:gd name="connsiteY34" fmla="*/ 128784 h 239637"/>
                <a:gd name="connsiteX35" fmla="*/ 256346 w 294452"/>
                <a:gd name="connsiteY35" fmla="*/ 128784 h 239637"/>
                <a:gd name="connsiteX36" fmla="*/ 259810 w 294452"/>
                <a:gd name="connsiteY36" fmla="*/ 128784 h 239637"/>
                <a:gd name="connsiteX37" fmla="*/ 259810 w 294452"/>
                <a:gd name="connsiteY37" fmla="*/ 132249 h 239637"/>
                <a:gd name="connsiteX38" fmla="*/ 263274 w 294452"/>
                <a:gd name="connsiteY38" fmla="*/ 132249 h 239637"/>
                <a:gd name="connsiteX39" fmla="*/ 263274 w 294452"/>
                <a:gd name="connsiteY39" fmla="*/ 135713 h 239637"/>
                <a:gd name="connsiteX40" fmla="*/ 263274 w 294452"/>
                <a:gd name="connsiteY40" fmla="*/ 139177 h 239637"/>
                <a:gd name="connsiteX41" fmla="*/ 263274 w 294452"/>
                <a:gd name="connsiteY41" fmla="*/ 142641 h 239637"/>
                <a:gd name="connsiteX42" fmla="*/ 263274 w 294452"/>
                <a:gd name="connsiteY42" fmla="*/ 146105 h 239637"/>
                <a:gd name="connsiteX43" fmla="*/ 263274 w 294452"/>
                <a:gd name="connsiteY43" fmla="*/ 149569 h 239637"/>
                <a:gd name="connsiteX44" fmla="*/ 263274 w 294452"/>
                <a:gd name="connsiteY44" fmla="*/ 153034 h 239637"/>
                <a:gd name="connsiteX45" fmla="*/ 266738 w 294452"/>
                <a:gd name="connsiteY45" fmla="*/ 156498 h 239637"/>
                <a:gd name="connsiteX46" fmla="*/ 270203 w 294452"/>
                <a:gd name="connsiteY46" fmla="*/ 159962 h 239637"/>
                <a:gd name="connsiteX47" fmla="*/ 273667 w 294452"/>
                <a:gd name="connsiteY47" fmla="*/ 159962 h 239637"/>
                <a:gd name="connsiteX48" fmla="*/ 280595 w 294452"/>
                <a:gd name="connsiteY48" fmla="*/ 163426 h 239637"/>
                <a:gd name="connsiteX49" fmla="*/ 280595 w 294452"/>
                <a:gd name="connsiteY49" fmla="*/ 166890 h 239637"/>
                <a:gd name="connsiteX50" fmla="*/ 284059 w 294452"/>
                <a:gd name="connsiteY50" fmla="*/ 166890 h 239637"/>
                <a:gd name="connsiteX51" fmla="*/ 287523 w 294452"/>
                <a:gd name="connsiteY51" fmla="*/ 170354 h 239637"/>
                <a:gd name="connsiteX52" fmla="*/ 290988 w 294452"/>
                <a:gd name="connsiteY52" fmla="*/ 177283 h 239637"/>
                <a:gd name="connsiteX53" fmla="*/ 290988 w 294452"/>
                <a:gd name="connsiteY53" fmla="*/ 180747 h 239637"/>
                <a:gd name="connsiteX54" fmla="*/ 294452 w 294452"/>
                <a:gd name="connsiteY54" fmla="*/ 180747 h 239637"/>
                <a:gd name="connsiteX55" fmla="*/ 294452 w 294452"/>
                <a:gd name="connsiteY55" fmla="*/ 184211 h 239637"/>
                <a:gd name="connsiteX56" fmla="*/ 294452 w 294452"/>
                <a:gd name="connsiteY56" fmla="*/ 187675 h 239637"/>
                <a:gd name="connsiteX57" fmla="*/ 294452 w 294452"/>
                <a:gd name="connsiteY57" fmla="*/ 191139 h 239637"/>
                <a:gd name="connsiteX58" fmla="*/ 294452 w 294452"/>
                <a:gd name="connsiteY58" fmla="*/ 198067 h 239637"/>
                <a:gd name="connsiteX59" fmla="*/ 294452 w 294452"/>
                <a:gd name="connsiteY59" fmla="*/ 201532 h 239637"/>
                <a:gd name="connsiteX60" fmla="*/ 259810 w 294452"/>
                <a:gd name="connsiteY60" fmla="*/ 229245 h 239637"/>
                <a:gd name="connsiteX61" fmla="*/ 249418 w 294452"/>
                <a:gd name="connsiteY61" fmla="*/ 232709 h 239637"/>
                <a:gd name="connsiteX62" fmla="*/ 239025 w 294452"/>
                <a:gd name="connsiteY62" fmla="*/ 236173 h 239637"/>
                <a:gd name="connsiteX63" fmla="*/ 235561 w 294452"/>
                <a:gd name="connsiteY63" fmla="*/ 239637 h 239637"/>
                <a:gd name="connsiteX64" fmla="*/ 232097 w 294452"/>
                <a:gd name="connsiteY64" fmla="*/ 239637 h 239637"/>
                <a:gd name="connsiteX65" fmla="*/ 228633 w 294452"/>
                <a:gd name="connsiteY65" fmla="*/ 239637 h 239637"/>
                <a:gd name="connsiteX66" fmla="*/ 225169 w 294452"/>
                <a:gd name="connsiteY66" fmla="*/ 239637 h 239637"/>
                <a:gd name="connsiteX67" fmla="*/ 218240 w 294452"/>
                <a:gd name="connsiteY67" fmla="*/ 239637 h 239637"/>
                <a:gd name="connsiteX68" fmla="*/ 211312 w 294452"/>
                <a:gd name="connsiteY68" fmla="*/ 236173 h 239637"/>
                <a:gd name="connsiteX69" fmla="*/ 204384 w 294452"/>
                <a:gd name="connsiteY69" fmla="*/ 236173 h 239637"/>
                <a:gd name="connsiteX70" fmla="*/ 190527 w 294452"/>
                <a:gd name="connsiteY70" fmla="*/ 236173 h 239637"/>
                <a:gd name="connsiteX71" fmla="*/ 180135 w 294452"/>
                <a:gd name="connsiteY71" fmla="*/ 236173 h 239637"/>
                <a:gd name="connsiteX72" fmla="*/ 180135 w 294452"/>
                <a:gd name="connsiteY72" fmla="*/ 232709 h 239637"/>
                <a:gd name="connsiteX73" fmla="*/ 176670 w 294452"/>
                <a:gd name="connsiteY73" fmla="*/ 232709 h 239637"/>
                <a:gd name="connsiteX74" fmla="*/ 173206 w 294452"/>
                <a:gd name="connsiteY74" fmla="*/ 229245 h 239637"/>
                <a:gd name="connsiteX75" fmla="*/ 169742 w 294452"/>
                <a:gd name="connsiteY75" fmla="*/ 229245 h 239637"/>
                <a:gd name="connsiteX76" fmla="*/ 166278 w 294452"/>
                <a:gd name="connsiteY76" fmla="*/ 229245 h 239637"/>
                <a:gd name="connsiteX77" fmla="*/ 162814 w 294452"/>
                <a:gd name="connsiteY77" fmla="*/ 229245 h 239637"/>
                <a:gd name="connsiteX78" fmla="*/ 159350 w 294452"/>
                <a:gd name="connsiteY78" fmla="*/ 225781 h 239637"/>
                <a:gd name="connsiteX79" fmla="*/ 159350 w 294452"/>
                <a:gd name="connsiteY79" fmla="*/ 222316 h 239637"/>
                <a:gd name="connsiteX80" fmla="*/ 155886 w 294452"/>
                <a:gd name="connsiteY80" fmla="*/ 218852 h 239637"/>
                <a:gd name="connsiteX81" fmla="*/ 155886 w 294452"/>
                <a:gd name="connsiteY81" fmla="*/ 215388 h 239637"/>
                <a:gd name="connsiteX82" fmla="*/ 152421 w 294452"/>
                <a:gd name="connsiteY82" fmla="*/ 215388 h 239637"/>
                <a:gd name="connsiteX83" fmla="*/ 148957 w 294452"/>
                <a:gd name="connsiteY83" fmla="*/ 215388 h 239637"/>
                <a:gd name="connsiteX84" fmla="*/ 145493 w 294452"/>
                <a:gd name="connsiteY84" fmla="*/ 211924 h 239637"/>
                <a:gd name="connsiteX85" fmla="*/ 142029 w 294452"/>
                <a:gd name="connsiteY85" fmla="*/ 211924 h 239637"/>
                <a:gd name="connsiteX86" fmla="*/ 138565 w 294452"/>
                <a:gd name="connsiteY86" fmla="*/ 211924 h 239637"/>
                <a:gd name="connsiteX87" fmla="*/ 131636 w 294452"/>
                <a:gd name="connsiteY87" fmla="*/ 211924 h 239637"/>
                <a:gd name="connsiteX88" fmla="*/ 124708 w 294452"/>
                <a:gd name="connsiteY88" fmla="*/ 211924 h 239637"/>
                <a:gd name="connsiteX89" fmla="*/ 117780 w 294452"/>
                <a:gd name="connsiteY89" fmla="*/ 215388 h 239637"/>
                <a:gd name="connsiteX90" fmla="*/ 110852 w 294452"/>
                <a:gd name="connsiteY90" fmla="*/ 215388 h 239637"/>
                <a:gd name="connsiteX91" fmla="*/ 107387 w 294452"/>
                <a:gd name="connsiteY91" fmla="*/ 215388 h 239637"/>
                <a:gd name="connsiteX92" fmla="*/ 103923 w 294452"/>
                <a:gd name="connsiteY92" fmla="*/ 215388 h 239637"/>
                <a:gd name="connsiteX93" fmla="*/ 100459 w 294452"/>
                <a:gd name="connsiteY93" fmla="*/ 211924 h 239637"/>
                <a:gd name="connsiteX94" fmla="*/ 96995 w 294452"/>
                <a:gd name="connsiteY94" fmla="*/ 211924 h 239637"/>
                <a:gd name="connsiteX95" fmla="*/ 93531 w 294452"/>
                <a:gd name="connsiteY95" fmla="*/ 208460 h 239637"/>
                <a:gd name="connsiteX96" fmla="*/ 90067 w 294452"/>
                <a:gd name="connsiteY96" fmla="*/ 208460 h 239637"/>
                <a:gd name="connsiteX97" fmla="*/ 90067 w 294452"/>
                <a:gd name="connsiteY97" fmla="*/ 204996 h 239637"/>
                <a:gd name="connsiteX98" fmla="*/ 90067 w 294452"/>
                <a:gd name="connsiteY98" fmla="*/ 201532 h 239637"/>
                <a:gd name="connsiteX99" fmla="*/ 86602 w 294452"/>
                <a:gd name="connsiteY99" fmla="*/ 201532 h 239637"/>
                <a:gd name="connsiteX100" fmla="*/ 86602 w 294452"/>
                <a:gd name="connsiteY100" fmla="*/ 198067 h 239637"/>
                <a:gd name="connsiteX101" fmla="*/ 86602 w 294452"/>
                <a:gd name="connsiteY101" fmla="*/ 194603 h 239637"/>
                <a:gd name="connsiteX102" fmla="*/ 86602 w 294452"/>
                <a:gd name="connsiteY102" fmla="*/ 191139 h 239637"/>
                <a:gd name="connsiteX103" fmla="*/ 90067 w 294452"/>
                <a:gd name="connsiteY103" fmla="*/ 187675 h 239637"/>
                <a:gd name="connsiteX104" fmla="*/ 90067 w 294452"/>
                <a:gd name="connsiteY104" fmla="*/ 184211 h 239637"/>
                <a:gd name="connsiteX105" fmla="*/ 86602 w 294452"/>
                <a:gd name="connsiteY105" fmla="*/ 180747 h 239637"/>
                <a:gd name="connsiteX106" fmla="*/ 86602 w 294452"/>
                <a:gd name="connsiteY106" fmla="*/ 177283 h 239637"/>
                <a:gd name="connsiteX107" fmla="*/ 83138 w 294452"/>
                <a:gd name="connsiteY107" fmla="*/ 173818 h 239637"/>
                <a:gd name="connsiteX108" fmla="*/ 79674 w 294452"/>
                <a:gd name="connsiteY108" fmla="*/ 170354 h 239637"/>
                <a:gd name="connsiteX109" fmla="*/ 79674 w 294452"/>
                <a:gd name="connsiteY109" fmla="*/ 166890 h 239637"/>
                <a:gd name="connsiteX110" fmla="*/ 76210 w 294452"/>
                <a:gd name="connsiteY110" fmla="*/ 166890 h 239637"/>
                <a:gd name="connsiteX111" fmla="*/ 69282 w 294452"/>
                <a:gd name="connsiteY111" fmla="*/ 163426 h 239637"/>
                <a:gd name="connsiteX112" fmla="*/ 65818 w 294452"/>
                <a:gd name="connsiteY112" fmla="*/ 163426 h 239637"/>
                <a:gd name="connsiteX113" fmla="*/ 62353 w 294452"/>
                <a:gd name="connsiteY113" fmla="*/ 159962 h 239637"/>
                <a:gd name="connsiteX114" fmla="*/ 62353 w 294452"/>
                <a:gd name="connsiteY114" fmla="*/ 156498 h 239637"/>
                <a:gd name="connsiteX115" fmla="*/ 62353 w 294452"/>
                <a:gd name="connsiteY115" fmla="*/ 153034 h 239637"/>
                <a:gd name="connsiteX116" fmla="*/ 62353 w 294452"/>
                <a:gd name="connsiteY116" fmla="*/ 146105 h 239637"/>
                <a:gd name="connsiteX117" fmla="*/ 62353 w 294452"/>
                <a:gd name="connsiteY117" fmla="*/ 142641 h 239637"/>
                <a:gd name="connsiteX118" fmla="*/ 62353 w 294452"/>
                <a:gd name="connsiteY118" fmla="*/ 139177 h 239637"/>
                <a:gd name="connsiteX119" fmla="*/ 62353 w 294452"/>
                <a:gd name="connsiteY119" fmla="*/ 135713 h 239637"/>
                <a:gd name="connsiteX120" fmla="*/ 58889 w 294452"/>
                <a:gd name="connsiteY120" fmla="*/ 135713 h 239637"/>
                <a:gd name="connsiteX121" fmla="*/ 58889 w 294452"/>
                <a:gd name="connsiteY121" fmla="*/ 132249 h 239637"/>
                <a:gd name="connsiteX122" fmla="*/ 55425 w 294452"/>
                <a:gd name="connsiteY122" fmla="*/ 132249 h 239637"/>
                <a:gd name="connsiteX123" fmla="*/ 51961 w 294452"/>
                <a:gd name="connsiteY123" fmla="*/ 132249 h 239637"/>
                <a:gd name="connsiteX124" fmla="*/ 48497 w 294452"/>
                <a:gd name="connsiteY124" fmla="*/ 132249 h 239637"/>
                <a:gd name="connsiteX125" fmla="*/ 45033 w 294452"/>
                <a:gd name="connsiteY125" fmla="*/ 132249 h 239637"/>
                <a:gd name="connsiteX126" fmla="*/ 41568 w 294452"/>
                <a:gd name="connsiteY126" fmla="*/ 132249 h 239637"/>
                <a:gd name="connsiteX127" fmla="*/ 38104 w 294452"/>
                <a:gd name="connsiteY127" fmla="*/ 132249 h 239637"/>
                <a:gd name="connsiteX128" fmla="*/ 38104 w 294452"/>
                <a:gd name="connsiteY128" fmla="*/ 128784 h 239637"/>
                <a:gd name="connsiteX129" fmla="*/ 34640 w 294452"/>
                <a:gd name="connsiteY129" fmla="*/ 128784 h 239637"/>
                <a:gd name="connsiteX130" fmla="*/ 34640 w 294452"/>
                <a:gd name="connsiteY130" fmla="*/ 125320 h 239637"/>
                <a:gd name="connsiteX131" fmla="*/ 34640 w 294452"/>
                <a:gd name="connsiteY131" fmla="*/ 121856 h 239637"/>
                <a:gd name="connsiteX132" fmla="*/ 34640 w 294452"/>
                <a:gd name="connsiteY132" fmla="*/ 118392 h 239637"/>
                <a:gd name="connsiteX133" fmla="*/ 34640 w 294452"/>
                <a:gd name="connsiteY133" fmla="*/ 114928 h 239637"/>
                <a:gd name="connsiteX134" fmla="*/ 31176 w 294452"/>
                <a:gd name="connsiteY134" fmla="*/ 111464 h 239637"/>
                <a:gd name="connsiteX135" fmla="*/ 31176 w 294452"/>
                <a:gd name="connsiteY135" fmla="*/ 108000 h 239637"/>
                <a:gd name="connsiteX136" fmla="*/ 31176 w 294452"/>
                <a:gd name="connsiteY136" fmla="*/ 104535 h 239637"/>
                <a:gd name="connsiteX137" fmla="*/ 27712 w 294452"/>
                <a:gd name="connsiteY137" fmla="*/ 104535 h 239637"/>
                <a:gd name="connsiteX138" fmla="*/ 24248 w 294452"/>
                <a:gd name="connsiteY138" fmla="*/ 104535 h 239637"/>
                <a:gd name="connsiteX139" fmla="*/ 20783 w 294452"/>
                <a:gd name="connsiteY139" fmla="*/ 108000 h 239637"/>
                <a:gd name="connsiteX140" fmla="*/ 17319 w 294452"/>
                <a:gd name="connsiteY140" fmla="*/ 108000 h 239637"/>
                <a:gd name="connsiteX141" fmla="*/ 13855 w 294452"/>
                <a:gd name="connsiteY141" fmla="*/ 108000 h 239637"/>
                <a:gd name="connsiteX142" fmla="*/ 10391 w 294452"/>
                <a:gd name="connsiteY142" fmla="*/ 108000 h 239637"/>
                <a:gd name="connsiteX143" fmla="*/ 10391 w 294452"/>
                <a:gd name="connsiteY143" fmla="*/ 104535 h 239637"/>
                <a:gd name="connsiteX144" fmla="*/ 10391 w 294452"/>
                <a:gd name="connsiteY144" fmla="*/ 101071 h 239637"/>
                <a:gd name="connsiteX145" fmla="*/ 10391 w 294452"/>
                <a:gd name="connsiteY145" fmla="*/ 97607 h 239637"/>
                <a:gd name="connsiteX146" fmla="*/ 10391 w 294452"/>
                <a:gd name="connsiteY146" fmla="*/ 94143 h 239637"/>
                <a:gd name="connsiteX147" fmla="*/ 6927 w 294452"/>
                <a:gd name="connsiteY147" fmla="*/ 94143 h 239637"/>
                <a:gd name="connsiteX148" fmla="*/ 6608 w 294452"/>
                <a:gd name="connsiteY148" fmla="*/ 93824 h 239637"/>
                <a:gd name="connsiteX149" fmla="*/ 6609 w 294452"/>
                <a:gd name="connsiteY149" fmla="*/ 93824 h 239637"/>
                <a:gd name="connsiteX150" fmla="*/ 3464 w 294452"/>
                <a:gd name="connsiteY150" fmla="*/ 90679 h 239637"/>
                <a:gd name="connsiteX151" fmla="*/ 0 w 294452"/>
                <a:gd name="connsiteY151" fmla="*/ 90679 h 239637"/>
                <a:gd name="connsiteX152" fmla="*/ 0 w 294452"/>
                <a:gd name="connsiteY152" fmla="*/ 87215 h 239637"/>
                <a:gd name="connsiteX153" fmla="*/ 0 w 294452"/>
                <a:gd name="connsiteY153" fmla="*/ 83751 h 239637"/>
                <a:gd name="connsiteX154" fmla="*/ 0 w 294452"/>
                <a:gd name="connsiteY154" fmla="*/ 80334 h 239637"/>
                <a:gd name="connsiteX155" fmla="*/ 7589 w 294452"/>
                <a:gd name="connsiteY155" fmla="*/ 66132 h 239637"/>
                <a:gd name="connsiteX156" fmla="*/ 37915 w 294452"/>
                <a:gd name="connsiteY156" fmla="*/ 58551 h 239637"/>
                <a:gd name="connsiteX157" fmla="*/ 46759 w 294452"/>
                <a:gd name="connsiteY157" fmla="*/ 43388 h 239637"/>
                <a:gd name="connsiteX158" fmla="*/ 64450 w 294452"/>
                <a:gd name="connsiteY158" fmla="*/ 52233 h 239637"/>
                <a:gd name="connsiteX159" fmla="*/ 82139 w 294452"/>
                <a:gd name="connsiteY159" fmla="*/ 72450 h 239637"/>
                <a:gd name="connsiteX160" fmla="*/ 130568 w 294452"/>
                <a:gd name="connsiteY160" fmla="*/ 68666 h 239637"/>
                <a:gd name="connsiteX161" fmla="*/ 159217 w 294452"/>
                <a:gd name="connsiteY161" fmla="*/ 52233 h 239637"/>
                <a:gd name="connsiteX162" fmla="*/ 193334 w 294452"/>
                <a:gd name="connsiteY162" fmla="*/ 68659 h 239637"/>
                <a:gd name="connsiteX163" fmla="*/ 218605 w 294452"/>
                <a:gd name="connsiteY163" fmla="*/ 34543 h 239637"/>
                <a:gd name="connsiteX164" fmla="*/ 222396 w 294452"/>
                <a:gd name="connsiteY164" fmla="*/ 2954 h 239637"/>
                <a:gd name="connsiteX165" fmla="*/ 231731 w 294452"/>
                <a:gd name="connsiteY165" fmla="*/ 10 h 239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</a:cxnLst>
              <a:rect l="l" t="t" r="r" b="b"/>
              <a:pathLst>
                <a:path w="294452" h="239637">
                  <a:moveTo>
                    <a:pt x="231731" y="10"/>
                  </a:moveTo>
                  <a:cubicBezTo>
                    <a:pt x="235790" y="-129"/>
                    <a:pt x="240739" y="1135"/>
                    <a:pt x="246404" y="5482"/>
                  </a:cubicBezTo>
                  <a:cubicBezTo>
                    <a:pt x="245982" y="18960"/>
                    <a:pt x="245562" y="32438"/>
                    <a:pt x="245140" y="45916"/>
                  </a:cubicBezTo>
                  <a:lnTo>
                    <a:pt x="263275" y="52559"/>
                  </a:lnTo>
                  <a:lnTo>
                    <a:pt x="263275" y="52573"/>
                  </a:lnTo>
                  <a:lnTo>
                    <a:pt x="263275" y="56037"/>
                  </a:lnTo>
                  <a:lnTo>
                    <a:pt x="263275" y="59501"/>
                  </a:lnTo>
                  <a:lnTo>
                    <a:pt x="263275" y="62693"/>
                  </a:lnTo>
                  <a:lnTo>
                    <a:pt x="263274" y="62693"/>
                  </a:lnTo>
                  <a:lnTo>
                    <a:pt x="263274" y="62966"/>
                  </a:lnTo>
                  <a:lnTo>
                    <a:pt x="263274" y="73358"/>
                  </a:lnTo>
                  <a:lnTo>
                    <a:pt x="263274" y="80286"/>
                  </a:lnTo>
                  <a:lnTo>
                    <a:pt x="263274" y="87215"/>
                  </a:lnTo>
                  <a:lnTo>
                    <a:pt x="263274" y="90679"/>
                  </a:lnTo>
                  <a:lnTo>
                    <a:pt x="263274" y="94143"/>
                  </a:lnTo>
                  <a:lnTo>
                    <a:pt x="263274" y="97607"/>
                  </a:lnTo>
                  <a:lnTo>
                    <a:pt x="259810" y="101071"/>
                  </a:lnTo>
                  <a:lnTo>
                    <a:pt x="256346" y="101071"/>
                  </a:lnTo>
                  <a:lnTo>
                    <a:pt x="252882" y="101071"/>
                  </a:lnTo>
                  <a:lnTo>
                    <a:pt x="249418" y="101071"/>
                  </a:lnTo>
                  <a:lnTo>
                    <a:pt x="245954" y="101071"/>
                  </a:lnTo>
                  <a:lnTo>
                    <a:pt x="242489" y="101071"/>
                  </a:lnTo>
                  <a:lnTo>
                    <a:pt x="239025" y="101071"/>
                  </a:lnTo>
                  <a:lnTo>
                    <a:pt x="235561" y="101071"/>
                  </a:lnTo>
                  <a:lnTo>
                    <a:pt x="235561" y="104535"/>
                  </a:lnTo>
                  <a:lnTo>
                    <a:pt x="232097" y="104535"/>
                  </a:lnTo>
                  <a:lnTo>
                    <a:pt x="232097" y="108000"/>
                  </a:lnTo>
                  <a:lnTo>
                    <a:pt x="235561" y="108000"/>
                  </a:lnTo>
                  <a:lnTo>
                    <a:pt x="235561" y="111464"/>
                  </a:lnTo>
                  <a:lnTo>
                    <a:pt x="239025" y="114928"/>
                  </a:lnTo>
                  <a:lnTo>
                    <a:pt x="239025" y="121856"/>
                  </a:lnTo>
                  <a:lnTo>
                    <a:pt x="242489" y="125320"/>
                  </a:lnTo>
                  <a:lnTo>
                    <a:pt x="245954" y="125320"/>
                  </a:lnTo>
                  <a:lnTo>
                    <a:pt x="249418" y="128784"/>
                  </a:lnTo>
                  <a:lnTo>
                    <a:pt x="252882" y="128784"/>
                  </a:lnTo>
                  <a:lnTo>
                    <a:pt x="256346" y="128784"/>
                  </a:lnTo>
                  <a:lnTo>
                    <a:pt x="259810" y="128784"/>
                  </a:lnTo>
                  <a:lnTo>
                    <a:pt x="259810" y="132249"/>
                  </a:lnTo>
                  <a:lnTo>
                    <a:pt x="263274" y="132249"/>
                  </a:lnTo>
                  <a:lnTo>
                    <a:pt x="263274" y="135713"/>
                  </a:lnTo>
                  <a:lnTo>
                    <a:pt x="263274" y="139177"/>
                  </a:lnTo>
                  <a:lnTo>
                    <a:pt x="263274" y="142641"/>
                  </a:lnTo>
                  <a:lnTo>
                    <a:pt x="263274" y="146105"/>
                  </a:lnTo>
                  <a:lnTo>
                    <a:pt x="263274" y="149569"/>
                  </a:lnTo>
                  <a:lnTo>
                    <a:pt x="263274" y="153034"/>
                  </a:lnTo>
                  <a:lnTo>
                    <a:pt x="266738" y="156498"/>
                  </a:lnTo>
                  <a:lnTo>
                    <a:pt x="270203" y="159962"/>
                  </a:lnTo>
                  <a:lnTo>
                    <a:pt x="273667" y="159962"/>
                  </a:lnTo>
                  <a:lnTo>
                    <a:pt x="280595" y="163426"/>
                  </a:lnTo>
                  <a:lnTo>
                    <a:pt x="280595" y="166890"/>
                  </a:lnTo>
                  <a:lnTo>
                    <a:pt x="284059" y="166890"/>
                  </a:lnTo>
                  <a:lnTo>
                    <a:pt x="287523" y="170354"/>
                  </a:lnTo>
                  <a:lnTo>
                    <a:pt x="290988" y="177283"/>
                  </a:lnTo>
                  <a:lnTo>
                    <a:pt x="290988" y="180747"/>
                  </a:lnTo>
                  <a:lnTo>
                    <a:pt x="294452" y="180747"/>
                  </a:lnTo>
                  <a:lnTo>
                    <a:pt x="294452" y="184211"/>
                  </a:lnTo>
                  <a:lnTo>
                    <a:pt x="294452" y="187675"/>
                  </a:lnTo>
                  <a:lnTo>
                    <a:pt x="294452" y="191139"/>
                  </a:lnTo>
                  <a:lnTo>
                    <a:pt x="294452" y="198067"/>
                  </a:lnTo>
                  <a:lnTo>
                    <a:pt x="294452" y="201532"/>
                  </a:lnTo>
                  <a:lnTo>
                    <a:pt x="259810" y="229245"/>
                  </a:lnTo>
                  <a:lnTo>
                    <a:pt x="249418" y="232709"/>
                  </a:lnTo>
                  <a:lnTo>
                    <a:pt x="239025" y="236173"/>
                  </a:lnTo>
                  <a:lnTo>
                    <a:pt x="235561" y="239637"/>
                  </a:lnTo>
                  <a:lnTo>
                    <a:pt x="232097" y="239637"/>
                  </a:lnTo>
                  <a:lnTo>
                    <a:pt x="228633" y="239637"/>
                  </a:lnTo>
                  <a:lnTo>
                    <a:pt x="225169" y="239637"/>
                  </a:lnTo>
                  <a:lnTo>
                    <a:pt x="218240" y="239637"/>
                  </a:lnTo>
                  <a:lnTo>
                    <a:pt x="211312" y="236173"/>
                  </a:lnTo>
                  <a:lnTo>
                    <a:pt x="204384" y="236173"/>
                  </a:lnTo>
                  <a:lnTo>
                    <a:pt x="190527" y="236173"/>
                  </a:lnTo>
                  <a:lnTo>
                    <a:pt x="180135" y="236173"/>
                  </a:lnTo>
                  <a:lnTo>
                    <a:pt x="180135" y="232709"/>
                  </a:lnTo>
                  <a:lnTo>
                    <a:pt x="176670" y="232709"/>
                  </a:lnTo>
                  <a:lnTo>
                    <a:pt x="173206" y="229245"/>
                  </a:lnTo>
                  <a:lnTo>
                    <a:pt x="169742" y="229245"/>
                  </a:lnTo>
                  <a:lnTo>
                    <a:pt x="166278" y="229245"/>
                  </a:lnTo>
                  <a:lnTo>
                    <a:pt x="162814" y="229245"/>
                  </a:lnTo>
                  <a:lnTo>
                    <a:pt x="159350" y="225781"/>
                  </a:lnTo>
                  <a:lnTo>
                    <a:pt x="159350" y="222316"/>
                  </a:lnTo>
                  <a:lnTo>
                    <a:pt x="155886" y="218852"/>
                  </a:lnTo>
                  <a:lnTo>
                    <a:pt x="155886" y="215388"/>
                  </a:lnTo>
                  <a:lnTo>
                    <a:pt x="152421" y="215388"/>
                  </a:lnTo>
                  <a:lnTo>
                    <a:pt x="148957" y="215388"/>
                  </a:lnTo>
                  <a:lnTo>
                    <a:pt x="145493" y="211924"/>
                  </a:lnTo>
                  <a:lnTo>
                    <a:pt x="142029" y="211924"/>
                  </a:lnTo>
                  <a:lnTo>
                    <a:pt x="138565" y="211924"/>
                  </a:lnTo>
                  <a:lnTo>
                    <a:pt x="131636" y="211924"/>
                  </a:lnTo>
                  <a:lnTo>
                    <a:pt x="124708" y="211924"/>
                  </a:lnTo>
                  <a:lnTo>
                    <a:pt x="117780" y="215388"/>
                  </a:lnTo>
                  <a:lnTo>
                    <a:pt x="110852" y="215388"/>
                  </a:lnTo>
                  <a:lnTo>
                    <a:pt x="107387" y="215388"/>
                  </a:lnTo>
                  <a:lnTo>
                    <a:pt x="103923" y="215388"/>
                  </a:lnTo>
                  <a:lnTo>
                    <a:pt x="100459" y="211924"/>
                  </a:lnTo>
                  <a:lnTo>
                    <a:pt x="96995" y="211924"/>
                  </a:lnTo>
                  <a:lnTo>
                    <a:pt x="93531" y="208460"/>
                  </a:lnTo>
                  <a:lnTo>
                    <a:pt x="90067" y="208460"/>
                  </a:lnTo>
                  <a:lnTo>
                    <a:pt x="90067" y="204996"/>
                  </a:lnTo>
                  <a:lnTo>
                    <a:pt x="90067" y="201532"/>
                  </a:lnTo>
                  <a:lnTo>
                    <a:pt x="86602" y="201532"/>
                  </a:lnTo>
                  <a:lnTo>
                    <a:pt x="86602" y="198067"/>
                  </a:lnTo>
                  <a:lnTo>
                    <a:pt x="86602" y="194603"/>
                  </a:lnTo>
                  <a:lnTo>
                    <a:pt x="86602" y="191139"/>
                  </a:lnTo>
                  <a:lnTo>
                    <a:pt x="90067" y="187675"/>
                  </a:lnTo>
                  <a:lnTo>
                    <a:pt x="90067" y="184211"/>
                  </a:lnTo>
                  <a:lnTo>
                    <a:pt x="86602" y="180747"/>
                  </a:lnTo>
                  <a:lnTo>
                    <a:pt x="86602" y="177283"/>
                  </a:lnTo>
                  <a:lnTo>
                    <a:pt x="83138" y="173818"/>
                  </a:lnTo>
                  <a:lnTo>
                    <a:pt x="79674" y="170354"/>
                  </a:lnTo>
                  <a:lnTo>
                    <a:pt x="79674" y="166890"/>
                  </a:lnTo>
                  <a:lnTo>
                    <a:pt x="76210" y="166890"/>
                  </a:lnTo>
                  <a:lnTo>
                    <a:pt x="69282" y="163426"/>
                  </a:lnTo>
                  <a:lnTo>
                    <a:pt x="65818" y="163426"/>
                  </a:lnTo>
                  <a:lnTo>
                    <a:pt x="62353" y="159962"/>
                  </a:lnTo>
                  <a:lnTo>
                    <a:pt x="62353" y="156498"/>
                  </a:lnTo>
                  <a:lnTo>
                    <a:pt x="62353" y="153034"/>
                  </a:lnTo>
                  <a:lnTo>
                    <a:pt x="62353" y="146105"/>
                  </a:lnTo>
                  <a:lnTo>
                    <a:pt x="62353" y="142641"/>
                  </a:lnTo>
                  <a:lnTo>
                    <a:pt x="62353" y="139177"/>
                  </a:lnTo>
                  <a:lnTo>
                    <a:pt x="62353" y="135713"/>
                  </a:lnTo>
                  <a:lnTo>
                    <a:pt x="58889" y="135713"/>
                  </a:lnTo>
                  <a:lnTo>
                    <a:pt x="58889" y="132249"/>
                  </a:lnTo>
                  <a:lnTo>
                    <a:pt x="55425" y="132249"/>
                  </a:lnTo>
                  <a:lnTo>
                    <a:pt x="51961" y="132249"/>
                  </a:lnTo>
                  <a:lnTo>
                    <a:pt x="48497" y="132249"/>
                  </a:lnTo>
                  <a:lnTo>
                    <a:pt x="45033" y="132249"/>
                  </a:lnTo>
                  <a:lnTo>
                    <a:pt x="41568" y="132249"/>
                  </a:lnTo>
                  <a:lnTo>
                    <a:pt x="38104" y="132249"/>
                  </a:lnTo>
                  <a:lnTo>
                    <a:pt x="38104" y="128784"/>
                  </a:lnTo>
                  <a:lnTo>
                    <a:pt x="34640" y="128784"/>
                  </a:lnTo>
                  <a:lnTo>
                    <a:pt x="34640" y="125320"/>
                  </a:lnTo>
                  <a:lnTo>
                    <a:pt x="34640" y="121856"/>
                  </a:lnTo>
                  <a:lnTo>
                    <a:pt x="34640" y="118392"/>
                  </a:lnTo>
                  <a:lnTo>
                    <a:pt x="34640" y="114928"/>
                  </a:lnTo>
                  <a:lnTo>
                    <a:pt x="31176" y="111464"/>
                  </a:lnTo>
                  <a:lnTo>
                    <a:pt x="31176" y="108000"/>
                  </a:lnTo>
                  <a:lnTo>
                    <a:pt x="31176" y="104535"/>
                  </a:lnTo>
                  <a:lnTo>
                    <a:pt x="27712" y="104535"/>
                  </a:lnTo>
                  <a:lnTo>
                    <a:pt x="24248" y="104535"/>
                  </a:lnTo>
                  <a:lnTo>
                    <a:pt x="20783" y="108000"/>
                  </a:lnTo>
                  <a:lnTo>
                    <a:pt x="17319" y="108000"/>
                  </a:lnTo>
                  <a:lnTo>
                    <a:pt x="13855" y="108000"/>
                  </a:lnTo>
                  <a:lnTo>
                    <a:pt x="10391" y="108000"/>
                  </a:lnTo>
                  <a:lnTo>
                    <a:pt x="10391" y="104535"/>
                  </a:lnTo>
                  <a:lnTo>
                    <a:pt x="10391" y="101071"/>
                  </a:lnTo>
                  <a:lnTo>
                    <a:pt x="10391" y="97607"/>
                  </a:lnTo>
                  <a:lnTo>
                    <a:pt x="10391" y="94143"/>
                  </a:lnTo>
                  <a:lnTo>
                    <a:pt x="6927" y="94143"/>
                  </a:lnTo>
                  <a:lnTo>
                    <a:pt x="6608" y="93824"/>
                  </a:lnTo>
                  <a:lnTo>
                    <a:pt x="6609" y="93824"/>
                  </a:lnTo>
                  <a:lnTo>
                    <a:pt x="3464" y="90679"/>
                  </a:lnTo>
                  <a:lnTo>
                    <a:pt x="0" y="90679"/>
                  </a:lnTo>
                  <a:lnTo>
                    <a:pt x="0" y="87215"/>
                  </a:lnTo>
                  <a:lnTo>
                    <a:pt x="0" y="83751"/>
                  </a:lnTo>
                  <a:lnTo>
                    <a:pt x="0" y="80334"/>
                  </a:lnTo>
                  <a:lnTo>
                    <a:pt x="7589" y="66132"/>
                  </a:lnTo>
                  <a:cubicBezTo>
                    <a:pt x="13854" y="56259"/>
                    <a:pt x="20156" y="71817"/>
                    <a:pt x="37915" y="58551"/>
                  </a:cubicBezTo>
                  <a:cubicBezTo>
                    <a:pt x="44443" y="54760"/>
                    <a:pt x="33002" y="56022"/>
                    <a:pt x="46759" y="43388"/>
                  </a:cubicBezTo>
                  <a:cubicBezTo>
                    <a:pt x="47180" y="38965"/>
                    <a:pt x="55957" y="42124"/>
                    <a:pt x="64450" y="52233"/>
                  </a:cubicBezTo>
                  <a:cubicBezTo>
                    <a:pt x="69293" y="49496"/>
                    <a:pt x="72804" y="84031"/>
                    <a:pt x="82139" y="72450"/>
                  </a:cubicBezTo>
                  <a:cubicBezTo>
                    <a:pt x="91474" y="60868"/>
                    <a:pt x="117722" y="72035"/>
                    <a:pt x="130568" y="68666"/>
                  </a:cubicBezTo>
                  <a:cubicBezTo>
                    <a:pt x="143414" y="65296"/>
                    <a:pt x="147281" y="49286"/>
                    <a:pt x="159217" y="52233"/>
                  </a:cubicBezTo>
                  <a:cubicBezTo>
                    <a:pt x="171152" y="55180"/>
                    <a:pt x="180909" y="66132"/>
                    <a:pt x="193334" y="68659"/>
                  </a:cubicBezTo>
                  <a:cubicBezTo>
                    <a:pt x="205760" y="71186"/>
                    <a:pt x="209129" y="39808"/>
                    <a:pt x="218605" y="34543"/>
                  </a:cubicBezTo>
                  <a:cubicBezTo>
                    <a:pt x="219237" y="22961"/>
                    <a:pt x="211066" y="-1317"/>
                    <a:pt x="222396" y="2954"/>
                  </a:cubicBezTo>
                  <a:cubicBezTo>
                    <a:pt x="224502" y="1691"/>
                    <a:pt x="227672" y="149"/>
                    <a:pt x="231731" y="10"/>
                  </a:cubicBez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54" fontAlgn="base">
                <a:spcAft>
                  <a:spcPts val="300"/>
                </a:spcAft>
                <a:defRPr/>
              </a:pPr>
              <a:endParaRPr lang="en-IE" sz="1600" kern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  <a:cs typeface="Arial" pitchFamily="34" charset="0"/>
              </a:endParaRPr>
            </a:p>
          </p:txBody>
        </p:sp>
        <p:sp>
          <p:nvSpPr>
            <p:cNvPr id="1907" name="Freeform 534">
              <a:extLst>
                <a:ext uri="{FF2B5EF4-FFF2-40B4-BE49-F238E27FC236}">
                  <a16:creationId xmlns:a16="http://schemas.microsoft.com/office/drawing/2014/main" id="{C9C0EEDE-FC79-4BC3-B7EE-9CBF72A9E9DC}"/>
                </a:ext>
              </a:extLst>
            </p:cNvPr>
            <p:cNvSpPr/>
            <p:nvPr/>
          </p:nvSpPr>
          <p:spPr bwMode="gray">
            <a:xfrm>
              <a:off x="1801734" y="4019388"/>
              <a:ext cx="375855" cy="384491"/>
            </a:xfrm>
            <a:custGeom>
              <a:avLst/>
              <a:gdLst>
                <a:gd name="connsiteX0" fmla="*/ 332559 w 381057"/>
                <a:gd name="connsiteY0" fmla="*/ 0 h 398425"/>
                <a:gd name="connsiteX1" fmla="*/ 339487 w 381057"/>
                <a:gd name="connsiteY1" fmla="*/ 3464 h 398425"/>
                <a:gd name="connsiteX2" fmla="*/ 346416 w 381057"/>
                <a:gd name="connsiteY2" fmla="*/ 10393 h 398425"/>
                <a:gd name="connsiteX3" fmla="*/ 353344 w 381057"/>
                <a:gd name="connsiteY3" fmla="*/ 13857 h 398425"/>
                <a:gd name="connsiteX4" fmla="*/ 360272 w 381057"/>
                <a:gd name="connsiteY4" fmla="*/ 17321 h 398425"/>
                <a:gd name="connsiteX5" fmla="*/ 363736 w 381057"/>
                <a:gd name="connsiteY5" fmla="*/ 20785 h 398425"/>
                <a:gd name="connsiteX6" fmla="*/ 367201 w 381057"/>
                <a:gd name="connsiteY6" fmla="*/ 24249 h 398425"/>
                <a:gd name="connsiteX7" fmla="*/ 367201 w 381057"/>
                <a:gd name="connsiteY7" fmla="*/ 27713 h 398425"/>
                <a:gd name="connsiteX8" fmla="*/ 370665 w 381057"/>
                <a:gd name="connsiteY8" fmla="*/ 31177 h 398425"/>
                <a:gd name="connsiteX9" fmla="*/ 374129 w 381057"/>
                <a:gd name="connsiteY9" fmla="*/ 34642 h 398425"/>
                <a:gd name="connsiteX10" fmla="*/ 374129 w 381057"/>
                <a:gd name="connsiteY10" fmla="*/ 41570 h 398425"/>
                <a:gd name="connsiteX11" fmla="*/ 377593 w 381057"/>
                <a:gd name="connsiteY11" fmla="*/ 48498 h 398425"/>
                <a:gd name="connsiteX12" fmla="*/ 381057 w 381057"/>
                <a:gd name="connsiteY12" fmla="*/ 55427 h 398425"/>
                <a:gd name="connsiteX13" fmla="*/ 381057 w 381057"/>
                <a:gd name="connsiteY13" fmla="*/ 58891 h 398425"/>
                <a:gd name="connsiteX14" fmla="*/ 381057 w 381057"/>
                <a:gd name="connsiteY14" fmla="*/ 62355 h 398425"/>
                <a:gd name="connsiteX15" fmla="*/ 381057 w 381057"/>
                <a:gd name="connsiteY15" fmla="*/ 69283 h 398425"/>
                <a:gd name="connsiteX16" fmla="*/ 381057 w 381057"/>
                <a:gd name="connsiteY16" fmla="*/ 79676 h 398425"/>
                <a:gd name="connsiteX17" fmla="*/ 381057 w 381057"/>
                <a:gd name="connsiteY17" fmla="*/ 86604 h 398425"/>
                <a:gd name="connsiteX18" fmla="*/ 374129 w 381057"/>
                <a:gd name="connsiteY18" fmla="*/ 100460 h 398425"/>
                <a:gd name="connsiteX19" fmla="*/ 370665 w 381057"/>
                <a:gd name="connsiteY19" fmla="*/ 107389 h 398425"/>
                <a:gd name="connsiteX20" fmla="*/ 367201 w 381057"/>
                <a:gd name="connsiteY20" fmla="*/ 114317 h 398425"/>
                <a:gd name="connsiteX21" fmla="*/ 367201 w 381057"/>
                <a:gd name="connsiteY21" fmla="*/ 121245 h 398425"/>
                <a:gd name="connsiteX22" fmla="*/ 363736 w 381057"/>
                <a:gd name="connsiteY22" fmla="*/ 124709 h 398425"/>
                <a:gd name="connsiteX23" fmla="*/ 363736 w 381057"/>
                <a:gd name="connsiteY23" fmla="*/ 128174 h 398425"/>
                <a:gd name="connsiteX24" fmla="*/ 363736 w 381057"/>
                <a:gd name="connsiteY24" fmla="*/ 131638 h 398425"/>
                <a:gd name="connsiteX25" fmla="*/ 363736 w 381057"/>
                <a:gd name="connsiteY25" fmla="*/ 135102 h 398425"/>
                <a:gd name="connsiteX26" fmla="*/ 363736 w 381057"/>
                <a:gd name="connsiteY26" fmla="*/ 138566 h 398425"/>
                <a:gd name="connsiteX27" fmla="*/ 363736 w 381057"/>
                <a:gd name="connsiteY27" fmla="*/ 145494 h 398425"/>
                <a:gd name="connsiteX28" fmla="*/ 367201 w 381057"/>
                <a:gd name="connsiteY28" fmla="*/ 152423 h 398425"/>
                <a:gd name="connsiteX29" fmla="*/ 367201 w 381057"/>
                <a:gd name="connsiteY29" fmla="*/ 159351 h 398425"/>
                <a:gd name="connsiteX30" fmla="*/ 367201 w 381057"/>
                <a:gd name="connsiteY30" fmla="*/ 162815 h 398425"/>
                <a:gd name="connsiteX31" fmla="*/ 367201 w 381057"/>
                <a:gd name="connsiteY31" fmla="*/ 166279 h 398425"/>
                <a:gd name="connsiteX32" fmla="*/ 370665 w 381057"/>
                <a:gd name="connsiteY32" fmla="*/ 173208 h 398425"/>
                <a:gd name="connsiteX33" fmla="*/ 374129 w 381057"/>
                <a:gd name="connsiteY33" fmla="*/ 180136 h 398425"/>
                <a:gd name="connsiteX34" fmla="*/ 374129 w 381057"/>
                <a:gd name="connsiteY34" fmla="*/ 183600 h 398425"/>
                <a:gd name="connsiteX35" fmla="*/ 377593 w 381057"/>
                <a:gd name="connsiteY35" fmla="*/ 187064 h 398425"/>
                <a:gd name="connsiteX36" fmla="*/ 377593 w 381057"/>
                <a:gd name="connsiteY36" fmla="*/ 190528 h 398425"/>
                <a:gd name="connsiteX37" fmla="*/ 381057 w 381057"/>
                <a:gd name="connsiteY37" fmla="*/ 197457 h 398425"/>
                <a:gd name="connsiteX38" fmla="*/ 381057 w 381057"/>
                <a:gd name="connsiteY38" fmla="*/ 200921 h 398425"/>
                <a:gd name="connsiteX39" fmla="*/ 381057 w 381057"/>
                <a:gd name="connsiteY39" fmla="*/ 204385 h 398425"/>
                <a:gd name="connsiteX40" fmla="*/ 377593 w 381057"/>
                <a:gd name="connsiteY40" fmla="*/ 204385 h 398425"/>
                <a:gd name="connsiteX41" fmla="*/ 377593 w 381057"/>
                <a:gd name="connsiteY41" fmla="*/ 207849 h 398425"/>
                <a:gd name="connsiteX42" fmla="*/ 374129 w 381057"/>
                <a:gd name="connsiteY42" fmla="*/ 207849 h 398425"/>
                <a:gd name="connsiteX43" fmla="*/ 370665 w 381057"/>
                <a:gd name="connsiteY43" fmla="*/ 207849 h 398425"/>
                <a:gd name="connsiteX44" fmla="*/ 367201 w 381057"/>
                <a:gd name="connsiteY44" fmla="*/ 204385 h 398425"/>
                <a:gd name="connsiteX45" fmla="*/ 363736 w 381057"/>
                <a:gd name="connsiteY45" fmla="*/ 204385 h 398425"/>
                <a:gd name="connsiteX46" fmla="*/ 360272 w 381057"/>
                <a:gd name="connsiteY46" fmla="*/ 204385 h 398425"/>
                <a:gd name="connsiteX47" fmla="*/ 356808 w 381057"/>
                <a:gd name="connsiteY47" fmla="*/ 204385 h 398425"/>
                <a:gd name="connsiteX48" fmla="*/ 353344 w 381057"/>
                <a:gd name="connsiteY48" fmla="*/ 207849 h 398425"/>
                <a:gd name="connsiteX49" fmla="*/ 353344 w 381057"/>
                <a:gd name="connsiteY49" fmla="*/ 211313 h 398425"/>
                <a:gd name="connsiteX50" fmla="*/ 353344 w 381057"/>
                <a:gd name="connsiteY50" fmla="*/ 214777 h 398425"/>
                <a:gd name="connsiteX51" fmla="*/ 353344 w 381057"/>
                <a:gd name="connsiteY51" fmla="*/ 218242 h 398425"/>
                <a:gd name="connsiteX52" fmla="*/ 353344 w 381057"/>
                <a:gd name="connsiteY52" fmla="*/ 221706 h 398425"/>
                <a:gd name="connsiteX53" fmla="*/ 353344 w 381057"/>
                <a:gd name="connsiteY53" fmla="*/ 225170 h 398425"/>
                <a:gd name="connsiteX54" fmla="*/ 356808 w 381057"/>
                <a:gd name="connsiteY54" fmla="*/ 225170 h 398425"/>
                <a:gd name="connsiteX55" fmla="*/ 360272 w 381057"/>
                <a:gd name="connsiteY55" fmla="*/ 228634 h 398425"/>
                <a:gd name="connsiteX56" fmla="*/ 363736 w 381057"/>
                <a:gd name="connsiteY56" fmla="*/ 228634 h 398425"/>
                <a:gd name="connsiteX57" fmla="*/ 367201 w 381057"/>
                <a:gd name="connsiteY57" fmla="*/ 228634 h 398425"/>
                <a:gd name="connsiteX58" fmla="*/ 370665 w 381057"/>
                <a:gd name="connsiteY58" fmla="*/ 228634 h 398425"/>
                <a:gd name="connsiteX59" fmla="*/ 374129 w 381057"/>
                <a:gd name="connsiteY59" fmla="*/ 232098 h 398425"/>
                <a:gd name="connsiteX60" fmla="*/ 377593 w 381057"/>
                <a:gd name="connsiteY60" fmla="*/ 235562 h 398425"/>
                <a:gd name="connsiteX61" fmla="*/ 377593 w 381057"/>
                <a:gd name="connsiteY61" fmla="*/ 239027 h 398425"/>
                <a:gd name="connsiteX62" fmla="*/ 377593 w 381057"/>
                <a:gd name="connsiteY62" fmla="*/ 242491 h 398425"/>
                <a:gd name="connsiteX63" fmla="*/ 381057 w 381057"/>
                <a:gd name="connsiteY63" fmla="*/ 249419 h 398425"/>
                <a:gd name="connsiteX64" fmla="*/ 381057 w 381057"/>
                <a:gd name="connsiteY64" fmla="*/ 252883 h 398425"/>
                <a:gd name="connsiteX65" fmla="*/ 381057 w 381057"/>
                <a:gd name="connsiteY65" fmla="*/ 259811 h 398425"/>
                <a:gd name="connsiteX66" fmla="*/ 381057 w 381057"/>
                <a:gd name="connsiteY66" fmla="*/ 263276 h 398425"/>
                <a:gd name="connsiteX67" fmla="*/ 381057 w 381057"/>
                <a:gd name="connsiteY67" fmla="*/ 270204 h 398425"/>
                <a:gd name="connsiteX68" fmla="*/ 381057 w 381057"/>
                <a:gd name="connsiteY68" fmla="*/ 273668 h 398425"/>
                <a:gd name="connsiteX69" fmla="*/ 381057 w 381057"/>
                <a:gd name="connsiteY69" fmla="*/ 280596 h 398425"/>
                <a:gd name="connsiteX70" fmla="*/ 381057 w 381057"/>
                <a:gd name="connsiteY70" fmla="*/ 284060 h 398425"/>
                <a:gd name="connsiteX71" fmla="*/ 381057 w 381057"/>
                <a:gd name="connsiteY71" fmla="*/ 287525 h 398425"/>
                <a:gd name="connsiteX72" fmla="*/ 377593 w 381057"/>
                <a:gd name="connsiteY72" fmla="*/ 290989 h 398425"/>
                <a:gd name="connsiteX73" fmla="*/ 377593 w 381057"/>
                <a:gd name="connsiteY73" fmla="*/ 294453 h 398425"/>
                <a:gd name="connsiteX74" fmla="*/ 374129 w 381057"/>
                <a:gd name="connsiteY74" fmla="*/ 297917 h 398425"/>
                <a:gd name="connsiteX75" fmla="*/ 374129 w 381057"/>
                <a:gd name="connsiteY75" fmla="*/ 301381 h 398425"/>
                <a:gd name="connsiteX76" fmla="*/ 370665 w 381057"/>
                <a:gd name="connsiteY76" fmla="*/ 301381 h 398425"/>
                <a:gd name="connsiteX77" fmla="*/ 363736 w 381057"/>
                <a:gd name="connsiteY77" fmla="*/ 301381 h 398425"/>
                <a:gd name="connsiteX78" fmla="*/ 360272 w 381057"/>
                <a:gd name="connsiteY78" fmla="*/ 301381 h 398425"/>
                <a:gd name="connsiteX79" fmla="*/ 353344 w 381057"/>
                <a:gd name="connsiteY79" fmla="*/ 301381 h 398425"/>
                <a:gd name="connsiteX80" fmla="*/ 349880 w 381057"/>
                <a:gd name="connsiteY80" fmla="*/ 301381 h 398425"/>
                <a:gd name="connsiteX81" fmla="*/ 346416 w 381057"/>
                <a:gd name="connsiteY81" fmla="*/ 301381 h 398425"/>
                <a:gd name="connsiteX82" fmla="*/ 342952 w 381057"/>
                <a:gd name="connsiteY82" fmla="*/ 304845 h 398425"/>
                <a:gd name="connsiteX83" fmla="*/ 342952 w 381057"/>
                <a:gd name="connsiteY83" fmla="*/ 308310 h 398425"/>
                <a:gd name="connsiteX84" fmla="*/ 339487 w 381057"/>
                <a:gd name="connsiteY84" fmla="*/ 311774 h 398425"/>
                <a:gd name="connsiteX85" fmla="*/ 339487 w 381057"/>
                <a:gd name="connsiteY85" fmla="*/ 315238 h 398425"/>
                <a:gd name="connsiteX86" fmla="*/ 339487 w 381057"/>
                <a:gd name="connsiteY86" fmla="*/ 318702 h 398425"/>
                <a:gd name="connsiteX87" fmla="*/ 339487 w 381057"/>
                <a:gd name="connsiteY87" fmla="*/ 325630 h 398425"/>
                <a:gd name="connsiteX88" fmla="*/ 342952 w 381057"/>
                <a:gd name="connsiteY88" fmla="*/ 332559 h 398425"/>
                <a:gd name="connsiteX89" fmla="*/ 342952 w 381057"/>
                <a:gd name="connsiteY89" fmla="*/ 342951 h 398425"/>
                <a:gd name="connsiteX90" fmla="*/ 342952 w 381057"/>
                <a:gd name="connsiteY90" fmla="*/ 346415 h 398425"/>
                <a:gd name="connsiteX91" fmla="*/ 342952 w 381057"/>
                <a:gd name="connsiteY91" fmla="*/ 349879 h 398425"/>
                <a:gd name="connsiteX92" fmla="*/ 342952 w 381057"/>
                <a:gd name="connsiteY92" fmla="*/ 353343 h 398425"/>
                <a:gd name="connsiteX93" fmla="*/ 342952 w 381057"/>
                <a:gd name="connsiteY93" fmla="*/ 356808 h 398425"/>
                <a:gd name="connsiteX94" fmla="*/ 339487 w 381057"/>
                <a:gd name="connsiteY94" fmla="*/ 360272 h 398425"/>
                <a:gd name="connsiteX95" fmla="*/ 339487 w 381057"/>
                <a:gd name="connsiteY95" fmla="*/ 363736 h 398425"/>
                <a:gd name="connsiteX96" fmla="*/ 336023 w 381057"/>
                <a:gd name="connsiteY96" fmla="*/ 363736 h 398425"/>
                <a:gd name="connsiteX97" fmla="*/ 332559 w 381057"/>
                <a:gd name="connsiteY97" fmla="*/ 363736 h 398425"/>
                <a:gd name="connsiteX98" fmla="*/ 329095 w 381057"/>
                <a:gd name="connsiteY98" fmla="*/ 360272 h 398425"/>
                <a:gd name="connsiteX99" fmla="*/ 325631 w 381057"/>
                <a:gd name="connsiteY99" fmla="*/ 360272 h 398425"/>
                <a:gd name="connsiteX100" fmla="*/ 322167 w 381057"/>
                <a:gd name="connsiteY100" fmla="*/ 360272 h 398425"/>
                <a:gd name="connsiteX101" fmla="*/ 318702 w 381057"/>
                <a:gd name="connsiteY101" fmla="*/ 360272 h 398425"/>
                <a:gd name="connsiteX102" fmla="*/ 318702 w 381057"/>
                <a:gd name="connsiteY102" fmla="*/ 363736 h 398425"/>
                <a:gd name="connsiteX103" fmla="*/ 315238 w 381057"/>
                <a:gd name="connsiteY103" fmla="*/ 367200 h 398425"/>
                <a:gd name="connsiteX104" fmla="*/ 315238 w 381057"/>
                <a:gd name="connsiteY104" fmla="*/ 370650 h 398425"/>
                <a:gd name="connsiteX105" fmla="*/ 297103 w 381057"/>
                <a:gd name="connsiteY105" fmla="*/ 364007 h 398425"/>
                <a:gd name="connsiteX106" fmla="*/ 298367 w 381057"/>
                <a:gd name="connsiteY106" fmla="*/ 323573 h 398425"/>
                <a:gd name="connsiteX107" fmla="*/ 274359 w 381057"/>
                <a:gd name="connsiteY107" fmla="*/ 321045 h 398425"/>
                <a:gd name="connsiteX108" fmla="*/ 270568 w 381057"/>
                <a:gd name="connsiteY108" fmla="*/ 352634 h 398425"/>
                <a:gd name="connsiteX109" fmla="*/ 245297 w 381057"/>
                <a:gd name="connsiteY109" fmla="*/ 386750 h 398425"/>
                <a:gd name="connsiteX110" fmla="*/ 211180 w 381057"/>
                <a:gd name="connsiteY110" fmla="*/ 370324 h 398425"/>
                <a:gd name="connsiteX111" fmla="*/ 182531 w 381057"/>
                <a:gd name="connsiteY111" fmla="*/ 386757 h 398425"/>
                <a:gd name="connsiteX112" fmla="*/ 134102 w 381057"/>
                <a:gd name="connsiteY112" fmla="*/ 390541 h 398425"/>
                <a:gd name="connsiteX113" fmla="*/ 116413 w 381057"/>
                <a:gd name="connsiteY113" fmla="*/ 370324 h 398425"/>
                <a:gd name="connsiteX114" fmla="*/ 98722 w 381057"/>
                <a:gd name="connsiteY114" fmla="*/ 361479 h 398425"/>
                <a:gd name="connsiteX115" fmla="*/ 89878 w 381057"/>
                <a:gd name="connsiteY115" fmla="*/ 376642 h 398425"/>
                <a:gd name="connsiteX116" fmla="*/ 59552 w 381057"/>
                <a:gd name="connsiteY116" fmla="*/ 384223 h 398425"/>
                <a:gd name="connsiteX117" fmla="*/ 51963 w 381057"/>
                <a:gd name="connsiteY117" fmla="*/ 398425 h 398425"/>
                <a:gd name="connsiteX118" fmla="*/ 51963 w 381057"/>
                <a:gd name="connsiteY118" fmla="*/ 398377 h 398425"/>
                <a:gd name="connsiteX119" fmla="*/ 51963 w 381057"/>
                <a:gd name="connsiteY119" fmla="*/ 394913 h 398425"/>
                <a:gd name="connsiteX120" fmla="*/ 51963 w 381057"/>
                <a:gd name="connsiteY120" fmla="*/ 391449 h 398425"/>
                <a:gd name="connsiteX121" fmla="*/ 55427 w 381057"/>
                <a:gd name="connsiteY121" fmla="*/ 387985 h 398425"/>
                <a:gd name="connsiteX122" fmla="*/ 55427 w 381057"/>
                <a:gd name="connsiteY122" fmla="*/ 384521 h 398425"/>
                <a:gd name="connsiteX123" fmla="*/ 51963 w 381057"/>
                <a:gd name="connsiteY123" fmla="*/ 381057 h 398425"/>
                <a:gd name="connsiteX124" fmla="*/ 51963 w 381057"/>
                <a:gd name="connsiteY124" fmla="*/ 377592 h 398425"/>
                <a:gd name="connsiteX125" fmla="*/ 51963 w 381057"/>
                <a:gd name="connsiteY125" fmla="*/ 374128 h 398425"/>
                <a:gd name="connsiteX126" fmla="*/ 48498 w 381057"/>
                <a:gd name="connsiteY126" fmla="*/ 374128 h 398425"/>
                <a:gd name="connsiteX127" fmla="*/ 45034 w 381057"/>
                <a:gd name="connsiteY127" fmla="*/ 367200 h 398425"/>
                <a:gd name="connsiteX128" fmla="*/ 41570 w 381057"/>
                <a:gd name="connsiteY128" fmla="*/ 360272 h 398425"/>
                <a:gd name="connsiteX129" fmla="*/ 41570 w 381057"/>
                <a:gd name="connsiteY129" fmla="*/ 356808 h 398425"/>
                <a:gd name="connsiteX130" fmla="*/ 38106 w 381057"/>
                <a:gd name="connsiteY130" fmla="*/ 356808 h 398425"/>
                <a:gd name="connsiteX131" fmla="*/ 34642 w 381057"/>
                <a:gd name="connsiteY131" fmla="*/ 349879 h 398425"/>
                <a:gd name="connsiteX132" fmla="*/ 31178 w 381057"/>
                <a:gd name="connsiteY132" fmla="*/ 346415 h 398425"/>
                <a:gd name="connsiteX133" fmla="*/ 31178 w 381057"/>
                <a:gd name="connsiteY133" fmla="*/ 342951 h 398425"/>
                <a:gd name="connsiteX134" fmla="*/ 31178 w 381057"/>
                <a:gd name="connsiteY134" fmla="*/ 339487 h 398425"/>
                <a:gd name="connsiteX135" fmla="*/ 31178 w 381057"/>
                <a:gd name="connsiteY135" fmla="*/ 336023 h 398425"/>
                <a:gd name="connsiteX136" fmla="*/ 34642 w 381057"/>
                <a:gd name="connsiteY136" fmla="*/ 336023 h 398425"/>
                <a:gd name="connsiteX137" fmla="*/ 34642 w 381057"/>
                <a:gd name="connsiteY137" fmla="*/ 332559 h 398425"/>
                <a:gd name="connsiteX138" fmla="*/ 34642 w 381057"/>
                <a:gd name="connsiteY138" fmla="*/ 329094 h 398425"/>
                <a:gd name="connsiteX139" fmla="*/ 34642 w 381057"/>
                <a:gd name="connsiteY139" fmla="*/ 325630 h 398425"/>
                <a:gd name="connsiteX140" fmla="*/ 34642 w 381057"/>
                <a:gd name="connsiteY140" fmla="*/ 322166 h 398425"/>
                <a:gd name="connsiteX141" fmla="*/ 34642 w 381057"/>
                <a:gd name="connsiteY141" fmla="*/ 318702 h 398425"/>
                <a:gd name="connsiteX142" fmla="*/ 31178 w 381057"/>
                <a:gd name="connsiteY142" fmla="*/ 318702 h 398425"/>
                <a:gd name="connsiteX143" fmla="*/ 27713 w 381057"/>
                <a:gd name="connsiteY143" fmla="*/ 318702 h 398425"/>
                <a:gd name="connsiteX144" fmla="*/ 24249 w 381057"/>
                <a:gd name="connsiteY144" fmla="*/ 318702 h 398425"/>
                <a:gd name="connsiteX145" fmla="*/ 24249 w 381057"/>
                <a:gd name="connsiteY145" fmla="*/ 315238 h 398425"/>
                <a:gd name="connsiteX146" fmla="*/ 20785 w 381057"/>
                <a:gd name="connsiteY146" fmla="*/ 311774 h 398425"/>
                <a:gd name="connsiteX147" fmla="*/ 20785 w 381057"/>
                <a:gd name="connsiteY147" fmla="*/ 308310 h 398425"/>
                <a:gd name="connsiteX148" fmla="*/ 20785 w 381057"/>
                <a:gd name="connsiteY148" fmla="*/ 304845 h 398425"/>
                <a:gd name="connsiteX149" fmla="*/ 20785 w 381057"/>
                <a:gd name="connsiteY149" fmla="*/ 301381 h 398425"/>
                <a:gd name="connsiteX150" fmla="*/ 20785 w 381057"/>
                <a:gd name="connsiteY150" fmla="*/ 297917 h 398425"/>
                <a:gd name="connsiteX151" fmla="*/ 17321 w 381057"/>
                <a:gd name="connsiteY151" fmla="*/ 294453 h 398425"/>
                <a:gd name="connsiteX152" fmla="*/ 13857 w 381057"/>
                <a:gd name="connsiteY152" fmla="*/ 294453 h 398425"/>
                <a:gd name="connsiteX153" fmla="*/ 10393 w 381057"/>
                <a:gd name="connsiteY153" fmla="*/ 290989 h 398425"/>
                <a:gd name="connsiteX154" fmla="*/ 6929 w 381057"/>
                <a:gd name="connsiteY154" fmla="*/ 290989 h 398425"/>
                <a:gd name="connsiteX155" fmla="*/ 3464 w 381057"/>
                <a:gd name="connsiteY155" fmla="*/ 290989 h 398425"/>
                <a:gd name="connsiteX156" fmla="*/ 0 w 381057"/>
                <a:gd name="connsiteY156" fmla="*/ 287525 h 398425"/>
                <a:gd name="connsiteX157" fmla="*/ 0 w 381057"/>
                <a:gd name="connsiteY157" fmla="*/ 284060 h 398425"/>
                <a:gd name="connsiteX158" fmla="*/ 0 w 381057"/>
                <a:gd name="connsiteY158" fmla="*/ 280596 h 398425"/>
                <a:gd name="connsiteX159" fmla="*/ 0 w 381057"/>
                <a:gd name="connsiteY159" fmla="*/ 277132 h 398425"/>
                <a:gd name="connsiteX160" fmla="*/ 0 w 381057"/>
                <a:gd name="connsiteY160" fmla="*/ 273668 h 398425"/>
                <a:gd name="connsiteX161" fmla="*/ 3464 w 381057"/>
                <a:gd name="connsiteY161" fmla="*/ 270204 h 398425"/>
                <a:gd name="connsiteX162" fmla="*/ 6929 w 381057"/>
                <a:gd name="connsiteY162" fmla="*/ 270204 h 398425"/>
                <a:gd name="connsiteX163" fmla="*/ 10393 w 381057"/>
                <a:gd name="connsiteY163" fmla="*/ 270204 h 398425"/>
                <a:gd name="connsiteX164" fmla="*/ 13857 w 381057"/>
                <a:gd name="connsiteY164" fmla="*/ 270204 h 398425"/>
                <a:gd name="connsiteX165" fmla="*/ 17321 w 381057"/>
                <a:gd name="connsiteY165" fmla="*/ 270204 h 398425"/>
                <a:gd name="connsiteX166" fmla="*/ 20785 w 381057"/>
                <a:gd name="connsiteY166" fmla="*/ 270204 h 398425"/>
                <a:gd name="connsiteX167" fmla="*/ 24249 w 381057"/>
                <a:gd name="connsiteY167" fmla="*/ 270204 h 398425"/>
                <a:gd name="connsiteX168" fmla="*/ 24249 w 381057"/>
                <a:gd name="connsiteY168" fmla="*/ 266740 h 398425"/>
                <a:gd name="connsiteX169" fmla="*/ 24249 w 381057"/>
                <a:gd name="connsiteY169" fmla="*/ 263276 h 398425"/>
                <a:gd name="connsiteX170" fmla="*/ 24249 w 381057"/>
                <a:gd name="connsiteY170" fmla="*/ 259811 h 398425"/>
                <a:gd name="connsiteX171" fmla="*/ 27713 w 381057"/>
                <a:gd name="connsiteY171" fmla="*/ 249419 h 398425"/>
                <a:gd name="connsiteX172" fmla="*/ 27713 w 381057"/>
                <a:gd name="connsiteY172" fmla="*/ 245955 h 398425"/>
                <a:gd name="connsiteX173" fmla="*/ 31178 w 381057"/>
                <a:gd name="connsiteY173" fmla="*/ 239027 h 398425"/>
                <a:gd name="connsiteX174" fmla="*/ 34642 w 381057"/>
                <a:gd name="connsiteY174" fmla="*/ 228634 h 398425"/>
                <a:gd name="connsiteX175" fmla="*/ 34642 w 381057"/>
                <a:gd name="connsiteY175" fmla="*/ 225170 h 398425"/>
                <a:gd name="connsiteX176" fmla="*/ 38106 w 381057"/>
                <a:gd name="connsiteY176" fmla="*/ 221706 h 398425"/>
                <a:gd name="connsiteX177" fmla="*/ 41570 w 381057"/>
                <a:gd name="connsiteY177" fmla="*/ 218242 h 398425"/>
                <a:gd name="connsiteX178" fmla="*/ 41570 w 381057"/>
                <a:gd name="connsiteY178" fmla="*/ 214777 h 398425"/>
                <a:gd name="connsiteX179" fmla="*/ 45034 w 381057"/>
                <a:gd name="connsiteY179" fmla="*/ 214777 h 398425"/>
                <a:gd name="connsiteX180" fmla="*/ 51963 w 381057"/>
                <a:gd name="connsiteY180" fmla="*/ 214777 h 398425"/>
                <a:gd name="connsiteX181" fmla="*/ 55427 w 381057"/>
                <a:gd name="connsiteY181" fmla="*/ 214777 h 398425"/>
                <a:gd name="connsiteX182" fmla="*/ 55427 w 381057"/>
                <a:gd name="connsiteY182" fmla="*/ 211313 h 398425"/>
                <a:gd name="connsiteX183" fmla="*/ 58891 w 381057"/>
                <a:gd name="connsiteY183" fmla="*/ 211313 h 398425"/>
                <a:gd name="connsiteX184" fmla="*/ 58891 w 381057"/>
                <a:gd name="connsiteY184" fmla="*/ 207849 h 398425"/>
                <a:gd name="connsiteX185" fmla="*/ 62355 w 381057"/>
                <a:gd name="connsiteY185" fmla="*/ 207849 h 398425"/>
                <a:gd name="connsiteX186" fmla="*/ 62355 w 381057"/>
                <a:gd name="connsiteY186" fmla="*/ 204385 h 398425"/>
                <a:gd name="connsiteX187" fmla="*/ 62355 w 381057"/>
                <a:gd name="connsiteY187" fmla="*/ 197457 h 398425"/>
                <a:gd name="connsiteX188" fmla="*/ 65819 w 381057"/>
                <a:gd name="connsiteY188" fmla="*/ 193992 h 398425"/>
                <a:gd name="connsiteX189" fmla="*/ 65819 w 381057"/>
                <a:gd name="connsiteY189" fmla="*/ 187064 h 398425"/>
                <a:gd name="connsiteX190" fmla="*/ 65819 w 381057"/>
                <a:gd name="connsiteY190" fmla="*/ 180136 h 398425"/>
                <a:gd name="connsiteX191" fmla="*/ 65819 w 381057"/>
                <a:gd name="connsiteY191" fmla="*/ 173208 h 398425"/>
                <a:gd name="connsiteX192" fmla="*/ 65819 w 381057"/>
                <a:gd name="connsiteY192" fmla="*/ 169743 h 398425"/>
                <a:gd name="connsiteX193" fmla="*/ 62355 w 381057"/>
                <a:gd name="connsiteY193" fmla="*/ 155887 h 398425"/>
                <a:gd name="connsiteX194" fmla="*/ 62355 w 381057"/>
                <a:gd name="connsiteY194" fmla="*/ 145494 h 398425"/>
                <a:gd name="connsiteX195" fmla="*/ 62355 w 381057"/>
                <a:gd name="connsiteY195" fmla="*/ 135102 h 398425"/>
                <a:gd name="connsiteX196" fmla="*/ 58891 w 381057"/>
                <a:gd name="connsiteY196" fmla="*/ 131638 h 398425"/>
                <a:gd name="connsiteX197" fmla="*/ 58891 w 381057"/>
                <a:gd name="connsiteY197" fmla="*/ 124709 h 398425"/>
                <a:gd name="connsiteX198" fmla="*/ 55427 w 381057"/>
                <a:gd name="connsiteY198" fmla="*/ 117781 h 398425"/>
                <a:gd name="connsiteX199" fmla="*/ 55427 w 381057"/>
                <a:gd name="connsiteY199" fmla="*/ 110853 h 398425"/>
                <a:gd name="connsiteX200" fmla="*/ 55427 w 381057"/>
                <a:gd name="connsiteY200" fmla="*/ 107389 h 398425"/>
                <a:gd name="connsiteX201" fmla="*/ 55427 w 381057"/>
                <a:gd name="connsiteY201" fmla="*/ 100460 h 398425"/>
                <a:gd name="connsiteX202" fmla="*/ 55427 w 381057"/>
                <a:gd name="connsiteY202" fmla="*/ 96996 h 398425"/>
                <a:gd name="connsiteX203" fmla="*/ 55427 w 381057"/>
                <a:gd name="connsiteY203" fmla="*/ 93532 h 398425"/>
                <a:gd name="connsiteX204" fmla="*/ 55427 w 381057"/>
                <a:gd name="connsiteY204" fmla="*/ 90068 h 398425"/>
                <a:gd name="connsiteX205" fmla="*/ 58891 w 381057"/>
                <a:gd name="connsiteY205" fmla="*/ 90068 h 398425"/>
                <a:gd name="connsiteX206" fmla="*/ 62355 w 381057"/>
                <a:gd name="connsiteY206" fmla="*/ 90068 h 398425"/>
                <a:gd name="connsiteX207" fmla="*/ 65819 w 381057"/>
                <a:gd name="connsiteY207" fmla="*/ 90068 h 398425"/>
                <a:gd name="connsiteX208" fmla="*/ 69283 w 381057"/>
                <a:gd name="connsiteY208" fmla="*/ 90068 h 398425"/>
                <a:gd name="connsiteX209" fmla="*/ 72747 w 381057"/>
                <a:gd name="connsiteY209" fmla="*/ 86604 h 398425"/>
                <a:gd name="connsiteX210" fmla="*/ 76212 w 381057"/>
                <a:gd name="connsiteY210" fmla="*/ 83140 h 398425"/>
                <a:gd name="connsiteX211" fmla="*/ 76212 w 381057"/>
                <a:gd name="connsiteY211" fmla="*/ 79676 h 398425"/>
                <a:gd name="connsiteX212" fmla="*/ 76212 w 381057"/>
                <a:gd name="connsiteY212" fmla="*/ 76211 h 398425"/>
                <a:gd name="connsiteX213" fmla="*/ 79676 w 381057"/>
                <a:gd name="connsiteY213" fmla="*/ 72747 h 398425"/>
                <a:gd name="connsiteX214" fmla="*/ 79676 w 381057"/>
                <a:gd name="connsiteY214" fmla="*/ 69283 h 398425"/>
                <a:gd name="connsiteX215" fmla="*/ 79676 w 381057"/>
                <a:gd name="connsiteY215" fmla="*/ 62355 h 398425"/>
                <a:gd name="connsiteX216" fmla="*/ 79676 w 381057"/>
                <a:gd name="connsiteY216" fmla="*/ 55427 h 398425"/>
                <a:gd name="connsiteX217" fmla="*/ 76212 w 381057"/>
                <a:gd name="connsiteY217" fmla="*/ 48498 h 398425"/>
                <a:gd name="connsiteX218" fmla="*/ 76212 w 381057"/>
                <a:gd name="connsiteY218" fmla="*/ 41570 h 398425"/>
                <a:gd name="connsiteX219" fmla="*/ 83140 w 381057"/>
                <a:gd name="connsiteY219" fmla="*/ 38106 h 398425"/>
                <a:gd name="connsiteX220" fmla="*/ 93532 w 381057"/>
                <a:gd name="connsiteY220" fmla="*/ 34642 h 398425"/>
                <a:gd name="connsiteX221" fmla="*/ 96997 w 381057"/>
                <a:gd name="connsiteY221" fmla="*/ 31177 h 398425"/>
                <a:gd name="connsiteX222" fmla="*/ 100461 w 381057"/>
                <a:gd name="connsiteY222" fmla="*/ 27713 h 398425"/>
                <a:gd name="connsiteX223" fmla="*/ 107389 w 381057"/>
                <a:gd name="connsiteY223" fmla="*/ 24249 h 398425"/>
                <a:gd name="connsiteX224" fmla="*/ 110853 w 381057"/>
                <a:gd name="connsiteY224" fmla="*/ 20785 h 398425"/>
                <a:gd name="connsiteX225" fmla="*/ 121246 w 381057"/>
                <a:gd name="connsiteY225" fmla="*/ 17321 h 398425"/>
                <a:gd name="connsiteX226" fmla="*/ 128174 w 381057"/>
                <a:gd name="connsiteY226" fmla="*/ 17321 h 398425"/>
                <a:gd name="connsiteX227" fmla="*/ 138566 w 381057"/>
                <a:gd name="connsiteY227" fmla="*/ 13857 h 398425"/>
                <a:gd name="connsiteX228" fmla="*/ 148959 w 381057"/>
                <a:gd name="connsiteY228" fmla="*/ 13857 h 398425"/>
                <a:gd name="connsiteX229" fmla="*/ 159351 w 381057"/>
                <a:gd name="connsiteY229" fmla="*/ 13857 h 398425"/>
                <a:gd name="connsiteX230" fmla="*/ 169744 w 381057"/>
                <a:gd name="connsiteY230" fmla="*/ 10393 h 398425"/>
                <a:gd name="connsiteX231" fmla="*/ 183600 w 381057"/>
                <a:gd name="connsiteY231" fmla="*/ 10393 h 398425"/>
                <a:gd name="connsiteX232" fmla="*/ 193993 w 381057"/>
                <a:gd name="connsiteY232" fmla="*/ 10393 h 398425"/>
                <a:gd name="connsiteX233" fmla="*/ 204385 w 381057"/>
                <a:gd name="connsiteY233" fmla="*/ 10393 h 398425"/>
                <a:gd name="connsiteX234" fmla="*/ 218242 w 381057"/>
                <a:gd name="connsiteY234" fmla="*/ 10393 h 398425"/>
                <a:gd name="connsiteX235" fmla="*/ 228634 w 381057"/>
                <a:gd name="connsiteY235" fmla="*/ 13857 h 398425"/>
                <a:gd name="connsiteX236" fmla="*/ 239027 w 381057"/>
                <a:gd name="connsiteY236" fmla="*/ 13857 h 398425"/>
                <a:gd name="connsiteX237" fmla="*/ 249419 w 381057"/>
                <a:gd name="connsiteY237" fmla="*/ 13857 h 398425"/>
                <a:gd name="connsiteX238" fmla="*/ 259812 w 381057"/>
                <a:gd name="connsiteY238" fmla="*/ 17321 h 398425"/>
                <a:gd name="connsiteX239" fmla="*/ 266740 w 381057"/>
                <a:gd name="connsiteY239" fmla="*/ 17321 h 398425"/>
                <a:gd name="connsiteX240" fmla="*/ 270204 w 381057"/>
                <a:gd name="connsiteY240" fmla="*/ 20785 h 398425"/>
                <a:gd name="connsiteX241" fmla="*/ 273668 w 381057"/>
                <a:gd name="connsiteY241" fmla="*/ 20785 h 398425"/>
                <a:gd name="connsiteX242" fmla="*/ 277133 w 381057"/>
                <a:gd name="connsiteY242" fmla="*/ 20785 h 398425"/>
                <a:gd name="connsiteX243" fmla="*/ 280597 w 381057"/>
                <a:gd name="connsiteY243" fmla="*/ 24249 h 398425"/>
                <a:gd name="connsiteX244" fmla="*/ 284061 w 381057"/>
                <a:gd name="connsiteY244" fmla="*/ 27713 h 398425"/>
                <a:gd name="connsiteX245" fmla="*/ 284061 w 381057"/>
                <a:gd name="connsiteY245" fmla="*/ 31177 h 398425"/>
                <a:gd name="connsiteX246" fmla="*/ 287525 w 381057"/>
                <a:gd name="connsiteY246" fmla="*/ 31177 h 398425"/>
                <a:gd name="connsiteX247" fmla="*/ 287525 w 381057"/>
                <a:gd name="connsiteY247" fmla="*/ 34642 h 398425"/>
                <a:gd name="connsiteX248" fmla="*/ 290989 w 381057"/>
                <a:gd name="connsiteY248" fmla="*/ 34642 h 398425"/>
                <a:gd name="connsiteX249" fmla="*/ 294453 w 381057"/>
                <a:gd name="connsiteY249" fmla="*/ 34642 h 398425"/>
                <a:gd name="connsiteX250" fmla="*/ 297918 w 381057"/>
                <a:gd name="connsiteY250" fmla="*/ 31177 h 398425"/>
                <a:gd name="connsiteX251" fmla="*/ 301382 w 381057"/>
                <a:gd name="connsiteY251" fmla="*/ 31177 h 398425"/>
                <a:gd name="connsiteX252" fmla="*/ 304846 w 381057"/>
                <a:gd name="connsiteY252" fmla="*/ 27713 h 398425"/>
                <a:gd name="connsiteX253" fmla="*/ 308310 w 381057"/>
                <a:gd name="connsiteY253" fmla="*/ 27713 h 398425"/>
                <a:gd name="connsiteX254" fmla="*/ 311774 w 381057"/>
                <a:gd name="connsiteY254" fmla="*/ 24249 h 398425"/>
                <a:gd name="connsiteX255" fmla="*/ 318702 w 381057"/>
                <a:gd name="connsiteY255" fmla="*/ 17321 h 398425"/>
                <a:gd name="connsiteX256" fmla="*/ 325631 w 381057"/>
                <a:gd name="connsiteY256" fmla="*/ 10393 h 398425"/>
                <a:gd name="connsiteX257" fmla="*/ 329095 w 381057"/>
                <a:gd name="connsiteY257" fmla="*/ 3464 h 398425"/>
                <a:gd name="connsiteX258" fmla="*/ 332559 w 381057"/>
                <a:gd name="connsiteY258" fmla="*/ 0 h 398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</a:cxnLst>
              <a:rect l="l" t="t" r="r" b="b"/>
              <a:pathLst>
                <a:path w="381057" h="398425">
                  <a:moveTo>
                    <a:pt x="332559" y="0"/>
                  </a:moveTo>
                  <a:lnTo>
                    <a:pt x="339487" y="3464"/>
                  </a:lnTo>
                  <a:lnTo>
                    <a:pt x="346416" y="10393"/>
                  </a:lnTo>
                  <a:lnTo>
                    <a:pt x="353344" y="13857"/>
                  </a:lnTo>
                  <a:lnTo>
                    <a:pt x="360272" y="17321"/>
                  </a:lnTo>
                  <a:lnTo>
                    <a:pt x="363736" y="20785"/>
                  </a:lnTo>
                  <a:lnTo>
                    <a:pt x="367201" y="24249"/>
                  </a:lnTo>
                  <a:lnTo>
                    <a:pt x="367201" y="27713"/>
                  </a:lnTo>
                  <a:lnTo>
                    <a:pt x="370665" y="31177"/>
                  </a:lnTo>
                  <a:lnTo>
                    <a:pt x="374129" y="34642"/>
                  </a:lnTo>
                  <a:lnTo>
                    <a:pt x="374129" y="41570"/>
                  </a:lnTo>
                  <a:lnTo>
                    <a:pt x="377593" y="48498"/>
                  </a:lnTo>
                  <a:lnTo>
                    <a:pt x="381057" y="55427"/>
                  </a:lnTo>
                  <a:lnTo>
                    <a:pt x="381057" y="58891"/>
                  </a:lnTo>
                  <a:lnTo>
                    <a:pt x="381057" y="62355"/>
                  </a:lnTo>
                  <a:lnTo>
                    <a:pt x="381057" y="69283"/>
                  </a:lnTo>
                  <a:lnTo>
                    <a:pt x="381057" y="79676"/>
                  </a:lnTo>
                  <a:lnTo>
                    <a:pt x="381057" y="86604"/>
                  </a:lnTo>
                  <a:lnTo>
                    <a:pt x="374129" y="100460"/>
                  </a:lnTo>
                  <a:lnTo>
                    <a:pt x="370665" y="107389"/>
                  </a:lnTo>
                  <a:lnTo>
                    <a:pt x="367201" y="114317"/>
                  </a:lnTo>
                  <a:lnTo>
                    <a:pt x="367201" y="121245"/>
                  </a:lnTo>
                  <a:lnTo>
                    <a:pt x="363736" y="124709"/>
                  </a:lnTo>
                  <a:lnTo>
                    <a:pt x="363736" y="128174"/>
                  </a:lnTo>
                  <a:lnTo>
                    <a:pt x="363736" y="131638"/>
                  </a:lnTo>
                  <a:lnTo>
                    <a:pt x="363736" y="135102"/>
                  </a:lnTo>
                  <a:lnTo>
                    <a:pt x="363736" y="138566"/>
                  </a:lnTo>
                  <a:lnTo>
                    <a:pt x="363736" y="145494"/>
                  </a:lnTo>
                  <a:lnTo>
                    <a:pt x="367201" y="152423"/>
                  </a:lnTo>
                  <a:lnTo>
                    <a:pt x="367201" y="159351"/>
                  </a:lnTo>
                  <a:lnTo>
                    <a:pt x="367201" y="162815"/>
                  </a:lnTo>
                  <a:lnTo>
                    <a:pt x="367201" y="166279"/>
                  </a:lnTo>
                  <a:lnTo>
                    <a:pt x="370665" y="173208"/>
                  </a:lnTo>
                  <a:lnTo>
                    <a:pt x="374129" y="180136"/>
                  </a:lnTo>
                  <a:lnTo>
                    <a:pt x="374129" y="183600"/>
                  </a:lnTo>
                  <a:lnTo>
                    <a:pt x="377593" y="187064"/>
                  </a:lnTo>
                  <a:lnTo>
                    <a:pt x="377593" y="190528"/>
                  </a:lnTo>
                  <a:lnTo>
                    <a:pt x="381057" y="197457"/>
                  </a:lnTo>
                  <a:lnTo>
                    <a:pt x="381057" y="200921"/>
                  </a:lnTo>
                  <a:lnTo>
                    <a:pt x="381057" y="204385"/>
                  </a:lnTo>
                  <a:lnTo>
                    <a:pt x="377593" y="204385"/>
                  </a:lnTo>
                  <a:lnTo>
                    <a:pt x="377593" y="207849"/>
                  </a:lnTo>
                  <a:lnTo>
                    <a:pt x="374129" y="207849"/>
                  </a:lnTo>
                  <a:lnTo>
                    <a:pt x="370665" y="207849"/>
                  </a:lnTo>
                  <a:lnTo>
                    <a:pt x="367201" y="204385"/>
                  </a:lnTo>
                  <a:lnTo>
                    <a:pt x="363736" y="204385"/>
                  </a:lnTo>
                  <a:lnTo>
                    <a:pt x="360272" y="204385"/>
                  </a:lnTo>
                  <a:lnTo>
                    <a:pt x="356808" y="204385"/>
                  </a:lnTo>
                  <a:lnTo>
                    <a:pt x="353344" y="207849"/>
                  </a:lnTo>
                  <a:lnTo>
                    <a:pt x="353344" y="211313"/>
                  </a:lnTo>
                  <a:lnTo>
                    <a:pt x="353344" y="214777"/>
                  </a:lnTo>
                  <a:lnTo>
                    <a:pt x="353344" y="218242"/>
                  </a:lnTo>
                  <a:lnTo>
                    <a:pt x="353344" y="221706"/>
                  </a:lnTo>
                  <a:lnTo>
                    <a:pt x="353344" y="225170"/>
                  </a:lnTo>
                  <a:lnTo>
                    <a:pt x="356808" y="225170"/>
                  </a:lnTo>
                  <a:lnTo>
                    <a:pt x="360272" y="228634"/>
                  </a:lnTo>
                  <a:lnTo>
                    <a:pt x="363736" y="228634"/>
                  </a:lnTo>
                  <a:lnTo>
                    <a:pt x="367201" y="228634"/>
                  </a:lnTo>
                  <a:lnTo>
                    <a:pt x="370665" y="228634"/>
                  </a:lnTo>
                  <a:lnTo>
                    <a:pt x="374129" y="232098"/>
                  </a:lnTo>
                  <a:lnTo>
                    <a:pt x="377593" y="235562"/>
                  </a:lnTo>
                  <a:lnTo>
                    <a:pt x="377593" y="239027"/>
                  </a:lnTo>
                  <a:lnTo>
                    <a:pt x="377593" y="242491"/>
                  </a:lnTo>
                  <a:lnTo>
                    <a:pt x="381057" y="249419"/>
                  </a:lnTo>
                  <a:lnTo>
                    <a:pt x="381057" y="252883"/>
                  </a:lnTo>
                  <a:lnTo>
                    <a:pt x="381057" y="259811"/>
                  </a:lnTo>
                  <a:lnTo>
                    <a:pt x="381057" y="263276"/>
                  </a:lnTo>
                  <a:lnTo>
                    <a:pt x="381057" y="270204"/>
                  </a:lnTo>
                  <a:lnTo>
                    <a:pt x="381057" y="273668"/>
                  </a:lnTo>
                  <a:lnTo>
                    <a:pt x="381057" y="280596"/>
                  </a:lnTo>
                  <a:lnTo>
                    <a:pt x="381057" y="284060"/>
                  </a:lnTo>
                  <a:lnTo>
                    <a:pt x="381057" y="287525"/>
                  </a:lnTo>
                  <a:lnTo>
                    <a:pt x="377593" y="290989"/>
                  </a:lnTo>
                  <a:lnTo>
                    <a:pt x="377593" y="294453"/>
                  </a:lnTo>
                  <a:lnTo>
                    <a:pt x="374129" y="297917"/>
                  </a:lnTo>
                  <a:lnTo>
                    <a:pt x="374129" y="301381"/>
                  </a:lnTo>
                  <a:lnTo>
                    <a:pt x="370665" y="301381"/>
                  </a:lnTo>
                  <a:lnTo>
                    <a:pt x="363736" y="301381"/>
                  </a:lnTo>
                  <a:lnTo>
                    <a:pt x="360272" y="301381"/>
                  </a:lnTo>
                  <a:lnTo>
                    <a:pt x="353344" y="301381"/>
                  </a:lnTo>
                  <a:lnTo>
                    <a:pt x="349880" y="301381"/>
                  </a:lnTo>
                  <a:lnTo>
                    <a:pt x="346416" y="301381"/>
                  </a:lnTo>
                  <a:lnTo>
                    <a:pt x="342952" y="304845"/>
                  </a:lnTo>
                  <a:lnTo>
                    <a:pt x="342952" y="308310"/>
                  </a:lnTo>
                  <a:lnTo>
                    <a:pt x="339487" y="311774"/>
                  </a:lnTo>
                  <a:lnTo>
                    <a:pt x="339487" y="315238"/>
                  </a:lnTo>
                  <a:lnTo>
                    <a:pt x="339487" y="318702"/>
                  </a:lnTo>
                  <a:lnTo>
                    <a:pt x="339487" y="325630"/>
                  </a:lnTo>
                  <a:lnTo>
                    <a:pt x="342952" y="332559"/>
                  </a:lnTo>
                  <a:lnTo>
                    <a:pt x="342952" y="342951"/>
                  </a:lnTo>
                  <a:lnTo>
                    <a:pt x="342952" y="346415"/>
                  </a:lnTo>
                  <a:lnTo>
                    <a:pt x="342952" y="349879"/>
                  </a:lnTo>
                  <a:lnTo>
                    <a:pt x="342952" y="353343"/>
                  </a:lnTo>
                  <a:lnTo>
                    <a:pt x="342952" y="356808"/>
                  </a:lnTo>
                  <a:lnTo>
                    <a:pt x="339487" y="360272"/>
                  </a:lnTo>
                  <a:lnTo>
                    <a:pt x="339487" y="363736"/>
                  </a:lnTo>
                  <a:lnTo>
                    <a:pt x="336023" y="363736"/>
                  </a:lnTo>
                  <a:lnTo>
                    <a:pt x="332559" y="363736"/>
                  </a:lnTo>
                  <a:lnTo>
                    <a:pt x="329095" y="360272"/>
                  </a:lnTo>
                  <a:lnTo>
                    <a:pt x="325631" y="360272"/>
                  </a:lnTo>
                  <a:lnTo>
                    <a:pt x="322167" y="360272"/>
                  </a:lnTo>
                  <a:lnTo>
                    <a:pt x="318702" y="360272"/>
                  </a:lnTo>
                  <a:lnTo>
                    <a:pt x="318702" y="363736"/>
                  </a:lnTo>
                  <a:lnTo>
                    <a:pt x="315238" y="367200"/>
                  </a:lnTo>
                  <a:lnTo>
                    <a:pt x="315238" y="370650"/>
                  </a:lnTo>
                  <a:lnTo>
                    <a:pt x="297103" y="364007"/>
                  </a:lnTo>
                  <a:cubicBezTo>
                    <a:pt x="297525" y="350529"/>
                    <a:pt x="297945" y="337051"/>
                    <a:pt x="298367" y="323573"/>
                  </a:cubicBezTo>
                  <a:cubicBezTo>
                    <a:pt x="287037" y="314879"/>
                    <a:pt x="278571" y="318518"/>
                    <a:pt x="274359" y="321045"/>
                  </a:cubicBezTo>
                  <a:cubicBezTo>
                    <a:pt x="263029" y="316774"/>
                    <a:pt x="271200" y="341052"/>
                    <a:pt x="270568" y="352634"/>
                  </a:cubicBezTo>
                  <a:cubicBezTo>
                    <a:pt x="261092" y="357899"/>
                    <a:pt x="257723" y="389277"/>
                    <a:pt x="245297" y="386750"/>
                  </a:cubicBezTo>
                  <a:cubicBezTo>
                    <a:pt x="232872" y="384223"/>
                    <a:pt x="223115" y="373271"/>
                    <a:pt x="211180" y="370324"/>
                  </a:cubicBezTo>
                  <a:cubicBezTo>
                    <a:pt x="199244" y="367377"/>
                    <a:pt x="195377" y="383387"/>
                    <a:pt x="182531" y="386757"/>
                  </a:cubicBezTo>
                  <a:cubicBezTo>
                    <a:pt x="169685" y="390126"/>
                    <a:pt x="143437" y="378959"/>
                    <a:pt x="134102" y="390541"/>
                  </a:cubicBezTo>
                  <a:cubicBezTo>
                    <a:pt x="124767" y="402122"/>
                    <a:pt x="121256" y="367587"/>
                    <a:pt x="116413" y="370324"/>
                  </a:cubicBezTo>
                  <a:cubicBezTo>
                    <a:pt x="107920" y="360215"/>
                    <a:pt x="99143" y="357056"/>
                    <a:pt x="98722" y="361479"/>
                  </a:cubicBezTo>
                  <a:cubicBezTo>
                    <a:pt x="84965" y="374113"/>
                    <a:pt x="96406" y="372851"/>
                    <a:pt x="89878" y="376642"/>
                  </a:cubicBezTo>
                  <a:cubicBezTo>
                    <a:pt x="72119" y="389908"/>
                    <a:pt x="65817" y="374350"/>
                    <a:pt x="59552" y="384223"/>
                  </a:cubicBezTo>
                  <a:lnTo>
                    <a:pt x="51963" y="398425"/>
                  </a:lnTo>
                  <a:lnTo>
                    <a:pt x="51963" y="398377"/>
                  </a:lnTo>
                  <a:lnTo>
                    <a:pt x="51963" y="394913"/>
                  </a:lnTo>
                  <a:lnTo>
                    <a:pt x="51963" y="391449"/>
                  </a:lnTo>
                  <a:lnTo>
                    <a:pt x="55427" y="387985"/>
                  </a:lnTo>
                  <a:lnTo>
                    <a:pt x="55427" y="384521"/>
                  </a:lnTo>
                  <a:lnTo>
                    <a:pt x="51963" y="381057"/>
                  </a:lnTo>
                  <a:lnTo>
                    <a:pt x="51963" y="377592"/>
                  </a:lnTo>
                  <a:lnTo>
                    <a:pt x="51963" y="374128"/>
                  </a:lnTo>
                  <a:lnTo>
                    <a:pt x="48498" y="374128"/>
                  </a:lnTo>
                  <a:lnTo>
                    <a:pt x="45034" y="367200"/>
                  </a:lnTo>
                  <a:lnTo>
                    <a:pt x="41570" y="360272"/>
                  </a:lnTo>
                  <a:lnTo>
                    <a:pt x="41570" y="356808"/>
                  </a:lnTo>
                  <a:lnTo>
                    <a:pt x="38106" y="356808"/>
                  </a:lnTo>
                  <a:lnTo>
                    <a:pt x="34642" y="349879"/>
                  </a:lnTo>
                  <a:lnTo>
                    <a:pt x="31178" y="346415"/>
                  </a:lnTo>
                  <a:lnTo>
                    <a:pt x="31178" y="342951"/>
                  </a:lnTo>
                  <a:lnTo>
                    <a:pt x="31178" y="339487"/>
                  </a:lnTo>
                  <a:lnTo>
                    <a:pt x="31178" y="336023"/>
                  </a:lnTo>
                  <a:lnTo>
                    <a:pt x="34642" y="336023"/>
                  </a:lnTo>
                  <a:lnTo>
                    <a:pt x="34642" y="332559"/>
                  </a:lnTo>
                  <a:lnTo>
                    <a:pt x="34642" y="329094"/>
                  </a:lnTo>
                  <a:lnTo>
                    <a:pt x="34642" y="325630"/>
                  </a:lnTo>
                  <a:lnTo>
                    <a:pt x="34642" y="322166"/>
                  </a:lnTo>
                  <a:lnTo>
                    <a:pt x="34642" y="318702"/>
                  </a:lnTo>
                  <a:lnTo>
                    <a:pt x="31178" y="318702"/>
                  </a:lnTo>
                  <a:lnTo>
                    <a:pt x="27713" y="318702"/>
                  </a:lnTo>
                  <a:lnTo>
                    <a:pt x="24249" y="318702"/>
                  </a:lnTo>
                  <a:lnTo>
                    <a:pt x="24249" y="315238"/>
                  </a:lnTo>
                  <a:lnTo>
                    <a:pt x="20785" y="311774"/>
                  </a:lnTo>
                  <a:lnTo>
                    <a:pt x="20785" y="308310"/>
                  </a:lnTo>
                  <a:lnTo>
                    <a:pt x="20785" y="304845"/>
                  </a:lnTo>
                  <a:lnTo>
                    <a:pt x="20785" y="301381"/>
                  </a:lnTo>
                  <a:lnTo>
                    <a:pt x="20785" y="297917"/>
                  </a:lnTo>
                  <a:lnTo>
                    <a:pt x="17321" y="294453"/>
                  </a:lnTo>
                  <a:lnTo>
                    <a:pt x="13857" y="294453"/>
                  </a:lnTo>
                  <a:lnTo>
                    <a:pt x="10393" y="290989"/>
                  </a:lnTo>
                  <a:lnTo>
                    <a:pt x="6929" y="290989"/>
                  </a:lnTo>
                  <a:lnTo>
                    <a:pt x="3464" y="290989"/>
                  </a:lnTo>
                  <a:lnTo>
                    <a:pt x="0" y="287525"/>
                  </a:lnTo>
                  <a:lnTo>
                    <a:pt x="0" y="284060"/>
                  </a:lnTo>
                  <a:lnTo>
                    <a:pt x="0" y="280596"/>
                  </a:lnTo>
                  <a:lnTo>
                    <a:pt x="0" y="277132"/>
                  </a:lnTo>
                  <a:lnTo>
                    <a:pt x="0" y="273668"/>
                  </a:lnTo>
                  <a:lnTo>
                    <a:pt x="3464" y="270204"/>
                  </a:lnTo>
                  <a:lnTo>
                    <a:pt x="6929" y="270204"/>
                  </a:lnTo>
                  <a:lnTo>
                    <a:pt x="10393" y="270204"/>
                  </a:lnTo>
                  <a:lnTo>
                    <a:pt x="13857" y="270204"/>
                  </a:lnTo>
                  <a:lnTo>
                    <a:pt x="17321" y="270204"/>
                  </a:lnTo>
                  <a:lnTo>
                    <a:pt x="20785" y="270204"/>
                  </a:lnTo>
                  <a:lnTo>
                    <a:pt x="24249" y="270204"/>
                  </a:lnTo>
                  <a:lnTo>
                    <a:pt x="24249" y="266740"/>
                  </a:lnTo>
                  <a:lnTo>
                    <a:pt x="24249" y="263276"/>
                  </a:lnTo>
                  <a:lnTo>
                    <a:pt x="24249" y="259811"/>
                  </a:lnTo>
                  <a:lnTo>
                    <a:pt x="27713" y="249419"/>
                  </a:lnTo>
                  <a:lnTo>
                    <a:pt x="27713" y="245955"/>
                  </a:lnTo>
                  <a:lnTo>
                    <a:pt x="31178" y="239027"/>
                  </a:lnTo>
                  <a:lnTo>
                    <a:pt x="34642" y="228634"/>
                  </a:lnTo>
                  <a:lnTo>
                    <a:pt x="34642" y="225170"/>
                  </a:lnTo>
                  <a:lnTo>
                    <a:pt x="38106" y="221706"/>
                  </a:lnTo>
                  <a:lnTo>
                    <a:pt x="41570" y="218242"/>
                  </a:lnTo>
                  <a:lnTo>
                    <a:pt x="41570" y="214777"/>
                  </a:lnTo>
                  <a:lnTo>
                    <a:pt x="45034" y="214777"/>
                  </a:lnTo>
                  <a:lnTo>
                    <a:pt x="51963" y="214777"/>
                  </a:lnTo>
                  <a:lnTo>
                    <a:pt x="55427" y="214777"/>
                  </a:lnTo>
                  <a:lnTo>
                    <a:pt x="55427" y="211313"/>
                  </a:lnTo>
                  <a:lnTo>
                    <a:pt x="58891" y="211313"/>
                  </a:lnTo>
                  <a:lnTo>
                    <a:pt x="58891" y="207849"/>
                  </a:lnTo>
                  <a:lnTo>
                    <a:pt x="62355" y="207849"/>
                  </a:lnTo>
                  <a:lnTo>
                    <a:pt x="62355" y="204385"/>
                  </a:lnTo>
                  <a:lnTo>
                    <a:pt x="62355" y="197457"/>
                  </a:lnTo>
                  <a:lnTo>
                    <a:pt x="65819" y="193992"/>
                  </a:lnTo>
                  <a:lnTo>
                    <a:pt x="65819" y="187064"/>
                  </a:lnTo>
                  <a:lnTo>
                    <a:pt x="65819" y="180136"/>
                  </a:lnTo>
                  <a:lnTo>
                    <a:pt x="65819" y="173208"/>
                  </a:lnTo>
                  <a:lnTo>
                    <a:pt x="65819" y="169743"/>
                  </a:lnTo>
                  <a:lnTo>
                    <a:pt x="62355" y="155887"/>
                  </a:lnTo>
                  <a:lnTo>
                    <a:pt x="62355" y="145494"/>
                  </a:lnTo>
                  <a:lnTo>
                    <a:pt x="62355" y="135102"/>
                  </a:lnTo>
                  <a:lnTo>
                    <a:pt x="58891" y="131638"/>
                  </a:lnTo>
                  <a:lnTo>
                    <a:pt x="58891" y="124709"/>
                  </a:lnTo>
                  <a:lnTo>
                    <a:pt x="55427" y="117781"/>
                  </a:lnTo>
                  <a:lnTo>
                    <a:pt x="55427" y="110853"/>
                  </a:lnTo>
                  <a:lnTo>
                    <a:pt x="55427" y="107389"/>
                  </a:lnTo>
                  <a:lnTo>
                    <a:pt x="55427" y="100460"/>
                  </a:lnTo>
                  <a:lnTo>
                    <a:pt x="55427" y="96996"/>
                  </a:lnTo>
                  <a:lnTo>
                    <a:pt x="55427" y="93532"/>
                  </a:lnTo>
                  <a:lnTo>
                    <a:pt x="55427" y="90068"/>
                  </a:lnTo>
                  <a:lnTo>
                    <a:pt x="58891" y="90068"/>
                  </a:lnTo>
                  <a:lnTo>
                    <a:pt x="62355" y="90068"/>
                  </a:lnTo>
                  <a:lnTo>
                    <a:pt x="65819" y="90068"/>
                  </a:lnTo>
                  <a:lnTo>
                    <a:pt x="69283" y="90068"/>
                  </a:lnTo>
                  <a:lnTo>
                    <a:pt x="72747" y="86604"/>
                  </a:lnTo>
                  <a:lnTo>
                    <a:pt x="76212" y="83140"/>
                  </a:lnTo>
                  <a:lnTo>
                    <a:pt x="76212" y="79676"/>
                  </a:lnTo>
                  <a:lnTo>
                    <a:pt x="76212" y="76211"/>
                  </a:lnTo>
                  <a:lnTo>
                    <a:pt x="79676" y="72747"/>
                  </a:lnTo>
                  <a:lnTo>
                    <a:pt x="79676" y="69283"/>
                  </a:lnTo>
                  <a:lnTo>
                    <a:pt x="79676" y="62355"/>
                  </a:lnTo>
                  <a:lnTo>
                    <a:pt x="79676" y="55427"/>
                  </a:lnTo>
                  <a:lnTo>
                    <a:pt x="76212" y="48498"/>
                  </a:lnTo>
                  <a:lnTo>
                    <a:pt x="76212" y="41570"/>
                  </a:lnTo>
                  <a:lnTo>
                    <a:pt x="83140" y="38106"/>
                  </a:lnTo>
                  <a:lnTo>
                    <a:pt x="93532" y="34642"/>
                  </a:lnTo>
                  <a:lnTo>
                    <a:pt x="96997" y="31177"/>
                  </a:lnTo>
                  <a:lnTo>
                    <a:pt x="100461" y="27713"/>
                  </a:lnTo>
                  <a:lnTo>
                    <a:pt x="107389" y="24249"/>
                  </a:lnTo>
                  <a:lnTo>
                    <a:pt x="110853" y="20785"/>
                  </a:lnTo>
                  <a:lnTo>
                    <a:pt x="121246" y="17321"/>
                  </a:lnTo>
                  <a:lnTo>
                    <a:pt x="128174" y="17321"/>
                  </a:lnTo>
                  <a:lnTo>
                    <a:pt x="138566" y="13857"/>
                  </a:lnTo>
                  <a:lnTo>
                    <a:pt x="148959" y="13857"/>
                  </a:lnTo>
                  <a:lnTo>
                    <a:pt x="159351" y="13857"/>
                  </a:lnTo>
                  <a:lnTo>
                    <a:pt x="169744" y="10393"/>
                  </a:lnTo>
                  <a:lnTo>
                    <a:pt x="183600" y="10393"/>
                  </a:lnTo>
                  <a:lnTo>
                    <a:pt x="193993" y="10393"/>
                  </a:lnTo>
                  <a:lnTo>
                    <a:pt x="204385" y="10393"/>
                  </a:lnTo>
                  <a:lnTo>
                    <a:pt x="218242" y="10393"/>
                  </a:lnTo>
                  <a:lnTo>
                    <a:pt x="228634" y="13857"/>
                  </a:lnTo>
                  <a:lnTo>
                    <a:pt x="239027" y="13857"/>
                  </a:lnTo>
                  <a:lnTo>
                    <a:pt x="249419" y="13857"/>
                  </a:lnTo>
                  <a:lnTo>
                    <a:pt x="259812" y="17321"/>
                  </a:lnTo>
                  <a:lnTo>
                    <a:pt x="266740" y="17321"/>
                  </a:lnTo>
                  <a:lnTo>
                    <a:pt x="270204" y="20785"/>
                  </a:lnTo>
                  <a:lnTo>
                    <a:pt x="273668" y="20785"/>
                  </a:lnTo>
                  <a:lnTo>
                    <a:pt x="277133" y="20785"/>
                  </a:lnTo>
                  <a:lnTo>
                    <a:pt x="280597" y="24249"/>
                  </a:lnTo>
                  <a:lnTo>
                    <a:pt x="284061" y="27713"/>
                  </a:lnTo>
                  <a:lnTo>
                    <a:pt x="284061" y="31177"/>
                  </a:lnTo>
                  <a:lnTo>
                    <a:pt x="287525" y="31177"/>
                  </a:lnTo>
                  <a:lnTo>
                    <a:pt x="287525" y="34642"/>
                  </a:lnTo>
                  <a:lnTo>
                    <a:pt x="290989" y="34642"/>
                  </a:lnTo>
                  <a:lnTo>
                    <a:pt x="294453" y="34642"/>
                  </a:lnTo>
                  <a:lnTo>
                    <a:pt x="297918" y="31177"/>
                  </a:lnTo>
                  <a:lnTo>
                    <a:pt x="301382" y="31177"/>
                  </a:lnTo>
                  <a:lnTo>
                    <a:pt x="304846" y="27713"/>
                  </a:lnTo>
                  <a:lnTo>
                    <a:pt x="308310" y="27713"/>
                  </a:lnTo>
                  <a:lnTo>
                    <a:pt x="311774" y="24249"/>
                  </a:lnTo>
                  <a:lnTo>
                    <a:pt x="318702" y="17321"/>
                  </a:lnTo>
                  <a:lnTo>
                    <a:pt x="325631" y="10393"/>
                  </a:lnTo>
                  <a:lnTo>
                    <a:pt x="329095" y="3464"/>
                  </a:lnTo>
                  <a:lnTo>
                    <a:pt x="332559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54" fontAlgn="base">
                <a:spcAft>
                  <a:spcPts val="300"/>
                </a:spcAft>
                <a:defRPr/>
              </a:pPr>
              <a:endParaRPr lang="en-IE" sz="1600" kern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  <a:cs typeface="Arial" pitchFamily="34" charset="0"/>
              </a:endParaRPr>
            </a:p>
          </p:txBody>
        </p:sp>
        <p:sp>
          <p:nvSpPr>
            <p:cNvPr id="1908" name="Freeform 463">
              <a:extLst>
                <a:ext uri="{FF2B5EF4-FFF2-40B4-BE49-F238E27FC236}">
                  <a16:creationId xmlns:a16="http://schemas.microsoft.com/office/drawing/2014/main" id="{BC1455EF-B0E7-4CC6-B4BB-A9EAD6840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870" y="4077812"/>
              <a:ext cx="75170" cy="66860"/>
            </a:xfrm>
            <a:custGeom>
              <a:avLst/>
              <a:gdLst>
                <a:gd name="T0" fmla="*/ 32 w 44"/>
                <a:gd name="T1" fmla="*/ 2 h 40"/>
                <a:gd name="T2" fmla="*/ 30 w 44"/>
                <a:gd name="T3" fmla="*/ 4 h 40"/>
                <a:gd name="T4" fmla="*/ 28 w 44"/>
                <a:gd name="T5" fmla="*/ 8 h 40"/>
                <a:gd name="T6" fmla="*/ 26 w 44"/>
                <a:gd name="T7" fmla="*/ 12 h 40"/>
                <a:gd name="T8" fmla="*/ 26 w 44"/>
                <a:gd name="T9" fmla="*/ 14 h 40"/>
                <a:gd name="T10" fmla="*/ 26 w 44"/>
                <a:gd name="T11" fmla="*/ 16 h 40"/>
                <a:gd name="T12" fmla="*/ 28 w 44"/>
                <a:gd name="T13" fmla="*/ 16 h 40"/>
                <a:gd name="T14" fmla="*/ 30 w 44"/>
                <a:gd name="T15" fmla="*/ 18 h 40"/>
                <a:gd name="T16" fmla="*/ 32 w 44"/>
                <a:gd name="T17" fmla="*/ 20 h 40"/>
                <a:gd name="T18" fmla="*/ 32 w 44"/>
                <a:gd name="T19" fmla="*/ 22 h 40"/>
                <a:gd name="T20" fmla="*/ 32 w 44"/>
                <a:gd name="T21" fmla="*/ 22 h 40"/>
                <a:gd name="T22" fmla="*/ 30 w 44"/>
                <a:gd name="T23" fmla="*/ 24 h 40"/>
                <a:gd name="T24" fmla="*/ 28 w 44"/>
                <a:gd name="T25" fmla="*/ 26 h 40"/>
                <a:gd name="T26" fmla="*/ 24 w 44"/>
                <a:gd name="T27" fmla="*/ 26 h 40"/>
                <a:gd name="T28" fmla="*/ 22 w 44"/>
                <a:gd name="T29" fmla="*/ 26 h 40"/>
                <a:gd name="T30" fmla="*/ 18 w 44"/>
                <a:gd name="T31" fmla="*/ 26 h 40"/>
                <a:gd name="T32" fmla="*/ 12 w 44"/>
                <a:gd name="T33" fmla="*/ 26 h 40"/>
                <a:gd name="T34" fmla="*/ 6 w 44"/>
                <a:gd name="T35" fmla="*/ 24 h 40"/>
                <a:gd name="T36" fmla="*/ 4 w 44"/>
                <a:gd name="T37" fmla="*/ 24 h 40"/>
                <a:gd name="T38" fmla="*/ 2 w 44"/>
                <a:gd name="T39" fmla="*/ 26 h 40"/>
                <a:gd name="T40" fmla="*/ 0 w 44"/>
                <a:gd name="T41" fmla="*/ 26 h 40"/>
                <a:gd name="T42" fmla="*/ 0 w 44"/>
                <a:gd name="T43" fmla="*/ 28 h 40"/>
                <a:gd name="T44" fmla="*/ 0 w 44"/>
                <a:gd name="T45" fmla="*/ 30 h 40"/>
                <a:gd name="T46" fmla="*/ 2 w 44"/>
                <a:gd name="T47" fmla="*/ 34 h 40"/>
                <a:gd name="T48" fmla="*/ 4 w 44"/>
                <a:gd name="T49" fmla="*/ 36 h 40"/>
                <a:gd name="T50" fmla="*/ 4 w 44"/>
                <a:gd name="T51" fmla="*/ 38 h 40"/>
                <a:gd name="T52" fmla="*/ 8 w 44"/>
                <a:gd name="T53" fmla="*/ 38 h 40"/>
                <a:gd name="T54" fmla="*/ 12 w 44"/>
                <a:gd name="T55" fmla="*/ 38 h 40"/>
                <a:gd name="T56" fmla="*/ 20 w 44"/>
                <a:gd name="T57" fmla="*/ 38 h 40"/>
                <a:gd name="T58" fmla="*/ 38 w 44"/>
                <a:gd name="T59" fmla="*/ 40 h 40"/>
                <a:gd name="T60" fmla="*/ 42 w 44"/>
                <a:gd name="T61" fmla="*/ 32 h 40"/>
                <a:gd name="T62" fmla="*/ 42 w 44"/>
                <a:gd name="T63" fmla="*/ 28 h 40"/>
                <a:gd name="T64" fmla="*/ 44 w 44"/>
                <a:gd name="T65" fmla="*/ 24 h 40"/>
                <a:gd name="T66" fmla="*/ 44 w 44"/>
                <a:gd name="T67" fmla="*/ 18 h 40"/>
                <a:gd name="T68" fmla="*/ 42 w 44"/>
                <a:gd name="T69" fmla="*/ 8 h 40"/>
                <a:gd name="T70" fmla="*/ 42 w 44"/>
                <a:gd name="T71" fmla="*/ 0 h 40"/>
                <a:gd name="T72" fmla="*/ 36 w 44"/>
                <a:gd name="T73" fmla="*/ 0 h 40"/>
                <a:gd name="T74" fmla="*/ 34 w 44"/>
                <a:gd name="T75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4" h="40">
                  <a:moveTo>
                    <a:pt x="32" y="2"/>
                  </a:moveTo>
                  <a:lnTo>
                    <a:pt x="32" y="2"/>
                  </a:lnTo>
                  <a:lnTo>
                    <a:pt x="32" y="2"/>
                  </a:lnTo>
                  <a:lnTo>
                    <a:pt x="30" y="4"/>
                  </a:lnTo>
                  <a:lnTo>
                    <a:pt x="30" y="6"/>
                  </a:lnTo>
                  <a:lnTo>
                    <a:pt x="28" y="8"/>
                  </a:lnTo>
                  <a:lnTo>
                    <a:pt x="28" y="10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4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6" y="26"/>
                  </a:lnTo>
                  <a:lnTo>
                    <a:pt x="24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0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6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38" y="40"/>
                  </a:lnTo>
                  <a:lnTo>
                    <a:pt x="40" y="36"/>
                  </a:lnTo>
                  <a:lnTo>
                    <a:pt x="42" y="32"/>
                  </a:lnTo>
                  <a:lnTo>
                    <a:pt x="42" y="30"/>
                  </a:lnTo>
                  <a:lnTo>
                    <a:pt x="42" y="28"/>
                  </a:lnTo>
                  <a:lnTo>
                    <a:pt x="42" y="26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4" y="18"/>
                  </a:lnTo>
                  <a:lnTo>
                    <a:pt x="42" y="12"/>
                  </a:lnTo>
                  <a:lnTo>
                    <a:pt x="42" y="8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2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09" name="Freeform 465">
              <a:extLst>
                <a:ext uri="{FF2B5EF4-FFF2-40B4-BE49-F238E27FC236}">
                  <a16:creationId xmlns:a16="http://schemas.microsoft.com/office/drawing/2014/main" id="{E5EEA35A-ACD8-449E-BF0F-0F9EF86EE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5805" y="4405427"/>
              <a:ext cx="109339" cy="210608"/>
            </a:xfrm>
            <a:custGeom>
              <a:avLst/>
              <a:gdLst>
                <a:gd name="T0" fmla="*/ 18 w 64"/>
                <a:gd name="T1" fmla="*/ 6 h 126"/>
                <a:gd name="T2" fmla="*/ 18 w 64"/>
                <a:gd name="T3" fmla="*/ 14 h 126"/>
                <a:gd name="T4" fmla="*/ 16 w 64"/>
                <a:gd name="T5" fmla="*/ 18 h 126"/>
                <a:gd name="T6" fmla="*/ 12 w 64"/>
                <a:gd name="T7" fmla="*/ 22 h 126"/>
                <a:gd name="T8" fmla="*/ 10 w 64"/>
                <a:gd name="T9" fmla="*/ 28 h 126"/>
                <a:gd name="T10" fmla="*/ 2 w 64"/>
                <a:gd name="T11" fmla="*/ 34 h 126"/>
                <a:gd name="T12" fmla="*/ 0 w 64"/>
                <a:gd name="T13" fmla="*/ 40 h 126"/>
                <a:gd name="T14" fmla="*/ 0 w 64"/>
                <a:gd name="T15" fmla="*/ 48 h 126"/>
                <a:gd name="T16" fmla="*/ 2 w 64"/>
                <a:gd name="T17" fmla="*/ 54 h 126"/>
                <a:gd name="T18" fmla="*/ 6 w 64"/>
                <a:gd name="T19" fmla="*/ 60 h 126"/>
                <a:gd name="T20" fmla="*/ 8 w 64"/>
                <a:gd name="T21" fmla="*/ 70 h 126"/>
                <a:gd name="T22" fmla="*/ 16 w 64"/>
                <a:gd name="T23" fmla="*/ 72 h 126"/>
                <a:gd name="T24" fmla="*/ 20 w 64"/>
                <a:gd name="T25" fmla="*/ 76 h 126"/>
                <a:gd name="T26" fmla="*/ 22 w 64"/>
                <a:gd name="T27" fmla="*/ 82 h 126"/>
                <a:gd name="T28" fmla="*/ 22 w 64"/>
                <a:gd name="T29" fmla="*/ 92 h 126"/>
                <a:gd name="T30" fmla="*/ 18 w 64"/>
                <a:gd name="T31" fmla="*/ 100 h 126"/>
                <a:gd name="T32" fmla="*/ 18 w 64"/>
                <a:gd name="T33" fmla="*/ 106 h 126"/>
                <a:gd name="T34" fmla="*/ 24 w 64"/>
                <a:gd name="T35" fmla="*/ 116 h 126"/>
                <a:gd name="T36" fmla="*/ 30 w 64"/>
                <a:gd name="T37" fmla="*/ 124 h 126"/>
                <a:gd name="T38" fmla="*/ 34 w 64"/>
                <a:gd name="T39" fmla="*/ 126 h 126"/>
                <a:gd name="T40" fmla="*/ 40 w 64"/>
                <a:gd name="T41" fmla="*/ 124 h 126"/>
                <a:gd name="T42" fmla="*/ 44 w 64"/>
                <a:gd name="T43" fmla="*/ 122 h 126"/>
                <a:gd name="T44" fmla="*/ 46 w 64"/>
                <a:gd name="T45" fmla="*/ 118 h 126"/>
                <a:gd name="T46" fmla="*/ 50 w 64"/>
                <a:gd name="T47" fmla="*/ 116 h 126"/>
                <a:gd name="T48" fmla="*/ 60 w 64"/>
                <a:gd name="T49" fmla="*/ 114 h 126"/>
                <a:gd name="T50" fmla="*/ 62 w 64"/>
                <a:gd name="T51" fmla="*/ 106 h 126"/>
                <a:gd name="T52" fmla="*/ 60 w 64"/>
                <a:gd name="T53" fmla="*/ 98 h 126"/>
                <a:gd name="T54" fmla="*/ 58 w 64"/>
                <a:gd name="T55" fmla="*/ 94 h 126"/>
                <a:gd name="T56" fmla="*/ 52 w 64"/>
                <a:gd name="T57" fmla="*/ 90 h 126"/>
                <a:gd name="T58" fmla="*/ 46 w 64"/>
                <a:gd name="T59" fmla="*/ 86 h 126"/>
                <a:gd name="T60" fmla="*/ 44 w 64"/>
                <a:gd name="T61" fmla="*/ 80 h 126"/>
                <a:gd name="T62" fmla="*/ 44 w 64"/>
                <a:gd name="T63" fmla="*/ 74 h 126"/>
                <a:gd name="T64" fmla="*/ 46 w 64"/>
                <a:gd name="T65" fmla="*/ 70 h 126"/>
                <a:gd name="T66" fmla="*/ 52 w 64"/>
                <a:gd name="T67" fmla="*/ 66 h 126"/>
                <a:gd name="T68" fmla="*/ 60 w 64"/>
                <a:gd name="T69" fmla="*/ 68 h 126"/>
                <a:gd name="T70" fmla="*/ 62 w 64"/>
                <a:gd name="T71" fmla="*/ 66 h 126"/>
                <a:gd name="T72" fmla="*/ 64 w 64"/>
                <a:gd name="T73" fmla="*/ 64 h 126"/>
                <a:gd name="T74" fmla="*/ 64 w 64"/>
                <a:gd name="T75" fmla="*/ 54 h 126"/>
                <a:gd name="T76" fmla="*/ 64 w 64"/>
                <a:gd name="T77" fmla="*/ 44 h 126"/>
                <a:gd name="T78" fmla="*/ 62 w 64"/>
                <a:gd name="T79" fmla="*/ 36 h 126"/>
                <a:gd name="T80" fmla="*/ 58 w 64"/>
                <a:gd name="T81" fmla="*/ 32 h 126"/>
                <a:gd name="T82" fmla="*/ 50 w 64"/>
                <a:gd name="T83" fmla="*/ 30 h 126"/>
                <a:gd name="T84" fmla="*/ 44 w 64"/>
                <a:gd name="T85" fmla="*/ 30 h 126"/>
                <a:gd name="T86" fmla="*/ 44 w 64"/>
                <a:gd name="T87" fmla="*/ 28 h 126"/>
                <a:gd name="T88" fmla="*/ 44 w 64"/>
                <a:gd name="T89" fmla="*/ 20 h 126"/>
                <a:gd name="T90" fmla="*/ 42 w 64"/>
                <a:gd name="T91" fmla="*/ 16 h 126"/>
                <a:gd name="T92" fmla="*/ 40 w 64"/>
                <a:gd name="T93" fmla="*/ 16 h 126"/>
                <a:gd name="T94" fmla="*/ 34 w 64"/>
                <a:gd name="T95" fmla="*/ 14 h 126"/>
                <a:gd name="T96" fmla="*/ 32 w 64"/>
                <a:gd name="T97" fmla="*/ 12 h 126"/>
                <a:gd name="T98" fmla="*/ 30 w 64"/>
                <a:gd name="T99" fmla="*/ 4 h 126"/>
                <a:gd name="T100" fmla="*/ 28 w 64"/>
                <a:gd name="T101" fmla="*/ 2 h 126"/>
                <a:gd name="T102" fmla="*/ 22 w 64"/>
                <a:gd name="T103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4" h="126">
                  <a:moveTo>
                    <a:pt x="18" y="0"/>
                  </a:move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6" y="18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0" y="24"/>
                  </a:lnTo>
                  <a:lnTo>
                    <a:pt x="10" y="26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4" y="32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2"/>
                  </a:lnTo>
                  <a:lnTo>
                    <a:pt x="2" y="54"/>
                  </a:lnTo>
                  <a:lnTo>
                    <a:pt x="4" y="56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6" y="60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6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20" y="74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8"/>
                  </a:lnTo>
                  <a:lnTo>
                    <a:pt x="22" y="80"/>
                  </a:lnTo>
                  <a:lnTo>
                    <a:pt x="22" y="82"/>
                  </a:lnTo>
                  <a:lnTo>
                    <a:pt x="22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2" y="92"/>
                  </a:lnTo>
                  <a:lnTo>
                    <a:pt x="22" y="94"/>
                  </a:lnTo>
                  <a:lnTo>
                    <a:pt x="20" y="96"/>
                  </a:lnTo>
                  <a:lnTo>
                    <a:pt x="20" y="98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4"/>
                  </a:lnTo>
                  <a:lnTo>
                    <a:pt x="18" y="106"/>
                  </a:lnTo>
                  <a:lnTo>
                    <a:pt x="20" y="108"/>
                  </a:lnTo>
                  <a:lnTo>
                    <a:pt x="20" y="110"/>
                  </a:lnTo>
                  <a:lnTo>
                    <a:pt x="24" y="114"/>
                  </a:lnTo>
                  <a:lnTo>
                    <a:pt x="24" y="116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0" y="122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4" y="126"/>
                  </a:lnTo>
                  <a:lnTo>
                    <a:pt x="36" y="126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40" y="124"/>
                  </a:lnTo>
                  <a:lnTo>
                    <a:pt x="42" y="124"/>
                  </a:lnTo>
                  <a:lnTo>
                    <a:pt x="42" y="124"/>
                  </a:lnTo>
                  <a:lnTo>
                    <a:pt x="42" y="124"/>
                  </a:lnTo>
                  <a:lnTo>
                    <a:pt x="44" y="122"/>
                  </a:lnTo>
                  <a:lnTo>
                    <a:pt x="44" y="120"/>
                  </a:lnTo>
                  <a:lnTo>
                    <a:pt x="44" y="120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8" y="118"/>
                  </a:lnTo>
                  <a:lnTo>
                    <a:pt x="50" y="116"/>
                  </a:lnTo>
                  <a:lnTo>
                    <a:pt x="52" y="116"/>
                  </a:lnTo>
                  <a:lnTo>
                    <a:pt x="56" y="118"/>
                  </a:lnTo>
                  <a:lnTo>
                    <a:pt x="58" y="118"/>
                  </a:lnTo>
                  <a:lnTo>
                    <a:pt x="60" y="114"/>
                  </a:lnTo>
                  <a:lnTo>
                    <a:pt x="60" y="112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62" y="106"/>
                  </a:lnTo>
                  <a:lnTo>
                    <a:pt x="62" y="104"/>
                  </a:lnTo>
                  <a:lnTo>
                    <a:pt x="62" y="102"/>
                  </a:lnTo>
                  <a:lnTo>
                    <a:pt x="60" y="100"/>
                  </a:lnTo>
                  <a:lnTo>
                    <a:pt x="60" y="98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6" y="94"/>
                  </a:lnTo>
                  <a:lnTo>
                    <a:pt x="56" y="92"/>
                  </a:lnTo>
                  <a:lnTo>
                    <a:pt x="54" y="92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0" y="88"/>
                  </a:lnTo>
                  <a:lnTo>
                    <a:pt x="48" y="88"/>
                  </a:lnTo>
                  <a:lnTo>
                    <a:pt x="46" y="86"/>
                  </a:lnTo>
                  <a:lnTo>
                    <a:pt x="46" y="84"/>
                  </a:lnTo>
                  <a:lnTo>
                    <a:pt x="46" y="84"/>
                  </a:lnTo>
                  <a:lnTo>
                    <a:pt x="46" y="82"/>
                  </a:lnTo>
                  <a:lnTo>
                    <a:pt x="44" y="80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76"/>
                  </a:lnTo>
                  <a:lnTo>
                    <a:pt x="44" y="74"/>
                  </a:lnTo>
                  <a:lnTo>
                    <a:pt x="44" y="72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50" y="66"/>
                  </a:lnTo>
                  <a:lnTo>
                    <a:pt x="52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8" y="66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58"/>
                  </a:lnTo>
                  <a:lnTo>
                    <a:pt x="64" y="56"/>
                  </a:lnTo>
                  <a:lnTo>
                    <a:pt x="64" y="54"/>
                  </a:lnTo>
                  <a:lnTo>
                    <a:pt x="64" y="52"/>
                  </a:lnTo>
                  <a:lnTo>
                    <a:pt x="64" y="50"/>
                  </a:lnTo>
                  <a:lnTo>
                    <a:pt x="64" y="46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2" y="38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58" y="32"/>
                  </a:lnTo>
                  <a:lnTo>
                    <a:pt x="56" y="30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0" y="30"/>
                  </a:lnTo>
                  <a:lnTo>
                    <a:pt x="48" y="30"/>
                  </a:lnTo>
                  <a:lnTo>
                    <a:pt x="46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2" y="26"/>
                  </a:lnTo>
                  <a:lnTo>
                    <a:pt x="42" y="24"/>
                  </a:lnTo>
                  <a:lnTo>
                    <a:pt x="42" y="22"/>
                  </a:lnTo>
                  <a:lnTo>
                    <a:pt x="44" y="20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6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0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10" name="Freeform 467">
              <a:extLst>
                <a:ext uri="{FF2B5EF4-FFF2-40B4-BE49-F238E27FC236}">
                  <a16:creationId xmlns:a16="http://schemas.microsoft.com/office/drawing/2014/main" id="{23D39335-7A35-40B0-A5E1-59E7F2AFB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038" y="4522431"/>
              <a:ext cx="987470" cy="1079788"/>
            </a:xfrm>
            <a:custGeom>
              <a:avLst/>
              <a:gdLst>
                <a:gd name="T0" fmla="*/ 64 w 578"/>
                <a:gd name="T1" fmla="*/ 62 h 646"/>
                <a:gd name="T2" fmla="*/ 62 w 578"/>
                <a:gd name="T3" fmla="*/ 94 h 646"/>
                <a:gd name="T4" fmla="*/ 56 w 578"/>
                <a:gd name="T5" fmla="*/ 128 h 646"/>
                <a:gd name="T6" fmla="*/ 38 w 578"/>
                <a:gd name="T7" fmla="*/ 152 h 646"/>
                <a:gd name="T8" fmla="*/ 16 w 578"/>
                <a:gd name="T9" fmla="*/ 172 h 646"/>
                <a:gd name="T10" fmla="*/ 0 w 578"/>
                <a:gd name="T11" fmla="*/ 198 h 646"/>
                <a:gd name="T12" fmla="*/ 18 w 578"/>
                <a:gd name="T13" fmla="*/ 232 h 646"/>
                <a:gd name="T14" fmla="*/ 38 w 578"/>
                <a:gd name="T15" fmla="*/ 244 h 646"/>
                <a:gd name="T16" fmla="*/ 58 w 578"/>
                <a:gd name="T17" fmla="*/ 252 h 646"/>
                <a:gd name="T18" fmla="*/ 96 w 578"/>
                <a:gd name="T19" fmla="*/ 254 h 646"/>
                <a:gd name="T20" fmla="*/ 110 w 578"/>
                <a:gd name="T21" fmla="*/ 240 h 646"/>
                <a:gd name="T22" fmla="*/ 132 w 578"/>
                <a:gd name="T23" fmla="*/ 262 h 646"/>
                <a:gd name="T24" fmla="*/ 162 w 578"/>
                <a:gd name="T25" fmla="*/ 286 h 646"/>
                <a:gd name="T26" fmla="*/ 176 w 578"/>
                <a:gd name="T27" fmla="*/ 300 h 646"/>
                <a:gd name="T28" fmla="*/ 200 w 578"/>
                <a:gd name="T29" fmla="*/ 316 h 646"/>
                <a:gd name="T30" fmla="*/ 202 w 578"/>
                <a:gd name="T31" fmla="*/ 326 h 646"/>
                <a:gd name="T32" fmla="*/ 214 w 578"/>
                <a:gd name="T33" fmla="*/ 354 h 646"/>
                <a:gd name="T34" fmla="*/ 236 w 578"/>
                <a:gd name="T35" fmla="*/ 364 h 646"/>
                <a:gd name="T36" fmla="*/ 248 w 578"/>
                <a:gd name="T37" fmla="*/ 382 h 646"/>
                <a:gd name="T38" fmla="*/ 234 w 578"/>
                <a:gd name="T39" fmla="*/ 420 h 646"/>
                <a:gd name="T40" fmla="*/ 248 w 578"/>
                <a:gd name="T41" fmla="*/ 438 h 646"/>
                <a:gd name="T42" fmla="*/ 282 w 578"/>
                <a:gd name="T43" fmla="*/ 450 h 646"/>
                <a:gd name="T44" fmla="*/ 294 w 578"/>
                <a:gd name="T45" fmla="*/ 468 h 646"/>
                <a:gd name="T46" fmla="*/ 302 w 578"/>
                <a:gd name="T47" fmla="*/ 512 h 646"/>
                <a:gd name="T48" fmla="*/ 314 w 578"/>
                <a:gd name="T49" fmla="*/ 532 h 646"/>
                <a:gd name="T50" fmla="*/ 294 w 578"/>
                <a:gd name="T51" fmla="*/ 550 h 646"/>
                <a:gd name="T52" fmla="*/ 278 w 578"/>
                <a:gd name="T53" fmla="*/ 592 h 646"/>
                <a:gd name="T54" fmla="*/ 332 w 578"/>
                <a:gd name="T55" fmla="*/ 640 h 646"/>
                <a:gd name="T56" fmla="*/ 338 w 578"/>
                <a:gd name="T57" fmla="*/ 588 h 646"/>
                <a:gd name="T58" fmla="*/ 342 w 578"/>
                <a:gd name="T59" fmla="*/ 606 h 646"/>
                <a:gd name="T60" fmla="*/ 358 w 578"/>
                <a:gd name="T61" fmla="*/ 590 h 646"/>
                <a:gd name="T62" fmla="*/ 368 w 578"/>
                <a:gd name="T63" fmla="*/ 562 h 646"/>
                <a:gd name="T64" fmla="*/ 388 w 578"/>
                <a:gd name="T65" fmla="*/ 502 h 646"/>
                <a:gd name="T66" fmla="*/ 408 w 578"/>
                <a:gd name="T67" fmla="*/ 478 h 646"/>
                <a:gd name="T68" fmla="*/ 464 w 578"/>
                <a:gd name="T69" fmla="*/ 454 h 646"/>
                <a:gd name="T70" fmla="*/ 490 w 578"/>
                <a:gd name="T71" fmla="*/ 434 h 646"/>
                <a:gd name="T72" fmla="*/ 504 w 578"/>
                <a:gd name="T73" fmla="*/ 372 h 646"/>
                <a:gd name="T74" fmla="*/ 512 w 578"/>
                <a:gd name="T75" fmla="*/ 304 h 646"/>
                <a:gd name="T76" fmla="*/ 530 w 578"/>
                <a:gd name="T77" fmla="*/ 276 h 646"/>
                <a:gd name="T78" fmla="*/ 542 w 578"/>
                <a:gd name="T79" fmla="*/ 248 h 646"/>
                <a:gd name="T80" fmla="*/ 562 w 578"/>
                <a:gd name="T81" fmla="*/ 230 h 646"/>
                <a:gd name="T82" fmla="*/ 568 w 578"/>
                <a:gd name="T83" fmla="*/ 208 h 646"/>
                <a:gd name="T84" fmla="*/ 576 w 578"/>
                <a:gd name="T85" fmla="*/ 186 h 646"/>
                <a:gd name="T86" fmla="*/ 564 w 578"/>
                <a:gd name="T87" fmla="*/ 158 h 646"/>
                <a:gd name="T88" fmla="*/ 532 w 578"/>
                <a:gd name="T89" fmla="*/ 132 h 646"/>
                <a:gd name="T90" fmla="*/ 512 w 578"/>
                <a:gd name="T91" fmla="*/ 118 h 646"/>
                <a:gd name="T92" fmla="*/ 470 w 578"/>
                <a:gd name="T93" fmla="*/ 106 h 646"/>
                <a:gd name="T94" fmla="*/ 432 w 578"/>
                <a:gd name="T95" fmla="*/ 96 h 646"/>
                <a:gd name="T96" fmla="*/ 376 w 578"/>
                <a:gd name="T97" fmla="*/ 90 h 646"/>
                <a:gd name="T98" fmla="*/ 366 w 578"/>
                <a:gd name="T99" fmla="*/ 94 h 646"/>
                <a:gd name="T100" fmla="*/ 354 w 578"/>
                <a:gd name="T101" fmla="*/ 76 h 646"/>
                <a:gd name="T102" fmla="*/ 320 w 578"/>
                <a:gd name="T103" fmla="*/ 104 h 646"/>
                <a:gd name="T104" fmla="*/ 350 w 578"/>
                <a:gd name="T105" fmla="*/ 54 h 646"/>
                <a:gd name="T106" fmla="*/ 322 w 578"/>
                <a:gd name="T107" fmla="*/ 16 h 646"/>
                <a:gd name="T108" fmla="*/ 292 w 578"/>
                <a:gd name="T109" fmla="*/ 40 h 646"/>
                <a:gd name="T110" fmla="*/ 262 w 578"/>
                <a:gd name="T111" fmla="*/ 42 h 646"/>
                <a:gd name="T112" fmla="*/ 230 w 578"/>
                <a:gd name="T113" fmla="*/ 50 h 646"/>
                <a:gd name="T114" fmla="*/ 204 w 578"/>
                <a:gd name="T115" fmla="*/ 34 h 646"/>
                <a:gd name="T116" fmla="*/ 194 w 578"/>
                <a:gd name="T117" fmla="*/ 0 h 646"/>
                <a:gd name="T118" fmla="*/ 158 w 578"/>
                <a:gd name="T119" fmla="*/ 16 h 646"/>
                <a:gd name="T120" fmla="*/ 136 w 578"/>
                <a:gd name="T121" fmla="*/ 10 h 646"/>
                <a:gd name="T122" fmla="*/ 146 w 578"/>
                <a:gd name="T123" fmla="*/ 40 h 646"/>
                <a:gd name="T124" fmla="*/ 116 w 578"/>
                <a:gd name="T125" fmla="*/ 58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8" h="646">
                  <a:moveTo>
                    <a:pt x="90" y="40"/>
                  </a:moveTo>
                  <a:lnTo>
                    <a:pt x="90" y="40"/>
                  </a:lnTo>
                  <a:lnTo>
                    <a:pt x="88" y="40"/>
                  </a:lnTo>
                  <a:lnTo>
                    <a:pt x="80" y="42"/>
                  </a:lnTo>
                  <a:lnTo>
                    <a:pt x="76" y="44"/>
                  </a:lnTo>
                  <a:lnTo>
                    <a:pt x="72" y="46"/>
                  </a:lnTo>
                  <a:lnTo>
                    <a:pt x="68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2" y="52"/>
                  </a:lnTo>
                  <a:lnTo>
                    <a:pt x="62" y="54"/>
                  </a:lnTo>
                  <a:lnTo>
                    <a:pt x="60" y="54"/>
                  </a:lnTo>
                  <a:lnTo>
                    <a:pt x="60" y="56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2" y="62"/>
                  </a:lnTo>
                  <a:lnTo>
                    <a:pt x="64" y="62"/>
                  </a:lnTo>
                  <a:lnTo>
                    <a:pt x="64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2"/>
                  </a:lnTo>
                  <a:lnTo>
                    <a:pt x="58" y="72"/>
                  </a:lnTo>
                  <a:lnTo>
                    <a:pt x="58" y="74"/>
                  </a:lnTo>
                  <a:lnTo>
                    <a:pt x="58" y="76"/>
                  </a:lnTo>
                  <a:lnTo>
                    <a:pt x="58" y="78"/>
                  </a:lnTo>
                  <a:lnTo>
                    <a:pt x="58" y="80"/>
                  </a:lnTo>
                  <a:lnTo>
                    <a:pt x="58" y="82"/>
                  </a:lnTo>
                  <a:lnTo>
                    <a:pt x="60" y="86"/>
                  </a:lnTo>
                  <a:lnTo>
                    <a:pt x="62" y="94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2" y="100"/>
                  </a:lnTo>
                  <a:lnTo>
                    <a:pt x="64" y="104"/>
                  </a:lnTo>
                  <a:lnTo>
                    <a:pt x="64" y="106"/>
                  </a:lnTo>
                  <a:lnTo>
                    <a:pt x="64" y="108"/>
                  </a:lnTo>
                  <a:lnTo>
                    <a:pt x="64" y="110"/>
                  </a:lnTo>
                  <a:lnTo>
                    <a:pt x="64" y="112"/>
                  </a:lnTo>
                  <a:lnTo>
                    <a:pt x="64" y="112"/>
                  </a:lnTo>
                  <a:lnTo>
                    <a:pt x="62" y="112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56" y="114"/>
                  </a:lnTo>
                  <a:lnTo>
                    <a:pt x="54" y="114"/>
                  </a:lnTo>
                  <a:lnTo>
                    <a:pt x="52" y="114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50" y="116"/>
                  </a:lnTo>
                  <a:lnTo>
                    <a:pt x="52" y="122"/>
                  </a:lnTo>
                  <a:lnTo>
                    <a:pt x="54" y="124"/>
                  </a:lnTo>
                  <a:lnTo>
                    <a:pt x="56" y="128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58" y="136"/>
                  </a:lnTo>
                  <a:lnTo>
                    <a:pt x="58" y="138"/>
                  </a:lnTo>
                  <a:lnTo>
                    <a:pt x="56" y="140"/>
                  </a:lnTo>
                  <a:lnTo>
                    <a:pt x="56" y="142"/>
                  </a:lnTo>
                  <a:lnTo>
                    <a:pt x="56" y="144"/>
                  </a:lnTo>
                  <a:lnTo>
                    <a:pt x="54" y="146"/>
                  </a:lnTo>
                  <a:lnTo>
                    <a:pt x="54" y="146"/>
                  </a:lnTo>
                  <a:lnTo>
                    <a:pt x="54" y="148"/>
                  </a:lnTo>
                  <a:lnTo>
                    <a:pt x="52" y="148"/>
                  </a:lnTo>
                  <a:lnTo>
                    <a:pt x="50" y="150"/>
                  </a:lnTo>
                  <a:lnTo>
                    <a:pt x="48" y="150"/>
                  </a:lnTo>
                  <a:lnTo>
                    <a:pt x="48" y="152"/>
                  </a:lnTo>
                  <a:lnTo>
                    <a:pt x="46" y="152"/>
                  </a:lnTo>
                  <a:lnTo>
                    <a:pt x="44" y="152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0" y="152"/>
                  </a:lnTo>
                  <a:lnTo>
                    <a:pt x="38" y="152"/>
                  </a:lnTo>
                  <a:lnTo>
                    <a:pt x="36" y="152"/>
                  </a:lnTo>
                  <a:lnTo>
                    <a:pt x="34" y="150"/>
                  </a:lnTo>
                  <a:lnTo>
                    <a:pt x="32" y="150"/>
                  </a:lnTo>
                  <a:lnTo>
                    <a:pt x="30" y="150"/>
                  </a:lnTo>
                  <a:lnTo>
                    <a:pt x="30" y="150"/>
                  </a:lnTo>
                  <a:lnTo>
                    <a:pt x="30" y="150"/>
                  </a:lnTo>
                  <a:lnTo>
                    <a:pt x="28" y="150"/>
                  </a:lnTo>
                  <a:lnTo>
                    <a:pt x="26" y="150"/>
                  </a:lnTo>
                  <a:lnTo>
                    <a:pt x="26" y="152"/>
                  </a:lnTo>
                  <a:lnTo>
                    <a:pt x="24" y="152"/>
                  </a:lnTo>
                  <a:lnTo>
                    <a:pt x="22" y="154"/>
                  </a:lnTo>
                  <a:lnTo>
                    <a:pt x="22" y="154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18" y="158"/>
                  </a:lnTo>
                  <a:lnTo>
                    <a:pt x="18" y="160"/>
                  </a:lnTo>
                  <a:lnTo>
                    <a:pt x="18" y="162"/>
                  </a:lnTo>
                  <a:lnTo>
                    <a:pt x="16" y="164"/>
                  </a:lnTo>
                  <a:lnTo>
                    <a:pt x="16" y="166"/>
                  </a:lnTo>
                  <a:lnTo>
                    <a:pt x="16" y="168"/>
                  </a:lnTo>
                  <a:lnTo>
                    <a:pt x="16" y="170"/>
                  </a:lnTo>
                  <a:lnTo>
                    <a:pt x="16" y="172"/>
                  </a:lnTo>
                  <a:lnTo>
                    <a:pt x="16" y="172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8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2"/>
                  </a:lnTo>
                  <a:lnTo>
                    <a:pt x="16" y="182"/>
                  </a:lnTo>
                  <a:lnTo>
                    <a:pt x="16" y="184"/>
                  </a:lnTo>
                  <a:lnTo>
                    <a:pt x="14" y="184"/>
                  </a:lnTo>
                  <a:lnTo>
                    <a:pt x="12" y="186"/>
                  </a:lnTo>
                  <a:lnTo>
                    <a:pt x="10" y="186"/>
                  </a:lnTo>
                  <a:lnTo>
                    <a:pt x="10" y="186"/>
                  </a:lnTo>
                  <a:lnTo>
                    <a:pt x="8" y="188"/>
                  </a:lnTo>
                  <a:lnTo>
                    <a:pt x="6" y="188"/>
                  </a:lnTo>
                  <a:lnTo>
                    <a:pt x="4" y="188"/>
                  </a:lnTo>
                  <a:lnTo>
                    <a:pt x="4" y="188"/>
                  </a:lnTo>
                  <a:lnTo>
                    <a:pt x="4" y="190"/>
                  </a:lnTo>
                  <a:lnTo>
                    <a:pt x="2" y="190"/>
                  </a:lnTo>
                  <a:lnTo>
                    <a:pt x="2" y="192"/>
                  </a:lnTo>
                  <a:lnTo>
                    <a:pt x="2" y="194"/>
                  </a:lnTo>
                  <a:lnTo>
                    <a:pt x="0" y="196"/>
                  </a:lnTo>
                  <a:lnTo>
                    <a:pt x="0" y="198"/>
                  </a:lnTo>
                  <a:lnTo>
                    <a:pt x="0" y="200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0" y="204"/>
                  </a:lnTo>
                  <a:lnTo>
                    <a:pt x="0" y="206"/>
                  </a:lnTo>
                  <a:lnTo>
                    <a:pt x="2" y="208"/>
                  </a:lnTo>
                  <a:lnTo>
                    <a:pt x="2" y="210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4" y="214"/>
                  </a:lnTo>
                  <a:lnTo>
                    <a:pt x="6" y="214"/>
                  </a:lnTo>
                  <a:lnTo>
                    <a:pt x="8" y="216"/>
                  </a:lnTo>
                  <a:lnTo>
                    <a:pt x="12" y="220"/>
                  </a:lnTo>
                  <a:lnTo>
                    <a:pt x="12" y="220"/>
                  </a:lnTo>
                  <a:lnTo>
                    <a:pt x="14" y="220"/>
                  </a:lnTo>
                  <a:lnTo>
                    <a:pt x="14" y="222"/>
                  </a:lnTo>
                  <a:lnTo>
                    <a:pt x="14" y="224"/>
                  </a:lnTo>
                  <a:lnTo>
                    <a:pt x="16" y="226"/>
                  </a:lnTo>
                  <a:lnTo>
                    <a:pt x="16" y="228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8" y="232"/>
                  </a:lnTo>
                  <a:lnTo>
                    <a:pt x="18" y="232"/>
                  </a:lnTo>
                  <a:lnTo>
                    <a:pt x="18" y="232"/>
                  </a:lnTo>
                  <a:lnTo>
                    <a:pt x="20" y="232"/>
                  </a:lnTo>
                  <a:lnTo>
                    <a:pt x="22" y="232"/>
                  </a:lnTo>
                  <a:lnTo>
                    <a:pt x="22" y="232"/>
                  </a:lnTo>
                  <a:lnTo>
                    <a:pt x="24" y="232"/>
                  </a:lnTo>
                  <a:lnTo>
                    <a:pt x="26" y="232"/>
                  </a:lnTo>
                  <a:lnTo>
                    <a:pt x="26" y="232"/>
                  </a:lnTo>
                  <a:lnTo>
                    <a:pt x="28" y="232"/>
                  </a:lnTo>
                  <a:lnTo>
                    <a:pt x="28" y="234"/>
                  </a:lnTo>
                  <a:lnTo>
                    <a:pt x="28" y="234"/>
                  </a:lnTo>
                  <a:lnTo>
                    <a:pt x="28" y="234"/>
                  </a:lnTo>
                  <a:lnTo>
                    <a:pt x="28" y="238"/>
                  </a:lnTo>
                  <a:lnTo>
                    <a:pt x="28" y="238"/>
                  </a:lnTo>
                  <a:lnTo>
                    <a:pt x="28" y="240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30" y="242"/>
                  </a:lnTo>
                  <a:lnTo>
                    <a:pt x="30" y="242"/>
                  </a:lnTo>
                  <a:lnTo>
                    <a:pt x="30" y="242"/>
                  </a:lnTo>
                  <a:lnTo>
                    <a:pt x="32" y="242"/>
                  </a:lnTo>
                  <a:lnTo>
                    <a:pt x="34" y="242"/>
                  </a:lnTo>
                  <a:lnTo>
                    <a:pt x="36" y="244"/>
                  </a:lnTo>
                  <a:lnTo>
                    <a:pt x="38" y="244"/>
                  </a:lnTo>
                  <a:lnTo>
                    <a:pt x="40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4" y="242"/>
                  </a:lnTo>
                  <a:lnTo>
                    <a:pt x="44" y="242"/>
                  </a:lnTo>
                  <a:lnTo>
                    <a:pt x="46" y="242"/>
                  </a:lnTo>
                  <a:lnTo>
                    <a:pt x="48" y="238"/>
                  </a:lnTo>
                  <a:lnTo>
                    <a:pt x="50" y="238"/>
                  </a:lnTo>
                  <a:lnTo>
                    <a:pt x="52" y="236"/>
                  </a:lnTo>
                  <a:lnTo>
                    <a:pt x="52" y="236"/>
                  </a:lnTo>
                  <a:lnTo>
                    <a:pt x="52" y="236"/>
                  </a:lnTo>
                  <a:lnTo>
                    <a:pt x="54" y="236"/>
                  </a:lnTo>
                  <a:lnTo>
                    <a:pt x="54" y="236"/>
                  </a:lnTo>
                  <a:lnTo>
                    <a:pt x="54" y="236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6" y="242"/>
                  </a:lnTo>
                  <a:lnTo>
                    <a:pt x="58" y="244"/>
                  </a:lnTo>
                  <a:lnTo>
                    <a:pt x="58" y="248"/>
                  </a:lnTo>
                  <a:lnTo>
                    <a:pt x="58" y="250"/>
                  </a:lnTo>
                  <a:lnTo>
                    <a:pt x="58" y="252"/>
                  </a:lnTo>
                  <a:lnTo>
                    <a:pt x="58" y="254"/>
                  </a:lnTo>
                  <a:lnTo>
                    <a:pt x="60" y="254"/>
                  </a:lnTo>
                  <a:lnTo>
                    <a:pt x="60" y="256"/>
                  </a:lnTo>
                  <a:lnTo>
                    <a:pt x="60" y="256"/>
                  </a:lnTo>
                  <a:lnTo>
                    <a:pt x="60" y="256"/>
                  </a:lnTo>
                  <a:lnTo>
                    <a:pt x="62" y="258"/>
                  </a:lnTo>
                  <a:lnTo>
                    <a:pt x="64" y="258"/>
                  </a:lnTo>
                  <a:lnTo>
                    <a:pt x="66" y="260"/>
                  </a:lnTo>
                  <a:lnTo>
                    <a:pt x="70" y="260"/>
                  </a:lnTo>
                  <a:lnTo>
                    <a:pt x="72" y="262"/>
                  </a:lnTo>
                  <a:lnTo>
                    <a:pt x="76" y="262"/>
                  </a:lnTo>
                  <a:lnTo>
                    <a:pt x="80" y="262"/>
                  </a:lnTo>
                  <a:lnTo>
                    <a:pt x="82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6" y="262"/>
                  </a:lnTo>
                  <a:lnTo>
                    <a:pt x="88" y="262"/>
                  </a:lnTo>
                  <a:lnTo>
                    <a:pt x="90" y="260"/>
                  </a:lnTo>
                  <a:lnTo>
                    <a:pt x="92" y="258"/>
                  </a:lnTo>
                  <a:lnTo>
                    <a:pt x="94" y="258"/>
                  </a:lnTo>
                  <a:lnTo>
                    <a:pt x="94" y="256"/>
                  </a:lnTo>
                  <a:lnTo>
                    <a:pt x="96" y="256"/>
                  </a:lnTo>
                  <a:lnTo>
                    <a:pt x="96" y="254"/>
                  </a:lnTo>
                  <a:lnTo>
                    <a:pt x="98" y="254"/>
                  </a:lnTo>
                  <a:lnTo>
                    <a:pt x="98" y="252"/>
                  </a:lnTo>
                  <a:lnTo>
                    <a:pt x="98" y="250"/>
                  </a:lnTo>
                  <a:lnTo>
                    <a:pt x="100" y="250"/>
                  </a:lnTo>
                  <a:lnTo>
                    <a:pt x="100" y="248"/>
                  </a:lnTo>
                  <a:lnTo>
                    <a:pt x="100" y="248"/>
                  </a:lnTo>
                  <a:lnTo>
                    <a:pt x="100" y="248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4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8" y="250"/>
                  </a:lnTo>
                  <a:lnTo>
                    <a:pt x="108" y="248"/>
                  </a:lnTo>
                  <a:lnTo>
                    <a:pt x="108" y="248"/>
                  </a:lnTo>
                  <a:lnTo>
                    <a:pt x="108" y="248"/>
                  </a:lnTo>
                  <a:lnTo>
                    <a:pt x="108" y="248"/>
                  </a:lnTo>
                  <a:lnTo>
                    <a:pt x="110" y="246"/>
                  </a:lnTo>
                  <a:lnTo>
                    <a:pt x="110" y="246"/>
                  </a:lnTo>
                  <a:lnTo>
                    <a:pt x="110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10" y="240"/>
                  </a:lnTo>
                  <a:lnTo>
                    <a:pt x="110" y="238"/>
                  </a:lnTo>
                  <a:lnTo>
                    <a:pt x="110" y="238"/>
                  </a:lnTo>
                  <a:lnTo>
                    <a:pt x="112" y="238"/>
                  </a:lnTo>
                  <a:lnTo>
                    <a:pt x="112" y="238"/>
                  </a:lnTo>
                  <a:lnTo>
                    <a:pt x="112" y="236"/>
                  </a:lnTo>
                  <a:lnTo>
                    <a:pt x="114" y="236"/>
                  </a:lnTo>
                  <a:lnTo>
                    <a:pt x="118" y="236"/>
                  </a:lnTo>
                  <a:lnTo>
                    <a:pt x="120" y="236"/>
                  </a:lnTo>
                  <a:lnTo>
                    <a:pt x="122" y="238"/>
                  </a:lnTo>
                  <a:lnTo>
                    <a:pt x="126" y="238"/>
                  </a:lnTo>
                  <a:lnTo>
                    <a:pt x="126" y="238"/>
                  </a:lnTo>
                  <a:lnTo>
                    <a:pt x="128" y="238"/>
                  </a:lnTo>
                  <a:lnTo>
                    <a:pt x="128" y="240"/>
                  </a:lnTo>
                  <a:lnTo>
                    <a:pt x="130" y="240"/>
                  </a:lnTo>
                  <a:lnTo>
                    <a:pt x="130" y="242"/>
                  </a:lnTo>
                  <a:lnTo>
                    <a:pt x="130" y="242"/>
                  </a:lnTo>
                  <a:lnTo>
                    <a:pt x="130" y="244"/>
                  </a:lnTo>
                  <a:lnTo>
                    <a:pt x="132" y="246"/>
                  </a:lnTo>
                  <a:lnTo>
                    <a:pt x="132" y="248"/>
                  </a:lnTo>
                  <a:lnTo>
                    <a:pt x="132" y="250"/>
                  </a:lnTo>
                  <a:lnTo>
                    <a:pt x="132" y="254"/>
                  </a:lnTo>
                  <a:lnTo>
                    <a:pt x="132" y="262"/>
                  </a:lnTo>
                  <a:lnTo>
                    <a:pt x="132" y="266"/>
                  </a:lnTo>
                  <a:lnTo>
                    <a:pt x="132" y="268"/>
                  </a:lnTo>
                  <a:lnTo>
                    <a:pt x="132" y="270"/>
                  </a:lnTo>
                  <a:lnTo>
                    <a:pt x="132" y="272"/>
                  </a:lnTo>
                  <a:lnTo>
                    <a:pt x="134" y="276"/>
                  </a:lnTo>
                  <a:lnTo>
                    <a:pt x="136" y="278"/>
                  </a:lnTo>
                  <a:lnTo>
                    <a:pt x="136" y="280"/>
                  </a:lnTo>
                  <a:lnTo>
                    <a:pt x="138" y="284"/>
                  </a:lnTo>
                  <a:lnTo>
                    <a:pt x="138" y="284"/>
                  </a:lnTo>
                  <a:lnTo>
                    <a:pt x="140" y="286"/>
                  </a:lnTo>
                  <a:lnTo>
                    <a:pt x="140" y="286"/>
                  </a:lnTo>
                  <a:lnTo>
                    <a:pt x="140" y="286"/>
                  </a:lnTo>
                  <a:lnTo>
                    <a:pt x="142" y="286"/>
                  </a:lnTo>
                  <a:lnTo>
                    <a:pt x="144" y="286"/>
                  </a:lnTo>
                  <a:lnTo>
                    <a:pt x="144" y="286"/>
                  </a:lnTo>
                  <a:lnTo>
                    <a:pt x="148" y="286"/>
                  </a:lnTo>
                  <a:lnTo>
                    <a:pt x="152" y="286"/>
                  </a:lnTo>
                  <a:lnTo>
                    <a:pt x="154" y="286"/>
                  </a:lnTo>
                  <a:lnTo>
                    <a:pt x="158" y="286"/>
                  </a:lnTo>
                  <a:lnTo>
                    <a:pt x="158" y="286"/>
                  </a:lnTo>
                  <a:lnTo>
                    <a:pt x="160" y="286"/>
                  </a:lnTo>
                  <a:lnTo>
                    <a:pt x="162" y="286"/>
                  </a:lnTo>
                  <a:lnTo>
                    <a:pt x="162" y="286"/>
                  </a:lnTo>
                  <a:lnTo>
                    <a:pt x="162" y="286"/>
                  </a:lnTo>
                  <a:lnTo>
                    <a:pt x="164" y="286"/>
                  </a:lnTo>
                  <a:lnTo>
                    <a:pt x="164" y="288"/>
                  </a:lnTo>
                  <a:lnTo>
                    <a:pt x="164" y="288"/>
                  </a:lnTo>
                  <a:lnTo>
                    <a:pt x="164" y="290"/>
                  </a:lnTo>
                  <a:lnTo>
                    <a:pt x="166" y="290"/>
                  </a:lnTo>
                  <a:lnTo>
                    <a:pt x="168" y="290"/>
                  </a:lnTo>
                  <a:lnTo>
                    <a:pt x="170" y="290"/>
                  </a:lnTo>
                  <a:lnTo>
                    <a:pt x="172" y="290"/>
                  </a:lnTo>
                  <a:lnTo>
                    <a:pt x="174" y="290"/>
                  </a:lnTo>
                  <a:lnTo>
                    <a:pt x="174" y="292"/>
                  </a:lnTo>
                  <a:lnTo>
                    <a:pt x="174" y="292"/>
                  </a:lnTo>
                  <a:lnTo>
                    <a:pt x="174" y="292"/>
                  </a:lnTo>
                  <a:lnTo>
                    <a:pt x="176" y="292"/>
                  </a:lnTo>
                  <a:lnTo>
                    <a:pt x="176" y="292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6" y="296"/>
                  </a:lnTo>
                  <a:lnTo>
                    <a:pt x="176" y="298"/>
                  </a:lnTo>
                  <a:lnTo>
                    <a:pt x="176" y="298"/>
                  </a:lnTo>
                  <a:lnTo>
                    <a:pt x="176" y="300"/>
                  </a:lnTo>
                  <a:lnTo>
                    <a:pt x="176" y="300"/>
                  </a:lnTo>
                  <a:lnTo>
                    <a:pt x="176" y="300"/>
                  </a:lnTo>
                  <a:lnTo>
                    <a:pt x="178" y="300"/>
                  </a:lnTo>
                  <a:lnTo>
                    <a:pt x="178" y="302"/>
                  </a:lnTo>
                  <a:lnTo>
                    <a:pt x="180" y="302"/>
                  </a:lnTo>
                  <a:lnTo>
                    <a:pt x="182" y="302"/>
                  </a:lnTo>
                  <a:lnTo>
                    <a:pt x="184" y="302"/>
                  </a:lnTo>
                  <a:lnTo>
                    <a:pt x="188" y="302"/>
                  </a:lnTo>
                  <a:lnTo>
                    <a:pt x="190" y="302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6" y="302"/>
                  </a:lnTo>
                  <a:lnTo>
                    <a:pt x="196" y="304"/>
                  </a:lnTo>
                  <a:lnTo>
                    <a:pt x="198" y="304"/>
                  </a:lnTo>
                  <a:lnTo>
                    <a:pt x="198" y="304"/>
                  </a:lnTo>
                  <a:lnTo>
                    <a:pt x="200" y="304"/>
                  </a:lnTo>
                  <a:lnTo>
                    <a:pt x="200" y="304"/>
                  </a:lnTo>
                  <a:lnTo>
                    <a:pt x="200" y="306"/>
                  </a:lnTo>
                  <a:lnTo>
                    <a:pt x="200" y="306"/>
                  </a:lnTo>
                  <a:lnTo>
                    <a:pt x="200" y="308"/>
                  </a:lnTo>
                  <a:lnTo>
                    <a:pt x="200" y="310"/>
                  </a:lnTo>
                  <a:lnTo>
                    <a:pt x="200" y="312"/>
                  </a:lnTo>
                  <a:lnTo>
                    <a:pt x="200" y="314"/>
                  </a:lnTo>
                  <a:lnTo>
                    <a:pt x="200" y="316"/>
                  </a:lnTo>
                  <a:lnTo>
                    <a:pt x="200" y="316"/>
                  </a:lnTo>
                  <a:lnTo>
                    <a:pt x="200" y="318"/>
                  </a:lnTo>
                  <a:lnTo>
                    <a:pt x="202" y="318"/>
                  </a:lnTo>
                  <a:lnTo>
                    <a:pt x="202" y="318"/>
                  </a:lnTo>
                  <a:lnTo>
                    <a:pt x="202" y="318"/>
                  </a:lnTo>
                  <a:lnTo>
                    <a:pt x="202" y="320"/>
                  </a:lnTo>
                  <a:lnTo>
                    <a:pt x="204" y="320"/>
                  </a:lnTo>
                  <a:lnTo>
                    <a:pt x="206" y="320"/>
                  </a:lnTo>
                  <a:lnTo>
                    <a:pt x="206" y="320"/>
                  </a:lnTo>
                  <a:lnTo>
                    <a:pt x="208" y="320"/>
                  </a:lnTo>
                  <a:lnTo>
                    <a:pt x="208" y="320"/>
                  </a:lnTo>
                  <a:lnTo>
                    <a:pt x="208" y="320"/>
                  </a:lnTo>
                  <a:lnTo>
                    <a:pt x="208" y="320"/>
                  </a:lnTo>
                  <a:lnTo>
                    <a:pt x="208" y="320"/>
                  </a:lnTo>
                  <a:lnTo>
                    <a:pt x="208" y="320"/>
                  </a:lnTo>
                  <a:lnTo>
                    <a:pt x="208" y="322"/>
                  </a:lnTo>
                  <a:lnTo>
                    <a:pt x="208" y="322"/>
                  </a:lnTo>
                  <a:lnTo>
                    <a:pt x="208" y="322"/>
                  </a:lnTo>
                  <a:lnTo>
                    <a:pt x="206" y="322"/>
                  </a:lnTo>
                  <a:lnTo>
                    <a:pt x="204" y="324"/>
                  </a:lnTo>
                  <a:lnTo>
                    <a:pt x="202" y="324"/>
                  </a:lnTo>
                  <a:lnTo>
                    <a:pt x="202" y="326"/>
                  </a:lnTo>
                  <a:lnTo>
                    <a:pt x="202" y="326"/>
                  </a:lnTo>
                  <a:lnTo>
                    <a:pt x="202" y="326"/>
                  </a:lnTo>
                  <a:lnTo>
                    <a:pt x="200" y="328"/>
                  </a:lnTo>
                  <a:lnTo>
                    <a:pt x="200" y="330"/>
                  </a:lnTo>
                  <a:lnTo>
                    <a:pt x="200" y="332"/>
                  </a:lnTo>
                  <a:lnTo>
                    <a:pt x="200" y="336"/>
                  </a:lnTo>
                  <a:lnTo>
                    <a:pt x="200" y="338"/>
                  </a:lnTo>
                  <a:lnTo>
                    <a:pt x="200" y="342"/>
                  </a:lnTo>
                  <a:lnTo>
                    <a:pt x="202" y="344"/>
                  </a:lnTo>
                  <a:lnTo>
                    <a:pt x="202" y="344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4" y="346"/>
                  </a:lnTo>
                  <a:lnTo>
                    <a:pt x="206" y="348"/>
                  </a:lnTo>
                  <a:lnTo>
                    <a:pt x="206" y="348"/>
                  </a:lnTo>
                  <a:lnTo>
                    <a:pt x="208" y="348"/>
                  </a:lnTo>
                  <a:lnTo>
                    <a:pt x="208" y="348"/>
                  </a:lnTo>
                  <a:lnTo>
                    <a:pt x="208" y="350"/>
                  </a:lnTo>
                  <a:lnTo>
                    <a:pt x="210" y="352"/>
                  </a:lnTo>
                  <a:lnTo>
                    <a:pt x="210" y="352"/>
                  </a:lnTo>
                  <a:lnTo>
                    <a:pt x="210" y="352"/>
                  </a:lnTo>
                  <a:lnTo>
                    <a:pt x="212" y="354"/>
                  </a:lnTo>
                  <a:lnTo>
                    <a:pt x="214" y="354"/>
                  </a:lnTo>
                  <a:lnTo>
                    <a:pt x="214" y="354"/>
                  </a:lnTo>
                  <a:lnTo>
                    <a:pt x="216" y="354"/>
                  </a:lnTo>
                  <a:lnTo>
                    <a:pt x="218" y="352"/>
                  </a:lnTo>
                  <a:lnTo>
                    <a:pt x="222" y="352"/>
                  </a:lnTo>
                  <a:lnTo>
                    <a:pt x="224" y="352"/>
                  </a:lnTo>
                  <a:lnTo>
                    <a:pt x="226" y="352"/>
                  </a:lnTo>
                  <a:lnTo>
                    <a:pt x="228" y="352"/>
                  </a:lnTo>
                  <a:lnTo>
                    <a:pt x="230" y="352"/>
                  </a:lnTo>
                  <a:lnTo>
                    <a:pt x="230" y="352"/>
                  </a:lnTo>
                  <a:lnTo>
                    <a:pt x="232" y="352"/>
                  </a:lnTo>
                  <a:lnTo>
                    <a:pt x="232" y="352"/>
                  </a:lnTo>
                  <a:lnTo>
                    <a:pt x="232" y="354"/>
                  </a:lnTo>
                  <a:lnTo>
                    <a:pt x="232" y="354"/>
                  </a:lnTo>
                  <a:lnTo>
                    <a:pt x="232" y="356"/>
                  </a:lnTo>
                  <a:lnTo>
                    <a:pt x="232" y="358"/>
                  </a:lnTo>
                  <a:lnTo>
                    <a:pt x="232" y="360"/>
                  </a:lnTo>
                  <a:lnTo>
                    <a:pt x="232" y="362"/>
                  </a:lnTo>
                  <a:lnTo>
                    <a:pt x="232" y="362"/>
                  </a:lnTo>
                  <a:lnTo>
                    <a:pt x="232" y="362"/>
                  </a:lnTo>
                  <a:lnTo>
                    <a:pt x="232" y="364"/>
                  </a:lnTo>
                  <a:lnTo>
                    <a:pt x="232" y="364"/>
                  </a:lnTo>
                  <a:lnTo>
                    <a:pt x="234" y="364"/>
                  </a:lnTo>
                  <a:lnTo>
                    <a:pt x="234" y="364"/>
                  </a:lnTo>
                  <a:lnTo>
                    <a:pt x="236" y="364"/>
                  </a:lnTo>
                  <a:lnTo>
                    <a:pt x="236" y="364"/>
                  </a:lnTo>
                  <a:lnTo>
                    <a:pt x="238" y="364"/>
                  </a:lnTo>
                  <a:lnTo>
                    <a:pt x="238" y="364"/>
                  </a:lnTo>
                  <a:lnTo>
                    <a:pt x="240" y="364"/>
                  </a:lnTo>
                  <a:lnTo>
                    <a:pt x="240" y="364"/>
                  </a:lnTo>
                  <a:lnTo>
                    <a:pt x="240" y="364"/>
                  </a:lnTo>
                  <a:lnTo>
                    <a:pt x="240" y="366"/>
                  </a:lnTo>
                  <a:lnTo>
                    <a:pt x="242" y="366"/>
                  </a:lnTo>
                  <a:lnTo>
                    <a:pt x="242" y="368"/>
                  </a:lnTo>
                  <a:lnTo>
                    <a:pt x="242" y="368"/>
                  </a:lnTo>
                  <a:lnTo>
                    <a:pt x="242" y="370"/>
                  </a:lnTo>
                  <a:lnTo>
                    <a:pt x="242" y="374"/>
                  </a:lnTo>
                  <a:lnTo>
                    <a:pt x="242" y="374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2" y="376"/>
                  </a:lnTo>
                  <a:lnTo>
                    <a:pt x="244" y="378"/>
                  </a:lnTo>
                  <a:lnTo>
                    <a:pt x="246" y="378"/>
                  </a:lnTo>
                  <a:lnTo>
                    <a:pt x="246" y="378"/>
                  </a:lnTo>
                  <a:lnTo>
                    <a:pt x="248" y="380"/>
                  </a:lnTo>
                  <a:lnTo>
                    <a:pt x="248" y="380"/>
                  </a:lnTo>
                  <a:lnTo>
                    <a:pt x="248" y="380"/>
                  </a:lnTo>
                  <a:lnTo>
                    <a:pt x="248" y="382"/>
                  </a:lnTo>
                  <a:lnTo>
                    <a:pt x="248" y="384"/>
                  </a:lnTo>
                  <a:lnTo>
                    <a:pt x="248" y="386"/>
                  </a:lnTo>
                  <a:lnTo>
                    <a:pt x="248" y="390"/>
                  </a:lnTo>
                  <a:lnTo>
                    <a:pt x="248" y="392"/>
                  </a:lnTo>
                  <a:lnTo>
                    <a:pt x="248" y="394"/>
                  </a:lnTo>
                  <a:lnTo>
                    <a:pt x="246" y="396"/>
                  </a:lnTo>
                  <a:lnTo>
                    <a:pt x="246" y="398"/>
                  </a:lnTo>
                  <a:lnTo>
                    <a:pt x="246" y="400"/>
                  </a:lnTo>
                  <a:lnTo>
                    <a:pt x="244" y="404"/>
                  </a:lnTo>
                  <a:lnTo>
                    <a:pt x="242" y="406"/>
                  </a:lnTo>
                  <a:lnTo>
                    <a:pt x="242" y="406"/>
                  </a:lnTo>
                  <a:lnTo>
                    <a:pt x="240" y="408"/>
                  </a:lnTo>
                  <a:lnTo>
                    <a:pt x="240" y="408"/>
                  </a:lnTo>
                  <a:lnTo>
                    <a:pt x="238" y="408"/>
                  </a:lnTo>
                  <a:lnTo>
                    <a:pt x="236" y="408"/>
                  </a:lnTo>
                  <a:lnTo>
                    <a:pt x="232" y="410"/>
                  </a:lnTo>
                  <a:lnTo>
                    <a:pt x="232" y="410"/>
                  </a:lnTo>
                  <a:lnTo>
                    <a:pt x="232" y="414"/>
                  </a:lnTo>
                  <a:lnTo>
                    <a:pt x="234" y="416"/>
                  </a:lnTo>
                  <a:lnTo>
                    <a:pt x="234" y="418"/>
                  </a:lnTo>
                  <a:lnTo>
                    <a:pt x="234" y="420"/>
                  </a:lnTo>
                  <a:lnTo>
                    <a:pt x="234" y="420"/>
                  </a:lnTo>
                  <a:lnTo>
                    <a:pt x="234" y="420"/>
                  </a:lnTo>
                  <a:lnTo>
                    <a:pt x="234" y="420"/>
                  </a:lnTo>
                  <a:lnTo>
                    <a:pt x="236" y="420"/>
                  </a:lnTo>
                  <a:lnTo>
                    <a:pt x="236" y="422"/>
                  </a:lnTo>
                  <a:lnTo>
                    <a:pt x="238" y="422"/>
                  </a:lnTo>
                  <a:lnTo>
                    <a:pt x="240" y="422"/>
                  </a:lnTo>
                  <a:lnTo>
                    <a:pt x="240" y="422"/>
                  </a:lnTo>
                  <a:lnTo>
                    <a:pt x="242" y="422"/>
                  </a:lnTo>
                  <a:lnTo>
                    <a:pt x="244" y="424"/>
                  </a:lnTo>
                  <a:lnTo>
                    <a:pt x="244" y="424"/>
                  </a:lnTo>
                  <a:lnTo>
                    <a:pt x="244" y="424"/>
                  </a:lnTo>
                  <a:lnTo>
                    <a:pt x="244" y="424"/>
                  </a:lnTo>
                  <a:lnTo>
                    <a:pt x="244" y="426"/>
                  </a:lnTo>
                  <a:lnTo>
                    <a:pt x="246" y="426"/>
                  </a:lnTo>
                  <a:lnTo>
                    <a:pt x="246" y="428"/>
                  </a:lnTo>
                  <a:lnTo>
                    <a:pt x="244" y="430"/>
                  </a:lnTo>
                  <a:lnTo>
                    <a:pt x="244" y="432"/>
                  </a:lnTo>
                  <a:lnTo>
                    <a:pt x="244" y="434"/>
                  </a:lnTo>
                  <a:lnTo>
                    <a:pt x="246" y="436"/>
                  </a:lnTo>
                  <a:lnTo>
                    <a:pt x="246" y="436"/>
                  </a:lnTo>
                  <a:lnTo>
                    <a:pt x="246" y="436"/>
                  </a:lnTo>
                  <a:lnTo>
                    <a:pt x="246" y="436"/>
                  </a:lnTo>
                  <a:lnTo>
                    <a:pt x="246" y="438"/>
                  </a:lnTo>
                  <a:lnTo>
                    <a:pt x="248" y="438"/>
                  </a:lnTo>
                  <a:lnTo>
                    <a:pt x="250" y="438"/>
                  </a:lnTo>
                  <a:lnTo>
                    <a:pt x="252" y="438"/>
                  </a:lnTo>
                  <a:lnTo>
                    <a:pt x="254" y="438"/>
                  </a:lnTo>
                  <a:lnTo>
                    <a:pt x="256" y="438"/>
                  </a:lnTo>
                  <a:lnTo>
                    <a:pt x="258" y="438"/>
                  </a:lnTo>
                  <a:lnTo>
                    <a:pt x="258" y="438"/>
                  </a:lnTo>
                  <a:lnTo>
                    <a:pt x="258" y="440"/>
                  </a:lnTo>
                  <a:lnTo>
                    <a:pt x="260" y="440"/>
                  </a:lnTo>
                  <a:lnTo>
                    <a:pt x="260" y="440"/>
                  </a:lnTo>
                  <a:lnTo>
                    <a:pt x="260" y="442"/>
                  </a:lnTo>
                  <a:lnTo>
                    <a:pt x="262" y="444"/>
                  </a:lnTo>
                  <a:lnTo>
                    <a:pt x="262" y="446"/>
                  </a:lnTo>
                  <a:lnTo>
                    <a:pt x="262" y="446"/>
                  </a:lnTo>
                  <a:lnTo>
                    <a:pt x="264" y="448"/>
                  </a:lnTo>
                  <a:lnTo>
                    <a:pt x="264" y="448"/>
                  </a:lnTo>
                  <a:lnTo>
                    <a:pt x="266" y="448"/>
                  </a:lnTo>
                  <a:lnTo>
                    <a:pt x="268" y="450"/>
                  </a:lnTo>
                  <a:lnTo>
                    <a:pt x="270" y="450"/>
                  </a:lnTo>
                  <a:lnTo>
                    <a:pt x="272" y="450"/>
                  </a:lnTo>
                  <a:lnTo>
                    <a:pt x="274" y="450"/>
                  </a:lnTo>
                  <a:lnTo>
                    <a:pt x="278" y="450"/>
                  </a:lnTo>
                  <a:lnTo>
                    <a:pt x="280" y="450"/>
                  </a:lnTo>
                  <a:lnTo>
                    <a:pt x="282" y="450"/>
                  </a:lnTo>
                  <a:lnTo>
                    <a:pt x="282" y="450"/>
                  </a:lnTo>
                  <a:lnTo>
                    <a:pt x="282" y="450"/>
                  </a:lnTo>
                  <a:lnTo>
                    <a:pt x="284" y="450"/>
                  </a:lnTo>
                  <a:lnTo>
                    <a:pt x="284" y="450"/>
                  </a:lnTo>
                  <a:lnTo>
                    <a:pt x="284" y="452"/>
                  </a:lnTo>
                  <a:lnTo>
                    <a:pt x="284" y="452"/>
                  </a:lnTo>
                  <a:lnTo>
                    <a:pt x="286" y="452"/>
                  </a:lnTo>
                  <a:lnTo>
                    <a:pt x="286" y="454"/>
                  </a:lnTo>
                  <a:lnTo>
                    <a:pt x="286" y="456"/>
                  </a:lnTo>
                  <a:lnTo>
                    <a:pt x="284" y="458"/>
                  </a:lnTo>
                  <a:lnTo>
                    <a:pt x="284" y="462"/>
                  </a:lnTo>
                  <a:lnTo>
                    <a:pt x="284" y="464"/>
                  </a:lnTo>
                  <a:lnTo>
                    <a:pt x="284" y="464"/>
                  </a:lnTo>
                  <a:lnTo>
                    <a:pt x="284" y="466"/>
                  </a:lnTo>
                  <a:lnTo>
                    <a:pt x="284" y="466"/>
                  </a:lnTo>
                  <a:lnTo>
                    <a:pt x="286" y="468"/>
                  </a:lnTo>
                  <a:lnTo>
                    <a:pt x="286" y="468"/>
                  </a:lnTo>
                  <a:lnTo>
                    <a:pt x="286" y="468"/>
                  </a:lnTo>
                  <a:lnTo>
                    <a:pt x="288" y="468"/>
                  </a:lnTo>
                  <a:lnTo>
                    <a:pt x="288" y="468"/>
                  </a:lnTo>
                  <a:lnTo>
                    <a:pt x="290" y="468"/>
                  </a:lnTo>
                  <a:lnTo>
                    <a:pt x="292" y="468"/>
                  </a:lnTo>
                  <a:lnTo>
                    <a:pt x="294" y="468"/>
                  </a:lnTo>
                  <a:lnTo>
                    <a:pt x="296" y="468"/>
                  </a:lnTo>
                  <a:lnTo>
                    <a:pt x="296" y="468"/>
                  </a:lnTo>
                  <a:lnTo>
                    <a:pt x="296" y="468"/>
                  </a:lnTo>
                  <a:lnTo>
                    <a:pt x="298" y="468"/>
                  </a:lnTo>
                  <a:lnTo>
                    <a:pt x="298" y="468"/>
                  </a:lnTo>
                  <a:lnTo>
                    <a:pt x="298" y="470"/>
                  </a:lnTo>
                  <a:lnTo>
                    <a:pt x="300" y="470"/>
                  </a:lnTo>
                  <a:lnTo>
                    <a:pt x="300" y="472"/>
                  </a:lnTo>
                  <a:lnTo>
                    <a:pt x="300" y="474"/>
                  </a:lnTo>
                  <a:lnTo>
                    <a:pt x="300" y="476"/>
                  </a:lnTo>
                  <a:lnTo>
                    <a:pt x="300" y="478"/>
                  </a:lnTo>
                  <a:lnTo>
                    <a:pt x="302" y="482"/>
                  </a:lnTo>
                  <a:lnTo>
                    <a:pt x="300" y="486"/>
                  </a:lnTo>
                  <a:lnTo>
                    <a:pt x="300" y="492"/>
                  </a:lnTo>
                  <a:lnTo>
                    <a:pt x="300" y="498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4"/>
                  </a:lnTo>
                  <a:lnTo>
                    <a:pt x="302" y="506"/>
                  </a:lnTo>
                  <a:lnTo>
                    <a:pt x="302" y="508"/>
                  </a:lnTo>
                  <a:lnTo>
                    <a:pt x="302" y="508"/>
                  </a:lnTo>
                  <a:lnTo>
                    <a:pt x="302" y="510"/>
                  </a:lnTo>
                  <a:lnTo>
                    <a:pt x="302" y="512"/>
                  </a:lnTo>
                  <a:lnTo>
                    <a:pt x="302" y="514"/>
                  </a:lnTo>
                  <a:lnTo>
                    <a:pt x="302" y="516"/>
                  </a:lnTo>
                  <a:lnTo>
                    <a:pt x="302" y="520"/>
                  </a:lnTo>
                  <a:lnTo>
                    <a:pt x="304" y="522"/>
                  </a:lnTo>
                  <a:lnTo>
                    <a:pt x="304" y="522"/>
                  </a:lnTo>
                  <a:lnTo>
                    <a:pt x="304" y="524"/>
                  </a:lnTo>
                  <a:lnTo>
                    <a:pt x="304" y="524"/>
                  </a:lnTo>
                  <a:lnTo>
                    <a:pt x="304" y="526"/>
                  </a:lnTo>
                  <a:lnTo>
                    <a:pt x="306" y="526"/>
                  </a:lnTo>
                  <a:lnTo>
                    <a:pt x="306" y="526"/>
                  </a:lnTo>
                  <a:lnTo>
                    <a:pt x="306" y="526"/>
                  </a:lnTo>
                  <a:lnTo>
                    <a:pt x="308" y="526"/>
                  </a:lnTo>
                  <a:lnTo>
                    <a:pt x="308" y="526"/>
                  </a:lnTo>
                  <a:lnTo>
                    <a:pt x="310" y="526"/>
                  </a:lnTo>
                  <a:lnTo>
                    <a:pt x="310" y="526"/>
                  </a:lnTo>
                  <a:lnTo>
                    <a:pt x="312" y="526"/>
                  </a:lnTo>
                  <a:lnTo>
                    <a:pt x="312" y="526"/>
                  </a:lnTo>
                  <a:lnTo>
                    <a:pt x="312" y="526"/>
                  </a:lnTo>
                  <a:lnTo>
                    <a:pt x="312" y="526"/>
                  </a:lnTo>
                  <a:lnTo>
                    <a:pt x="314" y="526"/>
                  </a:lnTo>
                  <a:lnTo>
                    <a:pt x="314" y="528"/>
                  </a:lnTo>
                  <a:lnTo>
                    <a:pt x="314" y="530"/>
                  </a:lnTo>
                  <a:lnTo>
                    <a:pt x="314" y="532"/>
                  </a:lnTo>
                  <a:lnTo>
                    <a:pt x="314" y="532"/>
                  </a:lnTo>
                  <a:lnTo>
                    <a:pt x="314" y="534"/>
                  </a:lnTo>
                  <a:lnTo>
                    <a:pt x="314" y="536"/>
                  </a:lnTo>
                  <a:lnTo>
                    <a:pt x="314" y="536"/>
                  </a:lnTo>
                  <a:lnTo>
                    <a:pt x="314" y="538"/>
                  </a:lnTo>
                  <a:lnTo>
                    <a:pt x="312" y="538"/>
                  </a:lnTo>
                  <a:lnTo>
                    <a:pt x="312" y="538"/>
                  </a:lnTo>
                  <a:lnTo>
                    <a:pt x="310" y="538"/>
                  </a:lnTo>
                  <a:lnTo>
                    <a:pt x="310" y="538"/>
                  </a:lnTo>
                  <a:lnTo>
                    <a:pt x="308" y="538"/>
                  </a:lnTo>
                  <a:lnTo>
                    <a:pt x="304" y="538"/>
                  </a:lnTo>
                  <a:lnTo>
                    <a:pt x="304" y="538"/>
                  </a:lnTo>
                  <a:lnTo>
                    <a:pt x="302" y="538"/>
                  </a:lnTo>
                  <a:lnTo>
                    <a:pt x="302" y="538"/>
                  </a:lnTo>
                  <a:lnTo>
                    <a:pt x="302" y="540"/>
                  </a:lnTo>
                  <a:lnTo>
                    <a:pt x="300" y="540"/>
                  </a:lnTo>
                  <a:lnTo>
                    <a:pt x="300" y="542"/>
                  </a:lnTo>
                  <a:lnTo>
                    <a:pt x="298" y="544"/>
                  </a:lnTo>
                  <a:lnTo>
                    <a:pt x="296" y="546"/>
                  </a:lnTo>
                  <a:lnTo>
                    <a:pt x="296" y="548"/>
                  </a:lnTo>
                  <a:lnTo>
                    <a:pt x="294" y="548"/>
                  </a:lnTo>
                  <a:lnTo>
                    <a:pt x="294" y="550"/>
                  </a:lnTo>
                  <a:lnTo>
                    <a:pt x="294" y="550"/>
                  </a:lnTo>
                  <a:lnTo>
                    <a:pt x="292" y="550"/>
                  </a:lnTo>
                  <a:lnTo>
                    <a:pt x="290" y="550"/>
                  </a:lnTo>
                  <a:lnTo>
                    <a:pt x="288" y="552"/>
                  </a:lnTo>
                  <a:lnTo>
                    <a:pt x="288" y="552"/>
                  </a:lnTo>
                  <a:lnTo>
                    <a:pt x="286" y="552"/>
                  </a:lnTo>
                  <a:lnTo>
                    <a:pt x="286" y="554"/>
                  </a:lnTo>
                  <a:lnTo>
                    <a:pt x="284" y="556"/>
                  </a:lnTo>
                  <a:lnTo>
                    <a:pt x="282" y="560"/>
                  </a:lnTo>
                  <a:lnTo>
                    <a:pt x="280" y="562"/>
                  </a:lnTo>
                  <a:lnTo>
                    <a:pt x="278" y="564"/>
                  </a:lnTo>
                  <a:lnTo>
                    <a:pt x="276" y="566"/>
                  </a:lnTo>
                  <a:lnTo>
                    <a:pt x="274" y="570"/>
                  </a:lnTo>
                  <a:lnTo>
                    <a:pt x="272" y="572"/>
                  </a:lnTo>
                  <a:lnTo>
                    <a:pt x="270" y="574"/>
                  </a:lnTo>
                  <a:lnTo>
                    <a:pt x="268" y="578"/>
                  </a:lnTo>
                  <a:lnTo>
                    <a:pt x="266" y="582"/>
                  </a:lnTo>
                  <a:lnTo>
                    <a:pt x="268" y="586"/>
                  </a:lnTo>
                  <a:lnTo>
                    <a:pt x="270" y="588"/>
                  </a:lnTo>
                  <a:lnTo>
                    <a:pt x="272" y="588"/>
                  </a:lnTo>
                  <a:lnTo>
                    <a:pt x="272" y="590"/>
                  </a:lnTo>
                  <a:lnTo>
                    <a:pt x="274" y="590"/>
                  </a:lnTo>
                  <a:lnTo>
                    <a:pt x="274" y="592"/>
                  </a:lnTo>
                  <a:lnTo>
                    <a:pt x="278" y="592"/>
                  </a:lnTo>
                  <a:lnTo>
                    <a:pt x="282" y="594"/>
                  </a:lnTo>
                  <a:lnTo>
                    <a:pt x="284" y="594"/>
                  </a:lnTo>
                  <a:lnTo>
                    <a:pt x="286" y="596"/>
                  </a:lnTo>
                  <a:lnTo>
                    <a:pt x="290" y="598"/>
                  </a:lnTo>
                  <a:lnTo>
                    <a:pt x="294" y="600"/>
                  </a:lnTo>
                  <a:lnTo>
                    <a:pt x="298" y="604"/>
                  </a:lnTo>
                  <a:lnTo>
                    <a:pt x="302" y="608"/>
                  </a:lnTo>
                  <a:lnTo>
                    <a:pt x="306" y="612"/>
                  </a:lnTo>
                  <a:lnTo>
                    <a:pt x="310" y="616"/>
                  </a:lnTo>
                  <a:lnTo>
                    <a:pt x="314" y="620"/>
                  </a:lnTo>
                  <a:lnTo>
                    <a:pt x="316" y="624"/>
                  </a:lnTo>
                  <a:lnTo>
                    <a:pt x="318" y="626"/>
                  </a:lnTo>
                  <a:lnTo>
                    <a:pt x="320" y="630"/>
                  </a:lnTo>
                  <a:lnTo>
                    <a:pt x="322" y="632"/>
                  </a:lnTo>
                  <a:lnTo>
                    <a:pt x="324" y="634"/>
                  </a:lnTo>
                  <a:lnTo>
                    <a:pt x="324" y="636"/>
                  </a:lnTo>
                  <a:lnTo>
                    <a:pt x="324" y="636"/>
                  </a:lnTo>
                  <a:lnTo>
                    <a:pt x="324" y="638"/>
                  </a:lnTo>
                  <a:lnTo>
                    <a:pt x="324" y="642"/>
                  </a:lnTo>
                  <a:lnTo>
                    <a:pt x="326" y="646"/>
                  </a:lnTo>
                  <a:lnTo>
                    <a:pt x="326" y="646"/>
                  </a:lnTo>
                  <a:lnTo>
                    <a:pt x="330" y="642"/>
                  </a:lnTo>
                  <a:lnTo>
                    <a:pt x="332" y="640"/>
                  </a:lnTo>
                  <a:lnTo>
                    <a:pt x="332" y="638"/>
                  </a:lnTo>
                  <a:lnTo>
                    <a:pt x="334" y="636"/>
                  </a:lnTo>
                  <a:lnTo>
                    <a:pt x="334" y="634"/>
                  </a:lnTo>
                  <a:lnTo>
                    <a:pt x="334" y="634"/>
                  </a:lnTo>
                  <a:lnTo>
                    <a:pt x="336" y="632"/>
                  </a:lnTo>
                  <a:lnTo>
                    <a:pt x="336" y="628"/>
                  </a:lnTo>
                  <a:lnTo>
                    <a:pt x="336" y="626"/>
                  </a:lnTo>
                  <a:lnTo>
                    <a:pt x="334" y="622"/>
                  </a:lnTo>
                  <a:lnTo>
                    <a:pt x="334" y="620"/>
                  </a:lnTo>
                  <a:lnTo>
                    <a:pt x="336" y="618"/>
                  </a:lnTo>
                  <a:lnTo>
                    <a:pt x="336" y="614"/>
                  </a:lnTo>
                  <a:lnTo>
                    <a:pt x="336" y="612"/>
                  </a:lnTo>
                  <a:lnTo>
                    <a:pt x="338" y="608"/>
                  </a:lnTo>
                  <a:lnTo>
                    <a:pt x="338" y="606"/>
                  </a:lnTo>
                  <a:lnTo>
                    <a:pt x="338" y="604"/>
                  </a:lnTo>
                  <a:lnTo>
                    <a:pt x="338" y="604"/>
                  </a:lnTo>
                  <a:lnTo>
                    <a:pt x="338" y="600"/>
                  </a:lnTo>
                  <a:lnTo>
                    <a:pt x="338" y="594"/>
                  </a:lnTo>
                  <a:lnTo>
                    <a:pt x="338" y="592"/>
                  </a:lnTo>
                  <a:lnTo>
                    <a:pt x="338" y="590"/>
                  </a:lnTo>
                  <a:lnTo>
                    <a:pt x="338" y="590"/>
                  </a:lnTo>
                  <a:lnTo>
                    <a:pt x="338" y="588"/>
                  </a:lnTo>
                  <a:lnTo>
                    <a:pt x="338" y="588"/>
                  </a:lnTo>
                  <a:lnTo>
                    <a:pt x="338" y="586"/>
                  </a:lnTo>
                  <a:lnTo>
                    <a:pt x="338" y="586"/>
                  </a:lnTo>
                  <a:lnTo>
                    <a:pt x="340" y="586"/>
                  </a:lnTo>
                  <a:lnTo>
                    <a:pt x="340" y="586"/>
                  </a:lnTo>
                  <a:lnTo>
                    <a:pt x="340" y="586"/>
                  </a:lnTo>
                  <a:lnTo>
                    <a:pt x="342" y="586"/>
                  </a:lnTo>
                  <a:lnTo>
                    <a:pt x="344" y="586"/>
                  </a:lnTo>
                  <a:lnTo>
                    <a:pt x="344" y="586"/>
                  </a:lnTo>
                  <a:lnTo>
                    <a:pt x="346" y="588"/>
                  </a:lnTo>
                  <a:lnTo>
                    <a:pt x="346" y="588"/>
                  </a:lnTo>
                  <a:lnTo>
                    <a:pt x="348" y="590"/>
                  </a:lnTo>
                  <a:lnTo>
                    <a:pt x="348" y="590"/>
                  </a:lnTo>
                  <a:lnTo>
                    <a:pt x="348" y="590"/>
                  </a:lnTo>
                  <a:lnTo>
                    <a:pt x="348" y="592"/>
                  </a:lnTo>
                  <a:lnTo>
                    <a:pt x="348" y="592"/>
                  </a:lnTo>
                  <a:lnTo>
                    <a:pt x="348" y="594"/>
                  </a:lnTo>
                  <a:lnTo>
                    <a:pt x="348" y="596"/>
                  </a:lnTo>
                  <a:lnTo>
                    <a:pt x="348" y="598"/>
                  </a:lnTo>
                  <a:lnTo>
                    <a:pt x="346" y="600"/>
                  </a:lnTo>
                  <a:lnTo>
                    <a:pt x="346" y="602"/>
                  </a:lnTo>
                  <a:lnTo>
                    <a:pt x="346" y="602"/>
                  </a:lnTo>
                  <a:lnTo>
                    <a:pt x="344" y="604"/>
                  </a:lnTo>
                  <a:lnTo>
                    <a:pt x="342" y="606"/>
                  </a:lnTo>
                  <a:lnTo>
                    <a:pt x="342" y="606"/>
                  </a:lnTo>
                  <a:lnTo>
                    <a:pt x="342" y="608"/>
                  </a:lnTo>
                  <a:lnTo>
                    <a:pt x="342" y="608"/>
                  </a:lnTo>
                  <a:lnTo>
                    <a:pt x="342" y="608"/>
                  </a:lnTo>
                  <a:lnTo>
                    <a:pt x="344" y="608"/>
                  </a:lnTo>
                  <a:lnTo>
                    <a:pt x="344" y="610"/>
                  </a:lnTo>
                  <a:lnTo>
                    <a:pt x="344" y="610"/>
                  </a:lnTo>
                  <a:lnTo>
                    <a:pt x="346" y="610"/>
                  </a:lnTo>
                  <a:lnTo>
                    <a:pt x="348" y="608"/>
                  </a:lnTo>
                  <a:lnTo>
                    <a:pt x="350" y="608"/>
                  </a:lnTo>
                  <a:lnTo>
                    <a:pt x="352" y="606"/>
                  </a:lnTo>
                  <a:lnTo>
                    <a:pt x="354" y="606"/>
                  </a:lnTo>
                  <a:lnTo>
                    <a:pt x="354" y="604"/>
                  </a:lnTo>
                  <a:lnTo>
                    <a:pt x="356" y="604"/>
                  </a:lnTo>
                  <a:lnTo>
                    <a:pt x="356" y="602"/>
                  </a:lnTo>
                  <a:lnTo>
                    <a:pt x="356" y="602"/>
                  </a:lnTo>
                  <a:lnTo>
                    <a:pt x="356" y="600"/>
                  </a:lnTo>
                  <a:lnTo>
                    <a:pt x="358" y="598"/>
                  </a:lnTo>
                  <a:lnTo>
                    <a:pt x="358" y="596"/>
                  </a:lnTo>
                  <a:lnTo>
                    <a:pt x="358" y="594"/>
                  </a:lnTo>
                  <a:lnTo>
                    <a:pt x="358" y="594"/>
                  </a:lnTo>
                  <a:lnTo>
                    <a:pt x="358" y="592"/>
                  </a:lnTo>
                  <a:lnTo>
                    <a:pt x="358" y="590"/>
                  </a:lnTo>
                  <a:lnTo>
                    <a:pt x="358" y="590"/>
                  </a:lnTo>
                  <a:lnTo>
                    <a:pt x="360" y="590"/>
                  </a:lnTo>
                  <a:lnTo>
                    <a:pt x="360" y="588"/>
                  </a:lnTo>
                  <a:lnTo>
                    <a:pt x="364" y="588"/>
                  </a:lnTo>
                  <a:lnTo>
                    <a:pt x="364" y="586"/>
                  </a:lnTo>
                  <a:lnTo>
                    <a:pt x="366" y="586"/>
                  </a:lnTo>
                  <a:lnTo>
                    <a:pt x="366" y="586"/>
                  </a:lnTo>
                  <a:lnTo>
                    <a:pt x="368" y="584"/>
                  </a:lnTo>
                  <a:lnTo>
                    <a:pt x="368" y="584"/>
                  </a:lnTo>
                  <a:lnTo>
                    <a:pt x="368" y="582"/>
                  </a:lnTo>
                  <a:lnTo>
                    <a:pt x="368" y="582"/>
                  </a:lnTo>
                  <a:lnTo>
                    <a:pt x="368" y="580"/>
                  </a:lnTo>
                  <a:lnTo>
                    <a:pt x="366" y="576"/>
                  </a:lnTo>
                  <a:lnTo>
                    <a:pt x="366" y="574"/>
                  </a:lnTo>
                  <a:lnTo>
                    <a:pt x="366" y="570"/>
                  </a:lnTo>
                  <a:lnTo>
                    <a:pt x="364" y="568"/>
                  </a:lnTo>
                  <a:lnTo>
                    <a:pt x="364" y="566"/>
                  </a:lnTo>
                  <a:lnTo>
                    <a:pt x="364" y="566"/>
                  </a:lnTo>
                  <a:lnTo>
                    <a:pt x="364" y="564"/>
                  </a:lnTo>
                  <a:lnTo>
                    <a:pt x="366" y="564"/>
                  </a:lnTo>
                  <a:lnTo>
                    <a:pt x="366" y="562"/>
                  </a:lnTo>
                  <a:lnTo>
                    <a:pt x="366" y="562"/>
                  </a:lnTo>
                  <a:lnTo>
                    <a:pt x="368" y="562"/>
                  </a:lnTo>
                  <a:lnTo>
                    <a:pt x="368" y="560"/>
                  </a:lnTo>
                  <a:lnTo>
                    <a:pt x="370" y="560"/>
                  </a:lnTo>
                  <a:lnTo>
                    <a:pt x="374" y="558"/>
                  </a:lnTo>
                  <a:lnTo>
                    <a:pt x="376" y="558"/>
                  </a:lnTo>
                  <a:lnTo>
                    <a:pt x="378" y="556"/>
                  </a:lnTo>
                  <a:lnTo>
                    <a:pt x="378" y="556"/>
                  </a:lnTo>
                  <a:lnTo>
                    <a:pt x="380" y="556"/>
                  </a:lnTo>
                  <a:lnTo>
                    <a:pt x="380" y="554"/>
                  </a:lnTo>
                  <a:lnTo>
                    <a:pt x="380" y="554"/>
                  </a:lnTo>
                  <a:lnTo>
                    <a:pt x="382" y="554"/>
                  </a:lnTo>
                  <a:lnTo>
                    <a:pt x="382" y="552"/>
                  </a:lnTo>
                  <a:lnTo>
                    <a:pt x="384" y="550"/>
                  </a:lnTo>
                  <a:lnTo>
                    <a:pt x="384" y="548"/>
                  </a:lnTo>
                  <a:lnTo>
                    <a:pt x="384" y="544"/>
                  </a:lnTo>
                  <a:lnTo>
                    <a:pt x="384" y="540"/>
                  </a:lnTo>
                  <a:lnTo>
                    <a:pt x="386" y="538"/>
                  </a:lnTo>
                  <a:lnTo>
                    <a:pt x="386" y="530"/>
                  </a:lnTo>
                  <a:lnTo>
                    <a:pt x="386" y="516"/>
                  </a:lnTo>
                  <a:lnTo>
                    <a:pt x="386" y="514"/>
                  </a:lnTo>
                  <a:lnTo>
                    <a:pt x="386" y="510"/>
                  </a:lnTo>
                  <a:lnTo>
                    <a:pt x="386" y="508"/>
                  </a:lnTo>
                  <a:lnTo>
                    <a:pt x="386" y="506"/>
                  </a:lnTo>
                  <a:lnTo>
                    <a:pt x="388" y="502"/>
                  </a:lnTo>
                  <a:lnTo>
                    <a:pt x="388" y="500"/>
                  </a:lnTo>
                  <a:lnTo>
                    <a:pt x="388" y="498"/>
                  </a:lnTo>
                  <a:lnTo>
                    <a:pt x="390" y="496"/>
                  </a:lnTo>
                  <a:lnTo>
                    <a:pt x="390" y="494"/>
                  </a:lnTo>
                  <a:lnTo>
                    <a:pt x="390" y="494"/>
                  </a:lnTo>
                  <a:lnTo>
                    <a:pt x="392" y="494"/>
                  </a:lnTo>
                  <a:lnTo>
                    <a:pt x="392" y="494"/>
                  </a:lnTo>
                  <a:lnTo>
                    <a:pt x="392" y="492"/>
                  </a:lnTo>
                  <a:lnTo>
                    <a:pt x="394" y="492"/>
                  </a:lnTo>
                  <a:lnTo>
                    <a:pt x="396" y="492"/>
                  </a:lnTo>
                  <a:lnTo>
                    <a:pt x="398" y="490"/>
                  </a:lnTo>
                  <a:lnTo>
                    <a:pt x="400" y="490"/>
                  </a:lnTo>
                  <a:lnTo>
                    <a:pt x="402" y="490"/>
                  </a:lnTo>
                  <a:lnTo>
                    <a:pt x="402" y="490"/>
                  </a:lnTo>
                  <a:lnTo>
                    <a:pt x="402" y="488"/>
                  </a:lnTo>
                  <a:lnTo>
                    <a:pt x="404" y="488"/>
                  </a:lnTo>
                  <a:lnTo>
                    <a:pt x="404" y="488"/>
                  </a:lnTo>
                  <a:lnTo>
                    <a:pt x="404" y="484"/>
                  </a:lnTo>
                  <a:lnTo>
                    <a:pt x="406" y="482"/>
                  </a:lnTo>
                  <a:lnTo>
                    <a:pt x="406" y="482"/>
                  </a:lnTo>
                  <a:lnTo>
                    <a:pt x="406" y="480"/>
                  </a:lnTo>
                  <a:lnTo>
                    <a:pt x="408" y="480"/>
                  </a:lnTo>
                  <a:lnTo>
                    <a:pt x="408" y="478"/>
                  </a:lnTo>
                  <a:lnTo>
                    <a:pt x="410" y="478"/>
                  </a:lnTo>
                  <a:lnTo>
                    <a:pt x="414" y="474"/>
                  </a:lnTo>
                  <a:lnTo>
                    <a:pt x="418" y="472"/>
                  </a:lnTo>
                  <a:lnTo>
                    <a:pt x="422" y="468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30" y="464"/>
                  </a:lnTo>
                  <a:lnTo>
                    <a:pt x="432" y="464"/>
                  </a:lnTo>
                  <a:lnTo>
                    <a:pt x="434" y="464"/>
                  </a:lnTo>
                  <a:lnTo>
                    <a:pt x="436" y="462"/>
                  </a:lnTo>
                  <a:lnTo>
                    <a:pt x="442" y="462"/>
                  </a:lnTo>
                  <a:lnTo>
                    <a:pt x="446" y="462"/>
                  </a:lnTo>
                  <a:lnTo>
                    <a:pt x="450" y="462"/>
                  </a:lnTo>
                  <a:lnTo>
                    <a:pt x="454" y="462"/>
                  </a:lnTo>
                  <a:lnTo>
                    <a:pt x="456" y="462"/>
                  </a:lnTo>
                  <a:lnTo>
                    <a:pt x="458" y="462"/>
                  </a:lnTo>
                  <a:lnTo>
                    <a:pt x="458" y="460"/>
                  </a:lnTo>
                  <a:lnTo>
                    <a:pt x="460" y="460"/>
                  </a:lnTo>
                  <a:lnTo>
                    <a:pt x="460" y="460"/>
                  </a:lnTo>
                  <a:lnTo>
                    <a:pt x="460" y="458"/>
                  </a:lnTo>
                  <a:lnTo>
                    <a:pt x="462" y="456"/>
                  </a:lnTo>
                  <a:lnTo>
                    <a:pt x="462" y="454"/>
                  </a:lnTo>
                  <a:lnTo>
                    <a:pt x="464" y="454"/>
                  </a:lnTo>
                  <a:lnTo>
                    <a:pt x="464" y="452"/>
                  </a:lnTo>
                  <a:lnTo>
                    <a:pt x="464" y="452"/>
                  </a:lnTo>
                  <a:lnTo>
                    <a:pt x="466" y="452"/>
                  </a:lnTo>
                  <a:lnTo>
                    <a:pt x="466" y="450"/>
                  </a:lnTo>
                  <a:lnTo>
                    <a:pt x="468" y="450"/>
                  </a:lnTo>
                  <a:lnTo>
                    <a:pt x="470" y="450"/>
                  </a:lnTo>
                  <a:lnTo>
                    <a:pt x="472" y="450"/>
                  </a:lnTo>
                  <a:lnTo>
                    <a:pt x="476" y="452"/>
                  </a:lnTo>
                  <a:lnTo>
                    <a:pt x="480" y="452"/>
                  </a:lnTo>
                  <a:lnTo>
                    <a:pt x="480" y="452"/>
                  </a:lnTo>
                  <a:lnTo>
                    <a:pt x="482" y="452"/>
                  </a:lnTo>
                  <a:lnTo>
                    <a:pt x="484" y="452"/>
                  </a:lnTo>
                  <a:lnTo>
                    <a:pt x="484" y="452"/>
                  </a:lnTo>
                  <a:lnTo>
                    <a:pt x="486" y="452"/>
                  </a:lnTo>
                  <a:lnTo>
                    <a:pt x="486" y="450"/>
                  </a:lnTo>
                  <a:lnTo>
                    <a:pt x="488" y="450"/>
                  </a:lnTo>
                  <a:lnTo>
                    <a:pt x="488" y="448"/>
                  </a:lnTo>
                  <a:lnTo>
                    <a:pt x="488" y="446"/>
                  </a:lnTo>
                  <a:lnTo>
                    <a:pt x="490" y="446"/>
                  </a:lnTo>
                  <a:lnTo>
                    <a:pt x="490" y="444"/>
                  </a:lnTo>
                  <a:lnTo>
                    <a:pt x="490" y="442"/>
                  </a:lnTo>
                  <a:lnTo>
                    <a:pt x="490" y="438"/>
                  </a:lnTo>
                  <a:lnTo>
                    <a:pt x="490" y="434"/>
                  </a:lnTo>
                  <a:lnTo>
                    <a:pt x="490" y="430"/>
                  </a:lnTo>
                  <a:lnTo>
                    <a:pt x="490" y="428"/>
                  </a:lnTo>
                  <a:lnTo>
                    <a:pt x="490" y="426"/>
                  </a:lnTo>
                  <a:lnTo>
                    <a:pt x="490" y="426"/>
                  </a:lnTo>
                  <a:lnTo>
                    <a:pt x="490" y="424"/>
                  </a:lnTo>
                  <a:lnTo>
                    <a:pt x="490" y="422"/>
                  </a:lnTo>
                  <a:lnTo>
                    <a:pt x="492" y="422"/>
                  </a:lnTo>
                  <a:lnTo>
                    <a:pt x="494" y="418"/>
                  </a:lnTo>
                  <a:lnTo>
                    <a:pt x="496" y="414"/>
                  </a:lnTo>
                  <a:lnTo>
                    <a:pt x="498" y="414"/>
                  </a:lnTo>
                  <a:lnTo>
                    <a:pt x="498" y="412"/>
                  </a:lnTo>
                  <a:lnTo>
                    <a:pt x="500" y="408"/>
                  </a:lnTo>
                  <a:lnTo>
                    <a:pt x="502" y="404"/>
                  </a:lnTo>
                  <a:lnTo>
                    <a:pt x="502" y="400"/>
                  </a:lnTo>
                  <a:lnTo>
                    <a:pt x="504" y="396"/>
                  </a:lnTo>
                  <a:lnTo>
                    <a:pt x="504" y="396"/>
                  </a:lnTo>
                  <a:lnTo>
                    <a:pt x="504" y="394"/>
                  </a:lnTo>
                  <a:lnTo>
                    <a:pt x="504" y="390"/>
                  </a:lnTo>
                  <a:lnTo>
                    <a:pt x="504" y="382"/>
                  </a:lnTo>
                  <a:lnTo>
                    <a:pt x="504" y="378"/>
                  </a:lnTo>
                  <a:lnTo>
                    <a:pt x="504" y="374"/>
                  </a:lnTo>
                  <a:lnTo>
                    <a:pt x="504" y="374"/>
                  </a:lnTo>
                  <a:lnTo>
                    <a:pt x="504" y="372"/>
                  </a:lnTo>
                  <a:lnTo>
                    <a:pt x="506" y="370"/>
                  </a:lnTo>
                  <a:lnTo>
                    <a:pt x="506" y="370"/>
                  </a:lnTo>
                  <a:lnTo>
                    <a:pt x="506" y="368"/>
                  </a:lnTo>
                  <a:lnTo>
                    <a:pt x="508" y="368"/>
                  </a:lnTo>
                  <a:lnTo>
                    <a:pt x="510" y="366"/>
                  </a:lnTo>
                  <a:lnTo>
                    <a:pt x="512" y="366"/>
                  </a:lnTo>
                  <a:lnTo>
                    <a:pt x="512" y="366"/>
                  </a:lnTo>
                  <a:lnTo>
                    <a:pt x="514" y="364"/>
                  </a:lnTo>
                  <a:lnTo>
                    <a:pt x="514" y="364"/>
                  </a:lnTo>
                  <a:lnTo>
                    <a:pt x="514" y="362"/>
                  </a:lnTo>
                  <a:lnTo>
                    <a:pt x="516" y="360"/>
                  </a:lnTo>
                  <a:lnTo>
                    <a:pt x="516" y="358"/>
                  </a:lnTo>
                  <a:lnTo>
                    <a:pt x="516" y="356"/>
                  </a:lnTo>
                  <a:lnTo>
                    <a:pt x="516" y="352"/>
                  </a:lnTo>
                  <a:lnTo>
                    <a:pt x="516" y="350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16" y="338"/>
                  </a:lnTo>
                  <a:lnTo>
                    <a:pt x="514" y="326"/>
                  </a:lnTo>
                  <a:lnTo>
                    <a:pt x="514" y="320"/>
                  </a:lnTo>
                  <a:lnTo>
                    <a:pt x="514" y="314"/>
                  </a:lnTo>
                  <a:lnTo>
                    <a:pt x="512" y="310"/>
                  </a:lnTo>
                  <a:lnTo>
                    <a:pt x="512" y="304"/>
                  </a:lnTo>
                  <a:lnTo>
                    <a:pt x="512" y="302"/>
                  </a:lnTo>
                  <a:lnTo>
                    <a:pt x="512" y="300"/>
                  </a:lnTo>
                  <a:lnTo>
                    <a:pt x="514" y="298"/>
                  </a:lnTo>
                  <a:lnTo>
                    <a:pt x="514" y="296"/>
                  </a:lnTo>
                  <a:lnTo>
                    <a:pt x="514" y="292"/>
                  </a:lnTo>
                  <a:lnTo>
                    <a:pt x="514" y="292"/>
                  </a:lnTo>
                  <a:lnTo>
                    <a:pt x="516" y="290"/>
                  </a:lnTo>
                  <a:lnTo>
                    <a:pt x="516" y="288"/>
                  </a:lnTo>
                  <a:lnTo>
                    <a:pt x="516" y="288"/>
                  </a:lnTo>
                  <a:lnTo>
                    <a:pt x="518" y="286"/>
                  </a:lnTo>
                  <a:lnTo>
                    <a:pt x="520" y="286"/>
                  </a:lnTo>
                  <a:lnTo>
                    <a:pt x="522" y="286"/>
                  </a:lnTo>
                  <a:lnTo>
                    <a:pt x="524" y="286"/>
                  </a:lnTo>
                  <a:lnTo>
                    <a:pt x="526" y="286"/>
                  </a:lnTo>
                  <a:lnTo>
                    <a:pt x="528" y="284"/>
                  </a:lnTo>
                  <a:lnTo>
                    <a:pt x="528" y="284"/>
                  </a:lnTo>
                  <a:lnTo>
                    <a:pt x="530" y="284"/>
                  </a:lnTo>
                  <a:lnTo>
                    <a:pt x="530" y="282"/>
                  </a:lnTo>
                  <a:lnTo>
                    <a:pt x="530" y="282"/>
                  </a:lnTo>
                  <a:lnTo>
                    <a:pt x="530" y="282"/>
                  </a:lnTo>
                  <a:lnTo>
                    <a:pt x="530" y="280"/>
                  </a:lnTo>
                  <a:lnTo>
                    <a:pt x="530" y="278"/>
                  </a:lnTo>
                  <a:lnTo>
                    <a:pt x="530" y="276"/>
                  </a:lnTo>
                  <a:lnTo>
                    <a:pt x="530" y="274"/>
                  </a:lnTo>
                  <a:lnTo>
                    <a:pt x="530" y="272"/>
                  </a:lnTo>
                  <a:lnTo>
                    <a:pt x="530" y="270"/>
                  </a:lnTo>
                  <a:lnTo>
                    <a:pt x="530" y="270"/>
                  </a:lnTo>
                  <a:lnTo>
                    <a:pt x="532" y="268"/>
                  </a:lnTo>
                  <a:lnTo>
                    <a:pt x="532" y="268"/>
                  </a:lnTo>
                  <a:lnTo>
                    <a:pt x="532" y="268"/>
                  </a:lnTo>
                  <a:lnTo>
                    <a:pt x="534" y="266"/>
                  </a:lnTo>
                  <a:lnTo>
                    <a:pt x="536" y="264"/>
                  </a:lnTo>
                  <a:lnTo>
                    <a:pt x="536" y="264"/>
                  </a:lnTo>
                  <a:lnTo>
                    <a:pt x="536" y="264"/>
                  </a:lnTo>
                  <a:lnTo>
                    <a:pt x="536" y="264"/>
                  </a:lnTo>
                  <a:lnTo>
                    <a:pt x="538" y="262"/>
                  </a:lnTo>
                  <a:lnTo>
                    <a:pt x="538" y="260"/>
                  </a:lnTo>
                  <a:lnTo>
                    <a:pt x="538" y="258"/>
                  </a:lnTo>
                  <a:lnTo>
                    <a:pt x="538" y="256"/>
                  </a:lnTo>
                  <a:lnTo>
                    <a:pt x="538" y="254"/>
                  </a:lnTo>
                  <a:lnTo>
                    <a:pt x="540" y="252"/>
                  </a:lnTo>
                  <a:lnTo>
                    <a:pt x="540" y="250"/>
                  </a:lnTo>
                  <a:lnTo>
                    <a:pt x="540" y="250"/>
                  </a:lnTo>
                  <a:lnTo>
                    <a:pt x="540" y="250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4" y="248"/>
                  </a:lnTo>
                  <a:lnTo>
                    <a:pt x="546" y="248"/>
                  </a:lnTo>
                  <a:lnTo>
                    <a:pt x="548" y="248"/>
                  </a:lnTo>
                  <a:lnTo>
                    <a:pt x="548" y="246"/>
                  </a:lnTo>
                  <a:lnTo>
                    <a:pt x="548" y="246"/>
                  </a:lnTo>
                  <a:lnTo>
                    <a:pt x="548" y="246"/>
                  </a:lnTo>
                  <a:lnTo>
                    <a:pt x="550" y="244"/>
                  </a:lnTo>
                  <a:lnTo>
                    <a:pt x="550" y="242"/>
                  </a:lnTo>
                  <a:lnTo>
                    <a:pt x="550" y="240"/>
                  </a:lnTo>
                  <a:lnTo>
                    <a:pt x="550" y="238"/>
                  </a:lnTo>
                  <a:lnTo>
                    <a:pt x="550" y="236"/>
                  </a:lnTo>
                  <a:lnTo>
                    <a:pt x="550" y="234"/>
                  </a:lnTo>
                  <a:lnTo>
                    <a:pt x="552" y="234"/>
                  </a:lnTo>
                  <a:lnTo>
                    <a:pt x="552" y="232"/>
                  </a:lnTo>
                  <a:lnTo>
                    <a:pt x="552" y="232"/>
                  </a:lnTo>
                  <a:lnTo>
                    <a:pt x="552" y="232"/>
                  </a:lnTo>
                  <a:lnTo>
                    <a:pt x="554" y="232"/>
                  </a:lnTo>
                  <a:lnTo>
                    <a:pt x="556" y="230"/>
                  </a:lnTo>
                  <a:lnTo>
                    <a:pt x="558" y="230"/>
                  </a:lnTo>
                  <a:lnTo>
                    <a:pt x="558" y="230"/>
                  </a:lnTo>
                  <a:lnTo>
                    <a:pt x="560" y="230"/>
                  </a:lnTo>
                  <a:lnTo>
                    <a:pt x="562" y="230"/>
                  </a:lnTo>
                  <a:lnTo>
                    <a:pt x="562" y="230"/>
                  </a:lnTo>
                  <a:lnTo>
                    <a:pt x="562" y="228"/>
                  </a:lnTo>
                  <a:lnTo>
                    <a:pt x="562" y="228"/>
                  </a:lnTo>
                  <a:lnTo>
                    <a:pt x="562" y="228"/>
                  </a:lnTo>
                  <a:lnTo>
                    <a:pt x="564" y="226"/>
                  </a:lnTo>
                  <a:lnTo>
                    <a:pt x="562" y="224"/>
                  </a:lnTo>
                  <a:lnTo>
                    <a:pt x="562" y="222"/>
                  </a:lnTo>
                  <a:lnTo>
                    <a:pt x="562" y="220"/>
                  </a:lnTo>
                  <a:lnTo>
                    <a:pt x="562" y="218"/>
                  </a:lnTo>
                  <a:lnTo>
                    <a:pt x="562" y="218"/>
                  </a:lnTo>
                  <a:lnTo>
                    <a:pt x="562" y="216"/>
                  </a:lnTo>
                  <a:lnTo>
                    <a:pt x="564" y="216"/>
                  </a:lnTo>
                  <a:lnTo>
                    <a:pt x="564" y="216"/>
                  </a:lnTo>
                  <a:lnTo>
                    <a:pt x="564" y="216"/>
                  </a:lnTo>
                  <a:lnTo>
                    <a:pt x="566" y="216"/>
                  </a:lnTo>
                  <a:lnTo>
                    <a:pt x="568" y="216"/>
                  </a:lnTo>
                  <a:lnTo>
                    <a:pt x="568" y="216"/>
                  </a:lnTo>
                  <a:lnTo>
                    <a:pt x="570" y="214"/>
                  </a:lnTo>
                  <a:lnTo>
                    <a:pt x="570" y="214"/>
                  </a:lnTo>
                  <a:lnTo>
                    <a:pt x="570" y="214"/>
                  </a:lnTo>
                  <a:lnTo>
                    <a:pt x="570" y="212"/>
                  </a:lnTo>
                  <a:lnTo>
                    <a:pt x="570" y="212"/>
                  </a:lnTo>
                  <a:lnTo>
                    <a:pt x="570" y="210"/>
                  </a:lnTo>
                  <a:lnTo>
                    <a:pt x="568" y="208"/>
                  </a:lnTo>
                  <a:lnTo>
                    <a:pt x="568" y="206"/>
                  </a:lnTo>
                  <a:lnTo>
                    <a:pt x="568" y="204"/>
                  </a:lnTo>
                  <a:lnTo>
                    <a:pt x="568" y="204"/>
                  </a:lnTo>
                  <a:lnTo>
                    <a:pt x="568" y="202"/>
                  </a:lnTo>
                  <a:lnTo>
                    <a:pt x="568" y="202"/>
                  </a:lnTo>
                  <a:lnTo>
                    <a:pt x="568" y="202"/>
                  </a:lnTo>
                  <a:lnTo>
                    <a:pt x="568" y="200"/>
                  </a:lnTo>
                  <a:lnTo>
                    <a:pt x="570" y="200"/>
                  </a:lnTo>
                  <a:lnTo>
                    <a:pt x="570" y="200"/>
                  </a:lnTo>
                  <a:lnTo>
                    <a:pt x="572" y="200"/>
                  </a:lnTo>
                  <a:lnTo>
                    <a:pt x="574" y="200"/>
                  </a:lnTo>
                  <a:lnTo>
                    <a:pt x="574" y="200"/>
                  </a:lnTo>
                  <a:lnTo>
                    <a:pt x="576" y="200"/>
                  </a:lnTo>
                  <a:lnTo>
                    <a:pt x="576" y="198"/>
                  </a:lnTo>
                  <a:lnTo>
                    <a:pt x="576" y="198"/>
                  </a:lnTo>
                  <a:lnTo>
                    <a:pt x="578" y="196"/>
                  </a:lnTo>
                  <a:lnTo>
                    <a:pt x="578" y="194"/>
                  </a:lnTo>
                  <a:lnTo>
                    <a:pt x="578" y="192"/>
                  </a:lnTo>
                  <a:lnTo>
                    <a:pt x="578" y="190"/>
                  </a:lnTo>
                  <a:lnTo>
                    <a:pt x="578" y="188"/>
                  </a:lnTo>
                  <a:lnTo>
                    <a:pt x="578" y="188"/>
                  </a:lnTo>
                  <a:lnTo>
                    <a:pt x="576" y="188"/>
                  </a:lnTo>
                  <a:lnTo>
                    <a:pt x="576" y="186"/>
                  </a:lnTo>
                  <a:lnTo>
                    <a:pt x="576" y="186"/>
                  </a:lnTo>
                  <a:lnTo>
                    <a:pt x="576" y="186"/>
                  </a:lnTo>
                  <a:lnTo>
                    <a:pt x="574" y="186"/>
                  </a:lnTo>
                  <a:lnTo>
                    <a:pt x="572" y="186"/>
                  </a:lnTo>
                  <a:lnTo>
                    <a:pt x="570" y="186"/>
                  </a:lnTo>
                  <a:lnTo>
                    <a:pt x="570" y="186"/>
                  </a:lnTo>
                  <a:lnTo>
                    <a:pt x="568" y="186"/>
                  </a:lnTo>
                  <a:lnTo>
                    <a:pt x="568" y="186"/>
                  </a:lnTo>
                  <a:lnTo>
                    <a:pt x="568" y="186"/>
                  </a:lnTo>
                  <a:lnTo>
                    <a:pt x="566" y="186"/>
                  </a:lnTo>
                  <a:lnTo>
                    <a:pt x="566" y="184"/>
                  </a:lnTo>
                  <a:lnTo>
                    <a:pt x="566" y="182"/>
                  </a:lnTo>
                  <a:lnTo>
                    <a:pt x="566" y="180"/>
                  </a:lnTo>
                  <a:lnTo>
                    <a:pt x="566" y="178"/>
                  </a:lnTo>
                  <a:lnTo>
                    <a:pt x="566" y="178"/>
                  </a:lnTo>
                  <a:lnTo>
                    <a:pt x="566" y="172"/>
                  </a:lnTo>
                  <a:lnTo>
                    <a:pt x="566" y="168"/>
                  </a:lnTo>
                  <a:lnTo>
                    <a:pt x="566" y="164"/>
                  </a:lnTo>
                  <a:lnTo>
                    <a:pt x="566" y="162"/>
                  </a:lnTo>
                  <a:lnTo>
                    <a:pt x="566" y="162"/>
                  </a:lnTo>
                  <a:lnTo>
                    <a:pt x="566" y="160"/>
                  </a:lnTo>
                  <a:lnTo>
                    <a:pt x="564" y="158"/>
                  </a:lnTo>
                  <a:lnTo>
                    <a:pt x="564" y="158"/>
                  </a:lnTo>
                  <a:lnTo>
                    <a:pt x="564" y="156"/>
                  </a:lnTo>
                  <a:lnTo>
                    <a:pt x="562" y="154"/>
                  </a:lnTo>
                  <a:lnTo>
                    <a:pt x="560" y="154"/>
                  </a:lnTo>
                  <a:lnTo>
                    <a:pt x="558" y="152"/>
                  </a:lnTo>
                  <a:lnTo>
                    <a:pt x="556" y="152"/>
                  </a:lnTo>
                  <a:lnTo>
                    <a:pt x="556" y="152"/>
                  </a:lnTo>
                  <a:lnTo>
                    <a:pt x="552" y="152"/>
                  </a:lnTo>
                  <a:lnTo>
                    <a:pt x="550" y="150"/>
                  </a:lnTo>
                  <a:lnTo>
                    <a:pt x="548" y="150"/>
                  </a:lnTo>
                  <a:lnTo>
                    <a:pt x="548" y="150"/>
                  </a:lnTo>
                  <a:lnTo>
                    <a:pt x="546" y="150"/>
                  </a:lnTo>
                  <a:lnTo>
                    <a:pt x="544" y="150"/>
                  </a:lnTo>
                  <a:lnTo>
                    <a:pt x="542" y="148"/>
                  </a:lnTo>
                  <a:lnTo>
                    <a:pt x="540" y="146"/>
                  </a:lnTo>
                  <a:lnTo>
                    <a:pt x="538" y="144"/>
                  </a:lnTo>
                  <a:lnTo>
                    <a:pt x="538" y="142"/>
                  </a:lnTo>
                  <a:lnTo>
                    <a:pt x="536" y="140"/>
                  </a:lnTo>
                  <a:lnTo>
                    <a:pt x="534" y="138"/>
                  </a:lnTo>
                  <a:lnTo>
                    <a:pt x="534" y="136"/>
                  </a:lnTo>
                  <a:lnTo>
                    <a:pt x="534" y="134"/>
                  </a:lnTo>
                  <a:lnTo>
                    <a:pt x="532" y="132"/>
                  </a:lnTo>
                  <a:lnTo>
                    <a:pt x="532" y="132"/>
                  </a:lnTo>
                  <a:lnTo>
                    <a:pt x="532" y="132"/>
                  </a:lnTo>
                  <a:lnTo>
                    <a:pt x="530" y="132"/>
                  </a:lnTo>
                  <a:lnTo>
                    <a:pt x="530" y="132"/>
                  </a:lnTo>
                  <a:lnTo>
                    <a:pt x="528" y="132"/>
                  </a:lnTo>
                  <a:lnTo>
                    <a:pt x="526" y="132"/>
                  </a:lnTo>
                  <a:lnTo>
                    <a:pt x="524" y="132"/>
                  </a:lnTo>
                  <a:lnTo>
                    <a:pt x="522" y="132"/>
                  </a:lnTo>
                  <a:lnTo>
                    <a:pt x="520" y="132"/>
                  </a:lnTo>
                  <a:lnTo>
                    <a:pt x="520" y="132"/>
                  </a:lnTo>
                  <a:lnTo>
                    <a:pt x="518" y="132"/>
                  </a:lnTo>
                  <a:lnTo>
                    <a:pt x="518" y="132"/>
                  </a:lnTo>
                  <a:lnTo>
                    <a:pt x="518" y="132"/>
                  </a:lnTo>
                  <a:lnTo>
                    <a:pt x="518" y="132"/>
                  </a:lnTo>
                  <a:lnTo>
                    <a:pt x="516" y="130"/>
                  </a:lnTo>
                  <a:lnTo>
                    <a:pt x="516" y="130"/>
                  </a:lnTo>
                  <a:lnTo>
                    <a:pt x="516" y="128"/>
                  </a:lnTo>
                  <a:lnTo>
                    <a:pt x="516" y="126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4" y="120"/>
                  </a:lnTo>
                  <a:lnTo>
                    <a:pt x="514" y="120"/>
                  </a:lnTo>
                  <a:lnTo>
                    <a:pt x="514" y="120"/>
                  </a:lnTo>
                  <a:lnTo>
                    <a:pt x="512" y="118"/>
                  </a:lnTo>
                  <a:lnTo>
                    <a:pt x="512" y="118"/>
                  </a:lnTo>
                  <a:lnTo>
                    <a:pt x="510" y="118"/>
                  </a:lnTo>
                  <a:lnTo>
                    <a:pt x="508" y="116"/>
                  </a:lnTo>
                  <a:lnTo>
                    <a:pt x="506" y="116"/>
                  </a:lnTo>
                  <a:lnTo>
                    <a:pt x="504" y="116"/>
                  </a:lnTo>
                  <a:lnTo>
                    <a:pt x="502" y="116"/>
                  </a:lnTo>
                  <a:lnTo>
                    <a:pt x="498" y="116"/>
                  </a:lnTo>
                  <a:lnTo>
                    <a:pt x="494" y="116"/>
                  </a:lnTo>
                  <a:lnTo>
                    <a:pt x="492" y="116"/>
                  </a:lnTo>
                  <a:lnTo>
                    <a:pt x="490" y="116"/>
                  </a:lnTo>
                  <a:lnTo>
                    <a:pt x="488" y="116"/>
                  </a:lnTo>
                  <a:lnTo>
                    <a:pt x="484" y="114"/>
                  </a:lnTo>
                  <a:lnTo>
                    <a:pt x="482" y="114"/>
                  </a:lnTo>
                  <a:lnTo>
                    <a:pt x="480" y="114"/>
                  </a:lnTo>
                  <a:lnTo>
                    <a:pt x="478" y="114"/>
                  </a:lnTo>
                  <a:lnTo>
                    <a:pt x="476" y="112"/>
                  </a:lnTo>
                  <a:lnTo>
                    <a:pt x="476" y="112"/>
                  </a:lnTo>
                  <a:lnTo>
                    <a:pt x="474" y="112"/>
                  </a:lnTo>
                  <a:lnTo>
                    <a:pt x="472" y="110"/>
                  </a:lnTo>
                  <a:lnTo>
                    <a:pt x="472" y="108"/>
                  </a:lnTo>
                  <a:lnTo>
                    <a:pt x="470" y="106"/>
                  </a:lnTo>
                  <a:lnTo>
                    <a:pt x="470" y="106"/>
                  </a:lnTo>
                  <a:lnTo>
                    <a:pt x="470" y="106"/>
                  </a:lnTo>
                  <a:lnTo>
                    <a:pt x="470" y="106"/>
                  </a:lnTo>
                  <a:lnTo>
                    <a:pt x="468" y="106"/>
                  </a:lnTo>
                  <a:lnTo>
                    <a:pt x="468" y="106"/>
                  </a:lnTo>
                  <a:lnTo>
                    <a:pt x="466" y="106"/>
                  </a:lnTo>
                  <a:lnTo>
                    <a:pt x="466" y="108"/>
                  </a:lnTo>
                  <a:lnTo>
                    <a:pt x="464" y="108"/>
                  </a:lnTo>
                  <a:lnTo>
                    <a:pt x="462" y="110"/>
                  </a:lnTo>
                  <a:lnTo>
                    <a:pt x="460" y="110"/>
                  </a:lnTo>
                  <a:lnTo>
                    <a:pt x="460" y="112"/>
                  </a:lnTo>
                  <a:lnTo>
                    <a:pt x="458" y="112"/>
                  </a:lnTo>
                  <a:lnTo>
                    <a:pt x="456" y="112"/>
                  </a:lnTo>
                  <a:lnTo>
                    <a:pt x="454" y="112"/>
                  </a:lnTo>
                  <a:lnTo>
                    <a:pt x="452" y="112"/>
                  </a:lnTo>
                  <a:lnTo>
                    <a:pt x="452" y="112"/>
                  </a:lnTo>
                  <a:lnTo>
                    <a:pt x="450" y="112"/>
                  </a:lnTo>
                  <a:lnTo>
                    <a:pt x="448" y="110"/>
                  </a:lnTo>
                  <a:lnTo>
                    <a:pt x="446" y="110"/>
                  </a:lnTo>
                  <a:lnTo>
                    <a:pt x="444" y="110"/>
                  </a:lnTo>
                  <a:lnTo>
                    <a:pt x="442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36" y="102"/>
                  </a:lnTo>
                  <a:lnTo>
                    <a:pt x="434" y="98"/>
                  </a:lnTo>
                  <a:lnTo>
                    <a:pt x="432" y="96"/>
                  </a:lnTo>
                  <a:lnTo>
                    <a:pt x="432" y="94"/>
                  </a:lnTo>
                  <a:lnTo>
                    <a:pt x="430" y="92"/>
                  </a:lnTo>
                  <a:lnTo>
                    <a:pt x="430" y="92"/>
                  </a:lnTo>
                  <a:lnTo>
                    <a:pt x="428" y="90"/>
                  </a:lnTo>
                  <a:lnTo>
                    <a:pt x="424" y="88"/>
                  </a:lnTo>
                  <a:lnTo>
                    <a:pt x="420" y="88"/>
                  </a:lnTo>
                  <a:lnTo>
                    <a:pt x="418" y="86"/>
                  </a:lnTo>
                  <a:lnTo>
                    <a:pt x="414" y="86"/>
                  </a:lnTo>
                  <a:lnTo>
                    <a:pt x="412" y="84"/>
                  </a:lnTo>
                  <a:lnTo>
                    <a:pt x="408" y="84"/>
                  </a:lnTo>
                  <a:lnTo>
                    <a:pt x="404" y="84"/>
                  </a:lnTo>
                  <a:lnTo>
                    <a:pt x="402" y="84"/>
                  </a:lnTo>
                  <a:lnTo>
                    <a:pt x="396" y="84"/>
                  </a:lnTo>
                  <a:lnTo>
                    <a:pt x="392" y="84"/>
                  </a:lnTo>
                  <a:lnTo>
                    <a:pt x="388" y="86"/>
                  </a:lnTo>
                  <a:lnTo>
                    <a:pt x="386" y="86"/>
                  </a:lnTo>
                  <a:lnTo>
                    <a:pt x="382" y="86"/>
                  </a:lnTo>
                  <a:lnTo>
                    <a:pt x="382" y="88"/>
                  </a:lnTo>
                  <a:lnTo>
                    <a:pt x="380" y="88"/>
                  </a:lnTo>
                  <a:lnTo>
                    <a:pt x="378" y="88"/>
                  </a:lnTo>
                  <a:lnTo>
                    <a:pt x="378" y="88"/>
                  </a:lnTo>
                  <a:lnTo>
                    <a:pt x="378" y="90"/>
                  </a:lnTo>
                  <a:lnTo>
                    <a:pt x="376" y="90"/>
                  </a:lnTo>
                  <a:lnTo>
                    <a:pt x="376" y="92"/>
                  </a:lnTo>
                  <a:lnTo>
                    <a:pt x="376" y="94"/>
                  </a:lnTo>
                  <a:lnTo>
                    <a:pt x="376" y="96"/>
                  </a:lnTo>
                  <a:lnTo>
                    <a:pt x="374" y="96"/>
                  </a:lnTo>
                  <a:lnTo>
                    <a:pt x="374" y="98"/>
                  </a:lnTo>
                  <a:lnTo>
                    <a:pt x="372" y="100"/>
                  </a:lnTo>
                  <a:lnTo>
                    <a:pt x="370" y="100"/>
                  </a:lnTo>
                  <a:lnTo>
                    <a:pt x="368" y="102"/>
                  </a:lnTo>
                  <a:lnTo>
                    <a:pt x="366" y="104"/>
                  </a:lnTo>
                  <a:lnTo>
                    <a:pt x="364" y="104"/>
                  </a:lnTo>
                  <a:lnTo>
                    <a:pt x="364" y="104"/>
                  </a:lnTo>
                  <a:lnTo>
                    <a:pt x="362" y="104"/>
                  </a:lnTo>
                  <a:lnTo>
                    <a:pt x="362" y="104"/>
                  </a:lnTo>
                  <a:lnTo>
                    <a:pt x="362" y="104"/>
                  </a:lnTo>
                  <a:lnTo>
                    <a:pt x="360" y="104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62" y="100"/>
                  </a:lnTo>
                  <a:lnTo>
                    <a:pt x="362" y="98"/>
                  </a:lnTo>
                  <a:lnTo>
                    <a:pt x="364" y="96"/>
                  </a:lnTo>
                  <a:lnTo>
                    <a:pt x="366" y="94"/>
                  </a:lnTo>
                  <a:lnTo>
                    <a:pt x="366" y="92"/>
                  </a:lnTo>
                  <a:lnTo>
                    <a:pt x="368" y="92"/>
                  </a:lnTo>
                  <a:lnTo>
                    <a:pt x="368" y="90"/>
                  </a:lnTo>
                  <a:lnTo>
                    <a:pt x="370" y="86"/>
                  </a:lnTo>
                  <a:lnTo>
                    <a:pt x="372" y="86"/>
                  </a:lnTo>
                  <a:lnTo>
                    <a:pt x="374" y="84"/>
                  </a:lnTo>
                  <a:lnTo>
                    <a:pt x="374" y="82"/>
                  </a:lnTo>
                  <a:lnTo>
                    <a:pt x="374" y="82"/>
                  </a:lnTo>
                  <a:lnTo>
                    <a:pt x="374" y="82"/>
                  </a:lnTo>
                  <a:lnTo>
                    <a:pt x="374" y="80"/>
                  </a:lnTo>
                  <a:lnTo>
                    <a:pt x="374" y="80"/>
                  </a:lnTo>
                  <a:lnTo>
                    <a:pt x="372" y="78"/>
                  </a:lnTo>
                  <a:lnTo>
                    <a:pt x="372" y="78"/>
                  </a:lnTo>
                  <a:lnTo>
                    <a:pt x="370" y="78"/>
                  </a:lnTo>
                  <a:lnTo>
                    <a:pt x="368" y="76"/>
                  </a:lnTo>
                  <a:lnTo>
                    <a:pt x="368" y="76"/>
                  </a:lnTo>
                  <a:lnTo>
                    <a:pt x="366" y="76"/>
                  </a:lnTo>
                  <a:lnTo>
                    <a:pt x="364" y="74"/>
                  </a:lnTo>
                  <a:lnTo>
                    <a:pt x="362" y="74"/>
                  </a:lnTo>
                  <a:lnTo>
                    <a:pt x="360" y="74"/>
                  </a:lnTo>
                  <a:lnTo>
                    <a:pt x="356" y="74"/>
                  </a:lnTo>
                  <a:lnTo>
                    <a:pt x="356" y="74"/>
                  </a:lnTo>
                  <a:lnTo>
                    <a:pt x="354" y="76"/>
                  </a:lnTo>
                  <a:lnTo>
                    <a:pt x="354" y="76"/>
                  </a:lnTo>
                  <a:lnTo>
                    <a:pt x="352" y="76"/>
                  </a:lnTo>
                  <a:lnTo>
                    <a:pt x="350" y="78"/>
                  </a:lnTo>
                  <a:lnTo>
                    <a:pt x="348" y="80"/>
                  </a:lnTo>
                  <a:lnTo>
                    <a:pt x="346" y="82"/>
                  </a:lnTo>
                  <a:lnTo>
                    <a:pt x="344" y="84"/>
                  </a:lnTo>
                  <a:lnTo>
                    <a:pt x="340" y="88"/>
                  </a:lnTo>
                  <a:lnTo>
                    <a:pt x="336" y="92"/>
                  </a:lnTo>
                  <a:lnTo>
                    <a:pt x="336" y="94"/>
                  </a:lnTo>
                  <a:lnTo>
                    <a:pt x="334" y="96"/>
                  </a:lnTo>
                  <a:lnTo>
                    <a:pt x="332" y="98"/>
                  </a:lnTo>
                  <a:lnTo>
                    <a:pt x="330" y="100"/>
                  </a:lnTo>
                  <a:lnTo>
                    <a:pt x="330" y="100"/>
                  </a:lnTo>
                  <a:lnTo>
                    <a:pt x="328" y="102"/>
                  </a:lnTo>
                  <a:lnTo>
                    <a:pt x="326" y="104"/>
                  </a:lnTo>
                  <a:lnTo>
                    <a:pt x="326" y="104"/>
                  </a:lnTo>
                  <a:lnTo>
                    <a:pt x="324" y="106"/>
                  </a:lnTo>
                  <a:lnTo>
                    <a:pt x="322" y="106"/>
                  </a:lnTo>
                  <a:lnTo>
                    <a:pt x="322" y="106"/>
                  </a:lnTo>
                  <a:lnTo>
                    <a:pt x="322" y="106"/>
                  </a:lnTo>
                  <a:lnTo>
                    <a:pt x="320" y="106"/>
                  </a:lnTo>
                  <a:lnTo>
                    <a:pt x="320" y="106"/>
                  </a:lnTo>
                  <a:lnTo>
                    <a:pt x="320" y="104"/>
                  </a:lnTo>
                  <a:lnTo>
                    <a:pt x="320" y="104"/>
                  </a:lnTo>
                  <a:lnTo>
                    <a:pt x="320" y="104"/>
                  </a:lnTo>
                  <a:lnTo>
                    <a:pt x="320" y="104"/>
                  </a:lnTo>
                  <a:lnTo>
                    <a:pt x="320" y="102"/>
                  </a:lnTo>
                  <a:lnTo>
                    <a:pt x="320" y="100"/>
                  </a:lnTo>
                  <a:lnTo>
                    <a:pt x="320" y="98"/>
                  </a:lnTo>
                  <a:lnTo>
                    <a:pt x="322" y="98"/>
                  </a:lnTo>
                  <a:lnTo>
                    <a:pt x="322" y="96"/>
                  </a:lnTo>
                  <a:lnTo>
                    <a:pt x="324" y="94"/>
                  </a:lnTo>
                  <a:lnTo>
                    <a:pt x="326" y="90"/>
                  </a:lnTo>
                  <a:lnTo>
                    <a:pt x="330" y="88"/>
                  </a:lnTo>
                  <a:lnTo>
                    <a:pt x="332" y="84"/>
                  </a:lnTo>
                  <a:lnTo>
                    <a:pt x="334" y="82"/>
                  </a:lnTo>
                  <a:lnTo>
                    <a:pt x="336" y="80"/>
                  </a:lnTo>
                  <a:lnTo>
                    <a:pt x="338" y="76"/>
                  </a:lnTo>
                  <a:lnTo>
                    <a:pt x="340" y="74"/>
                  </a:lnTo>
                  <a:lnTo>
                    <a:pt x="342" y="72"/>
                  </a:lnTo>
                  <a:lnTo>
                    <a:pt x="344" y="68"/>
                  </a:lnTo>
                  <a:lnTo>
                    <a:pt x="346" y="64"/>
                  </a:lnTo>
                  <a:lnTo>
                    <a:pt x="346" y="60"/>
                  </a:lnTo>
                  <a:lnTo>
                    <a:pt x="348" y="58"/>
                  </a:lnTo>
                  <a:lnTo>
                    <a:pt x="350" y="56"/>
                  </a:lnTo>
                  <a:lnTo>
                    <a:pt x="350" y="54"/>
                  </a:lnTo>
                  <a:lnTo>
                    <a:pt x="352" y="52"/>
                  </a:lnTo>
                  <a:lnTo>
                    <a:pt x="352" y="50"/>
                  </a:lnTo>
                  <a:lnTo>
                    <a:pt x="352" y="50"/>
                  </a:lnTo>
                  <a:lnTo>
                    <a:pt x="352" y="48"/>
                  </a:lnTo>
                  <a:lnTo>
                    <a:pt x="352" y="48"/>
                  </a:lnTo>
                  <a:lnTo>
                    <a:pt x="352" y="46"/>
                  </a:lnTo>
                  <a:lnTo>
                    <a:pt x="352" y="44"/>
                  </a:lnTo>
                  <a:lnTo>
                    <a:pt x="350" y="40"/>
                  </a:lnTo>
                  <a:lnTo>
                    <a:pt x="348" y="36"/>
                  </a:lnTo>
                  <a:lnTo>
                    <a:pt x="346" y="32"/>
                  </a:lnTo>
                  <a:lnTo>
                    <a:pt x="344" y="30"/>
                  </a:lnTo>
                  <a:lnTo>
                    <a:pt x="342" y="26"/>
                  </a:lnTo>
                  <a:lnTo>
                    <a:pt x="340" y="24"/>
                  </a:lnTo>
                  <a:lnTo>
                    <a:pt x="340" y="22"/>
                  </a:lnTo>
                  <a:lnTo>
                    <a:pt x="338" y="22"/>
                  </a:lnTo>
                  <a:lnTo>
                    <a:pt x="336" y="20"/>
                  </a:lnTo>
                  <a:lnTo>
                    <a:pt x="332" y="16"/>
                  </a:lnTo>
                  <a:lnTo>
                    <a:pt x="332" y="16"/>
                  </a:lnTo>
                  <a:lnTo>
                    <a:pt x="328" y="16"/>
                  </a:lnTo>
                  <a:lnTo>
                    <a:pt x="326" y="14"/>
                  </a:lnTo>
                  <a:lnTo>
                    <a:pt x="324" y="14"/>
                  </a:lnTo>
                  <a:lnTo>
                    <a:pt x="322" y="14"/>
                  </a:lnTo>
                  <a:lnTo>
                    <a:pt x="322" y="16"/>
                  </a:lnTo>
                  <a:lnTo>
                    <a:pt x="320" y="16"/>
                  </a:lnTo>
                  <a:lnTo>
                    <a:pt x="320" y="16"/>
                  </a:lnTo>
                  <a:lnTo>
                    <a:pt x="318" y="18"/>
                  </a:lnTo>
                  <a:lnTo>
                    <a:pt x="316" y="18"/>
                  </a:lnTo>
                  <a:lnTo>
                    <a:pt x="314" y="22"/>
                  </a:lnTo>
                  <a:lnTo>
                    <a:pt x="314" y="24"/>
                  </a:lnTo>
                  <a:lnTo>
                    <a:pt x="312" y="26"/>
                  </a:lnTo>
                  <a:lnTo>
                    <a:pt x="310" y="28"/>
                  </a:lnTo>
                  <a:lnTo>
                    <a:pt x="308" y="32"/>
                  </a:lnTo>
                  <a:lnTo>
                    <a:pt x="308" y="34"/>
                  </a:lnTo>
                  <a:lnTo>
                    <a:pt x="306" y="36"/>
                  </a:lnTo>
                  <a:lnTo>
                    <a:pt x="306" y="38"/>
                  </a:lnTo>
                  <a:lnTo>
                    <a:pt x="306" y="38"/>
                  </a:lnTo>
                  <a:lnTo>
                    <a:pt x="304" y="40"/>
                  </a:lnTo>
                  <a:lnTo>
                    <a:pt x="304" y="40"/>
                  </a:lnTo>
                  <a:lnTo>
                    <a:pt x="304" y="40"/>
                  </a:lnTo>
                  <a:lnTo>
                    <a:pt x="302" y="40"/>
                  </a:lnTo>
                  <a:lnTo>
                    <a:pt x="302" y="42"/>
                  </a:lnTo>
                  <a:lnTo>
                    <a:pt x="300" y="42"/>
                  </a:lnTo>
                  <a:lnTo>
                    <a:pt x="296" y="42"/>
                  </a:lnTo>
                  <a:lnTo>
                    <a:pt x="294" y="40"/>
                  </a:lnTo>
                  <a:lnTo>
                    <a:pt x="292" y="40"/>
                  </a:lnTo>
                  <a:lnTo>
                    <a:pt x="292" y="40"/>
                  </a:lnTo>
                  <a:lnTo>
                    <a:pt x="290" y="40"/>
                  </a:lnTo>
                  <a:lnTo>
                    <a:pt x="288" y="38"/>
                  </a:lnTo>
                  <a:lnTo>
                    <a:pt x="288" y="38"/>
                  </a:lnTo>
                  <a:lnTo>
                    <a:pt x="286" y="36"/>
                  </a:lnTo>
                  <a:lnTo>
                    <a:pt x="284" y="34"/>
                  </a:lnTo>
                  <a:lnTo>
                    <a:pt x="284" y="32"/>
                  </a:lnTo>
                  <a:lnTo>
                    <a:pt x="280" y="32"/>
                  </a:lnTo>
                  <a:lnTo>
                    <a:pt x="278" y="32"/>
                  </a:lnTo>
                  <a:lnTo>
                    <a:pt x="274" y="32"/>
                  </a:lnTo>
                  <a:lnTo>
                    <a:pt x="270" y="32"/>
                  </a:lnTo>
                  <a:lnTo>
                    <a:pt x="268" y="32"/>
                  </a:lnTo>
                  <a:lnTo>
                    <a:pt x="266" y="32"/>
                  </a:lnTo>
                  <a:lnTo>
                    <a:pt x="266" y="32"/>
                  </a:lnTo>
                  <a:lnTo>
                    <a:pt x="264" y="32"/>
                  </a:lnTo>
                  <a:lnTo>
                    <a:pt x="262" y="32"/>
                  </a:lnTo>
                  <a:lnTo>
                    <a:pt x="262" y="34"/>
                  </a:lnTo>
                  <a:lnTo>
                    <a:pt x="262" y="34"/>
                  </a:lnTo>
                  <a:lnTo>
                    <a:pt x="262" y="34"/>
                  </a:lnTo>
                  <a:lnTo>
                    <a:pt x="262" y="36"/>
                  </a:lnTo>
                  <a:lnTo>
                    <a:pt x="262" y="36"/>
                  </a:lnTo>
                  <a:lnTo>
                    <a:pt x="262" y="38"/>
                  </a:lnTo>
                  <a:lnTo>
                    <a:pt x="262" y="40"/>
                  </a:lnTo>
                  <a:lnTo>
                    <a:pt x="262" y="42"/>
                  </a:lnTo>
                  <a:lnTo>
                    <a:pt x="262" y="44"/>
                  </a:lnTo>
                  <a:lnTo>
                    <a:pt x="262" y="44"/>
                  </a:lnTo>
                  <a:lnTo>
                    <a:pt x="262" y="46"/>
                  </a:lnTo>
                  <a:lnTo>
                    <a:pt x="262" y="46"/>
                  </a:lnTo>
                  <a:lnTo>
                    <a:pt x="262" y="46"/>
                  </a:lnTo>
                  <a:lnTo>
                    <a:pt x="260" y="48"/>
                  </a:lnTo>
                  <a:lnTo>
                    <a:pt x="260" y="48"/>
                  </a:lnTo>
                  <a:lnTo>
                    <a:pt x="258" y="48"/>
                  </a:lnTo>
                  <a:lnTo>
                    <a:pt x="258" y="48"/>
                  </a:lnTo>
                  <a:lnTo>
                    <a:pt x="254" y="48"/>
                  </a:lnTo>
                  <a:lnTo>
                    <a:pt x="252" y="48"/>
                  </a:lnTo>
                  <a:lnTo>
                    <a:pt x="248" y="48"/>
                  </a:lnTo>
                  <a:lnTo>
                    <a:pt x="246" y="48"/>
                  </a:lnTo>
                  <a:lnTo>
                    <a:pt x="244" y="48"/>
                  </a:lnTo>
                  <a:lnTo>
                    <a:pt x="242" y="48"/>
                  </a:lnTo>
                  <a:lnTo>
                    <a:pt x="238" y="48"/>
                  </a:lnTo>
                  <a:lnTo>
                    <a:pt x="236" y="48"/>
                  </a:lnTo>
                  <a:lnTo>
                    <a:pt x="234" y="48"/>
                  </a:lnTo>
                  <a:lnTo>
                    <a:pt x="232" y="48"/>
                  </a:lnTo>
                  <a:lnTo>
                    <a:pt x="232" y="48"/>
                  </a:lnTo>
                  <a:lnTo>
                    <a:pt x="232" y="48"/>
                  </a:lnTo>
                  <a:lnTo>
                    <a:pt x="232" y="48"/>
                  </a:lnTo>
                  <a:lnTo>
                    <a:pt x="230" y="50"/>
                  </a:lnTo>
                  <a:lnTo>
                    <a:pt x="230" y="52"/>
                  </a:lnTo>
                  <a:lnTo>
                    <a:pt x="230" y="54"/>
                  </a:lnTo>
                  <a:lnTo>
                    <a:pt x="228" y="54"/>
                  </a:lnTo>
                  <a:lnTo>
                    <a:pt x="228" y="54"/>
                  </a:lnTo>
                  <a:lnTo>
                    <a:pt x="226" y="54"/>
                  </a:lnTo>
                  <a:lnTo>
                    <a:pt x="226" y="54"/>
                  </a:lnTo>
                  <a:lnTo>
                    <a:pt x="224" y="56"/>
                  </a:lnTo>
                  <a:lnTo>
                    <a:pt x="224" y="56"/>
                  </a:lnTo>
                  <a:lnTo>
                    <a:pt x="222" y="56"/>
                  </a:lnTo>
                  <a:lnTo>
                    <a:pt x="220" y="56"/>
                  </a:lnTo>
                  <a:lnTo>
                    <a:pt x="218" y="56"/>
                  </a:lnTo>
                  <a:lnTo>
                    <a:pt x="218" y="54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4" y="52"/>
                  </a:lnTo>
                  <a:lnTo>
                    <a:pt x="214" y="52"/>
                  </a:lnTo>
                  <a:lnTo>
                    <a:pt x="212" y="48"/>
                  </a:lnTo>
                  <a:lnTo>
                    <a:pt x="210" y="46"/>
                  </a:lnTo>
                  <a:lnTo>
                    <a:pt x="208" y="44"/>
                  </a:lnTo>
                  <a:lnTo>
                    <a:pt x="206" y="40"/>
                  </a:lnTo>
                  <a:lnTo>
                    <a:pt x="206" y="38"/>
                  </a:lnTo>
                  <a:lnTo>
                    <a:pt x="204" y="36"/>
                  </a:lnTo>
                  <a:lnTo>
                    <a:pt x="204" y="34"/>
                  </a:lnTo>
                  <a:lnTo>
                    <a:pt x="204" y="32"/>
                  </a:lnTo>
                  <a:lnTo>
                    <a:pt x="204" y="32"/>
                  </a:lnTo>
                  <a:lnTo>
                    <a:pt x="204" y="30"/>
                  </a:lnTo>
                  <a:lnTo>
                    <a:pt x="206" y="28"/>
                  </a:lnTo>
                  <a:lnTo>
                    <a:pt x="206" y="26"/>
                  </a:lnTo>
                  <a:lnTo>
                    <a:pt x="208" y="24"/>
                  </a:lnTo>
                  <a:lnTo>
                    <a:pt x="208" y="22"/>
                  </a:lnTo>
                  <a:lnTo>
                    <a:pt x="208" y="20"/>
                  </a:lnTo>
                  <a:lnTo>
                    <a:pt x="208" y="16"/>
                  </a:lnTo>
                  <a:lnTo>
                    <a:pt x="208" y="14"/>
                  </a:lnTo>
                  <a:lnTo>
                    <a:pt x="208" y="12"/>
                  </a:lnTo>
                  <a:lnTo>
                    <a:pt x="208" y="10"/>
                  </a:lnTo>
                  <a:lnTo>
                    <a:pt x="206" y="8"/>
                  </a:lnTo>
                  <a:lnTo>
                    <a:pt x="206" y="6"/>
                  </a:lnTo>
                  <a:lnTo>
                    <a:pt x="206" y="6"/>
                  </a:lnTo>
                  <a:lnTo>
                    <a:pt x="206" y="4"/>
                  </a:lnTo>
                  <a:lnTo>
                    <a:pt x="204" y="4"/>
                  </a:lnTo>
                  <a:lnTo>
                    <a:pt x="204" y="4"/>
                  </a:lnTo>
                  <a:lnTo>
                    <a:pt x="202" y="2"/>
                  </a:lnTo>
                  <a:lnTo>
                    <a:pt x="200" y="2"/>
                  </a:lnTo>
                  <a:lnTo>
                    <a:pt x="198" y="2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192" y="2"/>
                  </a:lnTo>
                  <a:lnTo>
                    <a:pt x="192" y="4"/>
                  </a:lnTo>
                  <a:lnTo>
                    <a:pt x="192" y="6"/>
                  </a:lnTo>
                  <a:lnTo>
                    <a:pt x="190" y="8"/>
                  </a:lnTo>
                  <a:lnTo>
                    <a:pt x="190" y="10"/>
                  </a:lnTo>
                  <a:lnTo>
                    <a:pt x="190" y="10"/>
                  </a:lnTo>
                  <a:lnTo>
                    <a:pt x="188" y="10"/>
                  </a:lnTo>
                  <a:lnTo>
                    <a:pt x="188" y="10"/>
                  </a:lnTo>
                  <a:lnTo>
                    <a:pt x="186" y="12"/>
                  </a:lnTo>
                  <a:lnTo>
                    <a:pt x="186" y="12"/>
                  </a:lnTo>
                  <a:lnTo>
                    <a:pt x="184" y="12"/>
                  </a:lnTo>
                  <a:lnTo>
                    <a:pt x="180" y="12"/>
                  </a:lnTo>
                  <a:lnTo>
                    <a:pt x="176" y="12"/>
                  </a:lnTo>
                  <a:lnTo>
                    <a:pt x="174" y="10"/>
                  </a:lnTo>
                  <a:lnTo>
                    <a:pt x="170" y="10"/>
                  </a:lnTo>
                  <a:lnTo>
                    <a:pt x="168" y="10"/>
                  </a:lnTo>
                  <a:lnTo>
                    <a:pt x="166" y="10"/>
                  </a:lnTo>
                  <a:lnTo>
                    <a:pt x="164" y="12"/>
                  </a:lnTo>
                  <a:lnTo>
                    <a:pt x="164" y="12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60" y="14"/>
                  </a:lnTo>
                  <a:lnTo>
                    <a:pt x="158" y="16"/>
                  </a:lnTo>
                  <a:lnTo>
                    <a:pt x="158" y="16"/>
                  </a:lnTo>
                  <a:lnTo>
                    <a:pt x="156" y="16"/>
                  </a:lnTo>
                  <a:lnTo>
                    <a:pt x="156" y="18"/>
                  </a:lnTo>
                  <a:lnTo>
                    <a:pt x="156" y="18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0" y="14"/>
                  </a:lnTo>
                  <a:lnTo>
                    <a:pt x="150" y="12"/>
                  </a:lnTo>
                  <a:lnTo>
                    <a:pt x="148" y="10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2" y="6"/>
                  </a:lnTo>
                  <a:lnTo>
                    <a:pt x="142" y="6"/>
                  </a:lnTo>
                  <a:lnTo>
                    <a:pt x="142" y="6"/>
                  </a:lnTo>
                  <a:lnTo>
                    <a:pt x="140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36" y="8"/>
                  </a:lnTo>
                  <a:lnTo>
                    <a:pt x="136" y="10"/>
                  </a:lnTo>
                  <a:lnTo>
                    <a:pt x="136" y="10"/>
                  </a:lnTo>
                  <a:lnTo>
                    <a:pt x="134" y="12"/>
                  </a:lnTo>
                  <a:lnTo>
                    <a:pt x="134" y="14"/>
                  </a:lnTo>
                  <a:lnTo>
                    <a:pt x="134" y="18"/>
                  </a:lnTo>
                  <a:lnTo>
                    <a:pt x="134" y="22"/>
                  </a:lnTo>
                  <a:lnTo>
                    <a:pt x="134" y="24"/>
                  </a:lnTo>
                  <a:lnTo>
                    <a:pt x="134" y="26"/>
                  </a:lnTo>
                  <a:lnTo>
                    <a:pt x="134" y="28"/>
                  </a:lnTo>
                  <a:lnTo>
                    <a:pt x="134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38" y="32"/>
                  </a:lnTo>
                  <a:lnTo>
                    <a:pt x="140" y="34"/>
                  </a:lnTo>
                  <a:lnTo>
                    <a:pt x="142" y="34"/>
                  </a:lnTo>
                  <a:lnTo>
                    <a:pt x="144" y="34"/>
                  </a:lnTo>
                  <a:lnTo>
                    <a:pt x="144" y="36"/>
                  </a:lnTo>
                  <a:lnTo>
                    <a:pt x="146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6" y="42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46" y="46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4" y="50"/>
                  </a:lnTo>
                  <a:lnTo>
                    <a:pt x="142" y="52"/>
                  </a:lnTo>
                  <a:lnTo>
                    <a:pt x="140" y="54"/>
                  </a:lnTo>
                  <a:lnTo>
                    <a:pt x="138" y="54"/>
                  </a:lnTo>
                  <a:lnTo>
                    <a:pt x="136" y="56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2" y="58"/>
                  </a:lnTo>
                  <a:lnTo>
                    <a:pt x="130" y="58"/>
                  </a:lnTo>
                  <a:lnTo>
                    <a:pt x="128" y="58"/>
                  </a:lnTo>
                  <a:lnTo>
                    <a:pt x="126" y="60"/>
                  </a:lnTo>
                  <a:lnTo>
                    <a:pt x="124" y="60"/>
                  </a:lnTo>
                  <a:lnTo>
                    <a:pt x="122" y="60"/>
                  </a:lnTo>
                  <a:lnTo>
                    <a:pt x="120" y="60"/>
                  </a:lnTo>
                  <a:lnTo>
                    <a:pt x="118" y="60"/>
                  </a:lnTo>
                  <a:lnTo>
                    <a:pt x="118" y="60"/>
                  </a:lnTo>
                  <a:lnTo>
                    <a:pt x="116" y="58"/>
                  </a:lnTo>
                  <a:lnTo>
                    <a:pt x="112" y="58"/>
                  </a:lnTo>
                  <a:lnTo>
                    <a:pt x="110" y="56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6" y="52"/>
                  </a:lnTo>
                  <a:lnTo>
                    <a:pt x="106" y="52"/>
                  </a:lnTo>
                  <a:lnTo>
                    <a:pt x="104" y="48"/>
                  </a:lnTo>
                  <a:lnTo>
                    <a:pt x="102" y="46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4" y="42"/>
                  </a:lnTo>
                  <a:lnTo>
                    <a:pt x="90" y="4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11" name="Freeform 469">
              <a:extLst>
                <a:ext uri="{FF2B5EF4-FFF2-40B4-BE49-F238E27FC236}">
                  <a16:creationId xmlns:a16="http://schemas.microsoft.com/office/drawing/2014/main" id="{A96CB375-5996-4DCE-8787-BF8D3CDC0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1887" y="5177659"/>
              <a:ext cx="225512" cy="247381"/>
            </a:xfrm>
            <a:custGeom>
              <a:avLst/>
              <a:gdLst>
                <a:gd name="T0" fmla="*/ 22 w 132"/>
                <a:gd name="T1" fmla="*/ 70 h 148"/>
                <a:gd name="T2" fmla="*/ 26 w 132"/>
                <a:gd name="T3" fmla="*/ 76 h 148"/>
                <a:gd name="T4" fmla="*/ 32 w 132"/>
                <a:gd name="T5" fmla="*/ 78 h 148"/>
                <a:gd name="T6" fmla="*/ 40 w 132"/>
                <a:gd name="T7" fmla="*/ 84 h 148"/>
                <a:gd name="T8" fmla="*/ 44 w 132"/>
                <a:gd name="T9" fmla="*/ 90 h 148"/>
                <a:gd name="T10" fmla="*/ 46 w 132"/>
                <a:gd name="T11" fmla="*/ 96 h 148"/>
                <a:gd name="T12" fmla="*/ 50 w 132"/>
                <a:gd name="T13" fmla="*/ 98 h 148"/>
                <a:gd name="T14" fmla="*/ 60 w 132"/>
                <a:gd name="T15" fmla="*/ 98 h 148"/>
                <a:gd name="T16" fmla="*/ 68 w 132"/>
                <a:gd name="T17" fmla="*/ 100 h 148"/>
                <a:gd name="T18" fmla="*/ 76 w 132"/>
                <a:gd name="T19" fmla="*/ 104 h 148"/>
                <a:gd name="T20" fmla="*/ 78 w 132"/>
                <a:gd name="T21" fmla="*/ 108 h 148"/>
                <a:gd name="T22" fmla="*/ 76 w 132"/>
                <a:gd name="T23" fmla="*/ 114 h 148"/>
                <a:gd name="T24" fmla="*/ 72 w 132"/>
                <a:gd name="T25" fmla="*/ 128 h 148"/>
                <a:gd name="T26" fmla="*/ 68 w 132"/>
                <a:gd name="T27" fmla="*/ 138 h 148"/>
                <a:gd name="T28" fmla="*/ 68 w 132"/>
                <a:gd name="T29" fmla="*/ 142 h 148"/>
                <a:gd name="T30" fmla="*/ 70 w 132"/>
                <a:gd name="T31" fmla="*/ 144 h 148"/>
                <a:gd name="T32" fmla="*/ 80 w 132"/>
                <a:gd name="T33" fmla="*/ 148 h 148"/>
                <a:gd name="T34" fmla="*/ 94 w 132"/>
                <a:gd name="T35" fmla="*/ 148 h 148"/>
                <a:gd name="T36" fmla="*/ 108 w 132"/>
                <a:gd name="T37" fmla="*/ 146 h 148"/>
                <a:gd name="T38" fmla="*/ 114 w 132"/>
                <a:gd name="T39" fmla="*/ 142 h 148"/>
                <a:gd name="T40" fmla="*/ 114 w 132"/>
                <a:gd name="T41" fmla="*/ 140 h 148"/>
                <a:gd name="T42" fmla="*/ 116 w 132"/>
                <a:gd name="T43" fmla="*/ 134 h 148"/>
                <a:gd name="T44" fmla="*/ 124 w 132"/>
                <a:gd name="T45" fmla="*/ 130 h 148"/>
                <a:gd name="T46" fmla="*/ 128 w 132"/>
                <a:gd name="T47" fmla="*/ 122 h 148"/>
                <a:gd name="T48" fmla="*/ 130 w 132"/>
                <a:gd name="T49" fmla="*/ 114 h 148"/>
                <a:gd name="T50" fmla="*/ 128 w 132"/>
                <a:gd name="T51" fmla="*/ 106 h 148"/>
                <a:gd name="T52" fmla="*/ 130 w 132"/>
                <a:gd name="T53" fmla="*/ 86 h 148"/>
                <a:gd name="T54" fmla="*/ 128 w 132"/>
                <a:gd name="T55" fmla="*/ 78 h 148"/>
                <a:gd name="T56" fmla="*/ 124 w 132"/>
                <a:gd name="T57" fmla="*/ 76 h 148"/>
                <a:gd name="T58" fmla="*/ 120 w 132"/>
                <a:gd name="T59" fmla="*/ 76 h 148"/>
                <a:gd name="T60" fmla="*/ 114 w 132"/>
                <a:gd name="T61" fmla="*/ 76 h 148"/>
                <a:gd name="T62" fmla="*/ 112 w 132"/>
                <a:gd name="T63" fmla="*/ 74 h 148"/>
                <a:gd name="T64" fmla="*/ 112 w 132"/>
                <a:gd name="T65" fmla="*/ 66 h 148"/>
                <a:gd name="T66" fmla="*/ 114 w 132"/>
                <a:gd name="T67" fmla="*/ 60 h 148"/>
                <a:gd name="T68" fmla="*/ 110 w 132"/>
                <a:gd name="T69" fmla="*/ 58 h 148"/>
                <a:gd name="T70" fmla="*/ 106 w 132"/>
                <a:gd name="T71" fmla="*/ 58 h 148"/>
                <a:gd name="T72" fmla="*/ 96 w 132"/>
                <a:gd name="T73" fmla="*/ 58 h 148"/>
                <a:gd name="T74" fmla="*/ 90 w 132"/>
                <a:gd name="T75" fmla="*/ 54 h 148"/>
                <a:gd name="T76" fmla="*/ 88 w 132"/>
                <a:gd name="T77" fmla="*/ 48 h 148"/>
                <a:gd name="T78" fmla="*/ 86 w 132"/>
                <a:gd name="T79" fmla="*/ 46 h 148"/>
                <a:gd name="T80" fmla="*/ 78 w 132"/>
                <a:gd name="T81" fmla="*/ 46 h 148"/>
                <a:gd name="T82" fmla="*/ 74 w 132"/>
                <a:gd name="T83" fmla="*/ 44 h 148"/>
                <a:gd name="T84" fmla="*/ 72 w 132"/>
                <a:gd name="T85" fmla="*/ 40 h 148"/>
                <a:gd name="T86" fmla="*/ 72 w 132"/>
                <a:gd name="T87" fmla="*/ 32 h 148"/>
                <a:gd name="T88" fmla="*/ 72 w 132"/>
                <a:gd name="T89" fmla="*/ 32 h 148"/>
                <a:gd name="T90" fmla="*/ 66 w 132"/>
                <a:gd name="T91" fmla="*/ 30 h 148"/>
                <a:gd name="T92" fmla="*/ 62 w 132"/>
                <a:gd name="T93" fmla="*/ 28 h 148"/>
                <a:gd name="T94" fmla="*/ 62 w 132"/>
                <a:gd name="T95" fmla="*/ 24 h 148"/>
                <a:gd name="T96" fmla="*/ 60 w 132"/>
                <a:gd name="T97" fmla="*/ 16 h 148"/>
                <a:gd name="T98" fmla="*/ 56 w 132"/>
                <a:gd name="T99" fmla="*/ 8 h 148"/>
                <a:gd name="T100" fmla="*/ 48 w 132"/>
                <a:gd name="T101" fmla="*/ 4 h 148"/>
                <a:gd name="T102" fmla="*/ 38 w 132"/>
                <a:gd name="T103" fmla="*/ 0 h 148"/>
                <a:gd name="T104" fmla="*/ 36 w 132"/>
                <a:gd name="T105" fmla="*/ 0 h 148"/>
                <a:gd name="T106" fmla="*/ 28 w 132"/>
                <a:gd name="T107" fmla="*/ 6 h 148"/>
                <a:gd name="T108" fmla="*/ 22 w 132"/>
                <a:gd name="T109" fmla="*/ 10 h 148"/>
                <a:gd name="T110" fmla="*/ 10 w 132"/>
                <a:gd name="T111" fmla="*/ 14 h 148"/>
                <a:gd name="T112" fmla="*/ 8 w 132"/>
                <a:gd name="T113" fmla="*/ 18 h 148"/>
                <a:gd name="T114" fmla="*/ 4 w 132"/>
                <a:gd name="T115" fmla="*/ 28 h 148"/>
                <a:gd name="T116" fmla="*/ 0 w 132"/>
                <a:gd name="T117" fmla="*/ 54 h 148"/>
                <a:gd name="T118" fmla="*/ 8 w 132"/>
                <a:gd name="T119" fmla="*/ 64 h 148"/>
                <a:gd name="T120" fmla="*/ 18 w 132"/>
                <a:gd name="T121" fmla="*/ 6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2" h="148">
                  <a:moveTo>
                    <a:pt x="22" y="70"/>
                  </a:move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4" y="72"/>
                  </a:lnTo>
                  <a:lnTo>
                    <a:pt x="24" y="74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0" y="78"/>
                  </a:lnTo>
                  <a:lnTo>
                    <a:pt x="32" y="78"/>
                  </a:lnTo>
                  <a:lnTo>
                    <a:pt x="34" y="80"/>
                  </a:lnTo>
                  <a:lnTo>
                    <a:pt x="36" y="80"/>
                  </a:lnTo>
                  <a:lnTo>
                    <a:pt x="38" y="80"/>
                  </a:lnTo>
                  <a:lnTo>
                    <a:pt x="40" y="84"/>
                  </a:lnTo>
                  <a:lnTo>
                    <a:pt x="42" y="86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48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2" y="98"/>
                  </a:lnTo>
                  <a:lnTo>
                    <a:pt x="54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64" y="98"/>
                  </a:lnTo>
                  <a:lnTo>
                    <a:pt x="66" y="98"/>
                  </a:lnTo>
                  <a:lnTo>
                    <a:pt x="68" y="98"/>
                  </a:lnTo>
                  <a:lnTo>
                    <a:pt x="68" y="100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2" y="102"/>
                  </a:lnTo>
                  <a:lnTo>
                    <a:pt x="76" y="104"/>
                  </a:lnTo>
                  <a:lnTo>
                    <a:pt x="76" y="106"/>
                  </a:lnTo>
                  <a:lnTo>
                    <a:pt x="76" y="106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78" y="112"/>
                  </a:lnTo>
                  <a:lnTo>
                    <a:pt x="76" y="114"/>
                  </a:lnTo>
                  <a:lnTo>
                    <a:pt x="76" y="118"/>
                  </a:lnTo>
                  <a:lnTo>
                    <a:pt x="74" y="124"/>
                  </a:lnTo>
                  <a:lnTo>
                    <a:pt x="72" y="126"/>
                  </a:lnTo>
                  <a:lnTo>
                    <a:pt x="72" y="128"/>
                  </a:lnTo>
                  <a:lnTo>
                    <a:pt x="72" y="130"/>
                  </a:lnTo>
                  <a:lnTo>
                    <a:pt x="70" y="132"/>
                  </a:lnTo>
                  <a:lnTo>
                    <a:pt x="68" y="136"/>
                  </a:lnTo>
                  <a:lnTo>
                    <a:pt x="68" y="138"/>
                  </a:lnTo>
                  <a:lnTo>
                    <a:pt x="68" y="140"/>
                  </a:lnTo>
                  <a:lnTo>
                    <a:pt x="68" y="140"/>
                  </a:lnTo>
                  <a:lnTo>
                    <a:pt x="68" y="140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70" y="142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72" y="144"/>
                  </a:lnTo>
                  <a:lnTo>
                    <a:pt x="74" y="146"/>
                  </a:lnTo>
                  <a:lnTo>
                    <a:pt x="76" y="146"/>
                  </a:lnTo>
                  <a:lnTo>
                    <a:pt x="80" y="148"/>
                  </a:lnTo>
                  <a:lnTo>
                    <a:pt x="84" y="148"/>
                  </a:lnTo>
                  <a:lnTo>
                    <a:pt x="86" y="148"/>
                  </a:lnTo>
                  <a:lnTo>
                    <a:pt x="90" y="148"/>
                  </a:lnTo>
                  <a:lnTo>
                    <a:pt x="94" y="148"/>
                  </a:lnTo>
                  <a:lnTo>
                    <a:pt x="98" y="148"/>
                  </a:lnTo>
                  <a:lnTo>
                    <a:pt x="100" y="148"/>
                  </a:lnTo>
                  <a:lnTo>
                    <a:pt x="104" y="148"/>
                  </a:lnTo>
                  <a:lnTo>
                    <a:pt x="108" y="146"/>
                  </a:lnTo>
                  <a:lnTo>
                    <a:pt x="110" y="146"/>
                  </a:lnTo>
                  <a:lnTo>
                    <a:pt x="112" y="144"/>
                  </a:lnTo>
                  <a:lnTo>
                    <a:pt x="114" y="144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14" y="140"/>
                  </a:lnTo>
                  <a:lnTo>
                    <a:pt x="114" y="140"/>
                  </a:lnTo>
                  <a:lnTo>
                    <a:pt x="114" y="136"/>
                  </a:lnTo>
                  <a:lnTo>
                    <a:pt x="114" y="136"/>
                  </a:lnTo>
                  <a:lnTo>
                    <a:pt x="116" y="136"/>
                  </a:lnTo>
                  <a:lnTo>
                    <a:pt x="116" y="134"/>
                  </a:lnTo>
                  <a:lnTo>
                    <a:pt x="118" y="134"/>
                  </a:lnTo>
                  <a:lnTo>
                    <a:pt x="120" y="132"/>
                  </a:lnTo>
                  <a:lnTo>
                    <a:pt x="122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6" y="128"/>
                  </a:lnTo>
                  <a:lnTo>
                    <a:pt x="126" y="126"/>
                  </a:lnTo>
                  <a:lnTo>
                    <a:pt x="128" y="122"/>
                  </a:lnTo>
                  <a:lnTo>
                    <a:pt x="132" y="118"/>
                  </a:lnTo>
                  <a:lnTo>
                    <a:pt x="130" y="116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28" y="112"/>
                  </a:lnTo>
                  <a:lnTo>
                    <a:pt x="128" y="110"/>
                  </a:lnTo>
                  <a:lnTo>
                    <a:pt x="128" y="108"/>
                  </a:lnTo>
                  <a:lnTo>
                    <a:pt x="128" y="106"/>
                  </a:lnTo>
                  <a:lnTo>
                    <a:pt x="128" y="100"/>
                  </a:lnTo>
                  <a:lnTo>
                    <a:pt x="128" y="94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28" y="84"/>
                  </a:lnTo>
                  <a:lnTo>
                    <a:pt x="128" y="82"/>
                  </a:lnTo>
                  <a:lnTo>
                    <a:pt x="128" y="80"/>
                  </a:lnTo>
                  <a:lnTo>
                    <a:pt x="128" y="78"/>
                  </a:lnTo>
                  <a:lnTo>
                    <a:pt x="126" y="76"/>
                  </a:lnTo>
                  <a:lnTo>
                    <a:pt x="126" y="76"/>
                  </a:lnTo>
                  <a:lnTo>
                    <a:pt x="126" y="76"/>
                  </a:lnTo>
                  <a:lnTo>
                    <a:pt x="124" y="76"/>
                  </a:lnTo>
                  <a:lnTo>
                    <a:pt x="124" y="76"/>
                  </a:lnTo>
                  <a:lnTo>
                    <a:pt x="124" y="76"/>
                  </a:lnTo>
                  <a:lnTo>
                    <a:pt x="122" y="76"/>
                  </a:lnTo>
                  <a:lnTo>
                    <a:pt x="120" y="76"/>
                  </a:lnTo>
                  <a:lnTo>
                    <a:pt x="118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4" y="74"/>
                  </a:lnTo>
                  <a:lnTo>
                    <a:pt x="112" y="74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0"/>
                  </a:lnTo>
                  <a:lnTo>
                    <a:pt x="112" y="66"/>
                  </a:lnTo>
                  <a:lnTo>
                    <a:pt x="114" y="64"/>
                  </a:lnTo>
                  <a:lnTo>
                    <a:pt x="114" y="62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12" y="58"/>
                  </a:lnTo>
                  <a:lnTo>
                    <a:pt x="112" y="58"/>
                  </a:lnTo>
                  <a:lnTo>
                    <a:pt x="112" y="58"/>
                  </a:lnTo>
                  <a:lnTo>
                    <a:pt x="110" y="58"/>
                  </a:lnTo>
                  <a:lnTo>
                    <a:pt x="110" y="58"/>
                  </a:lnTo>
                  <a:lnTo>
                    <a:pt x="110" y="58"/>
                  </a:lnTo>
                  <a:lnTo>
                    <a:pt x="108" y="58"/>
                  </a:lnTo>
                  <a:lnTo>
                    <a:pt x="106" y="58"/>
                  </a:lnTo>
                  <a:lnTo>
                    <a:pt x="102" y="58"/>
                  </a:lnTo>
                  <a:lnTo>
                    <a:pt x="100" y="58"/>
                  </a:lnTo>
                  <a:lnTo>
                    <a:pt x="98" y="58"/>
                  </a:lnTo>
                  <a:lnTo>
                    <a:pt x="96" y="58"/>
                  </a:lnTo>
                  <a:lnTo>
                    <a:pt x="94" y="56"/>
                  </a:lnTo>
                  <a:lnTo>
                    <a:pt x="92" y="56"/>
                  </a:lnTo>
                  <a:lnTo>
                    <a:pt x="92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0" y="52"/>
                  </a:lnTo>
                  <a:lnTo>
                    <a:pt x="88" y="50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6" y="46"/>
                  </a:lnTo>
                  <a:lnTo>
                    <a:pt x="86" y="46"/>
                  </a:lnTo>
                  <a:lnTo>
                    <a:pt x="86" y="46"/>
                  </a:lnTo>
                  <a:lnTo>
                    <a:pt x="84" y="46"/>
                  </a:lnTo>
                  <a:lnTo>
                    <a:pt x="82" y="46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76" y="46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4" y="42"/>
                  </a:lnTo>
                  <a:lnTo>
                    <a:pt x="72" y="42"/>
                  </a:lnTo>
                  <a:lnTo>
                    <a:pt x="72" y="40"/>
                  </a:lnTo>
                  <a:lnTo>
                    <a:pt x="72" y="38"/>
                  </a:lnTo>
                  <a:lnTo>
                    <a:pt x="74" y="36"/>
                  </a:lnTo>
                  <a:lnTo>
                    <a:pt x="74" y="34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0" y="30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6" y="30"/>
                  </a:lnTo>
                  <a:lnTo>
                    <a:pt x="64" y="30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4"/>
                  </a:lnTo>
                  <a:lnTo>
                    <a:pt x="60" y="22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6"/>
                  </a:lnTo>
                  <a:lnTo>
                    <a:pt x="58" y="12"/>
                  </a:lnTo>
                  <a:lnTo>
                    <a:pt x="58" y="10"/>
                  </a:lnTo>
                  <a:lnTo>
                    <a:pt x="56" y="10"/>
                  </a:lnTo>
                  <a:lnTo>
                    <a:pt x="56" y="8"/>
                  </a:lnTo>
                  <a:lnTo>
                    <a:pt x="54" y="6"/>
                  </a:lnTo>
                  <a:lnTo>
                    <a:pt x="52" y="6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6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18" y="12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2" y="34"/>
                  </a:lnTo>
                  <a:lnTo>
                    <a:pt x="0" y="42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4" y="66"/>
                  </a:lnTo>
                  <a:lnTo>
                    <a:pt x="18" y="68"/>
                  </a:lnTo>
                  <a:lnTo>
                    <a:pt x="20" y="68"/>
                  </a:lnTo>
                  <a:lnTo>
                    <a:pt x="22" y="7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12" name="Freeform 471">
              <a:extLst>
                <a:ext uri="{FF2B5EF4-FFF2-40B4-BE49-F238E27FC236}">
                  <a16:creationId xmlns:a16="http://schemas.microsoft.com/office/drawing/2014/main" id="{8DAE4740-685D-46A3-8E56-52CC070FD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1727" y="5495245"/>
              <a:ext cx="133258" cy="143749"/>
            </a:xfrm>
            <a:custGeom>
              <a:avLst/>
              <a:gdLst>
                <a:gd name="T0" fmla="*/ 18 w 78"/>
                <a:gd name="T1" fmla="*/ 0 h 86"/>
                <a:gd name="T2" fmla="*/ 22 w 78"/>
                <a:gd name="T3" fmla="*/ 6 h 86"/>
                <a:gd name="T4" fmla="*/ 24 w 78"/>
                <a:gd name="T5" fmla="*/ 8 h 86"/>
                <a:gd name="T6" fmla="*/ 28 w 78"/>
                <a:gd name="T7" fmla="*/ 10 h 86"/>
                <a:gd name="T8" fmla="*/ 36 w 78"/>
                <a:gd name="T9" fmla="*/ 12 h 86"/>
                <a:gd name="T10" fmla="*/ 38 w 78"/>
                <a:gd name="T11" fmla="*/ 14 h 86"/>
                <a:gd name="T12" fmla="*/ 46 w 78"/>
                <a:gd name="T13" fmla="*/ 20 h 86"/>
                <a:gd name="T14" fmla="*/ 54 w 78"/>
                <a:gd name="T15" fmla="*/ 26 h 86"/>
                <a:gd name="T16" fmla="*/ 62 w 78"/>
                <a:gd name="T17" fmla="*/ 34 h 86"/>
                <a:gd name="T18" fmla="*/ 70 w 78"/>
                <a:gd name="T19" fmla="*/ 42 h 86"/>
                <a:gd name="T20" fmla="*/ 72 w 78"/>
                <a:gd name="T21" fmla="*/ 48 h 86"/>
                <a:gd name="T22" fmla="*/ 76 w 78"/>
                <a:gd name="T23" fmla="*/ 52 h 86"/>
                <a:gd name="T24" fmla="*/ 76 w 78"/>
                <a:gd name="T25" fmla="*/ 54 h 86"/>
                <a:gd name="T26" fmla="*/ 78 w 78"/>
                <a:gd name="T27" fmla="*/ 60 h 86"/>
                <a:gd name="T28" fmla="*/ 74 w 78"/>
                <a:gd name="T29" fmla="*/ 66 h 86"/>
                <a:gd name="T30" fmla="*/ 70 w 78"/>
                <a:gd name="T31" fmla="*/ 70 h 86"/>
                <a:gd name="T32" fmla="*/ 66 w 78"/>
                <a:gd name="T33" fmla="*/ 74 h 86"/>
                <a:gd name="T34" fmla="*/ 66 w 78"/>
                <a:gd name="T35" fmla="*/ 76 h 86"/>
                <a:gd name="T36" fmla="*/ 64 w 78"/>
                <a:gd name="T37" fmla="*/ 78 h 86"/>
                <a:gd name="T38" fmla="*/ 64 w 78"/>
                <a:gd name="T39" fmla="*/ 80 h 86"/>
                <a:gd name="T40" fmla="*/ 64 w 78"/>
                <a:gd name="T41" fmla="*/ 80 h 86"/>
                <a:gd name="T42" fmla="*/ 62 w 78"/>
                <a:gd name="T43" fmla="*/ 82 h 86"/>
                <a:gd name="T44" fmla="*/ 58 w 78"/>
                <a:gd name="T45" fmla="*/ 82 h 86"/>
                <a:gd name="T46" fmla="*/ 54 w 78"/>
                <a:gd name="T47" fmla="*/ 82 h 86"/>
                <a:gd name="T48" fmla="*/ 52 w 78"/>
                <a:gd name="T49" fmla="*/ 82 h 86"/>
                <a:gd name="T50" fmla="*/ 52 w 78"/>
                <a:gd name="T51" fmla="*/ 82 h 86"/>
                <a:gd name="T52" fmla="*/ 50 w 78"/>
                <a:gd name="T53" fmla="*/ 84 h 86"/>
                <a:gd name="T54" fmla="*/ 50 w 78"/>
                <a:gd name="T55" fmla="*/ 86 h 86"/>
                <a:gd name="T56" fmla="*/ 48 w 78"/>
                <a:gd name="T57" fmla="*/ 86 h 86"/>
                <a:gd name="T58" fmla="*/ 48 w 78"/>
                <a:gd name="T59" fmla="*/ 86 h 86"/>
                <a:gd name="T60" fmla="*/ 44 w 78"/>
                <a:gd name="T61" fmla="*/ 84 h 86"/>
                <a:gd name="T62" fmla="*/ 40 w 78"/>
                <a:gd name="T63" fmla="*/ 82 h 86"/>
                <a:gd name="T64" fmla="*/ 32 w 78"/>
                <a:gd name="T65" fmla="*/ 78 h 86"/>
                <a:gd name="T66" fmla="*/ 28 w 78"/>
                <a:gd name="T67" fmla="*/ 78 h 86"/>
                <a:gd name="T68" fmla="*/ 24 w 78"/>
                <a:gd name="T69" fmla="*/ 74 h 86"/>
                <a:gd name="T70" fmla="*/ 20 w 78"/>
                <a:gd name="T71" fmla="*/ 72 h 86"/>
                <a:gd name="T72" fmla="*/ 18 w 78"/>
                <a:gd name="T73" fmla="*/ 72 h 86"/>
                <a:gd name="T74" fmla="*/ 16 w 78"/>
                <a:gd name="T75" fmla="*/ 72 h 86"/>
                <a:gd name="T76" fmla="*/ 16 w 78"/>
                <a:gd name="T77" fmla="*/ 74 h 86"/>
                <a:gd name="T78" fmla="*/ 14 w 78"/>
                <a:gd name="T79" fmla="*/ 76 h 86"/>
                <a:gd name="T80" fmla="*/ 12 w 78"/>
                <a:gd name="T81" fmla="*/ 78 h 86"/>
                <a:gd name="T82" fmla="*/ 10 w 78"/>
                <a:gd name="T83" fmla="*/ 80 h 86"/>
                <a:gd name="T84" fmla="*/ 8 w 78"/>
                <a:gd name="T85" fmla="*/ 80 h 86"/>
                <a:gd name="T86" fmla="*/ 6 w 78"/>
                <a:gd name="T87" fmla="*/ 80 h 86"/>
                <a:gd name="T88" fmla="*/ 4 w 78"/>
                <a:gd name="T89" fmla="*/ 80 h 86"/>
                <a:gd name="T90" fmla="*/ 4 w 78"/>
                <a:gd name="T91" fmla="*/ 78 h 86"/>
                <a:gd name="T92" fmla="*/ 2 w 78"/>
                <a:gd name="T93" fmla="*/ 72 h 86"/>
                <a:gd name="T94" fmla="*/ 2 w 78"/>
                <a:gd name="T95" fmla="*/ 68 h 86"/>
                <a:gd name="T96" fmla="*/ 2 w 78"/>
                <a:gd name="T97" fmla="*/ 64 h 86"/>
                <a:gd name="T98" fmla="*/ 0 w 78"/>
                <a:gd name="T99" fmla="*/ 52 h 86"/>
                <a:gd name="T100" fmla="*/ 0 w 78"/>
                <a:gd name="T101" fmla="*/ 42 h 86"/>
                <a:gd name="T102" fmla="*/ 0 w 78"/>
                <a:gd name="T103" fmla="*/ 36 h 86"/>
                <a:gd name="T104" fmla="*/ 2 w 78"/>
                <a:gd name="T105" fmla="*/ 28 h 86"/>
                <a:gd name="T106" fmla="*/ 2 w 78"/>
                <a:gd name="T107" fmla="*/ 24 h 86"/>
                <a:gd name="T108" fmla="*/ 4 w 78"/>
                <a:gd name="T109" fmla="*/ 22 h 86"/>
                <a:gd name="T110" fmla="*/ 10 w 78"/>
                <a:gd name="T111" fmla="*/ 10 h 86"/>
                <a:gd name="T112" fmla="*/ 18 w 78"/>
                <a:gd name="T11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" h="86">
                  <a:moveTo>
                    <a:pt x="18" y="0"/>
                  </a:moveTo>
                  <a:lnTo>
                    <a:pt x="18" y="0"/>
                  </a:lnTo>
                  <a:lnTo>
                    <a:pt x="20" y="4"/>
                  </a:lnTo>
                  <a:lnTo>
                    <a:pt x="22" y="6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6" y="8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8" y="14"/>
                  </a:lnTo>
                  <a:lnTo>
                    <a:pt x="42" y="16"/>
                  </a:lnTo>
                  <a:lnTo>
                    <a:pt x="46" y="20"/>
                  </a:lnTo>
                  <a:lnTo>
                    <a:pt x="50" y="22"/>
                  </a:lnTo>
                  <a:lnTo>
                    <a:pt x="54" y="26"/>
                  </a:lnTo>
                  <a:lnTo>
                    <a:pt x="58" y="30"/>
                  </a:lnTo>
                  <a:lnTo>
                    <a:pt x="62" y="34"/>
                  </a:lnTo>
                  <a:lnTo>
                    <a:pt x="66" y="38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2" y="48"/>
                  </a:lnTo>
                  <a:lnTo>
                    <a:pt x="74" y="50"/>
                  </a:lnTo>
                  <a:lnTo>
                    <a:pt x="76" y="52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6" y="56"/>
                  </a:lnTo>
                  <a:lnTo>
                    <a:pt x="78" y="60"/>
                  </a:lnTo>
                  <a:lnTo>
                    <a:pt x="78" y="64"/>
                  </a:lnTo>
                  <a:lnTo>
                    <a:pt x="74" y="66"/>
                  </a:lnTo>
                  <a:lnTo>
                    <a:pt x="72" y="68"/>
                  </a:lnTo>
                  <a:lnTo>
                    <a:pt x="70" y="70"/>
                  </a:lnTo>
                  <a:lnTo>
                    <a:pt x="68" y="72"/>
                  </a:lnTo>
                  <a:lnTo>
                    <a:pt x="66" y="74"/>
                  </a:lnTo>
                  <a:lnTo>
                    <a:pt x="66" y="74"/>
                  </a:lnTo>
                  <a:lnTo>
                    <a:pt x="66" y="76"/>
                  </a:lnTo>
                  <a:lnTo>
                    <a:pt x="66" y="76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2" y="80"/>
                  </a:lnTo>
                  <a:lnTo>
                    <a:pt x="62" y="82"/>
                  </a:lnTo>
                  <a:lnTo>
                    <a:pt x="60" y="82"/>
                  </a:lnTo>
                  <a:lnTo>
                    <a:pt x="58" y="82"/>
                  </a:lnTo>
                  <a:lnTo>
                    <a:pt x="56" y="82"/>
                  </a:lnTo>
                  <a:lnTo>
                    <a:pt x="54" y="82"/>
                  </a:lnTo>
                  <a:lnTo>
                    <a:pt x="54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2" y="84"/>
                  </a:lnTo>
                  <a:lnTo>
                    <a:pt x="50" y="84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6" y="86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0" y="82"/>
                  </a:lnTo>
                  <a:lnTo>
                    <a:pt x="36" y="80"/>
                  </a:lnTo>
                  <a:lnTo>
                    <a:pt x="32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6"/>
                  </a:lnTo>
                  <a:lnTo>
                    <a:pt x="24" y="74"/>
                  </a:lnTo>
                  <a:lnTo>
                    <a:pt x="22" y="74"/>
                  </a:lnTo>
                  <a:lnTo>
                    <a:pt x="20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4"/>
                  </a:lnTo>
                  <a:lnTo>
                    <a:pt x="14" y="74"/>
                  </a:lnTo>
                  <a:lnTo>
                    <a:pt x="14" y="76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0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4" y="80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2" y="58"/>
                  </a:lnTo>
                  <a:lnTo>
                    <a:pt x="0" y="52"/>
                  </a:lnTo>
                  <a:lnTo>
                    <a:pt x="0" y="46"/>
                  </a:lnTo>
                  <a:lnTo>
                    <a:pt x="0" y="42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4" y="22"/>
                  </a:lnTo>
                  <a:lnTo>
                    <a:pt x="6" y="18"/>
                  </a:lnTo>
                  <a:lnTo>
                    <a:pt x="10" y="10"/>
                  </a:lnTo>
                  <a:lnTo>
                    <a:pt x="14" y="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13" name="Freeform 473">
              <a:extLst>
                <a:ext uri="{FF2B5EF4-FFF2-40B4-BE49-F238E27FC236}">
                  <a16:creationId xmlns:a16="http://schemas.microsoft.com/office/drawing/2014/main" id="{9DBBD90E-D6BC-4D7C-9B19-3BAD018B7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210" y="4920249"/>
              <a:ext cx="307517" cy="371073"/>
            </a:xfrm>
            <a:custGeom>
              <a:avLst/>
              <a:gdLst>
                <a:gd name="T0" fmla="*/ 172 w 180"/>
                <a:gd name="T1" fmla="*/ 170 h 222"/>
                <a:gd name="T2" fmla="*/ 180 w 180"/>
                <a:gd name="T3" fmla="*/ 154 h 222"/>
                <a:gd name="T4" fmla="*/ 178 w 180"/>
                <a:gd name="T5" fmla="*/ 142 h 222"/>
                <a:gd name="T6" fmla="*/ 174 w 180"/>
                <a:gd name="T7" fmla="*/ 138 h 222"/>
                <a:gd name="T8" fmla="*/ 172 w 180"/>
                <a:gd name="T9" fmla="*/ 128 h 222"/>
                <a:gd name="T10" fmla="*/ 166 w 180"/>
                <a:gd name="T11" fmla="*/ 126 h 222"/>
                <a:gd name="T12" fmla="*/ 164 w 180"/>
                <a:gd name="T13" fmla="*/ 122 h 222"/>
                <a:gd name="T14" fmla="*/ 162 w 180"/>
                <a:gd name="T15" fmla="*/ 114 h 222"/>
                <a:gd name="T16" fmla="*/ 146 w 180"/>
                <a:gd name="T17" fmla="*/ 116 h 222"/>
                <a:gd name="T18" fmla="*/ 140 w 180"/>
                <a:gd name="T19" fmla="*/ 114 h 222"/>
                <a:gd name="T20" fmla="*/ 134 w 180"/>
                <a:gd name="T21" fmla="*/ 108 h 222"/>
                <a:gd name="T22" fmla="*/ 132 w 180"/>
                <a:gd name="T23" fmla="*/ 96 h 222"/>
                <a:gd name="T24" fmla="*/ 134 w 180"/>
                <a:gd name="T25" fmla="*/ 86 h 222"/>
                <a:gd name="T26" fmla="*/ 140 w 180"/>
                <a:gd name="T27" fmla="*/ 82 h 222"/>
                <a:gd name="T28" fmla="*/ 134 w 180"/>
                <a:gd name="T29" fmla="*/ 82 h 222"/>
                <a:gd name="T30" fmla="*/ 132 w 180"/>
                <a:gd name="T31" fmla="*/ 76 h 222"/>
                <a:gd name="T32" fmla="*/ 132 w 180"/>
                <a:gd name="T33" fmla="*/ 68 h 222"/>
                <a:gd name="T34" fmla="*/ 122 w 180"/>
                <a:gd name="T35" fmla="*/ 64 h 222"/>
                <a:gd name="T36" fmla="*/ 108 w 180"/>
                <a:gd name="T37" fmla="*/ 64 h 222"/>
                <a:gd name="T38" fmla="*/ 108 w 180"/>
                <a:gd name="T39" fmla="*/ 56 h 222"/>
                <a:gd name="T40" fmla="*/ 104 w 180"/>
                <a:gd name="T41" fmla="*/ 54 h 222"/>
                <a:gd name="T42" fmla="*/ 94 w 180"/>
                <a:gd name="T43" fmla="*/ 50 h 222"/>
                <a:gd name="T44" fmla="*/ 86 w 180"/>
                <a:gd name="T45" fmla="*/ 48 h 222"/>
                <a:gd name="T46" fmla="*/ 72 w 180"/>
                <a:gd name="T47" fmla="*/ 48 h 222"/>
                <a:gd name="T48" fmla="*/ 64 w 180"/>
                <a:gd name="T49" fmla="*/ 36 h 222"/>
                <a:gd name="T50" fmla="*/ 64 w 180"/>
                <a:gd name="T51" fmla="*/ 10 h 222"/>
                <a:gd name="T52" fmla="*/ 60 w 180"/>
                <a:gd name="T53" fmla="*/ 2 h 222"/>
                <a:gd name="T54" fmla="*/ 44 w 180"/>
                <a:gd name="T55" fmla="*/ 0 h 222"/>
                <a:gd name="T56" fmla="*/ 42 w 180"/>
                <a:gd name="T57" fmla="*/ 4 h 222"/>
                <a:gd name="T58" fmla="*/ 40 w 180"/>
                <a:gd name="T59" fmla="*/ 12 h 222"/>
                <a:gd name="T60" fmla="*/ 34 w 180"/>
                <a:gd name="T61" fmla="*/ 10 h 222"/>
                <a:gd name="T62" fmla="*/ 30 w 180"/>
                <a:gd name="T63" fmla="*/ 16 h 222"/>
                <a:gd name="T64" fmla="*/ 20 w 180"/>
                <a:gd name="T65" fmla="*/ 24 h 222"/>
                <a:gd name="T66" fmla="*/ 4 w 180"/>
                <a:gd name="T67" fmla="*/ 24 h 222"/>
                <a:gd name="T68" fmla="*/ 16 w 180"/>
                <a:gd name="T69" fmla="*/ 42 h 222"/>
                <a:gd name="T70" fmla="*/ 14 w 180"/>
                <a:gd name="T71" fmla="*/ 54 h 222"/>
                <a:gd name="T72" fmla="*/ 6 w 180"/>
                <a:gd name="T73" fmla="*/ 62 h 222"/>
                <a:gd name="T74" fmla="*/ 8 w 180"/>
                <a:gd name="T75" fmla="*/ 80 h 222"/>
                <a:gd name="T76" fmla="*/ 4 w 180"/>
                <a:gd name="T77" fmla="*/ 104 h 222"/>
                <a:gd name="T78" fmla="*/ 10 w 180"/>
                <a:gd name="T79" fmla="*/ 114 h 222"/>
                <a:gd name="T80" fmla="*/ 6 w 180"/>
                <a:gd name="T81" fmla="*/ 118 h 222"/>
                <a:gd name="T82" fmla="*/ 2 w 180"/>
                <a:gd name="T83" fmla="*/ 124 h 222"/>
                <a:gd name="T84" fmla="*/ 8 w 180"/>
                <a:gd name="T85" fmla="*/ 138 h 222"/>
                <a:gd name="T86" fmla="*/ 10 w 180"/>
                <a:gd name="T87" fmla="*/ 150 h 222"/>
                <a:gd name="T88" fmla="*/ 14 w 180"/>
                <a:gd name="T89" fmla="*/ 158 h 222"/>
                <a:gd name="T90" fmla="*/ 24 w 180"/>
                <a:gd name="T91" fmla="*/ 166 h 222"/>
                <a:gd name="T92" fmla="*/ 24 w 180"/>
                <a:gd name="T93" fmla="*/ 190 h 222"/>
                <a:gd name="T94" fmla="*/ 28 w 180"/>
                <a:gd name="T95" fmla="*/ 204 h 222"/>
                <a:gd name="T96" fmla="*/ 38 w 180"/>
                <a:gd name="T97" fmla="*/ 218 h 222"/>
                <a:gd name="T98" fmla="*/ 50 w 180"/>
                <a:gd name="T99" fmla="*/ 210 h 222"/>
                <a:gd name="T100" fmla="*/ 56 w 180"/>
                <a:gd name="T101" fmla="*/ 204 h 222"/>
                <a:gd name="T102" fmla="*/ 68 w 180"/>
                <a:gd name="T103" fmla="*/ 214 h 222"/>
                <a:gd name="T104" fmla="*/ 84 w 180"/>
                <a:gd name="T105" fmla="*/ 222 h 222"/>
                <a:gd name="T106" fmla="*/ 94 w 180"/>
                <a:gd name="T107" fmla="*/ 216 h 222"/>
                <a:gd name="T108" fmla="*/ 108 w 180"/>
                <a:gd name="T109" fmla="*/ 186 h 222"/>
                <a:gd name="T110" fmla="*/ 112 w 180"/>
                <a:gd name="T111" fmla="*/ 170 h 222"/>
                <a:gd name="T112" fmla="*/ 128 w 180"/>
                <a:gd name="T113" fmla="*/ 164 h 222"/>
                <a:gd name="T114" fmla="*/ 140 w 180"/>
                <a:gd name="T115" fmla="*/ 156 h 222"/>
                <a:gd name="T116" fmla="*/ 150 w 180"/>
                <a:gd name="T117" fmla="*/ 156 h 222"/>
                <a:gd name="T118" fmla="*/ 162 w 180"/>
                <a:gd name="T119" fmla="*/ 16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0" h="222">
                  <a:moveTo>
                    <a:pt x="164" y="172"/>
                  </a:moveTo>
                  <a:lnTo>
                    <a:pt x="164" y="172"/>
                  </a:lnTo>
                  <a:lnTo>
                    <a:pt x="168" y="172"/>
                  </a:lnTo>
                  <a:lnTo>
                    <a:pt x="170" y="170"/>
                  </a:lnTo>
                  <a:lnTo>
                    <a:pt x="172" y="170"/>
                  </a:lnTo>
                  <a:lnTo>
                    <a:pt x="172" y="170"/>
                  </a:lnTo>
                  <a:lnTo>
                    <a:pt x="172" y="170"/>
                  </a:lnTo>
                  <a:lnTo>
                    <a:pt x="174" y="168"/>
                  </a:lnTo>
                  <a:lnTo>
                    <a:pt x="176" y="166"/>
                  </a:lnTo>
                  <a:lnTo>
                    <a:pt x="176" y="164"/>
                  </a:lnTo>
                  <a:lnTo>
                    <a:pt x="178" y="162"/>
                  </a:lnTo>
                  <a:lnTo>
                    <a:pt x="178" y="160"/>
                  </a:lnTo>
                  <a:lnTo>
                    <a:pt x="178" y="158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6" y="140"/>
                  </a:lnTo>
                  <a:lnTo>
                    <a:pt x="174" y="140"/>
                  </a:lnTo>
                  <a:lnTo>
                    <a:pt x="174" y="140"/>
                  </a:lnTo>
                  <a:lnTo>
                    <a:pt x="174" y="138"/>
                  </a:lnTo>
                  <a:lnTo>
                    <a:pt x="174" y="138"/>
                  </a:lnTo>
                  <a:lnTo>
                    <a:pt x="174" y="138"/>
                  </a:lnTo>
                  <a:lnTo>
                    <a:pt x="174" y="136"/>
                  </a:lnTo>
                  <a:lnTo>
                    <a:pt x="174" y="132"/>
                  </a:lnTo>
                  <a:lnTo>
                    <a:pt x="174" y="132"/>
                  </a:lnTo>
                  <a:lnTo>
                    <a:pt x="172" y="130"/>
                  </a:lnTo>
                  <a:lnTo>
                    <a:pt x="172" y="128"/>
                  </a:lnTo>
                  <a:lnTo>
                    <a:pt x="172" y="128"/>
                  </a:lnTo>
                  <a:lnTo>
                    <a:pt x="172" y="128"/>
                  </a:lnTo>
                  <a:lnTo>
                    <a:pt x="172" y="128"/>
                  </a:lnTo>
                  <a:lnTo>
                    <a:pt x="172" y="126"/>
                  </a:lnTo>
                  <a:lnTo>
                    <a:pt x="170" y="126"/>
                  </a:lnTo>
                  <a:lnTo>
                    <a:pt x="170" y="126"/>
                  </a:lnTo>
                  <a:lnTo>
                    <a:pt x="168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4" y="124"/>
                  </a:lnTo>
                  <a:lnTo>
                    <a:pt x="164" y="122"/>
                  </a:lnTo>
                  <a:lnTo>
                    <a:pt x="164" y="120"/>
                  </a:lnTo>
                  <a:lnTo>
                    <a:pt x="164" y="118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2" y="116"/>
                  </a:lnTo>
                  <a:lnTo>
                    <a:pt x="162" y="114"/>
                  </a:lnTo>
                  <a:lnTo>
                    <a:pt x="162" y="114"/>
                  </a:lnTo>
                  <a:lnTo>
                    <a:pt x="160" y="114"/>
                  </a:lnTo>
                  <a:lnTo>
                    <a:pt x="160" y="114"/>
                  </a:lnTo>
                  <a:lnTo>
                    <a:pt x="158" y="114"/>
                  </a:lnTo>
                  <a:lnTo>
                    <a:pt x="156" y="114"/>
                  </a:lnTo>
                  <a:lnTo>
                    <a:pt x="152" y="114"/>
                  </a:lnTo>
                  <a:lnTo>
                    <a:pt x="150" y="116"/>
                  </a:lnTo>
                  <a:lnTo>
                    <a:pt x="146" y="116"/>
                  </a:lnTo>
                  <a:lnTo>
                    <a:pt x="146" y="116"/>
                  </a:lnTo>
                  <a:lnTo>
                    <a:pt x="144" y="116"/>
                  </a:lnTo>
                  <a:lnTo>
                    <a:pt x="144" y="116"/>
                  </a:lnTo>
                  <a:lnTo>
                    <a:pt x="142" y="116"/>
                  </a:lnTo>
                  <a:lnTo>
                    <a:pt x="142" y="116"/>
                  </a:lnTo>
                  <a:lnTo>
                    <a:pt x="142" y="114"/>
                  </a:lnTo>
                  <a:lnTo>
                    <a:pt x="140" y="114"/>
                  </a:lnTo>
                  <a:lnTo>
                    <a:pt x="140" y="112"/>
                  </a:lnTo>
                  <a:lnTo>
                    <a:pt x="138" y="110"/>
                  </a:lnTo>
                  <a:lnTo>
                    <a:pt x="138" y="110"/>
                  </a:lnTo>
                  <a:lnTo>
                    <a:pt x="138" y="110"/>
                  </a:lnTo>
                  <a:lnTo>
                    <a:pt x="136" y="110"/>
                  </a:lnTo>
                  <a:lnTo>
                    <a:pt x="134" y="110"/>
                  </a:lnTo>
                  <a:lnTo>
                    <a:pt x="134" y="108"/>
                  </a:lnTo>
                  <a:lnTo>
                    <a:pt x="134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32" y="104"/>
                  </a:lnTo>
                  <a:lnTo>
                    <a:pt x="132" y="102"/>
                  </a:lnTo>
                  <a:lnTo>
                    <a:pt x="132" y="98"/>
                  </a:lnTo>
                  <a:lnTo>
                    <a:pt x="132" y="96"/>
                  </a:lnTo>
                  <a:lnTo>
                    <a:pt x="132" y="92"/>
                  </a:lnTo>
                  <a:lnTo>
                    <a:pt x="132" y="90"/>
                  </a:lnTo>
                  <a:lnTo>
                    <a:pt x="132" y="90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86"/>
                  </a:lnTo>
                  <a:lnTo>
                    <a:pt x="138" y="86"/>
                  </a:lnTo>
                  <a:lnTo>
                    <a:pt x="138" y="84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40" y="82"/>
                  </a:lnTo>
                  <a:lnTo>
                    <a:pt x="140" y="82"/>
                  </a:lnTo>
                  <a:lnTo>
                    <a:pt x="140" y="82"/>
                  </a:lnTo>
                  <a:lnTo>
                    <a:pt x="140" y="82"/>
                  </a:lnTo>
                  <a:lnTo>
                    <a:pt x="138" y="82"/>
                  </a:lnTo>
                  <a:lnTo>
                    <a:pt x="138" y="82"/>
                  </a:lnTo>
                  <a:lnTo>
                    <a:pt x="134" y="82"/>
                  </a:lnTo>
                  <a:lnTo>
                    <a:pt x="134" y="82"/>
                  </a:lnTo>
                  <a:lnTo>
                    <a:pt x="134" y="82"/>
                  </a:lnTo>
                  <a:lnTo>
                    <a:pt x="134" y="82"/>
                  </a:lnTo>
                  <a:lnTo>
                    <a:pt x="132" y="80"/>
                  </a:lnTo>
                  <a:lnTo>
                    <a:pt x="132" y="80"/>
                  </a:lnTo>
                  <a:lnTo>
                    <a:pt x="132" y="80"/>
                  </a:lnTo>
                  <a:lnTo>
                    <a:pt x="132" y="78"/>
                  </a:lnTo>
                  <a:lnTo>
                    <a:pt x="132" y="76"/>
                  </a:lnTo>
                  <a:lnTo>
                    <a:pt x="132" y="74"/>
                  </a:lnTo>
                  <a:lnTo>
                    <a:pt x="132" y="72"/>
                  </a:lnTo>
                  <a:lnTo>
                    <a:pt x="132" y="70"/>
                  </a:lnTo>
                  <a:lnTo>
                    <a:pt x="132" y="70"/>
                  </a:lnTo>
                  <a:lnTo>
                    <a:pt x="132" y="68"/>
                  </a:lnTo>
                  <a:lnTo>
                    <a:pt x="132" y="68"/>
                  </a:lnTo>
                  <a:lnTo>
                    <a:pt x="132" y="68"/>
                  </a:lnTo>
                  <a:lnTo>
                    <a:pt x="130" y="66"/>
                  </a:lnTo>
                  <a:lnTo>
                    <a:pt x="130" y="66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2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4" y="64"/>
                  </a:lnTo>
                  <a:lnTo>
                    <a:pt x="112" y="64"/>
                  </a:lnTo>
                  <a:lnTo>
                    <a:pt x="110" y="64"/>
                  </a:lnTo>
                  <a:lnTo>
                    <a:pt x="110" y="64"/>
                  </a:lnTo>
                  <a:lnTo>
                    <a:pt x="108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8" y="60"/>
                  </a:lnTo>
                  <a:lnTo>
                    <a:pt x="108" y="58"/>
                  </a:lnTo>
                  <a:lnTo>
                    <a:pt x="108" y="58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2" y="52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0"/>
                  </a:lnTo>
                  <a:lnTo>
                    <a:pt x="94" y="50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2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8"/>
                  </a:lnTo>
                  <a:lnTo>
                    <a:pt x="82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4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0" y="48"/>
                  </a:lnTo>
                  <a:lnTo>
                    <a:pt x="70" y="46"/>
                  </a:lnTo>
                  <a:lnTo>
                    <a:pt x="68" y="44"/>
                  </a:lnTo>
                  <a:lnTo>
                    <a:pt x="68" y="42"/>
                  </a:lnTo>
                  <a:lnTo>
                    <a:pt x="66" y="38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30"/>
                  </a:lnTo>
                  <a:lnTo>
                    <a:pt x="62" y="30"/>
                  </a:lnTo>
                  <a:lnTo>
                    <a:pt x="62" y="26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4" y="8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4"/>
                  </a:lnTo>
                  <a:lnTo>
                    <a:pt x="62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0" y="14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2" y="22"/>
                  </a:lnTo>
                  <a:lnTo>
                    <a:pt x="20" y="24"/>
                  </a:lnTo>
                  <a:lnTo>
                    <a:pt x="18" y="24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6" y="26"/>
                  </a:lnTo>
                  <a:lnTo>
                    <a:pt x="10" y="32"/>
                  </a:lnTo>
                  <a:lnTo>
                    <a:pt x="12" y="34"/>
                  </a:lnTo>
                  <a:lnTo>
                    <a:pt x="14" y="36"/>
                  </a:lnTo>
                  <a:lnTo>
                    <a:pt x="14" y="40"/>
                  </a:lnTo>
                  <a:lnTo>
                    <a:pt x="16" y="40"/>
                  </a:lnTo>
                  <a:lnTo>
                    <a:pt x="16" y="42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6" y="48"/>
                  </a:lnTo>
                  <a:lnTo>
                    <a:pt x="16" y="50"/>
                  </a:lnTo>
                  <a:lnTo>
                    <a:pt x="16" y="52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6"/>
                  </a:lnTo>
                  <a:lnTo>
                    <a:pt x="14" y="58"/>
                  </a:lnTo>
                  <a:lnTo>
                    <a:pt x="12" y="58"/>
                  </a:lnTo>
                  <a:lnTo>
                    <a:pt x="10" y="60"/>
                  </a:lnTo>
                  <a:lnTo>
                    <a:pt x="8" y="60"/>
                  </a:lnTo>
                  <a:lnTo>
                    <a:pt x="8" y="62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72"/>
                  </a:lnTo>
                  <a:lnTo>
                    <a:pt x="8" y="78"/>
                  </a:lnTo>
                  <a:lnTo>
                    <a:pt x="8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6" y="88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4" y="102"/>
                  </a:lnTo>
                  <a:lnTo>
                    <a:pt x="4" y="104"/>
                  </a:lnTo>
                  <a:lnTo>
                    <a:pt x="4" y="106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10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8" y="118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4" y="118"/>
                  </a:lnTo>
                  <a:lnTo>
                    <a:pt x="4" y="118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2" y="124"/>
                  </a:lnTo>
                  <a:lnTo>
                    <a:pt x="0" y="128"/>
                  </a:lnTo>
                  <a:lnTo>
                    <a:pt x="0" y="130"/>
                  </a:lnTo>
                  <a:lnTo>
                    <a:pt x="2" y="130"/>
                  </a:lnTo>
                  <a:lnTo>
                    <a:pt x="4" y="132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8"/>
                  </a:lnTo>
                  <a:lnTo>
                    <a:pt x="10" y="138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0" y="142"/>
                  </a:lnTo>
                  <a:lnTo>
                    <a:pt x="10" y="146"/>
                  </a:lnTo>
                  <a:lnTo>
                    <a:pt x="10" y="148"/>
                  </a:lnTo>
                  <a:lnTo>
                    <a:pt x="10" y="150"/>
                  </a:lnTo>
                  <a:lnTo>
                    <a:pt x="10" y="152"/>
                  </a:lnTo>
                  <a:lnTo>
                    <a:pt x="10" y="152"/>
                  </a:lnTo>
                  <a:lnTo>
                    <a:pt x="10" y="152"/>
                  </a:lnTo>
                  <a:lnTo>
                    <a:pt x="10" y="154"/>
                  </a:lnTo>
                  <a:lnTo>
                    <a:pt x="12" y="154"/>
                  </a:lnTo>
                  <a:lnTo>
                    <a:pt x="12" y="156"/>
                  </a:lnTo>
                  <a:lnTo>
                    <a:pt x="14" y="158"/>
                  </a:lnTo>
                  <a:lnTo>
                    <a:pt x="18" y="158"/>
                  </a:lnTo>
                  <a:lnTo>
                    <a:pt x="20" y="160"/>
                  </a:lnTo>
                  <a:lnTo>
                    <a:pt x="22" y="162"/>
                  </a:lnTo>
                  <a:lnTo>
                    <a:pt x="22" y="164"/>
                  </a:lnTo>
                  <a:lnTo>
                    <a:pt x="24" y="164"/>
                  </a:lnTo>
                  <a:lnTo>
                    <a:pt x="24" y="166"/>
                  </a:lnTo>
                  <a:lnTo>
                    <a:pt x="24" y="166"/>
                  </a:lnTo>
                  <a:lnTo>
                    <a:pt x="24" y="168"/>
                  </a:lnTo>
                  <a:lnTo>
                    <a:pt x="24" y="170"/>
                  </a:lnTo>
                  <a:lnTo>
                    <a:pt x="24" y="172"/>
                  </a:lnTo>
                  <a:lnTo>
                    <a:pt x="24" y="17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24" y="190"/>
                  </a:lnTo>
                  <a:lnTo>
                    <a:pt x="24" y="192"/>
                  </a:lnTo>
                  <a:lnTo>
                    <a:pt x="24" y="194"/>
                  </a:lnTo>
                  <a:lnTo>
                    <a:pt x="24" y="196"/>
                  </a:lnTo>
                  <a:lnTo>
                    <a:pt x="24" y="196"/>
                  </a:lnTo>
                  <a:lnTo>
                    <a:pt x="24" y="198"/>
                  </a:lnTo>
                  <a:lnTo>
                    <a:pt x="26" y="202"/>
                  </a:lnTo>
                  <a:lnTo>
                    <a:pt x="28" y="204"/>
                  </a:lnTo>
                  <a:lnTo>
                    <a:pt x="28" y="208"/>
                  </a:lnTo>
                  <a:lnTo>
                    <a:pt x="30" y="210"/>
                  </a:lnTo>
                  <a:lnTo>
                    <a:pt x="32" y="212"/>
                  </a:lnTo>
                  <a:lnTo>
                    <a:pt x="34" y="214"/>
                  </a:lnTo>
                  <a:lnTo>
                    <a:pt x="36" y="216"/>
                  </a:lnTo>
                  <a:lnTo>
                    <a:pt x="36" y="218"/>
                  </a:lnTo>
                  <a:lnTo>
                    <a:pt x="38" y="218"/>
                  </a:lnTo>
                  <a:lnTo>
                    <a:pt x="40" y="220"/>
                  </a:lnTo>
                  <a:lnTo>
                    <a:pt x="46" y="222"/>
                  </a:lnTo>
                  <a:lnTo>
                    <a:pt x="46" y="220"/>
                  </a:lnTo>
                  <a:lnTo>
                    <a:pt x="46" y="218"/>
                  </a:lnTo>
                  <a:lnTo>
                    <a:pt x="48" y="214"/>
                  </a:lnTo>
                  <a:lnTo>
                    <a:pt x="50" y="210"/>
                  </a:lnTo>
                  <a:lnTo>
                    <a:pt x="50" y="210"/>
                  </a:lnTo>
                  <a:lnTo>
                    <a:pt x="50" y="208"/>
                  </a:lnTo>
                  <a:lnTo>
                    <a:pt x="52" y="206"/>
                  </a:lnTo>
                  <a:lnTo>
                    <a:pt x="52" y="206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4" y="204"/>
                  </a:lnTo>
                  <a:lnTo>
                    <a:pt x="56" y="204"/>
                  </a:lnTo>
                  <a:lnTo>
                    <a:pt x="56" y="204"/>
                  </a:lnTo>
                  <a:lnTo>
                    <a:pt x="58" y="206"/>
                  </a:lnTo>
                  <a:lnTo>
                    <a:pt x="60" y="206"/>
                  </a:lnTo>
                  <a:lnTo>
                    <a:pt x="62" y="208"/>
                  </a:lnTo>
                  <a:lnTo>
                    <a:pt x="64" y="212"/>
                  </a:lnTo>
                  <a:lnTo>
                    <a:pt x="66" y="214"/>
                  </a:lnTo>
                  <a:lnTo>
                    <a:pt x="68" y="214"/>
                  </a:lnTo>
                  <a:lnTo>
                    <a:pt x="68" y="216"/>
                  </a:lnTo>
                  <a:lnTo>
                    <a:pt x="72" y="218"/>
                  </a:lnTo>
                  <a:lnTo>
                    <a:pt x="74" y="218"/>
                  </a:lnTo>
                  <a:lnTo>
                    <a:pt x="76" y="220"/>
                  </a:lnTo>
                  <a:lnTo>
                    <a:pt x="78" y="220"/>
                  </a:lnTo>
                  <a:lnTo>
                    <a:pt x="82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6" y="222"/>
                  </a:lnTo>
                  <a:lnTo>
                    <a:pt x="86" y="222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4" y="216"/>
                  </a:lnTo>
                  <a:lnTo>
                    <a:pt x="96" y="214"/>
                  </a:lnTo>
                  <a:lnTo>
                    <a:pt x="98" y="212"/>
                  </a:lnTo>
                  <a:lnTo>
                    <a:pt x="100" y="210"/>
                  </a:lnTo>
                  <a:lnTo>
                    <a:pt x="102" y="208"/>
                  </a:lnTo>
                  <a:lnTo>
                    <a:pt x="104" y="198"/>
                  </a:lnTo>
                  <a:lnTo>
                    <a:pt x="106" y="190"/>
                  </a:lnTo>
                  <a:lnTo>
                    <a:pt x="108" y="186"/>
                  </a:lnTo>
                  <a:lnTo>
                    <a:pt x="108" y="182"/>
                  </a:lnTo>
                  <a:lnTo>
                    <a:pt x="108" y="180"/>
                  </a:lnTo>
                  <a:lnTo>
                    <a:pt x="110" y="176"/>
                  </a:lnTo>
                  <a:lnTo>
                    <a:pt x="110" y="174"/>
                  </a:lnTo>
                  <a:lnTo>
                    <a:pt x="112" y="172"/>
                  </a:lnTo>
                  <a:lnTo>
                    <a:pt x="112" y="172"/>
                  </a:lnTo>
                  <a:lnTo>
                    <a:pt x="112" y="170"/>
                  </a:lnTo>
                  <a:lnTo>
                    <a:pt x="114" y="170"/>
                  </a:lnTo>
                  <a:lnTo>
                    <a:pt x="114" y="170"/>
                  </a:lnTo>
                  <a:lnTo>
                    <a:pt x="116" y="168"/>
                  </a:lnTo>
                  <a:lnTo>
                    <a:pt x="118" y="168"/>
                  </a:lnTo>
                  <a:lnTo>
                    <a:pt x="120" y="166"/>
                  </a:lnTo>
                  <a:lnTo>
                    <a:pt x="126" y="166"/>
                  </a:lnTo>
                  <a:lnTo>
                    <a:pt x="128" y="164"/>
                  </a:lnTo>
                  <a:lnTo>
                    <a:pt x="130" y="164"/>
                  </a:lnTo>
                  <a:lnTo>
                    <a:pt x="130" y="162"/>
                  </a:lnTo>
                  <a:lnTo>
                    <a:pt x="132" y="162"/>
                  </a:lnTo>
                  <a:lnTo>
                    <a:pt x="134" y="158"/>
                  </a:lnTo>
                  <a:lnTo>
                    <a:pt x="136" y="158"/>
                  </a:lnTo>
                  <a:lnTo>
                    <a:pt x="138" y="156"/>
                  </a:lnTo>
                  <a:lnTo>
                    <a:pt x="140" y="156"/>
                  </a:lnTo>
                  <a:lnTo>
                    <a:pt x="140" y="156"/>
                  </a:lnTo>
                  <a:lnTo>
                    <a:pt x="140" y="156"/>
                  </a:lnTo>
                  <a:lnTo>
                    <a:pt x="142" y="156"/>
                  </a:lnTo>
                  <a:lnTo>
                    <a:pt x="142" y="156"/>
                  </a:lnTo>
                  <a:lnTo>
                    <a:pt x="144" y="156"/>
                  </a:lnTo>
                  <a:lnTo>
                    <a:pt x="148" y="156"/>
                  </a:lnTo>
                  <a:lnTo>
                    <a:pt x="150" y="156"/>
                  </a:lnTo>
                  <a:lnTo>
                    <a:pt x="152" y="158"/>
                  </a:lnTo>
                  <a:lnTo>
                    <a:pt x="154" y="158"/>
                  </a:lnTo>
                  <a:lnTo>
                    <a:pt x="156" y="160"/>
                  </a:lnTo>
                  <a:lnTo>
                    <a:pt x="158" y="162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62" y="166"/>
                  </a:lnTo>
                  <a:lnTo>
                    <a:pt x="162" y="168"/>
                  </a:lnTo>
                  <a:lnTo>
                    <a:pt x="164" y="170"/>
                  </a:lnTo>
                  <a:lnTo>
                    <a:pt x="164" y="17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14" name="Freeform 475">
              <a:extLst>
                <a:ext uri="{FF2B5EF4-FFF2-40B4-BE49-F238E27FC236}">
                  <a16:creationId xmlns:a16="http://schemas.microsoft.com/office/drawing/2014/main" id="{C8B1568D-1AFB-410B-9ECC-96D32B6DE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6944" y="4692925"/>
              <a:ext cx="324601" cy="457991"/>
            </a:xfrm>
            <a:custGeom>
              <a:avLst/>
              <a:gdLst>
                <a:gd name="T0" fmla="*/ 140 w 190"/>
                <a:gd name="T1" fmla="*/ 2 h 274"/>
                <a:gd name="T2" fmla="*/ 116 w 190"/>
                <a:gd name="T3" fmla="*/ 0 h 274"/>
                <a:gd name="T4" fmla="*/ 102 w 190"/>
                <a:gd name="T5" fmla="*/ 14 h 274"/>
                <a:gd name="T6" fmla="*/ 66 w 190"/>
                <a:gd name="T7" fmla="*/ 30 h 274"/>
                <a:gd name="T8" fmla="*/ 40 w 190"/>
                <a:gd name="T9" fmla="*/ 50 h 274"/>
                <a:gd name="T10" fmla="*/ 30 w 190"/>
                <a:gd name="T11" fmla="*/ 54 h 274"/>
                <a:gd name="T12" fmla="*/ 22 w 190"/>
                <a:gd name="T13" fmla="*/ 44 h 274"/>
                <a:gd name="T14" fmla="*/ 18 w 190"/>
                <a:gd name="T15" fmla="*/ 30 h 274"/>
                <a:gd name="T16" fmla="*/ 10 w 190"/>
                <a:gd name="T17" fmla="*/ 32 h 274"/>
                <a:gd name="T18" fmla="*/ 4 w 190"/>
                <a:gd name="T19" fmla="*/ 40 h 274"/>
                <a:gd name="T20" fmla="*/ 0 w 190"/>
                <a:gd name="T21" fmla="*/ 60 h 274"/>
                <a:gd name="T22" fmla="*/ 6 w 190"/>
                <a:gd name="T23" fmla="*/ 72 h 274"/>
                <a:gd name="T24" fmla="*/ 16 w 190"/>
                <a:gd name="T25" fmla="*/ 70 h 274"/>
                <a:gd name="T26" fmla="*/ 22 w 190"/>
                <a:gd name="T27" fmla="*/ 74 h 274"/>
                <a:gd name="T28" fmla="*/ 24 w 190"/>
                <a:gd name="T29" fmla="*/ 92 h 274"/>
                <a:gd name="T30" fmla="*/ 32 w 190"/>
                <a:gd name="T31" fmla="*/ 98 h 274"/>
                <a:gd name="T32" fmla="*/ 34 w 190"/>
                <a:gd name="T33" fmla="*/ 108 h 274"/>
                <a:gd name="T34" fmla="*/ 40 w 190"/>
                <a:gd name="T35" fmla="*/ 126 h 274"/>
                <a:gd name="T36" fmla="*/ 48 w 190"/>
                <a:gd name="T37" fmla="*/ 132 h 274"/>
                <a:gd name="T38" fmla="*/ 50 w 190"/>
                <a:gd name="T39" fmla="*/ 142 h 274"/>
                <a:gd name="T40" fmla="*/ 54 w 190"/>
                <a:gd name="T41" fmla="*/ 150 h 274"/>
                <a:gd name="T42" fmla="*/ 62 w 190"/>
                <a:gd name="T43" fmla="*/ 162 h 274"/>
                <a:gd name="T44" fmla="*/ 70 w 190"/>
                <a:gd name="T45" fmla="*/ 186 h 274"/>
                <a:gd name="T46" fmla="*/ 78 w 190"/>
                <a:gd name="T47" fmla="*/ 192 h 274"/>
                <a:gd name="T48" fmla="*/ 76 w 190"/>
                <a:gd name="T49" fmla="*/ 198 h 274"/>
                <a:gd name="T50" fmla="*/ 78 w 190"/>
                <a:gd name="T51" fmla="*/ 208 h 274"/>
                <a:gd name="T52" fmla="*/ 88 w 190"/>
                <a:gd name="T53" fmla="*/ 218 h 274"/>
                <a:gd name="T54" fmla="*/ 104 w 190"/>
                <a:gd name="T55" fmla="*/ 234 h 274"/>
                <a:gd name="T56" fmla="*/ 114 w 190"/>
                <a:gd name="T57" fmla="*/ 242 h 274"/>
                <a:gd name="T58" fmla="*/ 136 w 190"/>
                <a:gd name="T59" fmla="*/ 252 h 274"/>
                <a:gd name="T60" fmla="*/ 174 w 190"/>
                <a:gd name="T61" fmla="*/ 264 h 274"/>
                <a:gd name="T62" fmla="*/ 178 w 190"/>
                <a:gd name="T63" fmla="*/ 252 h 274"/>
                <a:gd name="T64" fmla="*/ 184 w 190"/>
                <a:gd name="T65" fmla="*/ 250 h 274"/>
                <a:gd name="T66" fmla="*/ 178 w 190"/>
                <a:gd name="T67" fmla="*/ 240 h 274"/>
                <a:gd name="T68" fmla="*/ 180 w 190"/>
                <a:gd name="T69" fmla="*/ 216 h 274"/>
                <a:gd name="T70" fmla="*/ 180 w 190"/>
                <a:gd name="T71" fmla="*/ 198 h 274"/>
                <a:gd name="T72" fmla="*/ 188 w 190"/>
                <a:gd name="T73" fmla="*/ 192 h 274"/>
                <a:gd name="T74" fmla="*/ 190 w 190"/>
                <a:gd name="T75" fmla="*/ 178 h 274"/>
                <a:gd name="T76" fmla="*/ 180 w 190"/>
                <a:gd name="T77" fmla="*/ 162 h 274"/>
                <a:gd name="T78" fmla="*/ 166 w 190"/>
                <a:gd name="T79" fmla="*/ 154 h 274"/>
                <a:gd name="T80" fmla="*/ 164 w 190"/>
                <a:gd name="T81" fmla="*/ 142 h 274"/>
                <a:gd name="T82" fmla="*/ 160 w 190"/>
                <a:gd name="T83" fmla="*/ 134 h 274"/>
                <a:gd name="T84" fmla="*/ 152 w 190"/>
                <a:gd name="T85" fmla="*/ 140 h 274"/>
                <a:gd name="T86" fmla="*/ 142 w 190"/>
                <a:gd name="T87" fmla="*/ 140 h 274"/>
                <a:gd name="T88" fmla="*/ 134 w 190"/>
                <a:gd name="T89" fmla="*/ 138 h 274"/>
                <a:gd name="T90" fmla="*/ 132 w 190"/>
                <a:gd name="T91" fmla="*/ 130 h 274"/>
                <a:gd name="T92" fmla="*/ 124 w 190"/>
                <a:gd name="T93" fmla="*/ 130 h 274"/>
                <a:gd name="T94" fmla="*/ 120 w 190"/>
                <a:gd name="T95" fmla="*/ 122 h 274"/>
                <a:gd name="T96" fmla="*/ 110 w 190"/>
                <a:gd name="T97" fmla="*/ 112 h 274"/>
                <a:gd name="T98" fmla="*/ 106 w 190"/>
                <a:gd name="T99" fmla="*/ 100 h 274"/>
                <a:gd name="T100" fmla="*/ 108 w 190"/>
                <a:gd name="T101" fmla="*/ 88 h 274"/>
                <a:gd name="T102" fmla="*/ 116 w 190"/>
                <a:gd name="T103" fmla="*/ 84 h 274"/>
                <a:gd name="T104" fmla="*/ 124 w 190"/>
                <a:gd name="T105" fmla="*/ 78 h 274"/>
                <a:gd name="T106" fmla="*/ 122 w 190"/>
                <a:gd name="T107" fmla="*/ 68 h 274"/>
                <a:gd name="T108" fmla="*/ 126 w 190"/>
                <a:gd name="T109" fmla="*/ 54 h 274"/>
                <a:gd name="T110" fmla="*/ 134 w 190"/>
                <a:gd name="T111" fmla="*/ 48 h 274"/>
                <a:gd name="T112" fmla="*/ 144 w 190"/>
                <a:gd name="T113" fmla="*/ 50 h 274"/>
                <a:gd name="T114" fmla="*/ 152 w 190"/>
                <a:gd name="T115" fmla="*/ 50 h 274"/>
                <a:gd name="T116" fmla="*/ 162 w 190"/>
                <a:gd name="T117" fmla="*/ 42 h 274"/>
                <a:gd name="T118" fmla="*/ 164 w 190"/>
                <a:gd name="T119" fmla="*/ 3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" h="274">
                  <a:moveTo>
                    <a:pt x="154" y="12"/>
                  </a:moveTo>
                  <a:lnTo>
                    <a:pt x="154" y="12"/>
                  </a:lnTo>
                  <a:lnTo>
                    <a:pt x="152" y="10"/>
                  </a:lnTo>
                  <a:lnTo>
                    <a:pt x="148" y="8"/>
                  </a:lnTo>
                  <a:lnTo>
                    <a:pt x="144" y="4"/>
                  </a:lnTo>
                  <a:lnTo>
                    <a:pt x="142" y="4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38" y="2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6" y="2"/>
                  </a:lnTo>
                  <a:lnTo>
                    <a:pt x="118" y="0"/>
                  </a:lnTo>
                  <a:lnTo>
                    <a:pt x="116" y="0"/>
                  </a:lnTo>
                  <a:lnTo>
                    <a:pt x="112" y="4"/>
                  </a:lnTo>
                  <a:lnTo>
                    <a:pt x="110" y="8"/>
                  </a:lnTo>
                  <a:lnTo>
                    <a:pt x="110" y="10"/>
                  </a:lnTo>
                  <a:lnTo>
                    <a:pt x="108" y="10"/>
                  </a:lnTo>
                  <a:lnTo>
                    <a:pt x="106" y="12"/>
                  </a:lnTo>
                  <a:lnTo>
                    <a:pt x="104" y="14"/>
                  </a:lnTo>
                  <a:lnTo>
                    <a:pt x="102" y="14"/>
                  </a:lnTo>
                  <a:lnTo>
                    <a:pt x="100" y="16"/>
                  </a:lnTo>
                  <a:lnTo>
                    <a:pt x="94" y="18"/>
                  </a:lnTo>
                  <a:lnTo>
                    <a:pt x="88" y="20"/>
                  </a:lnTo>
                  <a:lnTo>
                    <a:pt x="76" y="24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6" y="30"/>
                  </a:lnTo>
                  <a:lnTo>
                    <a:pt x="64" y="30"/>
                  </a:lnTo>
                  <a:lnTo>
                    <a:pt x="62" y="32"/>
                  </a:lnTo>
                  <a:lnTo>
                    <a:pt x="56" y="36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4" y="46"/>
                  </a:lnTo>
                  <a:lnTo>
                    <a:pt x="40" y="50"/>
                  </a:lnTo>
                  <a:lnTo>
                    <a:pt x="38" y="52"/>
                  </a:lnTo>
                  <a:lnTo>
                    <a:pt x="36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8" y="52"/>
                  </a:lnTo>
                  <a:lnTo>
                    <a:pt x="26" y="50"/>
                  </a:lnTo>
                  <a:lnTo>
                    <a:pt x="26" y="48"/>
                  </a:lnTo>
                  <a:lnTo>
                    <a:pt x="24" y="46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2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18" y="32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6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0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6" y="3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4" y="40"/>
                  </a:lnTo>
                  <a:lnTo>
                    <a:pt x="2" y="40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4" y="70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8" y="72"/>
                  </a:lnTo>
                  <a:lnTo>
                    <a:pt x="10" y="72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6"/>
                  </a:lnTo>
                  <a:lnTo>
                    <a:pt x="22" y="78"/>
                  </a:lnTo>
                  <a:lnTo>
                    <a:pt x="22" y="80"/>
                  </a:lnTo>
                  <a:lnTo>
                    <a:pt x="24" y="84"/>
                  </a:lnTo>
                  <a:lnTo>
                    <a:pt x="24" y="86"/>
                  </a:lnTo>
                  <a:lnTo>
                    <a:pt x="24" y="90"/>
                  </a:lnTo>
                  <a:lnTo>
                    <a:pt x="24" y="92"/>
                  </a:lnTo>
                  <a:lnTo>
                    <a:pt x="24" y="94"/>
                  </a:lnTo>
                  <a:lnTo>
                    <a:pt x="26" y="94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0" y="98"/>
                  </a:lnTo>
                  <a:lnTo>
                    <a:pt x="32" y="98"/>
                  </a:lnTo>
                  <a:lnTo>
                    <a:pt x="32" y="100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6"/>
                  </a:lnTo>
                  <a:lnTo>
                    <a:pt x="34" y="108"/>
                  </a:lnTo>
                  <a:lnTo>
                    <a:pt x="34" y="112"/>
                  </a:lnTo>
                  <a:lnTo>
                    <a:pt x="34" y="114"/>
                  </a:lnTo>
                  <a:lnTo>
                    <a:pt x="36" y="114"/>
                  </a:lnTo>
                  <a:lnTo>
                    <a:pt x="36" y="118"/>
                  </a:lnTo>
                  <a:lnTo>
                    <a:pt x="38" y="122"/>
                  </a:lnTo>
                  <a:lnTo>
                    <a:pt x="38" y="12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0" y="128"/>
                  </a:lnTo>
                  <a:lnTo>
                    <a:pt x="42" y="128"/>
                  </a:lnTo>
                  <a:lnTo>
                    <a:pt x="42" y="130"/>
                  </a:lnTo>
                  <a:lnTo>
                    <a:pt x="46" y="130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50" y="132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6"/>
                  </a:lnTo>
                  <a:lnTo>
                    <a:pt x="50" y="138"/>
                  </a:lnTo>
                  <a:lnTo>
                    <a:pt x="50" y="140"/>
                  </a:lnTo>
                  <a:lnTo>
                    <a:pt x="50" y="142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4" y="150"/>
                  </a:lnTo>
                  <a:lnTo>
                    <a:pt x="54" y="150"/>
                  </a:lnTo>
                  <a:lnTo>
                    <a:pt x="56" y="152"/>
                  </a:lnTo>
                  <a:lnTo>
                    <a:pt x="56" y="154"/>
                  </a:lnTo>
                  <a:lnTo>
                    <a:pt x="58" y="156"/>
                  </a:lnTo>
                  <a:lnTo>
                    <a:pt x="60" y="158"/>
                  </a:lnTo>
                  <a:lnTo>
                    <a:pt x="62" y="160"/>
                  </a:lnTo>
                  <a:lnTo>
                    <a:pt x="62" y="162"/>
                  </a:lnTo>
                  <a:lnTo>
                    <a:pt x="62" y="164"/>
                  </a:lnTo>
                  <a:lnTo>
                    <a:pt x="64" y="168"/>
                  </a:lnTo>
                  <a:lnTo>
                    <a:pt x="64" y="170"/>
                  </a:lnTo>
                  <a:lnTo>
                    <a:pt x="66" y="174"/>
                  </a:lnTo>
                  <a:lnTo>
                    <a:pt x="66" y="178"/>
                  </a:lnTo>
                  <a:lnTo>
                    <a:pt x="68" y="182"/>
                  </a:lnTo>
                  <a:lnTo>
                    <a:pt x="70" y="186"/>
                  </a:lnTo>
                  <a:lnTo>
                    <a:pt x="70" y="188"/>
                  </a:lnTo>
                  <a:lnTo>
                    <a:pt x="72" y="188"/>
                  </a:lnTo>
                  <a:lnTo>
                    <a:pt x="72" y="190"/>
                  </a:lnTo>
                  <a:lnTo>
                    <a:pt x="74" y="190"/>
                  </a:lnTo>
                  <a:lnTo>
                    <a:pt x="76" y="192"/>
                  </a:lnTo>
                  <a:lnTo>
                    <a:pt x="76" y="192"/>
                  </a:lnTo>
                  <a:lnTo>
                    <a:pt x="78" y="192"/>
                  </a:lnTo>
                  <a:lnTo>
                    <a:pt x="78" y="194"/>
                  </a:lnTo>
                  <a:lnTo>
                    <a:pt x="78" y="194"/>
                  </a:lnTo>
                  <a:lnTo>
                    <a:pt x="78" y="194"/>
                  </a:lnTo>
                  <a:lnTo>
                    <a:pt x="78" y="194"/>
                  </a:lnTo>
                  <a:lnTo>
                    <a:pt x="78" y="196"/>
                  </a:lnTo>
                  <a:lnTo>
                    <a:pt x="78" y="198"/>
                  </a:lnTo>
                  <a:lnTo>
                    <a:pt x="76" y="198"/>
                  </a:lnTo>
                  <a:lnTo>
                    <a:pt x="76" y="200"/>
                  </a:lnTo>
                  <a:lnTo>
                    <a:pt x="76" y="200"/>
                  </a:lnTo>
                  <a:lnTo>
                    <a:pt x="76" y="202"/>
                  </a:lnTo>
                  <a:lnTo>
                    <a:pt x="76" y="204"/>
                  </a:lnTo>
                  <a:lnTo>
                    <a:pt x="76" y="206"/>
                  </a:lnTo>
                  <a:lnTo>
                    <a:pt x="78" y="206"/>
                  </a:lnTo>
                  <a:lnTo>
                    <a:pt x="78" y="208"/>
                  </a:lnTo>
                  <a:lnTo>
                    <a:pt x="78" y="210"/>
                  </a:lnTo>
                  <a:lnTo>
                    <a:pt x="80" y="212"/>
                  </a:lnTo>
                  <a:lnTo>
                    <a:pt x="80" y="212"/>
                  </a:lnTo>
                  <a:lnTo>
                    <a:pt x="82" y="214"/>
                  </a:lnTo>
                  <a:lnTo>
                    <a:pt x="84" y="216"/>
                  </a:lnTo>
                  <a:lnTo>
                    <a:pt x="86" y="218"/>
                  </a:lnTo>
                  <a:lnTo>
                    <a:pt x="88" y="218"/>
                  </a:lnTo>
                  <a:lnTo>
                    <a:pt x="92" y="220"/>
                  </a:lnTo>
                  <a:lnTo>
                    <a:pt x="94" y="222"/>
                  </a:lnTo>
                  <a:lnTo>
                    <a:pt x="96" y="224"/>
                  </a:lnTo>
                  <a:lnTo>
                    <a:pt x="98" y="224"/>
                  </a:lnTo>
                  <a:lnTo>
                    <a:pt x="98" y="226"/>
                  </a:lnTo>
                  <a:lnTo>
                    <a:pt x="102" y="232"/>
                  </a:lnTo>
                  <a:lnTo>
                    <a:pt x="104" y="234"/>
                  </a:lnTo>
                  <a:lnTo>
                    <a:pt x="106" y="236"/>
                  </a:lnTo>
                  <a:lnTo>
                    <a:pt x="108" y="238"/>
                  </a:lnTo>
                  <a:lnTo>
                    <a:pt x="110" y="240"/>
                  </a:lnTo>
                  <a:lnTo>
                    <a:pt x="110" y="240"/>
                  </a:lnTo>
                  <a:lnTo>
                    <a:pt x="110" y="240"/>
                  </a:lnTo>
                  <a:lnTo>
                    <a:pt x="112" y="242"/>
                  </a:lnTo>
                  <a:lnTo>
                    <a:pt x="114" y="242"/>
                  </a:lnTo>
                  <a:lnTo>
                    <a:pt x="118" y="244"/>
                  </a:lnTo>
                  <a:lnTo>
                    <a:pt x="120" y="244"/>
                  </a:lnTo>
                  <a:lnTo>
                    <a:pt x="126" y="246"/>
                  </a:lnTo>
                  <a:lnTo>
                    <a:pt x="130" y="248"/>
                  </a:lnTo>
                  <a:lnTo>
                    <a:pt x="132" y="248"/>
                  </a:lnTo>
                  <a:lnTo>
                    <a:pt x="134" y="250"/>
                  </a:lnTo>
                  <a:lnTo>
                    <a:pt x="136" y="252"/>
                  </a:lnTo>
                  <a:lnTo>
                    <a:pt x="142" y="256"/>
                  </a:lnTo>
                  <a:lnTo>
                    <a:pt x="146" y="260"/>
                  </a:lnTo>
                  <a:lnTo>
                    <a:pt x="152" y="264"/>
                  </a:lnTo>
                  <a:lnTo>
                    <a:pt x="158" y="270"/>
                  </a:lnTo>
                  <a:lnTo>
                    <a:pt x="164" y="274"/>
                  </a:lnTo>
                  <a:lnTo>
                    <a:pt x="174" y="264"/>
                  </a:lnTo>
                  <a:lnTo>
                    <a:pt x="174" y="264"/>
                  </a:lnTo>
                  <a:lnTo>
                    <a:pt x="176" y="260"/>
                  </a:lnTo>
                  <a:lnTo>
                    <a:pt x="176" y="258"/>
                  </a:lnTo>
                  <a:lnTo>
                    <a:pt x="176" y="256"/>
                  </a:lnTo>
                  <a:lnTo>
                    <a:pt x="178" y="254"/>
                  </a:lnTo>
                  <a:lnTo>
                    <a:pt x="178" y="254"/>
                  </a:lnTo>
                  <a:lnTo>
                    <a:pt x="178" y="252"/>
                  </a:lnTo>
                  <a:lnTo>
                    <a:pt x="178" y="252"/>
                  </a:lnTo>
                  <a:lnTo>
                    <a:pt x="180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4" y="252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48"/>
                  </a:lnTo>
                  <a:lnTo>
                    <a:pt x="182" y="248"/>
                  </a:lnTo>
                  <a:lnTo>
                    <a:pt x="182" y="246"/>
                  </a:lnTo>
                  <a:lnTo>
                    <a:pt x="180" y="244"/>
                  </a:lnTo>
                  <a:lnTo>
                    <a:pt x="178" y="244"/>
                  </a:lnTo>
                  <a:lnTo>
                    <a:pt x="178" y="242"/>
                  </a:lnTo>
                  <a:lnTo>
                    <a:pt x="178" y="240"/>
                  </a:lnTo>
                  <a:lnTo>
                    <a:pt x="178" y="240"/>
                  </a:lnTo>
                  <a:lnTo>
                    <a:pt x="178" y="236"/>
                  </a:lnTo>
                  <a:lnTo>
                    <a:pt x="178" y="234"/>
                  </a:lnTo>
                  <a:lnTo>
                    <a:pt x="180" y="230"/>
                  </a:lnTo>
                  <a:lnTo>
                    <a:pt x="180" y="222"/>
                  </a:lnTo>
                  <a:lnTo>
                    <a:pt x="180" y="220"/>
                  </a:lnTo>
                  <a:lnTo>
                    <a:pt x="180" y="216"/>
                  </a:lnTo>
                  <a:lnTo>
                    <a:pt x="180" y="214"/>
                  </a:lnTo>
                  <a:lnTo>
                    <a:pt x="180" y="212"/>
                  </a:lnTo>
                  <a:lnTo>
                    <a:pt x="180" y="206"/>
                  </a:lnTo>
                  <a:lnTo>
                    <a:pt x="180" y="204"/>
                  </a:lnTo>
                  <a:lnTo>
                    <a:pt x="180" y="202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0" y="198"/>
                  </a:lnTo>
                  <a:lnTo>
                    <a:pt x="180" y="196"/>
                  </a:lnTo>
                  <a:lnTo>
                    <a:pt x="182" y="196"/>
                  </a:lnTo>
                  <a:lnTo>
                    <a:pt x="184" y="194"/>
                  </a:lnTo>
                  <a:lnTo>
                    <a:pt x="186" y="192"/>
                  </a:lnTo>
                  <a:lnTo>
                    <a:pt x="186" y="192"/>
                  </a:lnTo>
                  <a:lnTo>
                    <a:pt x="188" y="192"/>
                  </a:lnTo>
                  <a:lnTo>
                    <a:pt x="188" y="190"/>
                  </a:lnTo>
                  <a:lnTo>
                    <a:pt x="188" y="188"/>
                  </a:lnTo>
                  <a:lnTo>
                    <a:pt x="188" y="186"/>
                  </a:lnTo>
                  <a:lnTo>
                    <a:pt x="190" y="184"/>
                  </a:lnTo>
                  <a:lnTo>
                    <a:pt x="190" y="182"/>
                  </a:lnTo>
                  <a:lnTo>
                    <a:pt x="190" y="180"/>
                  </a:lnTo>
                  <a:lnTo>
                    <a:pt x="190" y="178"/>
                  </a:lnTo>
                  <a:lnTo>
                    <a:pt x="190" y="176"/>
                  </a:lnTo>
                  <a:lnTo>
                    <a:pt x="188" y="176"/>
                  </a:lnTo>
                  <a:lnTo>
                    <a:pt x="188" y="174"/>
                  </a:lnTo>
                  <a:lnTo>
                    <a:pt x="186" y="172"/>
                  </a:lnTo>
                  <a:lnTo>
                    <a:pt x="186" y="168"/>
                  </a:lnTo>
                  <a:lnTo>
                    <a:pt x="184" y="166"/>
                  </a:lnTo>
                  <a:lnTo>
                    <a:pt x="180" y="162"/>
                  </a:lnTo>
                  <a:lnTo>
                    <a:pt x="178" y="160"/>
                  </a:lnTo>
                  <a:lnTo>
                    <a:pt x="176" y="158"/>
                  </a:lnTo>
                  <a:lnTo>
                    <a:pt x="172" y="156"/>
                  </a:lnTo>
                  <a:lnTo>
                    <a:pt x="170" y="156"/>
                  </a:lnTo>
                  <a:lnTo>
                    <a:pt x="168" y="154"/>
                  </a:lnTo>
                  <a:lnTo>
                    <a:pt x="166" y="154"/>
                  </a:lnTo>
                  <a:lnTo>
                    <a:pt x="166" y="154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4" y="148"/>
                  </a:lnTo>
                  <a:lnTo>
                    <a:pt x="164" y="146"/>
                  </a:lnTo>
                  <a:lnTo>
                    <a:pt x="164" y="142"/>
                  </a:lnTo>
                  <a:lnTo>
                    <a:pt x="162" y="140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2" y="136"/>
                  </a:lnTo>
                  <a:lnTo>
                    <a:pt x="162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58" y="134"/>
                  </a:lnTo>
                  <a:lnTo>
                    <a:pt x="158" y="134"/>
                  </a:lnTo>
                  <a:lnTo>
                    <a:pt x="158" y="134"/>
                  </a:lnTo>
                  <a:lnTo>
                    <a:pt x="158" y="134"/>
                  </a:lnTo>
                  <a:lnTo>
                    <a:pt x="156" y="136"/>
                  </a:lnTo>
                  <a:lnTo>
                    <a:pt x="154" y="136"/>
                  </a:lnTo>
                  <a:lnTo>
                    <a:pt x="152" y="140"/>
                  </a:lnTo>
                  <a:lnTo>
                    <a:pt x="150" y="140"/>
                  </a:lnTo>
                  <a:lnTo>
                    <a:pt x="148" y="140"/>
                  </a:lnTo>
                  <a:lnTo>
                    <a:pt x="148" y="140"/>
                  </a:lnTo>
                  <a:lnTo>
                    <a:pt x="146" y="140"/>
                  </a:lnTo>
                  <a:lnTo>
                    <a:pt x="146" y="142"/>
                  </a:lnTo>
                  <a:lnTo>
                    <a:pt x="144" y="140"/>
                  </a:lnTo>
                  <a:lnTo>
                    <a:pt x="142" y="140"/>
                  </a:lnTo>
                  <a:lnTo>
                    <a:pt x="140" y="140"/>
                  </a:lnTo>
                  <a:lnTo>
                    <a:pt x="138" y="140"/>
                  </a:lnTo>
                  <a:lnTo>
                    <a:pt x="136" y="140"/>
                  </a:lnTo>
                  <a:lnTo>
                    <a:pt x="136" y="140"/>
                  </a:lnTo>
                  <a:lnTo>
                    <a:pt x="136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6"/>
                  </a:lnTo>
                  <a:lnTo>
                    <a:pt x="134" y="134"/>
                  </a:lnTo>
                  <a:lnTo>
                    <a:pt x="134" y="132"/>
                  </a:lnTo>
                  <a:lnTo>
                    <a:pt x="134" y="132"/>
                  </a:lnTo>
                  <a:lnTo>
                    <a:pt x="134" y="130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0" y="130"/>
                  </a:lnTo>
                  <a:lnTo>
                    <a:pt x="128" y="130"/>
                  </a:lnTo>
                  <a:lnTo>
                    <a:pt x="126" y="130"/>
                  </a:lnTo>
                  <a:lnTo>
                    <a:pt x="126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28"/>
                  </a:lnTo>
                  <a:lnTo>
                    <a:pt x="122" y="128"/>
                  </a:lnTo>
                  <a:lnTo>
                    <a:pt x="122" y="126"/>
                  </a:lnTo>
                  <a:lnTo>
                    <a:pt x="122" y="126"/>
                  </a:lnTo>
                  <a:lnTo>
                    <a:pt x="122" y="124"/>
                  </a:lnTo>
                  <a:lnTo>
                    <a:pt x="120" y="122"/>
                  </a:lnTo>
                  <a:lnTo>
                    <a:pt x="120" y="120"/>
                  </a:lnTo>
                  <a:lnTo>
                    <a:pt x="120" y="118"/>
                  </a:lnTo>
                  <a:lnTo>
                    <a:pt x="118" y="118"/>
                  </a:lnTo>
                  <a:lnTo>
                    <a:pt x="118" y="116"/>
                  </a:lnTo>
                  <a:lnTo>
                    <a:pt x="114" y="114"/>
                  </a:lnTo>
                  <a:lnTo>
                    <a:pt x="112" y="112"/>
                  </a:lnTo>
                  <a:lnTo>
                    <a:pt x="110" y="112"/>
                  </a:lnTo>
                  <a:lnTo>
                    <a:pt x="110" y="110"/>
                  </a:lnTo>
                  <a:lnTo>
                    <a:pt x="108" y="110"/>
                  </a:lnTo>
                  <a:lnTo>
                    <a:pt x="108" y="108"/>
                  </a:lnTo>
                  <a:lnTo>
                    <a:pt x="108" y="106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6" y="100"/>
                  </a:lnTo>
                  <a:lnTo>
                    <a:pt x="106" y="100"/>
                  </a:lnTo>
                  <a:lnTo>
                    <a:pt x="106" y="98"/>
                  </a:lnTo>
                  <a:lnTo>
                    <a:pt x="106" y="96"/>
                  </a:lnTo>
                  <a:lnTo>
                    <a:pt x="106" y="94"/>
                  </a:lnTo>
                  <a:lnTo>
                    <a:pt x="106" y="92"/>
                  </a:lnTo>
                  <a:lnTo>
                    <a:pt x="108" y="90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12" y="86"/>
                  </a:lnTo>
                  <a:lnTo>
                    <a:pt x="112" y="86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8" y="84"/>
                  </a:lnTo>
                  <a:lnTo>
                    <a:pt x="120" y="82"/>
                  </a:lnTo>
                  <a:lnTo>
                    <a:pt x="122" y="80"/>
                  </a:lnTo>
                  <a:lnTo>
                    <a:pt x="122" y="80"/>
                  </a:lnTo>
                  <a:lnTo>
                    <a:pt x="122" y="80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76"/>
                  </a:lnTo>
                  <a:lnTo>
                    <a:pt x="124" y="76"/>
                  </a:lnTo>
                  <a:lnTo>
                    <a:pt x="124" y="74"/>
                  </a:lnTo>
                  <a:lnTo>
                    <a:pt x="122" y="72"/>
                  </a:lnTo>
                  <a:lnTo>
                    <a:pt x="122" y="70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6"/>
                  </a:lnTo>
                  <a:lnTo>
                    <a:pt x="122" y="64"/>
                  </a:lnTo>
                  <a:lnTo>
                    <a:pt x="122" y="62"/>
                  </a:lnTo>
                  <a:lnTo>
                    <a:pt x="124" y="60"/>
                  </a:lnTo>
                  <a:lnTo>
                    <a:pt x="124" y="58"/>
                  </a:lnTo>
                  <a:lnTo>
                    <a:pt x="124" y="56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40" y="48"/>
                  </a:lnTo>
                  <a:lnTo>
                    <a:pt x="142" y="50"/>
                  </a:lnTo>
                  <a:lnTo>
                    <a:pt x="144" y="50"/>
                  </a:lnTo>
                  <a:lnTo>
                    <a:pt x="146" y="50"/>
                  </a:lnTo>
                  <a:lnTo>
                    <a:pt x="146" y="50"/>
                  </a:lnTo>
                  <a:lnTo>
                    <a:pt x="148" y="50"/>
                  </a:lnTo>
                  <a:lnTo>
                    <a:pt x="148" y="50"/>
                  </a:lnTo>
                  <a:lnTo>
                    <a:pt x="150" y="50"/>
                  </a:lnTo>
                  <a:lnTo>
                    <a:pt x="152" y="50"/>
                  </a:lnTo>
                  <a:lnTo>
                    <a:pt x="152" y="50"/>
                  </a:lnTo>
                  <a:lnTo>
                    <a:pt x="154" y="48"/>
                  </a:lnTo>
                  <a:lnTo>
                    <a:pt x="156" y="48"/>
                  </a:lnTo>
                  <a:lnTo>
                    <a:pt x="158" y="46"/>
                  </a:lnTo>
                  <a:lnTo>
                    <a:pt x="158" y="46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2" y="42"/>
                  </a:lnTo>
                  <a:lnTo>
                    <a:pt x="162" y="40"/>
                  </a:lnTo>
                  <a:lnTo>
                    <a:pt x="162" y="38"/>
                  </a:lnTo>
                  <a:lnTo>
                    <a:pt x="164" y="36"/>
                  </a:lnTo>
                  <a:lnTo>
                    <a:pt x="164" y="34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2" y="26"/>
                  </a:lnTo>
                  <a:lnTo>
                    <a:pt x="160" y="22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4" y="1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15" name="Freeform 477">
              <a:extLst>
                <a:ext uri="{FF2B5EF4-FFF2-40B4-BE49-F238E27FC236}">
                  <a16:creationId xmlns:a16="http://schemas.microsoft.com/office/drawing/2014/main" id="{07E4DE2F-3C04-44DE-A846-53332EA16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3778" y="4616035"/>
              <a:ext cx="191343" cy="167149"/>
            </a:xfrm>
            <a:custGeom>
              <a:avLst/>
              <a:gdLst>
                <a:gd name="T0" fmla="*/ 112 w 112"/>
                <a:gd name="T1" fmla="*/ 46 h 100"/>
                <a:gd name="T2" fmla="*/ 106 w 112"/>
                <a:gd name="T3" fmla="*/ 40 h 100"/>
                <a:gd name="T4" fmla="*/ 100 w 112"/>
                <a:gd name="T5" fmla="*/ 32 h 100"/>
                <a:gd name="T6" fmla="*/ 98 w 112"/>
                <a:gd name="T7" fmla="*/ 30 h 100"/>
                <a:gd name="T8" fmla="*/ 92 w 112"/>
                <a:gd name="T9" fmla="*/ 26 h 100"/>
                <a:gd name="T10" fmla="*/ 86 w 112"/>
                <a:gd name="T11" fmla="*/ 22 h 100"/>
                <a:gd name="T12" fmla="*/ 82 w 112"/>
                <a:gd name="T13" fmla="*/ 20 h 100"/>
                <a:gd name="T14" fmla="*/ 78 w 112"/>
                <a:gd name="T15" fmla="*/ 16 h 100"/>
                <a:gd name="T16" fmla="*/ 76 w 112"/>
                <a:gd name="T17" fmla="*/ 12 h 100"/>
                <a:gd name="T18" fmla="*/ 72 w 112"/>
                <a:gd name="T19" fmla="*/ 10 h 100"/>
                <a:gd name="T20" fmla="*/ 70 w 112"/>
                <a:gd name="T21" fmla="*/ 10 h 100"/>
                <a:gd name="T22" fmla="*/ 68 w 112"/>
                <a:gd name="T23" fmla="*/ 10 h 100"/>
                <a:gd name="T24" fmla="*/ 60 w 112"/>
                <a:gd name="T25" fmla="*/ 12 h 100"/>
                <a:gd name="T26" fmla="*/ 54 w 112"/>
                <a:gd name="T27" fmla="*/ 12 h 100"/>
                <a:gd name="T28" fmla="*/ 50 w 112"/>
                <a:gd name="T29" fmla="*/ 12 h 100"/>
                <a:gd name="T30" fmla="*/ 48 w 112"/>
                <a:gd name="T31" fmla="*/ 12 h 100"/>
                <a:gd name="T32" fmla="*/ 42 w 112"/>
                <a:gd name="T33" fmla="*/ 10 h 100"/>
                <a:gd name="T34" fmla="*/ 36 w 112"/>
                <a:gd name="T35" fmla="*/ 6 h 100"/>
                <a:gd name="T36" fmla="*/ 28 w 112"/>
                <a:gd name="T37" fmla="*/ 0 h 100"/>
                <a:gd name="T38" fmla="*/ 22 w 112"/>
                <a:gd name="T39" fmla="*/ 2 h 100"/>
                <a:gd name="T40" fmla="*/ 18 w 112"/>
                <a:gd name="T41" fmla="*/ 4 h 100"/>
                <a:gd name="T42" fmla="*/ 16 w 112"/>
                <a:gd name="T43" fmla="*/ 6 h 100"/>
                <a:gd name="T44" fmla="*/ 14 w 112"/>
                <a:gd name="T45" fmla="*/ 6 h 100"/>
                <a:gd name="T46" fmla="*/ 14 w 112"/>
                <a:gd name="T47" fmla="*/ 10 h 100"/>
                <a:gd name="T48" fmla="*/ 14 w 112"/>
                <a:gd name="T49" fmla="*/ 14 h 100"/>
                <a:gd name="T50" fmla="*/ 12 w 112"/>
                <a:gd name="T51" fmla="*/ 22 h 100"/>
                <a:gd name="T52" fmla="*/ 12 w 112"/>
                <a:gd name="T53" fmla="*/ 24 h 100"/>
                <a:gd name="T54" fmla="*/ 10 w 112"/>
                <a:gd name="T55" fmla="*/ 26 h 100"/>
                <a:gd name="T56" fmla="*/ 8 w 112"/>
                <a:gd name="T57" fmla="*/ 30 h 100"/>
                <a:gd name="T58" fmla="*/ 4 w 112"/>
                <a:gd name="T59" fmla="*/ 34 h 100"/>
                <a:gd name="T60" fmla="*/ 2 w 112"/>
                <a:gd name="T61" fmla="*/ 38 h 100"/>
                <a:gd name="T62" fmla="*/ 0 w 112"/>
                <a:gd name="T63" fmla="*/ 42 h 100"/>
                <a:gd name="T64" fmla="*/ 0 w 112"/>
                <a:gd name="T65" fmla="*/ 44 h 100"/>
                <a:gd name="T66" fmla="*/ 2 w 112"/>
                <a:gd name="T67" fmla="*/ 48 h 100"/>
                <a:gd name="T68" fmla="*/ 4 w 112"/>
                <a:gd name="T69" fmla="*/ 52 h 100"/>
                <a:gd name="T70" fmla="*/ 6 w 112"/>
                <a:gd name="T71" fmla="*/ 56 h 100"/>
                <a:gd name="T72" fmla="*/ 10 w 112"/>
                <a:gd name="T73" fmla="*/ 58 h 100"/>
                <a:gd name="T74" fmla="*/ 14 w 112"/>
                <a:gd name="T75" fmla="*/ 62 h 100"/>
                <a:gd name="T76" fmla="*/ 16 w 112"/>
                <a:gd name="T77" fmla="*/ 64 h 100"/>
                <a:gd name="T78" fmla="*/ 16 w 112"/>
                <a:gd name="T79" fmla="*/ 68 h 100"/>
                <a:gd name="T80" fmla="*/ 18 w 112"/>
                <a:gd name="T81" fmla="*/ 74 h 100"/>
                <a:gd name="T82" fmla="*/ 18 w 112"/>
                <a:gd name="T83" fmla="*/ 84 h 100"/>
                <a:gd name="T84" fmla="*/ 18 w 112"/>
                <a:gd name="T85" fmla="*/ 90 h 100"/>
                <a:gd name="T86" fmla="*/ 20 w 112"/>
                <a:gd name="T87" fmla="*/ 94 h 100"/>
                <a:gd name="T88" fmla="*/ 24 w 112"/>
                <a:gd name="T89" fmla="*/ 98 h 100"/>
                <a:gd name="T90" fmla="*/ 26 w 112"/>
                <a:gd name="T91" fmla="*/ 100 h 100"/>
                <a:gd name="T92" fmla="*/ 28 w 112"/>
                <a:gd name="T93" fmla="*/ 100 h 100"/>
                <a:gd name="T94" fmla="*/ 30 w 112"/>
                <a:gd name="T95" fmla="*/ 100 h 100"/>
                <a:gd name="T96" fmla="*/ 30 w 112"/>
                <a:gd name="T97" fmla="*/ 100 h 100"/>
                <a:gd name="T98" fmla="*/ 36 w 112"/>
                <a:gd name="T99" fmla="*/ 96 h 100"/>
                <a:gd name="T100" fmla="*/ 40 w 112"/>
                <a:gd name="T101" fmla="*/ 90 h 100"/>
                <a:gd name="T102" fmla="*/ 52 w 112"/>
                <a:gd name="T103" fmla="*/ 82 h 100"/>
                <a:gd name="T104" fmla="*/ 60 w 112"/>
                <a:gd name="T105" fmla="*/ 76 h 100"/>
                <a:gd name="T106" fmla="*/ 64 w 112"/>
                <a:gd name="T107" fmla="*/ 74 h 100"/>
                <a:gd name="T108" fmla="*/ 72 w 112"/>
                <a:gd name="T109" fmla="*/ 72 h 100"/>
                <a:gd name="T110" fmla="*/ 90 w 112"/>
                <a:gd name="T111" fmla="*/ 64 h 100"/>
                <a:gd name="T112" fmla="*/ 98 w 112"/>
                <a:gd name="T113" fmla="*/ 60 h 100"/>
                <a:gd name="T114" fmla="*/ 102 w 112"/>
                <a:gd name="T115" fmla="*/ 58 h 100"/>
                <a:gd name="T116" fmla="*/ 104 w 112"/>
                <a:gd name="T117" fmla="*/ 56 h 100"/>
                <a:gd name="T118" fmla="*/ 108 w 112"/>
                <a:gd name="T119" fmla="*/ 5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2" h="100">
                  <a:moveTo>
                    <a:pt x="112" y="46"/>
                  </a:moveTo>
                  <a:lnTo>
                    <a:pt x="112" y="46"/>
                  </a:lnTo>
                  <a:lnTo>
                    <a:pt x="110" y="44"/>
                  </a:lnTo>
                  <a:lnTo>
                    <a:pt x="106" y="40"/>
                  </a:lnTo>
                  <a:lnTo>
                    <a:pt x="102" y="34"/>
                  </a:lnTo>
                  <a:lnTo>
                    <a:pt x="100" y="32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6" y="28"/>
                  </a:lnTo>
                  <a:lnTo>
                    <a:pt x="92" y="26"/>
                  </a:lnTo>
                  <a:lnTo>
                    <a:pt x="88" y="22"/>
                  </a:lnTo>
                  <a:lnTo>
                    <a:pt x="86" y="22"/>
                  </a:lnTo>
                  <a:lnTo>
                    <a:pt x="84" y="20"/>
                  </a:lnTo>
                  <a:lnTo>
                    <a:pt x="82" y="20"/>
                  </a:lnTo>
                  <a:lnTo>
                    <a:pt x="82" y="18"/>
                  </a:lnTo>
                  <a:lnTo>
                    <a:pt x="78" y="16"/>
                  </a:lnTo>
                  <a:lnTo>
                    <a:pt x="76" y="14"/>
                  </a:lnTo>
                  <a:lnTo>
                    <a:pt x="76" y="12"/>
                  </a:lnTo>
                  <a:lnTo>
                    <a:pt x="74" y="12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4" y="10"/>
                  </a:lnTo>
                  <a:lnTo>
                    <a:pt x="60" y="12"/>
                  </a:lnTo>
                  <a:lnTo>
                    <a:pt x="58" y="12"/>
                  </a:lnTo>
                  <a:lnTo>
                    <a:pt x="54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0" y="8"/>
                  </a:lnTo>
                  <a:lnTo>
                    <a:pt x="36" y="6"/>
                  </a:lnTo>
                  <a:lnTo>
                    <a:pt x="30" y="2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6"/>
                  </a:lnTo>
                  <a:lnTo>
                    <a:pt x="10" y="28"/>
                  </a:lnTo>
                  <a:lnTo>
                    <a:pt x="8" y="30"/>
                  </a:lnTo>
                  <a:lnTo>
                    <a:pt x="6" y="32"/>
                  </a:lnTo>
                  <a:lnTo>
                    <a:pt x="4" y="34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4" y="52"/>
                  </a:lnTo>
                  <a:lnTo>
                    <a:pt x="6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2" y="60"/>
                  </a:lnTo>
                  <a:lnTo>
                    <a:pt x="14" y="62"/>
                  </a:lnTo>
                  <a:lnTo>
                    <a:pt x="14" y="64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8" y="74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20" y="92"/>
                  </a:lnTo>
                  <a:lnTo>
                    <a:pt x="20" y="94"/>
                  </a:lnTo>
                  <a:lnTo>
                    <a:pt x="22" y="96"/>
                  </a:lnTo>
                  <a:lnTo>
                    <a:pt x="24" y="98"/>
                  </a:lnTo>
                  <a:lnTo>
                    <a:pt x="24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30" y="100"/>
                  </a:lnTo>
                  <a:lnTo>
                    <a:pt x="30" y="100"/>
                  </a:lnTo>
                  <a:lnTo>
                    <a:pt x="30" y="100"/>
                  </a:lnTo>
                  <a:lnTo>
                    <a:pt x="32" y="98"/>
                  </a:lnTo>
                  <a:lnTo>
                    <a:pt x="36" y="96"/>
                  </a:lnTo>
                  <a:lnTo>
                    <a:pt x="38" y="92"/>
                  </a:lnTo>
                  <a:lnTo>
                    <a:pt x="40" y="90"/>
                  </a:lnTo>
                  <a:lnTo>
                    <a:pt x="42" y="90"/>
                  </a:lnTo>
                  <a:lnTo>
                    <a:pt x="52" y="82"/>
                  </a:lnTo>
                  <a:lnTo>
                    <a:pt x="58" y="78"/>
                  </a:lnTo>
                  <a:lnTo>
                    <a:pt x="60" y="76"/>
                  </a:lnTo>
                  <a:lnTo>
                    <a:pt x="62" y="76"/>
                  </a:lnTo>
                  <a:lnTo>
                    <a:pt x="64" y="74"/>
                  </a:lnTo>
                  <a:lnTo>
                    <a:pt x="66" y="74"/>
                  </a:lnTo>
                  <a:lnTo>
                    <a:pt x="72" y="72"/>
                  </a:lnTo>
                  <a:lnTo>
                    <a:pt x="84" y="66"/>
                  </a:lnTo>
                  <a:lnTo>
                    <a:pt x="90" y="64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0" y="60"/>
                  </a:lnTo>
                  <a:lnTo>
                    <a:pt x="102" y="58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6" y="54"/>
                  </a:lnTo>
                  <a:lnTo>
                    <a:pt x="108" y="52"/>
                  </a:lnTo>
                  <a:lnTo>
                    <a:pt x="112" y="4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16" name="Freeform 479">
              <a:extLst>
                <a:ext uri="{FF2B5EF4-FFF2-40B4-BE49-F238E27FC236}">
                  <a16:creationId xmlns:a16="http://schemas.microsoft.com/office/drawing/2014/main" id="{967509E2-257B-4767-83A2-AF36ADAB4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1613" y="4298450"/>
              <a:ext cx="290433" cy="414533"/>
            </a:xfrm>
            <a:custGeom>
              <a:avLst/>
              <a:gdLst>
                <a:gd name="T0" fmla="*/ 34 w 170"/>
                <a:gd name="T1" fmla="*/ 72 h 248"/>
                <a:gd name="T2" fmla="*/ 40 w 170"/>
                <a:gd name="T3" fmla="*/ 76 h 248"/>
                <a:gd name="T4" fmla="*/ 42 w 170"/>
                <a:gd name="T5" fmla="*/ 72 h 248"/>
                <a:gd name="T6" fmla="*/ 42 w 170"/>
                <a:gd name="T7" fmla="*/ 56 h 248"/>
                <a:gd name="T8" fmla="*/ 46 w 170"/>
                <a:gd name="T9" fmla="*/ 52 h 248"/>
                <a:gd name="T10" fmla="*/ 56 w 170"/>
                <a:gd name="T11" fmla="*/ 50 h 248"/>
                <a:gd name="T12" fmla="*/ 58 w 170"/>
                <a:gd name="T13" fmla="*/ 44 h 248"/>
                <a:gd name="T14" fmla="*/ 58 w 170"/>
                <a:gd name="T15" fmla="*/ 34 h 248"/>
                <a:gd name="T16" fmla="*/ 68 w 170"/>
                <a:gd name="T17" fmla="*/ 24 h 248"/>
                <a:gd name="T18" fmla="*/ 78 w 170"/>
                <a:gd name="T19" fmla="*/ 20 h 248"/>
                <a:gd name="T20" fmla="*/ 90 w 170"/>
                <a:gd name="T21" fmla="*/ 20 h 248"/>
                <a:gd name="T22" fmla="*/ 94 w 170"/>
                <a:gd name="T23" fmla="*/ 14 h 248"/>
                <a:gd name="T24" fmla="*/ 96 w 170"/>
                <a:gd name="T25" fmla="*/ 6 h 248"/>
                <a:gd name="T26" fmla="*/ 104 w 170"/>
                <a:gd name="T27" fmla="*/ 2 h 248"/>
                <a:gd name="T28" fmla="*/ 112 w 170"/>
                <a:gd name="T29" fmla="*/ 4 h 248"/>
                <a:gd name="T30" fmla="*/ 104 w 170"/>
                <a:gd name="T31" fmla="*/ 18 h 248"/>
                <a:gd name="T32" fmla="*/ 100 w 170"/>
                <a:gd name="T33" fmla="*/ 32 h 248"/>
                <a:gd name="T34" fmla="*/ 96 w 170"/>
                <a:gd name="T35" fmla="*/ 44 h 248"/>
                <a:gd name="T36" fmla="*/ 88 w 170"/>
                <a:gd name="T37" fmla="*/ 48 h 248"/>
                <a:gd name="T38" fmla="*/ 86 w 170"/>
                <a:gd name="T39" fmla="*/ 52 h 248"/>
                <a:gd name="T40" fmla="*/ 94 w 170"/>
                <a:gd name="T41" fmla="*/ 60 h 248"/>
                <a:gd name="T42" fmla="*/ 100 w 170"/>
                <a:gd name="T43" fmla="*/ 68 h 248"/>
                <a:gd name="T44" fmla="*/ 96 w 170"/>
                <a:gd name="T45" fmla="*/ 78 h 248"/>
                <a:gd name="T46" fmla="*/ 96 w 170"/>
                <a:gd name="T47" fmla="*/ 86 h 248"/>
                <a:gd name="T48" fmla="*/ 104 w 170"/>
                <a:gd name="T49" fmla="*/ 86 h 248"/>
                <a:gd name="T50" fmla="*/ 120 w 170"/>
                <a:gd name="T51" fmla="*/ 86 h 248"/>
                <a:gd name="T52" fmla="*/ 122 w 170"/>
                <a:gd name="T53" fmla="*/ 88 h 248"/>
                <a:gd name="T54" fmla="*/ 124 w 170"/>
                <a:gd name="T55" fmla="*/ 96 h 248"/>
                <a:gd name="T56" fmla="*/ 130 w 170"/>
                <a:gd name="T57" fmla="*/ 100 h 248"/>
                <a:gd name="T58" fmla="*/ 150 w 170"/>
                <a:gd name="T59" fmla="*/ 108 h 248"/>
                <a:gd name="T60" fmla="*/ 166 w 170"/>
                <a:gd name="T61" fmla="*/ 112 h 248"/>
                <a:gd name="T62" fmla="*/ 170 w 170"/>
                <a:gd name="T63" fmla="*/ 122 h 248"/>
                <a:gd name="T64" fmla="*/ 168 w 170"/>
                <a:gd name="T65" fmla="*/ 144 h 248"/>
                <a:gd name="T66" fmla="*/ 162 w 170"/>
                <a:gd name="T67" fmla="*/ 162 h 248"/>
                <a:gd name="T68" fmla="*/ 150 w 170"/>
                <a:gd name="T69" fmla="*/ 178 h 248"/>
                <a:gd name="T70" fmla="*/ 138 w 170"/>
                <a:gd name="T71" fmla="*/ 184 h 248"/>
                <a:gd name="T72" fmla="*/ 134 w 170"/>
                <a:gd name="T73" fmla="*/ 192 h 248"/>
                <a:gd name="T74" fmla="*/ 138 w 170"/>
                <a:gd name="T75" fmla="*/ 196 h 248"/>
                <a:gd name="T76" fmla="*/ 140 w 170"/>
                <a:gd name="T77" fmla="*/ 200 h 248"/>
                <a:gd name="T78" fmla="*/ 134 w 170"/>
                <a:gd name="T79" fmla="*/ 204 h 248"/>
                <a:gd name="T80" fmla="*/ 132 w 170"/>
                <a:gd name="T81" fmla="*/ 210 h 248"/>
                <a:gd name="T82" fmla="*/ 136 w 170"/>
                <a:gd name="T83" fmla="*/ 232 h 248"/>
                <a:gd name="T84" fmla="*/ 138 w 170"/>
                <a:gd name="T85" fmla="*/ 244 h 248"/>
                <a:gd name="T86" fmla="*/ 134 w 170"/>
                <a:gd name="T87" fmla="*/ 248 h 248"/>
                <a:gd name="T88" fmla="*/ 122 w 170"/>
                <a:gd name="T89" fmla="*/ 248 h 248"/>
                <a:gd name="T90" fmla="*/ 108 w 170"/>
                <a:gd name="T91" fmla="*/ 238 h 248"/>
                <a:gd name="T92" fmla="*/ 84 w 170"/>
                <a:gd name="T93" fmla="*/ 238 h 248"/>
                <a:gd name="T94" fmla="*/ 70 w 170"/>
                <a:gd name="T95" fmla="*/ 220 h 248"/>
                <a:gd name="T96" fmla="*/ 56 w 170"/>
                <a:gd name="T97" fmla="*/ 210 h 248"/>
                <a:gd name="T98" fmla="*/ 46 w 170"/>
                <a:gd name="T99" fmla="*/ 200 h 248"/>
                <a:gd name="T100" fmla="*/ 34 w 170"/>
                <a:gd name="T101" fmla="*/ 202 h 248"/>
                <a:gd name="T102" fmla="*/ 20 w 170"/>
                <a:gd name="T103" fmla="*/ 202 h 248"/>
                <a:gd name="T104" fmla="*/ 0 w 170"/>
                <a:gd name="T105" fmla="*/ 190 h 248"/>
                <a:gd name="T106" fmla="*/ 12 w 170"/>
                <a:gd name="T107" fmla="*/ 170 h 248"/>
                <a:gd name="T108" fmla="*/ 14 w 170"/>
                <a:gd name="T109" fmla="*/ 164 h 248"/>
                <a:gd name="T110" fmla="*/ 22 w 170"/>
                <a:gd name="T111" fmla="*/ 164 h 248"/>
                <a:gd name="T112" fmla="*/ 28 w 170"/>
                <a:gd name="T113" fmla="*/ 162 h 248"/>
                <a:gd name="T114" fmla="*/ 32 w 170"/>
                <a:gd name="T115" fmla="*/ 150 h 248"/>
                <a:gd name="T116" fmla="*/ 30 w 170"/>
                <a:gd name="T117" fmla="*/ 11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0" h="248">
                  <a:moveTo>
                    <a:pt x="24" y="96"/>
                  </a:moveTo>
                  <a:lnTo>
                    <a:pt x="26" y="64"/>
                  </a:lnTo>
                  <a:lnTo>
                    <a:pt x="28" y="66"/>
                  </a:lnTo>
                  <a:lnTo>
                    <a:pt x="30" y="68"/>
                  </a:lnTo>
                  <a:lnTo>
                    <a:pt x="32" y="70"/>
                  </a:lnTo>
                  <a:lnTo>
                    <a:pt x="34" y="72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2" y="74"/>
                  </a:lnTo>
                  <a:lnTo>
                    <a:pt x="42" y="74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0"/>
                  </a:lnTo>
                  <a:lnTo>
                    <a:pt x="42" y="66"/>
                  </a:lnTo>
                  <a:lnTo>
                    <a:pt x="42" y="62"/>
                  </a:lnTo>
                  <a:lnTo>
                    <a:pt x="42" y="60"/>
                  </a:lnTo>
                  <a:lnTo>
                    <a:pt x="42" y="58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2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6" y="52"/>
                  </a:lnTo>
                  <a:lnTo>
                    <a:pt x="48" y="52"/>
                  </a:lnTo>
                  <a:lnTo>
                    <a:pt x="50" y="52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8" y="50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58" y="44"/>
                  </a:lnTo>
                  <a:lnTo>
                    <a:pt x="58" y="42"/>
                  </a:lnTo>
                  <a:lnTo>
                    <a:pt x="58" y="40"/>
                  </a:lnTo>
                  <a:lnTo>
                    <a:pt x="58" y="38"/>
                  </a:lnTo>
                  <a:lnTo>
                    <a:pt x="58" y="36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2"/>
                  </a:lnTo>
                  <a:lnTo>
                    <a:pt x="60" y="30"/>
                  </a:lnTo>
                  <a:lnTo>
                    <a:pt x="62" y="28"/>
                  </a:lnTo>
                  <a:lnTo>
                    <a:pt x="64" y="26"/>
                  </a:lnTo>
                  <a:lnTo>
                    <a:pt x="66" y="24"/>
                  </a:lnTo>
                  <a:lnTo>
                    <a:pt x="68" y="24"/>
                  </a:lnTo>
                  <a:lnTo>
                    <a:pt x="70" y="22"/>
                  </a:lnTo>
                  <a:lnTo>
                    <a:pt x="72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6" y="20"/>
                  </a:lnTo>
                  <a:lnTo>
                    <a:pt x="78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6" y="20"/>
                  </a:lnTo>
                  <a:lnTo>
                    <a:pt x="88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4" y="16"/>
                  </a:lnTo>
                  <a:lnTo>
                    <a:pt x="94" y="14"/>
                  </a:lnTo>
                  <a:lnTo>
                    <a:pt x="94" y="12"/>
                  </a:lnTo>
                  <a:lnTo>
                    <a:pt x="94" y="10"/>
                  </a:lnTo>
                  <a:lnTo>
                    <a:pt x="96" y="8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98" y="4"/>
                  </a:lnTo>
                  <a:lnTo>
                    <a:pt x="100" y="4"/>
                  </a:lnTo>
                  <a:lnTo>
                    <a:pt x="102" y="2"/>
                  </a:lnTo>
                  <a:lnTo>
                    <a:pt x="102" y="2"/>
                  </a:lnTo>
                  <a:lnTo>
                    <a:pt x="104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2" y="4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0" y="12"/>
                  </a:lnTo>
                  <a:lnTo>
                    <a:pt x="106" y="16"/>
                  </a:lnTo>
                  <a:lnTo>
                    <a:pt x="104" y="18"/>
                  </a:lnTo>
                  <a:lnTo>
                    <a:pt x="104" y="20"/>
                  </a:lnTo>
                  <a:lnTo>
                    <a:pt x="102" y="20"/>
                  </a:lnTo>
                  <a:lnTo>
                    <a:pt x="102" y="22"/>
                  </a:lnTo>
                  <a:lnTo>
                    <a:pt x="102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98" y="38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4" y="44"/>
                  </a:lnTo>
                  <a:lnTo>
                    <a:pt x="92" y="46"/>
                  </a:lnTo>
                  <a:lnTo>
                    <a:pt x="90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2"/>
                  </a:lnTo>
                  <a:lnTo>
                    <a:pt x="88" y="52"/>
                  </a:lnTo>
                  <a:lnTo>
                    <a:pt x="88" y="54"/>
                  </a:lnTo>
                  <a:lnTo>
                    <a:pt x="88" y="56"/>
                  </a:lnTo>
                  <a:lnTo>
                    <a:pt x="90" y="56"/>
                  </a:lnTo>
                  <a:lnTo>
                    <a:pt x="92" y="58"/>
                  </a:lnTo>
                  <a:lnTo>
                    <a:pt x="94" y="60"/>
                  </a:lnTo>
                  <a:lnTo>
                    <a:pt x="96" y="64"/>
                  </a:lnTo>
                  <a:lnTo>
                    <a:pt x="98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98" y="72"/>
                  </a:lnTo>
                  <a:lnTo>
                    <a:pt x="98" y="74"/>
                  </a:lnTo>
                  <a:lnTo>
                    <a:pt x="96" y="76"/>
                  </a:lnTo>
                  <a:lnTo>
                    <a:pt x="96" y="78"/>
                  </a:lnTo>
                  <a:lnTo>
                    <a:pt x="96" y="82"/>
                  </a:lnTo>
                  <a:lnTo>
                    <a:pt x="94" y="82"/>
                  </a:lnTo>
                  <a:lnTo>
                    <a:pt x="94" y="84"/>
                  </a:lnTo>
                  <a:lnTo>
                    <a:pt x="96" y="84"/>
                  </a:lnTo>
                  <a:lnTo>
                    <a:pt x="96" y="84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8" y="86"/>
                  </a:lnTo>
                  <a:lnTo>
                    <a:pt x="100" y="86"/>
                  </a:lnTo>
                  <a:lnTo>
                    <a:pt x="100" y="86"/>
                  </a:lnTo>
                  <a:lnTo>
                    <a:pt x="102" y="86"/>
                  </a:lnTo>
                  <a:lnTo>
                    <a:pt x="104" y="86"/>
                  </a:lnTo>
                  <a:lnTo>
                    <a:pt x="108" y="86"/>
                  </a:lnTo>
                  <a:lnTo>
                    <a:pt x="112" y="86"/>
                  </a:lnTo>
                  <a:lnTo>
                    <a:pt x="114" y="86"/>
                  </a:lnTo>
                  <a:lnTo>
                    <a:pt x="116" y="84"/>
                  </a:lnTo>
                  <a:lnTo>
                    <a:pt x="118" y="84"/>
                  </a:lnTo>
                  <a:lnTo>
                    <a:pt x="120" y="86"/>
                  </a:lnTo>
                  <a:lnTo>
                    <a:pt x="122" y="86"/>
                  </a:lnTo>
                  <a:lnTo>
                    <a:pt x="122" y="86"/>
                  </a:lnTo>
                  <a:lnTo>
                    <a:pt x="122" y="86"/>
                  </a:lnTo>
                  <a:lnTo>
                    <a:pt x="122" y="86"/>
                  </a:lnTo>
                  <a:lnTo>
                    <a:pt x="122" y="88"/>
                  </a:lnTo>
                  <a:lnTo>
                    <a:pt x="122" y="88"/>
                  </a:lnTo>
                  <a:lnTo>
                    <a:pt x="122" y="90"/>
                  </a:lnTo>
                  <a:lnTo>
                    <a:pt x="122" y="92"/>
                  </a:lnTo>
                  <a:lnTo>
                    <a:pt x="122" y="92"/>
                  </a:lnTo>
                  <a:lnTo>
                    <a:pt x="122" y="94"/>
                  </a:lnTo>
                  <a:lnTo>
                    <a:pt x="122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8"/>
                  </a:lnTo>
                  <a:lnTo>
                    <a:pt x="124" y="98"/>
                  </a:lnTo>
                  <a:lnTo>
                    <a:pt x="126" y="98"/>
                  </a:lnTo>
                  <a:lnTo>
                    <a:pt x="128" y="100"/>
                  </a:lnTo>
                  <a:lnTo>
                    <a:pt x="130" y="100"/>
                  </a:lnTo>
                  <a:lnTo>
                    <a:pt x="134" y="102"/>
                  </a:lnTo>
                  <a:lnTo>
                    <a:pt x="136" y="104"/>
                  </a:lnTo>
                  <a:lnTo>
                    <a:pt x="140" y="104"/>
                  </a:lnTo>
                  <a:lnTo>
                    <a:pt x="144" y="106"/>
                  </a:lnTo>
                  <a:lnTo>
                    <a:pt x="148" y="108"/>
                  </a:lnTo>
                  <a:lnTo>
                    <a:pt x="150" y="108"/>
                  </a:lnTo>
                  <a:lnTo>
                    <a:pt x="156" y="110"/>
                  </a:lnTo>
                  <a:lnTo>
                    <a:pt x="160" y="110"/>
                  </a:lnTo>
                  <a:lnTo>
                    <a:pt x="164" y="110"/>
                  </a:lnTo>
                  <a:lnTo>
                    <a:pt x="164" y="112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8" y="114"/>
                  </a:lnTo>
                  <a:lnTo>
                    <a:pt x="168" y="116"/>
                  </a:lnTo>
                  <a:lnTo>
                    <a:pt x="168" y="116"/>
                  </a:lnTo>
                  <a:lnTo>
                    <a:pt x="170" y="118"/>
                  </a:lnTo>
                  <a:lnTo>
                    <a:pt x="170" y="120"/>
                  </a:lnTo>
                  <a:lnTo>
                    <a:pt x="170" y="122"/>
                  </a:lnTo>
                  <a:lnTo>
                    <a:pt x="170" y="124"/>
                  </a:lnTo>
                  <a:lnTo>
                    <a:pt x="170" y="128"/>
                  </a:lnTo>
                  <a:lnTo>
                    <a:pt x="168" y="132"/>
                  </a:lnTo>
                  <a:lnTo>
                    <a:pt x="168" y="136"/>
                  </a:lnTo>
                  <a:lnTo>
                    <a:pt x="168" y="142"/>
                  </a:lnTo>
                  <a:lnTo>
                    <a:pt x="168" y="144"/>
                  </a:lnTo>
                  <a:lnTo>
                    <a:pt x="166" y="146"/>
                  </a:lnTo>
                  <a:lnTo>
                    <a:pt x="164" y="152"/>
                  </a:lnTo>
                  <a:lnTo>
                    <a:pt x="164" y="156"/>
                  </a:lnTo>
                  <a:lnTo>
                    <a:pt x="162" y="158"/>
                  </a:lnTo>
                  <a:lnTo>
                    <a:pt x="162" y="160"/>
                  </a:lnTo>
                  <a:lnTo>
                    <a:pt x="162" y="162"/>
                  </a:lnTo>
                  <a:lnTo>
                    <a:pt x="162" y="164"/>
                  </a:lnTo>
                  <a:lnTo>
                    <a:pt x="164" y="168"/>
                  </a:lnTo>
                  <a:lnTo>
                    <a:pt x="164" y="174"/>
                  </a:lnTo>
                  <a:lnTo>
                    <a:pt x="162" y="176"/>
                  </a:lnTo>
                  <a:lnTo>
                    <a:pt x="154" y="176"/>
                  </a:lnTo>
                  <a:lnTo>
                    <a:pt x="150" y="178"/>
                  </a:lnTo>
                  <a:lnTo>
                    <a:pt x="146" y="180"/>
                  </a:lnTo>
                  <a:lnTo>
                    <a:pt x="142" y="182"/>
                  </a:lnTo>
                  <a:lnTo>
                    <a:pt x="140" y="182"/>
                  </a:lnTo>
                  <a:lnTo>
                    <a:pt x="140" y="182"/>
                  </a:lnTo>
                  <a:lnTo>
                    <a:pt x="138" y="184"/>
                  </a:lnTo>
                  <a:lnTo>
                    <a:pt x="138" y="184"/>
                  </a:lnTo>
                  <a:lnTo>
                    <a:pt x="136" y="186"/>
                  </a:lnTo>
                  <a:lnTo>
                    <a:pt x="136" y="188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2"/>
                  </a:lnTo>
                  <a:lnTo>
                    <a:pt x="134" y="192"/>
                  </a:lnTo>
                  <a:lnTo>
                    <a:pt x="134" y="194"/>
                  </a:lnTo>
                  <a:lnTo>
                    <a:pt x="134" y="194"/>
                  </a:lnTo>
                  <a:lnTo>
                    <a:pt x="134" y="194"/>
                  </a:lnTo>
                  <a:lnTo>
                    <a:pt x="134" y="194"/>
                  </a:lnTo>
                  <a:lnTo>
                    <a:pt x="136" y="196"/>
                  </a:lnTo>
                  <a:lnTo>
                    <a:pt x="138" y="196"/>
                  </a:lnTo>
                  <a:lnTo>
                    <a:pt x="138" y="198"/>
                  </a:lnTo>
                  <a:lnTo>
                    <a:pt x="140" y="198"/>
                  </a:lnTo>
                  <a:lnTo>
                    <a:pt x="140" y="200"/>
                  </a:lnTo>
                  <a:lnTo>
                    <a:pt x="140" y="200"/>
                  </a:lnTo>
                  <a:lnTo>
                    <a:pt x="140" y="200"/>
                  </a:lnTo>
                  <a:lnTo>
                    <a:pt x="140" y="200"/>
                  </a:lnTo>
                  <a:lnTo>
                    <a:pt x="140" y="202"/>
                  </a:lnTo>
                  <a:lnTo>
                    <a:pt x="140" y="202"/>
                  </a:lnTo>
                  <a:lnTo>
                    <a:pt x="140" y="202"/>
                  </a:lnTo>
                  <a:lnTo>
                    <a:pt x="138" y="202"/>
                  </a:lnTo>
                  <a:lnTo>
                    <a:pt x="138" y="204"/>
                  </a:lnTo>
                  <a:lnTo>
                    <a:pt x="134" y="204"/>
                  </a:lnTo>
                  <a:lnTo>
                    <a:pt x="134" y="204"/>
                  </a:lnTo>
                  <a:lnTo>
                    <a:pt x="134" y="206"/>
                  </a:lnTo>
                  <a:lnTo>
                    <a:pt x="134" y="206"/>
                  </a:lnTo>
                  <a:lnTo>
                    <a:pt x="132" y="206"/>
                  </a:lnTo>
                  <a:lnTo>
                    <a:pt x="132" y="208"/>
                  </a:lnTo>
                  <a:lnTo>
                    <a:pt x="132" y="210"/>
                  </a:lnTo>
                  <a:lnTo>
                    <a:pt x="132" y="212"/>
                  </a:lnTo>
                  <a:lnTo>
                    <a:pt x="132" y="214"/>
                  </a:lnTo>
                  <a:lnTo>
                    <a:pt x="134" y="216"/>
                  </a:lnTo>
                  <a:lnTo>
                    <a:pt x="134" y="220"/>
                  </a:lnTo>
                  <a:lnTo>
                    <a:pt x="136" y="228"/>
                  </a:lnTo>
                  <a:lnTo>
                    <a:pt x="136" y="232"/>
                  </a:lnTo>
                  <a:lnTo>
                    <a:pt x="136" y="232"/>
                  </a:lnTo>
                  <a:lnTo>
                    <a:pt x="138" y="234"/>
                  </a:lnTo>
                  <a:lnTo>
                    <a:pt x="138" y="238"/>
                  </a:lnTo>
                  <a:lnTo>
                    <a:pt x="138" y="242"/>
                  </a:lnTo>
                  <a:lnTo>
                    <a:pt x="138" y="242"/>
                  </a:lnTo>
                  <a:lnTo>
                    <a:pt x="138" y="244"/>
                  </a:lnTo>
                  <a:lnTo>
                    <a:pt x="138" y="246"/>
                  </a:lnTo>
                  <a:lnTo>
                    <a:pt x="138" y="246"/>
                  </a:lnTo>
                  <a:lnTo>
                    <a:pt x="138" y="248"/>
                  </a:lnTo>
                  <a:lnTo>
                    <a:pt x="136" y="248"/>
                  </a:lnTo>
                  <a:lnTo>
                    <a:pt x="136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6" y="248"/>
                  </a:lnTo>
                  <a:lnTo>
                    <a:pt x="124" y="248"/>
                  </a:lnTo>
                  <a:lnTo>
                    <a:pt x="122" y="248"/>
                  </a:lnTo>
                  <a:lnTo>
                    <a:pt x="120" y="248"/>
                  </a:lnTo>
                  <a:lnTo>
                    <a:pt x="118" y="244"/>
                  </a:lnTo>
                  <a:lnTo>
                    <a:pt x="112" y="242"/>
                  </a:lnTo>
                  <a:lnTo>
                    <a:pt x="110" y="240"/>
                  </a:lnTo>
                  <a:lnTo>
                    <a:pt x="110" y="240"/>
                  </a:lnTo>
                  <a:lnTo>
                    <a:pt x="108" y="238"/>
                  </a:lnTo>
                  <a:lnTo>
                    <a:pt x="106" y="238"/>
                  </a:lnTo>
                  <a:lnTo>
                    <a:pt x="102" y="238"/>
                  </a:lnTo>
                  <a:lnTo>
                    <a:pt x="98" y="238"/>
                  </a:lnTo>
                  <a:lnTo>
                    <a:pt x="94" y="238"/>
                  </a:lnTo>
                  <a:lnTo>
                    <a:pt x="88" y="238"/>
                  </a:lnTo>
                  <a:lnTo>
                    <a:pt x="84" y="238"/>
                  </a:lnTo>
                  <a:lnTo>
                    <a:pt x="82" y="234"/>
                  </a:lnTo>
                  <a:lnTo>
                    <a:pt x="80" y="230"/>
                  </a:lnTo>
                  <a:lnTo>
                    <a:pt x="76" y="224"/>
                  </a:lnTo>
                  <a:lnTo>
                    <a:pt x="74" y="222"/>
                  </a:lnTo>
                  <a:lnTo>
                    <a:pt x="72" y="220"/>
                  </a:lnTo>
                  <a:lnTo>
                    <a:pt x="70" y="220"/>
                  </a:lnTo>
                  <a:lnTo>
                    <a:pt x="68" y="218"/>
                  </a:lnTo>
                  <a:lnTo>
                    <a:pt x="64" y="216"/>
                  </a:lnTo>
                  <a:lnTo>
                    <a:pt x="60" y="212"/>
                  </a:lnTo>
                  <a:lnTo>
                    <a:pt x="58" y="212"/>
                  </a:lnTo>
                  <a:lnTo>
                    <a:pt x="56" y="210"/>
                  </a:lnTo>
                  <a:lnTo>
                    <a:pt x="56" y="210"/>
                  </a:lnTo>
                  <a:lnTo>
                    <a:pt x="54" y="208"/>
                  </a:lnTo>
                  <a:lnTo>
                    <a:pt x="52" y="206"/>
                  </a:lnTo>
                  <a:lnTo>
                    <a:pt x="50" y="204"/>
                  </a:lnTo>
                  <a:lnTo>
                    <a:pt x="48" y="202"/>
                  </a:lnTo>
                  <a:lnTo>
                    <a:pt x="46" y="202"/>
                  </a:lnTo>
                  <a:lnTo>
                    <a:pt x="46" y="200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0" y="200"/>
                  </a:lnTo>
                  <a:lnTo>
                    <a:pt x="36" y="200"/>
                  </a:lnTo>
                  <a:lnTo>
                    <a:pt x="34" y="202"/>
                  </a:lnTo>
                  <a:lnTo>
                    <a:pt x="30" y="202"/>
                  </a:lnTo>
                  <a:lnTo>
                    <a:pt x="26" y="202"/>
                  </a:lnTo>
                  <a:lnTo>
                    <a:pt x="24" y="202"/>
                  </a:lnTo>
                  <a:lnTo>
                    <a:pt x="22" y="202"/>
                  </a:lnTo>
                  <a:lnTo>
                    <a:pt x="22" y="202"/>
                  </a:lnTo>
                  <a:lnTo>
                    <a:pt x="20" y="202"/>
                  </a:lnTo>
                  <a:lnTo>
                    <a:pt x="18" y="200"/>
                  </a:lnTo>
                  <a:lnTo>
                    <a:pt x="16" y="200"/>
                  </a:lnTo>
                  <a:lnTo>
                    <a:pt x="12" y="198"/>
                  </a:lnTo>
                  <a:lnTo>
                    <a:pt x="8" y="196"/>
                  </a:lnTo>
                  <a:lnTo>
                    <a:pt x="2" y="190"/>
                  </a:lnTo>
                  <a:lnTo>
                    <a:pt x="0" y="190"/>
                  </a:lnTo>
                  <a:lnTo>
                    <a:pt x="4" y="182"/>
                  </a:lnTo>
                  <a:lnTo>
                    <a:pt x="8" y="178"/>
                  </a:lnTo>
                  <a:lnTo>
                    <a:pt x="10" y="176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2" y="170"/>
                  </a:lnTo>
                  <a:lnTo>
                    <a:pt x="12" y="168"/>
                  </a:lnTo>
                  <a:lnTo>
                    <a:pt x="12" y="166"/>
                  </a:lnTo>
                  <a:lnTo>
                    <a:pt x="12" y="166"/>
                  </a:lnTo>
                  <a:lnTo>
                    <a:pt x="14" y="164"/>
                  </a:lnTo>
                  <a:lnTo>
                    <a:pt x="14" y="164"/>
                  </a:lnTo>
                  <a:lnTo>
                    <a:pt x="14" y="164"/>
                  </a:lnTo>
                  <a:lnTo>
                    <a:pt x="14" y="164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8" y="164"/>
                  </a:lnTo>
                  <a:lnTo>
                    <a:pt x="20" y="164"/>
                  </a:lnTo>
                  <a:lnTo>
                    <a:pt x="22" y="164"/>
                  </a:lnTo>
                  <a:lnTo>
                    <a:pt x="24" y="164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4"/>
                  </a:lnTo>
                  <a:lnTo>
                    <a:pt x="28" y="162"/>
                  </a:lnTo>
                  <a:lnTo>
                    <a:pt x="28" y="162"/>
                  </a:lnTo>
                  <a:lnTo>
                    <a:pt x="30" y="160"/>
                  </a:lnTo>
                  <a:lnTo>
                    <a:pt x="30" y="158"/>
                  </a:lnTo>
                  <a:lnTo>
                    <a:pt x="30" y="156"/>
                  </a:lnTo>
                  <a:lnTo>
                    <a:pt x="32" y="154"/>
                  </a:lnTo>
                  <a:lnTo>
                    <a:pt x="32" y="152"/>
                  </a:lnTo>
                  <a:lnTo>
                    <a:pt x="32" y="150"/>
                  </a:lnTo>
                  <a:lnTo>
                    <a:pt x="32" y="146"/>
                  </a:lnTo>
                  <a:lnTo>
                    <a:pt x="32" y="142"/>
                  </a:lnTo>
                  <a:lnTo>
                    <a:pt x="32" y="136"/>
                  </a:lnTo>
                  <a:lnTo>
                    <a:pt x="30" y="130"/>
                  </a:lnTo>
                  <a:lnTo>
                    <a:pt x="30" y="124"/>
                  </a:lnTo>
                  <a:lnTo>
                    <a:pt x="30" y="118"/>
                  </a:lnTo>
                  <a:lnTo>
                    <a:pt x="28" y="114"/>
                  </a:lnTo>
                  <a:lnTo>
                    <a:pt x="26" y="104"/>
                  </a:lnTo>
                  <a:lnTo>
                    <a:pt x="24" y="98"/>
                  </a:lnTo>
                  <a:lnTo>
                    <a:pt x="24" y="9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17" name="Freeform 481">
              <a:extLst>
                <a:ext uri="{FF2B5EF4-FFF2-40B4-BE49-F238E27FC236}">
                  <a16:creationId xmlns:a16="http://schemas.microsoft.com/office/drawing/2014/main" id="{A4011110-69AC-4A74-A0DE-418C2F74C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9108" y="4375339"/>
              <a:ext cx="146925" cy="83575"/>
            </a:xfrm>
            <a:custGeom>
              <a:avLst/>
              <a:gdLst>
                <a:gd name="T0" fmla="*/ 0 w 86"/>
                <a:gd name="T1" fmla="*/ 10 h 50"/>
                <a:gd name="T2" fmla="*/ 0 w 86"/>
                <a:gd name="T3" fmla="*/ 16 h 50"/>
                <a:gd name="T4" fmla="*/ 0 w 86"/>
                <a:gd name="T5" fmla="*/ 22 h 50"/>
                <a:gd name="T6" fmla="*/ 0 w 86"/>
                <a:gd name="T7" fmla="*/ 24 h 50"/>
                <a:gd name="T8" fmla="*/ 2 w 86"/>
                <a:gd name="T9" fmla="*/ 26 h 50"/>
                <a:gd name="T10" fmla="*/ 4 w 86"/>
                <a:gd name="T11" fmla="*/ 28 h 50"/>
                <a:gd name="T12" fmla="*/ 6 w 86"/>
                <a:gd name="T13" fmla="*/ 30 h 50"/>
                <a:gd name="T14" fmla="*/ 10 w 86"/>
                <a:gd name="T15" fmla="*/ 30 h 50"/>
                <a:gd name="T16" fmla="*/ 16 w 86"/>
                <a:gd name="T17" fmla="*/ 30 h 50"/>
                <a:gd name="T18" fmla="*/ 24 w 86"/>
                <a:gd name="T19" fmla="*/ 30 h 50"/>
                <a:gd name="T20" fmla="*/ 28 w 86"/>
                <a:gd name="T21" fmla="*/ 30 h 50"/>
                <a:gd name="T22" fmla="*/ 32 w 86"/>
                <a:gd name="T23" fmla="*/ 32 h 50"/>
                <a:gd name="T24" fmla="*/ 32 w 86"/>
                <a:gd name="T25" fmla="*/ 32 h 50"/>
                <a:gd name="T26" fmla="*/ 36 w 86"/>
                <a:gd name="T27" fmla="*/ 36 h 50"/>
                <a:gd name="T28" fmla="*/ 40 w 86"/>
                <a:gd name="T29" fmla="*/ 40 h 50"/>
                <a:gd name="T30" fmla="*/ 40 w 86"/>
                <a:gd name="T31" fmla="*/ 40 h 50"/>
                <a:gd name="T32" fmla="*/ 42 w 86"/>
                <a:gd name="T33" fmla="*/ 42 h 50"/>
                <a:gd name="T34" fmla="*/ 46 w 86"/>
                <a:gd name="T35" fmla="*/ 42 h 50"/>
                <a:gd name="T36" fmla="*/ 50 w 86"/>
                <a:gd name="T37" fmla="*/ 40 h 50"/>
                <a:gd name="T38" fmla="*/ 54 w 86"/>
                <a:gd name="T39" fmla="*/ 38 h 50"/>
                <a:gd name="T40" fmla="*/ 54 w 86"/>
                <a:gd name="T41" fmla="*/ 36 h 50"/>
                <a:gd name="T42" fmla="*/ 56 w 86"/>
                <a:gd name="T43" fmla="*/ 34 h 50"/>
                <a:gd name="T44" fmla="*/ 54 w 86"/>
                <a:gd name="T45" fmla="*/ 32 h 50"/>
                <a:gd name="T46" fmla="*/ 54 w 86"/>
                <a:gd name="T47" fmla="*/ 30 h 50"/>
                <a:gd name="T48" fmla="*/ 52 w 86"/>
                <a:gd name="T49" fmla="*/ 26 h 50"/>
                <a:gd name="T50" fmla="*/ 50 w 86"/>
                <a:gd name="T51" fmla="*/ 24 h 50"/>
                <a:gd name="T52" fmla="*/ 50 w 86"/>
                <a:gd name="T53" fmla="*/ 22 h 50"/>
                <a:gd name="T54" fmla="*/ 50 w 86"/>
                <a:gd name="T55" fmla="*/ 22 h 50"/>
                <a:gd name="T56" fmla="*/ 52 w 86"/>
                <a:gd name="T57" fmla="*/ 22 h 50"/>
                <a:gd name="T58" fmla="*/ 54 w 86"/>
                <a:gd name="T59" fmla="*/ 20 h 50"/>
                <a:gd name="T60" fmla="*/ 58 w 86"/>
                <a:gd name="T61" fmla="*/ 20 h 50"/>
                <a:gd name="T62" fmla="*/ 62 w 86"/>
                <a:gd name="T63" fmla="*/ 20 h 50"/>
                <a:gd name="T64" fmla="*/ 64 w 86"/>
                <a:gd name="T65" fmla="*/ 22 h 50"/>
                <a:gd name="T66" fmla="*/ 66 w 86"/>
                <a:gd name="T67" fmla="*/ 24 h 50"/>
                <a:gd name="T68" fmla="*/ 70 w 86"/>
                <a:gd name="T69" fmla="*/ 26 h 50"/>
                <a:gd name="T70" fmla="*/ 74 w 86"/>
                <a:gd name="T71" fmla="*/ 32 h 50"/>
                <a:gd name="T72" fmla="*/ 76 w 86"/>
                <a:gd name="T73" fmla="*/ 36 h 50"/>
                <a:gd name="T74" fmla="*/ 80 w 86"/>
                <a:gd name="T75" fmla="*/ 42 h 50"/>
                <a:gd name="T76" fmla="*/ 84 w 86"/>
                <a:gd name="T77" fmla="*/ 50 h 50"/>
                <a:gd name="T78" fmla="*/ 84 w 86"/>
                <a:gd name="T79" fmla="*/ 16 h 50"/>
                <a:gd name="T80" fmla="*/ 76 w 86"/>
                <a:gd name="T81" fmla="*/ 10 h 50"/>
                <a:gd name="T82" fmla="*/ 72 w 86"/>
                <a:gd name="T83" fmla="*/ 6 h 50"/>
                <a:gd name="T84" fmla="*/ 66 w 86"/>
                <a:gd name="T85" fmla="*/ 2 h 50"/>
                <a:gd name="T86" fmla="*/ 58 w 86"/>
                <a:gd name="T87" fmla="*/ 0 h 50"/>
                <a:gd name="T88" fmla="*/ 54 w 86"/>
                <a:gd name="T89" fmla="*/ 0 h 50"/>
                <a:gd name="T90" fmla="*/ 52 w 86"/>
                <a:gd name="T91" fmla="*/ 0 h 50"/>
                <a:gd name="T92" fmla="*/ 50 w 86"/>
                <a:gd name="T93" fmla="*/ 0 h 50"/>
                <a:gd name="T94" fmla="*/ 50 w 86"/>
                <a:gd name="T95" fmla="*/ 2 h 50"/>
                <a:gd name="T96" fmla="*/ 46 w 86"/>
                <a:gd name="T97" fmla="*/ 6 h 50"/>
                <a:gd name="T98" fmla="*/ 44 w 86"/>
                <a:gd name="T99" fmla="*/ 8 h 50"/>
                <a:gd name="T100" fmla="*/ 42 w 86"/>
                <a:gd name="T101" fmla="*/ 10 h 50"/>
                <a:gd name="T102" fmla="*/ 42 w 86"/>
                <a:gd name="T103" fmla="*/ 10 h 50"/>
                <a:gd name="T104" fmla="*/ 38 w 86"/>
                <a:gd name="T105" fmla="*/ 10 h 50"/>
                <a:gd name="T106" fmla="*/ 34 w 86"/>
                <a:gd name="T107" fmla="*/ 10 h 50"/>
                <a:gd name="T108" fmla="*/ 24 w 86"/>
                <a:gd name="T109" fmla="*/ 8 h 50"/>
                <a:gd name="T110" fmla="*/ 16 w 86"/>
                <a:gd name="T111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" h="50">
                  <a:moveTo>
                    <a:pt x="14" y="4"/>
                  </a:moveTo>
                  <a:lnTo>
                    <a:pt x="0" y="10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20" y="30"/>
                  </a:lnTo>
                  <a:lnTo>
                    <a:pt x="24" y="30"/>
                  </a:lnTo>
                  <a:lnTo>
                    <a:pt x="26" y="30"/>
                  </a:lnTo>
                  <a:lnTo>
                    <a:pt x="28" y="30"/>
                  </a:lnTo>
                  <a:lnTo>
                    <a:pt x="30" y="30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4" y="34"/>
                  </a:lnTo>
                  <a:lnTo>
                    <a:pt x="36" y="36"/>
                  </a:lnTo>
                  <a:lnTo>
                    <a:pt x="38" y="38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4" y="42"/>
                  </a:lnTo>
                  <a:lnTo>
                    <a:pt x="46" y="42"/>
                  </a:lnTo>
                  <a:lnTo>
                    <a:pt x="48" y="40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4" y="38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6" y="36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0"/>
                  </a:lnTo>
                  <a:lnTo>
                    <a:pt x="52" y="28"/>
                  </a:lnTo>
                  <a:lnTo>
                    <a:pt x="52" y="26"/>
                  </a:lnTo>
                  <a:lnTo>
                    <a:pt x="50" y="26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2" y="22"/>
                  </a:lnTo>
                  <a:lnTo>
                    <a:pt x="52" y="20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8" y="20"/>
                  </a:lnTo>
                  <a:lnTo>
                    <a:pt x="60" y="20"/>
                  </a:lnTo>
                  <a:lnTo>
                    <a:pt x="62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6" y="22"/>
                  </a:lnTo>
                  <a:lnTo>
                    <a:pt x="66" y="24"/>
                  </a:lnTo>
                  <a:lnTo>
                    <a:pt x="68" y="24"/>
                  </a:lnTo>
                  <a:lnTo>
                    <a:pt x="70" y="26"/>
                  </a:lnTo>
                  <a:lnTo>
                    <a:pt x="72" y="28"/>
                  </a:lnTo>
                  <a:lnTo>
                    <a:pt x="74" y="32"/>
                  </a:lnTo>
                  <a:lnTo>
                    <a:pt x="76" y="34"/>
                  </a:lnTo>
                  <a:lnTo>
                    <a:pt x="76" y="36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2" y="46"/>
                  </a:lnTo>
                  <a:lnTo>
                    <a:pt x="84" y="50"/>
                  </a:lnTo>
                  <a:lnTo>
                    <a:pt x="86" y="16"/>
                  </a:lnTo>
                  <a:lnTo>
                    <a:pt x="84" y="16"/>
                  </a:lnTo>
                  <a:lnTo>
                    <a:pt x="80" y="12"/>
                  </a:lnTo>
                  <a:lnTo>
                    <a:pt x="76" y="10"/>
                  </a:lnTo>
                  <a:lnTo>
                    <a:pt x="74" y="8"/>
                  </a:lnTo>
                  <a:lnTo>
                    <a:pt x="72" y="6"/>
                  </a:lnTo>
                  <a:lnTo>
                    <a:pt x="68" y="4"/>
                  </a:lnTo>
                  <a:lnTo>
                    <a:pt x="66" y="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2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0" y="6"/>
                  </a:lnTo>
                  <a:lnTo>
                    <a:pt x="16" y="6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18" name="Freeform 483">
              <a:extLst>
                <a:ext uri="{FF2B5EF4-FFF2-40B4-BE49-F238E27FC236}">
                  <a16:creationId xmlns:a16="http://schemas.microsoft.com/office/drawing/2014/main" id="{995BD50D-03C9-4825-8410-3E0415B2C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1020" y="4341909"/>
              <a:ext cx="78587" cy="53487"/>
            </a:xfrm>
            <a:custGeom>
              <a:avLst/>
              <a:gdLst>
                <a:gd name="T0" fmla="*/ 32 w 46"/>
                <a:gd name="T1" fmla="*/ 2 h 32"/>
                <a:gd name="T2" fmla="*/ 0 w 46"/>
                <a:gd name="T3" fmla="*/ 0 h 32"/>
                <a:gd name="T4" fmla="*/ 0 w 46"/>
                <a:gd name="T5" fmla="*/ 2 h 32"/>
                <a:gd name="T6" fmla="*/ 0 w 46"/>
                <a:gd name="T7" fmla="*/ 4 h 32"/>
                <a:gd name="T8" fmla="*/ 0 w 46"/>
                <a:gd name="T9" fmla="*/ 8 h 32"/>
                <a:gd name="T10" fmla="*/ 0 w 46"/>
                <a:gd name="T11" fmla="*/ 10 h 32"/>
                <a:gd name="T12" fmla="*/ 0 w 46"/>
                <a:gd name="T13" fmla="*/ 12 h 32"/>
                <a:gd name="T14" fmla="*/ 0 w 46"/>
                <a:gd name="T15" fmla="*/ 14 h 32"/>
                <a:gd name="T16" fmla="*/ 0 w 46"/>
                <a:gd name="T17" fmla="*/ 14 h 32"/>
                <a:gd name="T18" fmla="*/ 2 w 46"/>
                <a:gd name="T19" fmla="*/ 16 h 32"/>
                <a:gd name="T20" fmla="*/ 2 w 46"/>
                <a:gd name="T21" fmla="*/ 18 h 32"/>
                <a:gd name="T22" fmla="*/ 4 w 46"/>
                <a:gd name="T23" fmla="*/ 20 h 32"/>
                <a:gd name="T24" fmla="*/ 4 w 46"/>
                <a:gd name="T25" fmla="*/ 22 h 32"/>
                <a:gd name="T26" fmla="*/ 6 w 46"/>
                <a:gd name="T27" fmla="*/ 22 h 32"/>
                <a:gd name="T28" fmla="*/ 6 w 46"/>
                <a:gd name="T29" fmla="*/ 24 h 32"/>
                <a:gd name="T30" fmla="*/ 8 w 46"/>
                <a:gd name="T31" fmla="*/ 24 h 32"/>
                <a:gd name="T32" fmla="*/ 10 w 46"/>
                <a:gd name="T33" fmla="*/ 26 h 32"/>
                <a:gd name="T34" fmla="*/ 12 w 46"/>
                <a:gd name="T35" fmla="*/ 26 h 32"/>
                <a:gd name="T36" fmla="*/ 14 w 46"/>
                <a:gd name="T37" fmla="*/ 26 h 32"/>
                <a:gd name="T38" fmla="*/ 18 w 46"/>
                <a:gd name="T39" fmla="*/ 28 h 32"/>
                <a:gd name="T40" fmla="*/ 22 w 46"/>
                <a:gd name="T41" fmla="*/ 30 h 32"/>
                <a:gd name="T42" fmla="*/ 28 w 46"/>
                <a:gd name="T43" fmla="*/ 30 h 32"/>
                <a:gd name="T44" fmla="*/ 30 w 46"/>
                <a:gd name="T45" fmla="*/ 30 h 32"/>
                <a:gd name="T46" fmla="*/ 34 w 46"/>
                <a:gd name="T47" fmla="*/ 32 h 32"/>
                <a:gd name="T48" fmla="*/ 46 w 46"/>
                <a:gd name="T49" fmla="*/ 24 h 32"/>
                <a:gd name="T50" fmla="*/ 46 w 46"/>
                <a:gd name="T51" fmla="*/ 24 h 32"/>
                <a:gd name="T52" fmla="*/ 46 w 46"/>
                <a:gd name="T53" fmla="*/ 18 h 32"/>
                <a:gd name="T54" fmla="*/ 46 w 46"/>
                <a:gd name="T55" fmla="*/ 16 h 32"/>
                <a:gd name="T56" fmla="*/ 46 w 46"/>
                <a:gd name="T57" fmla="*/ 14 h 32"/>
                <a:gd name="T58" fmla="*/ 46 w 46"/>
                <a:gd name="T59" fmla="*/ 12 h 32"/>
                <a:gd name="T60" fmla="*/ 46 w 46"/>
                <a:gd name="T61" fmla="*/ 12 h 32"/>
                <a:gd name="T62" fmla="*/ 46 w 46"/>
                <a:gd name="T63" fmla="*/ 10 h 32"/>
                <a:gd name="T64" fmla="*/ 44 w 46"/>
                <a:gd name="T65" fmla="*/ 10 h 32"/>
                <a:gd name="T66" fmla="*/ 44 w 46"/>
                <a:gd name="T67" fmla="*/ 10 h 32"/>
                <a:gd name="T68" fmla="*/ 42 w 46"/>
                <a:gd name="T69" fmla="*/ 8 h 32"/>
                <a:gd name="T70" fmla="*/ 40 w 46"/>
                <a:gd name="T71" fmla="*/ 6 h 32"/>
                <a:gd name="T72" fmla="*/ 38 w 46"/>
                <a:gd name="T73" fmla="*/ 4 h 32"/>
                <a:gd name="T74" fmla="*/ 34 w 46"/>
                <a:gd name="T75" fmla="*/ 2 h 32"/>
                <a:gd name="T76" fmla="*/ 32 w 46"/>
                <a:gd name="T7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6" h="32">
                  <a:moveTo>
                    <a:pt x="3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8" y="28"/>
                  </a:lnTo>
                  <a:lnTo>
                    <a:pt x="22" y="30"/>
                  </a:lnTo>
                  <a:lnTo>
                    <a:pt x="28" y="30"/>
                  </a:lnTo>
                  <a:lnTo>
                    <a:pt x="30" y="30"/>
                  </a:lnTo>
                  <a:lnTo>
                    <a:pt x="34" y="32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18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4" y="2"/>
                  </a:lnTo>
                  <a:lnTo>
                    <a:pt x="32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19" name="Freeform 485">
              <a:extLst>
                <a:ext uri="{FF2B5EF4-FFF2-40B4-BE49-F238E27FC236}">
                  <a16:creationId xmlns:a16="http://schemas.microsoft.com/office/drawing/2014/main" id="{105B0433-D14D-4069-A0D6-8046E1EBB3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19" y="4238277"/>
              <a:ext cx="112756" cy="106976"/>
            </a:xfrm>
            <a:custGeom>
              <a:avLst/>
              <a:gdLst>
                <a:gd name="T0" fmla="*/ 60 w 66"/>
                <a:gd name="T1" fmla="*/ 2 h 64"/>
                <a:gd name="T2" fmla="*/ 54 w 66"/>
                <a:gd name="T3" fmla="*/ 2 h 64"/>
                <a:gd name="T4" fmla="*/ 46 w 66"/>
                <a:gd name="T5" fmla="*/ 0 h 64"/>
                <a:gd name="T6" fmla="*/ 42 w 66"/>
                <a:gd name="T7" fmla="*/ 0 h 64"/>
                <a:gd name="T8" fmla="*/ 38 w 66"/>
                <a:gd name="T9" fmla="*/ 0 h 64"/>
                <a:gd name="T10" fmla="*/ 36 w 66"/>
                <a:gd name="T11" fmla="*/ 2 h 64"/>
                <a:gd name="T12" fmla="*/ 36 w 66"/>
                <a:gd name="T13" fmla="*/ 4 h 64"/>
                <a:gd name="T14" fmla="*/ 36 w 66"/>
                <a:gd name="T15" fmla="*/ 6 h 64"/>
                <a:gd name="T16" fmla="*/ 34 w 66"/>
                <a:gd name="T17" fmla="*/ 12 h 64"/>
                <a:gd name="T18" fmla="*/ 34 w 66"/>
                <a:gd name="T19" fmla="*/ 14 h 64"/>
                <a:gd name="T20" fmla="*/ 34 w 66"/>
                <a:gd name="T21" fmla="*/ 16 h 64"/>
                <a:gd name="T22" fmla="*/ 32 w 66"/>
                <a:gd name="T23" fmla="*/ 16 h 64"/>
                <a:gd name="T24" fmla="*/ 30 w 66"/>
                <a:gd name="T25" fmla="*/ 18 h 64"/>
                <a:gd name="T26" fmla="*/ 26 w 66"/>
                <a:gd name="T27" fmla="*/ 18 h 64"/>
                <a:gd name="T28" fmla="*/ 18 w 66"/>
                <a:gd name="T29" fmla="*/ 18 h 64"/>
                <a:gd name="T30" fmla="*/ 14 w 66"/>
                <a:gd name="T31" fmla="*/ 18 h 64"/>
                <a:gd name="T32" fmla="*/ 12 w 66"/>
                <a:gd name="T33" fmla="*/ 18 h 64"/>
                <a:gd name="T34" fmla="*/ 4 w 66"/>
                <a:gd name="T35" fmla="*/ 22 h 64"/>
                <a:gd name="T36" fmla="*/ 0 w 66"/>
                <a:gd name="T37" fmla="*/ 26 h 64"/>
                <a:gd name="T38" fmla="*/ 6 w 66"/>
                <a:gd name="T39" fmla="*/ 30 h 64"/>
                <a:gd name="T40" fmla="*/ 8 w 66"/>
                <a:gd name="T41" fmla="*/ 32 h 64"/>
                <a:gd name="T42" fmla="*/ 10 w 66"/>
                <a:gd name="T43" fmla="*/ 36 h 64"/>
                <a:gd name="T44" fmla="*/ 10 w 66"/>
                <a:gd name="T45" fmla="*/ 42 h 64"/>
                <a:gd name="T46" fmla="*/ 14 w 66"/>
                <a:gd name="T47" fmla="*/ 50 h 64"/>
                <a:gd name="T48" fmla="*/ 16 w 66"/>
                <a:gd name="T49" fmla="*/ 52 h 64"/>
                <a:gd name="T50" fmla="*/ 20 w 66"/>
                <a:gd name="T51" fmla="*/ 58 h 64"/>
                <a:gd name="T52" fmla="*/ 56 w 66"/>
                <a:gd name="T53" fmla="*/ 64 h 64"/>
                <a:gd name="T54" fmla="*/ 58 w 66"/>
                <a:gd name="T55" fmla="*/ 46 h 64"/>
                <a:gd name="T56" fmla="*/ 58 w 66"/>
                <a:gd name="T57" fmla="*/ 32 h 64"/>
                <a:gd name="T58" fmla="*/ 60 w 66"/>
                <a:gd name="T59" fmla="*/ 22 h 64"/>
                <a:gd name="T60" fmla="*/ 60 w 66"/>
                <a:gd name="T61" fmla="*/ 20 h 64"/>
                <a:gd name="T62" fmla="*/ 64 w 66"/>
                <a:gd name="T63" fmla="*/ 14 h 64"/>
                <a:gd name="T64" fmla="*/ 64 w 66"/>
                <a:gd name="T65" fmla="*/ 12 h 64"/>
                <a:gd name="T66" fmla="*/ 66 w 66"/>
                <a:gd name="T67" fmla="*/ 10 h 64"/>
                <a:gd name="T68" fmla="*/ 64 w 66"/>
                <a:gd name="T69" fmla="*/ 8 h 64"/>
                <a:gd name="T70" fmla="*/ 64 w 66"/>
                <a:gd name="T71" fmla="*/ 6 h 64"/>
                <a:gd name="T72" fmla="*/ 62 w 66"/>
                <a:gd name="T73" fmla="*/ 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6" h="64">
                  <a:moveTo>
                    <a:pt x="60" y="2"/>
                  </a:moveTo>
                  <a:lnTo>
                    <a:pt x="60" y="2"/>
                  </a:lnTo>
                  <a:lnTo>
                    <a:pt x="58" y="2"/>
                  </a:lnTo>
                  <a:lnTo>
                    <a:pt x="54" y="2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12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0" y="20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10" y="36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2" y="48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6" y="52"/>
                  </a:lnTo>
                  <a:lnTo>
                    <a:pt x="18" y="54"/>
                  </a:lnTo>
                  <a:lnTo>
                    <a:pt x="20" y="58"/>
                  </a:lnTo>
                  <a:lnTo>
                    <a:pt x="24" y="62"/>
                  </a:lnTo>
                  <a:lnTo>
                    <a:pt x="56" y="64"/>
                  </a:lnTo>
                  <a:lnTo>
                    <a:pt x="56" y="58"/>
                  </a:lnTo>
                  <a:lnTo>
                    <a:pt x="58" y="46"/>
                  </a:lnTo>
                  <a:lnTo>
                    <a:pt x="58" y="38"/>
                  </a:lnTo>
                  <a:lnTo>
                    <a:pt x="58" y="32"/>
                  </a:lnTo>
                  <a:lnTo>
                    <a:pt x="60" y="26"/>
                  </a:lnTo>
                  <a:lnTo>
                    <a:pt x="60" y="22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2" y="18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2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2" y="4"/>
                  </a:lnTo>
                  <a:lnTo>
                    <a:pt x="60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20" name="Freeform 489">
              <a:extLst>
                <a:ext uri="{FF2B5EF4-FFF2-40B4-BE49-F238E27FC236}">
                  <a16:creationId xmlns:a16="http://schemas.microsoft.com/office/drawing/2014/main" id="{9DA30BC0-E611-4A6D-9F24-6CD04BB5C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766" y="4198160"/>
              <a:ext cx="170843" cy="80232"/>
            </a:xfrm>
            <a:custGeom>
              <a:avLst/>
              <a:gdLst>
                <a:gd name="T0" fmla="*/ 16 w 100"/>
                <a:gd name="T1" fmla="*/ 10 h 48"/>
                <a:gd name="T2" fmla="*/ 16 w 100"/>
                <a:gd name="T3" fmla="*/ 18 h 48"/>
                <a:gd name="T4" fmla="*/ 14 w 100"/>
                <a:gd name="T5" fmla="*/ 20 h 48"/>
                <a:gd name="T6" fmla="*/ 12 w 100"/>
                <a:gd name="T7" fmla="*/ 22 h 48"/>
                <a:gd name="T8" fmla="*/ 8 w 100"/>
                <a:gd name="T9" fmla="*/ 20 h 48"/>
                <a:gd name="T10" fmla="*/ 4 w 100"/>
                <a:gd name="T11" fmla="*/ 20 h 48"/>
                <a:gd name="T12" fmla="*/ 2 w 100"/>
                <a:gd name="T13" fmla="*/ 22 h 48"/>
                <a:gd name="T14" fmla="*/ 2 w 100"/>
                <a:gd name="T15" fmla="*/ 26 h 48"/>
                <a:gd name="T16" fmla="*/ 0 w 100"/>
                <a:gd name="T17" fmla="*/ 34 h 48"/>
                <a:gd name="T18" fmla="*/ 10 w 100"/>
                <a:gd name="T19" fmla="*/ 30 h 48"/>
                <a:gd name="T20" fmla="*/ 16 w 100"/>
                <a:gd name="T21" fmla="*/ 28 h 48"/>
                <a:gd name="T22" fmla="*/ 22 w 100"/>
                <a:gd name="T23" fmla="*/ 28 h 48"/>
                <a:gd name="T24" fmla="*/ 26 w 100"/>
                <a:gd name="T25" fmla="*/ 30 h 48"/>
                <a:gd name="T26" fmla="*/ 28 w 100"/>
                <a:gd name="T27" fmla="*/ 32 h 48"/>
                <a:gd name="T28" fmla="*/ 30 w 100"/>
                <a:gd name="T29" fmla="*/ 34 h 48"/>
                <a:gd name="T30" fmla="*/ 30 w 100"/>
                <a:gd name="T31" fmla="*/ 44 h 48"/>
                <a:gd name="T32" fmla="*/ 30 w 100"/>
                <a:gd name="T33" fmla="*/ 48 h 48"/>
                <a:gd name="T34" fmla="*/ 42 w 100"/>
                <a:gd name="T35" fmla="*/ 42 h 48"/>
                <a:gd name="T36" fmla="*/ 46 w 100"/>
                <a:gd name="T37" fmla="*/ 40 h 48"/>
                <a:gd name="T38" fmla="*/ 56 w 100"/>
                <a:gd name="T39" fmla="*/ 42 h 48"/>
                <a:gd name="T40" fmla="*/ 60 w 100"/>
                <a:gd name="T41" fmla="*/ 40 h 48"/>
                <a:gd name="T42" fmla="*/ 62 w 100"/>
                <a:gd name="T43" fmla="*/ 40 h 48"/>
                <a:gd name="T44" fmla="*/ 64 w 100"/>
                <a:gd name="T45" fmla="*/ 36 h 48"/>
                <a:gd name="T46" fmla="*/ 66 w 100"/>
                <a:gd name="T47" fmla="*/ 30 h 48"/>
                <a:gd name="T48" fmla="*/ 66 w 100"/>
                <a:gd name="T49" fmla="*/ 26 h 48"/>
                <a:gd name="T50" fmla="*/ 68 w 100"/>
                <a:gd name="T51" fmla="*/ 24 h 48"/>
                <a:gd name="T52" fmla="*/ 72 w 100"/>
                <a:gd name="T53" fmla="*/ 24 h 48"/>
                <a:gd name="T54" fmla="*/ 84 w 100"/>
                <a:gd name="T55" fmla="*/ 26 h 48"/>
                <a:gd name="T56" fmla="*/ 92 w 100"/>
                <a:gd name="T57" fmla="*/ 24 h 48"/>
                <a:gd name="T58" fmla="*/ 96 w 100"/>
                <a:gd name="T59" fmla="*/ 20 h 48"/>
                <a:gd name="T60" fmla="*/ 100 w 100"/>
                <a:gd name="T61" fmla="*/ 16 h 48"/>
                <a:gd name="T62" fmla="*/ 98 w 100"/>
                <a:gd name="T63" fmla="*/ 14 h 48"/>
                <a:gd name="T64" fmla="*/ 96 w 100"/>
                <a:gd name="T65" fmla="*/ 14 h 48"/>
                <a:gd name="T66" fmla="*/ 88 w 100"/>
                <a:gd name="T67" fmla="*/ 12 h 48"/>
                <a:gd name="T68" fmla="*/ 84 w 100"/>
                <a:gd name="T69" fmla="*/ 10 h 48"/>
                <a:gd name="T70" fmla="*/ 80 w 100"/>
                <a:gd name="T71" fmla="*/ 6 h 48"/>
                <a:gd name="T72" fmla="*/ 76 w 100"/>
                <a:gd name="T73" fmla="*/ 2 h 48"/>
                <a:gd name="T74" fmla="*/ 72 w 100"/>
                <a:gd name="T75" fmla="*/ 0 h 48"/>
                <a:gd name="T76" fmla="*/ 62 w 100"/>
                <a:gd name="T77" fmla="*/ 0 h 48"/>
                <a:gd name="T78" fmla="*/ 54 w 100"/>
                <a:gd name="T79" fmla="*/ 0 h 48"/>
                <a:gd name="T80" fmla="*/ 50 w 100"/>
                <a:gd name="T81" fmla="*/ 2 h 48"/>
                <a:gd name="T82" fmla="*/ 46 w 100"/>
                <a:gd name="T83" fmla="*/ 8 h 48"/>
                <a:gd name="T84" fmla="*/ 44 w 100"/>
                <a:gd name="T85" fmla="*/ 8 h 48"/>
                <a:gd name="T86" fmla="*/ 42 w 100"/>
                <a:gd name="T87" fmla="*/ 10 h 48"/>
                <a:gd name="T88" fmla="*/ 38 w 100"/>
                <a:gd name="T89" fmla="*/ 6 h 48"/>
                <a:gd name="T90" fmla="*/ 36 w 100"/>
                <a:gd name="T91" fmla="*/ 0 h 48"/>
                <a:gd name="T92" fmla="*/ 26 w 100"/>
                <a:gd name="T93" fmla="*/ 6 h 48"/>
                <a:gd name="T94" fmla="*/ 22 w 100"/>
                <a:gd name="T95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0" h="48">
                  <a:moveTo>
                    <a:pt x="16" y="8"/>
                  </a:moveTo>
                  <a:lnTo>
                    <a:pt x="16" y="8"/>
                  </a:lnTo>
                  <a:lnTo>
                    <a:pt x="16" y="10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6" y="18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0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4" y="32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20" y="28"/>
                  </a:lnTo>
                  <a:lnTo>
                    <a:pt x="22" y="28"/>
                  </a:lnTo>
                  <a:lnTo>
                    <a:pt x="24" y="28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4"/>
                  </a:lnTo>
                  <a:lnTo>
                    <a:pt x="30" y="34"/>
                  </a:lnTo>
                  <a:lnTo>
                    <a:pt x="30" y="38"/>
                  </a:lnTo>
                  <a:lnTo>
                    <a:pt x="30" y="40"/>
                  </a:lnTo>
                  <a:lnTo>
                    <a:pt x="30" y="44"/>
                  </a:lnTo>
                  <a:lnTo>
                    <a:pt x="30" y="46"/>
                  </a:lnTo>
                  <a:lnTo>
                    <a:pt x="28" y="48"/>
                  </a:lnTo>
                  <a:lnTo>
                    <a:pt x="30" y="48"/>
                  </a:lnTo>
                  <a:lnTo>
                    <a:pt x="34" y="46"/>
                  </a:lnTo>
                  <a:lnTo>
                    <a:pt x="40" y="42"/>
                  </a:lnTo>
                  <a:lnTo>
                    <a:pt x="42" y="42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6" y="40"/>
                  </a:lnTo>
                  <a:lnTo>
                    <a:pt x="48" y="40"/>
                  </a:lnTo>
                  <a:lnTo>
                    <a:pt x="54" y="40"/>
                  </a:lnTo>
                  <a:lnTo>
                    <a:pt x="56" y="42"/>
                  </a:lnTo>
                  <a:lnTo>
                    <a:pt x="58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4" y="34"/>
                  </a:lnTo>
                  <a:lnTo>
                    <a:pt x="64" y="32"/>
                  </a:lnTo>
                  <a:lnTo>
                    <a:pt x="66" y="30"/>
                  </a:lnTo>
                  <a:lnTo>
                    <a:pt x="66" y="28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8" y="26"/>
                  </a:lnTo>
                  <a:lnTo>
                    <a:pt x="68" y="24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4" y="26"/>
                  </a:lnTo>
                  <a:lnTo>
                    <a:pt x="88" y="26"/>
                  </a:lnTo>
                  <a:lnTo>
                    <a:pt x="90" y="26"/>
                  </a:lnTo>
                  <a:lnTo>
                    <a:pt x="92" y="24"/>
                  </a:lnTo>
                  <a:lnTo>
                    <a:pt x="94" y="24"/>
                  </a:lnTo>
                  <a:lnTo>
                    <a:pt x="96" y="22"/>
                  </a:lnTo>
                  <a:lnTo>
                    <a:pt x="96" y="20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6" y="14"/>
                  </a:lnTo>
                  <a:lnTo>
                    <a:pt x="94" y="12"/>
                  </a:lnTo>
                  <a:lnTo>
                    <a:pt x="92" y="12"/>
                  </a:lnTo>
                  <a:lnTo>
                    <a:pt x="88" y="12"/>
                  </a:lnTo>
                  <a:lnTo>
                    <a:pt x="86" y="12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0" y="6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6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2" y="4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21" name="Freeform 498">
              <a:extLst>
                <a:ext uri="{FF2B5EF4-FFF2-40B4-BE49-F238E27FC236}">
                  <a16:creationId xmlns:a16="http://schemas.microsoft.com/office/drawing/2014/main" id="{EDF82381-84DD-43BB-B3FC-5DDD5C6F4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210" y="5261234"/>
              <a:ext cx="420273" cy="932697"/>
            </a:xfrm>
            <a:custGeom>
              <a:avLst/>
              <a:gdLst>
                <a:gd name="T0" fmla="*/ 56 w 246"/>
                <a:gd name="T1" fmla="*/ 0 h 558"/>
                <a:gd name="T2" fmla="*/ 78 w 246"/>
                <a:gd name="T3" fmla="*/ 16 h 558"/>
                <a:gd name="T4" fmla="*/ 104 w 246"/>
                <a:gd name="T5" fmla="*/ 4 h 558"/>
                <a:gd name="T6" fmla="*/ 128 w 246"/>
                <a:gd name="T7" fmla="*/ 24 h 558"/>
                <a:gd name="T8" fmla="*/ 148 w 246"/>
                <a:gd name="T9" fmla="*/ 38 h 558"/>
                <a:gd name="T10" fmla="*/ 162 w 246"/>
                <a:gd name="T11" fmla="*/ 50 h 558"/>
                <a:gd name="T12" fmla="*/ 182 w 246"/>
                <a:gd name="T13" fmla="*/ 60 h 558"/>
                <a:gd name="T14" fmla="*/ 172 w 246"/>
                <a:gd name="T15" fmla="*/ 90 h 558"/>
                <a:gd name="T16" fmla="*/ 190 w 246"/>
                <a:gd name="T17" fmla="*/ 100 h 558"/>
                <a:gd name="T18" fmla="*/ 218 w 246"/>
                <a:gd name="T19" fmla="*/ 92 h 558"/>
                <a:gd name="T20" fmla="*/ 232 w 246"/>
                <a:gd name="T21" fmla="*/ 74 h 558"/>
                <a:gd name="T22" fmla="*/ 238 w 246"/>
                <a:gd name="T23" fmla="*/ 84 h 558"/>
                <a:gd name="T24" fmla="*/ 246 w 246"/>
                <a:gd name="T25" fmla="*/ 92 h 558"/>
                <a:gd name="T26" fmla="*/ 234 w 246"/>
                <a:gd name="T27" fmla="*/ 98 h 558"/>
                <a:gd name="T28" fmla="*/ 220 w 246"/>
                <a:gd name="T29" fmla="*/ 110 h 558"/>
                <a:gd name="T30" fmla="*/ 194 w 246"/>
                <a:gd name="T31" fmla="*/ 144 h 558"/>
                <a:gd name="T32" fmla="*/ 180 w 246"/>
                <a:gd name="T33" fmla="*/ 192 h 558"/>
                <a:gd name="T34" fmla="*/ 186 w 246"/>
                <a:gd name="T35" fmla="*/ 222 h 558"/>
                <a:gd name="T36" fmla="*/ 192 w 246"/>
                <a:gd name="T37" fmla="*/ 228 h 558"/>
                <a:gd name="T38" fmla="*/ 208 w 246"/>
                <a:gd name="T39" fmla="*/ 234 h 558"/>
                <a:gd name="T40" fmla="*/ 210 w 246"/>
                <a:gd name="T41" fmla="*/ 254 h 558"/>
                <a:gd name="T42" fmla="*/ 214 w 246"/>
                <a:gd name="T43" fmla="*/ 270 h 558"/>
                <a:gd name="T44" fmla="*/ 194 w 246"/>
                <a:gd name="T45" fmla="*/ 280 h 558"/>
                <a:gd name="T46" fmla="*/ 188 w 246"/>
                <a:gd name="T47" fmla="*/ 292 h 558"/>
                <a:gd name="T48" fmla="*/ 146 w 246"/>
                <a:gd name="T49" fmla="*/ 298 h 558"/>
                <a:gd name="T50" fmla="*/ 142 w 246"/>
                <a:gd name="T51" fmla="*/ 318 h 558"/>
                <a:gd name="T52" fmla="*/ 140 w 246"/>
                <a:gd name="T53" fmla="*/ 342 h 558"/>
                <a:gd name="T54" fmla="*/ 114 w 246"/>
                <a:gd name="T55" fmla="*/ 334 h 558"/>
                <a:gd name="T56" fmla="*/ 102 w 246"/>
                <a:gd name="T57" fmla="*/ 336 h 558"/>
                <a:gd name="T58" fmla="*/ 112 w 246"/>
                <a:gd name="T59" fmla="*/ 354 h 558"/>
                <a:gd name="T60" fmla="*/ 120 w 246"/>
                <a:gd name="T61" fmla="*/ 378 h 558"/>
                <a:gd name="T62" fmla="*/ 106 w 246"/>
                <a:gd name="T63" fmla="*/ 408 h 558"/>
                <a:gd name="T64" fmla="*/ 94 w 246"/>
                <a:gd name="T65" fmla="*/ 420 h 558"/>
                <a:gd name="T66" fmla="*/ 82 w 246"/>
                <a:gd name="T67" fmla="*/ 426 h 558"/>
                <a:gd name="T68" fmla="*/ 82 w 246"/>
                <a:gd name="T69" fmla="*/ 448 h 558"/>
                <a:gd name="T70" fmla="*/ 102 w 246"/>
                <a:gd name="T71" fmla="*/ 460 h 558"/>
                <a:gd name="T72" fmla="*/ 96 w 246"/>
                <a:gd name="T73" fmla="*/ 480 h 558"/>
                <a:gd name="T74" fmla="*/ 90 w 246"/>
                <a:gd name="T75" fmla="*/ 504 h 558"/>
                <a:gd name="T76" fmla="*/ 80 w 246"/>
                <a:gd name="T77" fmla="*/ 516 h 558"/>
                <a:gd name="T78" fmla="*/ 72 w 246"/>
                <a:gd name="T79" fmla="*/ 532 h 558"/>
                <a:gd name="T80" fmla="*/ 34 w 246"/>
                <a:gd name="T81" fmla="*/ 558 h 558"/>
                <a:gd name="T82" fmla="*/ 24 w 246"/>
                <a:gd name="T83" fmla="*/ 540 h 558"/>
                <a:gd name="T84" fmla="*/ 12 w 246"/>
                <a:gd name="T85" fmla="*/ 528 h 558"/>
                <a:gd name="T86" fmla="*/ 6 w 246"/>
                <a:gd name="T87" fmla="*/ 492 h 558"/>
                <a:gd name="T88" fmla="*/ 16 w 246"/>
                <a:gd name="T89" fmla="*/ 480 h 558"/>
                <a:gd name="T90" fmla="*/ 20 w 246"/>
                <a:gd name="T91" fmla="*/ 418 h 558"/>
                <a:gd name="T92" fmla="*/ 12 w 246"/>
                <a:gd name="T93" fmla="*/ 372 h 558"/>
                <a:gd name="T94" fmla="*/ 2 w 246"/>
                <a:gd name="T95" fmla="*/ 326 h 558"/>
                <a:gd name="T96" fmla="*/ 14 w 246"/>
                <a:gd name="T97" fmla="*/ 302 h 558"/>
                <a:gd name="T98" fmla="*/ 2 w 246"/>
                <a:gd name="T99" fmla="*/ 278 h 558"/>
                <a:gd name="T100" fmla="*/ 12 w 246"/>
                <a:gd name="T101" fmla="*/ 254 h 558"/>
                <a:gd name="T102" fmla="*/ 12 w 246"/>
                <a:gd name="T103" fmla="*/ 238 h 558"/>
                <a:gd name="T104" fmla="*/ 12 w 246"/>
                <a:gd name="T105" fmla="*/ 214 h 558"/>
                <a:gd name="T106" fmla="*/ 20 w 246"/>
                <a:gd name="T107" fmla="*/ 208 h 558"/>
                <a:gd name="T108" fmla="*/ 12 w 246"/>
                <a:gd name="T109" fmla="*/ 192 h 558"/>
                <a:gd name="T110" fmla="*/ 12 w 246"/>
                <a:gd name="T111" fmla="*/ 166 h 558"/>
                <a:gd name="T112" fmla="*/ 14 w 246"/>
                <a:gd name="T113" fmla="*/ 138 h 558"/>
                <a:gd name="T114" fmla="*/ 18 w 246"/>
                <a:gd name="T115" fmla="*/ 112 h 558"/>
                <a:gd name="T116" fmla="*/ 30 w 246"/>
                <a:gd name="T117" fmla="*/ 92 h 558"/>
                <a:gd name="T118" fmla="*/ 26 w 246"/>
                <a:gd name="T119" fmla="*/ 74 h 558"/>
                <a:gd name="T120" fmla="*/ 34 w 246"/>
                <a:gd name="T121" fmla="*/ 60 h 558"/>
                <a:gd name="T122" fmla="*/ 36 w 246"/>
                <a:gd name="T123" fmla="*/ 40 h 558"/>
                <a:gd name="T124" fmla="*/ 46 w 246"/>
                <a:gd name="T125" fmla="*/ 2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6" h="558">
                  <a:moveTo>
                    <a:pt x="46" y="20"/>
                  </a:moveTo>
                  <a:lnTo>
                    <a:pt x="46" y="20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8" y="10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4"/>
                  </a:lnTo>
                  <a:lnTo>
                    <a:pt x="64" y="8"/>
                  </a:lnTo>
                  <a:lnTo>
                    <a:pt x="66" y="10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4"/>
                  </a:lnTo>
                  <a:lnTo>
                    <a:pt x="74" y="14"/>
                  </a:lnTo>
                  <a:lnTo>
                    <a:pt x="76" y="16"/>
                  </a:lnTo>
                  <a:lnTo>
                    <a:pt x="78" y="16"/>
                  </a:lnTo>
                  <a:lnTo>
                    <a:pt x="82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4" y="12"/>
                  </a:lnTo>
                  <a:lnTo>
                    <a:pt x="96" y="10"/>
                  </a:lnTo>
                  <a:lnTo>
                    <a:pt x="100" y="8"/>
                  </a:lnTo>
                  <a:lnTo>
                    <a:pt x="102" y="6"/>
                  </a:lnTo>
                  <a:lnTo>
                    <a:pt x="104" y="4"/>
                  </a:lnTo>
                  <a:lnTo>
                    <a:pt x="106" y="8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12" y="14"/>
                  </a:lnTo>
                  <a:lnTo>
                    <a:pt x="114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2" y="18"/>
                  </a:lnTo>
                  <a:lnTo>
                    <a:pt x="124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2"/>
                  </a:lnTo>
                  <a:lnTo>
                    <a:pt x="128" y="24"/>
                  </a:lnTo>
                  <a:lnTo>
                    <a:pt x="128" y="26"/>
                  </a:lnTo>
                  <a:lnTo>
                    <a:pt x="130" y="26"/>
                  </a:lnTo>
                  <a:lnTo>
                    <a:pt x="130" y="26"/>
                  </a:lnTo>
                  <a:lnTo>
                    <a:pt x="130" y="28"/>
                  </a:lnTo>
                  <a:lnTo>
                    <a:pt x="132" y="28"/>
                  </a:lnTo>
                  <a:lnTo>
                    <a:pt x="134" y="28"/>
                  </a:lnTo>
                  <a:lnTo>
                    <a:pt x="136" y="30"/>
                  </a:lnTo>
                  <a:lnTo>
                    <a:pt x="138" y="30"/>
                  </a:lnTo>
                  <a:lnTo>
                    <a:pt x="140" y="30"/>
                  </a:lnTo>
                  <a:lnTo>
                    <a:pt x="142" y="32"/>
                  </a:lnTo>
                  <a:lnTo>
                    <a:pt x="144" y="34"/>
                  </a:lnTo>
                  <a:lnTo>
                    <a:pt x="146" y="36"/>
                  </a:lnTo>
                  <a:lnTo>
                    <a:pt x="148" y="38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50" y="44"/>
                  </a:lnTo>
                  <a:lnTo>
                    <a:pt x="150" y="44"/>
                  </a:lnTo>
                  <a:lnTo>
                    <a:pt x="150" y="46"/>
                  </a:lnTo>
                  <a:lnTo>
                    <a:pt x="150" y="46"/>
                  </a:lnTo>
                  <a:lnTo>
                    <a:pt x="152" y="48"/>
                  </a:lnTo>
                  <a:lnTo>
                    <a:pt x="152" y="48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6" y="50"/>
                  </a:lnTo>
                  <a:lnTo>
                    <a:pt x="158" y="50"/>
                  </a:lnTo>
                  <a:lnTo>
                    <a:pt x="162" y="50"/>
                  </a:lnTo>
                  <a:lnTo>
                    <a:pt x="164" y="50"/>
                  </a:lnTo>
                  <a:lnTo>
                    <a:pt x="168" y="50"/>
                  </a:lnTo>
                  <a:lnTo>
                    <a:pt x="170" y="50"/>
                  </a:lnTo>
                  <a:lnTo>
                    <a:pt x="172" y="50"/>
                  </a:lnTo>
                  <a:lnTo>
                    <a:pt x="172" y="50"/>
                  </a:lnTo>
                  <a:lnTo>
                    <a:pt x="174" y="50"/>
                  </a:lnTo>
                  <a:lnTo>
                    <a:pt x="174" y="52"/>
                  </a:lnTo>
                  <a:lnTo>
                    <a:pt x="176" y="54"/>
                  </a:lnTo>
                  <a:lnTo>
                    <a:pt x="178" y="56"/>
                  </a:lnTo>
                  <a:lnTo>
                    <a:pt x="180" y="56"/>
                  </a:lnTo>
                  <a:lnTo>
                    <a:pt x="180" y="58"/>
                  </a:lnTo>
                  <a:lnTo>
                    <a:pt x="182" y="58"/>
                  </a:lnTo>
                  <a:lnTo>
                    <a:pt x="182" y="60"/>
                  </a:lnTo>
                  <a:lnTo>
                    <a:pt x="182" y="60"/>
                  </a:lnTo>
                  <a:lnTo>
                    <a:pt x="182" y="62"/>
                  </a:lnTo>
                  <a:lnTo>
                    <a:pt x="182" y="64"/>
                  </a:lnTo>
                  <a:lnTo>
                    <a:pt x="180" y="66"/>
                  </a:lnTo>
                  <a:lnTo>
                    <a:pt x="180" y="68"/>
                  </a:lnTo>
                  <a:lnTo>
                    <a:pt x="178" y="74"/>
                  </a:lnTo>
                  <a:lnTo>
                    <a:pt x="176" y="78"/>
                  </a:lnTo>
                  <a:lnTo>
                    <a:pt x="176" y="80"/>
                  </a:lnTo>
                  <a:lnTo>
                    <a:pt x="174" y="80"/>
                  </a:lnTo>
                  <a:lnTo>
                    <a:pt x="174" y="82"/>
                  </a:lnTo>
                  <a:lnTo>
                    <a:pt x="172" y="86"/>
                  </a:lnTo>
                  <a:lnTo>
                    <a:pt x="172" y="88"/>
                  </a:lnTo>
                  <a:lnTo>
                    <a:pt x="172" y="90"/>
                  </a:lnTo>
                  <a:lnTo>
                    <a:pt x="172" y="92"/>
                  </a:lnTo>
                  <a:lnTo>
                    <a:pt x="172" y="92"/>
                  </a:lnTo>
                  <a:lnTo>
                    <a:pt x="172" y="92"/>
                  </a:lnTo>
                  <a:lnTo>
                    <a:pt x="172" y="94"/>
                  </a:lnTo>
                  <a:lnTo>
                    <a:pt x="172" y="94"/>
                  </a:lnTo>
                  <a:lnTo>
                    <a:pt x="174" y="94"/>
                  </a:lnTo>
                  <a:lnTo>
                    <a:pt x="174" y="96"/>
                  </a:lnTo>
                  <a:lnTo>
                    <a:pt x="176" y="96"/>
                  </a:lnTo>
                  <a:lnTo>
                    <a:pt x="178" y="98"/>
                  </a:lnTo>
                  <a:lnTo>
                    <a:pt x="180" y="98"/>
                  </a:lnTo>
                  <a:lnTo>
                    <a:pt x="184" y="98"/>
                  </a:lnTo>
                  <a:lnTo>
                    <a:pt x="188" y="100"/>
                  </a:lnTo>
                  <a:lnTo>
                    <a:pt x="190" y="100"/>
                  </a:lnTo>
                  <a:lnTo>
                    <a:pt x="194" y="100"/>
                  </a:lnTo>
                  <a:lnTo>
                    <a:pt x="198" y="100"/>
                  </a:lnTo>
                  <a:lnTo>
                    <a:pt x="202" y="100"/>
                  </a:lnTo>
                  <a:lnTo>
                    <a:pt x="204" y="98"/>
                  </a:lnTo>
                  <a:lnTo>
                    <a:pt x="208" y="98"/>
                  </a:lnTo>
                  <a:lnTo>
                    <a:pt x="210" y="98"/>
                  </a:lnTo>
                  <a:lnTo>
                    <a:pt x="214" y="96"/>
                  </a:lnTo>
                  <a:lnTo>
                    <a:pt x="216" y="96"/>
                  </a:lnTo>
                  <a:lnTo>
                    <a:pt x="216" y="94"/>
                  </a:lnTo>
                  <a:lnTo>
                    <a:pt x="218" y="94"/>
                  </a:lnTo>
                  <a:lnTo>
                    <a:pt x="218" y="94"/>
                  </a:lnTo>
                  <a:lnTo>
                    <a:pt x="218" y="92"/>
                  </a:lnTo>
                  <a:lnTo>
                    <a:pt x="218" y="92"/>
                  </a:lnTo>
                  <a:lnTo>
                    <a:pt x="218" y="90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6"/>
                  </a:lnTo>
                  <a:lnTo>
                    <a:pt x="220" y="86"/>
                  </a:lnTo>
                  <a:lnTo>
                    <a:pt x="220" y="84"/>
                  </a:lnTo>
                  <a:lnTo>
                    <a:pt x="224" y="84"/>
                  </a:lnTo>
                  <a:lnTo>
                    <a:pt x="226" y="82"/>
                  </a:lnTo>
                  <a:lnTo>
                    <a:pt x="226" y="82"/>
                  </a:lnTo>
                  <a:lnTo>
                    <a:pt x="228" y="80"/>
                  </a:lnTo>
                  <a:lnTo>
                    <a:pt x="228" y="80"/>
                  </a:lnTo>
                  <a:lnTo>
                    <a:pt x="230" y="78"/>
                  </a:lnTo>
                  <a:lnTo>
                    <a:pt x="232" y="74"/>
                  </a:lnTo>
                  <a:lnTo>
                    <a:pt x="234" y="68"/>
                  </a:lnTo>
                  <a:lnTo>
                    <a:pt x="234" y="70"/>
                  </a:lnTo>
                  <a:lnTo>
                    <a:pt x="234" y="72"/>
                  </a:lnTo>
                  <a:lnTo>
                    <a:pt x="234" y="76"/>
                  </a:lnTo>
                  <a:lnTo>
                    <a:pt x="234" y="78"/>
                  </a:lnTo>
                  <a:lnTo>
                    <a:pt x="236" y="80"/>
                  </a:lnTo>
                  <a:lnTo>
                    <a:pt x="236" y="82"/>
                  </a:lnTo>
                  <a:lnTo>
                    <a:pt x="236" y="82"/>
                  </a:lnTo>
                  <a:lnTo>
                    <a:pt x="236" y="84"/>
                  </a:lnTo>
                  <a:lnTo>
                    <a:pt x="236" y="84"/>
                  </a:lnTo>
                  <a:lnTo>
                    <a:pt x="236" y="84"/>
                  </a:lnTo>
                  <a:lnTo>
                    <a:pt x="238" y="84"/>
                  </a:lnTo>
                  <a:lnTo>
                    <a:pt x="238" y="84"/>
                  </a:lnTo>
                  <a:lnTo>
                    <a:pt x="240" y="84"/>
                  </a:lnTo>
                  <a:lnTo>
                    <a:pt x="240" y="84"/>
                  </a:lnTo>
                  <a:lnTo>
                    <a:pt x="242" y="84"/>
                  </a:lnTo>
                  <a:lnTo>
                    <a:pt x="242" y="84"/>
                  </a:lnTo>
                  <a:lnTo>
                    <a:pt x="244" y="84"/>
                  </a:lnTo>
                  <a:lnTo>
                    <a:pt x="244" y="84"/>
                  </a:lnTo>
                  <a:lnTo>
                    <a:pt x="244" y="84"/>
                  </a:lnTo>
                  <a:lnTo>
                    <a:pt x="244" y="84"/>
                  </a:lnTo>
                  <a:lnTo>
                    <a:pt x="244" y="84"/>
                  </a:lnTo>
                  <a:lnTo>
                    <a:pt x="246" y="86"/>
                  </a:lnTo>
                  <a:lnTo>
                    <a:pt x="246" y="88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6" y="94"/>
                  </a:lnTo>
                  <a:lnTo>
                    <a:pt x="246" y="94"/>
                  </a:lnTo>
                  <a:lnTo>
                    <a:pt x="246" y="96"/>
                  </a:lnTo>
                  <a:lnTo>
                    <a:pt x="244" y="96"/>
                  </a:lnTo>
                  <a:lnTo>
                    <a:pt x="244" y="96"/>
                  </a:lnTo>
                  <a:lnTo>
                    <a:pt x="244" y="96"/>
                  </a:lnTo>
                  <a:lnTo>
                    <a:pt x="242" y="96"/>
                  </a:lnTo>
                  <a:lnTo>
                    <a:pt x="242" y="96"/>
                  </a:lnTo>
                  <a:lnTo>
                    <a:pt x="240" y="96"/>
                  </a:lnTo>
                  <a:lnTo>
                    <a:pt x="236" y="96"/>
                  </a:lnTo>
                  <a:lnTo>
                    <a:pt x="236" y="96"/>
                  </a:lnTo>
                  <a:lnTo>
                    <a:pt x="234" y="96"/>
                  </a:lnTo>
                  <a:lnTo>
                    <a:pt x="234" y="98"/>
                  </a:lnTo>
                  <a:lnTo>
                    <a:pt x="232" y="98"/>
                  </a:lnTo>
                  <a:lnTo>
                    <a:pt x="232" y="100"/>
                  </a:lnTo>
                  <a:lnTo>
                    <a:pt x="232" y="100"/>
                  </a:lnTo>
                  <a:lnTo>
                    <a:pt x="230" y="102"/>
                  </a:lnTo>
                  <a:lnTo>
                    <a:pt x="228" y="106"/>
                  </a:lnTo>
                  <a:lnTo>
                    <a:pt x="228" y="106"/>
                  </a:lnTo>
                  <a:lnTo>
                    <a:pt x="226" y="108"/>
                  </a:lnTo>
                  <a:lnTo>
                    <a:pt x="226" y="108"/>
                  </a:lnTo>
                  <a:lnTo>
                    <a:pt x="224" y="108"/>
                  </a:lnTo>
                  <a:lnTo>
                    <a:pt x="222" y="108"/>
                  </a:lnTo>
                  <a:lnTo>
                    <a:pt x="222" y="110"/>
                  </a:lnTo>
                  <a:lnTo>
                    <a:pt x="220" y="110"/>
                  </a:lnTo>
                  <a:lnTo>
                    <a:pt x="220" y="110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16" y="116"/>
                  </a:lnTo>
                  <a:lnTo>
                    <a:pt x="214" y="118"/>
                  </a:lnTo>
                  <a:lnTo>
                    <a:pt x="212" y="122"/>
                  </a:lnTo>
                  <a:lnTo>
                    <a:pt x="210" y="124"/>
                  </a:lnTo>
                  <a:lnTo>
                    <a:pt x="208" y="126"/>
                  </a:lnTo>
                  <a:lnTo>
                    <a:pt x="206" y="128"/>
                  </a:lnTo>
                  <a:lnTo>
                    <a:pt x="204" y="130"/>
                  </a:lnTo>
                  <a:lnTo>
                    <a:pt x="202" y="132"/>
                  </a:lnTo>
                  <a:lnTo>
                    <a:pt x="200" y="136"/>
                  </a:lnTo>
                  <a:lnTo>
                    <a:pt x="198" y="140"/>
                  </a:lnTo>
                  <a:lnTo>
                    <a:pt x="194" y="144"/>
                  </a:lnTo>
                  <a:lnTo>
                    <a:pt x="190" y="152"/>
                  </a:lnTo>
                  <a:lnTo>
                    <a:pt x="186" y="158"/>
                  </a:lnTo>
                  <a:lnTo>
                    <a:pt x="184" y="162"/>
                  </a:lnTo>
                  <a:lnTo>
                    <a:pt x="182" y="164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0" y="168"/>
                  </a:lnTo>
                  <a:lnTo>
                    <a:pt x="180" y="172"/>
                  </a:lnTo>
                  <a:lnTo>
                    <a:pt x="180" y="178"/>
                  </a:lnTo>
                  <a:lnTo>
                    <a:pt x="180" y="180"/>
                  </a:lnTo>
                  <a:lnTo>
                    <a:pt x="180" y="184"/>
                  </a:lnTo>
                  <a:lnTo>
                    <a:pt x="180" y="186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2" y="204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2" y="210"/>
                  </a:lnTo>
                  <a:lnTo>
                    <a:pt x="182" y="214"/>
                  </a:lnTo>
                  <a:lnTo>
                    <a:pt x="182" y="216"/>
                  </a:lnTo>
                  <a:lnTo>
                    <a:pt x="184" y="218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8" y="222"/>
                  </a:lnTo>
                  <a:lnTo>
                    <a:pt x="188" y="220"/>
                  </a:lnTo>
                  <a:lnTo>
                    <a:pt x="190" y="220"/>
                  </a:lnTo>
                  <a:lnTo>
                    <a:pt x="190" y="220"/>
                  </a:lnTo>
                  <a:lnTo>
                    <a:pt x="192" y="220"/>
                  </a:lnTo>
                  <a:lnTo>
                    <a:pt x="192" y="220"/>
                  </a:lnTo>
                  <a:lnTo>
                    <a:pt x="190" y="222"/>
                  </a:lnTo>
                  <a:lnTo>
                    <a:pt x="190" y="224"/>
                  </a:lnTo>
                  <a:lnTo>
                    <a:pt x="190" y="224"/>
                  </a:lnTo>
                  <a:lnTo>
                    <a:pt x="190" y="226"/>
                  </a:lnTo>
                  <a:lnTo>
                    <a:pt x="190" y="226"/>
                  </a:lnTo>
                  <a:lnTo>
                    <a:pt x="192" y="226"/>
                  </a:lnTo>
                  <a:lnTo>
                    <a:pt x="192" y="228"/>
                  </a:lnTo>
                  <a:lnTo>
                    <a:pt x="192" y="228"/>
                  </a:lnTo>
                  <a:lnTo>
                    <a:pt x="194" y="228"/>
                  </a:lnTo>
                  <a:lnTo>
                    <a:pt x="196" y="228"/>
                  </a:lnTo>
                  <a:lnTo>
                    <a:pt x="198" y="230"/>
                  </a:lnTo>
                  <a:lnTo>
                    <a:pt x="200" y="230"/>
                  </a:lnTo>
                  <a:lnTo>
                    <a:pt x="200" y="230"/>
                  </a:lnTo>
                  <a:lnTo>
                    <a:pt x="202" y="230"/>
                  </a:lnTo>
                  <a:lnTo>
                    <a:pt x="204" y="230"/>
                  </a:lnTo>
                  <a:lnTo>
                    <a:pt x="204" y="230"/>
                  </a:lnTo>
                  <a:lnTo>
                    <a:pt x="206" y="230"/>
                  </a:lnTo>
                  <a:lnTo>
                    <a:pt x="206" y="232"/>
                  </a:lnTo>
                  <a:lnTo>
                    <a:pt x="206" y="232"/>
                  </a:lnTo>
                  <a:lnTo>
                    <a:pt x="208" y="234"/>
                  </a:lnTo>
                  <a:lnTo>
                    <a:pt x="208" y="234"/>
                  </a:lnTo>
                  <a:lnTo>
                    <a:pt x="208" y="236"/>
                  </a:lnTo>
                  <a:lnTo>
                    <a:pt x="208" y="238"/>
                  </a:lnTo>
                  <a:lnTo>
                    <a:pt x="206" y="242"/>
                  </a:lnTo>
                  <a:lnTo>
                    <a:pt x="206" y="244"/>
                  </a:lnTo>
                  <a:lnTo>
                    <a:pt x="206" y="248"/>
                  </a:lnTo>
                  <a:lnTo>
                    <a:pt x="206" y="248"/>
                  </a:lnTo>
                  <a:lnTo>
                    <a:pt x="206" y="250"/>
                  </a:lnTo>
                  <a:lnTo>
                    <a:pt x="206" y="250"/>
                  </a:lnTo>
                  <a:lnTo>
                    <a:pt x="206" y="252"/>
                  </a:lnTo>
                  <a:lnTo>
                    <a:pt x="208" y="252"/>
                  </a:lnTo>
                  <a:lnTo>
                    <a:pt x="208" y="252"/>
                  </a:lnTo>
                  <a:lnTo>
                    <a:pt x="210" y="254"/>
                  </a:lnTo>
                  <a:lnTo>
                    <a:pt x="212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4" y="254"/>
                  </a:lnTo>
                  <a:lnTo>
                    <a:pt x="214" y="256"/>
                  </a:lnTo>
                  <a:lnTo>
                    <a:pt x="214" y="256"/>
                  </a:lnTo>
                  <a:lnTo>
                    <a:pt x="216" y="256"/>
                  </a:lnTo>
                  <a:lnTo>
                    <a:pt x="216" y="258"/>
                  </a:lnTo>
                  <a:lnTo>
                    <a:pt x="216" y="260"/>
                  </a:lnTo>
                  <a:lnTo>
                    <a:pt x="216" y="262"/>
                  </a:lnTo>
                  <a:lnTo>
                    <a:pt x="216" y="264"/>
                  </a:lnTo>
                  <a:lnTo>
                    <a:pt x="216" y="268"/>
                  </a:lnTo>
                  <a:lnTo>
                    <a:pt x="214" y="270"/>
                  </a:lnTo>
                  <a:lnTo>
                    <a:pt x="214" y="272"/>
                  </a:lnTo>
                  <a:lnTo>
                    <a:pt x="212" y="274"/>
                  </a:lnTo>
                  <a:lnTo>
                    <a:pt x="212" y="276"/>
                  </a:lnTo>
                  <a:lnTo>
                    <a:pt x="212" y="276"/>
                  </a:lnTo>
                  <a:lnTo>
                    <a:pt x="210" y="278"/>
                  </a:lnTo>
                  <a:lnTo>
                    <a:pt x="208" y="278"/>
                  </a:lnTo>
                  <a:lnTo>
                    <a:pt x="206" y="280"/>
                  </a:lnTo>
                  <a:lnTo>
                    <a:pt x="204" y="280"/>
                  </a:lnTo>
                  <a:lnTo>
                    <a:pt x="202" y="280"/>
                  </a:lnTo>
                  <a:lnTo>
                    <a:pt x="202" y="280"/>
                  </a:lnTo>
                  <a:lnTo>
                    <a:pt x="198" y="280"/>
                  </a:lnTo>
                  <a:lnTo>
                    <a:pt x="196" y="280"/>
                  </a:lnTo>
                  <a:lnTo>
                    <a:pt x="194" y="280"/>
                  </a:lnTo>
                  <a:lnTo>
                    <a:pt x="192" y="282"/>
                  </a:lnTo>
                  <a:lnTo>
                    <a:pt x="192" y="282"/>
                  </a:lnTo>
                  <a:lnTo>
                    <a:pt x="192" y="282"/>
                  </a:lnTo>
                  <a:lnTo>
                    <a:pt x="192" y="282"/>
                  </a:lnTo>
                  <a:lnTo>
                    <a:pt x="192" y="282"/>
                  </a:lnTo>
                  <a:lnTo>
                    <a:pt x="190" y="284"/>
                  </a:lnTo>
                  <a:lnTo>
                    <a:pt x="190" y="284"/>
                  </a:lnTo>
                  <a:lnTo>
                    <a:pt x="190" y="286"/>
                  </a:lnTo>
                  <a:lnTo>
                    <a:pt x="190" y="288"/>
                  </a:lnTo>
                  <a:lnTo>
                    <a:pt x="190" y="290"/>
                  </a:lnTo>
                  <a:lnTo>
                    <a:pt x="188" y="290"/>
                  </a:lnTo>
                  <a:lnTo>
                    <a:pt x="188" y="292"/>
                  </a:lnTo>
                  <a:lnTo>
                    <a:pt x="188" y="292"/>
                  </a:lnTo>
                  <a:lnTo>
                    <a:pt x="188" y="292"/>
                  </a:lnTo>
                  <a:lnTo>
                    <a:pt x="186" y="292"/>
                  </a:lnTo>
                  <a:lnTo>
                    <a:pt x="186" y="292"/>
                  </a:lnTo>
                  <a:lnTo>
                    <a:pt x="184" y="292"/>
                  </a:lnTo>
                  <a:lnTo>
                    <a:pt x="182" y="292"/>
                  </a:lnTo>
                  <a:lnTo>
                    <a:pt x="180" y="292"/>
                  </a:lnTo>
                  <a:lnTo>
                    <a:pt x="166" y="296"/>
                  </a:lnTo>
                  <a:lnTo>
                    <a:pt x="158" y="296"/>
                  </a:lnTo>
                  <a:lnTo>
                    <a:pt x="152" y="298"/>
                  </a:lnTo>
                  <a:lnTo>
                    <a:pt x="150" y="298"/>
                  </a:lnTo>
                  <a:lnTo>
                    <a:pt x="148" y="298"/>
                  </a:lnTo>
                  <a:lnTo>
                    <a:pt x="146" y="298"/>
                  </a:lnTo>
                  <a:lnTo>
                    <a:pt x="146" y="298"/>
                  </a:lnTo>
                  <a:lnTo>
                    <a:pt x="144" y="300"/>
                  </a:lnTo>
                  <a:lnTo>
                    <a:pt x="142" y="300"/>
                  </a:lnTo>
                  <a:lnTo>
                    <a:pt x="142" y="302"/>
                  </a:lnTo>
                  <a:lnTo>
                    <a:pt x="140" y="302"/>
                  </a:lnTo>
                  <a:lnTo>
                    <a:pt x="140" y="304"/>
                  </a:lnTo>
                  <a:lnTo>
                    <a:pt x="140" y="304"/>
                  </a:lnTo>
                  <a:lnTo>
                    <a:pt x="140" y="304"/>
                  </a:lnTo>
                  <a:lnTo>
                    <a:pt x="140" y="306"/>
                  </a:lnTo>
                  <a:lnTo>
                    <a:pt x="140" y="308"/>
                  </a:lnTo>
                  <a:lnTo>
                    <a:pt x="140" y="310"/>
                  </a:lnTo>
                  <a:lnTo>
                    <a:pt x="140" y="312"/>
                  </a:lnTo>
                  <a:lnTo>
                    <a:pt x="142" y="316"/>
                  </a:lnTo>
                  <a:lnTo>
                    <a:pt x="142" y="318"/>
                  </a:lnTo>
                  <a:lnTo>
                    <a:pt x="142" y="320"/>
                  </a:lnTo>
                  <a:lnTo>
                    <a:pt x="144" y="324"/>
                  </a:lnTo>
                  <a:lnTo>
                    <a:pt x="144" y="326"/>
                  </a:lnTo>
                  <a:lnTo>
                    <a:pt x="144" y="330"/>
                  </a:lnTo>
                  <a:lnTo>
                    <a:pt x="144" y="332"/>
                  </a:lnTo>
                  <a:lnTo>
                    <a:pt x="144" y="334"/>
                  </a:lnTo>
                  <a:lnTo>
                    <a:pt x="144" y="336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4" y="338"/>
                  </a:lnTo>
                  <a:lnTo>
                    <a:pt x="142" y="340"/>
                  </a:lnTo>
                  <a:lnTo>
                    <a:pt x="142" y="340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36" y="342"/>
                  </a:lnTo>
                  <a:lnTo>
                    <a:pt x="134" y="344"/>
                  </a:lnTo>
                  <a:lnTo>
                    <a:pt x="132" y="344"/>
                  </a:lnTo>
                  <a:lnTo>
                    <a:pt x="130" y="344"/>
                  </a:lnTo>
                  <a:lnTo>
                    <a:pt x="128" y="344"/>
                  </a:lnTo>
                  <a:lnTo>
                    <a:pt x="128" y="344"/>
                  </a:lnTo>
                  <a:lnTo>
                    <a:pt x="126" y="344"/>
                  </a:lnTo>
                  <a:lnTo>
                    <a:pt x="124" y="342"/>
                  </a:lnTo>
                  <a:lnTo>
                    <a:pt x="122" y="342"/>
                  </a:lnTo>
                  <a:lnTo>
                    <a:pt x="120" y="340"/>
                  </a:lnTo>
                  <a:lnTo>
                    <a:pt x="116" y="338"/>
                  </a:lnTo>
                  <a:lnTo>
                    <a:pt x="114" y="334"/>
                  </a:lnTo>
                  <a:lnTo>
                    <a:pt x="112" y="334"/>
                  </a:lnTo>
                  <a:lnTo>
                    <a:pt x="110" y="332"/>
                  </a:lnTo>
                  <a:lnTo>
                    <a:pt x="110" y="332"/>
                  </a:lnTo>
                  <a:lnTo>
                    <a:pt x="108" y="332"/>
                  </a:lnTo>
                  <a:lnTo>
                    <a:pt x="106" y="332"/>
                  </a:lnTo>
                  <a:lnTo>
                    <a:pt x="106" y="332"/>
                  </a:lnTo>
                  <a:lnTo>
                    <a:pt x="106" y="332"/>
                  </a:lnTo>
                  <a:lnTo>
                    <a:pt x="106" y="332"/>
                  </a:lnTo>
                  <a:lnTo>
                    <a:pt x="104" y="332"/>
                  </a:lnTo>
                  <a:lnTo>
                    <a:pt x="104" y="334"/>
                  </a:lnTo>
                  <a:lnTo>
                    <a:pt x="104" y="334"/>
                  </a:lnTo>
                  <a:lnTo>
                    <a:pt x="104" y="336"/>
                  </a:lnTo>
                  <a:lnTo>
                    <a:pt x="102" y="336"/>
                  </a:lnTo>
                  <a:lnTo>
                    <a:pt x="102" y="340"/>
                  </a:lnTo>
                  <a:lnTo>
                    <a:pt x="102" y="342"/>
                  </a:lnTo>
                  <a:lnTo>
                    <a:pt x="102" y="344"/>
                  </a:lnTo>
                  <a:lnTo>
                    <a:pt x="102" y="346"/>
                  </a:lnTo>
                  <a:lnTo>
                    <a:pt x="102" y="348"/>
                  </a:lnTo>
                  <a:lnTo>
                    <a:pt x="102" y="348"/>
                  </a:lnTo>
                  <a:lnTo>
                    <a:pt x="102" y="348"/>
                  </a:lnTo>
                  <a:lnTo>
                    <a:pt x="104" y="350"/>
                  </a:lnTo>
                  <a:lnTo>
                    <a:pt x="104" y="350"/>
                  </a:lnTo>
                  <a:lnTo>
                    <a:pt x="106" y="352"/>
                  </a:lnTo>
                  <a:lnTo>
                    <a:pt x="108" y="352"/>
                  </a:lnTo>
                  <a:lnTo>
                    <a:pt x="112" y="354"/>
                  </a:lnTo>
                  <a:lnTo>
                    <a:pt x="112" y="354"/>
                  </a:lnTo>
                  <a:lnTo>
                    <a:pt x="114" y="356"/>
                  </a:lnTo>
                  <a:lnTo>
                    <a:pt x="114" y="356"/>
                  </a:lnTo>
                  <a:lnTo>
                    <a:pt x="114" y="356"/>
                  </a:lnTo>
                  <a:lnTo>
                    <a:pt x="114" y="358"/>
                  </a:lnTo>
                  <a:lnTo>
                    <a:pt x="116" y="360"/>
                  </a:lnTo>
                  <a:lnTo>
                    <a:pt x="118" y="366"/>
                  </a:lnTo>
                  <a:lnTo>
                    <a:pt x="118" y="368"/>
                  </a:lnTo>
                  <a:lnTo>
                    <a:pt x="120" y="372"/>
                  </a:lnTo>
                  <a:lnTo>
                    <a:pt x="120" y="372"/>
                  </a:lnTo>
                  <a:lnTo>
                    <a:pt x="120" y="374"/>
                  </a:lnTo>
                  <a:lnTo>
                    <a:pt x="120" y="376"/>
                  </a:lnTo>
                  <a:lnTo>
                    <a:pt x="120" y="378"/>
                  </a:lnTo>
                  <a:lnTo>
                    <a:pt x="120" y="378"/>
                  </a:lnTo>
                  <a:lnTo>
                    <a:pt x="120" y="380"/>
                  </a:lnTo>
                  <a:lnTo>
                    <a:pt x="118" y="380"/>
                  </a:lnTo>
                  <a:lnTo>
                    <a:pt x="118" y="382"/>
                  </a:lnTo>
                  <a:lnTo>
                    <a:pt x="116" y="384"/>
                  </a:lnTo>
                  <a:lnTo>
                    <a:pt x="114" y="384"/>
                  </a:lnTo>
                  <a:lnTo>
                    <a:pt x="112" y="388"/>
                  </a:lnTo>
                  <a:lnTo>
                    <a:pt x="110" y="390"/>
                  </a:lnTo>
                  <a:lnTo>
                    <a:pt x="108" y="392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06" y="402"/>
                  </a:lnTo>
                  <a:lnTo>
                    <a:pt x="106" y="404"/>
                  </a:lnTo>
                  <a:lnTo>
                    <a:pt x="106" y="408"/>
                  </a:lnTo>
                  <a:lnTo>
                    <a:pt x="104" y="410"/>
                  </a:lnTo>
                  <a:lnTo>
                    <a:pt x="104" y="410"/>
                  </a:lnTo>
                  <a:lnTo>
                    <a:pt x="104" y="412"/>
                  </a:lnTo>
                  <a:lnTo>
                    <a:pt x="102" y="412"/>
                  </a:lnTo>
                  <a:lnTo>
                    <a:pt x="102" y="412"/>
                  </a:lnTo>
                  <a:lnTo>
                    <a:pt x="98" y="414"/>
                  </a:lnTo>
                  <a:lnTo>
                    <a:pt x="96" y="414"/>
                  </a:lnTo>
                  <a:lnTo>
                    <a:pt x="96" y="414"/>
                  </a:lnTo>
                  <a:lnTo>
                    <a:pt x="94" y="414"/>
                  </a:lnTo>
                  <a:lnTo>
                    <a:pt x="94" y="416"/>
                  </a:lnTo>
                  <a:lnTo>
                    <a:pt x="94" y="416"/>
                  </a:lnTo>
                  <a:lnTo>
                    <a:pt x="94" y="418"/>
                  </a:lnTo>
                  <a:lnTo>
                    <a:pt x="94" y="420"/>
                  </a:lnTo>
                  <a:lnTo>
                    <a:pt x="92" y="422"/>
                  </a:lnTo>
                  <a:lnTo>
                    <a:pt x="92" y="422"/>
                  </a:lnTo>
                  <a:lnTo>
                    <a:pt x="92" y="422"/>
                  </a:lnTo>
                  <a:lnTo>
                    <a:pt x="92" y="424"/>
                  </a:lnTo>
                  <a:lnTo>
                    <a:pt x="90" y="424"/>
                  </a:lnTo>
                  <a:lnTo>
                    <a:pt x="90" y="424"/>
                  </a:lnTo>
                  <a:lnTo>
                    <a:pt x="88" y="424"/>
                  </a:lnTo>
                  <a:lnTo>
                    <a:pt x="86" y="424"/>
                  </a:lnTo>
                  <a:lnTo>
                    <a:pt x="84" y="424"/>
                  </a:lnTo>
                  <a:lnTo>
                    <a:pt x="84" y="426"/>
                  </a:lnTo>
                  <a:lnTo>
                    <a:pt x="84" y="426"/>
                  </a:lnTo>
                  <a:lnTo>
                    <a:pt x="84" y="426"/>
                  </a:lnTo>
                  <a:lnTo>
                    <a:pt x="82" y="426"/>
                  </a:lnTo>
                  <a:lnTo>
                    <a:pt x="82" y="428"/>
                  </a:lnTo>
                  <a:lnTo>
                    <a:pt x="80" y="430"/>
                  </a:lnTo>
                  <a:lnTo>
                    <a:pt x="80" y="432"/>
                  </a:lnTo>
                  <a:lnTo>
                    <a:pt x="80" y="436"/>
                  </a:lnTo>
                  <a:lnTo>
                    <a:pt x="78" y="438"/>
                  </a:lnTo>
                  <a:lnTo>
                    <a:pt x="78" y="442"/>
                  </a:lnTo>
                  <a:lnTo>
                    <a:pt x="78" y="442"/>
                  </a:lnTo>
                  <a:lnTo>
                    <a:pt x="80" y="444"/>
                  </a:lnTo>
                  <a:lnTo>
                    <a:pt x="80" y="444"/>
                  </a:lnTo>
                  <a:lnTo>
                    <a:pt x="80" y="446"/>
                  </a:lnTo>
                  <a:lnTo>
                    <a:pt x="80" y="446"/>
                  </a:lnTo>
                  <a:lnTo>
                    <a:pt x="82" y="448"/>
                  </a:lnTo>
                  <a:lnTo>
                    <a:pt x="82" y="448"/>
                  </a:lnTo>
                  <a:lnTo>
                    <a:pt x="84" y="448"/>
                  </a:lnTo>
                  <a:lnTo>
                    <a:pt x="86" y="450"/>
                  </a:lnTo>
                  <a:lnTo>
                    <a:pt x="88" y="450"/>
                  </a:lnTo>
                  <a:lnTo>
                    <a:pt x="90" y="452"/>
                  </a:lnTo>
                  <a:lnTo>
                    <a:pt x="94" y="452"/>
                  </a:lnTo>
                  <a:lnTo>
                    <a:pt x="98" y="452"/>
                  </a:lnTo>
                  <a:lnTo>
                    <a:pt x="98" y="454"/>
                  </a:lnTo>
                  <a:lnTo>
                    <a:pt x="100" y="454"/>
                  </a:lnTo>
                  <a:lnTo>
                    <a:pt x="102" y="454"/>
                  </a:lnTo>
                  <a:lnTo>
                    <a:pt x="102" y="456"/>
                  </a:lnTo>
                  <a:lnTo>
                    <a:pt x="102" y="456"/>
                  </a:lnTo>
                  <a:lnTo>
                    <a:pt x="102" y="458"/>
                  </a:lnTo>
                  <a:lnTo>
                    <a:pt x="102" y="460"/>
                  </a:lnTo>
                  <a:lnTo>
                    <a:pt x="104" y="460"/>
                  </a:lnTo>
                  <a:lnTo>
                    <a:pt x="104" y="464"/>
                  </a:lnTo>
                  <a:lnTo>
                    <a:pt x="104" y="466"/>
                  </a:lnTo>
                  <a:lnTo>
                    <a:pt x="104" y="468"/>
                  </a:lnTo>
                  <a:lnTo>
                    <a:pt x="104" y="470"/>
                  </a:lnTo>
                  <a:lnTo>
                    <a:pt x="104" y="472"/>
                  </a:lnTo>
                  <a:lnTo>
                    <a:pt x="102" y="474"/>
                  </a:lnTo>
                  <a:lnTo>
                    <a:pt x="102" y="474"/>
                  </a:lnTo>
                  <a:lnTo>
                    <a:pt x="102" y="474"/>
                  </a:lnTo>
                  <a:lnTo>
                    <a:pt x="100" y="476"/>
                  </a:lnTo>
                  <a:lnTo>
                    <a:pt x="98" y="478"/>
                  </a:lnTo>
                  <a:lnTo>
                    <a:pt x="96" y="478"/>
                  </a:lnTo>
                  <a:lnTo>
                    <a:pt x="96" y="480"/>
                  </a:lnTo>
                  <a:lnTo>
                    <a:pt x="94" y="480"/>
                  </a:lnTo>
                  <a:lnTo>
                    <a:pt x="92" y="482"/>
                  </a:lnTo>
                  <a:lnTo>
                    <a:pt x="92" y="484"/>
                  </a:lnTo>
                  <a:lnTo>
                    <a:pt x="90" y="488"/>
                  </a:lnTo>
                  <a:lnTo>
                    <a:pt x="90" y="488"/>
                  </a:lnTo>
                  <a:lnTo>
                    <a:pt x="88" y="490"/>
                  </a:lnTo>
                  <a:lnTo>
                    <a:pt x="88" y="490"/>
                  </a:lnTo>
                  <a:lnTo>
                    <a:pt x="88" y="492"/>
                  </a:lnTo>
                  <a:lnTo>
                    <a:pt x="88" y="494"/>
                  </a:lnTo>
                  <a:lnTo>
                    <a:pt x="88" y="494"/>
                  </a:lnTo>
                  <a:lnTo>
                    <a:pt x="90" y="498"/>
                  </a:lnTo>
                  <a:lnTo>
                    <a:pt x="90" y="502"/>
                  </a:lnTo>
                  <a:lnTo>
                    <a:pt x="90" y="504"/>
                  </a:lnTo>
                  <a:lnTo>
                    <a:pt x="90" y="506"/>
                  </a:lnTo>
                  <a:lnTo>
                    <a:pt x="90" y="508"/>
                  </a:lnTo>
                  <a:lnTo>
                    <a:pt x="90" y="510"/>
                  </a:lnTo>
                  <a:lnTo>
                    <a:pt x="90" y="510"/>
                  </a:lnTo>
                  <a:lnTo>
                    <a:pt x="90" y="512"/>
                  </a:lnTo>
                  <a:lnTo>
                    <a:pt x="90" y="514"/>
                  </a:lnTo>
                  <a:lnTo>
                    <a:pt x="88" y="514"/>
                  </a:lnTo>
                  <a:lnTo>
                    <a:pt x="88" y="514"/>
                  </a:lnTo>
                  <a:lnTo>
                    <a:pt x="88" y="514"/>
                  </a:lnTo>
                  <a:lnTo>
                    <a:pt x="86" y="514"/>
                  </a:lnTo>
                  <a:lnTo>
                    <a:pt x="84" y="514"/>
                  </a:lnTo>
                  <a:lnTo>
                    <a:pt x="82" y="516"/>
                  </a:lnTo>
                  <a:lnTo>
                    <a:pt x="80" y="516"/>
                  </a:lnTo>
                  <a:lnTo>
                    <a:pt x="78" y="516"/>
                  </a:lnTo>
                  <a:lnTo>
                    <a:pt x="76" y="516"/>
                  </a:lnTo>
                  <a:lnTo>
                    <a:pt x="74" y="518"/>
                  </a:lnTo>
                  <a:lnTo>
                    <a:pt x="74" y="518"/>
                  </a:lnTo>
                  <a:lnTo>
                    <a:pt x="72" y="520"/>
                  </a:lnTo>
                  <a:lnTo>
                    <a:pt x="72" y="520"/>
                  </a:lnTo>
                  <a:lnTo>
                    <a:pt x="72" y="522"/>
                  </a:lnTo>
                  <a:lnTo>
                    <a:pt x="70" y="522"/>
                  </a:lnTo>
                  <a:lnTo>
                    <a:pt x="70" y="522"/>
                  </a:lnTo>
                  <a:lnTo>
                    <a:pt x="70" y="524"/>
                  </a:lnTo>
                  <a:lnTo>
                    <a:pt x="70" y="526"/>
                  </a:lnTo>
                  <a:lnTo>
                    <a:pt x="70" y="528"/>
                  </a:lnTo>
                  <a:lnTo>
                    <a:pt x="72" y="532"/>
                  </a:lnTo>
                  <a:lnTo>
                    <a:pt x="72" y="534"/>
                  </a:lnTo>
                  <a:lnTo>
                    <a:pt x="72" y="534"/>
                  </a:lnTo>
                  <a:lnTo>
                    <a:pt x="72" y="540"/>
                  </a:lnTo>
                  <a:lnTo>
                    <a:pt x="72" y="546"/>
                  </a:lnTo>
                  <a:lnTo>
                    <a:pt x="70" y="554"/>
                  </a:lnTo>
                  <a:lnTo>
                    <a:pt x="64" y="554"/>
                  </a:lnTo>
                  <a:lnTo>
                    <a:pt x="58" y="556"/>
                  </a:lnTo>
                  <a:lnTo>
                    <a:pt x="52" y="558"/>
                  </a:lnTo>
                  <a:lnTo>
                    <a:pt x="48" y="558"/>
                  </a:lnTo>
                  <a:lnTo>
                    <a:pt x="44" y="558"/>
                  </a:lnTo>
                  <a:lnTo>
                    <a:pt x="40" y="558"/>
                  </a:lnTo>
                  <a:lnTo>
                    <a:pt x="36" y="558"/>
                  </a:lnTo>
                  <a:lnTo>
                    <a:pt x="34" y="558"/>
                  </a:lnTo>
                  <a:lnTo>
                    <a:pt x="30" y="558"/>
                  </a:lnTo>
                  <a:lnTo>
                    <a:pt x="30" y="556"/>
                  </a:lnTo>
                  <a:lnTo>
                    <a:pt x="28" y="556"/>
                  </a:lnTo>
                  <a:lnTo>
                    <a:pt x="28" y="556"/>
                  </a:lnTo>
                  <a:lnTo>
                    <a:pt x="26" y="556"/>
                  </a:lnTo>
                  <a:lnTo>
                    <a:pt x="26" y="554"/>
                  </a:lnTo>
                  <a:lnTo>
                    <a:pt x="26" y="554"/>
                  </a:lnTo>
                  <a:lnTo>
                    <a:pt x="24" y="552"/>
                  </a:lnTo>
                  <a:lnTo>
                    <a:pt x="24" y="552"/>
                  </a:lnTo>
                  <a:lnTo>
                    <a:pt x="24" y="548"/>
                  </a:lnTo>
                  <a:lnTo>
                    <a:pt x="24" y="546"/>
                  </a:lnTo>
                  <a:lnTo>
                    <a:pt x="24" y="542"/>
                  </a:lnTo>
                  <a:lnTo>
                    <a:pt x="24" y="540"/>
                  </a:lnTo>
                  <a:lnTo>
                    <a:pt x="24" y="538"/>
                  </a:lnTo>
                  <a:lnTo>
                    <a:pt x="24" y="536"/>
                  </a:lnTo>
                  <a:lnTo>
                    <a:pt x="24" y="536"/>
                  </a:lnTo>
                  <a:lnTo>
                    <a:pt x="24" y="534"/>
                  </a:lnTo>
                  <a:lnTo>
                    <a:pt x="22" y="534"/>
                  </a:lnTo>
                  <a:lnTo>
                    <a:pt x="22" y="534"/>
                  </a:lnTo>
                  <a:lnTo>
                    <a:pt x="20" y="532"/>
                  </a:lnTo>
                  <a:lnTo>
                    <a:pt x="18" y="532"/>
                  </a:lnTo>
                  <a:lnTo>
                    <a:pt x="16" y="532"/>
                  </a:lnTo>
                  <a:lnTo>
                    <a:pt x="16" y="530"/>
                  </a:lnTo>
                  <a:lnTo>
                    <a:pt x="14" y="530"/>
                  </a:lnTo>
                  <a:lnTo>
                    <a:pt x="12" y="528"/>
                  </a:lnTo>
                  <a:lnTo>
                    <a:pt x="12" y="528"/>
                  </a:lnTo>
                  <a:lnTo>
                    <a:pt x="10" y="528"/>
                  </a:lnTo>
                  <a:lnTo>
                    <a:pt x="10" y="526"/>
                  </a:lnTo>
                  <a:lnTo>
                    <a:pt x="8" y="524"/>
                  </a:lnTo>
                  <a:lnTo>
                    <a:pt x="8" y="520"/>
                  </a:lnTo>
                  <a:lnTo>
                    <a:pt x="6" y="518"/>
                  </a:lnTo>
                  <a:lnTo>
                    <a:pt x="6" y="514"/>
                  </a:lnTo>
                  <a:lnTo>
                    <a:pt x="6" y="512"/>
                  </a:lnTo>
                  <a:lnTo>
                    <a:pt x="6" y="508"/>
                  </a:lnTo>
                  <a:lnTo>
                    <a:pt x="4" y="506"/>
                  </a:lnTo>
                  <a:lnTo>
                    <a:pt x="4" y="502"/>
                  </a:lnTo>
                  <a:lnTo>
                    <a:pt x="4" y="498"/>
                  </a:lnTo>
                  <a:lnTo>
                    <a:pt x="4" y="496"/>
                  </a:lnTo>
                  <a:lnTo>
                    <a:pt x="6" y="492"/>
                  </a:lnTo>
                  <a:lnTo>
                    <a:pt x="6" y="490"/>
                  </a:lnTo>
                  <a:lnTo>
                    <a:pt x="6" y="488"/>
                  </a:lnTo>
                  <a:lnTo>
                    <a:pt x="8" y="484"/>
                  </a:lnTo>
                  <a:lnTo>
                    <a:pt x="8" y="482"/>
                  </a:lnTo>
                  <a:lnTo>
                    <a:pt x="8" y="482"/>
                  </a:lnTo>
                  <a:lnTo>
                    <a:pt x="8" y="482"/>
                  </a:lnTo>
                  <a:lnTo>
                    <a:pt x="10" y="482"/>
                  </a:lnTo>
                  <a:lnTo>
                    <a:pt x="12" y="482"/>
                  </a:lnTo>
                  <a:lnTo>
                    <a:pt x="12" y="482"/>
                  </a:lnTo>
                  <a:lnTo>
                    <a:pt x="14" y="482"/>
                  </a:lnTo>
                  <a:lnTo>
                    <a:pt x="16" y="480"/>
                  </a:lnTo>
                  <a:lnTo>
                    <a:pt x="16" y="480"/>
                  </a:lnTo>
                  <a:lnTo>
                    <a:pt x="16" y="480"/>
                  </a:lnTo>
                  <a:lnTo>
                    <a:pt x="18" y="480"/>
                  </a:lnTo>
                  <a:lnTo>
                    <a:pt x="18" y="478"/>
                  </a:lnTo>
                  <a:lnTo>
                    <a:pt x="18" y="476"/>
                  </a:lnTo>
                  <a:lnTo>
                    <a:pt x="18" y="474"/>
                  </a:lnTo>
                  <a:lnTo>
                    <a:pt x="18" y="470"/>
                  </a:lnTo>
                  <a:lnTo>
                    <a:pt x="18" y="468"/>
                  </a:lnTo>
                  <a:lnTo>
                    <a:pt x="20" y="462"/>
                  </a:lnTo>
                  <a:lnTo>
                    <a:pt x="20" y="454"/>
                  </a:lnTo>
                  <a:lnTo>
                    <a:pt x="20" y="446"/>
                  </a:lnTo>
                  <a:lnTo>
                    <a:pt x="20" y="438"/>
                  </a:lnTo>
                  <a:lnTo>
                    <a:pt x="20" y="430"/>
                  </a:lnTo>
                  <a:lnTo>
                    <a:pt x="20" y="422"/>
                  </a:lnTo>
                  <a:lnTo>
                    <a:pt x="20" y="418"/>
                  </a:lnTo>
                  <a:lnTo>
                    <a:pt x="20" y="414"/>
                  </a:lnTo>
                  <a:lnTo>
                    <a:pt x="20" y="410"/>
                  </a:lnTo>
                  <a:lnTo>
                    <a:pt x="20" y="408"/>
                  </a:lnTo>
                  <a:lnTo>
                    <a:pt x="20" y="406"/>
                  </a:lnTo>
                  <a:lnTo>
                    <a:pt x="18" y="404"/>
                  </a:lnTo>
                  <a:lnTo>
                    <a:pt x="16" y="398"/>
                  </a:lnTo>
                  <a:lnTo>
                    <a:pt x="14" y="394"/>
                  </a:lnTo>
                  <a:lnTo>
                    <a:pt x="14" y="392"/>
                  </a:lnTo>
                  <a:lnTo>
                    <a:pt x="14" y="390"/>
                  </a:lnTo>
                  <a:lnTo>
                    <a:pt x="12" y="388"/>
                  </a:lnTo>
                  <a:lnTo>
                    <a:pt x="12" y="384"/>
                  </a:lnTo>
                  <a:lnTo>
                    <a:pt x="12" y="378"/>
                  </a:lnTo>
                  <a:lnTo>
                    <a:pt x="12" y="372"/>
                  </a:lnTo>
                  <a:lnTo>
                    <a:pt x="12" y="368"/>
                  </a:lnTo>
                  <a:lnTo>
                    <a:pt x="12" y="366"/>
                  </a:lnTo>
                  <a:lnTo>
                    <a:pt x="12" y="360"/>
                  </a:lnTo>
                  <a:lnTo>
                    <a:pt x="12" y="352"/>
                  </a:lnTo>
                  <a:lnTo>
                    <a:pt x="10" y="346"/>
                  </a:lnTo>
                  <a:lnTo>
                    <a:pt x="10" y="342"/>
                  </a:lnTo>
                  <a:lnTo>
                    <a:pt x="8" y="340"/>
                  </a:lnTo>
                  <a:lnTo>
                    <a:pt x="8" y="338"/>
                  </a:lnTo>
                  <a:lnTo>
                    <a:pt x="8" y="336"/>
                  </a:lnTo>
                  <a:lnTo>
                    <a:pt x="6" y="332"/>
                  </a:lnTo>
                  <a:lnTo>
                    <a:pt x="4" y="328"/>
                  </a:lnTo>
                  <a:lnTo>
                    <a:pt x="2" y="328"/>
                  </a:lnTo>
                  <a:lnTo>
                    <a:pt x="2" y="326"/>
                  </a:lnTo>
                  <a:lnTo>
                    <a:pt x="2" y="324"/>
                  </a:lnTo>
                  <a:lnTo>
                    <a:pt x="2" y="322"/>
                  </a:lnTo>
                  <a:lnTo>
                    <a:pt x="2" y="320"/>
                  </a:lnTo>
                  <a:lnTo>
                    <a:pt x="4" y="316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2"/>
                  </a:lnTo>
                  <a:lnTo>
                    <a:pt x="4" y="312"/>
                  </a:lnTo>
                  <a:lnTo>
                    <a:pt x="6" y="310"/>
                  </a:lnTo>
                  <a:lnTo>
                    <a:pt x="10" y="306"/>
                  </a:lnTo>
                  <a:lnTo>
                    <a:pt x="12" y="306"/>
                  </a:lnTo>
                  <a:lnTo>
                    <a:pt x="12" y="304"/>
                  </a:lnTo>
                  <a:lnTo>
                    <a:pt x="14" y="302"/>
                  </a:lnTo>
                  <a:lnTo>
                    <a:pt x="14" y="302"/>
                  </a:lnTo>
                  <a:lnTo>
                    <a:pt x="14" y="300"/>
                  </a:lnTo>
                  <a:lnTo>
                    <a:pt x="14" y="300"/>
                  </a:lnTo>
                  <a:lnTo>
                    <a:pt x="14" y="298"/>
                  </a:lnTo>
                  <a:lnTo>
                    <a:pt x="14" y="296"/>
                  </a:lnTo>
                  <a:lnTo>
                    <a:pt x="14" y="294"/>
                  </a:lnTo>
                  <a:lnTo>
                    <a:pt x="12" y="294"/>
                  </a:lnTo>
                  <a:lnTo>
                    <a:pt x="12" y="290"/>
                  </a:lnTo>
                  <a:lnTo>
                    <a:pt x="10" y="288"/>
                  </a:lnTo>
                  <a:lnTo>
                    <a:pt x="8" y="284"/>
                  </a:lnTo>
                  <a:lnTo>
                    <a:pt x="6" y="282"/>
                  </a:lnTo>
                  <a:lnTo>
                    <a:pt x="4" y="280"/>
                  </a:lnTo>
                  <a:lnTo>
                    <a:pt x="2" y="278"/>
                  </a:lnTo>
                  <a:lnTo>
                    <a:pt x="2" y="276"/>
                  </a:lnTo>
                  <a:lnTo>
                    <a:pt x="2" y="274"/>
                  </a:lnTo>
                  <a:lnTo>
                    <a:pt x="0" y="272"/>
                  </a:lnTo>
                  <a:lnTo>
                    <a:pt x="0" y="270"/>
                  </a:lnTo>
                  <a:lnTo>
                    <a:pt x="0" y="270"/>
                  </a:lnTo>
                  <a:lnTo>
                    <a:pt x="2" y="268"/>
                  </a:lnTo>
                  <a:lnTo>
                    <a:pt x="2" y="268"/>
                  </a:lnTo>
                  <a:lnTo>
                    <a:pt x="2" y="266"/>
                  </a:lnTo>
                  <a:lnTo>
                    <a:pt x="4" y="264"/>
                  </a:lnTo>
                  <a:lnTo>
                    <a:pt x="6" y="262"/>
                  </a:lnTo>
                  <a:lnTo>
                    <a:pt x="8" y="258"/>
                  </a:lnTo>
                  <a:lnTo>
                    <a:pt x="10" y="256"/>
                  </a:lnTo>
                  <a:lnTo>
                    <a:pt x="12" y="254"/>
                  </a:lnTo>
                  <a:lnTo>
                    <a:pt x="14" y="252"/>
                  </a:lnTo>
                  <a:lnTo>
                    <a:pt x="16" y="250"/>
                  </a:lnTo>
                  <a:lnTo>
                    <a:pt x="16" y="248"/>
                  </a:lnTo>
                  <a:lnTo>
                    <a:pt x="16" y="246"/>
                  </a:lnTo>
                  <a:lnTo>
                    <a:pt x="18" y="244"/>
                  </a:lnTo>
                  <a:lnTo>
                    <a:pt x="18" y="244"/>
                  </a:lnTo>
                  <a:lnTo>
                    <a:pt x="18" y="244"/>
                  </a:lnTo>
                  <a:lnTo>
                    <a:pt x="18" y="244"/>
                  </a:lnTo>
                  <a:lnTo>
                    <a:pt x="18" y="242"/>
                  </a:lnTo>
                  <a:lnTo>
                    <a:pt x="16" y="242"/>
                  </a:lnTo>
                  <a:lnTo>
                    <a:pt x="16" y="240"/>
                  </a:lnTo>
                  <a:lnTo>
                    <a:pt x="14" y="240"/>
                  </a:lnTo>
                  <a:lnTo>
                    <a:pt x="12" y="238"/>
                  </a:lnTo>
                  <a:lnTo>
                    <a:pt x="12" y="238"/>
                  </a:lnTo>
                  <a:lnTo>
                    <a:pt x="12" y="236"/>
                  </a:lnTo>
                  <a:lnTo>
                    <a:pt x="10" y="234"/>
                  </a:lnTo>
                  <a:lnTo>
                    <a:pt x="10" y="232"/>
                  </a:lnTo>
                  <a:lnTo>
                    <a:pt x="10" y="228"/>
                  </a:lnTo>
                  <a:lnTo>
                    <a:pt x="10" y="224"/>
                  </a:lnTo>
                  <a:lnTo>
                    <a:pt x="10" y="222"/>
                  </a:lnTo>
                  <a:lnTo>
                    <a:pt x="10" y="218"/>
                  </a:lnTo>
                  <a:lnTo>
                    <a:pt x="10" y="218"/>
                  </a:lnTo>
                  <a:lnTo>
                    <a:pt x="10" y="216"/>
                  </a:lnTo>
                  <a:lnTo>
                    <a:pt x="10" y="216"/>
                  </a:lnTo>
                  <a:lnTo>
                    <a:pt x="12" y="214"/>
                  </a:lnTo>
                  <a:lnTo>
                    <a:pt x="12" y="214"/>
                  </a:lnTo>
                  <a:lnTo>
                    <a:pt x="12" y="214"/>
                  </a:lnTo>
                  <a:lnTo>
                    <a:pt x="14" y="214"/>
                  </a:lnTo>
                  <a:lnTo>
                    <a:pt x="14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8" y="214"/>
                  </a:lnTo>
                  <a:lnTo>
                    <a:pt x="18" y="212"/>
                  </a:lnTo>
                  <a:lnTo>
                    <a:pt x="20" y="212"/>
                  </a:lnTo>
                  <a:lnTo>
                    <a:pt x="20" y="212"/>
                  </a:lnTo>
                  <a:lnTo>
                    <a:pt x="20" y="212"/>
                  </a:lnTo>
                  <a:lnTo>
                    <a:pt x="20" y="210"/>
                  </a:lnTo>
                  <a:lnTo>
                    <a:pt x="20" y="210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0" y="204"/>
                  </a:lnTo>
                  <a:lnTo>
                    <a:pt x="20" y="200"/>
                  </a:lnTo>
                  <a:lnTo>
                    <a:pt x="20" y="198"/>
                  </a:lnTo>
                  <a:lnTo>
                    <a:pt x="20" y="196"/>
                  </a:lnTo>
                  <a:lnTo>
                    <a:pt x="18" y="196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6" y="194"/>
                  </a:lnTo>
                  <a:lnTo>
                    <a:pt x="14" y="194"/>
                  </a:lnTo>
                  <a:lnTo>
                    <a:pt x="12" y="194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0" y="192"/>
                  </a:lnTo>
                  <a:lnTo>
                    <a:pt x="10" y="190"/>
                  </a:lnTo>
                  <a:lnTo>
                    <a:pt x="10" y="188"/>
                  </a:lnTo>
                  <a:lnTo>
                    <a:pt x="10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4"/>
                  </a:lnTo>
                  <a:lnTo>
                    <a:pt x="10" y="170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0" y="166"/>
                  </a:lnTo>
                  <a:lnTo>
                    <a:pt x="12" y="166"/>
                  </a:lnTo>
                  <a:lnTo>
                    <a:pt x="14" y="164"/>
                  </a:lnTo>
                  <a:lnTo>
                    <a:pt x="16" y="164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58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16" y="150"/>
                  </a:lnTo>
                  <a:lnTo>
                    <a:pt x="16" y="148"/>
                  </a:lnTo>
                  <a:lnTo>
                    <a:pt x="14" y="144"/>
                  </a:lnTo>
                  <a:lnTo>
                    <a:pt x="14" y="138"/>
                  </a:lnTo>
                  <a:lnTo>
                    <a:pt x="12" y="134"/>
                  </a:lnTo>
                  <a:lnTo>
                    <a:pt x="12" y="130"/>
                  </a:lnTo>
                  <a:lnTo>
                    <a:pt x="12" y="128"/>
                  </a:lnTo>
                  <a:lnTo>
                    <a:pt x="12" y="126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4" y="122"/>
                  </a:lnTo>
                  <a:lnTo>
                    <a:pt x="14" y="120"/>
                  </a:lnTo>
                  <a:lnTo>
                    <a:pt x="16" y="118"/>
                  </a:lnTo>
                  <a:lnTo>
                    <a:pt x="18" y="116"/>
                  </a:lnTo>
                  <a:lnTo>
                    <a:pt x="18" y="116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8" y="108"/>
                  </a:lnTo>
                  <a:lnTo>
                    <a:pt x="18" y="106"/>
                  </a:lnTo>
                  <a:lnTo>
                    <a:pt x="18" y="104"/>
                  </a:lnTo>
                  <a:lnTo>
                    <a:pt x="18" y="102"/>
                  </a:lnTo>
                  <a:lnTo>
                    <a:pt x="20" y="102"/>
                  </a:lnTo>
                  <a:lnTo>
                    <a:pt x="20" y="100"/>
                  </a:lnTo>
                  <a:lnTo>
                    <a:pt x="22" y="100"/>
                  </a:lnTo>
                  <a:lnTo>
                    <a:pt x="24" y="98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28" y="94"/>
                  </a:lnTo>
                  <a:lnTo>
                    <a:pt x="30" y="94"/>
                  </a:lnTo>
                  <a:lnTo>
                    <a:pt x="30" y="92"/>
                  </a:lnTo>
                  <a:lnTo>
                    <a:pt x="30" y="90"/>
                  </a:lnTo>
                  <a:lnTo>
                    <a:pt x="32" y="88"/>
                  </a:lnTo>
                  <a:lnTo>
                    <a:pt x="32" y="86"/>
                  </a:lnTo>
                  <a:lnTo>
                    <a:pt x="34" y="84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2" y="78"/>
                  </a:lnTo>
                  <a:lnTo>
                    <a:pt x="30" y="78"/>
                  </a:lnTo>
                  <a:lnTo>
                    <a:pt x="30" y="76"/>
                  </a:lnTo>
                  <a:lnTo>
                    <a:pt x="28" y="74"/>
                  </a:lnTo>
                  <a:lnTo>
                    <a:pt x="26" y="74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8" y="68"/>
                  </a:lnTo>
                  <a:lnTo>
                    <a:pt x="28" y="66"/>
                  </a:lnTo>
                  <a:lnTo>
                    <a:pt x="30" y="66"/>
                  </a:lnTo>
                  <a:lnTo>
                    <a:pt x="32" y="62"/>
                  </a:lnTo>
                  <a:lnTo>
                    <a:pt x="34" y="62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4" y="50"/>
                  </a:lnTo>
                  <a:lnTo>
                    <a:pt x="34" y="48"/>
                  </a:lnTo>
                  <a:lnTo>
                    <a:pt x="34" y="46"/>
                  </a:lnTo>
                  <a:lnTo>
                    <a:pt x="34" y="44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8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2" y="40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6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0"/>
                  </a:lnTo>
                  <a:lnTo>
                    <a:pt x="46" y="28"/>
                  </a:lnTo>
                  <a:lnTo>
                    <a:pt x="46" y="24"/>
                  </a:lnTo>
                  <a:lnTo>
                    <a:pt x="46" y="22"/>
                  </a:lnTo>
                  <a:lnTo>
                    <a:pt x="46" y="2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grpSp>
          <p:nvGrpSpPr>
            <p:cNvPr id="1922" name="Gruppieren 1">
              <a:extLst>
                <a:ext uri="{FF2B5EF4-FFF2-40B4-BE49-F238E27FC236}">
                  <a16:creationId xmlns:a16="http://schemas.microsoft.com/office/drawing/2014/main" id="{84F64A85-09FA-4F59-BF29-7445E24454FD}"/>
                </a:ext>
              </a:extLst>
            </p:cNvPr>
            <p:cNvGrpSpPr/>
            <p:nvPr/>
          </p:nvGrpSpPr>
          <p:grpSpPr bwMode="auto">
            <a:xfrm>
              <a:off x="7439541" y="5137544"/>
              <a:ext cx="280181" cy="1166705"/>
              <a:chOff x="2681578" y="5273842"/>
              <a:chExt cx="260350" cy="1108075"/>
            </a:xfrm>
            <a:solidFill>
              <a:srgbClr val="FF2929">
                <a:alpha val="10196"/>
              </a:srgbClr>
            </a:solidFill>
          </p:grpSpPr>
          <p:sp>
            <p:nvSpPr>
              <p:cNvPr id="1968" name="Freeform 494">
                <a:extLst>
                  <a:ext uri="{FF2B5EF4-FFF2-40B4-BE49-F238E27FC236}">
                    <a16:creationId xmlns:a16="http://schemas.microsoft.com/office/drawing/2014/main" id="{D2EC439C-B3A5-445B-8BF3-60DCBF0987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1578" y="5273842"/>
                <a:ext cx="168275" cy="1076325"/>
              </a:xfrm>
              <a:custGeom>
                <a:avLst/>
                <a:gdLst>
                  <a:gd name="T0" fmla="*/ 62 w 106"/>
                  <a:gd name="T1" fmla="*/ 630 h 678"/>
                  <a:gd name="T2" fmla="*/ 56 w 106"/>
                  <a:gd name="T3" fmla="*/ 616 h 678"/>
                  <a:gd name="T4" fmla="*/ 46 w 106"/>
                  <a:gd name="T5" fmla="*/ 604 h 678"/>
                  <a:gd name="T6" fmla="*/ 36 w 106"/>
                  <a:gd name="T7" fmla="*/ 582 h 678"/>
                  <a:gd name="T8" fmla="*/ 40 w 106"/>
                  <a:gd name="T9" fmla="*/ 556 h 678"/>
                  <a:gd name="T10" fmla="*/ 50 w 106"/>
                  <a:gd name="T11" fmla="*/ 548 h 678"/>
                  <a:gd name="T12" fmla="*/ 52 w 106"/>
                  <a:gd name="T13" fmla="*/ 484 h 678"/>
                  <a:gd name="T14" fmla="*/ 44 w 106"/>
                  <a:gd name="T15" fmla="*/ 444 h 678"/>
                  <a:gd name="T16" fmla="*/ 34 w 106"/>
                  <a:gd name="T17" fmla="*/ 402 h 678"/>
                  <a:gd name="T18" fmla="*/ 38 w 106"/>
                  <a:gd name="T19" fmla="*/ 384 h 678"/>
                  <a:gd name="T20" fmla="*/ 44 w 106"/>
                  <a:gd name="T21" fmla="*/ 366 h 678"/>
                  <a:gd name="T22" fmla="*/ 32 w 106"/>
                  <a:gd name="T23" fmla="*/ 342 h 678"/>
                  <a:gd name="T24" fmla="*/ 48 w 106"/>
                  <a:gd name="T25" fmla="*/ 322 h 678"/>
                  <a:gd name="T26" fmla="*/ 44 w 106"/>
                  <a:gd name="T27" fmla="*/ 310 h 678"/>
                  <a:gd name="T28" fmla="*/ 42 w 106"/>
                  <a:gd name="T29" fmla="*/ 288 h 678"/>
                  <a:gd name="T30" fmla="*/ 52 w 106"/>
                  <a:gd name="T31" fmla="*/ 286 h 678"/>
                  <a:gd name="T32" fmla="*/ 50 w 106"/>
                  <a:gd name="T33" fmla="*/ 268 h 678"/>
                  <a:gd name="T34" fmla="*/ 40 w 106"/>
                  <a:gd name="T35" fmla="*/ 254 h 678"/>
                  <a:gd name="T36" fmla="*/ 48 w 106"/>
                  <a:gd name="T37" fmla="*/ 236 h 678"/>
                  <a:gd name="T38" fmla="*/ 44 w 106"/>
                  <a:gd name="T39" fmla="*/ 204 h 678"/>
                  <a:gd name="T40" fmla="*/ 50 w 106"/>
                  <a:gd name="T41" fmla="*/ 186 h 678"/>
                  <a:gd name="T42" fmla="*/ 60 w 106"/>
                  <a:gd name="T43" fmla="*/ 168 h 678"/>
                  <a:gd name="T44" fmla="*/ 64 w 106"/>
                  <a:gd name="T45" fmla="*/ 152 h 678"/>
                  <a:gd name="T46" fmla="*/ 60 w 106"/>
                  <a:gd name="T47" fmla="*/ 140 h 678"/>
                  <a:gd name="T48" fmla="*/ 66 w 106"/>
                  <a:gd name="T49" fmla="*/ 122 h 678"/>
                  <a:gd name="T50" fmla="*/ 72 w 106"/>
                  <a:gd name="T51" fmla="*/ 114 h 678"/>
                  <a:gd name="T52" fmla="*/ 78 w 106"/>
                  <a:gd name="T53" fmla="*/ 98 h 678"/>
                  <a:gd name="T54" fmla="*/ 58 w 106"/>
                  <a:gd name="T55" fmla="*/ 74 h 678"/>
                  <a:gd name="T56" fmla="*/ 56 w 106"/>
                  <a:gd name="T57" fmla="*/ 42 h 678"/>
                  <a:gd name="T58" fmla="*/ 44 w 106"/>
                  <a:gd name="T59" fmla="*/ 26 h 678"/>
                  <a:gd name="T60" fmla="*/ 40 w 106"/>
                  <a:gd name="T61" fmla="*/ 10 h 678"/>
                  <a:gd name="T62" fmla="*/ 24 w 106"/>
                  <a:gd name="T63" fmla="*/ 26 h 678"/>
                  <a:gd name="T64" fmla="*/ 32 w 106"/>
                  <a:gd name="T65" fmla="*/ 52 h 678"/>
                  <a:gd name="T66" fmla="*/ 30 w 106"/>
                  <a:gd name="T67" fmla="*/ 98 h 678"/>
                  <a:gd name="T68" fmla="*/ 24 w 106"/>
                  <a:gd name="T69" fmla="*/ 112 h 678"/>
                  <a:gd name="T70" fmla="*/ 32 w 106"/>
                  <a:gd name="T71" fmla="*/ 122 h 678"/>
                  <a:gd name="T72" fmla="*/ 28 w 106"/>
                  <a:gd name="T73" fmla="*/ 148 h 678"/>
                  <a:gd name="T74" fmla="*/ 22 w 106"/>
                  <a:gd name="T75" fmla="*/ 152 h 678"/>
                  <a:gd name="T76" fmla="*/ 26 w 106"/>
                  <a:gd name="T77" fmla="*/ 184 h 678"/>
                  <a:gd name="T78" fmla="*/ 16 w 106"/>
                  <a:gd name="T79" fmla="*/ 186 h 678"/>
                  <a:gd name="T80" fmla="*/ 18 w 106"/>
                  <a:gd name="T81" fmla="*/ 194 h 678"/>
                  <a:gd name="T82" fmla="*/ 14 w 106"/>
                  <a:gd name="T83" fmla="*/ 216 h 678"/>
                  <a:gd name="T84" fmla="*/ 10 w 106"/>
                  <a:gd name="T85" fmla="*/ 264 h 678"/>
                  <a:gd name="T86" fmla="*/ 18 w 106"/>
                  <a:gd name="T87" fmla="*/ 274 h 678"/>
                  <a:gd name="T88" fmla="*/ 12 w 106"/>
                  <a:gd name="T89" fmla="*/ 326 h 678"/>
                  <a:gd name="T90" fmla="*/ 0 w 106"/>
                  <a:gd name="T91" fmla="*/ 350 h 678"/>
                  <a:gd name="T92" fmla="*/ 10 w 106"/>
                  <a:gd name="T93" fmla="*/ 418 h 678"/>
                  <a:gd name="T94" fmla="*/ 6 w 106"/>
                  <a:gd name="T95" fmla="*/ 450 h 678"/>
                  <a:gd name="T96" fmla="*/ 14 w 106"/>
                  <a:gd name="T97" fmla="*/ 452 h 678"/>
                  <a:gd name="T98" fmla="*/ 22 w 106"/>
                  <a:gd name="T99" fmla="*/ 464 h 678"/>
                  <a:gd name="T100" fmla="*/ 18 w 106"/>
                  <a:gd name="T101" fmla="*/ 508 h 678"/>
                  <a:gd name="T102" fmla="*/ 14 w 106"/>
                  <a:gd name="T103" fmla="*/ 538 h 678"/>
                  <a:gd name="T104" fmla="*/ 24 w 106"/>
                  <a:gd name="T105" fmla="*/ 544 h 678"/>
                  <a:gd name="T106" fmla="*/ 14 w 106"/>
                  <a:gd name="T107" fmla="*/ 566 h 678"/>
                  <a:gd name="T108" fmla="*/ 22 w 106"/>
                  <a:gd name="T109" fmla="*/ 598 h 678"/>
                  <a:gd name="T110" fmla="*/ 38 w 106"/>
                  <a:gd name="T111" fmla="*/ 612 h 678"/>
                  <a:gd name="T112" fmla="*/ 44 w 106"/>
                  <a:gd name="T113" fmla="*/ 632 h 678"/>
                  <a:gd name="T114" fmla="*/ 60 w 106"/>
                  <a:gd name="T115" fmla="*/ 646 h 678"/>
                  <a:gd name="T116" fmla="*/ 82 w 106"/>
                  <a:gd name="T117" fmla="*/ 666 h 678"/>
                  <a:gd name="T118" fmla="*/ 90 w 106"/>
                  <a:gd name="T119" fmla="*/ 678 h 678"/>
                  <a:gd name="T120" fmla="*/ 94 w 106"/>
                  <a:gd name="T121" fmla="*/ 660 h 678"/>
                  <a:gd name="T122" fmla="*/ 106 w 106"/>
                  <a:gd name="T123" fmla="*/ 650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6" h="678">
                    <a:moveTo>
                      <a:pt x="102" y="626"/>
                    </a:moveTo>
                    <a:lnTo>
                      <a:pt x="102" y="626"/>
                    </a:lnTo>
                    <a:lnTo>
                      <a:pt x="96" y="628"/>
                    </a:lnTo>
                    <a:lnTo>
                      <a:pt x="90" y="630"/>
                    </a:lnTo>
                    <a:lnTo>
                      <a:pt x="84" y="630"/>
                    </a:lnTo>
                    <a:lnTo>
                      <a:pt x="80" y="630"/>
                    </a:lnTo>
                    <a:lnTo>
                      <a:pt x="76" y="632"/>
                    </a:lnTo>
                    <a:lnTo>
                      <a:pt x="72" y="632"/>
                    </a:lnTo>
                    <a:lnTo>
                      <a:pt x="68" y="632"/>
                    </a:lnTo>
                    <a:lnTo>
                      <a:pt x="66" y="632"/>
                    </a:lnTo>
                    <a:lnTo>
                      <a:pt x="62" y="630"/>
                    </a:lnTo>
                    <a:lnTo>
                      <a:pt x="60" y="630"/>
                    </a:lnTo>
                    <a:lnTo>
                      <a:pt x="60" y="630"/>
                    </a:lnTo>
                    <a:lnTo>
                      <a:pt x="58" y="630"/>
                    </a:lnTo>
                    <a:lnTo>
                      <a:pt x="58" y="628"/>
                    </a:lnTo>
                    <a:lnTo>
                      <a:pt x="58" y="628"/>
                    </a:lnTo>
                    <a:lnTo>
                      <a:pt x="56" y="626"/>
                    </a:lnTo>
                    <a:lnTo>
                      <a:pt x="56" y="626"/>
                    </a:lnTo>
                    <a:lnTo>
                      <a:pt x="56" y="624"/>
                    </a:lnTo>
                    <a:lnTo>
                      <a:pt x="56" y="622"/>
                    </a:lnTo>
                    <a:lnTo>
                      <a:pt x="56" y="618"/>
                    </a:lnTo>
                    <a:lnTo>
                      <a:pt x="56" y="616"/>
                    </a:lnTo>
                    <a:lnTo>
                      <a:pt x="56" y="612"/>
                    </a:lnTo>
                    <a:lnTo>
                      <a:pt x="56" y="612"/>
                    </a:lnTo>
                    <a:lnTo>
                      <a:pt x="56" y="610"/>
                    </a:lnTo>
                    <a:lnTo>
                      <a:pt x="56" y="608"/>
                    </a:lnTo>
                    <a:lnTo>
                      <a:pt x="54" y="608"/>
                    </a:lnTo>
                    <a:lnTo>
                      <a:pt x="54" y="608"/>
                    </a:lnTo>
                    <a:lnTo>
                      <a:pt x="54" y="606"/>
                    </a:lnTo>
                    <a:lnTo>
                      <a:pt x="52" y="606"/>
                    </a:lnTo>
                    <a:lnTo>
                      <a:pt x="50" y="606"/>
                    </a:lnTo>
                    <a:lnTo>
                      <a:pt x="48" y="604"/>
                    </a:lnTo>
                    <a:lnTo>
                      <a:pt x="46" y="604"/>
                    </a:lnTo>
                    <a:lnTo>
                      <a:pt x="44" y="602"/>
                    </a:lnTo>
                    <a:lnTo>
                      <a:pt x="44" y="602"/>
                    </a:lnTo>
                    <a:lnTo>
                      <a:pt x="42" y="602"/>
                    </a:lnTo>
                    <a:lnTo>
                      <a:pt x="42" y="600"/>
                    </a:lnTo>
                    <a:lnTo>
                      <a:pt x="42" y="600"/>
                    </a:lnTo>
                    <a:lnTo>
                      <a:pt x="40" y="596"/>
                    </a:lnTo>
                    <a:lnTo>
                      <a:pt x="38" y="594"/>
                    </a:lnTo>
                    <a:lnTo>
                      <a:pt x="38" y="592"/>
                    </a:lnTo>
                    <a:lnTo>
                      <a:pt x="38" y="588"/>
                    </a:lnTo>
                    <a:lnTo>
                      <a:pt x="36" y="586"/>
                    </a:lnTo>
                    <a:lnTo>
                      <a:pt x="36" y="582"/>
                    </a:lnTo>
                    <a:lnTo>
                      <a:pt x="36" y="578"/>
                    </a:lnTo>
                    <a:lnTo>
                      <a:pt x="36" y="576"/>
                    </a:lnTo>
                    <a:lnTo>
                      <a:pt x="36" y="572"/>
                    </a:lnTo>
                    <a:lnTo>
                      <a:pt x="36" y="568"/>
                    </a:lnTo>
                    <a:lnTo>
                      <a:pt x="36" y="566"/>
                    </a:lnTo>
                    <a:lnTo>
                      <a:pt x="36" y="564"/>
                    </a:lnTo>
                    <a:lnTo>
                      <a:pt x="38" y="560"/>
                    </a:lnTo>
                    <a:lnTo>
                      <a:pt x="38" y="558"/>
                    </a:lnTo>
                    <a:lnTo>
                      <a:pt x="40" y="556"/>
                    </a:lnTo>
                    <a:lnTo>
                      <a:pt x="40" y="556"/>
                    </a:lnTo>
                    <a:lnTo>
                      <a:pt x="40" y="556"/>
                    </a:lnTo>
                    <a:lnTo>
                      <a:pt x="42" y="556"/>
                    </a:lnTo>
                    <a:lnTo>
                      <a:pt x="42" y="556"/>
                    </a:lnTo>
                    <a:lnTo>
                      <a:pt x="44" y="556"/>
                    </a:lnTo>
                    <a:lnTo>
                      <a:pt x="46" y="554"/>
                    </a:lnTo>
                    <a:lnTo>
                      <a:pt x="48" y="554"/>
                    </a:lnTo>
                    <a:lnTo>
                      <a:pt x="48" y="554"/>
                    </a:lnTo>
                    <a:lnTo>
                      <a:pt x="48" y="554"/>
                    </a:lnTo>
                    <a:lnTo>
                      <a:pt x="48" y="552"/>
                    </a:lnTo>
                    <a:lnTo>
                      <a:pt x="48" y="552"/>
                    </a:lnTo>
                    <a:lnTo>
                      <a:pt x="50" y="550"/>
                    </a:lnTo>
                    <a:lnTo>
                      <a:pt x="50" y="548"/>
                    </a:lnTo>
                    <a:lnTo>
                      <a:pt x="50" y="544"/>
                    </a:lnTo>
                    <a:lnTo>
                      <a:pt x="50" y="542"/>
                    </a:lnTo>
                    <a:lnTo>
                      <a:pt x="50" y="534"/>
                    </a:lnTo>
                    <a:lnTo>
                      <a:pt x="52" y="528"/>
                    </a:lnTo>
                    <a:lnTo>
                      <a:pt x="52" y="520"/>
                    </a:lnTo>
                    <a:lnTo>
                      <a:pt x="52" y="512"/>
                    </a:lnTo>
                    <a:lnTo>
                      <a:pt x="52" y="502"/>
                    </a:lnTo>
                    <a:lnTo>
                      <a:pt x="52" y="494"/>
                    </a:lnTo>
                    <a:lnTo>
                      <a:pt x="52" y="490"/>
                    </a:lnTo>
                    <a:lnTo>
                      <a:pt x="52" y="488"/>
                    </a:lnTo>
                    <a:lnTo>
                      <a:pt x="52" y="484"/>
                    </a:lnTo>
                    <a:lnTo>
                      <a:pt x="50" y="480"/>
                    </a:lnTo>
                    <a:lnTo>
                      <a:pt x="50" y="480"/>
                    </a:lnTo>
                    <a:lnTo>
                      <a:pt x="50" y="476"/>
                    </a:lnTo>
                    <a:lnTo>
                      <a:pt x="48" y="472"/>
                    </a:lnTo>
                    <a:lnTo>
                      <a:pt x="46" y="468"/>
                    </a:lnTo>
                    <a:lnTo>
                      <a:pt x="44" y="466"/>
                    </a:lnTo>
                    <a:lnTo>
                      <a:pt x="44" y="464"/>
                    </a:lnTo>
                    <a:lnTo>
                      <a:pt x="44" y="462"/>
                    </a:lnTo>
                    <a:lnTo>
                      <a:pt x="44" y="458"/>
                    </a:lnTo>
                    <a:lnTo>
                      <a:pt x="44" y="452"/>
                    </a:lnTo>
                    <a:lnTo>
                      <a:pt x="44" y="444"/>
                    </a:lnTo>
                    <a:lnTo>
                      <a:pt x="44" y="442"/>
                    </a:lnTo>
                    <a:lnTo>
                      <a:pt x="44" y="440"/>
                    </a:lnTo>
                    <a:lnTo>
                      <a:pt x="44" y="434"/>
                    </a:lnTo>
                    <a:lnTo>
                      <a:pt x="42" y="426"/>
                    </a:lnTo>
                    <a:lnTo>
                      <a:pt x="42" y="418"/>
                    </a:lnTo>
                    <a:lnTo>
                      <a:pt x="40" y="416"/>
                    </a:lnTo>
                    <a:lnTo>
                      <a:pt x="40" y="412"/>
                    </a:lnTo>
                    <a:lnTo>
                      <a:pt x="40" y="412"/>
                    </a:lnTo>
                    <a:lnTo>
                      <a:pt x="38" y="410"/>
                    </a:lnTo>
                    <a:lnTo>
                      <a:pt x="36" y="406"/>
                    </a:lnTo>
                    <a:lnTo>
                      <a:pt x="34" y="402"/>
                    </a:lnTo>
                    <a:lnTo>
                      <a:pt x="34" y="400"/>
                    </a:lnTo>
                    <a:lnTo>
                      <a:pt x="34" y="400"/>
                    </a:lnTo>
                    <a:lnTo>
                      <a:pt x="34" y="398"/>
                    </a:lnTo>
                    <a:lnTo>
                      <a:pt x="34" y="396"/>
                    </a:lnTo>
                    <a:lnTo>
                      <a:pt x="34" y="394"/>
                    </a:lnTo>
                    <a:lnTo>
                      <a:pt x="34" y="390"/>
                    </a:lnTo>
                    <a:lnTo>
                      <a:pt x="34" y="388"/>
                    </a:lnTo>
                    <a:lnTo>
                      <a:pt x="36" y="388"/>
                    </a:lnTo>
                    <a:lnTo>
                      <a:pt x="36" y="386"/>
                    </a:lnTo>
                    <a:lnTo>
                      <a:pt x="36" y="386"/>
                    </a:lnTo>
                    <a:lnTo>
                      <a:pt x="38" y="384"/>
                    </a:lnTo>
                    <a:lnTo>
                      <a:pt x="40" y="380"/>
                    </a:lnTo>
                    <a:lnTo>
                      <a:pt x="42" y="378"/>
                    </a:lnTo>
                    <a:lnTo>
                      <a:pt x="44" y="376"/>
                    </a:lnTo>
                    <a:lnTo>
                      <a:pt x="44" y="376"/>
                    </a:lnTo>
                    <a:lnTo>
                      <a:pt x="46" y="376"/>
                    </a:lnTo>
                    <a:lnTo>
                      <a:pt x="46" y="374"/>
                    </a:lnTo>
                    <a:lnTo>
                      <a:pt x="46" y="374"/>
                    </a:lnTo>
                    <a:lnTo>
                      <a:pt x="46" y="372"/>
                    </a:lnTo>
                    <a:lnTo>
                      <a:pt x="46" y="370"/>
                    </a:lnTo>
                    <a:lnTo>
                      <a:pt x="44" y="368"/>
                    </a:lnTo>
                    <a:lnTo>
                      <a:pt x="44" y="366"/>
                    </a:lnTo>
                    <a:lnTo>
                      <a:pt x="42" y="364"/>
                    </a:lnTo>
                    <a:lnTo>
                      <a:pt x="42" y="362"/>
                    </a:lnTo>
                    <a:lnTo>
                      <a:pt x="38" y="358"/>
                    </a:lnTo>
                    <a:lnTo>
                      <a:pt x="36" y="354"/>
                    </a:lnTo>
                    <a:lnTo>
                      <a:pt x="36" y="352"/>
                    </a:lnTo>
                    <a:lnTo>
                      <a:pt x="34" y="350"/>
                    </a:lnTo>
                    <a:lnTo>
                      <a:pt x="34" y="348"/>
                    </a:lnTo>
                    <a:lnTo>
                      <a:pt x="32" y="348"/>
                    </a:lnTo>
                    <a:lnTo>
                      <a:pt x="32" y="346"/>
                    </a:lnTo>
                    <a:lnTo>
                      <a:pt x="32" y="344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2" y="340"/>
                    </a:lnTo>
                    <a:lnTo>
                      <a:pt x="34" y="340"/>
                    </a:lnTo>
                    <a:lnTo>
                      <a:pt x="34" y="338"/>
                    </a:lnTo>
                    <a:lnTo>
                      <a:pt x="36" y="336"/>
                    </a:lnTo>
                    <a:lnTo>
                      <a:pt x="40" y="332"/>
                    </a:lnTo>
                    <a:lnTo>
                      <a:pt x="42" y="330"/>
                    </a:lnTo>
                    <a:lnTo>
                      <a:pt x="42" y="328"/>
                    </a:lnTo>
                    <a:lnTo>
                      <a:pt x="44" y="326"/>
                    </a:lnTo>
                    <a:lnTo>
                      <a:pt x="46" y="322"/>
                    </a:lnTo>
                    <a:lnTo>
                      <a:pt x="48" y="322"/>
                    </a:lnTo>
                    <a:lnTo>
                      <a:pt x="48" y="320"/>
                    </a:lnTo>
                    <a:lnTo>
                      <a:pt x="48" y="318"/>
                    </a:lnTo>
                    <a:lnTo>
                      <a:pt x="48" y="318"/>
                    </a:lnTo>
                    <a:lnTo>
                      <a:pt x="48" y="318"/>
                    </a:lnTo>
                    <a:lnTo>
                      <a:pt x="48" y="316"/>
                    </a:lnTo>
                    <a:lnTo>
                      <a:pt x="48" y="316"/>
                    </a:lnTo>
                    <a:lnTo>
                      <a:pt x="48" y="316"/>
                    </a:lnTo>
                    <a:lnTo>
                      <a:pt x="48" y="314"/>
                    </a:lnTo>
                    <a:lnTo>
                      <a:pt x="46" y="314"/>
                    </a:lnTo>
                    <a:lnTo>
                      <a:pt x="44" y="312"/>
                    </a:lnTo>
                    <a:lnTo>
                      <a:pt x="44" y="310"/>
                    </a:lnTo>
                    <a:lnTo>
                      <a:pt x="42" y="310"/>
                    </a:lnTo>
                    <a:lnTo>
                      <a:pt x="42" y="308"/>
                    </a:lnTo>
                    <a:lnTo>
                      <a:pt x="42" y="304"/>
                    </a:lnTo>
                    <a:lnTo>
                      <a:pt x="40" y="302"/>
                    </a:lnTo>
                    <a:lnTo>
                      <a:pt x="40" y="298"/>
                    </a:lnTo>
                    <a:lnTo>
                      <a:pt x="40" y="296"/>
                    </a:lnTo>
                    <a:lnTo>
                      <a:pt x="42" y="292"/>
                    </a:lnTo>
                    <a:lnTo>
                      <a:pt x="42" y="290"/>
                    </a:lnTo>
                    <a:lnTo>
                      <a:pt x="42" y="290"/>
                    </a:lnTo>
                    <a:lnTo>
                      <a:pt x="42" y="288"/>
                    </a:lnTo>
                    <a:lnTo>
                      <a:pt x="42" y="288"/>
                    </a:lnTo>
                    <a:lnTo>
                      <a:pt x="42" y="288"/>
                    </a:lnTo>
                    <a:lnTo>
                      <a:pt x="44" y="288"/>
                    </a:lnTo>
                    <a:lnTo>
                      <a:pt x="44" y="288"/>
                    </a:lnTo>
                    <a:lnTo>
                      <a:pt x="46" y="286"/>
                    </a:lnTo>
                    <a:lnTo>
                      <a:pt x="46" y="286"/>
                    </a:lnTo>
                    <a:lnTo>
                      <a:pt x="48" y="286"/>
                    </a:lnTo>
                    <a:lnTo>
                      <a:pt x="50" y="286"/>
                    </a:lnTo>
                    <a:lnTo>
                      <a:pt x="50" y="286"/>
                    </a:lnTo>
                    <a:lnTo>
                      <a:pt x="50" y="286"/>
                    </a:lnTo>
                    <a:lnTo>
                      <a:pt x="50" y="286"/>
                    </a:lnTo>
                    <a:lnTo>
                      <a:pt x="52" y="286"/>
                    </a:lnTo>
                    <a:lnTo>
                      <a:pt x="52" y="284"/>
                    </a:lnTo>
                    <a:lnTo>
                      <a:pt x="52" y="284"/>
                    </a:lnTo>
                    <a:lnTo>
                      <a:pt x="52" y="282"/>
                    </a:lnTo>
                    <a:lnTo>
                      <a:pt x="52" y="280"/>
                    </a:lnTo>
                    <a:lnTo>
                      <a:pt x="52" y="278"/>
                    </a:lnTo>
                    <a:lnTo>
                      <a:pt x="52" y="274"/>
                    </a:lnTo>
                    <a:lnTo>
                      <a:pt x="52" y="272"/>
                    </a:lnTo>
                    <a:lnTo>
                      <a:pt x="50" y="270"/>
                    </a:lnTo>
                    <a:lnTo>
                      <a:pt x="50" y="270"/>
                    </a:lnTo>
                    <a:lnTo>
                      <a:pt x="50" y="268"/>
                    </a:lnTo>
                    <a:lnTo>
                      <a:pt x="50" y="268"/>
                    </a:lnTo>
                    <a:lnTo>
                      <a:pt x="48" y="268"/>
                    </a:lnTo>
                    <a:lnTo>
                      <a:pt x="46" y="268"/>
                    </a:lnTo>
                    <a:lnTo>
                      <a:pt x="44" y="266"/>
                    </a:lnTo>
                    <a:lnTo>
                      <a:pt x="44" y="266"/>
                    </a:lnTo>
                    <a:lnTo>
                      <a:pt x="42" y="266"/>
                    </a:lnTo>
                    <a:lnTo>
                      <a:pt x="42" y="264"/>
                    </a:lnTo>
                    <a:lnTo>
                      <a:pt x="42" y="264"/>
                    </a:lnTo>
                    <a:lnTo>
                      <a:pt x="42" y="262"/>
                    </a:lnTo>
                    <a:lnTo>
                      <a:pt x="40" y="260"/>
                    </a:lnTo>
                    <a:lnTo>
                      <a:pt x="40" y="258"/>
                    </a:lnTo>
                    <a:lnTo>
                      <a:pt x="40" y="254"/>
                    </a:lnTo>
                    <a:lnTo>
                      <a:pt x="40" y="250"/>
                    </a:lnTo>
                    <a:lnTo>
                      <a:pt x="40" y="246"/>
                    </a:lnTo>
                    <a:lnTo>
                      <a:pt x="40" y="244"/>
                    </a:lnTo>
                    <a:lnTo>
                      <a:pt x="42" y="242"/>
                    </a:lnTo>
                    <a:lnTo>
                      <a:pt x="42" y="242"/>
                    </a:lnTo>
                    <a:lnTo>
                      <a:pt x="42" y="240"/>
                    </a:lnTo>
                    <a:lnTo>
                      <a:pt x="42" y="240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36"/>
                    </a:lnTo>
                    <a:lnTo>
                      <a:pt x="48" y="236"/>
                    </a:lnTo>
                    <a:lnTo>
                      <a:pt x="48" y="234"/>
                    </a:lnTo>
                    <a:lnTo>
                      <a:pt x="48" y="234"/>
                    </a:lnTo>
                    <a:lnTo>
                      <a:pt x="48" y="232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8" y="224"/>
                    </a:lnTo>
                    <a:lnTo>
                      <a:pt x="46" y="222"/>
                    </a:lnTo>
                    <a:lnTo>
                      <a:pt x="46" y="218"/>
                    </a:lnTo>
                    <a:lnTo>
                      <a:pt x="44" y="212"/>
                    </a:lnTo>
                    <a:lnTo>
                      <a:pt x="44" y="208"/>
                    </a:lnTo>
                    <a:lnTo>
                      <a:pt x="44" y="204"/>
                    </a:lnTo>
                    <a:lnTo>
                      <a:pt x="44" y="202"/>
                    </a:lnTo>
                    <a:lnTo>
                      <a:pt x="44" y="200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6"/>
                    </a:lnTo>
                    <a:lnTo>
                      <a:pt x="46" y="194"/>
                    </a:lnTo>
                    <a:lnTo>
                      <a:pt x="48" y="192"/>
                    </a:lnTo>
                    <a:lnTo>
                      <a:pt x="48" y="190"/>
                    </a:lnTo>
                    <a:lnTo>
                      <a:pt x="48" y="190"/>
                    </a:lnTo>
                    <a:lnTo>
                      <a:pt x="50" y="188"/>
                    </a:lnTo>
                    <a:lnTo>
                      <a:pt x="50" y="186"/>
                    </a:lnTo>
                    <a:lnTo>
                      <a:pt x="50" y="182"/>
                    </a:lnTo>
                    <a:lnTo>
                      <a:pt x="50" y="180"/>
                    </a:lnTo>
                    <a:lnTo>
                      <a:pt x="50" y="178"/>
                    </a:lnTo>
                    <a:lnTo>
                      <a:pt x="50" y="176"/>
                    </a:lnTo>
                    <a:lnTo>
                      <a:pt x="50" y="176"/>
                    </a:lnTo>
                    <a:lnTo>
                      <a:pt x="52" y="174"/>
                    </a:lnTo>
                    <a:lnTo>
                      <a:pt x="52" y="174"/>
                    </a:lnTo>
                    <a:lnTo>
                      <a:pt x="56" y="172"/>
                    </a:lnTo>
                    <a:lnTo>
                      <a:pt x="58" y="170"/>
                    </a:lnTo>
                    <a:lnTo>
                      <a:pt x="58" y="170"/>
                    </a:lnTo>
                    <a:lnTo>
                      <a:pt x="60" y="168"/>
                    </a:lnTo>
                    <a:lnTo>
                      <a:pt x="60" y="168"/>
                    </a:lnTo>
                    <a:lnTo>
                      <a:pt x="62" y="166"/>
                    </a:lnTo>
                    <a:lnTo>
                      <a:pt x="62" y="164"/>
                    </a:lnTo>
                    <a:lnTo>
                      <a:pt x="64" y="162"/>
                    </a:lnTo>
                    <a:lnTo>
                      <a:pt x="64" y="160"/>
                    </a:lnTo>
                    <a:lnTo>
                      <a:pt x="64" y="158"/>
                    </a:lnTo>
                    <a:lnTo>
                      <a:pt x="64" y="156"/>
                    </a:lnTo>
                    <a:lnTo>
                      <a:pt x="64" y="156"/>
                    </a:lnTo>
                    <a:lnTo>
                      <a:pt x="64" y="154"/>
                    </a:lnTo>
                    <a:lnTo>
                      <a:pt x="64" y="154"/>
                    </a:lnTo>
                    <a:lnTo>
                      <a:pt x="64" y="152"/>
                    </a:lnTo>
                    <a:lnTo>
                      <a:pt x="62" y="152"/>
                    </a:lnTo>
                    <a:lnTo>
                      <a:pt x="60" y="150"/>
                    </a:lnTo>
                    <a:lnTo>
                      <a:pt x="60" y="148"/>
                    </a:lnTo>
                    <a:lnTo>
                      <a:pt x="58" y="148"/>
                    </a:lnTo>
                    <a:lnTo>
                      <a:pt x="58" y="146"/>
                    </a:lnTo>
                    <a:lnTo>
                      <a:pt x="58" y="146"/>
                    </a:lnTo>
                    <a:lnTo>
                      <a:pt x="58" y="144"/>
                    </a:lnTo>
                    <a:lnTo>
                      <a:pt x="58" y="144"/>
                    </a:lnTo>
                    <a:lnTo>
                      <a:pt x="58" y="144"/>
                    </a:lnTo>
                    <a:lnTo>
                      <a:pt x="58" y="142"/>
                    </a:lnTo>
                    <a:lnTo>
                      <a:pt x="60" y="140"/>
                    </a:lnTo>
                    <a:lnTo>
                      <a:pt x="60" y="140"/>
                    </a:lnTo>
                    <a:lnTo>
                      <a:pt x="64" y="136"/>
                    </a:lnTo>
                    <a:lnTo>
                      <a:pt x="64" y="136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2"/>
                    </a:lnTo>
                    <a:lnTo>
                      <a:pt x="66" y="132"/>
                    </a:lnTo>
                    <a:lnTo>
                      <a:pt x="66" y="130"/>
                    </a:lnTo>
                    <a:lnTo>
                      <a:pt x="66" y="126"/>
                    </a:lnTo>
                    <a:lnTo>
                      <a:pt x="66" y="124"/>
                    </a:lnTo>
                    <a:lnTo>
                      <a:pt x="66" y="122"/>
                    </a:lnTo>
                    <a:lnTo>
                      <a:pt x="66" y="120"/>
                    </a:lnTo>
                    <a:lnTo>
                      <a:pt x="66" y="118"/>
                    </a:lnTo>
                    <a:lnTo>
                      <a:pt x="66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4"/>
                    </a:lnTo>
                    <a:lnTo>
                      <a:pt x="66" y="114"/>
                    </a:lnTo>
                    <a:lnTo>
                      <a:pt x="68" y="114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72" y="114"/>
                    </a:lnTo>
                    <a:lnTo>
                      <a:pt x="74" y="112"/>
                    </a:lnTo>
                    <a:lnTo>
                      <a:pt x="74" y="112"/>
                    </a:lnTo>
                    <a:lnTo>
                      <a:pt x="76" y="112"/>
                    </a:lnTo>
                    <a:lnTo>
                      <a:pt x="76" y="112"/>
                    </a:lnTo>
                    <a:lnTo>
                      <a:pt x="76" y="112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78" y="108"/>
                    </a:lnTo>
                    <a:lnTo>
                      <a:pt x="78" y="104"/>
                    </a:lnTo>
                    <a:lnTo>
                      <a:pt x="78" y="102"/>
                    </a:lnTo>
                    <a:lnTo>
                      <a:pt x="78" y="98"/>
                    </a:lnTo>
                    <a:lnTo>
                      <a:pt x="78" y="96"/>
                    </a:lnTo>
                    <a:lnTo>
                      <a:pt x="76" y="94"/>
                    </a:lnTo>
                    <a:lnTo>
                      <a:pt x="72" y="90"/>
                    </a:lnTo>
                    <a:lnTo>
                      <a:pt x="70" y="88"/>
                    </a:lnTo>
                    <a:lnTo>
                      <a:pt x="68" y="88"/>
                    </a:lnTo>
                    <a:lnTo>
                      <a:pt x="66" y="86"/>
                    </a:lnTo>
                    <a:lnTo>
                      <a:pt x="66" y="84"/>
                    </a:lnTo>
                    <a:lnTo>
                      <a:pt x="64" y="82"/>
                    </a:lnTo>
                    <a:lnTo>
                      <a:pt x="62" y="80"/>
                    </a:lnTo>
                    <a:lnTo>
                      <a:pt x="60" y="78"/>
                    </a:lnTo>
                    <a:lnTo>
                      <a:pt x="58" y="74"/>
                    </a:lnTo>
                    <a:lnTo>
                      <a:pt x="58" y="72"/>
                    </a:lnTo>
                    <a:lnTo>
                      <a:pt x="56" y="68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4" y="64"/>
                    </a:lnTo>
                    <a:lnTo>
                      <a:pt x="54" y="62"/>
                    </a:lnTo>
                    <a:lnTo>
                      <a:pt x="54" y="60"/>
                    </a:lnTo>
                    <a:lnTo>
                      <a:pt x="56" y="5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2" y="32"/>
                    </a:lnTo>
                    <a:lnTo>
                      <a:pt x="50" y="30"/>
                    </a:lnTo>
                    <a:lnTo>
                      <a:pt x="48" y="28"/>
                    </a:lnTo>
                    <a:lnTo>
                      <a:pt x="46" y="28"/>
                    </a:lnTo>
                    <a:lnTo>
                      <a:pt x="44" y="26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0" y="22"/>
                    </a:lnTo>
                    <a:lnTo>
                      <a:pt x="40" y="20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6"/>
                    </a:lnTo>
                    <a:lnTo>
                      <a:pt x="38" y="6"/>
                    </a:lnTo>
                    <a:lnTo>
                      <a:pt x="36" y="2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22" y="10"/>
                    </a:lnTo>
                    <a:lnTo>
                      <a:pt x="22" y="12"/>
                    </a:lnTo>
                    <a:lnTo>
                      <a:pt x="22" y="18"/>
                    </a:lnTo>
                    <a:lnTo>
                      <a:pt x="24" y="26"/>
                    </a:lnTo>
                    <a:lnTo>
                      <a:pt x="24" y="28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4"/>
                    </a:lnTo>
                    <a:lnTo>
                      <a:pt x="28" y="36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30" y="42"/>
                    </a:lnTo>
                    <a:lnTo>
                      <a:pt x="30" y="44"/>
                    </a:lnTo>
                    <a:lnTo>
                      <a:pt x="32" y="52"/>
                    </a:lnTo>
                    <a:lnTo>
                      <a:pt x="32" y="60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2" y="76"/>
                    </a:lnTo>
                    <a:lnTo>
                      <a:pt x="32" y="80"/>
                    </a:lnTo>
                    <a:lnTo>
                      <a:pt x="32" y="84"/>
                    </a:lnTo>
                    <a:lnTo>
                      <a:pt x="32" y="88"/>
                    </a:lnTo>
                    <a:lnTo>
                      <a:pt x="32" y="92"/>
                    </a:lnTo>
                    <a:lnTo>
                      <a:pt x="30" y="94"/>
                    </a:lnTo>
                    <a:lnTo>
                      <a:pt x="30" y="96"/>
                    </a:lnTo>
                    <a:lnTo>
                      <a:pt x="30" y="98"/>
                    </a:lnTo>
                    <a:lnTo>
                      <a:pt x="28" y="98"/>
                    </a:lnTo>
                    <a:lnTo>
                      <a:pt x="26" y="100"/>
                    </a:lnTo>
                    <a:lnTo>
                      <a:pt x="26" y="102"/>
                    </a:lnTo>
                    <a:lnTo>
                      <a:pt x="24" y="104"/>
                    </a:lnTo>
                    <a:lnTo>
                      <a:pt x="24" y="104"/>
                    </a:lnTo>
                    <a:lnTo>
                      <a:pt x="24" y="106"/>
                    </a:lnTo>
                    <a:lnTo>
                      <a:pt x="24" y="108"/>
                    </a:lnTo>
                    <a:lnTo>
                      <a:pt x="24" y="110"/>
                    </a:lnTo>
                    <a:lnTo>
                      <a:pt x="24" y="110"/>
                    </a:lnTo>
                    <a:lnTo>
                      <a:pt x="24" y="112"/>
                    </a:lnTo>
                    <a:lnTo>
                      <a:pt x="24" y="112"/>
                    </a:lnTo>
                    <a:lnTo>
                      <a:pt x="24" y="112"/>
                    </a:lnTo>
                    <a:lnTo>
                      <a:pt x="24" y="112"/>
                    </a:lnTo>
                    <a:lnTo>
                      <a:pt x="26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2" y="116"/>
                    </a:lnTo>
                    <a:lnTo>
                      <a:pt x="32" y="120"/>
                    </a:lnTo>
                    <a:lnTo>
                      <a:pt x="32" y="122"/>
                    </a:lnTo>
                    <a:lnTo>
                      <a:pt x="34" y="124"/>
                    </a:lnTo>
                    <a:lnTo>
                      <a:pt x="34" y="126"/>
                    </a:lnTo>
                    <a:lnTo>
                      <a:pt x="34" y="130"/>
                    </a:lnTo>
                    <a:lnTo>
                      <a:pt x="34" y="132"/>
                    </a:lnTo>
                    <a:lnTo>
                      <a:pt x="34" y="134"/>
                    </a:lnTo>
                    <a:lnTo>
                      <a:pt x="32" y="138"/>
                    </a:lnTo>
                    <a:lnTo>
                      <a:pt x="32" y="140"/>
                    </a:lnTo>
                    <a:lnTo>
                      <a:pt x="32" y="142"/>
                    </a:lnTo>
                    <a:lnTo>
                      <a:pt x="30" y="144"/>
                    </a:lnTo>
                    <a:lnTo>
                      <a:pt x="30" y="146"/>
                    </a:lnTo>
                    <a:lnTo>
                      <a:pt x="28" y="148"/>
                    </a:lnTo>
                    <a:lnTo>
                      <a:pt x="28" y="148"/>
                    </a:lnTo>
                    <a:lnTo>
                      <a:pt x="28" y="148"/>
                    </a:lnTo>
                    <a:lnTo>
                      <a:pt x="26" y="148"/>
                    </a:lnTo>
                    <a:lnTo>
                      <a:pt x="26" y="146"/>
                    </a:lnTo>
                    <a:lnTo>
                      <a:pt x="26" y="146"/>
                    </a:lnTo>
                    <a:lnTo>
                      <a:pt x="26" y="148"/>
                    </a:lnTo>
                    <a:lnTo>
                      <a:pt x="24" y="148"/>
                    </a:lnTo>
                    <a:lnTo>
                      <a:pt x="24" y="148"/>
                    </a:lnTo>
                    <a:lnTo>
                      <a:pt x="24" y="150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8"/>
                    </a:lnTo>
                    <a:lnTo>
                      <a:pt x="24" y="162"/>
                    </a:lnTo>
                    <a:lnTo>
                      <a:pt x="24" y="168"/>
                    </a:lnTo>
                    <a:lnTo>
                      <a:pt x="26" y="174"/>
                    </a:lnTo>
                    <a:lnTo>
                      <a:pt x="26" y="176"/>
                    </a:lnTo>
                    <a:lnTo>
                      <a:pt x="26" y="180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4"/>
                    </a:lnTo>
                    <a:lnTo>
                      <a:pt x="26" y="184"/>
                    </a:lnTo>
                    <a:lnTo>
                      <a:pt x="24" y="186"/>
                    </a:lnTo>
                    <a:lnTo>
                      <a:pt x="24" y="186"/>
                    </a:lnTo>
                    <a:lnTo>
                      <a:pt x="24" y="188"/>
                    </a:lnTo>
                    <a:lnTo>
                      <a:pt x="24" y="188"/>
                    </a:lnTo>
                    <a:lnTo>
                      <a:pt x="22" y="188"/>
                    </a:lnTo>
                    <a:lnTo>
                      <a:pt x="22" y="188"/>
                    </a:lnTo>
                    <a:lnTo>
                      <a:pt x="20" y="188"/>
                    </a:lnTo>
                    <a:lnTo>
                      <a:pt x="18" y="188"/>
                    </a:lnTo>
                    <a:lnTo>
                      <a:pt x="16" y="186"/>
                    </a:lnTo>
                    <a:lnTo>
                      <a:pt x="16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8"/>
                    </a:lnTo>
                    <a:lnTo>
                      <a:pt x="14" y="188"/>
                    </a:lnTo>
                    <a:lnTo>
                      <a:pt x="14" y="188"/>
                    </a:lnTo>
                    <a:lnTo>
                      <a:pt x="14" y="188"/>
                    </a:lnTo>
                    <a:lnTo>
                      <a:pt x="14" y="190"/>
                    </a:lnTo>
                    <a:lnTo>
                      <a:pt x="14" y="190"/>
                    </a:lnTo>
                    <a:lnTo>
                      <a:pt x="16" y="192"/>
                    </a:lnTo>
                    <a:lnTo>
                      <a:pt x="18" y="194"/>
                    </a:lnTo>
                    <a:lnTo>
                      <a:pt x="18" y="196"/>
                    </a:lnTo>
                    <a:lnTo>
                      <a:pt x="18" y="196"/>
                    </a:lnTo>
                    <a:lnTo>
                      <a:pt x="18" y="198"/>
                    </a:lnTo>
                    <a:lnTo>
                      <a:pt x="18" y="198"/>
                    </a:lnTo>
                    <a:lnTo>
                      <a:pt x="18" y="200"/>
                    </a:lnTo>
                    <a:lnTo>
                      <a:pt x="18" y="202"/>
                    </a:lnTo>
                    <a:lnTo>
                      <a:pt x="18" y="204"/>
                    </a:lnTo>
                    <a:lnTo>
                      <a:pt x="18" y="206"/>
                    </a:lnTo>
                    <a:lnTo>
                      <a:pt x="16" y="212"/>
                    </a:lnTo>
                    <a:lnTo>
                      <a:pt x="16" y="214"/>
                    </a:lnTo>
                    <a:lnTo>
                      <a:pt x="14" y="216"/>
                    </a:lnTo>
                    <a:lnTo>
                      <a:pt x="14" y="222"/>
                    </a:lnTo>
                    <a:lnTo>
                      <a:pt x="12" y="228"/>
                    </a:lnTo>
                    <a:lnTo>
                      <a:pt x="12" y="234"/>
                    </a:lnTo>
                    <a:lnTo>
                      <a:pt x="10" y="242"/>
                    </a:lnTo>
                    <a:lnTo>
                      <a:pt x="10" y="246"/>
                    </a:lnTo>
                    <a:lnTo>
                      <a:pt x="10" y="250"/>
                    </a:lnTo>
                    <a:lnTo>
                      <a:pt x="8" y="252"/>
                    </a:lnTo>
                    <a:lnTo>
                      <a:pt x="8" y="256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0" y="264"/>
                    </a:lnTo>
                    <a:lnTo>
                      <a:pt x="10" y="266"/>
                    </a:lnTo>
                    <a:lnTo>
                      <a:pt x="12" y="266"/>
                    </a:lnTo>
                    <a:lnTo>
                      <a:pt x="12" y="266"/>
                    </a:lnTo>
                    <a:lnTo>
                      <a:pt x="12" y="268"/>
                    </a:lnTo>
                    <a:lnTo>
                      <a:pt x="14" y="268"/>
                    </a:lnTo>
                    <a:lnTo>
                      <a:pt x="16" y="268"/>
                    </a:lnTo>
                    <a:lnTo>
                      <a:pt x="16" y="268"/>
                    </a:lnTo>
                    <a:lnTo>
                      <a:pt x="16" y="268"/>
                    </a:lnTo>
                    <a:lnTo>
                      <a:pt x="16" y="270"/>
                    </a:lnTo>
                    <a:lnTo>
                      <a:pt x="18" y="272"/>
                    </a:lnTo>
                    <a:lnTo>
                      <a:pt x="18" y="274"/>
                    </a:lnTo>
                    <a:lnTo>
                      <a:pt x="18" y="274"/>
                    </a:lnTo>
                    <a:lnTo>
                      <a:pt x="18" y="278"/>
                    </a:lnTo>
                    <a:lnTo>
                      <a:pt x="20" y="282"/>
                    </a:lnTo>
                    <a:lnTo>
                      <a:pt x="20" y="286"/>
                    </a:lnTo>
                    <a:lnTo>
                      <a:pt x="18" y="290"/>
                    </a:lnTo>
                    <a:lnTo>
                      <a:pt x="18" y="296"/>
                    </a:lnTo>
                    <a:lnTo>
                      <a:pt x="18" y="300"/>
                    </a:lnTo>
                    <a:lnTo>
                      <a:pt x="16" y="304"/>
                    </a:lnTo>
                    <a:lnTo>
                      <a:pt x="16" y="308"/>
                    </a:lnTo>
                    <a:lnTo>
                      <a:pt x="14" y="318"/>
                    </a:lnTo>
                    <a:lnTo>
                      <a:pt x="12" y="326"/>
                    </a:lnTo>
                    <a:lnTo>
                      <a:pt x="10" y="332"/>
                    </a:lnTo>
                    <a:lnTo>
                      <a:pt x="10" y="332"/>
                    </a:lnTo>
                    <a:lnTo>
                      <a:pt x="8" y="334"/>
                    </a:lnTo>
                    <a:lnTo>
                      <a:pt x="8" y="338"/>
                    </a:lnTo>
                    <a:lnTo>
                      <a:pt x="4" y="342"/>
                    </a:lnTo>
                    <a:lnTo>
                      <a:pt x="4" y="344"/>
                    </a:lnTo>
                    <a:lnTo>
                      <a:pt x="2" y="346"/>
                    </a:lnTo>
                    <a:lnTo>
                      <a:pt x="2" y="346"/>
                    </a:lnTo>
                    <a:lnTo>
                      <a:pt x="2" y="348"/>
                    </a:lnTo>
                    <a:lnTo>
                      <a:pt x="2" y="348"/>
                    </a:lnTo>
                    <a:lnTo>
                      <a:pt x="0" y="350"/>
                    </a:lnTo>
                    <a:lnTo>
                      <a:pt x="0" y="352"/>
                    </a:lnTo>
                    <a:lnTo>
                      <a:pt x="0" y="356"/>
                    </a:lnTo>
                    <a:lnTo>
                      <a:pt x="0" y="358"/>
                    </a:lnTo>
                    <a:lnTo>
                      <a:pt x="0" y="362"/>
                    </a:lnTo>
                    <a:lnTo>
                      <a:pt x="0" y="368"/>
                    </a:lnTo>
                    <a:lnTo>
                      <a:pt x="2" y="374"/>
                    </a:lnTo>
                    <a:lnTo>
                      <a:pt x="2" y="380"/>
                    </a:lnTo>
                    <a:lnTo>
                      <a:pt x="6" y="394"/>
                    </a:lnTo>
                    <a:lnTo>
                      <a:pt x="8" y="406"/>
                    </a:lnTo>
                    <a:lnTo>
                      <a:pt x="8" y="412"/>
                    </a:lnTo>
                    <a:lnTo>
                      <a:pt x="10" y="418"/>
                    </a:lnTo>
                    <a:lnTo>
                      <a:pt x="10" y="424"/>
                    </a:lnTo>
                    <a:lnTo>
                      <a:pt x="12" y="430"/>
                    </a:lnTo>
                    <a:lnTo>
                      <a:pt x="12" y="434"/>
                    </a:lnTo>
                    <a:lnTo>
                      <a:pt x="12" y="436"/>
                    </a:lnTo>
                    <a:lnTo>
                      <a:pt x="12" y="438"/>
                    </a:lnTo>
                    <a:lnTo>
                      <a:pt x="10" y="440"/>
                    </a:lnTo>
                    <a:lnTo>
                      <a:pt x="10" y="440"/>
                    </a:lnTo>
                    <a:lnTo>
                      <a:pt x="10" y="442"/>
                    </a:lnTo>
                    <a:lnTo>
                      <a:pt x="8" y="446"/>
                    </a:lnTo>
                    <a:lnTo>
                      <a:pt x="6" y="448"/>
                    </a:lnTo>
                    <a:lnTo>
                      <a:pt x="6" y="450"/>
                    </a:lnTo>
                    <a:lnTo>
                      <a:pt x="6" y="452"/>
                    </a:lnTo>
                    <a:lnTo>
                      <a:pt x="6" y="452"/>
                    </a:lnTo>
                    <a:lnTo>
                      <a:pt x="6" y="454"/>
                    </a:lnTo>
                    <a:lnTo>
                      <a:pt x="6" y="454"/>
                    </a:lnTo>
                    <a:lnTo>
                      <a:pt x="6" y="454"/>
                    </a:lnTo>
                    <a:lnTo>
                      <a:pt x="6" y="454"/>
                    </a:lnTo>
                    <a:lnTo>
                      <a:pt x="8" y="454"/>
                    </a:lnTo>
                    <a:lnTo>
                      <a:pt x="8" y="454"/>
                    </a:lnTo>
                    <a:lnTo>
                      <a:pt x="10" y="454"/>
                    </a:lnTo>
                    <a:lnTo>
                      <a:pt x="10" y="454"/>
                    </a:lnTo>
                    <a:lnTo>
                      <a:pt x="14" y="452"/>
                    </a:lnTo>
                    <a:lnTo>
                      <a:pt x="16" y="452"/>
                    </a:lnTo>
                    <a:lnTo>
                      <a:pt x="16" y="452"/>
                    </a:lnTo>
                    <a:lnTo>
                      <a:pt x="16" y="452"/>
                    </a:lnTo>
                    <a:lnTo>
                      <a:pt x="16" y="452"/>
                    </a:lnTo>
                    <a:lnTo>
                      <a:pt x="18" y="454"/>
                    </a:lnTo>
                    <a:lnTo>
                      <a:pt x="18" y="454"/>
                    </a:lnTo>
                    <a:lnTo>
                      <a:pt x="20" y="456"/>
                    </a:lnTo>
                    <a:lnTo>
                      <a:pt x="20" y="456"/>
                    </a:lnTo>
                    <a:lnTo>
                      <a:pt x="20" y="458"/>
                    </a:lnTo>
                    <a:lnTo>
                      <a:pt x="22" y="460"/>
                    </a:lnTo>
                    <a:lnTo>
                      <a:pt x="22" y="464"/>
                    </a:lnTo>
                    <a:lnTo>
                      <a:pt x="22" y="466"/>
                    </a:lnTo>
                    <a:lnTo>
                      <a:pt x="22" y="470"/>
                    </a:lnTo>
                    <a:lnTo>
                      <a:pt x="22" y="472"/>
                    </a:lnTo>
                    <a:lnTo>
                      <a:pt x="24" y="478"/>
                    </a:lnTo>
                    <a:lnTo>
                      <a:pt x="24" y="486"/>
                    </a:lnTo>
                    <a:lnTo>
                      <a:pt x="22" y="492"/>
                    </a:lnTo>
                    <a:lnTo>
                      <a:pt x="22" y="496"/>
                    </a:lnTo>
                    <a:lnTo>
                      <a:pt x="22" y="502"/>
                    </a:lnTo>
                    <a:lnTo>
                      <a:pt x="20" y="504"/>
                    </a:lnTo>
                    <a:lnTo>
                      <a:pt x="20" y="504"/>
                    </a:lnTo>
                    <a:lnTo>
                      <a:pt x="18" y="508"/>
                    </a:lnTo>
                    <a:lnTo>
                      <a:pt x="16" y="512"/>
                    </a:lnTo>
                    <a:lnTo>
                      <a:pt x="16" y="514"/>
                    </a:lnTo>
                    <a:lnTo>
                      <a:pt x="14" y="516"/>
                    </a:lnTo>
                    <a:lnTo>
                      <a:pt x="14" y="520"/>
                    </a:lnTo>
                    <a:lnTo>
                      <a:pt x="14" y="524"/>
                    </a:lnTo>
                    <a:lnTo>
                      <a:pt x="12" y="528"/>
                    </a:lnTo>
                    <a:lnTo>
                      <a:pt x="12" y="530"/>
                    </a:lnTo>
                    <a:lnTo>
                      <a:pt x="12" y="534"/>
                    </a:lnTo>
                    <a:lnTo>
                      <a:pt x="12" y="534"/>
                    </a:lnTo>
                    <a:lnTo>
                      <a:pt x="12" y="536"/>
                    </a:lnTo>
                    <a:lnTo>
                      <a:pt x="14" y="538"/>
                    </a:lnTo>
                    <a:lnTo>
                      <a:pt x="14" y="538"/>
                    </a:lnTo>
                    <a:lnTo>
                      <a:pt x="14" y="538"/>
                    </a:lnTo>
                    <a:lnTo>
                      <a:pt x="14" y="538"/>
                    </a:lnTo>
                    <a:lnTo>
                      <a:pt x="16" y="540"/>
                    </a:lnTo>
                    <a:lnTo>
                      <a:pt x="18" y="540"/>
                    </a:lnTo>
                    <a:lnTo>
                      <a:pt x="18" y="540"/>
                    </a:lnTo>
                    <a:lnTo>
                      <a:pt x="20" y="540"/>
                    </a:lnTo>
                    <a:lnTo>
                      <a:pt x="22" y="542"/>
                    </a:lnTo>
                    <a:lnTo>
                      <a:pt x="24" y="542"/>
                    </a:lnTo>
                    <a:lnTo>
                      <a:pt x="24" y="542"/>
                    </a:lnTo>
                    <a:lnTo>
                      <a:pt x="24" y="544"/>
                    </a:lnTo>
                    <a:lnTo>
                      <a:pt x="24" y="544"/>
                    </a:lnTo>
                    <a:lnTo>
                      <a:pt x="24" y="546"/>
                    </a:lnTo>
                    <a:lnTo>
                      <a:pt x="24" y="548"/>
                    </a:lnTo>
                    <a:lnTo>
                      <a:pt x="24" y="550"/>
                    </a:lnTo>
                    <a:lnTo>
                      <a:pt x="22" y="550"/>
                    </a:lnTo>
                    <a:lnTo>
                      <a:pt x="22" y="552"/>
                    </a:lnTo>
                    <a:lnTo>
                      <a:pt x="20" y="556"/>
                    </a:lnTo>
                    <a:lnTo>
                      <a:pt x="18" y="560"/>
                    </a:lnTo>
                    <a:lnTo>
                      <a:pt x="16" y="564"/>
                    </a:lnTo>
                    <a:lnTo>
                      <a:pt x="14" y="566"/>
                    </a:lnTo>
                    <a:lnTo>
                      <a:pt x="14" y="566"/>
                    </a:lnTo>
                    <a:lnTo>
                      <a:pt x="14" y="568"/>
                    </a:lnTo>
                    <a:lnTo>
                      <a:pt x="14" y="570"/>
                    </a:lnTo>
                    <a:lnTo>
                      <a:pt x="14" y="572"/>
                    </a:lnTo>
                    <a:lnTo>
                      <a:pt x="14" y="572"/>
                    </a:lnTo>
                    <a:lnTo>
                      <a:pt x="14" y="576"/>
                    </a:lnTo>
                    <a:lnTo>
                      <a:pt x="16" y="580"/>
                    </a:lnTo>
                    <a:lnTo>
                      <a:pt x="16" y="582"/>
                    </a:lnTo>
                    <a:lnTo>
                      <a:pt x="18" y="586"/>
                    </a:lnTo>
                    <a:lnTo>
                      <a:pt x="18" y="590"/>
                    </a:lnTo>
                    <a:lnTo>
                      <a:pt x="22" y="596"/>
                    </a:lnTo>
                    <a:lnTo>
                      <a:pt x="22" y="598"/>
                    </a:lnTo>
                    <a:lnTo>
                      <a:pt x="24" y="602"/>
                    </a:lnTo>
                    <a:lnTo>
                      <a:pt x="26" y="604"/>
                    </a:lnTo>
                    <a:lnTo>
                      <a:pt x="26" y="606"/>
                    </a:lnTo>
                    <a:lnTo>
                      <a:pt x="28" y="608"/>
                    </a:lnTo>
                    <a:lnTo>
                      <a:pt x="28" y="608"/>
                    </a:lnTo>
                    <a:lnTo>
                      <a:pt x="30" y="610"/>
                    </a:lnTo>
                    <a:lnTo>
                      <a:pt x="32" y="610"/>
                    </a:lnTo>
                    <a:lnTo>
                      <a:pt x="34" y="610"/>
                    </a:lnTo>
                    <a:lnTo>
                      <a:pt x="36" y="612"/>
                    </a:lnTo>
                    <a:lnTo>
                      <a:pt x="36" y="612"/>
                    </a:lnTo>
                    <a:lnTo>
                      <a:pt x="38" y="612"/>
                    </a:lnTo>
                    <a:lnTo>
                      <a:pt x="38" y="614"/>
                    </a:lnTo>
                    <a:lnTo>
                      <a:pt x="40" y="614"/>
                    </a:lnTo>
                    <a:lnTo>
                      <a:pt x="40" y="614"/>
                    </a:lnTo>
                    <a:lnTo>
                      <a:pt x="40" y="616"/>
                    </a:lnTo>
                    <a:lnTo>
                      <a:pt x="40" y="618"/>
                    </a:lnTo>
                    <a:lnTo>
                      <a:pt x="40" y="620"/>
                    </a:lnTo>
                    <a:lnTo>
                      <a:pt x="40" y="626"/>
                    </a:lnTo>
                    <a:lnTo>
                      <a:pt x="42" y="626"/>
                    </a:lnTo>
                    <a:lnTo>
                      <a:pt x="42" y="628"/>
                    </a:lnTo>
                    <a:lnTo>
                      <a:pt x="42" y="630"/>
                    </a:lnTo>
                    <a:lnTo>
                      <a:pt x="44" y="632"/>
                    </a:lnTo>
                    <a:lnTo>
                      <a:pt x="46" y="634"/>
                    </a:lnTo>
                    <a:lnTo>
                      <a:pt x="46" y="636"/>
                    </a:lnTo>
                    <a:lnTo>
                      <a:pt x="48" y="636"/>
                    </a:lnTo>
                    <a:lnTo>
                      <a:pt x="48" y="638"/>
                    </a:lnTo>
                    <a:lnTo>
                      <a:pt x="52" y="638"/>
                    </a:lnTo>
                    <a:lnTo>
                      <a:pt x="54" y="640"/>
                    </a:lnTo>
                    <a:lnTo>
                      <a:pt x="56" y="640"/>
                    </a:lnTo>
                    <a:lnTo>
                      <a:pt x="56" y="642"/>
                    </a:lnTo>
                    <a:lnTo>
                      <a:pt x="58" y="642"/>
                    </a:lnTo>
                    <a:lnTo>
                      <a:pt x="58" y="644"/>
                    </a:lnTo>
                    <a:lnTo>
                      <a:pt x="60" y="646"/>
                    </a:lnTo>
                    <a:lnTo>
                      <a:pt x="60" y="648"/>
                    </a:lnTo>
                    <a:lnTo>
                      <a:pt x="60" y="650"/>
                    </a:lnTo>
                    <a:lnTo>
                      <a:pt x="62" y="650"/>
                    </a:lnTo>
                    <a:lnTo>
                      <a:pt x="62" y="652"/>
                    </a:lnTo>
                    <a:lnTo>
                      <a:pt x="64" y="652"/>
                    </a:lnTo>
                    <a:lnTo>
                      <a:pt x="68" y="654"/>
                    </a:lnTo>
                    <a:lnTo>
                      <a:pt x="72" y="656"/>
                    </a:lnTo>
                    <a:lnTo>
                      <a:pt x="74" y="658"/>
                    </a:lnTo>
                    <a:lnTo>
                      <a:pt x="78" y="662"/>
                    </a:lnTo>
                    <a:lnTo>
                      <a:pt x="82" y="664"/>
                    </a:lnTo>
                    <a:lnTo>
                      <a:pt x="82" y="666"/>
                    </a:lnTo>
                    <a:lnTo>
                      <a:pt x="84" y="666"/>
                    </a:lnTo>
                    <a:lnTo>
                      <a:pt x="84" y="668"/>
                    </a:lnTo>
                    <a:lnTo>
                      <a:pt x="84" y="670"/>
                    </a:lnTo>
                    <a:lnTo>
                      <a:pt x="86" y="672"/>
                    </a:lnTo>
                    <a:lnTo>
                      <a:pt x="86" y="674"/>
                    </a:lnTo>
                    <a:lnTo>
                      <a:pt x="88" y="676"/>
                    </a:lnTo>
                    <a:lnTo>
                      <a:pt x="88" y="676"/>
                    </a:lnTo>
                    <a:lnTo>
                      <a:pt x="88" y="678"/>
                    </a:lnTo>
                    <a:lnTo>
                      <a:pt x="88" y="678"/>
                    </a:lnTo>
                    <a:lnTo>
                      <a:pt x="90" y="678"/>
                    </a:lnTo>
                    <a:lnTo>
                      <a:pt x="90" y="678"/>
                    </a:lnTo>
                    <a:lnTo>
                      <a:pt x="90" y="676"/>
                    </a:lnTo>
                    <a:lnTo>
                      <a:pt x="92" y="676"/>
                    </a:lnTo>
                    <a:lnTo>
                      <a:pt x="92" y="676"/>
                    </a:lnTo>
                    <a:lnTo>
                      <a:pt x="92" y="674"/>
                    </a:lnTo>
                    <a:lnTo>
                      <a:pt x="92" y="672"/>
                    </a:lnTo>
                    <a:lnTo>
                      <a:pt x="92" y="670"/>
                    </a:lnTo>
                    <a:lnTo>
                      <a:pt x="92" y="668"/>
                    </a:lnTo>
                    <a:lnTo>
                      <a:pt x="94" y="664"/>
                    </a:lnTo>
                    <a:lnTo>
                      <a:pt x="94" y="662"/>
                    </a:lnTo>
                    <a:lnTo>
                      <a:pt x="94" y="662"/>
                    </a:lnTo>
                    <a:lnTo>
                      <a:pt x="94" y="660"/>
                    </a:lnTo>
                    <a:lnTo>
                      <a:pt x="94" y="660"/>
                    </a:lnTo>
                    <a:lnTo>
                      <a:pt x="96" y="660"/>
                    </a:lnTo>
                    <a:lnTo>
                      <a:pt x="96" y="658"/>
                    </a:lnTo>
                    <a:lnTo>
                      <a:pt x="100" y="656"/>
                    </a:lnTo>
                    <a:lnTo>
                      <a:pt x="102" y="656"/>
                    </a:lnTo>
                    <a:lnTo>
                      <a:pt x="102" y="656"/>
                    </a:lnTo>
                    <a:lnTo>
                      <a:pt x="104" y="654"/>
                    </a:lnTo>
                    <a:lnTo>
                      <a:pt x="104" y="654"/>
                    </a:lnTo>
                    <a:lnTo>
                      <a:pt x="104" y="654"/>
                    </a:lnTo>
                    <a:lnTo>
                      <a:pt x="106" y="652"/>
                    </a:lnTo>
                    <a:lnTo>
                      <a:pt x="106" y="650"/>
                    </a:lnTo>
                    <a:lnTo>
                      <a:pt x="106" y="648"/>
                    </a:lnTo>
                    <a:lnTo>
                      <a:pt x="106" y="646"/>
                    </a:lnTo>
                    <a:lnTo>
                      <a:pt x="106" y="644"/>
                    </a:lnTo>
                    <a:lnTo>
                      <a:pt x="106" y="642"/>
                    </a:lnTo>
                    <a:lnTo>
                      <a:pt x="104" y="638"/>
                    </a:lnTo>
                    <a:lnTo>
                      <a:pt x="104" y="634"/>
                    </a:lnTo>
                    <a:lnTo>
                      <a:pt x="102" y="630"/>
                    </a:lnTo>
                    <a:lnTo>
                      <a:pt x="102" y="6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69" name="Freeform 496">
                <a:extLst>
                  <a:ext uri="{FF2B5EF4-FFF2-40B4-BE49-F238E27FC236}">
                    <a16:creationId xmlns:a16="http://schemas.microsoft.com/office/drawing/2014/main" id="{C3E74486-71C4-42CE-B0CC-1BD8AB61E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3503" y="6312067"/>
                <a:ext cx="53975" cy="60325"/>
              </a:xfrm>
              <a:custGeom>
                <a:avLst/>
                <a:gdLst>
                  <a:gd name="T0" fmla="*/ 32 w 34"/>
                  <a:gd name="T1" fmla="*/ 6 h 38"/>
                  <a:gd name="T2" fmla="*/ 32 w 34"/>
                  <a:gd name="T3" fmla="*/ 6 h 38"/>
                  <a:gd name="T4" fmla="*/ 32 w 34"/>
                  <a:gd name="T5" fmla="*/ 8 h 38"/>
                  <a:gd name="T6" fmla="*/ 30 w 34"/>
                  <a:gd name="T7" fmla="*/ 8 h 38"/>
                  <a:gd name="T8" fmla="*/ 30 w 34"/>
                  <a:gd name="T9" fmla="*/ 10 h 38"/>
                  <a:gd name="T10" fmla="*/ 28 w 34"/>
                  <a:gd name="T11" fmla="*/ 10 h 38"/>
                  <a:gd name="T12" fmla="*/ 28 w 34"/>
                  <a:gd name="T13" fmla="*/ 14 h 38"/>
                  <a:gd name="T14" fmla="*/ 26 w 34"/>
                  <a:gd name="T15" fmla="*/ 16 h 38"/>
                  <a:gd name="T16" fmla="*/ 26 w 34"/>
                  <a:gd name="T17" fmla="*/ 18 h 38"/>
                  <a:gd name="T18" fmla="*/ 24 w 34"/>
                  <a:gd name="T19" fmla="*/ 20 h 38"/>
                  <a:gd name="T20" fmla="*/ 24 w 34"/>
                  <a:gd name="T21" fmla="*/ 24 h 38"/>
                  <a:gd name="T22" fmla="*/ 22 w 34"/>
                  <a:gd name="T23" fmla="*/ 28 h 38"/>
                  <a:gd name="T24" fmla="*/ 22 w 34"/>
                  <a:gd name="T25" fmla="*/ 34 h 38"/>
                  <a:gd name="T26" fmla="*/ 22 w 34"/>
                  <a:gd name="T27" fmla="*/ 38 h 38"/>
                  <a:gd name="T28" fmla="*/ 18 w 34"/>
                  <a:gd name="T29" fmla="*/ 36 h 38"/>
                  <a:gd name="T30" fmla="*/ 16 w 34"/>
                  <a:gd name="T31" fmla="*/ 34 h 38"/>
                  <a:gd name="T32" fmla="*/ 12 w 34"/>
                  <a:gd name="T33" fmla="*/ 34 h 38"/>
                  <a:gd name="T34" fmla="*/ 8 w 34"/>
                  <a:gd name="T35" fmla="*/ 32 h 38"/>
                  <a:gd name="T36" fmla="*/ 6 w 34"/>
                  <a:gd name="T37" fmla="*/ 30 h 38"/>
                  <a:gd name="T38" fmla="*/ 4 w 34"/>
                  <a:gd name="T39" fmla="*/ 30 h 38"/>
                  <a:gd name="T40" fmla="*/ 2 w 34"/>
                  <a:gd name="T41" fmla="*/ 28 h 38"/>
                  <a:gd name="T42" fmla="*/ 2 w 34"/>
                  <a:gd name="T43" fmla="*/ 28 h 38"/>
                  <a:gd name="T44" fmla="*/ 0 w 34"/>
                  <a:gd name="T45" fmla="*/ 26 h 38"/>
                  <a:gd name="T46" fmla="*/ 0 w 34"/>
                  <a:gd name="T47" fmla="*/ 24 h 38"/>
                  <a:gd name="T48" fmla="*/ 0 w 34"/>
                  <a:gd name="T49" fmla="*/ 24 h 38"/>
                  <a:gd name="T50" fmla="*/ 0 w 34"/>
                  <a:gd name="T51" fmla="*/ 22 h 38"/>
                  <a:gd name="T52" fmla="*/ 0 w 34"/>
                  <a:gd name="T53" fmla="*/ 22 h 38"/>
                  <a:gd name="T54" fmla="*/ 0 w 34"/>
                  <a:gd name="T55" fmla="*/ 20 h 38"/>
                  <a:gd name="T56" fmla="*/ 0 w 34"/>
                  <a:gd name="T57" fmla="*/ 18 h 38"/>
                  <a:gd name="T58" fmla="*/ 0 w 34"/>
                  <a:gd name="T59" fmla="*/ 16 h 38"/>
                  <a:gd name="T60" fmla="*/ 2 w 34"/>
                  <a:gd name="T61" fmla="*/ 14 h 38"/>
                  <a:gd name="T62" fmla="*/ 2 w 34"/>
                  <a:gd name="T63" fmla="*/ 10 h 38"/>
                  <a:gd name="T64" fmla="*/ 4 w 34"/>
                  <a:gd name="T65" fmla="*/ 8 h 38"/>
                  <a:gd name="T66" fmla="*/ 4 w 34"/>
                  <a:gd name="T67" fmla="*/ 8 h 38"/>
                  <a:gd name="T68" fmla="*/ 6 w 34"/>
                  <a:gd name="T69" fmla="*/ 6 h 38"/>
                  <a:gd name="T70" fmla="*/ 6 w 34"/>
                  <a:gd name="T71" fmla="*/ 6 h 38"/>
                  <a:gd name="T72" fmla="*/ 8 w 34"/>
                  <a:gd name="T73" fmla="*/ 4 h 38"/>
                  <a:gd name="T74" fmla="*/ 10 w 34"/>
                  <a:gd name="T75" fmla="*/ 4 h 38"/>
                  <a:gd name="T76" fmla="*/ 12 w 34"/>
                  <a:gd name="T77" fmla="*/ 2 h 38"/>
                  <a:gd name="T78" fmla="*/ 12 w 34"/>
                  <a:gd name="T79" fmla="*/ 2 h 38"/>
                  <a:gd name="T80" fmla="*/ 14 w 34"/>
                  <a:gd name="T81" fmla="*/ 2 h 38"/>
                  <a:gd name="T82" fmla="*/ 16 w 34"/>
                  <a:gd name="T83" fmla="*/ 0 h 38"/>
                  <a:gd name="T84" fmla="*/ 16 w 34"/>
                  <a:gd name="T85" fmla="*/ 0 h 38"/>
                  <a:gd name="T86" fmla="*/ 18 w 34"/>
                  <a:gd name="T87" fmla="*/ 0 h 38"/>
                  <a:gd name="T88" fmla="*/ 20 w 34"/>
                  <a:gd name="T89" fmla="*/ 2 h 38"/>
                  <a:gd name="T90" fmla="*/ 24 w 34"/>
                  <a:gd name="T91" fmla="*/ 2 h 38"/>
                  <a:gd name="T92" fmla="*/ 26 w 34"/>
                  <a:gd name="T93" fmla="*/ 4 h 38"/>
                  <a:gd name="T94" fmla="*/ 32 w 34"/>
                  <a:gd name="T95" fmla="*/ 6 h 38"/>
                  <a:gd name="T96" fmla="*/ 34 w 34"/>
                  <a:gd name="T97" fmla="*/ 6 h 38"/>
                  <a:gd name="T98" fmla="*/ 34 w 34"/>
                  <a:gd name="T99" fmla="*/ 6 h 38"/>
                  <a:gd name="T100" fmla="*/ 32 w 34"/>
                  <a:gd name="T101" fmla="*/ 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8">
                    <a:moveTo>
                      <a:pt x="32" y="6"/>
                    </a:moveTo>
                    <a:lnTo>
                      <a:pt x="32" y="6"/>
                    </a:lnTo>
                    <a:lnTo>
                      <a:pt x="32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8" y="10"/>
                    </a:lnTo>
                    <a:lnTo>
                      <a:pt x="28" y="14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2" y="28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2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0" y="2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2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70" name="Freeform 500">
                <a:extLst>
                  <a:ext uri="{FF2B5EF4-FFF2-40B4-BE49-F238E27FC236}">
                    <a16:creationId xmlns:a16="http://schemas.microsoft.com/office/drawing/2014/main" id="{58BB9327-74EE-45FC-BA6C-06517DF4A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5253" y="6321592"/>
                <a:ext cx="66675" cy="60325"/>
              </a:xfrm>
              <a:custGeom>
                <a:avLst/>
                <a:gdLst>
                  <a:gd name="T0" fmla="*/ 0 w 42"/>
                  <a:gd name="T1" fmla="*/ 32 h 38"/>
                  <a:gd name="T2" fmla="*/ 2 w 42"/>
                  <a:gd name="T3" fmla="*/ 22 h 38"/>
                  <a:gd name="T4" fmla="*/ 4 w 42"/>
                  <a:gd name="T5" fmla="*/ 16 h 38"/>
                  <a:gd name="T6" fmla="*/ 6 w 42"/>
                  <a:gd name="T7" fmla="*/ 10 h 38"/>
                  <a:gd name="T8" fmla="*/ 8 w 42"/>
                  <a:gd name="T9" fmla="*/ 6 h 38"/>
                  <a:gd name="T10" fmla="*/ 10 w 42"/>
                  <a:gd name="T11" fmla="*/ 2 h 38"/>
                  <a:gd name="T12" fmla="*/ 12 w 42"/>
                  <a:gd name="T13" fmla="*/ 2 h 38"/>
                  <a:gd name="T14" fmla="*/ 12 w 42"/>
                  <a:gd name="T15" fmla="*/ 0 h 38"/>
                  <a:gd name="T16" fmla="*/ 14 w 42"/>
                  <a:gd name="T17" fmla="*/ 2 h 38"/>
                  <a:gd name="T18" fmla="*/ 18 w 42"/>
                  <a:gd name="T19" fmla="*/ 4 h 38"/>
                  <a:gd name="T20" fmla="*/ 22 w 42"/>
                  <a:gd name="T21" fmla="*/ 10 h 38"/>
                  <a:gd name="T22" fmla="*/ 24 w 42"/>
                  <a:gd name="T23" fmla="*/ 12 h 38"/>
                  <a:gd name="T24" fmla="*/ 26 w 42"/>
                  <a:gd name="T25" fmla="*/ 14 h 38"/>
                  <a:gd name="T26" fmla="*/ 32 w 42"/>
                  <a:gd name="T27" fmla="*/ 16 h 38"/>
                  <a:gd name="T28" fmla="*/ 38 w 42"/>
                  <a:gd name="T29" fmla="*/ 20 h 38"/>
                  <a:gd name="T30" fmla="*/ 42 w 42"/>
                  <a:gd name="T31" fmla="*/ 22 h 38"/>
                  <a:gd name="T32" fmla="*/ 42 w 42"/>
                  <a:gd name="T33" fmla="*/ 24 h 38"/>
                  <a:gd name="T34" fmla="*/ 42 w 42"/>
                  <a:gd name="T35" fmla="*/ 26 h 38"/>
                  <a:gd name="T36" fmla="*/ 42 w 42"/>
                  <a:gd name="T37" fmla="*/ 26 h 38"/>
                  <a:gd name="T38" fmla="*/ 42 w 42"/>
                  <a:gd name="T39" fmla="*/ 28 h 38"/>
                  <a:gd name="T40" fmla="*/ 38 w 42"/>
                  <a:gd name="T41" fmla="*/ 28 h 38"/>
                  <a:gd name="T42" fmla="*/ 36 w 42"/>
                  <a:gd name="T43" fmla="*/ 28 h 38"/>
                  <a:gd name="T44" fmla="*/ 30 w 42"/>
                  <a:gd name="T45" fmla="*/ 26 h 38"/>
                  <a:gd name="T46" fmla="*/ 24 w 42"/>
                  <a:gd name="T47" fmla="*/ 24 h 38"/>
                  <a:gd name="T48" fmla="*/ 22 w 42"/>
                  <a:gd name="T49" fmla="*/ 24 h 38"/>
                  <a:gd name="T50" fmla="*/ 20 w 42"/>
                  <a:gd name="T51" fmla="*/ 26 h 38"/>
                  <a:gd name="T52" fmla="*/ 20 w 42"/>
                  <a:gd name="T53" fmla="*/ 28 h 38"/>
                  <a:gd name="T54" fmla="*/ 20 w 42"/>
                  <a:gd name="T55" fmla="*/ 30 h 38"/>
                  <a:gd name="T56" fmla="*/ 18 w 42"/>
                  <a:gd name="T57" fmla="*/ 34 h 38"/>
                  <a:gd name="T58" fmla="*/ 18 w 42"/>
                  <a:gd name="T59" fmla="*/ 36 h 38"/>
                  <a:gd name="T60" fmla="*/ 16 w 42"/>
                  <a:gd name="T61" fmla="*/ 38 h 38"/>
                  <a:gd name="T62" fmla="*/ 16 w 42"/>
                  <a:gd name="T63" fmla="*/ 38 h 38"/>
                  <a:gd name="T64" fmla="*/ 14 w 42"/>
                  <a:gd name="T65" fmla="*/ 38 h 38"/>
                  <a:gd name="T66" fmla="*/ 10 w 42"/>
                  <a:gd name="T67" fmla="*/ 36 h 38"/>
                  <a:gd name="T68" fmla="*/ 4 w 42"/>
                  <a:gd name="T69" fmla="*/ 34 h 38"/>
                  <a:gd name="T70" fmla="*/ 0 w 42"/>
                  <a:gd name="T71" fmla="*/ 3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2" h="38">
                    <a:moveTo>
                      <a:pt x="0" y="32"/>
                    </a:moveTo>
                    <a:lnTo>
                      <a:pt x="0" y="32"/>
                    </a:lnTo>
                    <a:lnTo>
                      <a:pt x="2" y="28"/>
                    </a:lnTo>
                    <a:lnTo>
                      <a:pt x="2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6" y="12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6" y="2"/>
                    </a:lnTo>
                    <a:lnTo>
                      <a:pt x="18" y="4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4"/>
                    </a:lnTo>
                    <a:lnTo>
                      <a:pt x="28" y="14"/>
                    </a:lnTo>
                    <a:lnTo>
                      <a:pt x="32" y="16"/>
                    </a:lnTo>
                    <a:lnTo>
                      <a:pt x="36" y="18"/>
                    </a:lnTo>
                    <a:lnTo>
                      <a:pt x="38" y="20"/>
                    </a:lnTo>
                    <a:lnTo>
                      <a:pt x="40" y="22"/>
                    </a:lnTo>
                    <a:lnTo>
                      <a:pt x="42" y="22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0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6" y="28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24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30"/>
                    </a:lnTo>
                    <a:lnTo>
                      <a:pt x="18" y="32"/>
                    </a:lnTo>
                    <a:lnTo>
                      <a:pt x="18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2" y="38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2" y="32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</p:grpSp>
        <p:sp>
          <p:nvSpPr>
            <p:cNvPr id="1923" name="Freeform 502">
              <a:extLst>
                <a:ext uri="{FF2B5EF4-FFF2-40B4-BE49-F238E27FC236}">
                  <a16:creationId xmlns:a16="http://schemas.microsoft.com/office/drawing/2014/main" id="{128FA90D-9AB2-48DA-9481-01CE6F783B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8309" y="6147129"/>
              <a:ext cx="92255" cy="60175"/>
            </a:xfrm>
            <a:custGeom>
              <a:avLst/>
              <a:gdLst>
                <a:gd name="T0" fmla="*/ 18 w 54"/>
                <a:gd name="T1" fmla="*/ 8 h 36"/>
                <a:gd name="T2" fmla="*/ 12 w 54"/>
                <a:gd name="T3" fmla="*/ 8 h 36"/>
                <a:gd name="T4" fmla="*/ 6 w 54"/>
                <a:gd name="T5" fmla="*/ 8 h 36"/>
                <a:gd name="T6" fmla="*/ 4 w 54"/>
                <a:gd name="T7" fmla="*/ 10 h 36"/>
                <a:gd name="T8" fmla="*/ 2 w 54"/>
                <a:gd name="T9" fmla="*/ 12 h 36"/>
                <a:gd name="T10" fmla="*/ 2 w 54"/>
                <a:gd name="T11" fmla="*/ 12 h 36"/>
                <a:gd name="T12" fmla="*/ 0 w 54"/>
                <a:gd name="T13" fmla="*/ 16 h 36"/>
                <a:gd name="T14" fmla="*/ 0 w 54"/>
                <a:gd name="T15" fmla="*/ 22 h 36"/>
                <a:gd name="T16" fmla="*/ 0 w 54"/>
                <a:gd name="T17" fmla="*/ 28 h 36"/>
                <a:gd name="T18" fmla="*/ 2 w 54"/>
                <a:gd name="T19" fmla="*/ 32 h 36"/>
                <a:gd name="T20" fmla="*/ 2 w 54"/>
                <a:gd name="T21" fmla="*/ 34 h 36"/>
                <a:gd name="T22" fmla="*/ 2 w 54"/>
                <a:gd name="T23" fmla="*/ 36 h 36"/>
                <a:gd name="T24" fmla="*/ 4 w 54"/>
                <a:gd name="T25" fmla="*/ 36 h 36"/>
                <a:gd name="T26" fmla="*/ 6 w 54"/>
                <a:gd name="T27" fmla="*/ 36 h 36"/>
                <a:gd name="T28" fmla="*/ 8 w 54"/>
                <a:gd name="T29" fmla="*/ 32 h 36"/>
                <a:gd name="T30" fmla="*/ 10 w 54"/>
                <a:gd name="T31" fmla="*/ 28 h 36"/>
                <a:gd name="T32" fmla="*/ 12 w 54"/>
                <a:gd name="T33" fmla="*/ 26 h 36"/>
                <a:gd name="T34" fmla="*/ 14 w 54"/>
                <a:gd name="T35" fmla="*/ 24 h 36"/>
                <a:gd name="T36" fmla="*/ 14 w 54"/>
                <a:gd name="T37" fmla="*/ 24 h 36"/>
                <a:gd name="T38" fmla="*/ 16 w 54"/>
                <a:gd name="T39" fmla="*/ 26 h 36"/>
                <a:gd name="T40" fmla="*/ 18 w 54"/>
                <a:gd name="T41" fmla="*/ 28 h 36"/>
                <a:gd name="T42" fmla="*/ 22 w 54"/>
                <a:gd name="T43" fmla="*/ 30 h 36"/>
                <a:gd name="T44" fmla="*/ 24 w 54"/>
                <a:gd name="T45" fmla="*/ 30 h 36"/>
                <a:gd name="T46" fmla="*/ 26 w 54"/>
                <a:gd name="T47" fmla="*/ 30 h 36"/>
                <a:gd name="T48" fmla="*/ 32 w 54"/>
                <a:gd name="T49" fmla="*/ 28 h 36"/>
                <a:gd name="T50" fmla="*/ 42 w 54"/>
                <a:gd name="T51" fmla="*/ 24 h 36"/>
                <a:gd name="T52" fmla="*/ 46 w 54"/>
                <a:gd name="T53" fmla="*/ 22 h 36"/>
                <a:gd name="T54" fmla="*/ 52 w 54"/>
                <a:gd name="T55" fmla="*/ 20 h 36"/>
                <a:gd name="T56" fmla="*/ 54 w 54"/>
                <a:gd name="T57" fmla="*/ 18 h 36"/>
                <a:gd name="T58" fmla="*/ 54 w 54"/>
                <a:gd name="T59" fmla="*/ 18 h 36"/>
                <a:gd name="T60" fmla="*/ 54 w 54"/>
                <a:gd name="T61" fmla="*/ 16 h 36"/>
                <a:gd name="T62" fmla="*/ 54 w 54"/>
                <a:gd name="T63" fmla="*/ 16 h 36"/>
                <a:gd name="T64" fmla="*/ 52 w 54"/>
                <a:gd name="T65" fmla="*/ 14 h 36"/>
                <a:gd name="T66" fmla="*/ 48 w 54"/>
                <a:gd name="T67" fmla="*/ 12 h 36"/>
                <a:gd name="T68" fmla="*/ 40 w 54"/>
                <a:gd name="T69" fmla="*/ 10 h 36"/>
                <a:gd name="T70" fmla="*/ 40 w 54"/>
                <a:gd name="T71" fmla="*/ 8 h 36"/>
                <a:gd name="T72" fmla="*/ 38 w 54"/>
                <a:gd name="T73" fmla="*/ 6 h 36"/>
                <a:gd name="T74" fmla="*/ 34 w 54"/>
                <a:gd name="T75" fmla="*/ 2 h 36"/>
                <a:gd name="T76" fmla="*/ 32 w 54"/>
                <a:gd name="T77" fmla="*/ 0 h 36"/>
                <a:gd name="T78" fmla="*/ 32 w 54"/>
                <a:gd name="T79" fmla="*/ 0 h 36"/>
                <a:gd name="T80" fmla="*/ 30 w 54"/>
                <a:gd name="T81" fmla="*/ 0 h 36"/>
                <a:gd name="T82" fmla="*/ 30 w 54"/>
                <a:gd name="T83" fmla="*/ 0 h 36"/>
                <a:gd name="T84" fmla="*/ 30 w 54"/>
                <a:gd name="T85" fmla="*/ 2 h 36"/>
                <a:gd name="T86" fmla="*/ 30 w 54"/>
                <a:gd name="T87" fmla="*/ 6 h 36"/>
                <a:gd name="T88" fmla="*/ 30 w 54"/>
                <a:gd name="T89" fmla="*/ 8 h 36"/>
                <a:gd name="T90" fmla="*/ 30 w 54"/>
                <a:gd name="T91" fmla="*/ 10 h 36"/>
                <a:gd name="T92" fmla="*/ 28 w 54"/>
                <a:gd name="T93" fmla="*/ 10 h 36"/>
                <a:gd name="T94" fmla="*/ 26 w 54"/>
                <a:gd name="T95" fmla="*/ 10 h 36"/>
                <a:gd name="T96" fmla="*/ 24 w 54"/>
                <a:gd name="T97" fmla="*/ 10 h 36"/>
                <a:gd name="T98" fmla="*/ 18 w 54"/>
                <a:gd name="T9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" h="36">
                  <a:moveTo>
                    <a:pt x="18" y="8"/>
                  </a:moveTo>
                  <a:lnTo>
                    <a:pt x="18" y="8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6" y="8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10" y="28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6" y="24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8"/>
                  </a:lnTo>
                  <a:lnTo>
                    <a:pt x="20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0"/>
                  </a:lnTo>
                  <a:lnTo>
                    <a:pt x="30" y="28"/>
                  </a:lnTo>
                  <a:lnTo>
                    <a:pt x="32" y="28"/>
                  </a:lnTo>
                  <a:lnTo>
                    <a:pt x="38" y="26"/>
                  </a:lnTo>
                  <a:lnTo>
                    <a:pt x="42" y="24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0" y="22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4" y="10"/>
                  </a:lnTo>
                  <a:lnTo>
                    <a:pt x="40" y="10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4"/>
                  </a:lnTo>
                  <a:lnTo>
                    <a:pt x="30" y="6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0" y="8"/>
                  </a:lnTo>
                  <a:lnTo>
                    <a:pt x="18" y="8"/>
                  </a:lnTo>
                  <a:lnTo>
                    <a:pt x="18" y="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24" name="Freeform 504">
              <a:extLst>
                <a:ext uri="{FF2B5EF4-FFF2-40B4-BE49-F238E27FC236}">
                  <a16:creationId xmlns:a16="http://schemas.microsoft.com/office/drawing/2014/main" id="{34FE41D9-6B8A-48E3-AEAD-C6DC5F239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198" y="4121271"/>
              <a:ext cx="58087" cy="33429"/>
            </a:xfrm>
            <a:custGeom>
              <a:avLst/>
              <a:gdLst>
                <a:gd name="T0" fmla="*/ 8 w 34"/>
                <a:gd name="T1" fmla="*/ 2 h 20"/>
                <a:gd name="T2" fmla="*/ 8 w 34"/>
                <a:gd name="T3" fmla="*/ 2 h 20"/>
                <a:gd name="T4" fmla="*/ 10 w 34"/>
                <a:gd name="T5" fmla="*/ 0 h 20"/>
                <a:gd name="T6" fmla="*/ 10 w 34"/>
                <a:gd name="T7" fmla="*/ 0 h 20"/>
                <a:gd name="T8" fmla="*/ 12 w 34"/>
                <a:gd name="T9" fmla="*/ 0 h 20"/>
                <a:gd name="T10" fmla="*/ 14 w 34"/>
                <a:gd name="T11" fmla="*/ 0 h 20"/>
                <a:gd name="T12" fmla="*/ 18 w 34"/>
                <a:gd name="T13" fmla="*/ 0 h 20"/>
                <a:gd name="T14" fmla="*/ 20 w 34"/>
                <a:gd name="T15" fmla="*/ 2 h 20"/>
                <a:gd name="T16" fmla="*/ 24 w 34"/>
                <a:gd name="T17" fmla="*/ 2 h 20"/>
                <a:gd name="T18" fmla="*/ 26 w 34"/>
                <a:gd name="T19" fmla="*/ 2 h 20"/>
                <a:gd name="T20" fmla="*/ 28 w 34"/>
                <a:gd name="T21" fmla="*/ 4 h 20"/>
                <a:gd name="T22" fmla="*/ 30 w 34"/>
                <a:gd name="T23" fmla="*/ 4 h 20"/>
                <a:gd name="T24" fmla="*/ 32 w 34"/>
                <a:gd name="T25" fmla="*/ 4 h 20"/>
                <a:gd name="T26" fmla="*/ 32 w 34"/>
                <a:gd name="T27" fmla="*/ 6 h 20"/>
                <a:gd name="T28" fmla="*/ 34 w 34"/>
                <a:gd name="T29" fmla="*/ 6 h 20"/>
                <a:gd name="T30" fmla="*/ 34 w 34"/>
                <a:gd name="T31" fmla="*/ 6 h 20"/>
                <a:gd name="T32" fmla="*/ 34 w 34"/>
                <a:gd name="T33" fmla="*/ 8 h 20"/>
                <a:gd name="T34" fmla="*/ 34 w 34"/>
                <a:gd name="T35" fmla="*/ 8 h 20"/>
                <a:gd name="T36" fmla="*/ 34 w 34"/>
                <a:gd name="T37" fmla="*/ 8 h 20"/>
                <a:gd name="T38" fmla="*/ 34 w 34"/>
                <a:gd name="T39" fmla="*/ 10 h 20"/>
                <a:gd name="T40" fmla="*/ 34 w 34"/>
                <a:gd name="T41" fmla="*/ 12 h 20"/>
                <a:gd name="T42" fmla="*/ 32 w 34"/>
                <a:gd name="T43" fmla="*/ 12 h 20"/>
                <a:gd name="T44" fmla="*/ 32 w 34"/>
                <a:gd name="T45" fmla="*/ 14 h 20"/>
                <a:gd name="T46" fmla="*/ 30 w 34"/>
                <a:gd name="T47" fmla="*/ 16 h 20"/>
                <a:gd name="T48" fmla="*/ 30 w 34"/>
                <a:gd name="T49" fmla="*/ 16 h 20"/>
                <a:gd name="T50" fmla="*/ 30 w 34"/>
                <a:gd name="T51" fmla="*/ 18 h 20"/>
                <a:gd name="T52" fmla="*/ 28 w 34"/>
                <a:gd name="T53" fmla="*/ 18 h 20"/>
                <a:gd name="T54" fmla="*/ 28 w 34"/>
                <a:gd name="T55" fmla="*/ 18 h 20"/>
                <a:gd name="T56" fmla="*/ 26 w 34"/>
                <a:gd name="T57" fmla="*/ 18 h 20"/>
                <a:gd name="T58" fmla="*/ 24 w 34"/>
                <a:gd name="T59" fmla="*/ 18 h 20"/>
                <a:gd name="T60" fmla="*/ 20 w 34"/>
                <a:gd name="T61" fmla="*/ 20 h 20"/>
                <a:gd name="T62" fmla="*/ 18 w 34"/>
                <a:gd name="T63" fmla="*/ 20 h 20"/>
                <a:gd name="T64" fmla="*/ 16 w 34"/>
                <a:gd name="T65" fmla="*/ 18 h 20"/>
                <a:gd name="T66" fmla="*/ 14 w 34"/>
                <a:gd name="T67" fmla="*/ 18 h 20"/>
                <a:gd name="T68" fmla="*/ 12 w 34"/>
                <a:gd name="T69" fmla="*/ 18 h 20"/>
                <a:gd name="T70" fmla="*/ 10 w 34"/>
                <a:gd name="T71" fmla="*/ 18 h 20"/>
                <a:gd name="T72" fmla="*/ 8 w 34"/>
                <a:gd name="T73" fmla="*/ 18 h 20"/>
                <a:gd name="T74" fmla="*/ 8 w 34"/>
                <a:gd name="T75" fmla="*/ 16 h 20"/>
                <a:gd name="T76" fmla="*/ 6 w 34"/>
                <a:gd name="T77" fmla="*/ 16 h 20"/>
                <a:gd name="T78" fmla="*/ 4 w 34"/>
                <a:gd name="T79" fmla="*/ 14 h 20"/>
                <a:gd name="T80" fmla="*/ 2 w 34"/>
                <a:gd name="T81" fmla="*/ 14 h 20"/>
                <a:gd name="T82" fmla="*/ 2 w 34"/>
                <a:gd name="T83" fmla="*/ 12 h 20"/>
                <a:gd name="T84" fmla="*/ 2 w 34"/>
                <a:gd name="T85" fmla="*/ 12 h 20"/>
                <a:gd name="T86" fmla="*/ 0 w 34"/>
                <a:gd name="T87" fmla="*/ 12 h 20"/>
                <a:gd name="T88" fmla="*/ 0 w 34"/>
                <a:gd name="T89" fmla="*/ 10 h 20"/>
                <a:gd name="T90" fmla="*/ 0 w 34"/>
                <a:gd name="T91" fmla="*/ 10 h 20"/>
                <a:gd name="T92" fmla="*/ 0 w 34"/>
                <a:gd name="T93" fmla="*/ 10 h 20"/>
                <a:gd name="T94" fmla="*/ 2 w 34"/>
                <a:gd name="T95" fmla="*/ 8 h 20"/>
                <a:gd name="T96" fmla="*/ 2 w 34"/>
                <a:gd name="T97" fmla="*/ 8 h 20"/>
                <a:gd name="T98" fmla="*/ 4 w 34"/>
                <a:gd name="T99" fmla="*/ 6 h 20"/>
                <a:gd name="T100" fmla="*/ 4 w 34"/>
                <a:gd name="T101" fmla="*/ 4 h 20"/>
                <a:gd name="T102" fmla="*/ 6 w 34"/>
                <a:gd name="T103" fmla="*/ 2 h 20"/>
                <a:gd name="T104" fmla="*/ 8 w 34"/>
                <a:gd name="T105" fmla="*/ 2 h 20"/>
                <a:gd name="T106" fmla="*/ 8 w 34"/>
                <a:gd name="T10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" h="20">
                  <a:moveTo>
                    <a:pt x="8" y="2"/>
                  </a:moveTo>
                  <a:lnTo>
                    <a:pt x="8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0" y="2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4" y="12"/>
                  </a:lnTo>
                  <a:lnTo>
                    <a:pt x="32" y="12"/>
                  </a:lnTo>
                  <a:lnTo>
                    <a:pt x="32" y="14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4" y="18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18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6" y="16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25" name="Freeform 506">
              <a:extLst>
                <a:ext uri="{FF2B5EF4-FFF2-40B4-BE49-F238E27FC236}">
                  <a16:creationId xmlns:a16="http://schemas.microsoft.com/office/drawing/2014/main" id="{1719C8F7-EF68-4844-BB21-71C121697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9790" y="4077812"/>
              <a:ext cx="95672" cy="66860"/>
            </a:xfrm>
            <a:custGeom>
              <a:avLst/>
              <a:gdLst>
                <a:gd name="T0" fmla="*/ 0 w 56"/>
                <a:gd name="T1" fmla="*/ 40 h 40"/>
                <a:gd name="T2" fmla="*/ 4 w 56"/>
                <a:gd name="T3" fmla="*/ 32 h 40"/>
                <a:gd name="T4" fmla="*/ 4 w 56"/>
                <a:gd name="T5" fmla="*/ 28 h 40"/>
                <a:gd name="T6" fmla="*/ 6 w 56"/>
                <a:gd name="T7" fmla="*/ 24 h 40"/>
                <a:gd name="T8" fmla="*/ 6 w 56"/>
                <a:gd name="T9" fmla="*/ 18 h 40"/>
                <a:gd name="T10" fmla="*/ 4 w 56"/>
                <a:gd name="T11" fmla="*/ 8 h 40"/>
                <a:gd name="T12" fmla="*/ 6 w 56"/>
                <a:gd name="T13" fmla="*/ 0 h 40"/>
                <a:gd name="T14" fmla="*/ 12 w 56"/>
                <a:gd name="T15" fmla="*/ 2 h 40"/>
                <a:gd name="T16" fmla="*/ 16 w 56"/>
                <a:gd name="T17" fmla="*/ 2 h 40"/>
                <a:gd name="T18" fmla="*/ 18 w 56"/>
                <a:gd name="T19" fmla="*/ 4 h 40"/>
                <a:gd name="T20" fmla="*/ 20 w 56"/>
                <a:gd name="T21" fmla="*/ 6 h 40"/>
                <a:gd name="T22" fmla="*/ 22 w 56"/>
                <a:gd name="T23" fmla="*/ 8 h 40"/>
                <a:gd name="T24" fmla="*/ 24 w 56"/>
                <a:gd name="T25" fmla="*/ 10 h 40"/>
                <a:gd name="T26" fmla="*/ 28 w 56"/>
                <a:gd name="T27" fmla="*/ 12 h 40"/>
                <a:gd name="T28" fmla="*/ 30 w 56"/>
                <a:gd name="T29" fmla="*/ 12 h 40"/>
                <a:gd name="T30" fmla="*/ 32 w 56"/>
                <a:gd name="T31" fmla="*/ 12 h 40"/>
                <a:gd name="T32" fmla="*/ 36 w 56"/>
                <a:gd name="T33" fmla="*/ 12 h 40"/>
                <a:gd name="T34" fmla="*/ 36 w 56"/>
                <a:gd name="T35" fmla="*/ 12 h 40"/>
                <a:gd name="T36" fmla="*/ 36 w 56"/>
                <a:gd name="T37" fmla="*/ 14 h 40"/>
                <a:gd name="T38" fmla="*/ 38 w 56"/>
                <a:gd name="T39" fmla="*/ 16 h 40"/>
                <a:gd name="T40" fmla="*/ 38 w 56"/>
                <a:gd name="T41" fmla="*/ 20 h 40"/>
                <a:gd name="T42" fmla="*/ 38 w 56"/>
                <a:gd name="T43" fmla="*/ 22 h 40"/>
                <a:gd name="T44" fmla="*/ 42 w 56"/>
                <a:gd name="T45" fmla="*/ 22 h 40"/>
                <a:gd name="T46" fmla="*/ 46 w 56"/>
                <a:gd name="T47" fmla="*/ 24 h 40"/>
                <a:gd name="T48" fmla="*/ 52 w 56"/>
                <a:gd name="T49" fmla="*/ 28 h 40"/>
                <a:gd name="T50" fmla="*/ 54 w 56"/>
                <a:gd name="T51" fmla="*/ 30 h 40"/>
                <a:gd name="T52" fmla="*/ 56 w 56"/>
                <a:gd name="T53" fmla="*/ 30 h 40"/>
                <a:gd name="T54" fmla="*/ 56 w 56"/>
                <a:gd name="T55" fmla="*/ 32 h 40"/>
                <a:gd name="T56" fmla="*/ 56 w 56"/>
                <a:gd name="T57" fmla="*/ 34 h 40"/>
                <a:gd name="T58" fmla="*/ 54 w 56"/>
                <a:gd name="T59" fmla="*/ 36 h 40"/>
                <a:gd name="T60" fmla="*/ 52 w 56"/>
                <a:gd name="T61" fmla="*/ 38 h 40"/>
                <a:gd name="T62" fmla="*/ 50 w 56"/>
                <a:gd name="T63" fmla="*/ 38 h 40"/>
                <a:gd name="T64" fmla="*/ 46 w 56"/>
                <a:gd name="T65" fmla="*/ 38 h 40"/>
                <a:gd name="T66" fmla="*/ 38 w 56"/>
                <a:gd name="T67" fmla="*/ 38 h 40"/>
                <a:gd name="T68" fmla="*/ 28 w 56"/>
                <a:gd name="T69" fmla="*/ 38 h 40"/>
                <a:gd name="T70" fmla="*/ 20 w 56"/>
                <a:gd name="T71" fmla="*/ 38 h 40"/>
                <a:gd name="T72" fmla="*/ 14 w 56"/>
                <a:gd name="T73" fmla="*/ 38 h 40"/>
                <a:gd name="T74" fmla="*/ 0 w 56"/>
                <a:gd name="T7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6" h="40">
                  <a:moveTo>
                    <a:pt x="0" y="40"/>
                  </a:moveTo>
                  <a:lnTo>
                    <a:pt x="0" y="40"/>
                  </a:lnTo>
                  <a:lnTo>
                    <a:pt x="2" y="36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4" y="28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6" y="22"/>
                  </a:lnTo>
                  <a:lnTo>
                    <a:pt x="6" y="18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6" y="10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2" y="12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2" y="22"/>
                  </a:lnTo>
                  <a:lnTo>
                    <a:pt x="44" y="24"/>
                  </a:lnTo>
                  <a:lnTo>
                    <a:pt x="46" y="24"/>
                  </a:lnTo>
                  <a:lnTo>
                    <a:pt x="48" y="26"/>
                  </a:lnTo>
                  <a:lnTo>
                    <a:pt x="52" y="28"/>
                  </a:lnTo>
                  <a:lnTo>
                    <a:pt x="54" y="28"/>
                  </a:lnTo>
                  <a:lnTo>
                    <a:pt x="54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54" y="34"/>
                  </a:lnTo>
                  <a:lnTo>
                    <a:pt x="54" y="36"/>
                  </a:lnTo>
                  <a:lnTo>
                    <a:pt x="52" y="36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6" y="38"/>
                  </a:lnTo>
                  <a:lnTo>
                    <a:pt x="42" y="38"/>
                  </a:lnTo>
                  <a:lnTo>
                    <a:pt x="38" y="38"/>
                  </a:lnTo>
                  <a:lnTo>
                    <a:pt x="34" y="38"/>
                  </a:lnTo>
                  <a:lnTo>
                    <a:pt x="28" y="38"/>
                  </a:lnTo>
                  <a:lnTo>
                    <a:pt x="22" y="38"/>
                  </a:lnTo>
                  <a:lnTo>
                    <a:pt x="20" y="38"/>
                  </a:lnTo>
                  <a:lnTo>
                    <a:pt x="18" y="38"/>
                  </a:lnTo>
                  <a:lnTo>
                    <a:pt x="14" y="38"/>
                  </a:lnTo>
                  <a:lnTo>
                    <a:pt x="8" y="38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26" name="Freeform 508">
              <a:extLst>
                <a:ext uri="{FF2B5EF4-FFF2-40B4-BE49-F238E27FC236}">
                  <a16:creationId xmlns:a16="http://schemas.microsoft.com/office/drawing/2014/main" id="{409DE6AF-9353-4FDB-93B3-BC22EBF85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2548" y="4121271"/>
              <a:ext cx="41003" cy="26744"/>
            </a:xfrm>
            <a:custGeom>
              <a:avLst/>
              <a:gdLst>
                <a:gd name="T0" fmla="*/ 8 w 24"/>
                <a:gd name="T1" fmla="*/ 2 h 16"/>
                <a:gd name="T2" fmla="*/ 8 w 24"/>
                <a:gd name="T3" fmla="*/ 2 h 16"/>
                <a:gd name="T4" fmla="*/ 6 w 24"/>
                <a:gd name="T5" fmla="*/ 4 h 16"/>
                <a:gd name="T6" fmla="*/ 2 w 24"/>
                <a:gd name="T7" fmla="*/ 4 h 16"/>
                <a:gd name="T8" fmla="*/ 2 w 24"/>
                <a:gd name="T9" fmla="*/ 6 h 16"/>
                <a:gd name="T10" fmla="*/ 0 w 24"/>
                <a:gd name="T11" fmla="*/ 6 h 16"/>
                <a:gd name="T12" fmla="*/ 0 w 24"/>
                <a:gd name="T13" fmla="*/ 8 h 16"/>
                <a:gd name="T14" fmla="*/ 0 w 24"/>
                <a:gd name="T15" fmla="*/ 8 h 16"/>
                <a:gd name="T16" fmla="*/ 0 w 24"/>
                <a:gd name="T17" fmla="*/ 8 h 16"/>
                <a:gd name="T18" fmla="*/ 0 w 24"/>
                <a:gd name="T19" fmla="*/ 8 h 16"/>
                <a:gd name="T20" fmla="*/ 0 w 24"/>
                <a:gd name="T21" fmla="*/ 10 h 16"/>
                <a:gd name="T22" fmla="*/ 0 w 24"/>
                <a:gd name="T23" fmla="*/ 10 h 16"/>
                <a:gd name="T24" fmla="*/ 2 w 24"/>
                <a:gd name="T25" fmla="*/ 10 h 16"/>
                <a:gd name="T26" fmla="*/ 4 w 24"/>
                <a:gd name="T27" fmla="*/ 12 h 16"/>
                <a:gd name="T28" fmla="*/ 6 w 24"/>
                <a:gd name="T29" fmla="*/ 12 h 16"/>
                <a:gd name="T30" fmla="*/ 8 w 24"/>
                <a:gd name="T31" fmla="*/ 14 h 16"/>
                <a:gd name="T32" fmla="*/ 10 w 24"/>
                <a:gd name="T33" fmla="*/ 14 h 16"/>
                <a:gd name="T34" fmla="*/ 12 w 24"/>
                <a:gd name="T35" fmla="*/ 16 h 16"/>
                <a:gd name="T36" fmla="*/ 12 w 24"/>
                <a:gd name="T37" fmla="*/ 16 h 16"/>
                <a:gd name="T38" fmla="*/ 14 w 24"/>
                <a:gd name="T39" fmla="*/ 16 h 16"/>
                <a:gd name="T40" fmla="*/ 14 w 24"/>
                <a:gd name="T41" fmla="*/ 16 h 16"/>
                <a:gd name="T42" fmla="*/ 16 w 24"/>
                <a:gd name="T43" fmla="*/ 16 h 16"/>
                <a:gd name="T44" fmla="*/ 16 w 24"/>
                <a:gd name="T45" fmla="*/ 16 h 16"/>
                <a:gd name="T46" fmla="*/ 18 w 24"/>
                <a:gd name="T47" fmla="*/ 16 h 16"/>
                <a:gd name="T48" fmla="*/ 20 w 24"/>
                <a:gd name="T49" fmla="*/ 14 h 16"/>
                <a:gd name="T50" fmla="*/ 20 w 24"/>
                <a:gd name="T51" fmla="*/ 14 h 16"/>
                <a:gd name="T52" fmla="*/ 22 w 24"/>
                <a:gd name="T53" fmla="*/ 14 h 16"/>
                <a:gd name="T54" fmla="*/ 22 w 24"/>
                <a:gd name="T55" fmla="*/ 12 h 16"/>
                <a:gd name="T56" fmla="*/ 22 w 24"/>
                <a:gd name="T57" fmla="*/ 12 h 16"/>
                <a:gd name="T58" fmla="*/ 24 w 24"/>
                <a:gd name="T59" fmla="*/ 10 h 16"/>
                <a:gd name="T60" fmla="*/ 24 w 24"/>
                <a:gd name="T61" fmla="*/ 10 h 16"/>
                <a:gd name="T62" fmla="*/ 24 w 24"/>
                <a:gd name="T63" fmla="*/ 8 h 16"/>
                <a:gd name="T64" fmla="*/ 24 w 24"/>
                <a:gd name="T65" fmla="*/ 6 h 16"/>
                <a:gd name="T66" fmla="*/ 24 w 24"/>
                <a:gd name="T67" fmla="*/ 4 h 16"/>
                <a:gd name="T68" fmla="*/ 24 w 24"/>
                <a:gd name="T69" fmla="*/ 4 h 16"/>
                <a:gd name="T70" fmla="*/ 22 w 24"/>
                <a:gd name="T71" fmla="*/ 2 h 16"/>
                <a:gd name="T72" fmla="*/ 22 w 24"/>
                <a:gd name="T73" fmla="*/ 2 h 16"/>
                <a:gd name="T74" fmla="*/ 22 w 24"/>
                <a:gd name="T75" fmla="*/ 2 h 16"/>
                <a:gd name="T76" fmla="*/ 22 w 24"/>
                <a:gd name="T77" fmla="*/ 0 h 16"/>
                <a:gd name="T78" fmla="*/ 22 w 24"/>
                <a:gd name="T79" fmla="*/ 0 h 16"/>
                <a:gd name="T80" fmla="*/ 20 w 24"/>
                <a:gd name="T81" fmla="*/ 0 h 16"/>
                <a:gd name="T82" fmla="*/ 20 w 24"/>
                <a:gd name="T83" fmla="*/ 0 h 16"/>
                <a:gd name="T84" fmla="*/ 18 w 24"/>
                <a:gd name="T85" fmla="*/ 0 h 16"/>
                <a:gd name="T86" fmla="*/ 16 w 24"/>
                <a:gd name="T87" fmla="*/ 0 h 16"/>
                <a:gd name="T88" fmla="*/ 14 w 24"/>
                <a:gd name="T89" fmla="*/ 0 h 16"/>
                <a:gd name="T90" fmla="*/ 12 w 24"/>
                <a:gd name="T91" fmla="*/ 2 h 16"/>
                <a:gd name="T92" fmla="*/ 8 w 24"/>
                <a:gd name="T9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" h="16">
                  <a:moveTo>
                    <a:pt x="8" y="2"/>
                  </a:moveTo>
                  <a:lnTo>
                    <a:pt x="8" y="2"/>
                  </a:lnTo>
                  <a:lnTo>
                    <a:pt x="6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8"/>
                  </a:lnTo>
                  <a:lnTo>
                    <a:pt x="24" y="6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27" name="Freeform 510">
              <a:extLst>
                <a:ext uri="{FF2B5EF4-FFF2-40B4-BE49-F238E27FC236}">
                  <a16:creationId xmlns:a16="http://schemas.microsoft.com/office/drawing/2014/main" id="{1C24FC3A-8147-4510-A025-A52A1B7D2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8538" y="4298450"/>
              <a:ext cx="328018" cy="324271"/>
            </a:xfrm>
            <a:custGeom>
              <a:avLst/>
              <a:gdLst>
                <a:gd name="T0" fmla="*/ 16 w 192"/>
                <a:gd name="T1" fmla="*/ 20 h 194"/>
                <a:gd name="T2" fmla="*/ 12 w 192"/>
                <a:gd name="T3" fmla="*/ 38 h 194"/>
                <a:gd name="T4" fmla="*/ 8 w 192"/>
                <a:gd name="T5" fmla="*/ 46 h 194"/>
                <a:gd name="T6" fmla="*/ 0 w 192"/>
                <a:gd name="T7" fmla="*/ 50 h 194"/>
                <a:gd name="T8" fmla="*/ 6 w 192"/>
                <a:gd name="T9" fmla="*/ 58 h 194"/>
                <a:gd name="T10" fmla="*/ 12 w 192"/>
                <a:gd name="T11" fmla="*/ 68 h 194"/>
                <a:gd name="T12" fmla="*/ 8 w 192"/>
                <a:gd name="T13" fmla="*/ 82 h 194"/>
                <a:gd name="T14" fmla="*/ 10 w 192"/>
                <a:gd name="T15" fmla="*/ 86 h 194"/>
                <a:gd name="T16" fmla="*/ 28 w 192"/>
                <a:gd name="T17" fmla="*/ 84 h 194"/>
                <a:gd name="T18" fmla="*/ 36 w 192"/>
                <a:gd name="T19" fmla="*/ 86 h 194"/>
                <a:gd name="T20" fmla="*/ 36 w 192"/>
                <a:gd name="T21" fmla="*/ 96 h 194"/>
                <a:gd name="T22" fmla="*/ 44 w 192"/>
                <a:gd name="T23" fmla="*/ 100 h 194"/>
                <a:gd name="T24" fmla="*/ 70 w 192"/>
                <a:gd name="T25" fmla="*/ 108 h 194"/>
                <a:gd name="T26" fmla="*/ 82 w 192"/>
                <a:gd name="T27" fmla="*/ 114 h 194"/>
                <a:gd name="T28" fmla="*/ 82 w 192"/>
                <a:gd name="T29" fmla="*/ 132 h 194"/>
                <a:gd name="T30" fmla="*/ 76 w 192"/>
                <a:gd name="T31" fmla="*/ 158 h 194"/>
                <a:gd name="T32" fmla="*/ 86 w 192"/>
                <a:gd name="T33" fmla="*/ 176 h 194"/>
                <a:gd name="T34" fmla="*/ 94 w 192"/>
                <a:gd name="T35" fmla="*/ 186 h 194"/>
                <a:gd name="T36" fmla="*/ 106 w 192"/>
                <a:gd name="T37" fmla="*/ 194 h 194"/>
                <a:gd name="T38" fmla="*/ 120 w 192"/>
                <a:gd name="T39" fmla="*/ 192 h 194"/>
                <a:gd name="T40" fmla="*/ 132 w 192"/>
                <a:gd name="T41" fmla="*/ 184 h 194"/>
                <a:gd name="T42" fmla="*/ 134 w 192"/>
                <a:gd name="T43" fmla="*/ 174 h 194"/>
                <a:gd name="T44" fmla="*/ 130 w 192"/>
                <a:gd name="T45" fmla="*/ 168 h 194"/>
                <a:gd name="T46" fmla="*/ 122 w 192"/>
                <a:gd name="T47" fmla="*/ 164 h 194"/>
                <a:gd name="T48" fmla="*/ 122 w 192"/>
                <a:gd name="T49" fmla="*/ 146 h 194"/>
                <a:gd name="T50" fmla="*/ 130 w 192"/>
                <a:gd name="T51" fmla="*/ 140 h 194"/>
                <a:gd name="T52" fmla="*/ 136 w 192"/>
                <a:gd name="T53" fmla="*/ 144 h 194"/>
                <a:gd name="T54" fmla="*/ 144 w 192"/>
                <a:gd name="T55" fmla="*/ 152 h 194"/>
                <a:gd name="T56" fmla="*/ 150 w 192"/>
                <a:gd name="T57" fmla="*/ 146 h 194"/>
                <a:gd name="T58" fmla="*/ 164 w 192"/>
                <a:gd name="T59" fmla="*/ 146 h 194"/>
                <a:gd name="T60" fmla="*/ 178 w 192"/>
                <a:gd name="T61" fmla="*/ 144 h 194"/>
                <a:gd name="T62" fmla="*/ 182 w 192"/>
                <a:gd name="T63" fmla="*/ 130 h 194"/>
                <a:gd name="T64" fmla="*/ 176 w 192"/>
                <a:gd name="T65" fmla="*/ 118 h 194"/>
                <a:gd name="T66" fmla="*/ 174 w 192"/>
                <a:gd name="T67" fmla="*/ 106 h 194"/>
                <a:gd name="T68" fmla="*/ 182 w 192"/>
                <a:gd name="T69" fmla="*/ 94 h 194"/>
                <a:gd name="T70" fmla="*/ 186 w 192"/>
                <a:gd name="T71" fmla="*/ 86 h 194"/>
                <a:gd name="T72" fmla="*/ 192 w 192"/>
                <a:gd name="T73" fmla="*/ 78 h 194"/>
                <a:gd name="T74" fmla="*/ 190 w 192"/>
                <a:gd name="T75" fmla="*/ 64 h 194"/>
                <a:gd name="T76" fmla="*/ 184 w 192"/>
                <a:gd name="T77" fmla="*/ 54 h 194"/>
                <a:gd name="T78" fmla="*/ 176 w 192"/>
                <a:gd name="T79" fmla="*/ 44 h 194"/>
                <a:gd name="T80" fmla="*/ 176 w 192"/>
                <a:gd name="T81" fmla="*/ 38 h 194"/>
                <a:gd name="T82" fmla="*/ 178 w 192"/>
                <a:gd name="T83" fmla="*/ 30 h 194"/>
                <a:gd name="T84" fmla="*/ 174 w 192"/>
                <a:gd name="T85" fmla="*/ 26 h 194"/>
                <a:gd name="T86" fmla="*/ 156 w 192"/>
                <a:gd name="T87" fmla="*/ 28 h 194"/>
                <a:gd name="T88" fmla="*/ 138 w 192"/>
                <a:gd name="T89" fmla="*/ 32 h 194"/>
                <a:gd name="T90" fmla="*/ 128 w 192"/>
                <a:gd name="T91" fmla="*/ 38 h 194"/>
                <a:gd name="T92" fmla="*/ 116 w 192"/>
                <a:gd name="T93" fmla="*/ 36 h 194"/>
                <a:gd name="T94" fmla="*/ 92 w 192"/>
                <a:gd name="T95" fmla="*/ 36 h 194"/>
                <a:gd name="T96" fmla="*/ 86 w 192"/>
                <a:gd name="T97" fmla="*/ 32 h 194"/>
                <a:gd name="T98" fmla="*/ 80 w 192"/>
                <a:gd name="T99" fmla="*/ 24 h 194"/>
                <a:gd name="T100" fmla="*/ 64 w 192"/>
                <a:gd name="T101" fmla="*/ 20 h 194"/>
                <a:gd name="T102" fmla="*/ 60 w 192"/>
                <a:gd name="T103" fmla="*/ 10 h 194"/>
                <a:gd name="T104" fmla="*/ 50 w 192"/>
                <a:gd name="T105" fmla="*/ 8 h 194"/>
                <a:gd name="T106" fmla="*/ 50 w 192"/>
                <a:gd name="T107" fmla="*/ 2 h 194"/>
                <a:gd name="T108" fmla="*/ 48 w 192"/>
                <a:gd name="T109" fmla="*/ 2 h 194"/>
                <a:gd name="T110" fmla="*/ 42 w 192"/>
                <a:gd name="T111" fmla="*/ 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2" h="194">
                  <a:moveTo>
                    <a:pt x="28" y="6"/>
                  </a:moveTo>
                  <a:lnTo>
                    <a:pt x="28" y="6"/>
                  </a:lnTo>
                  <a:lnTo>
                    <a:pt x="26" y="8"/>
                  </a:lnTo>
                  <a:lnTo>
                    <a:pt x="24" y="12"/>
                  </a:lnTo>
                  <a:lnTo>
                    <a:pt x="20" y="16"/>
                  </a:lnTo>
                  <a:lnTo>
                    <a:pt x="18" y="18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2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4" y="32"/>
                  </a:lnTo>
                  <a:lnTo>
                    <a:pt x="12" y="36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2" y="42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6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54"/>
                  </a:lnTo>
                  <a:lnTo>
                    <a:pt x="2" y="56"/>
                  </a:lnTo>
                  <a:lnTo>
                    <a:pt x="4" y="56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4"/>
                  </a:lnTo>
                  <a:lnTo>
                    <a:pt x="12" y="64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2"/>
                  </a:lnTo>
                  <a:lnTo>
                    <a:pt x="12" y="74"/>
                  </a:lnTo>
                  <a:lnTo>
                    <a:pt x="10" y="76"/>
                  </a:lnTo>
                  <a:lnTo>
                    <a:pt x="10" y="78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4" y="86"/>
                  </a:lnTo>
                  <a:lnTo>
                    <a:pt x="16" y="86"/>
                  </a:lnTo>
                  <a:lnTo>
                    <a:pt x="18" y="86"/>
                  </a:lnTo>
                  <a:lnTo>
                    <a:pt x="22" y="86"/>
                  </a:lnTo>
                  <a:lnTo>
                    <a:pt x="26" y="86"/>
                  </a:lnTo>
                  <a:lnTo>
                    <a:pt x="28" y="84"/>
                  </a:lnTo>
                  <a:lnTo>
                    <a:pt x="30" y="84"/>
                  </a:lnTo>
                  <a:lnTo>
                    <a:pt x="32" y="84"/>
                  </a:lnTo>
                  <a:lnTo>
                    <a:pt x="34" y="84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90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4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40" y="98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6" y="102"/>
                  </a:lnTo>
                  <a:lnTo>
                    <a:pt x="50" y="104"/>
                  </a:lnTo>
                  <a:lnTo>
                    <a:pt x="52" y="104"/>
                  </a:lnTo>
                  <a:lnTo>
                    <a:pt x="58" y="106"/>
                  </a:lnTo>
                  <a:lnTo>
                    <a:pt x="60" y="106"/>
                  </a:lnTo>
                  <a:lnTo>
                    <a:pt x="64" y="108"/>
                  </a:lnTo>
                  <a:lnTo>
                    <a:pt x="70" y="108"/>
                  </a:lnTo>
                  <a:lnTo>
                    <a:pt x="74" y="110"/>
                  </a:lnTo>
                  <a:lnTo>
                    <a:pt x="76" y="110"/>
                  </a:lnTo>
                  <a:lnTo>
                    <a:pt x="78" y="112"/>
                  </a:lnTo>
                  <a:lnTo>
                    <a:pt x="80" y="112"/>
                  </a:lnTo>
                  <a:lnTo>
                    <a:pt x="80" y="112"/>
                  </a:lnTo>
                  <a:lnTo>
                    <a:pt x="80" y="114"/>
                  </a:lnTo>
                  <a:lnTo>
                    <a:pt x="82" y="114"/>
                  </a:lnTo>
                  <a:lnTo>
                    <a:pt x="82" y="116"/>
                  </a:lnTo>
                  <a:lnTo>
                    <a:pt x="82" y="118"/>
                  </a:lnTo>
                  <a:lnTo>
                    <a:pt x="82" y="120"/>
                  </a:lnTo>
                  <a:lnTo>
                    <a:pt x="84" y="122"/>
                  </a:lnTo>
                  <a:lnTo>
                    <a:pt x="84" y="124"/>
                  </a:lnTo>
                  <a:lnTo>
                    <a:pt x="82" y="128"/>
                  </a:lnTo>
                  <a:lnTo>
                    <a:pt x="82" y="132"/>
                  </a:lnTo>
                  <a:lnTo>
                    <a:pt x="82" y="136"/>
                  </a:lnTo>
                  <a:lnTo>
                    <a:pt x="80" y="142"/>
                  </a:lnTo>
                  <a:lnTo>
                    <a:pt x="80" y="144"/>
                  </a:lnTo>
                  <a:lnTo>
                    <a:pt x="80" y="146"/>
                  </a:lnTo>
                  <a:lnTo>
                    <a:pt x="78" y="152"/>
                  </a:lnTo>
                  <a:lnTo>
                    <a:pt x="76" y="156"/>
                  </a:lnTo>
                  <a:lnTo>
                    <a:pt x="76" y="158"/>
                  </a:lnTo>
                  <a:lnTo>
                    <a:pt x="76" y="160"/>
                  </a:lnTo>
                  <a:lnTo>
                    <a:pt x="76" y="162"/>
                  </a:lnTo>
                  <a:lnTo>
                    <a:pt x="76" y="164"/>
                  </a:lnTo>
                  <a:lnTo>
                    <a:pt x="78" y="168"/>
                  </a:lnTo>
                  <a:lnTo>
                    <a:pt x="78" y="174"/>
                  </a:lnTo>
                  <a:lnTo>
                    <a:pt x="82" y="176"/>
                  </a:lnTo>
                  <a:lnTo>
                    <a:pt x="86" y="176"/>
                  </a:lnTo>
                  <a:lnTo>
                    <a:pt x="86" y="178"/>
                  </a:lnTo>
                  <a:lnTo>
                    <a:pt x="88" y="178"/>
                  </a:lnTo>
                  <a:lnTo>
                    <a:pt x="88" y="178"/>
                  </a:lnTo>
                  <a:lnTo>
                    <a:pt x="90" y="180"/>
                  </a:lnTo>
                  <a:lnTo>
                    <a:pt x="92" y="182"/>
                  </a:lnTo>
                  <a:lnTo>
                    <a:pt x="94" y="186"/>
                  </a:lnTo>
                  <a:lnTo>
                    <a:pt x="94" y="186"/>
                  </a:lnTo>
                  <a:lnTo>
                    <a:pt x="96" y="188"/>
                  </a:lnTo>
                  <a:lnTo>
                    <a:pt x="96" y="188"/>
                  </a:lnTo>
                  <a:lnTo>
                    <a:pt x="98" y="190"/>
                  </a:lnTo>
                  <a:lnTo>
                    <a:pt x="100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0" y="194"/>
                  </a:lnTo>
                  <a:lnTo>
                    <a:pt x="112" y="194"/>
                  </a:lnTo>
                  <a:lnTo>
                    <a:pt x="114" y="194"/>
                  </a:lnTo>
                  <a:lnTo>
                    <a:pt x="116" y="192"/>
                  </a:lnTo>
                  <a:lnTo>
                    <a:pt x="118" y="192"/>
                  </a:lnTo>
                  <a:lnTo>
                    <a:pt x="120" y="192"/>
                  </a:lnTo>
                  <a:lnTo>
                    <a:pt x="122" y="192"/>
                  </a:lnTo>
                  <a:lnTo>
                    <a:pt x="122" y="190"/>
                  </a:lnTo>
                  <a:lnTo>
                    <a:pt x="124" y="190"/>
                  </a:lnTo>
                  <a:lnTo>
                    <a:pt x="126" y="188"/>
                  </a:lnTo>
                  <a:lnTo>
                    <a:pt x="128" y="188"/>
                  </a:lnTo>
                  <a:lnTo>
                    <a:pt x="130" y="186"/>
                  </a:lnTo>
                  <a:lnTo>
                    <a:pt x="132" y="184"/>
                  </a:lnTo>
                  <a:lnTo>
                    <a:pt x="134" y="182"/>
                  </a:lnTo>
                  <a:lnTo>
                    <a:pt x="134" y="182"/>
                  </a:lnTo>
                  <a:lnTo>
                    <a:pt x="134" y="180"/>
                  </a:lnTo>
                  <a:lnTo>
                    <a:pt x="134" y="178"/>
                  </a:lnTo>
                  <a:lnTo>
                    <a:pt x="134" y="178"/>
                  </a:lnTo>
                  <a:lnTo>
                    <a:pt x="134" y="176"/>
                  </a:lnTo>
                  <a:lnTo>
                    <a:pt x="134" y="174"/>
                  </a:lnTo>
                  <a:lnTo>
                    <a:pt x="134" y="172"/>
                  </a:lnTo>
                  <a:lnTo>
                    <a:pt x="134" y="172"/>
                  </a:lnTo>
                  <a:lnTo>
                    <a:pt x="134" y="170"/>
                  </a:lnTo>
                  <a:lnTo>
                    <a:pt x="134" y="170"/>
                  </a:lnTo>
                  <a:lnTo>
                    <a:pt x="132" y="170"/>
                  </a:lnTo>
                  <a:lnTo>
                    <a:pt x="132" y="168"/>
                  </a:lnTo>
                  <a:lnTo>
                    <a:pt x="130" y="168"/>
                  </a:lnTo>
                  <a:lnTo>
                    <a:pt x="128" y="168"/>
                  </a:lnTo>
                  <a:lnTo>
                    <a:pt x="126" y="166"/>
                  </a:lnTo>
                  <a:lnTo>
                    <a:pt x="126" y="166"/>
                  </a:lnTo>
                  <a:lnTo>
                    <a:pt x="124" y="166"/>
                  </a:lnTo>
                  <a:lnTo>
                    <a:pt x="124" y="164"/>
                  </a:lnTo>
                  <a:lnTo>
                    <a:pt x="124" y="164"/>
                  </a:lnTo>
                  <a:lnTo>
                    <a:pt x="122" y="164"/>
                  </a:lnTo>
                  <a:lnTo>
                    <a:pt x="122" y="162"/>
                  </a:lnTo>
                  <a:lnTo>
                    <a:pt x="122" y="160"/>
                  </a:lnTo>
                  <a:lnTo>
                    <a:pt x="122" y="158"/>
                  </a:lnTo>
                  <a:lnTo>
                    <a:pt x="122" y="156"/>
                  </a:lnTo>
                  <a:lnTo>
                    <a:pt x="122" y="152"/>
                  </a:lnTo>
                  <a:lnTo>
                    <a:pt x="122" y="148"/>
                  </a:lnTo>
                  <a:lnTo>
                    <a:pt x="122" y="146"/>
                  </a:lnTo>
                  <a:lnTo>
                    <a:pt x="124" y="146"/>
                  </a:lnTo>
                  <a:lnTo>
                    <a:pt x="124" y="144"/>
                  </a:lnTo>
                  <a:lnTo>
                    <a:pt x="124" y="142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8" y="140"/>
                  </a:lnTo>
                  <a:lnTo>
                    <a:pt x="130" y="140"/>
                  </a:lnTo>
                  <a:lnTo>
                    <a:pt x="130" y="140"/>
                  </a:lnTo>
                  <a:lnTo>
                    <a:pt x="130" y="140"/>
                  </a:lnTo>
                  <a:lnTo>
                    <a:pt x="132" y="140"/>
                  </a:lnTo>
                  <a:lnTo>
                    <a:pt x="132" y="140"/>
                  </a:lnTo>
                  <a:lnTo>
                    <a:pt x="134" y="142"/>
                  </a:lnTo>
                  <a:lnTo>
                    <a:pt x="134" y="142"/>
                  </a:lnTo>
                  <a:lnTo>
                    <a:pt x="136" y="144"/>
                  </a:lnTo>
                  <a:lnTo>
                    <a:pt x="138" y="146"/>
                  </a:lnTo>
                  <a:lnTo>
                    <a:pt x="138" y="148"/>
                  </a:lnTo>
                  <a:lnTo>
                    <a:pt x="140" y="150"/>
                  </a:lnTo>
                  <a:lnTo>
                    <a:pt x="142" y="150"/>
                  </a:lnTo>
                  <a:lnTo>
                    <a:pt x="142" y="150"/>
                  </a:lnTo>
                  <a:lnTo>
                    <a:pt x="142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146" y="150"/>
                  </a:lnTo>
                  <a:lnTo>
                    <a:pt x="146" y="150"/>
                  </a:lnTo>
                  <a:lnTo>
                    <a:pt x="148" y="148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52" y="146"/>
                  </a:lnTo>
                  <a:lnTo>
                    <a:pt x="154" y="146"/>
                  </a:lnTo>
                  <a:lnTo>
                    <a:pt x="154" y="146"/>
                  </a:lnTo>
                  <a:lnTo>
                    <a:pt x="156" y="146"/>
                  </a:lnTo>
                  <a:lnTo>
                    <a:pt x="158" y="146"/>
                  </a:lnTo>
                  <a:lnTo>
                    <a:pt x="162" y="146"/>
                  </a:lnTo>
                  <a:lnTo>
                    <a:pt x="164" y="146"/>
                  </a:lnTo>
                  <a:lnTo>
                    <a:pt x="168" y="146"/>
                  </a:lnTo>
                  <a:lnTo>
                    <a:pt x="172" y="146"/>
                  </a:lnTo>
                  <a:lnTo>
                    <a:pt x="174" y="146"/>
                  </a:lnTo>
                  <a:lnTo>
                    <a:pt x="174" y="146"/>
                  </a:lnTo>
                  <a:lnTo>
                    <a:pt x="176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8" y="142"/>
                  </a:lnTo>
                  <a:lnTo>
                    <a:pt x="180" y="140"/>
                  </a:lnTo>
                  <a:lnTo>
                    <a:pt x="180" y="138"/>
                  </a:lnTo>
                  <a:lnTo>
                    <a:pt x="182" y="136"/>
                  </a:lnTo>
                  <a:lnTo>
                    <a:pt x="182" y="134"/>
                  </a:lnTo>
                  <a:lnTo>
                    <a:pt x="182" y="130"/>
                  </a:lnTo>
                  <a:lnTo>
                    <a:pt x="182" y="126"/>
                  </a:lnTo>
                  <a:lnTo>
                    <a:pt x="182" y="126"/>
                  </a:lnTo>
                  <a:lnTo>
                    <a:pt x="180" y="124"/>
                  </a:lnTo>
                  <a:lnTo>
                    <a:pt x="180" y="124"/>
                  </a:lnTo>
                  <a:lnTo>
                    <a:pt x="180" y="122"/>
                  </a:lnTo>
                  <a:lnTo>
                    <a:pt x="178" y="120"/>
                  </a:lnTo>
                  <a:lnTo>
                    <a:pt x="176" y="118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4" y="114"/>
                  </a:lnTo>
                  <a:lnTo>
                    <a:pt x="174" y="112"/>
                  </a:lnTo>
                  <a:lnTo>
                    <a:pt x="174" y="110"/>
                  </a:lnTo>
                  <a:lnTo>
                    <a:pt x="174" y="108"/>
                  </a:lnTo>
                  <a:lnTo>
                    <a:pt x="174" y="106"/>
                  </a:lnTo>
                  <a:lnTo>
                    <a:pt x="174" y="104"/>
                  </a:lnTo>
                  <a:lnTo>
                    <a:pt x="174" y="102"/>
                  </a:lnTo>
                  <a:lnTo>
                    <a:pt x="176" y="102"/>
                  </a:lnTo>
                  <a:lnTo>
                    <a:pt x="176" y="100"/>
                  </a:lnTo>
                  <a:lnTo>
                    <a:pt x="176" y="100"/>
                  </a:lnTo>
                  <a:lnTo>
                    <a:pt x="180" y="98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4" y="92"/>
                  </a:lnTo>
                  <a:lnTo>
                    <a:pt x="184" y="92"/>
                  </a:lnTo>
                  <a:lnTo>
                    <a:pt x="184" y="92"/>
                  </a:lnTo>
                  <a:lnTo>
                    <a:pt x="184" y="90"/>
                  </a:lnTo>
                  <a:lnTo>
                    <a:pt x="186" y="88"/>
                  </a:lnTo>
                  <a:lnTo>
                    <a:pt x="186" y="86"/>
                  </a:lnTo>
                  <a:lnTo>
                    <a:pt x="186" y="84"/>
                  </a:lnTo>
                  <a:lnTo>
                    <a:pt x="188" y="84"/>
                  </a:lnTo>
                  <a:lnTo>
                    <a:pt x="190" y="82"/>
                  </a:lnTo>
                  <a:lnTo>
                    <a:pt x="192" y="80"/>
                  </a:lnTo>
                  <a:lnTo>
                    <a:pt x="192" y="80"/>
                  </a:lnTo>
                  <a:lnTo>
                    <a:pt x="192" y="80"/>
                  </a:lnTo>
                  <a:lnTo>
                    <a:pt x="192" y="78"/>
                  </a:lnTo>
                  <a:lnTo>
                    <a:pt x="192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2" y="70"/>
                  </a:lnTo>
                  <a:lnTo>
                    <a:pt x="192" y="66"/>
                  </a:lnTo>
                  <a:lnTo>
                    <a:pt x="192" y="64"/>
                  </a:lnTo>
                  <a:lnTo>
                    <a:pt x="190" y="64"/>
                  </a:lnTo>
                  <a:lnTo>
                    <a:pt x="188" y="62"/>
                  </a:lnTo>
                  <a:lnTo>
                    <a:pt x="186" y="62"/>
                  </a:lnTo>
                  <a:lnTo>
                    <a:pt x="186" y="62"/>
                  </a:lnTo>
                  <a:lnTo>
                    <a:pt x="186" y="60"/>
                  </a:lnTo>
                  <a:lnTo>
                    <a:pt x="184" y="58"/>
                  </a:lnTo>
                  <a:lnTo>
                    <a:pt x="184" y="56"/>
                  </a:lnTo>
                  <a:lnTo>
                    <a:pt x="184" y="54"/>
                  </a:lnTo>
                  <a:lnTo>
                    <a:pt x="182" y="50"/>
                  </a:lnTo>
                  <a:lnTo>
                    <a:pt x="182" y="50"/>
                  </a:lnTo>
                  <a:lnTo>
                    <a:pt x="180" y="48"/>
                  </a:lnTo>
                  <a:lnTo>
                    <a:pt x="180" y="48"/>
                  </a:lnTo>
                  <a:lnTo>
                    <a:pt x="180" y="46"/>
                  </a:lnTo>
                  <a:lnTo>
                    <a:pt x="176" y="44"/>
                  </a:lnTo>
                  <a:lnTo>
                    <a:pt x="176" y="44"/>
                  </a:lnTo>
                  <a:lnTo>
                    <a:pt x="174" y="42"/>
                  </a:lnTo>
                  <a:lnTo>
                    <a:pt x="174" y="42"/>
                  </a:lnTo>
                  <a:lnTo>
                    <a:pt x="174" y="40"/>
                  </a:lnTo>
                  <a:lnTo>
                    <a:pt x="174" y="40"/>
                  </a:lnTo>
                  <a:lnTo>
                    <a:pt x="174" y="40"/>
                  </a:lnTo>
                  <a:lnTo>
                    <a:pt x="174" y="40"/>
                  </a:lnTo>
                  <a:lnTo>
                    <a:pt x="176" y="38"/>
                  </a:lnTo>
                  <a:lnTo>
                    <a:pt x="176" y="38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4"/>
                  </a:lnTo>
                  <a:lnTo>
                    <a:pt x="178" y="32"/>
                  </a:lnTo>
                  <a:lnTo>
                    <a:pt x="178" y="30"/>
                  </a:lnTo>
                  <a:lnTo>
                    <a:pt x="178" y="30"/>
                  </a:lnTo>
                  <a:lnTo>
                    <a:pt x="178" y="30"/>
                  </a:lnTo>
                  <a:lnTo>
                    <a:pt x="178" y="28"/>
                  </a:lnTo>
                  <a:lnTo>
                    <a:pt x="178" y="28"/>
                  </a:lnTo>
                  <a:lnTo>
                    <a:pt x="176" y="28"/>
                  </a:lnTo>
                  <a:lnTo>
                    <a:pt x="176" y="26"/>
                  </a:lnTo>
                  <a:lnTo>
                    <a:pt x="174" y="26"/>
                  </a:lnTo>
                  <a:lnTo>
                    <a:pt x="172" y="26"/>
                  </a:lnTo>
                  <a:lnTo>
                    <a:pt x="170" y="26"/>
                  </a:lnTo>
                  <a:lnTo>
                    <a:pt x="168" y="26"/>
                  </a:lnTo>
                  <a:lnTo>
                    <a:pt x="164" y="26"/>
                  </a:lnTo>
                  <a:lnTo>
                    <a:pt x="160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2" y="28"/>
                  </a:lnTo>
                  <a:lnTo>
                    <a:pt x="148" y="28"/>
                  </a:lnTo>
                  <a:lnTo>
                    <a:pt x="144" y="28"/>
                  </a:lnTo>
                  <a:lnTo>
                    <a:pt x="142" y="30"/>
                  </a:lnTo>
                  <a:lnTo>
                    <a:pt x="140" y="30"/>
                  </a:lnTo>
                  <a:lnTo>
                    <a:pt x="140" y="30"/>
                  </a:lnTo>
                  <a:lnTo>
                    <a:pt x="138" y="32"/>
                  </a:lnTo>
                  <a:lnTo>
                    <a:pt x="136" y="32"/>
                  </a:lnTo>
                  <a:lnTo>
                    <a:pt x="134" y="34"/>
                  </a:lnTo>
                  <a:lnTo>
                    <a:pt x="134" y="36"/>
                  </a:lnTo>
                  <a:lnTo>
                    <a:pt x="132" y="36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6" y="38"/>
                  </a:lnTo>
                  <a:lnTo>
                    <a:pt x="124" y="38"/>
                  </a:lnTo>
                  <a:lnTo>
                    <a:pt x="120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6" y="36"/>
                  </a:lnTo>
                  <a:lnTo>
                    <a:pt x="114" y="36"/>
                  </a:lnTo>
                  <a:lnTo>
                    <a:pt x="110" y="36"/>
                  </a:lnTo>
                  <a:lnTo>
                    <a:pt x="102" y="36"/>
                  </a:lnTo>
                  <a:lnTo>
                    <a:pt x="98" y="36"/>
                  </a:lnTo>
                  <a:lnTo>
                    <a:pt x="96" y="36"/>
                  </a:lnTo>
                  <a:lnTo>
                    <a:pt x="94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4" y="30"/>
                  </a:lnTo>
                  <a:lnTo>
                    <a:pt x="84" y="28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2"/>
                  </a:lnTo>
                  <a:lnTo>
                    <a:pt x="72" y="22"/>
                  </a:lnTo>
                  <a:lnTo>
                    <a:pt x="68" y="22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4" y="20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6"/>
                  </a:lnTo>
                  <a:lnTo>
                    <a:pt x="62" y="14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8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6"/>
                  </a:lnTo>
                  <a:lnTo>
                    <a:pt x="28" y="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28" name="Freeform 512">
              <a:extLst>
                <a:ext uri="{FF2B5EF4-FFF2-40B4-BE49-F238E27FC236}">
                  <a16:creationId xmlns:a16="http://schemas.microsoft.com/office/drawing/2014/main" id="{8AD8E962-E4C9-4766-A132-53580A031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9813" y="4482315"/>
              <a:ext cx="85422" cy="110319"/>
            </a:xfrm>
            <a:custGeom>
              <a:avLst/>
              <a:gdLst>
                <a:gd name="T0" fmla="*/ 10 w 50"/>
                <a:gd name="T1" fmla="*/ 2 h 66"/>
                <a:gd name="T2" fmla="*/ 6 w 50"/>
                <a:gd name="T3" fmla="*/ 8 h 66"/>
                <a:gd name="T4" fmla="*/ 6 w 50"/>
                <a:gd name="T5" fmla="*/ 10 h 66"/>
                <a:gd name="T6" fmla="*/ 4 w 50"/>
                <a:gd name="T7" fmla="*/ 14 h 66"/>
                <a:gd name="T8" fmla="*/ 4 w 50"/>
                <a:gd name="T9" fmla="*/ 20 h 66"/>
                <a:gd name="T10" fmla="*/ 6 w 50"/>
                <a:gd name="T11" fmla="*/ 32 h 66"/>
                <a:gd name="T12" fmla="*/ 6 w 50"/>
                <a:gd name="T13" fmla="*/ 40 h 66"/>
                <a:gd name="T14" fmla="*/ 6 w 50"/>
                <a:gd name="T15" fmla="*/ 46 h 66"/>
                <a:gd name="T16" fmla="*/ 6 w 50"/>
                <a:gd name="T17" fmla="*/ 50 h 66"/>
                <a:gd name="T18" fmla="*/ 4 w 50"/>
                <a:gd name="T19" fmla="*/ 54 h 66"/>
                <a:gd name="T20" fmla="*/ 2 w 50"/>
                <a:gd name="T21" fmla="*/ 56 h 66"/>
                <a:gd name="T22" fmla="*/ 2 w 50"/>
                <a:gd name="T23" fmla="*/ 58 h 66"/>
                <a:gd name="T24" fmla="*/ 6 w 50"/>
                <a:gd name="T25" fmla="*/ 62 h 66"/>
                <a:gd name="T26" fmla="*/ 8 w 50"/>
                <a:gd name="T27" fmla="*/ 64 h 66"/>
                <a:gd name="T28" fmla="*/ 10 w 50"/>
                <a:gd name="T29" fmla="*/ 66 h 66"/>
                <a:gd name="T30" fmla="*/ 14 w 50"/>
                <a:gd name="T31" fmla="*/ 66 h 66"/>
                <a:gd name="T32" fmla="*/ 18 w 50"/>
                <a:gd name="T33" fmla="*/ 66 h 66"/>
                <a:gd name="T34" fmla="*/ 22 w 50"/>
                <a:gd name="T35" fmla="*/ 66 h 66"/>
                <a:gd name="T36" fmla="*/ 22 w 50"/>
                <a:gd name="T37" fmla="*/ 64 h 66"/>
                <a:gd name="T38" fmla="*/ 24 w 50"/>
                <a:gd name="T39" fmla="*/ 62 h 66"/>
                <a:gd name="T40" fmla="*/ 26 w 50"/>
                <a:gd name="T41" fmla="*/ 58 h 66"/>
                <a:gd name="T42" fmla="*/ 28 w 50"/>
                <a:gd name="T43" fmla="*/ 52 h 66"/>
                <a:gd name="T44" fmla="*/ 30 w 50"/>
                <a:gd name="T45" fmla="*/ 48 h 66"/>
                <a:gd name="T46" fmla="*/ 34 w 50"/>
                <a:gd name="T47" fmla="*/ 44 h 66"/>
                <a:gd name="T48" fmla="*/ 38 w 50"/>
                <a:gd name="T49" fmla="*/ 42 h 66"/>
                <a:gd name="T50" fmla="*/ 40 w 50"/>
                <a:gd name="T51" fmla="*/ 40 h 66"/>
                <a:gd name="T52" fmla="*/ 42 w 50"/>
                <a:gd name="T53" fmla="*/ 40 h 66"/>
                <a:gd name="T54" fmla="*/ 46 w 50"/>
                <a:gd name="T55" fmla="*/ 40 h 66"/>
                <a:gd name="T56" fmla="*/ 50 w 50"/>
                <a:gd name="T57" fmla="*/ 40 h 66"/>
                <a:gd name="T58" fmla="*/ 50 w 50"/>
                <a:gd name="T59" fmla="*/ 36 h 66"/>
                <a:gd name="T60" fmla="*/ 48 w 50"/>
                <a:gd name="T61" fmla="*/ 30 h 66"/>
                <a:gd name="T62" fmla="*/ 46 w 50"/>
                <a:gd name="T63" fmla="*/ 28 h 66"/>
                <a:gd name="T64" fmla="*/ 42 w 50"/>
                <a:gd name="T65" fmla="*/ 26 h 66"/>
                <a:gd name="T66" fmla="*/ 40 w 50"/>
                <a:gd name="T67" fmla="*/ 24 h 66"/>
                <a:gd name="T68" fmla="*/ 38 w 50"/>
                <a:gd name="T69" fmla="*/ 22 h 66"/>
                <a:gd name="T70" fmla="*/ 38 w 50"/>
                <a:gd name="T71" fmla="*/ 18 h 66"/>
                <a:gd name="T72" fmla="*/ 36 w 50"/>
                <a:gd name="T73" fmla="*/ 16 h 66"/>
                <a:gd name="T74" fmla="*/ 36 w 50"/>
                <a:gd name="T75" fmla="*/ 14 h 66"/>
                <a:gd name="T76" fmla="*/ 32 w 50"/>
                <a:gd name="T77" fmla="*/ 12 h 66"/>
                <a:gd name="T78" fmla="*/ 28 w 50"/>
                <a:gd name="T79" fmla="*/ 10 h 66"/>
                <a:gd name="T80" fmla="*/ 26 w 50"/>
                <a:gd name="T81" fmla="*/ 10 h 66"/>
                <a:gd name="T82" fmla="*/ 22 w 50"/>
                <a:gd name="T83" fmla="*/ 10 h 66"/>
                <a:gd name="T84" fmla="*/ 20 w 50"/>
                <a:gd name="T85" fmla="*/ 8 h 66"/>
                <a:gd name="T86" fmla="*/ 18 w 50"/>
                <a:gd name="T87" fmla="*/ 8 h 66"/>
                <a:gd name="T88" fmla="*/ 18 w 50"/>
                <a:gd name="T89" fmla="*/ 4 h 66"/>
                <a:gd name="T90" fmla="*/ 18 w 50"/>
                <a:gd name="T91" fmla="*/ 2 h 66"/>
                <a:gd name="T92" fmla="*/ 16 w 50"/>
                <a:gd name="T93" fmla="*/ 0 h 66"/>
                <a:gd name="T94" fmla="*/ 16 w 50"/>
                <a:gd name="T95" fmla="*/ 0 h 66"/>
                <a:gd name="T96" fmla="*/ 14 w 50"/>
                <a:gd name="T97" fmla="*/ 0 h 66"/>
                <a:gd name="T98" fmla="*/ 10 w 50"/>
                <a:gd name="T99" fmla="*/ 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" h="66">
                  <a:moveTo>
                    <a:pt x="10" y="2"/>
                  </a:moveTo>
                  <a:lnTo>
                    <a:pt x="10" y="2"/>
                  </a:lnTo>
                  <a:lnTo>
                    <a:pt x="8" y="4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0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6" y="26"/>
                  </a:lnTo>
                  <a:lnTo>
                    <a:pt x="6" y="32"/>
                  </a:lnTo>
                  <a:lnTo>
                    <a:pt x="6" y="38"/>
                  </a:lnTo>
                  <a:lnTo>
                    <a:pt x="6" y="40"/>
                  </a:lnTo>
                  <a:lnTo>
                    <a:pt x="6" y="44"/>
                  </a:lnTo>
                  <a:lnTo>
                    <a:pt x="6" y="46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6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0" y="66"/>
                  </a:lnTo>
                  <a:lnTo>
                    <a:pt x="12" y="66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8" y="66"/>
                  </a:lnTo>
                  <a:lnTo>
                    <a:pt x="20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4"/>
                  </a:lnTo>
                  <a:lnTo>
                    <a:pt x="24" y="64"/>
                  </a:lnTo>
                  <a:lnTo>
                    <a:pt x="24" y="62"/>
                  </a:lnTo>
                  <a:lnTo>
                    <a:pt x="24" y="60"/>
                  </a:lnTo>
                  <a:lnTo>
                    <a:pt x="26" y="58"/>
                  </a:lnTo>
                  <a:lnTo>
                    <a:pt x="26" y="56"/>
                  </a:lnTo>
                  <a:lnTo>
                    <a:pt x="28" y="52"/>
                  </a:lnTo>
                  <a:lnTo>
                    <a:pt x="30" y="50"/>
                  </a:lnTo>
                  <a:lnTo>
                    <a:pt x="30" y="48"/>
                  </a:lnTo>
                  <a:lnTo>
                    <a:pt x="32" y="46"/>
                  </a:lnTo>
                  <a:lnTo>
                    <a:pt x="34" y="44"/>
                  </a:lnTo>
                  <a:lnTo>
                    <a:pt x="36" y="42"/>
                  </a:lnTo>
                  <a:lnTo>
                    <a:pt x="38" y="42"/>
                  </a:lnTo>
                  <a:lnTo>
                    <a:pt x="38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2" y="40"/>
                  </a:lnTo>
                  <a:lnTo>
                    <a:pt x="44" y="40"/>
                  </a:lnTo>
                  <a:lnTo>
                    <a:pt x="46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48" y="32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18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4" y="12"/>
                  </a:lnTo>
                  <a:lnTo>
                    <a:pt x="32" y="12"/>
                  </a:lnTo>
                  <a:lnTo>
                    <a:pt x="30" y="12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29" name="Freeform 514">
              <a:extLst>
                <a:ext uri="{FF2B5EF4-FFF2-40B4-BE49-F238E27FC236}">
                  <a16:creationId xmlns:a16="http://schemas.microsoft.com/office/drawing/2014/main" id="{DC415038-2D57-4230-A907-07EBCA083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2276" y="3997580"/>
              <a:ext cx="252846" cy="110319"/>
            </a:xfrm>
            <a:custGeom>
              <a:avLst/>
              <a:gdLst>
                <a:gd name="T0" fmla="*/ 0 w 148"/>
                <a:gd name="T1" fmla="*/ 20 h 66"/>
                <a:gd name="T2" fmla="*/ 0 w 148"/>
                <a:gd name="T3" fmla="*/ 18 h 66"/>
                <a:gd name="T4" fmla="*/ 0 w 148"/>
                <a:gd name="T5" fmla="*/ 16 h 66"/>
                <a:gd name="T6" fmla="*/ 2 w 148"/>
                <a:gd name="T7" fmla="*/ 14 h 66"/>
                <a:gd name="T8" fmla="*/ 6 w 148"/>
                <a:gd name="T9" fmla="*/ 10 h 66"/>
                <a:gd name="T10" fmla="*/ 14 w 148"/>
                <a:gd name="T11" fmla="*/ 6 h 66"/>
                <a:gd name="T12" fmla="*/ 20 w 148"/>
                <a:gd name="T13" fmla="*/ 4 h 66"/>
                <a:gd name="T14" fmla="*/ 22 w 148"/>
                <a:gd name="T15" fmla="*/ 2 h 66"/>
                <a:gd name="T16" fmla="*/ 26 w 148"/>
                <a:gd name="T17" fmla="*/ 0 h 66"/>
                <a:gd name="T18" fmla="*/ 30 w 148"/>
                <a:gd name="T19" fmla="*/ 0 h 66"/>
                <a:gd name="T20" fmla="*/ 36 w 148"/>
                <a:gd name="T21" fmla="*/ 0 h 66"/>
                <a:gd name="T22" fmla="*/ 46 w 148"/>
                <a:gd name="T23" fmla="*/ 4 h 66"/>
                <a:gd name="T24" fmla="*/ 60 w 148"/>
                <a:gd name="T25" fmla="*/ 6 h 66"/>
                <a:gd name="T26" fmla="*/ 68 w 148"/>
                <a:gd name="T27" fmla="*/ 8 h 66"/>
                <a:gd name="T28" fmla="*/ 76 w 148"/>
                <a:gd name="T29" fmla="*/ 10 h 66"/>
                <a:gd name="T30" fmla="*/ 82 w 148"/>
                <a:gd name="T31" fmla="*/ 12 h 66"/>
                <a:gd name="T32" fmla="*/ 94 w 148"/>
                <a:gd name="T33" fmla="*/ 20 h 66"/>
                <a:gd name="T34" fmla="*/ 100 w 148"/>
                <a:gd name="T35" fmla="*/ 24 h 66"/>
                <a:gd name="T36" fmla="*/ 110 w 148"/>
                <a:gd name="T37" fmla="*/ 28 h 66"/>
                <a:gd name="T38" fmla="*/ 128 w 148"/>
                <a:gd name="T39" fmla="*/ 34 h 66"/>
                <a:gd name="T40" fmla="*/ 136 w 148"/>
                <a:gd name="T41" fmla="*/ 38 h 66"/>
                <a:gd name="T42" fmla="*/ 140 w 148"/>
                <a:gd name="T43" fmla="*/ 42 h 66"/>
                <a:gd name="T44" fmla="*/ 144 w 148"/>
                <a:gd name="T45" fmla="*/ 46 h 66"/>
                <a:gd name="T46" fmla="*/ 146 w 148"/>
                <a:gd name="T47" fmla="*/ 48 h 66"/>
                <a:gd name="T48" fmla="*/ 148 w 148"/>
                <a:gd name="T49" fmla="*/ 50 h 66"/>
                <a:gd name="T50" fmla="*/ 148 w 148"/>
                <a:gd name="T51" fmla="*/ 52 h 66"/>
                <a:gd name="T52" fmla="*/ 148 w 148"/>
                <a:gd name="T53" fmla="*/ 54 h 66"/>
                <a:gd name="T54" fmla="*/ 146 w 148"/>
                <a:gd name="T55" fmla="*/ 56 h 66"/>
                <a:gd name="T56" fmla="*/ 144 w 148"/>
                <a:gd name="T57" fmla="*/ 58 h 66"/>
                <a:gd name="T58" fmla="*/ 140 w 148"/>
                <a:gd name="T59" fmla="*/ 60 h 66"/>
                <a:gd name="T60" fmla="*/ 134 w 148"/>
                <a:gd name="T61" fmla="*/ 64 h 66"/>
                <a:gd name="T62" fmla="*/ 128 w 148"/>
                <a:gd name="T63" fmla="*/ 64 h 66"/>
                <a:gd name="T64" fmla="*/ 122 w 148"/>
                <a:gd name="T65" fmla="*/ 66 h 66"/>
                <a:gd name="T66" fmla="*/ 112 w 148"/>
                <a:gd name="T67" fmla="*/ 66 h 66"/>
                <a:gd name="T68" fmla="*/ 108 w 148"/>
                <a:gd name="T69" fmla="*/ 66 h 66"/>
                <a:gd name="T70" fmla="*/ 104 w 148"/>
                <a:gd name="T71" fmla="*/ 66 h 66"/>
                <a:gd name="T72" fmla="*/ 100 w 148"/>
                <a:gd name="T73" fmla="*/ 64 h 66"/>
                <a:gd name="T74" fmla="*/ 98 w 148"/>
                <a:gd name="T75" fmla="*/ 62 h 66"/>
                <a:gd name="T76" fmla="*/ 98 w 148"/>
                <a:gd name="T77" fmla="*/ 60 h 66"/>
                <a:gd name="T78" fmla="*/ 98 w 148"/>
                <a:gd name="T79" fmla="*/ 58 h 66"/>
                <a:gd name="T80" fmla="*/ 98 w 148"/>
                <a:gd name="T81" fmla="*/ 54 h 66"/>
                <a:gd name="T82" fmla="*/ 100 w 148"/>
                <a:gd name="T83" fmla="*/ 50 h 66"/>
                <a:gd name="T84" fmla="*/ 100 w 148"/>
                <a:gd name="T85" fmla="*/ 48 h 66"/>
                <a:gd name="T86" fmla="*/ 100 w 148"/>
                <a:gd name="T87" fmla="*/ 46 h 66"/>
                <a:gd name="T88" fmla="*/ 98 w 148"/>
                <a:gd name="T89" fmla="*/ 44 h 66"/>
                <a:gd name="T90" fmla="*/ 96 w 148"/>
                <a:gd name="T91" fmla="*/ 40 h 66"/>
                <a:gd name="T92" fmla="*/ 90 w 148"/>
                <a:gd name="T93" fmla="*/ 36 h 66"/>
                <a:gd name="T94" fmla="*/ 80 w 148"/>
                <a:gd name="T95" fmla="*/ 28 h 66"/>
                <a:gd name="T96" fmla="*/ 72 w 148"/>
                <a:gd name="T97" fmla="*/ 22 h 66"/>
                <a:gd name="T98" fmla="*/ 66 w 148"/>
                <a:gd name="T99" fmla="*/ 20 h 66"/>
                <a:gd name="T100" fmla="*/ 62 w 148"/>
                <a:gd name="T101" fmla="*/ 18 h 66"/>
                <a:gd name="T102" fmla="*/ 56 w 148"/>
                <a:gd name="T103" fmla="*/ 16 h 66"/>
                <a:gd name="T104" fmla="*/ 44 w 148"/>
                <a:gd name="T105" fmla="*/ 14 h 66"/>
                <a:gd name="T106" fmla="*/ 32 w 148"/>
                <a:gd name="T107" fmla="*/ 14 h 66"/>
                <a:gd name="T108" fmla="*/ 22 w 148"/>
                <a:gd name="T109" fmla="*/ 14 h 66"/>
                <a:gd name="T110" fmla="*/ 16 w 148"/>
                <a:gd name="T111" fmla="*/ 14 h 66"/>
                <a:gd name="T112" fmla="*/ 12 w 148"/>
                <a:gd name="T113" fmla="*/ 16 h 66"/>
                <a:gd name="T114" fmla="*/ 4 w 148"/>
                <a:gd name="T115" fmla="*/ 20 h 66"/>
                <a:gd name="T116" fmla="*/ 2 w 148"/>
                <a:gd name="T117" fmla="*/ 20 h 66"/>
                <a:gd name="T118" fmla="*/ 0 w 148"/>
                <a:gd name="T119" fmla="*/ 20 h 66"/>
                <a:gd name="T120" fmla="*/ 0 w 148"/>
                <a:gd name="T121" fmla="*/ 2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66">
                  <a:moveTo>
                    <a:pt x="0" y="20"/>
                  </a:moveTo>
                  <a:lnTo>
                    <a:pt x="0" y="20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42" y="2"/>
                  </a:lnTo>
                  <a:lnTo>
                    <a:pt x="46" y="4"/>
                  </a:lnTo>
                  <a:lnTo>
                    <a:pt x="52" y="4"/>
                  </a:lnTo>
                  <a:lnTo>
                    <a:pt x="60" y="6"/>
                  </a:lnTo>
                  <a:lnTo>
                    <a:pt x="64" y="6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82" y="12"/>
                  </a:lnTo>
                  <a:lnTo>
                    <a:pt x="88" y="16"/>
                  </a:lnTo>
                  <a:lnTo>
                    <a:pt x="94" y="20"/>
                  </a:lnTo>
                  <a:lnTo>
                    <a:pt x="98" y="22"/>
                  </a:lnTo>
                  <a:lnTo>
                    <a:pt x="100" y="24"/>
                  </a:lnTo>
                  <a:lnTo>
                    <a:pt x="104" y="26"/>
                  </a:lnTo>
                  <a:lnTo>
                    <a:pt x="110" y="28"/>
                  </a:lnTo>
                  <a:lnTo>
                    <a:pt x="122" y="32"/>
                  </a:lnTo>
                  <a:lnTo>
                    <a:pt x="128" y="34"/>
                  </a:lnTo>
                  <a:lnTo>
                    <a:pt x="134" y="38"/>
                  </a:lnTo>
                  <a:lnTo>
                    <a:pt x="136" y="38"/>
                  </a:lnTo>
                  <a:lnTo>
                    <a:pt x="138" y="40"/>
                  </a:lnTo>
                  <a:lnTo>
                    <a:pt x="140" y="42"/>
                  </a:lnTo>
                  <a:lnTo>
                    <a:pt x="142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8"/>
                  </a:lnTo>
                  <a:lnTo>
                    <a:pt x="148" y="50"/>
                  </a:lnTo>
                  <a:lnTo>
                    <a:pt x="148" y="50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46" y="56"/>
                  </a:lnTo>
                  <a:lnTo>
                    <a:pt x="146" y="58"/>
                  </a:lnTo>
                  <a:lnTo>
                    <a:pt x="144" y="58"/>
                  </a:lnTo>
                  <a:lnTo>
                    <a:pt x="142" y="60"/>
                  </a:lnTo>
                  <a:lnTo>
                    <a:pt x="140" y="60"/>
                  </a:lnTo>
                  <a:lnTo>
                    <a:pt x="136" y="62"/>
                  </a:lnTo>
                  <a:lnTo>
                    <a:pt x="134" y="64"/>
                  </a:lnTo>
                  <a:lnTo>
                    <a:pt x="130" y="64"/>
                  </a:lnTo>
                  <a:lnTo>
                    <a:pt x="128" y="64"/>
                  </a:lnTo>
                  <a:lnTo>
                    <a:pt x="124" y="66"/>
                  </a:lnTo>
                  <a:lnTo>
                    <a:pt x="122" y="66"/>
                  </a:lnTo>
                  <a:lnTo>
                    <a:pt x="116" y="66"/>
                  </a:lnTo>
                  <a:lnTo>
                    <a:pt x="112" y="66"/>
                  </a:lnTo>
                  <a:lnTo>
                    <a:pt x="110" y="66"/>
                  </a:lnTo>
                  <a:lnTo>
                    <a:pt x="108" y="66"/>
                  </a:lnTo>
                  <a:lnTo>
                    <a:pt x="106" y="66"/>
                  </a:lnTo>
                  <a:lnTo>
                    <a:pt x="104" y="66"/>
                  </a:lnTo>
                  <a:lnTo>
                    <a:pt x="102" y="64"/>
                  </a:lnTo>
                  <a:lnTo>
                    <a:pt x="100" y="64"/>
                  </a:lnTo>
                  <a:lnTo>
                    <a:pt x="98" y="64"/>
                  </a:lnTo>
                  <a:lnTo>
                    <a:pt x="98" y="62"/>
                  </a:lnTo>
                  <a:lnTo>
                    <a:pt x="98" y="62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8" y="58"/>
                  </a:lnTo>
                  <a:lnTo>
                    <a:pt x="98" y="56"/>
                  </a:lnTo>
                  <a:lnTo>
                    <a:pt x="98" y="54"/>
                  </a:lnTo>
                  <a:lnTo>
                    <a:pt x="100" y="52"/>
                  </a:lnTo>
                  <a:lnTo>
                    <a:pt x="100" y="50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0" y="44"/>
                  </a:lnTo>
                  <a:lnTo>
                    <a:pt x="98" y="44"/>
                  </a:lnTo>
                  <a:lnTo>
                    <a:pt x="98" y="42"/>
                  </a:lnTo>
                  <a:lnTo>
                    <a:pt x="96" y="40"/>
                  </a:lnTo>
                  <a:lnTo>
                    <a:pt x="92" y="38"/>
                  </a:lnTo>
                  <a:lnTo>
                    <a:pt x="90" y="36"/>
                  </a:lnTo>
                  <a:lnTo>
                    <a:pt x="86" y="32"/>
                  </a:lnTo>
                  <a:lnTo>
                    <a:pt x="80" y="28"/>
                  </a:lnTo>
                  <a:lnTo>
                    <a:pt x="74" y="24"/>
                  </a:lnTo>
                  <a:lnTo>
                    <a:pt x="72" y="22"/>
                  </a:lnTo>
                  <a:lnTo>
                    <a:pt x="68" y="20"/>
                  </a:lnTo>
                  <a:lnTo>
                    <a:pt x="66" y="20"/>
                  </a:lnTo>
                  <a:lnTo>
                    <a:pt x="64" y="18"/>
                  </a:lnTo>
                  <a:lnTo>
                    <a:pt x="62" y="18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0" y="16"/>
                  </a:lnTo>
                  <a:lnTo>
                    <a:pt x="44" y="14"/>
                  </a:lnTo>
                  <a:lnTo>
                    <a:pt x="38" y="14"/>
                  </a:lnTo>
                  <a:lnTo>
                    <a:pt x="32" y="14"/>
                  </a:lnTo>
                  <a:lnTo>
                    <a:pt x="26" y="14"/>
                  </a:lnTo>
                  <a:lnTo>
                    <a:pt x="22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2" y="16"/>
                  </a:lnTo>
                  <a:lnTo>
                    <a:pt x="8" y="18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30" name="Freeform 516">
              <a:extLst>
                <a:ext uri="{FF2B5EF4-FFF2-40B4-BE49-F238E27FC236}">
                  <a16:creationId xmlns:a16="http://schemas.microsoft.com/office/drawing/2014/main" id="{F1E7BC38-7343-4C50-B45B-C35AA6C76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0975" y="4465600"/>
              <a:ext cx="102506" cy="137063"/>
            </a:xfrm>
            <a:custGeom>
              <a:avLst/>
              <a:gdLst>
                <a:gd name="T0" fmla="*/ 20 w 60"/>
                <a:gd name="T1" fmla="*/ 18 h 82"/>
                <a:gd name="T2" fmla="*/ 20 w 60"/>
                <a:gd name="T3" fmla="*/ 26 h 82"/>
                <a:gd name="T4" fmla="*/ 20 w 60"/>
                <a:gd name="T5" fmla="*/ 30 h 82"/>
                <a:gd name="T6" fmla="*/ 18 w 60"/>
                <a:gd name="T7" fmla="*/ 32 h 82"/>
                <a:gd name="T8" fmla="*/ 14 w 60"/>
                <a:gd name="T9" fmla="*/ 32 h 82"/>
                <a:gd name="T10" fmla="*/ 10 w 60"/>
                <a:gd name="T11" fmla="*/ 30 h 82"/>
                <a:gd name="T12" fmla="*/ 4 w 60"/>
                <a:gd name="T13" fmla="*/ 32 h 82"/>
                <a:gd name="T14" fmla="*/ 2 w 60"/>
                <a:gd name="T15" fmla="*/ 34 h 82"/>
                <a:gd name="T16" fmla="*/ 0 w 60"/>
                <a:gd name="T17" fmla="*/ 38 h 82"/>
                <a:gd name="T18" fmla="*/ 0 w 60"/>
                <a:gd name="T19" fmla="*/ 44 h 82"/>
                <a:gd name="T20" fmla="*/ 2 w 60"/>
                <a:gd name="T21" fmla="*/ 48 h 82"/>
                <a:gd name="T22" fmla="*/ 4 w 60"/>
                <a:gd name="T23" fmla="*/ 52 h 82"/>
                <a:gd name="T24" fmla="*/ 8 w 60"/>
                <a:gd name="T25" fmla="*/ 56 h 82"/>
                <a:gd name="T26" fmla="*/ 12 w 60"/>
                <a:gd name="T27" fmla="*/ 58 h 82"/>
                <a:gd name="T28" fmla="*/ 16 w 60"/>
                <a:gd name="T29" fmla="*/ 60 h 82"/>
                <a:gd name="T30" fmla="*/ 16 w 60"/>
                <a:gd name="T31" fmla="*/ 64 h 82"/>
                <a:gd name="T32" fmla="*/ 16 w 60"/>
                <a:gd name="T33" fmla="*/ 70 h 82"/>
                <a:gd name="T34" fmla="*/ 16 w 60"/>
                <a:gd name="T35" fmla="*/ 76 h 82"/>
                <a:gd name="T36" fmla="*/ 16 w 60"/>
                <a:gd name="T37" fmla="*/ 82 h 82"/>
                <a:gd name="T38" fmla="*/ 24 w 60"/>
                <a:gd name="T39" fmla="*/ 82 h 82"/>
                <a:gd name="T40" fmla="*/ 30 w 60"/>
                <a:gd name="T41" fmla="*/ 82 h 82"/>
                <a:gd name="T42" fmla="*/ 32 w 60"/>
                <a:gd name="T43" fmla="*/ 80 h 82"/>
                <a:gd name="T44" fmla="*/ 32 w 60"/>
                <a:gd name="T45" fmla="*/ 78 h 82"/>
                <a:gd name="T46" fmla="*/ 32 w 60"/>
                <a:gd name="T47" fmla="*/ 72 h 82"/>
                <a:gd name="T48" fmla="*/ 32 w 60"/>
                <a:gd name="T49" fmla="*/ 70 h 82"/>
                <a:gd name="T50" fmla="*/ 32 w 60"/>
                <a:gd name="T51" fmla="*/ 68 h 82"/>
                <a:gd name="T52" fmla="*/ 36 w 60"/>
                <a:gd name="T53" fmla="*/ 66 h 82"/>
                <a:gd name="T54" fmla="*/ 44 w 60"/>
                <a:gd name="T55" fmla="*/ 66 h 82"/>
                <a:gd name="T56" fmla="*/ 52 w 60"/>
                <a:gd name="T57" fmla="*/ 66 h 82"/>
                <a:gd name="T58" fmla="*/ 56 w 60"/>
                <a:gd name="T59" fmla="*/ 64 h 82"/>
                <a:gd name="T60" fmla="*/ 58 w 60"/>
                <a:gd name="T61" fmla="*/ 58 h 82"/>
                <a:gd name="T62" fmla="*/ 58 w 60"/>
                <a:gd name="T63" fmla="*/ 50 h 82"/>
                <a:gd name="T64" fmla="*/ 58 w 60"/>
                <a:gd name="T65" fmla="*/ 36 h 82"/>
                <a:gd name="T66" fmla="*/ 56 w 60"/>
                <a:gd name="T67" fmla="*/ 24 h 82"/>
                <a:gd name="T68" fmla="*/ 58 w 60"/>
                <a:gd name="T69" fmla="*/ 18 h 82"/>
                <a:gd name="T70" fmla="*/ 60 w 60"/>
                <a:gd name="T71" fmla="*/ 12 h 82"/>
                <a:gd name="T72" fmla="*/ 58 w 60"/>
                <a:gd name="T73" fmla="*/ 6 h 82"/>
                <a:gd name="T74" fmla="*/ 56 w 60"/>
                <a:gd name="T75" fmla="*/ 2 h 82"/>
                <a:gd name="T76" fmla="*/ 52 w 60"/>
                <a:gd name="T77" fmla="*/ 0 h 82"/>
                <a:gd name="T78" fmla="*/ 44 w 60"/>
                <a:gd name="T79" fmla="*/ 0 h 82"/>
                <a:gd name="T80" fmla="*/ 38 w 60"/>
                <a:gd name="T81" fmla="*/ 2 h 82"/>
                <a:gd name="T82" fmla="*/ 36 w 60"/>
                <a:gd name="T83" fmla="*/ 4 h 82"/>
                <a:gd name="T84" fmla="*/ 34 w 60"/>
                <a:gd name="T85" fmla="*/ 10 h 82"/>
                <a:gd name="T86" fmla="*/ 30 w 60"/>
                <a:gd name="T87" fmla="*/ 12 h 82"/>
                <a:gd name="T88" fmla="*/ 20 w 60"/>
                <a:gd name="T89" fmla="*/ 1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82">
                  <a:moveTo>
                    <a:pt x="20" y="16"/>
                  </a:moveTo>
                  <a:lnTo>
                    <a:pt x="20" y="16"/>
                  </a:lnTo>
                  <a:lnTo>
                    <a:pt x="20" y="18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0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8" y="30"/>
                  </a:lnTo>
                  <a:lnTo>
                    <a:pt x="6" y="32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4" y="52"/>
                  </a:lnTo>
                  <a:lnTo>
                    <a:pt x="6" y="54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2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8" y="68"/>
                  </a:lnTo>
                  <a:lnTo>
                    <a:pt x="16" y="70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8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18" y="82"/>
                  </a:lnTo>
                  <a:lnTo>
                    <a:pt x="22" y="82"/>
                  </a:lnTo>
                  <a:lnTo>
                    <a:pt x="24" y="82"/>
                  </a:lnTo>
                  <a:lnTo>
                    <a:pt x="26" y="82"/>
                  </a:lnTo>
                  <a:lnTo>
                    <a:pt x="28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8"/>
                  </a:lnTo>
                  <a:lnTo>
                    <a:pt x="32" y="76"/>
                  </a:lnTo>
                  <a:lnTo>
                    <a:pt x="32" y="74"/>
                  </a:lnTo>
                  <a:lnTo>
                    <a:pt x="32" y="7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2" y="70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4" y="66"/>
                  </a:lnTo>
                  <a:lnTo>
                    <a:pt x="34" y="66"/>
                  </a:lnTo>
                  <a:lnTo>
                    <a:pt x="36" y="66"/>
                  </a:lnTo>
                  <a:lnTo>
                    <a:pt x="38" y="66"/>
                  </a:lnTo>
                  <a:lnTo>
                    <a:pt x="40" y="66"/>
                  </a:lnTo>
                  <a:lnTo>
                    <a:pt x="44" y="66"/>
                  </a:lnTo>
                  <a:lnTo>
                    <a:pt x="48" y="66"/>
                  </a:lnTo>
                  <a:lnTo>
                    <a:pt x="50" y="66"/>
                  </a:lnTo>
                  <a:lnTo>
                    <a:pt x="52" y="66"/>
                  </a:lnTo>
                  <a:lnTo>
                    <a:pt x="54" y="66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8" y="62"/>
                  </a:lnTo>
                  <a:lnTo>
                    <a:pt x="58" y="60"/>
                  </a:lnTo>
                  <a:lnTo>
                    <a:pt x="58" y="58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58" y="50"/>
                  </a:lnTo>
                  <a:lnTo>
                    <a:pt x="58" y="48"/>
                  </a:lnTo>
                  <a:lnTo>
                    <a:pt x="58" y="42"/>
                  </a:lnTo>
                  <a:lnTo>
                    <a:pt x="58" y="36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8" y="20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8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0" y="12"/>
                  </a:lnTo>
                  <a:lnTo>
                    <a:pt x="26" y="14"/>
                  </a:lnTo>
                  <a:lnTo>
                    <a:pt x="22" y="16"/>
                  </a:lnTo>
                  <a:lnTo>
                    <a:pt x="20" y="16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31" name="Freeform 518">
              <a:extLst>
                <a:ext uri="{FF2B5EF4-FFF2-40B4-BE49-F238E27FC236}">
                  <a16:creationId xmlns:a16="http://schemas.microsoft.com/office/drawing/2014/main" id="{12EF3EC9-11BB-4EBB-AD27-7D258344C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0679" y="4154702"/>
              <a:ext cx="85422" cy="103634"/>
            </a:xfrm>
            <a:custGeom>
              <a:avLst/>
              <a:gdLst>
                <a:gd name="T0" fmla="*/ 0 w 50"/>
                <a:gd name="T1" fmla="*/ 48 h 62"/>
                <a:gd name="T2" fmla="*/ 2 w 50"/>
                <a:gd name="T3" fmla="*/ 40 h 62"/>
                <a:gd name="T4" fmla="*/ 4 w 50"/>
                <a:gd name="T5" fmla="*/ 34 h 62"/>
                <a:gd name="T6" fmla="*/ 6 w 50"/>
                <a:gd name="T7" fmla="*/ 32 h 62"/>
                <a:gd name="T8" fmla="*/ 6 w 50"/>
                <a:gd name="T9" fmla="*/ 30 h 62"/>
                <a:gd name="T10" fmla="*/ 8 w 50"/>
                <a:gd name="T11" fmla="*/ 30 h 62"/>
                <a:gd name="T12" fmla="*/ 12 w 50"/>
                <a:gd name="T13" fmla="*/ 28 h 62"/>
                <a:gd name="T14" fmla="*/ 16 w 50"/>
                <a:gd name="T15" fmla="*/ 28 h 62"/>
                <a:gd name="T16" fmla="*/ 18 w 50"/>
                <a:gd name="T17" fmla="*/ 28 h 62"/>
                <a:gd name="T18" fmla="*/ 20 w 50"/>
                <a:gd name="T19" fmla="*/ 26 h 62"/>
                <a:gd name="T20" fmla="*/ 20 w 50"/>
                <a:gd name="T21" fmla="*/ 24 h 62"/>
                <a:gd name="T22" fmla="*/ 20 w 50"/>
                <a:gd name="T23" fmla="*/ 20 h 62"/>
                <a:gd name="T24" fmla="*/ 20 w 50"/>
                <a:gd name="T25" fmla="*/ 16 h 62"/>
                <a:gd name="T26" fmla="*/ 20 w 50"/>
                <a:gd name="T27" fmla="*/ 12 h 62"/>
                <a:gd name="T28" fmla="*/ 20 w 50"/>
                <a:gd name="T29" fmla="*/ 10 h 62"/>
                <a:gd name="T30" fmla="*/ 22 w 50"/>
                <a:gd name="T31" fmla="*/ 8 h 62"/>
                <a:gd name="T32" fmla="*/ 24 w 50"/>
                <a:gd name="T33" fmla="*/ 6 h 62"/>
                <a:gd name="T34" fmla="*/ 30 w 50"/>
                <a:gd name="T35" fmla="*/ 4 h 62"/>
                <a:gd name="T36" fmla="*/ 38 w 50"/>
                <a:gd name="T37" fmla="*/ 2 h 62"/>
                <a:gd name="T38" fmla="*/ 44 w 50"/>
                <a:gd name="T39" fmla="*/ 0 h 62"/>
                <a:gd name="T40" fmla="*/ 42 w 50"/>
                <a:gd name="T41" fmla="*/ 14 h 62"/>
                <a:gd name="T42" fmla="*/ 42 w 50"/>
                <a:gd name="T43" fmla="*/ 22 h 62"/>
                <a:gd name="T44" fmla="*/ 40 w 50"/>
                <a:gd name="T45" fmla="*/ 28 h 62"/>
                <a:gd name="T46" fmla="*/ 42 w 50"/>
                <a:gd name="T47" fmla="*/ 32 h 62"/>
                <a:gd name="T48" fmla="*/ 42 w 50"/>
                <a:gd name="T49" fmla="*/ 32 h 62"/>
                <a:gd name="T50" fmla="*/ 44 w 50"/>
                <a:gd name="T51" fmla="*/ 34 h 62"/>
                <a:gd name="T52" fmla="*/ 46 w 50"/>
                <a:gd name="T53" fmla="*/ 34 h 62"/>
                <a:gd name="T54" fmla="*/ 50 w 50"/>
                <a:gd name="T55" fmla="*/ 34 h 62"/>
                <a:gd name="T56" fmla="*/ 50 w 50"/>
                <a:gd name="T57" fmla="*/ 40 h 62"/>
                <a:gd name="T58" fmla="*/ 48 w 50"/>
                <a:gd name="T59" fmla="*/ 44 h 62"/>
                <a:gd name="T60" fmla="*/ 48 w 50"/>
                <a:gd name="T61" fmla="*/ 46 h 62"/>
                <a:gd name="T62" fmla="*/ 46 w 50"/>
                <a:gd name="T63" fmla="*/ 48 h 62"/>
                <a:gd name="T64" fmla="*/ 46 w 50"/>
                <a:gd name="T65" fmla="*/ 48 h 62"/>
                <a:gd name="T66" fmla="*/ 42 w 50"/>
                <a:gd name="T67" fmla="*/ 48 h 62"/>
                <a:gd name="T68" fmla="*/ 40 w 50"/>
                <a:gd name="T69" fmla="*/ 46 h 62"/>
                <a:gd name="T70" fmla="*/ 38 w 50"/>
                <a:gd name="T71" fmla="*/ 46 h 62"/>
                <a:gd name="T72" fmla="*/ 36 w 50"/>
                <a:gd name="T73" fmla="*/ 48 h 62"/>
                <a:gd name="T74" fmla="*/ 36 w 50"/>
                <a:gd name="T75" fmla="*/ 50 h 62"/>
                <a:gd name="T76" fmla="*/ 36 w 50"/>
                <a:gd name="T77" fmla="*/ 52 h 62"/>
                <a:gd name="T78" fmla="*/ 34 w 50"/>
                <a:gd name="T79" fmla="*/ 60 h 62"/>
                <a:gd name="T80" fmla="*/ 32 w 50"/>
                <a:gd name="T81" fmla="*/ 60 h 62"/>
                <a:gd name="T82" fmla="*/ 22 w 50"/>
                <a:gd name="T83" fmla="*/ 60 h 62"/>
                <a:gd name="T84" fmla="*/ 16 w 50"/>
                <a:gd name="T85" fmla="*/ 60 h 62"/>
                <a:gd name="T86" fmla="*/ 14 w 50"/>
                <a:gd name="T87" fmla="*/ 60 h 62"/>
                <a:gd name="T88" fmla="*/ 12 w 50"/>
                <a:gd name="T89" fmla="*/ 58 h 62"/>
                <a:gd name="T90" fmla="*/ 8 w 50"/>
                <a:gd name="T91" fmla="*/ 56 h 62"/>
                <a:gd name="T92" fmla="*/ 2 w 50"/>
                <a:gd name="T93" fmla="*/ 5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" h="62">
                  <a:moveTo>
                    <a:pt x="0" y="48"/>
                  </a:moveTo>
                  <a:lnTo>
                    <a:pt x="0" y="48"/>
                  </a:lnTo>
                  <a:lnTo>
                    <a:pt x="0" y="46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2" y="10"/>
                  </a:lnTo>
                  <a:lnTo>
                    <a:pt x="22" y="8"/>
                  </a:lnTo>
                  <a:lnTo>
                    <a:pt x="24" y="8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30" y="4"/>
                  </a:lnTo>
                  <a:lnTo>
                    <a:pt x="34" y="2"/>
                  </a:lnTo>
                  <a:lnTo>
                    <a:pt x="38" y="2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2" y="8"/>
                  </a:lnTo>
                  <a:lnTo>
                    <a:pt x="42" y="14"/>
                  </a:lnTo>
                  <a:lnTo>
                    <a:pt x="42" y="18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0" y="28"/>
                  </a:lnTo>
                  <a:lnTo>
                    <a:pt x="40" y="30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6" y="34"/>
                  </a:lnTo>
                  <a:lnTo>
                    <a:pt x="48" y="34"/>
                  </a:lnTo>
                  <a:lnTo>
                    <a:pt x="50" y="34"/>
                  </a:lnTo>
                  <a:lnTo>
                    <a:pt x="50" y="36"/>
                  </a:lnTo>
                  <a:lnTo>
                    <a:pt x="50" y="40"/>
                  </a:lnTo>
                  <a:lnTo>
                    <a:pt x="50" y="42"/>
                  </a:lnTo>
                  <a:lnTo>
                    <a:pt x="48" y="44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2" y="48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2"/>
                  </a:lnTo>
                  <a:lnTo>
                    <a:pt x="34" y="54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2" y="60"/>
                  </a:lnTo>
                  <a:lnTo>
                    <a:pt x="26" y="62"/>
                  </a:lnTo>
                  <a:lnTo>
                    <a:pt x="22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2" y="58"/>
                  </a:lnTo>
                  <a:lnTo>
                    <a:pt x="10" y="58"/>
                  </a:lnTo>
                  <a:lnTo>
                    <a:pt x="8" y="56"/>
                  </a:lnTo>
                  <a:lnTo>
                    <a:pt x="6" y="54"/>
                  </a:lnTo>
                  <a:lnTo>
                    <a:pt x="2" y="50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32" name="Freeform 520">
              <a:extLst>
                <a:ext uri="{FF2B5EF4-FFF2-40B4-BE49-F238E27FC236}">
                  <a16:creationId xmlns:a16="http://schemas.microsoft.com/office/drawing/2014/main" id="{9660741D-B5C7-4F72-9B83-102CE543B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2433" y="4131300"/>
              <a:ext cx="44420" cy="80232"/>
            </a:xfrm>
            <a:custGeom>
              <a:avLst/>
              <a:gdLst>
                <a:gd name="T0" fmla="*/ 2 w 26"/>
                <a:gd name="T1" fmla="*/ 12 h 48"/>
                <a:gd name="T2" fmla="*/ 2 w 26"/>
                <a:gd name="T3" fmla="*/ 12 h 48"/>
                <a:gd name="T4" fmla="*/ 6 w 26"/>
                <a:gd name="T5" fmla="*/ 12 h 48"/>
                <a:gd name="T6" fmla="*/ 8 w 26"/>
                <a:gd name="T7" fmla="*/ 10 h 48"/>
                <a:gd name="T8" fmla="*/ 10 w 26"/>
                <a:gd name="T9" fmla="*/ 10 h 48"/>
                <a:gd name="T10" fmla="*/ 12 w 26"/>
                <a:gd name="T11" fmla="*/ 8 h 48"/>
                <a:gd name="T12" fmla="*/ 14 w 26"/>
                <a:gd name="T13" fmla="*/ 8 h 48"/>
                <a:gd name="T14" fmla="*/ 20 w 26"/>
                <a:gd name="T15" fmla="*/ 4 h 48"/>
                <a:gd name="T16" fmla="*/ 26 w 26"/>
                <a:gd name="T17" fmla="*/ 0 h 48"/>
                <a:gd name="T18" fmla="*/ 26 w 26"/>
                <a:gd name="T19" fmla="*/ 8 h 48"/>
                <a:gd name="T20" fmla="*/ 24 w 26"/>
                <a:gd name="T21" fmla="*/ 14 h 48"/>
                <a:gd name="T22" fmla="*/ 24 w 26"/>
                <a:gd name="T23" fmla="*/ 16 h 48"/>
                <a:gd name="T24" fmla="*/ 24 w 26"/>
                <a:gd name="T25" fmla="*/ 20 h 48"/>
                <a:gd name="T26" fmla="*/ 24 w 26"/>
                <a:gd name="T27" fmla="*/ 22 h 48"/>
                <a:gd name="T28" fmla="*/ 24 w 26"/>
                <a:gd name="T29" fmla="*/ 24 h 48"/>
                <a:gd name="T30" fmla="*/ 26 w 26"/>
                <a:gd name="T31" fmla="*/ 32 h 48"/>
                <a:gd name="T32" fmla="*/ 26 w 26"/>
                <a:gd name="T33" fmla="*/ 40 h 48"/>
                <a:gd name="T34" fmla="*/ 22 w 26"/>
                <a:gd name="T35" fmla="*/ 44 h 48"/>
                <a:gd name="T36" fmla="*/ 20 w 26"/>
                <a:gd name="T37" fmla="*/ 46 h 48"/>
                <a:gd name="T38" fmla="*/ 18 w 26"/>
                <a:gd name="T39" fmla="*/ 46 h 48"/>
                <a:gd name="T40" fmla="*/ 16 w 26"/>
                <a:gd name="T41" fmla="*/ 46 h 48"/>
                <a:gd name="T42" fmla="*/ 16 w 26"/>
                <a:gd name="T43" fmla="*/ 48 h 48"/>
                <a:gd name="T44" fmla="*/ 14 w 26"/>
                <a:gd name="T45" fmla="*/ 48 h 48"/>
                <a:gd name="T46" fmla="*/ 12 w 26"/>
                <a:gd name="T47" fmla="*/ 48 h 48"/>
                <a:gd name="T48" fmla="*/ 8 w 26"/>
                <a:gd name="T49" fmla="*/ 48 h 48"/>
                <a:gd name="T50" fmla="*/ 8 w 26"/>
                <a:gd name="T51" fmla="*/ 48 h 48"/>
                <a:gd name="T52" fmla="*/ 4 w 26"/>
                <a:gd name="T53" fmla="*/ 48 h 48"/>
                <a:gd name="T54" fmla="*/ 4 w 26"/>
                <a:gd name="T55" fmla="*/ 48 h 48"/>
                <a:gd name="T56" fmla="*/ 2 w 26"/>
                <a:gd name="T57" fmla="*/ 46 h 48"/>
                <a:gd name="T58" fmla="*/ 2 w 26"/>
                <a:gd name="T59" fmla="*/ 46 h 48"/>
                <a:gd name="T60" fmla="*/ 0 w 26"/>
                <a:gd name="T61" fmla="*/ 46 h 48"/>
                <a:gd name="T62" fmla="*/ 0 w 26"/>
                <a:gd name="T63" fmla="*/ 46 h 48"/>
                <a:gd name="T64" fmla="*/ 0 w 26"/>
                <a:gd name="T65" fmla="*/ 44 h 48"/>
                <a:gd name="T66" fmla="*/ 0 w 26"/>
                <a:gd name="T67" fmla="*/ 44 h 48"/>
                <a:gd name="T68" fmla="*/ 0 w 26"/>
                <a:gd name="T69" fmla="*/ 42 h 48"/>
                <a:gd name="T70" fmla="*/ 0 w 26"/>
                <a:gd name="T71" fmla="*/ 40 h 48"/>
                <a:gd name="T72" fmla="*/ 0 w 26"/>
                <a:gd name="T73" fmla="*/ 36 h 48"/>
                <a:gd name="T74" fmla="*/ 0 w 26"/>
                <a:gd name="T75" fmla="*/ 32 h 48"/>
                <a:gd name="T76" fmla="*/ 0 w 26"/>
                <a:gd name="T77" fmla="*/ 26 h 48"/>
                <a:gd name="T78" fmla="*/ 2 w 26"/>
                <a:gd name="T79" fmla="*/ 20 h 48"/>
                <a:gd name="T80" fmla="*/ 2 w 26"/>
                <a:gd name="T81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" h="48">
                  <a:moveTo>
                    <a:pt x="2" y="12"/>
                  </a:moveTo>
                  <a:lnTo>
                    <a:pt x="2" y="12"/>
                  </a:lnTo>
                  <a:lnTo>
                    <a:pt x="6" y="12"/>
                  </a:lnTo>
                  <a:lnTo>
                    <a:pt x="8" y="10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20" y="4"/>
                  </a:lnTo>
                  <a:lnTo>
                    <a:pt x="26" y="0"/>
                  </a:lnTo>
                  <a:lnTo>
                    <a:pt x="26" y="8"/>
                  </a:lnTo>
                  <a:lnTo>
                    <a:pt x="24" y="14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6" y="32"/>
                  </a:lnTo>
                  <a:lnTo>
                    <a:pt x="26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8" y="46"/>
                  </a:lnTo>
                  <a:lnTo>
                    <a:pt x="16" y="46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33" name="Freeform 522">
              <a:extLst>
                <a:ext uri="{FF2B5EF4-FFF2-40B4-BE49-F238E27FC236}">
                  <a16:creationId xmlns:a16="http://schemas.microsoft.com/office/drawing/2014/main" id="{07058BEE-B59A-4C27-9B7A-1D112BA1F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6898" y="3710083"/>
              <a:ext cx="707289" cy="524851"/>
            </a:xfrm>
            <a:custGeom>
              <a:avLst/>
              <a:gdLst>
                <a:gd name="T0" fmla="*/ 246 w 414"/>
                <a:gd name="T1" fmla="*/ 120 h 314"/>
                <a:gd name="T2" fmla="*/ 242 w 414"/>
                <a:gd name="T3" fmla="*/ 100 h 314"/>
                <a:gd name="T4" fmla="*/ 230 w 414"/>
                <a:gd name="T5" fmla="*/ 90 h 314"/>
                <a:gd name="T6" fmla="*/ 220 w 414"/>
                <a:gd name="T7" fmla="*/ 64 h 314"/>
                <a:gd name="T8" fmla="*/ 202 w 414"/>
                <a:gd name="T9" fmla="*/ 50 h 314"/>
                <a:gd name="T10" fmla="*/ 198 w 414"/>
                <a:gd name="T11" fmla="*/ 70 h 314"/>
                <a:gd name="T12" fmla="*/ 180 w 414"/>
                <a:gd name="T13" fmla="*/ 68 h 314"/>
                <a:gd name="T14" fmla="*/ 174 w 414"/>
                <a:gd name="T15" fmla="*/ 46 h 314"/>
                <a:gd name="T16" fmla="*/ 166 w 414"/>
                <a:gd name="T17" fmla="*/ 38 h 314"/>
                <a:gd name="T18" fmla="*/ 160 w 414"/>
                <a:gd name="T19" fmla="*/ 28 h 314"/>
                <a:gd name="T20" fmla="*/ 152 w 414"/>
                <a:gd name="T21" fmla="*/ 16 h 314"/>
                <a:gd name="T22" fmla="*/ 140 w 414"/>
                <a:gd name="T23" fmla="*/ 18 h 314"/>
                <a:gd name="T24" fmla="*/ 126 w 414"/>
                <a:gd name="T25" fmla="*/ 22 h 314"/>
                <a:gd name="T26" fmla="*/ 120 w 414"/>
                <a:gd name="T27" fmla="*/ 32 h 314"/>
                <a:gd name="T28" fmla="*/ 90 w 414"/>
                <a:gd name="T29" fmla="*/ 36 h 314"/>
                <a:gd name="T30" fmla="*/ 62 w 414"/>
                <a:gd name="T31" fmla="*/ 30 h 314"/>
                <a:gd name="T32" fmla="*/ 36 w 414"/>
                <a:gd name="T33" fmla="*/ 12 h 314"/>
                <a:gd name="T34" fmla="*/ 26 w 414"/>
                <a:gd name="T35" fmla="*/ 0 h 314"/>
                <a:gd name="T36" fmla="*/ 0 w 414"/>
                <a:gd name="T37" fmla="*/ 28 h 314"/>
                <a:gd name="T38" fmla="*/ 16 w 414"/>
                <a:gd name="T39" fmla="*/ 54 h 314"/>
                <a:gd name="T40" fmla="*/ 28 w 414"/>
                <a:gd name="T41" fmla="*/ 84 h 314"/>
                <a:gd name="T42" fmla="*/ 18 w 414"/>
                <a:gd name="T43" fmla="*/ 94 h 314"/>
                <a:gd name="T44" fmla="*/ 40 w 414"/>
                <a:gd name="T45" fmla="*/ 110 h 314"/>
                <a:gd name="T46" fmla="*/ 58 w 414"/>
                <a:gd name="T47" fmla="*/ 128 h 314"/>
                <a:gd name="T48" fmla="*/ 64 w 414"/>
                <a:gd name="T49" fmla="*/ 154 h 314"/>
                <a:gd name="T50" fmla="*/ 90 w 414"/>
                <a:gd name="T51" fmla="*/ 180 h 314"/>
                <a:gd name="T52" fmla="*/ 100 w 414"/>
                <a:gd name="T53" fmla="*/ 172 h 314"/>
                <a:gd name="T54" fmla="*/ 78 w 414"/>
                <a:gd name="T55" fmla="*/ 128 h 314"/>
                <a:gd name="T56" fmla="*/ 48 w 414"/>
                <a:gd name="T57" fmla="*/ 80 h 314"/>
                <a:gd name="T58" fmla="*/ 28 w 414"/>
                <a:gd name="T59" fmla="*/ 30 h 314"/>
                <a:gd name="T60" fmla="*/ 36 w 414"/>
                <a:gd name="T61" fmla="*/ 24 h 314"/>
                <a:gd name="T62" fmla="*/ 60 w 414"/>
                <a:gd name="T63" fmla="*/ 46 h 314"/>
                <a:gd name="T64" fmla="*/ 66 w 414"/>
                <a:gd name="T65" fmla="*/ 74 h 314"/>
                <a:gd name="T66" fmla="*/ 80 w 414"/>
                <a:gd name="T67" fmla="*/ 94 h 314"/>
                <a:gd name="T68" fmla="*/ 98 w 414"/>
                <a:gd name="T69" fmla="*/ 112 h 314"/>
                <a:gd name="T70" fmla="*/ 96 w 414"/>
                <a:gd name="T71" fmla="*/ 126 h 314"/>
                <a:gd name="T72" fmla="*/ 110 w 414"/>
                <a:gd name="T73" fmla="*/ 132 h 314"/>
                <a:gd name="T74" fmla="*/ 112 w 414"/>
                <a:gd name="T75" fmla="*/ 150 h 314"/>
                <a:gd name="T76" fmla="*/ 128 w 414"/>
                <a:gd name="T77" fmla="*/ 158 h 314"/>
                <a:gd name="T78" fmla="*/ 130 w 414"/>
                <a:gd name="T79" fmla="*/ 172 h 314"/>
                <a:gd name="T80" fmla="*/ 142 w 414"/>
                <a:gd name="T81" fmla="*/ 174 h 314"/>
                <a:gd name="T82" fmla="*/ 146 w 414"/>
                <a:gd name="T83" fmla="*/ 200 h 314"/>
                <a:gd name="T84" fmla="*/ 144 w 414"/>
                <a:gd name="T85" fmla="*/ 220 h 314"/>
                <a:gd name="T86" fmla="*/ 156 w 414"/>
                <a:gd name="T87" fmla="*/ 232 h 314"/>
                <a:gd name="T88" fmla="*/ 250 w 414"/>
                <a:gd name="T89" fmla="*/ 290 h 314"/>
                <a:gd name="T90" fmla="*/ 282 w 414"/>
                <a:gd name="T91" fmla="*/ 294 h 314"/>
                <a:gd name="T92" fmla="*/ 302 w 414"/>
                <a:gd name="T93" fmla="*/ 292 h 314"/>
                <a:gd name="T94" fmla="*/ 328 w 414"/>
                <a:gd name="T95" fmla="*/ 312 h 314"/>
                <a:gd name="T96" fmla="*/ 340 w 414"/>
                <a:gd name="T97" fmla="*/ 294 h 314"/>
                <a:gd name="T98" fmla="*/ 350 w 414"/>
                <a:gd name="T99" fmla="*/ 284 h 314"/>
                <a:gd name="T100" fmla="*/ 364 w 414"/>
                <a:gd name="T101" fmla="*/ 268 h 314"/>
                <a:gd name="T102" fmla="*/ 404 w 414"/>
                <a:gd name="T103" fmla="*/ 248 h 314"/>
                <a:gd name="T104" fmla="*/ 408 w 414"/>
                <a:gd name="T105" fmla="*/ 224 h 314"/>
                <a:gd name="T106" fmla="*/ 414 w 414"/>
                <a:gd name="T107" fmla="*/ 214 h 314"/>
                <a:gd name="T108" fmla="*/ 404 w 414"/>
                <a:gd name="T109" fmla="*/ 198 h 314"/>
                <a:gd name="T110" fmla="*/ 374 w 414"/>
                <a:gd name="T111" fmla="*/ 202 h 314"/>
                <a:gd name="T112" fmla="*/ 356 w 414"/>
                <a:gd name="T113" fmla="*/ 230 h 314"/>
                <a:gd name="T114" fmla="*/ 332 w 414"/>
                <a:gd name="T115" fmla="*/ 246 h 314"/>
                <a:gd name="T116" fmla="*/ 286 w 414"/>
                <a:gd name="T117" fmla="*/ 244 h 314"/>
                <a:gd name="T118" fmla="*/ 268 w 414"/>
                <a:gd name="T119" fmla="*/ 218 h 314"/>
                <a:gd name="T120" fmla="*/ 258 w 414"/>
                <a:gd name="T121" fmla="*/ 162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4" h="314">
                  <a:moveTo>
                    <a:pt x="266" y="120"/>
                  </a:moveTo>
                  <a:lnTo>
                    <a:pt x="266" y="120"/>
                  </a:lnTo>
                  <a:lnTo>
                    <a:pt x="264" y="122"/>
                  </a:lnTo>
                  <a:lnTo>
                    <a:pt x="262" y="122"/>
                  </a:lnTo>
                  <a:lnTo>
                    <a:pt x="258" y="122"/>
                  </a:lnTo>
                  <a:lnTo>
                    <a:pt x="254" y="122"/>
                  </a:lnTo>
                  <a:lnTo>
                    <a:pt x="252" y="122"/>
                  </a:lnTo>
                  <a:lnTo>
                    <a:pt x="250" y="122"/>
                  </a:lnTo>
                  <a:lnTo>
                    <a:pt x="248" y="122"/>
                  </a:lnTo>
                  <a:lnTo>
                    <a:pt x="248" y="122"/>
                  </a:lnTo>
                  <a:lnTo>
                    <a:pt x="246" y="120"/>
                  </a:lnTo>
                  <a:lnTo>
                    <a:pt x="246" y="120"/>
                  </a:lnTo>
                  <a:lnTo>
                    <a:pt x="246" y="118"/>
                  </a:lnTo>
                  <a:lnTo>
                    <a:pt x="246" y="118"/>
                  </a:lnTo>
                  <a:lnTo>
                    <a:pt x="246" y="116"/>
                  </a:lnTo>
                  <a:lnTo>
                    <a:pt x="244" y="114"/>
                  </a:lnTo>
                  <a:lnTo>
                    <a:pt x="244" y="110"/>
                  </a:lnTo>
                  <a:lnTo>
                    <a:pt x="244" y="108"/>
                  </a:lnTo>
                  <a:lnTo>
                    <a:pt x="244" y="104"/>
                  </a:lnTo>
                  <a:lnTo>
                    <a:pt x="244" y="104"/>
                  </a:lnTo>
                  <a:lnTo>
                    <a:pt x="244" y="102"/>
                  </a:lnTo>
                  <a:lnTo>
                    <a:pt x="244" y="102"/>
                  </a:lnTo>
                  <a:lnTo>
                    <a:pt x="242" y="100"/>
                  </a:lnTo>
                  <a:lnTo>
                    <a:pt x="242" y="100"/>
                  </a:lnTo>
                  <a:lnTo>
                    <a:pt x="242" y="100"/>
                  </a:lnTo>
                  <a:lnTo>
                    <a:pt x="240" y="98"/>
                  </a:lnTo>
                  <a:lnTo>
                    <a:pt x="238" y="98"/>
                  </a:lnTo>
                  <a:lnTo>
                    <a:pt x="236" y="98"/>
                  </a:lnTo>
                  <a:lnTo>
                    <a:pt x="234" y="96"/>
                  </a:lnTo>
                  <a:lnTo>
                    <a:pt x="232" y="96"/>
                  </a:lnTo>
                  <a:lnTo>
                    <a:pt x="232" y="94"/>
                  </a:lnTo>
                  <a:lnTo>
                    <a:pt x="230" y="94"/>
                  </a:lnTo>
                  <a:lnTo>
                    <a:pt x="230" y="94"/>
                  </a:lnTo>
                  <a:lnTo>
                    <a:pt x="230" y="94"/>
                  </a:lnTo>
                  <a:lnTo>
                    <a:pt x="230" y="92"/>
                  </a:lnTo>
                  <a:lnTo>
                    <a:pt x="230" y="90"/>
                  </a:lnTo>
                  <a:lnTo>
                    <a:pt x="228" y="90"/>
                  </a:lnTo>
                  <a:lnTo>
                    <a:pt x="228" y="86"/>
                  </a:lnTo>
                  <a:lnTo>
                    <a:pt x="228" y="84"/>
                  </a:lnTo>
                  <a:lnTo>
                    <a:pt x="228" y="80"/>
                  </a:lnTo>
                  <a:lnTo>
                    <a:pt x="228" y="78"/>
                  </a:lnTo>
                  <a:lnTo>
                    <a:pt x="228" y="74"/>
                  </a:lnTo>
                  <a:lnTo>
                    <a:pt x="226" y="74"/>
                  </a:lnTo>
                  <a:lnTo>
                    <a:pt x="226" y="72"/>
                  </a:lnTo>
                  <a:lnTo>
                    <a:pt x="226" y="72"/>
                  </a:lnTo>
                  <a:lnTo>
                    <a:pt x="224" y="70"/>
                  </a:lnTo>
                  <a:lnTo>
                    <a:pt x="222" y="66"/>
                  </a:lnTo>
                  <a:lnTo>
                    <a:pt x="220" y="64"/>
                  </a:lnTo>
                  <a:lnTo>
                    <a:pt x="218" y="62"/>
                  </a:lnTo>
                  <a:lnTo>
                    <a:pt x="214" y="58"/>
                  </a:lnTo>
                  <a:lnTo>
                    <a:pt x="212" y="56"/>
                  </a:lnTo>
                  <a:lnTo>
                    <a:pt x="210" y="54"/>
                  </a:lnTo>
                  <a:lnTo>
                    <a:pt x="208" y="52"/>
                  </a:lnTo>
                  <a:lnTo>
                    <a:pt x="208" y="52"/>
                  </a:lnTo>
                  <a:lnTo>
                    <a:pt x="206" y="50"/>
                  </a:lnTo>
                  <a:lnTo>
                    <a:pt x="206" y="50"/>
                  </a:lnTo>
                  <a:lnTo>
                    <a:pt x="204" y="50"/>
                  </a:lnTo>
                  <a:lnTo>
                    <a:pt x="204" y="50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202" y="52"/>
                  </a:lnTo>
                  <a:lnTo>
                    <a:pt x="200" y="52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0" y="60"/>
                  </a:lnTo>
                  <a:lnTo>
                    <a:pt x="200" y="62"/>
                  </a:lnTo>
                  <a:lnTo>
                    <a:pt x="200" y="66"/>
                  </a:lnTo>
                  <a:lnTo>
                    <a:pt x="200" y="68"/>
                  </a:lnTo>
                  <a:lnTo>
                    <a:pt x="198" y="68"/>
                  </a:lnTo>
                  <a:lnTo>
                    <a:pt x="198" y="70"/>
                  </a:lnTo>
                  <a:lnTo>
                    <a:pt x="198" y="70"/>
                  </a:lnTo>
                  <a:lnTo>
                    <a:pt x="196" y="70"/>
                  </a:lnTo>
                  <a:lnTo>
                    <a:pt x="196" y="72"/>
                  </a:lnTo>
                  <a:lnTo>
                    <a:pt x="194" y="72"/>
                  </a:lnTo>
                  <a:lnTo>
                    <a:pt x="192" y="72"/>
                  </a:lnTo>
                  <a:lnTo>
                    <a:pt x="190" y="72"/>
                  </a:lnTo>
                  <a:lnTo>
                    <a:pt x="188" y="72"/>
                  </a:lnTo>
                  <a:lnTo>
                    <a:pt x="186" y="72"/>
                  </a:lnTo>
                  <a:lnTo>
                    <a:pt x="184" y="72"/>
                  </a:lnTo>
                  <a:lnTo>
                    <a:pt x="184" y="70"/>
                  </a:lnTo>
                  <a:lnTo>
                    <a:pt x="182" y="70"/>
                  </a:lnTo>
                  <a:lnTo>
                    <a:pt x="182" y="70"/>
                  </a:lnTo>
                  <a:lnTo>
                    <a:pt x="180" y="68"/>
                  </a:lnTo>
                  <a:lnTo>
                    <a:pt x="180" y="66"/>
                  </a:lnTo>
                  <a:lnTo>
                    <a:pt x="180" y="66"/>
                  </a:lnTo>
                  <a:lnTo>
                    <a:pt x="180" y="64"/>
                  </a:lnTo>
                  <a:lnTo>
                    <a:pt x="180" y="62"/>
                  </a:lnTo>
                  <a:lnTo>
                    <a:pt x="178" y="58"/>
                  </a:lnTo>
                  <a:lnTo>
                    <a:pt x="178" y="54"/>
                  </a:lnTo>
                  <a:lnTo>
                    <a:pt x="178" y="52"/>
                  </a:lnTo>
                  <a:lnTo>
                    <a:pt x="176" y="50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4" y="46"/>
                  </a:lnTo>
                  <a:lnTo>
                    <a:pt x="174" y="46"/>
                  </a:lnTo>
                  <a:lnTo>
                    <a:pt x="174" y="46"/>
                  </a:lnTo>
                  <a:lnTo>
                    <a:pt x="170" y="46"/>
                  </a:lnTo>
                  <a:lnTo>
                    <a:pt x="170" y="44"/>
                  </a:lnTo>
                  <a:lnTo>
                    <a:pt x="168" y="44"/>
                  </a:lnTo>
                  <a:lnTo>
                    <a:pt x="166" y="44"/>
                  </a:lnTo>
                  <a:lnTo>
                    <a:pt x="166" y="44"/>
                  </a:lnTo>
                  <a:lnTo>
                    <a:pt x="166" y="44"/>
                  </a:lnTo>
                  <a:lnTo>
                    <a:pt x="166" y="44"/>
                  </a:lnTo>
                  <a:lnTo>
                    <a:pt x="166" y="42"/>
                  </a:lnTo>
                  <a:lnTo>
                    <a:pt x="166" y="42"/>
                  </a:lnTo>
                  <a:lnTo>
                    <a:pt x="166" y="40"/>
                  </a:lnTo>
                  <a:lnTo>
                    <a:pt x="166" y="38"/>
                  </a:lnTo>
                  <a:lnTo>
                    <a:pt x="166" y="36"/>
                  </a:lnTo>
                  <a:lnTo>
                    <a:pt x="166" y="34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30"/>
                  </a:lnTo>
                  <a:lnTo>
                    <a:pt x="164" y="30"/>
                  </a:lnTo>
                  <a:lnTo>
                    <a:pt x="164" y="30"/>
                  </a:lnTo>
                  <a:lnTo>
                    <a:pt x="164" y="30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0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4" y="28"/>
                  </a:lnTo>
                  <a:lnTo>
                    <a:pt x="154" y="28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2" y="24"/>
                  </a:lnTo>
                  <a:lnTo>
                    <a:pt x="152" y="22"/>
                  </a:lnTo>
                  <a:lnTo>
                    <a:pt x="152" y="20"/>
                  </a:lnTo>
                  <a:lnTo>
                    <a:pt x="152" y="16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50" y="12"/>
                  </a:lnTo>
                  <a:lnTo>
                    <a:pt x="148" y="12"/>
                  </a:lnTo>
                  <a:lnTo>
                    <a:pt x="148" y="12"/>
                  </a:lnTo>
                  <a:lnTo>
                    <a:pt x="148" y="12"/>
                  </a:lnTo>
                  <a:lnTo>
                    <a:pt x="146" y="12"/>
                  </a:lnTo>
                  <a:lnTo>
                    <a:pt x="146" y="12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0" y="18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38" y="20"/>
                  </a:lnTo>
                  <a:lnTo>
                    <a:pt x="138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30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6" y="20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4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8"/>
                  </a:lnTo>
                  <a:lnTo>
                    <a:pt x="124" y="30"/>
                  </a:lnTo>
                  <a:lnTo>
                    <a:pt x="124" y="30"/>
                  </a:lnTo>
                  <a:lnTo>
                    <a:pt x="124" y="30"/>
                  </a:lnTo>
                  <a:lnTo>
                    <a:pt x="122" y="30"/>
                  </a:lnTo>
                  <a:lnTo>
                    <a:pt x="122" y="30"/>
                  </a:lnTo>
                  <a:lnTo>
                    <a:pt x="120" y="32"/>
                  </a:lnTo>
                  <a:lnTo>
                    <a:pt x="118" y="32"/>
                  </a:lnTo>
                  <a:lnTo>
                    <a:pt x="116" y="32"/>
                  </a:lnTo>
                  <a:lnTo>
                    <a:pt x="112" y="30"/>
                  </a:lnTo>
                  <a:lnTo>
                    <a:pt x="106" y="30"/>
                  </a:lnTo>
                  <a:lnTo>
                    <a:pt x="104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0" y="30"/>
                  </a:lnTo>
                  <a:lnTo>
                    <a:pt x="98" y="32"/>
                  </a:lnTo>
                  <a:lnTo>
                    <a:pt x="94" y="34"/>
                  </a:lnTo>
                  <a:lnTo>
                    <a:pt x="92" y="34"/>
                  </a:lnTo>
                  <a:lnTo>
                    <a:pt x="90" y="36"/>
                  </a:lnTo>
                  <a:lnTo>
                    <a:pt x="88" y="36"/>
                  </a:lnTo>
                  <a:lnTo>
                    <a:pt x="86" y="36"/>
                  </a:lnTo>
                  <a:lnTo>
                    <a:pt x="84" y="36"/>
                  </a:lnTo>
                  <a:lnTo>
                    <a:pt x="80" y="36"/>
                  </a:lnTo>
                  <a:lnTo>
                    <a:pt x="78" y="36"/>
                  </a:lnTo>
                  <a:lnTo>
                    <a:pt x="74" y="34"/>
                  </a:lnTo>
                  <a:lnTo>
                    <a:pt x="70" y="34"/>
                  </a:lnTo>
                  <a:lnTo>
                    <a:pt x="68" y="34"/>
                  </a:lnTo>
                  <a:lnTo>
                    <a:pt x="66" y="32"/>
                  </a:lnTo>
                  <a:lnTo>
                    <a:pt x="62" y="32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0" y="28"/>
                  </a:lnTo>
                  <a:lnTo>
                    <a:pt x="58" y="26"/>
                  </a:lnTo>
                  <a:lnTo>
                    <a:pt x="56" y="24"/>
                  </a:lnTo>
                  <a:lnTo>
                    <a:pt x="52" y="20"/>
                  </a:lnTo>
                  <a:lnTo>
                    <a:pt x="50" y="18"/>
                  </a:lnTo>
                  <a:lnTo>
                    <a:pt x="48" y="16"/>
                  </a:lnTo>
                  <a:lnTo>
                    <a:pt x="46" y="16"/>
                  </a:lnTo>
                  <a:lnTo>
                    <a:pt x="44" y="14"/>
                  </a:lnTo>
                  <a:lnTo>
                    <a:pt x="42" y="14"/>
                  </a:lnTo>
                  <a:lnTo>
                    <a:pt x="40" y="14"/>
                  </a:lnTo>
                  <a:lnTo>
                    <a:pt x="38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0" y="2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4" y="40"/>
                  </a:lnTo>
                  <a:lnTo>
                    <a:pt x="4" y="42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6" y="54"/>
                  </a:lnTo>
                  <a:lnTo>
                    <a:pt x="20" y="58"/>
                  </a:lnTo>
                  <a:lnTo>
                    <a:pt x="24" y="64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4"/>
                  </a:lnTo>
                  <a:lnTo>
                    <a:pt x="28" y="76"/>
                  </a:lnTo>
                  <a:lnTo>
                    <a:pt x="28" y="78"/>
                  </a:lnTo>
                  <a:lnTo>
                    <a:pt x="28" y="80"/>
                  </a:lnTo>
                  <a:lnTo>
                    <a:pt x="28" y="82"/>
                  </a:lnTo>
                  <a:lnTo>
                    <a:pt x="28" y="84"/>
                  </a:lnTo>
                  <a:lnTo>
                    <a:pt x="26" y="84"/>
                  </a:lnTo>
                  <a:lnTo>
                    <a:pt x="26" y="86"/>
                  </a:lnTo>
                  <a:lnTo>
                    <a:pt x="26" y="88"/>
                  </a:lnTo>
                  <a:lnTo>
                    <a:pt x="24" y="88"/>
                  </a:lnTo>
                  <a:lnTo>
                    <a:pt x="24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6"/>
                  </a:lnTo>
                  <a:lnTo>
                    <a:pt x="20" y="98"/>
                  </a:lnTo>
                  <a:lnTo>
                    <a:pt x="20" y="98"/>
                  </a:lnTo>
                  <a:lnTo>
                    <a:pt x="22" y="100"/>
                  </a:lnTo>
                  <a:lnTo>
                    <a:pt x="24" y="100"/>
                  </a:lnTo>
                  <a:lnTo>
                    <a:pt x="26" y="102"/>
                  </a:lnTo>
                  <a:lnTo>
                    <a:pt x="28" y="104"/>
                  </a:lnTo>
                  <a:lnTo>
                    <a:pt x="32" y="106"/>
                  </a:lnTo>
                  <a:lnTo>
                    <a:pt x="36" y="108"/>
                  </a:lnTo>
                  <a:lnTo>
                    <a:pt x="38" y="110"/>
                  </a:lnTo>
                  <a:lnTo>
                    <a:pt x="40" y="110"/>
                  </a:lnTo>
                  <a:lnTo>
                    <a:pt x="42" y="112"/>
                  </a:lnTo>
                  <a:lnTo>
                    <a:pt x="44" y="112"/>
                  </a:lnTo>
                  <a:lnTo>
                    <a:pt x="46" y="114"/>
                  </a:lnTo>
                  <a:lnTo>
                    <a:pt x="50" y="118"/>
                  </a:lnTo>
                  <a:lnTo>
                    <a:pt x="52" y="120"/>
                  </a:lnTo>
                  <a:lnTo>
                    <a:pt x="54" y="120"/>
                  </a:lnTo>
                  <a:lnTo>
                    <a:pt x="56" y="122"/>
                  </a:lnTo>
                  <a:lnTo>
                    <a:pt x="58" y="124"/>
                  </a:lnTo>
                  <a:lnTo>
                    <a:pt x="58" y="124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8"/>
                  </a:lnTo>
                  <a:lnTo>
                    <a:pt x="60" y="130"/>
                  </a:lnTo>
                  <a:lnTo>
                    <a:pt x="60" y="132"/>
                  </a:lnTo>
                  <a:lnTo>
                    <a:pt x="60" y="136"/>
                  </a:lnTo>
                  <a:lnTo>
                    <a:pt x="60" y="140"/>
                  </a:lnTo>
                  <a:lnTo>
                    <a:pt x="60" y="144"/>
                  </a:lnTo>
                  <a:lnTo>
                    <a:pt x="60" y="144"/>
                  </a:lnTo>
                  <a:lnTo>
                    <a:pt x="60" y="146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2" y="150"/>
                  </a:lnTo>
                  <a:lnTo>
                    <a:pt x="62" y="152"/>
                  </a:lnTo>
                  <a:lnTo>
                    <a:pt x="64" y="154"/>
                  </a:lnTo>
                  <a:lnTo>
                    <a:pt x="66" y="156"/>
                  </a:lnTo>
                  <a:lnTo>
                    <a:pt x="68" y="160"/>
                  </a:lnTo>
                  <a:lnTo>
                    <a:pt x="72" y="166"/>
                  </a:lnTo>
                  <a:lnTo>
                    <a:pt x="76" y="170"/>
                  </a:lnTo>
                  <a:lnTo>
                    <a:pt x="78" y="172"/>
                  </a:lnTo>
                  <a:lnTo>
                    <a:pt x="80" y="174"/>
                  </a:lnTo>
                  <a:lnTo>
                    <a:pt x="82" y="174"/>
                  </a:lnTo>
                  <a:lnTo>
                    <a:pt x="84" y="176"/>
                  </a:lnTo>
                  <a:lnTo>
                    <a:pt x="86" y="178"/>
                  </a:lnTo>
                  <a:lnTo>
                    <a:pt x="88" y="178"/>
                  </a:lnTo>
                  <a:lnTo>
                    <a:pt x="90" y="178"/>
                  </a:lnTo>
                  <a:lnTo>
                    <a:pt x="90" y="180"/>
                  </a:lnTo>
                  <a:lnTo>
                    <a:pt x="92" y="180"/>
                  </a:lnTo>
                  <a:lnTo>
                    <a:pt x="94" y="180"/>
                  </a:lnTo>
                  <a:lnTo>
                    <a:pt x="96" y="180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6"/>
                  </a:lnTo>
                  <a:lnTo>
                    <a:pt x="100" y="176"/>
                  </a:lnTo>
                  <a:lnTo>
                    <a:pt x="100" y="174"/>
                  </a:lnTo>
                  <a:lnTo>
                    <a:pt x="100" y="172"/>
                  </a:lnTo>
                  <a:lnTo>
                    <a:pt x="100" y="170"/>
                  </a:lnTo>
                  <a:lnTo>
                    <a:pt x="98" y="168"/>
                  </a:lnTo>
                  <a:lnTo>
                    <a:pt x="96" y="164"/>
                  </a:lnTo>
                  <a:lnTo>
                    <a:pt x="94" y="160"/>
                  </a:lnTo>
                  <a:lnTo>
                    <a:pt x="94" y="158"/>
                  </a:lnTo>
                  <a:lnTo>
                    <a:pt x="92" y="156"/>
                  </a:lnTo>
                  <a:lnTo>
                    <a:pt x="90" y="154"/>
                  </a:lnTo>
                  <a:lnTo>
                    <a:pt x="90" y="150"/>
                  </a:lnTo>
                  <a:lnTo>
                    <a:pt x="86" y="144"/>
                  </a:lnTo>
                  <a:lnTo>
                    <a:pt x="82" y="136"/>
                  </a:lnTo>
                  <a:lnTo>
                    <a:pt x="80" y="130"/>
                  </a:lnTo>
                  <a:lnTo>
                    <a:pt x="78" y="128"/>
                  </a:lnTo>
                  <a:lnTo>
                    <a:pt x="78" y="124"/>
                  </a:lnTo>
                  <a:lnTo>
                    <a:pt x="74" y="118"/>
                  </a:lnTo>
                  <a:lnTo>
                    <a:pt x="72" y="112"/>
                  </a:lnTo>
                  <a:lnTo>
                    <a:pt x="70" y="108"/>
                  </a:lnTo>
                  <a:lnTo>
                    <a:pt x="70" y="106"/>
                  </a:lnTo>
                  <a:lnTo>
                    <a:pt x="68" y="104"/>
                  </a:lnTo>
                  <a:lnTo>
                    <a:pt x="66" y="100"/>
                  </a:lnTo>
                  <a:lnTo>
                    <a:pt x="60" y="94"/>
                  </a:lnTo>
                  <a:lnTo>
                    <a:pt x="56" y="88"/>
                  </a:lnTo>
                  <a:lnTo>
                    <a:pt x="54" y="86"/>
                  </a:lnTo>
                  <a:lnTo>
                    <a:pt x="52" y="84"/>
                  </a:lnTo>
                  <a:lnTo>
                    <a:pt x="48" y="80"/>
                  </a:lnTo>
                  <a:lnTo>
                    <a:pt x="46" y="74"/>
                  </a:lnTo>
                  <a:lnTo>
                    <a:pt x="40" y="64"/>
                  </a:lnTo>
                  <a:lnTo>
                    <a:pt x="36" y="56"/>
                  </a:lnTo>
                  <a:lnTo>
                    <a:pt x="34" y="52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2" y="46"/>
                  </a:lnTo>
                  <a:lnTo>
                    <a:pt x="30" y="40"/>
                  </a:lnTo>
                  <a:lnTo>
                    <a:pt x="30" y="36"/>
                  </a:lnTo>
                  <a:lnTo>
                    <a:pt x="28" y="34"/>
                  </a:lnTo>
                  <a:lnTo>
                    <a:pt x="28" y="32"/>
                  </a:lnTo>
                  <a:lnTo>
                    <a:pt x="28" y="30"/>
                  </a:lnTo>
                  <a:lnTo>
                    <a:pt x="28" y="28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6"/>
                  </a:lnTo>
                  <a:lnTo>
                    <a:pt x="42" y="28"/>
                  </a:lnTo>
                  <a:lnTo>
                    <a:pt x="42" y="30"/>
                  </a:lnTo>
                  <a:lnTo>
                    <a:pt x="44" y="32"/>
                  </a:lnTo>
                  <a:lnTo>
                    <a:pt x="48" y="34"/>
                  </a:lnTo>
                  <a:lnTo>
                    <a:pt x="50" y="38"/>
                  </a:lnTo>
                  <a:lnTo>
                    <a:pt x="52" y="40"/>
                  </a:lnTo>
                  <a:lnTo>
                    <a:pt x="52" y="42"/>
                  </a:lnTo>
                  <a:lnTo>
                    <a:pt x="54" y="42"/>
                  </a:lnTo>
                  <a:lnTo>
                    <a:pt x="56" y="44"/>
                  </a:lnTo>
                  <a:lnTo>
                    <a:pt x="58" y="46"/>
                  </a:lnTo>
                  <a:lnTo>
                    <a:pt x="60" y="46"/>
                  </a:lnTo>
                  <a:lnTo>
                    <a:pt x="62" y="48"/>
                  </a:lnTo>
                  <a:lnTo>
                    <a:pt x="64" y="48"/>
                  </a:lnTo>
                  <a:lnTo>
                    <a:pt x="64" y="50"/>
                  </a:lnTo>
                  <a:lnTo>
                    <a:pt x="64" y="52"/>
                  </a:lnTo>
                  <a:lnTo>
                    <a:pt x="66" y="52"/>
                  </a:lnTo>
                  <a:lnTo>
                    <a:pt x="66" y="54"/>
                  </a:lnTo>
                  <a:lnTo>
                    <a:pt x="66" y="56"/>
                  </a:lnTo>
                  <a:lnTo>
                    <a:pt x="66" y="60"/>
                  </a:lnTo>
                  <a:lnTo>
                    <a:pt x="66" y="64"/>
                  </a:lnTo>
                  <a:lnTo>
                    <a:pt x="66" y="68"/>
                  </a:lnTo>
                  <a:lnTo>
                    <a:pt x="66" y="72"/>
                  </a:lnTo>
                  <a:lnTo>
                    <a:pt x="66" y="74"/>
                  </a:lnTo>
                  <a:lnTo>
                    <a:pt x="66" y="74"/>
                  </a:lnTo>
                  <a:lnTo>
                    <a:pt x="66" y="76"/>
                  </a:lnTo>
                  <a:lnTo>
                    <a:pt x="66" y="78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0" y="82"/>
                  </a:lnTo>
                  <a:lnTo>
                    <a:pt x="72" y="84"/>
                  </a:lnTo>
                  <a:lnTo>
                    <a:pt x="76" y="86"/>
                  </a:lnTo>
                  <a:lnTo>
                    <a:pt x="76" y="88"/>
                  </a:lnTo>
                  <a:lnTo>
                    <a:pt x="78" y="90"/>
                  </a:lnTo>
                  <a:lnTo>
                    <a:pt x="80" y="90"/>
                  </a:lnTo>
                  <a:lnTo>
                    <a:pt x="80" y="94"/>
                  </a:lnTo>
                  <a:lnTo>
                    <a:pt x="84" y="98"/>
                  </a:lnTo>
                  <a:lnTo>
                    <a:pt x="84" y="102"/>
                  </a:lnTo>
                  <a:lnTo>
                    <a:pt x="86" y="104"/>
                  </a:lnTo>
                  <a:lnTo>
                    <a:pt x="88" y="106"/>
                  </a:lnTo>
                  <a:lnTo>
                    <a:pt x="88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2" y="110"/>
                  </a:lnTo>
                  <a:lnTo>
                    <a:pt x="94" y="110"/>
                  </a:lnTo>
                  <a:lnTo>
                    <a:pt x="96" y="112"/>
                  </a:lnTo>
                  <a:lnTo>
                    <a:pt x="96" y="112"/>
                  </a:lnTo>
                  <a:lnTo>
                    <a:pt x="98" y="112"/>
                  </a:lnTo>
                  <a:lnTo>
                    <a:pt x="98" y="112"/>
                  </a:lnTo>
                  <a:lnTo>
                    <a:pt x="98" y="112"/>
                  </a:lnTo>
                  <a:lnTo>
                    <a:pt x="98" y="114"/>
                  </a:lnTo>
                  <a:lnTo>
                    <a:pt x="98" y="114"/>
                  </a:lnTo>
                  <a:lnTo>
                    <a:pt x="98" y="116"/>
                  </a:lnTo>
                  <a:lnTo>
                    <a:pt x="98" y="116"/>
                  </a:lnTo>
                  <a:lnTo>
                    <a:pt x="98" y="118"/>
                  </a:lnTo>
                  <a:lnTo>
                    <a:pt x="98" y="120"/>
                  </a:lnTo>
                  <a:lnTo>
                    <a:pt x="96" y="122"/>
                  </a:lnTo>
                  <a:lnTo>
                    <a:pt x="96" y="124"/>
                  </a:lnTo>
                  <a:lnTo>
                    <a:pt x="96" y="126"/>
                  </a:lnTo>
                  <a:lnTo>
                    <a:pt x="96" y="126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8" y="128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0" y="130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6" y="132"/>
                  </a:lnTo>
                  <a:lnTo>
                    <a:pt x="108" y="132"/>
                  </a:lnTo>
                  <a:lnTo>
                    <a:pt x="108" y="132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4"/>
                  </a:lnTo>
                  <a:lnTo>
                    <a:pt x="112" y="134"/>
                  </a:lnTo>
                  <a:lnTo>
                    <a:pt x="112" y="134"/>
                  </a:lnTo>
                  <a:lnTo>
                    <a:pt x="112" y="136"/>
                  </a:lnTo>
                  <a:lnTo>
                    <a:pt x="112" y="136"/>
                  </a:lnTo>
                  <a:lnTo>
                    <a:pt x="112" y="140"/>
                  </a:lnTo>
                  <a:lnTo>
                    <a:pt x="112" y="142"/>
                  </a:lnTo>
                  <a:lnTo>
                    <a:pt x="112" y="144"/>
                  </a:lnTo>
                  <a:lnTo>
                    <a:pt x="112" y="146"/>
                  </a:lnTo>
                  <a:lnTo>
                    <a:pt x="112" y="148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2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6" y="154"/>
                  </a:lnTo>
                  <a:lnTo>
                    <a:pt x="118" y="154"/>
                  </a:lnTo>
                  <a:lnTo>
                    <a:pt x="120" y="156"/>
                  </a:lnTo>
                  <a:lnTo>
                    <a:pt x="124" y="156"/>
                  </a:lnTo>
                  <a:lnTo>
                    <a:pt x="126" y="156"/>
                  </a:lnTo>
                  <a:lnTo>
                    <a:pt x="128" y="158"/>
                  </a:lnTo>
                  <a:lnTo>
                    <a:pt x="128" y="158"/>
                  </a:lnTo>
                  <a:lnTo>
                    <a:pt x="130" y="158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0" y="162"/>
                  </a:lnTo>
                  <a:lnTo>
                    <a:pt x="130" y="164"/>
                  </a:lnTo>
                  <a:lnTo>
                    <a:pt x="130" y="166"/>
                  </a:lnTo>
                  <a:lnTo>
                    <a:pt x="130" y="168"/>
                  </a:lnTo>
                  <a:lnTo>
                    <a:pt x="128" y="170"/>
                  </a:lnTo>
                  <a:lnTo>
                    <a:pt x="128" y="170"/>
                  </a:lnTo>
                  <a:lnTo>
                    <a:pt x="130" y="172"/>
                  </a:lnTo>
                  <a:lnTo>
                    <a:pt x="130" y="172"/>
                  </a:lnTo>
                  <a:lnTo>
                    <a:pt x="130" y="172"/>
                  </a:lnTo>
                  <a:lnTo>
                    <a:pt x="130" y="172"/>
                  </a:lnTo>
                  <a:lnTo>
                    <a:pt x="130" y="172"/>
                  </a:lnTo>
                  <a:lnTo>
                    <a:pt x="132" y="174"/>
                  </a:lnTo>
                  <a:lnTo>
                    <a:pt x="134" y="174"/>
                  </a:lnTo>
                  <a:lnTo>
                    <a:pt x="136" y="172"/>
                  </a:lnTo>
                  <a:lnTo>
                    <a:pt x="136" y="172"/>
                  </a:lnTo>
                  <a:lnTo>
                    <a:pt x="138" y="172"/>
                  </a:lnTo>
                  <a:lnTo>
                    <a:pt x="140" y="172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2" y="174"/>
                  </a:lnTo>
                  <a:lnTo>
                    <a:pt x="142" y="176"/>
                  </a:lnTo>
                  <a:lnTo>
                    <a:pt x="142" y="176"/>
                  </a:lnTo>
                  <a:lnTo>
                    <a:pt x="142" y="178"/>
                  </a:lnTo>
                  <a:lnTo>
                    <a:pt x="142" y="180"/>
                  </a:lnTo>
                  <a:lnTo>
                    <a:pt x="142" y="182"/>
                  </a:lnTo>
                  <a:lnTo>
                    <a:pt x="142" y="188"/>
                  </a:lnTo>
                  <a:lnTo>
                    <a:pt x="142" y="190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4"/>
                  </a:lnTo>
                  <a:lnTo>
                    <a:pt x="144" y="196"/>
                  </a:lnTo>
                  <a:lnTo>
                    <a:pt x="146" y="200"/>
                  </a:lnTo>
                  <a:lnTo>
                    <a:pt x="146" y="202"/>
                  </a:lnTo>
                  <a:lnTo>
                    <a:pt x="148" y="204"/>
                  </a:lnTo>
                  <a:lnTo>
                    <a:pt x="148" y="206"/>
                  </a:lnTo>
                  <a:lnTo>
                    <a:pt x="148" y="208"/>
                  </a:lnTo>
                  <a:lnTo>
                    <a:pt x="148" y="208"/>
                  </a:lnTo>
                  <a:lnTo>
                    <a:pt x="148" y="210"/>
                  </a:lnTo>
                  <a:lnTo>
                    <a:pt x="148" y="210"/>
                  </a:lnTo>
                  <a:lnTo>
                    <a:pt x="148" y="212"/>
                  </a:lnTo>
                  <a:lnTo>
                    <a:pt x="146" y="214"/>
                  </a:lnTo>
                  <a:lnTo>
                    <a:pt x="146" y="216"/>
                  </a:lnTo>
                  <a:lnTo>
                    <a:pt x="144" y="218"/>
                  </a:lnTo>
                  <a:lnTo>
                    <a:pt x="144" y="220"/>
                  </a:lnTo>
                  <a:lnTo>
                    <a:pt x="144" y="222"/>
                  </a:lnTo>
                  <a:lnTo>
                    <a:pt x="144" y="222"/>
                  </a:lnTo>
                  <a:lnTo>
                    <a:pt x="144" y="224"/>
                  </a:lnTo>
                  <a:lnTo>
                    <a:pt x="144" y="224"/>
                  </a:lnTo>
                  <a:lnTo>
                    <a:pt x="144" y="224"/>
                  </a:lnTo>
                  <a:lnTo>
                    <a:pt x="144" y="226"/>
                  </a:lnTo>
                  <a:lnTo>
                    <a:pt x="146" y="226"/>
                  </a:lnTo>
                  <a:lnTo>
                    <a:pt x="146" y="226"/>
                  </a:lnTo>
                  <a:lnTo>
                    <a:pt x="148" y="228"/>
                  </a:lnTo>
                  <a:lnTo>
                    <a:pt x="150" y="228"/>
                  </a:lnTo>
                  <a:lnTo>
                    <a:pt x="154" y="230"/>
                  </a:lnTo>
                  <a:lnTo>
                    <a:pt x="156" y="232"/>
                  </a:lnTo>
                  <a:lnTo>
                    <a:pt x="158" y="232"/>
                  </a:lnTo>
                  <a:lnTo>
                    <a:pt x="166" y="238"/>
                  </a:lnTo>
                  <a:lnTo>
                    <a:pt x="176" y="244"/>
                  </a:lnTo>
                  <a:lnTo>
                    <a:pt x="196" y="260"/>
                  </a:lnTo>
                  <a:lnTo>
                    <a:pt x="208" y="266"/>
                  </a:lnTo>
                  <a:lnTo>
                    <a:pt x="218" y="274"/>
                  </a:lnTo>
                  <a:lnTo>
                    <a:pt x="224" y="276"/>
                  </a:lnTo>
                  <a:lnTo>
                    <a:pt x="228" y="280"/>
                  </a:lnTo>
                  <a:lnTo>
                    <a:pt x="232" y="282"/>
                  </a:lnTo>
                  <a:lnTo>
                    <a:pt x="236" y="284"/>
                  </a:lnTo>
                  <a:lnTo>
                    <a:pt x="246" y="288"/>
                  </a:lnTo>
                  <a:lnTo>
                    <a:pt x="250" y="290"/>
                  </a:lnTo>
                  <a:lnTo>
                    <a:pt x="256" y="292"/>
                  </a:lnTo>
                  <a:lnTo>
                    <a:pt x="262" y="294"/>
                  </a:lnTo>
                  <a:lnTo>
                    <a:pt x="264" y="296"/>
                  </a:lnTo>
                  <a:lnTo>
                    <a:pt x="268" y="296"/>
                  </a:lnTo>
                  <a:lnTo>
                    <a:pt x="270" y="296"/>
                  </a:lnTo>
                  <a:lnTo>
                    <a:pt x="272" y="298"/>
                  </a:lnTo>
                  <a:lnTo>
                    <a:pt x="274" y="298"/>
                  </a:lnTo>
                  <a:lnTo>
                    <a:pt x="276" y="296"/>
                  </a:lnTo>
                  <a:lnTo>
                    <a:pt x="278" y="296"/>
                  </a:lnTo>
                  <a:lnTo>
                    <a:pt x="278" y="296"/>
                  </a:lnTo>
                  <a:lnTo>
                    <a:pt x="280" y="296"/>
                  </a:lnTo>
                  <a:lnTo>
                    <a:pt x="282" y="294"/>
                  </a:lnTo>
                  <a:lnTo>
                    <a:pt x="284" y="292"/>
                  </a:lnTo>
                  <a:lnTo>
                    <a:pt x="286" y="290"/>
                  </a:lnTo>
                  <a:lnTo>
                    <a:pt x="288" y="290"/>
                  </a:lnTo>
                  <a:lnTo>
                    <a:pt x="290" y="288"/>
                  </a:lnTo>
                  <a:lnTo>
                    <a:pt x="290" y="288"/>
                  </a:lnTo>
                  <a:lnTo>
                    <a:pt x="290" y="288"/>
                  </a:lnTo>
                  <a:lnTo>
                    <a:pt x="292" y="288"/>
                  </a:lnTo>
                  <a:lnTo>
                    <a:pt x="294" y="288"/>
                  </a:lnTo>
                  <a:lnTo>
                    <a:pt x="296" y="290"/>
                  </a:lnTo>
                  <a:lnTo>
                    <a:pt x="296" y="290"/>
                  </a:lnTo>
                  <a:lnTo>
                    <a:pt x="300" y="292"/>
                  </a:lnTo>
                  <a:lnTo>
                    <a:pt x="302" y="292"/>
                  </a:lnTo>
                  <a:lnTo>
                    <a:pt x="302" y="294"/>
                  </a:lnTo>
                  <a:lnTo>
                    <a:pt x="306" y="294"/>
                  </a:lnTo>
                  <a:lnTo>
                    <a:pt x="310" y="296"/>
                  </a:lnTo>
                  <a:lnTo>
                    <a:pt x="314" y="296"/>
                  </a:lnTo>
                  <a:lnTo>
                    <a:pt x="316" y="298"/>
                  </a:lnTo>
                  <a:lnTo>
                    <a:pt x="318" y="298"/>
                  </a:lnTo>
                  <a:lnTo>
                    <a:pt x="318" y="300"/>
                  </a:lnTo>
                  <a:lnTo>
                    <a:pt x="320" y="300"/>
                  </a:lnTo>
                  <a:lnTo>
                    <a:pt x="322" y="302"/>
                  </a:lnTo>
                  <a:lnTo>
                    <a:pt x="324" y="306"/>
                  </a:lnTo>
                  <a:lnTo>
                    <a:pt x="326" y="308"/>
                  </a:lnTo>
                  <a:lnTo>
                    <a:pt x="328" y="312"/>
                  </a:lnTo>
                  <a:lnTo>
                    <a:pt x="330" y="314"/>
                  </a:lnTo>
                  <a:lnTo>
                    <a:pt x="330" y="312"/>
                  </a:lnTo>
                  <a:lnTo>
                    <a:pt x="332" y="306"/>
                  </a:lnTo>
                  <a:lnTo>
                    <a:pt x="332" y="304"/>
                  </a:lnTo>
                  <a:lnTo>
                    <a:pt x="334" y="300"/>
                  </a:lnTo>
                  <a:lnTo>
                    <a:pt x="334" y="298"/>
                  </a:lnTo>
                  <a:lnTo>
                    <a:pt x="336" y="296"/>
                  </a:lnTo>
                  <a:lnTo>
                    <a:pt x="336" y="296"/>
                  </a:lnTo>
                  <a:lnTo>
                    <a:pt x="336" y="296"/>
                  </a:lnTo>
                  <a:lnTo>
                    <a:pt x="336" y="296"/>
                  </a:lnTo>
                  <a:lnTo>
                    <a:pt x="338" y="294"/>
                  </a:lnTo>
                  <a:lnTo>
                    <a:pt x="340" y="294"/>
                  </a:lnTo>
                  <a:lnTo>
                    <a:pt x="342" y="294"/>
                  </a:lnTo>
                  <a:lnTo>
                    <a:pt x="344" y="294"/>
                  </a:lnTo>
                  <a:lnTo>
                    <a:pt x="346" y="294"/>
                  </a:lnTo>
                  <a:lnTo>
                    <a:pt x="348" y="294"/>
                  </a:lnTo>
                  <a:lnTo>
                    <a:pt x="348" y="292"/>
                  </a:lnTo>
                  <a:lnTo>
                    <a:pt x="348" y="292"/>
                  </a:lnTo>
                  <a:lnTo>
                    <a:pt x="348" y="292"/>
                  </a:lnTo>
                  <a:lnTo>
                    <a:pt x="350" y="290"/>
                  </a:lnTo>
                  <a:lnTo>
                    <a:pt x="350" y="290"/>
                  </a:lnTo>
                  <a:lnTo>
                    <a:pt x="350" y="288"/>
                  </a:lnTo>
                  <a:lnTo>
                    <a:pt x="350" y="286"/>
                  </a:lnTo>
                  <a:lnTo>
                    <a:pt x="350" y="284"/>
                  </a:lnTo>
                  <a:lnTo>
                    <a:pt x="350" y="280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50" y="276"/>
                  </a:lnTo>
                  <a:lnTo>
                    <a:pt x="350" y="276"/>
                  </a:lnTo>
                  <a:lnTo>
                    <a:pt x="350" y="274"/>
                  </a:lnTo>
                  <a:lnTo>
                    <a:pt x="352" y="274"/>
                  </a:lnTo>
                  <a:lnTo>
                    <a:pt x="352" y="272"/>
                  </a:lnTo>
                  <a:lnTo>
                    <a:pt x="354" y="272"/>
                  </a:lnTo>
                  <a:lnTo>
                    <a:pt x="356" y="270"/>
                  </a:lnTo>
                  <a:lnTo>
                    <a:pt x="360" y="270"/>
                  </a:lnTo>
                  <a:lnTo>
                    <a:pt x="364" y="268"/>
                  </a:lnTo>
                  <a:lnTo>
                    <a:pt x="368" y="266"/>
                  </a:lnTo>
                  <a:lnTo>
                    <a:pt x="370" y="266"/>
                  </a:lnTo>
                  <a:lnTo>
                    <a:pt x="374" y="264"/>
                  </a:lnTo>
                  <a:lnTo>
                    <a:pt x="376" y="264"/>
                  </a:lnTo>
                  <a:lnTo>
                    <a:pt x="380" y="262"/>
                  </a:lnTo>
                  <a:lnTo>
                    <a:pt x="382" y="262"/>
                  </a:lnTo>
                  <a:lnTo>
                    <a:pt x="384" y="260"/>
                  </a:lnTo>
                  <a:lnTo>
                    <a:pt x="386" y="260"/>
                  </a:lnTo>
                  <a:lnTo>
                    <a:pt x="392" y="256"/>
                  </a:lnTo>
                  <a:lnTo>
                    <a:pt x="398" y="252"/>
                  </a:lnTo>
                  <a:lnTo>
                    <a:pt x="400" y="250"/>
                  </a:lnTo>
                  <a:lnTo>
                    <a:pt x="404" y="248"/>
                  </a:lnTo>
                  <a:lnTo>
                    <a:pt x="406" y="244"/>
                  </a:lnTo>
                  <a:lnTo>
                    <a:pt x="408" y="242"/>
                  </a:lnTo>
                  <a:lnTo>
                    <a:pt x="408" y="240"/>
                  </a:lnTo>
                  <a:lnTo>
                    <a:pt x="408" y="240"/>
                  </a:lnTo>
                  <a:lnTo>
                    <a:pt x="410" y="238"/>
                  </a:lnTo>
                  <a:lnTo>
                    <a:pt x="410" y="238"/>
                  </a:lnTo>
                  <a:lnTo>
                    <a:pt x="410" y="238"/>
                  </a:lnTo>
                  <a:lnTo>
                    <a:pt x="410" y="234"/>
                  </a:lnTo>
                  <a:lnTo>
                    <a:pt x="408" y="232"/>
                  </a:lnTo>
                  <a:lnTo>
                    <a:pt x="408" y="230"/>
                  </a:lnTo>
                  <a:lnTo>
                    <a:pt x="408" y="226"/>
                  </a:lnTo>
                  <a:lnTo>
                    <a:pt x="408" y="224"/>
                  </a:lnTo>
                  <a:lnTo>
                    <a:pt x="408" y="222"/>
                  </a:lnTo>
                  <a:lnTo>
                    <a:pt x="408" y="222"/>
                  </a:lnTo>
                  <a:lnTo>
                    <a:pt x="408" y="220"/>
                  </a:lnTo>
                  <a:lnTo>
                    <a:pt x="408" y="220"/>
                  </a:lnTo>
                  <a:lnTo>
                    <a:pt x="408" y="220"/>
                  </a:lnTo>
                  <a:lnTo>
                    <a:pt x="410" y="220"/>
                  </a:lnTo>
                  <a:lnTo>
                    <a:pt x="412" y="218"/>
                  </a:lnTo>
                  <a:lnTo>
                    <a:pt x="414" y="218"/>
                  </a:lnTo>
                  <a:lnTo>
                    <a:pt x="414" y="216"/>
                  </a:lnTo>
                  <a:lnTo>
                    <a:pt x="414" y="216"/>
                  </a:lnTo>
                  <a:lnTo>
                    <a:pt x="414" y="216"/>
                  </a:lnTo>
                  <a:lnTo>
                    <a:pt x="414" y="214"/>
                  </a:lnTo>
                  <a:lnTo>
                    <a:pt x="414" y="212"/>
                  </a:lnTo>
                  <a:lnTo>
                    <a:pt x="414" y="210"/>
                  </a:lnTo>
                  <a:lnTo>
                    <a:pt x="414" y="208"/>
                  </a:lnTo>
                  <a:lnTo>
                    <a:pt x="414" y="206"/>
                  </a:lnTo>
                  <a:lnTo>
                    <a:pt x="412" y="204"/>
                  </a:lnTo>
                  <a:lnTo>
                    <a:pt x="412" y="202"/>
                  </a:lnTo>
                  <a:lnTo>
                    <a:pt x="412" y="202"/>
                  </a:lnTo>
                  <a:lnTo>
                    <a:pt x="410" y="202"/>
                  </a:lnTo>
                  <a:lnTo>
                    <a:pt x="410" y="200"/>
                  </a:lnTo>
                  <a:lnTo>
                    <a:pt x="408" y="200"/>
                  </a:lnTo>
                  <a:lnTo>
                    <a:pt x="406" y="198"/>
                  </a:lnTo>
                  <a:lnTo>
                    <a:pt x="404" y="198"/>
                  </a:lnTo>
                  <a:lnTo>
                    <a:pt x="402" y="198"/>
                  </a:lnTo>
                  <a:lnTo>
                    <a:pt x="400" y="198"/>
                  </a:lnTo>
                  <a:lnTo>
                    <a:pt x="398" y="198"/>
                  </a:lnTo>
                  <a:lnTo>
                    <a:pt x="396" y="198"/>
                  </a:lnTo>
                  <a:lnTo>
                    <a:pt x="390" y="198"/>
                  </a:lnTo>
                  <a:lnTo>
                    <a:pt x="386" y="198"/>
                  </a:lnTo>
                  <a:lnTo>
                    <a:pt x="382" y="198"/>
                  </a:lnTo>
                  <a:lnTo>
                    <a:pt x="380" y="198"/>
                  </a:lnTo>
                  <a:lnTo>
                    <a:pt x="380" y="198"/>
                  </a:lnTo>
                  <a:lnTo>
                    <a:pt x="378" y="200"/>
                  </a:lnTo>
                  <a:lnTo>
                    <a:pt x="376" y="200"/>
                  </a:lnTo>
                  <a:lnTo>
                    <a:pt x="374" y="202"/>
                  </a:lnTo>
                  <a:lnTo>
                    <a:pt x="372" y="204"/>
                  </a:lnTo>
                  <a:lnTo>
                    <a:pt x="370" y="206"/>
                  </a:lnTo>
                  <a:lnTo>
                    <a:pt x="368" y="206"/>
                  </a:lnTo>
                  <a:lnTo>
                    <a:pt x="366" y="208"/>
                  </a:lnTo>
                  <a:lnTo>
                    <a:pt x="366" y="210"/>
                  </a:lnTo>
                  <a:lnTo>
                    <a:pt x="364" y="212"/>
                  </a:lnTo>
                  <a:lnTo>
                    <a:pt x="364" y="214"/>
                  </a:lnTo>
                  <a:lnTo>
                    <a:pt x="362" y="214"/>
                  </a:lnTo>
                  <a:lnTo>
                    <a:pt x="362" y="216"/>
                  </a:lnTo>
                  <a:lnTo>
                    <a:pt x="360" y="222"/>
                  </a:lnTo>
                  <a:lnTo>
                    <a:pt x="358" y="226"/>
                  </a:lnTo>
                  <a:lnTo>
                    <a:pt x="356" y="230"/>
                  </a:lnTo>
                  <a:lnTo>
                    <a:pt x="354" y="234"/>
                  </a:lnTo>
                  <a:lnTo>
                    <a:pt x="354" y="236"/>
                  </a:lnTo>
                  <a:lnTo>
                    <a:pt x="352" y="238"/>
                  </a:lnTo>
                  <a:lnTo>
                    <a:pt x="352" y="240"/>
                  </a:lnTo>
                  <a:lnTo>
                    <a:pt x="350" y="240"/>
                  </a:lnTo>
                  <a:lnTo>
                    <a:pt x="350" y="240"/>
                  </a:lnTo>
                  <a:lnTo>
                    <a:pt x="348" y="242"/>
                  </a:lnTo>
                  <a:lnTo>
                    <a:pt x="346" y="242"/>
                  </a:lnTo>
                  <a:lnTo>
                    <a:pt x="342" y="244"/>
                  </a:lnTo>
                  <a:lnTo>
                    <a:pt x="340" y="244"/>
                  </a:lnTo>
                  <a:lnTo>
                    <a:pt x="336" y="246"/>
                  </a:lnTo>
                  <a:lnTo>
                    <a:pt x="332" y="246"/>
                  </a:lnTo>
                  <a:lnTo>
                    <a:pt x="328" y="246"/>
                  </a:lnTo>
                  <a:lnTo>
                    <a:pt x="320" y="248"/>
                  </a:lnTo>
                  <a:lnTo>
                    <a:pt x="316" y="248"/>
                  </a:lnTo>
                  <a:lnTo>
                    <a:pt x="312" y="248"/>
                  </a:lnTo>
                  <a:lnTo>
                    <a:pt x="308" y="248"/>
                  </a:lnTo>
                  <a:lnTo>
                    <a:pt x="302" y="248"/>
                  </a:lnTo>
                  <a:lnTo>
                    <a:pt x="300" y="248"/>
                  </a:lnTo>
                  <a:lnTo>
                    <a:pt x="298" y="248"/>
                  </a:lnTo>
                  <a:lnTo>
                    <a:pt x="296" y="248"/>
                  </a:lnTo>
                  <a:lnTo>
                    <a:pt x="292" y="246"/>
                  </a:lnTo>
                  <a:lnTo>
                    <a:pt x="290" y="246"/>
                  </a:lnTo>
                  <a:lnTo>
                    <a:pt x="286" y="244"/>
                  </a:lnTo>
                  <a:lnTo>
                    <a:pt x="282" y="242"/>
                  </a:lnTo>
                  <a:lnTo>
                    <a:pt x="280" y="238"/>
                  </a:lnTo>
                  <a:lnTo>
                    <a:pt x="276" y="236"/>
                  </a:lnTo>
                  <a:lnTo>
                    <a:pt x="274" y="234"/>
                  </a:lnTo>
                  <a:lnTo>
                    <a:pt x="272" y="232"/>
                  </a:lnTo>
                  <a:lnTo>
                    <a:pt x="272" y="232"/>
                  </a:lnTo>
                  <a:lnTo>
                    <a:pt x="270" y="230"/>
                  </a:lnTo>
                  <a:lnTo>
                    <a:pt x="270" y="228"/>
                  </a:lnTo>
                  <a:lnTo>
                    <a:pt x="270" y="226"/>
                  </a:lnTo>
                  <a:lnTo>
                    <a:pt x="268" y="222"/>
                  </a:lnTo>
                  <a:lnTo>
                    <a:pt x="268" y="220"/>
                  </a:lnTo>
                  <a:lnTo>
                    <a:pt x="268" y="218"/>
                  </a:lnTo>
                  <a:lnTo>
                    <a:pt x="266" y="212"/>
                  </a:lnTo>
                  <a:lnTo>
                    <a:pt x="266" y="200"/>
                  </a:lnTo>
                  <a:lnTo>
                    <a:pt x="266" y="194"/>
                  </a:lnTo>
                  <a:lnTo>
                    <a:pt x="264" y="192"/>
                  </a:lnTo>
                  <a:lnTo>
                    <a:pt x="264" y="190"/>
                  </a:lnTo>
                  <a:lnTo>
                    <a:pt x="264" y="186"/>
                  </a:lnTo>
                  <a:lnTo>
                    <a:pt x="262" y="184"/>
                  </a:lnTo>
                  <a:lnTo>
                    <a:pt x="260" y="176"/>
                  </a:lnTo>
                  <a:lnTo>
                    <a:pt x="258" y="172"/>
                  </a:lnTo>
                  <a:lnTo>
                    <a:pt x="258" y="168"/>
                  </a:lnTo>
                  <a:lnTo>
                    <a:pt x="258" y="164"/>
                  </a:lnTo>
                  <a:lnTo>
                    <a:pt x="258" y="162"/>
                  </a:lnTo>
                  <a:lnTo>
                    <a:pt x="256" y="160"/>
                  </a:lnTo>
                  <a:lnTo>
                    <a:pt x="258" y="158"/>
                  </a:lnTo>
                  <a:lnTo>
                    <a:pt x="258" y="156"/>
                  </a:lnTo>
                  <a:lnTo>
                    <a:pt x="258" y="154"/>
                  </a:lnTo>
                  <a:lnTo>
                    <a:pt x="260" y="150"/>
                  </a:lnTo>
                  <a:lnTo>
                    <a:pt x="262" y="144"/>
                  </a:lnTo>
                  <a:lnTo>
                    <a:pt x="262" y="142"/>
                  </a:lnTo>
                  <a:lnTo>
                    <a:pt x="264" y="140"/>
                  </a:lnTo>
                  <a:lnTo>
                    <a:pt x="264" y="134"/>
                  </a:lnTo>
                  <a:lnTo>
                    <a:pt x="266" y="128"/>
                  </a:lnTo>
                  <a:lnTo>
                    <a:pt x="266" y="12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34" name="Freeform 524">
              <a:extLst>
                <a:ext uri="{FF2B5EF4-FFF2-40B4-BE49-F238E27FC236}">
                  <a16:creationId xmlns:a16="http://schemas.microsoft.com/office/drawing/2014/main" id="{C5C2CC41-DB3E-499B-8851-96591D584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0178" y="2372883"/>
              <a:ext cx="820045" cy="661914"/>
            </a:xfrm>
            <a:custGeom>
              <a:avLst/>
              <a:gdLst>
                <a:gd name="T0" fmla="*/ 210 w 480"/>
                <a:gd name="T1" fmla="*/ 10 h 396"/>
                <a:gd name="T2" fmla="*/ 192 w 480"/>
                <a:gd name="T3" fmla="*/ 26 h 396"/>
                <a:gd name="T4" fmla="*/ 154 w 480"/>
                <a:gd name="T5" fmla="*/ 34 h 396"/>
                <a:gd name="T6" fmla="*/ 120 w 480"/>
                <a:gd name="T7" fmla="*/ 60 h 396"/>
                <a:gd name="T8" fmla="*/ 90 w 480"/>
                <a:gd name="T9" fmla="*/ 78 h 396"/>
                <a:gd name="T10" fmla="*/ 152 w 480"/>
                <a:gd name="T11" fmla="*/ 106 h 396"/>
                <a:gd name="T12" fmla="*/ 150 w 480"/>
                <a:gd name="T13" fmla="*/ 118 h 396"/>
                <a:gd name="T14" fmla="*/ 106 w 480"/>
                <a:gd name="T15" fmla="*/ 122 h 396"/>
                <a:gd name="T16" fmla="*/ 84 w 480"/>
                <a:gd name="T17" fmla="*/ 118 h 396"/>
                <a:gd name="T18" fmla="*/ 60 w 480"/>
                <a:gd name="T19" fmla="*/ 126 h 396"/>
                <a:gd name="T20" fmla="*/ 64 w 480"/>
                <a:gd name="T21" fmla="*/ 142 h 396"/>
                <a:gd name="T22" fmla="*/ 68 w 480"/>
                <a:gd name="T23" fmla="*/ 162 h 396"/>
                <a:gd name="T24" fmla="*/ 112 w 480"/>
                <a:gd name="T25" fmla="*/ 162 h 396"/>
                <a:gd name="T26" fmla="*/ 132 w 480"/>
                <a:gd name="T27" fmla="*/ 164 h 396"/>
                <a:gd name="T28" fmla="*/ 120 w 480"/>
                <a:gd name="T29" fmla="*/ 188 h 396"/>
                <a:gd name="T30" fmla="*/ 94 w 480"/>
                <a:gd name="T31" fmla="*/ 196 h 396"/>
                <a:gd name="T32" fmla="*/ 78 w 480"/>
                <a:gd name="T33" fmla="*/ 192 h 396"/>
                <a:gd name="T34" fmla="*/ 58 w 480"/>
                <a:gd name="T35" fmla="*/ 216 h 396"/>
                <a:gd name="T36" fmla="*/ 38 w 480"/>
                <a:gd name="T37" fmla="*/ 232 h 396"/>
                <a:gd name="T38" fmla="*/ 56 w 480"/>
                <a:gd name="T39" fmla="*/ 248 h 396"/>
                <a:gd name="T40" fmla="*/ 44 w 480"/>
                <a:gd name="T41" fmla="*/ 264 h 396"/>
                <a:gd name="T42" fmla="*/ 70 w 480"/>
                <a:gd name="T43" fmla="*/ 258 h 396"/>
                <a:gd name="T44" fmla="*/ 70 w 480"/>
                <a:gd name="T45" fmla="*/ 284 h 396"/>
                <a:gd name="T46" fmla="*/ 76 w 480"/>
                <a:gd name="T47" fmla="*/ 302 h 396"/>
                <a:gd name="T48" fmla="*/ 102 w 480"/>
                <a:gd name="T49" fmla="*/ 302 h 396"/>
                <a:gd name="T50" fmla="*/ 122 w 480"/>
                <a:gd name="T51" fmla="*/ 306 h 396"/>
                <a:gd name="T52" fmla="*/ 84 w 480"/>
                <a:gd name="T53" fmla="*/ 346 h 396"/>
                <a:gd name="T54" fmla="*/ 0 w 480"/>
                <a:gd name="T55" fmla="*/ 388 h 396"/>
                <a:gd name="T56" fmla="*/ 44 w 480"/>
                <a:gd name="T57" fmla="*/ 390 h 396"/>
                <a:gd name="T58" fmla="*/ 148 w 480"/>
                <a:gd name="T59" fmla="*/ 326 h 396"/>
                <a:gd name="T60" fmla="*/ 176 w 480"/>
                <a:gd name="T61" fmla="*/ 298 h 396"/>
                <a:gd name="T62" fmla="*/ 204 w 480"/>
                <a:gd name="T63" fmla="*/ 264 h 396"/>
                <a:gd name="T64" fmla="*/ 244 w 480"/>
                <a:gd name="T65" fmla="*/ 240 h 396"/>
                <a:gd name="T66" fmla="*/ 222 w 480"/>
                <a:gd name="T67" fmla="*/ 262 h 396"/>
                <a:gd name="T68" fmla="*/ 218 w 480"/>
                <a:gd name="T69" fmla="*/ 280 h 396"/>
                <a:gd name="T70" fmla="*/ 216 w 480"/>
                <a:gd name="T71" fmla="*/ 294 h 396"/>
                <a:gd name="T72" fmla="*/ 252 w 480"/>
                <a:gd name="T73" fmla="*/ 270 h 396"/>
                <a:gd name="T74" fmla="*/ 270 w 480"/>
                <a:gd name="T75" fmla="*/ 248 h 396"/>
                <a:gd name="T76" fmla="*/ 290 w 480"/>
                <a:gd name="T77" fmla="*/ 246 h 396"/>
                <a:gd name="T78" fmla="*/ 306 w 480"/>
                <a:gd name="T79" fmla="*/ 254 h 396"/>
                <a:gd name="T80" fmla="*/ 334 w 480"/>
                <a:gd name="T81" fmla="*/ 266 h 396"/>
                <a:gd name="T82" fmla="*/ 358 w 480"/>
                <a:gd name="T83" fmla="*/ 280 h 396"/>
                <a:gd name="T84" fmla="*/ 374 w 480"/>
                <a:gd name="T85" fmla="*/ 294 h 396"/>
                <a:gd name="T86" fmla="*/ 390 w 480"/>
                <a:gd name="T87" fmla="*/ 302 h 396"/>
                <a:gd name="T88" fmla="*/ 406 w 480"/>
                <a:gd name="T89" fmla="*/ 300 h 396"/>
                <a:gd name="T90" fmla="*/ 424 w 480"/>
                <a:gd name="T91" fmla="*/ 314 h 396"/>
                <a:gd name="T92" fmla="*/ 432 w 480"/>
                <a:gd name="T93" fmla="*/ 324 h 396"/>
                <a:gd name="T94" fmla="*/ 448 w 480"/>
                <a:gd name="T95" fmla="*/ 340 h 396"/>
                <a:gd name="T96" fmla="*/ 466 w 480"/>
                <a:gd name="T97" fmla="*/ 358 h 396"/>
                <a:gd name="T98" fmla="*/ 464 w 480"/>
                <a:gd name="T99" fmla="*/ 344 h 396"/>
                <a:gd name="T100" fmla="*/ 452 w 480"/>
                <a:gd name="T101" fmla="*/ 316 h 396"/>
                <a:gd name="T102" fmla="*/ 426 w 480"/>
                <a:gd name="T103" fmla="*/ 274 h 396"/>
                <a:gd name="T104" fmla="*/ 410 w 480"/>
                <a:gd name="T105" fmla="*/ 282 h 396"/>
                <a:gd name="T106" fmla="*/ 398 w 480"/>
                <a:gd name="T107" fmla="*/ 290 h 396"/>
                <a:gd name="T108" fmla="*/ 382 w 480"/>
                <a:gd name="T109" fmla="*/ 264 h 396"/>
                <a:gd name="T110" fmla="*/ 416 w 480"/>
                <a:gd name="T111" fmla="*/ 30 h 396"/>
                <a:gd name="T112" fmla="*/ 362 w 480"/>
                <a:gd name="T113" fmla="*/ 32 h 396"/>
                <a:gd name="T114" fmla="*/ 328 w 480"/>
                <a:gd name="T115" fmla="*/ 24 h 396"/>
                <a:gd name="T116" fmla="*/ 294 w 480"/>
                <a:gd name="T117" fmla="*/ 6 h 396"/>
                <a:gd name="T118" fmla="*/ 262 w 480"/>
                <a:gd name="T119" fmla="*/ 20 h 396"/>
                <a:gd name="T120" fmla="*/ 252 w 480"/>
                <a:gd name="T121" fmla="*/ 2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0" h="396">
                  <a:moveTo>
                    <a:pt x="244" y="0"/>
                  </a:moveTo>
                  <a:lnTo>
                    <a:pt x="244" y="0"/>
                  </a:lnTo>
                  <a:lnTo>
                    <a:pt x="242" y="2"/>
                  </a:lnTo>
                  <a:lnTo>
                    <a:pt x="242" y="2"/>
                  </a:lnTo>
                  <a:lnTo>
                    <a:pt x="240" y="2"/>
                  </a:lnTo>
                  <a:lnTo>
                    <a:pt x="238" y="4"/>
                  </a:lnTo>
                  <a:lnTo>
                    <a:pt x="236" y="6"/>
                  </a:lnTo>
                  <a:lnTo>
                    <a:pt x="236" y="8"/>
                  </a:lnTo>
                  <a:lnTo>
                    <a:pt x="234" y="10"/>
                  </a:lnTo>
                  <a:lnTo>
                    <a:pt x="232" y="10"/>
                  </a:lnTo>
                  <a:lnTo>
                    <a:pt x="232" y="10"/>
                  </a:lnTo>
                  <a:lnTo>
                    <a:pt x="230" y="10"/>
                  </a:lnTo>
                  <a:lnTo>
                    <a:pt x="230" y="12"/>
                  </a:lnTo>
                  <a:lnTo>
                    <a:pt x="228" y="12"/>
                  </a:lnTo>
                  <a:lnTo>
                    <a:pt x="226" y="12"/>
                  </a:lnTo>
                  <a:lnTo>
                    <a:pt x="224" y="12"/>
                  </a:lnTo>
                  <a:lnTo>
                    <a:pt x="220" y="12"/>
                  </a:lnTo>
                  <a:lnTo>
                    <a:pt x="216" y="10"/>
                  </a:lnTo>
                  <a:lnTo>
                    <a:pt x="210" y="10"/>
                  </a:lnTo>
                  <a:lnTo>
                    <a:pt x="208" y="10"/>
                  </a:lnTo>
                  <a:lnTo>
                    <a:pt x="206" y="10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2" y="10"/>
                  </a:lnTo>
                  <a:lnTo>
                    <a:pt x="200" y="10"/>
                  </a:lnTo>
                  <a:lnTo>
                    <a:pt x="200" y="12"/>
                  </a:lnTo>
                  <a:lnTo>
                    <a:pt x="200" y="12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8" y="16"/>
                  </a:lnTo>
                  <a:lnTo>
                    <a:pt x="196" y="18"/>
                  </a:lnTo>
                  <a:lnTo>
                    <a:pt x="196" y="20"/>
                  </a:lnTo>
                  <a:lnTo>
                    <a:pt x="194" y="24"/>
                  </a:lnTo>
                  <a:lnTo>
                    <a:pt x="194" y="24"/>
                  </a:lnTo>
                  <a:lnTo>
                    <a:pt x="194" y="24"/>
                  </a:lnTo>
                  <a:lnTo>
                    <a:pt x="194" y="26"/>
                  </a:lnTo>
                  <a:lnTo>
                    <a:pt x="192" y="26"/>
                  </a:lnTo>
                  <a:lnTo>
                    <a:pt x="192" y="26"/>
                  </a:lnTo>
                  <a:lnTo>
                    <a:pt x="192" y="26"/>
                  </a:lnTo>
                  <a:lnTo>
                    <a:pt x="190" y="28"/>
                  </a:lnTo>
                  <a:lnTo>
                    <a:pt x="188" y="28"/>
                  </a:lnTo>
                  <a:lnTo>
                    <a:pt x="186" y="28"/>
                  </a:lnTo>
                  <a:lnTo>
                    <a:pt x="182" y="28"/>
                  </a:lnTo>
                  <a:lnTo>
                    <a:pt x="180" y="28"/>
                  </a:lnTo>
                  <a:lnTo>
                    <a:pt x="176" y="28"/>
                  </a:lnTo>
                  <a:lnTo>
                    <a:pt x="170" y="26"/>
                  </a:lnTo>
                  <a:lnTo>
                    <a:pt x="168" y="26"/>
                  </a:lnTo>
                  <a:lnTo>
                    <a:pt x="164" y="26"/>
                  </a:lnTo>
                  <a:lnTo>
                    <a:pt x="162" y="28"/>
                  </a:lnTo>
                  <a:lnTo>
                    <a:pt x="160" y="28"/>
                  </a:lnTo>
                  <a:lnTo>
                    <a:pt x="158" y="28"/>
                  </a:lnTo>
                  <a:lnTo>
                    <a:pt x="158" y="28"/>
                  </a:lnTo>
                  <a:lnTo>
                    <a:pt x="158" y="28"/>
                  </a:lnTo>
                  <a:lnTo>
                    <a:pt x="156" y="30"/>
                  </a:lnTo>
                  <a:lnTo>
                    <a:pt x="156" y="30"/>
                  </a:lnTo>
                  <a:lnTo>
                    <a:pt x="154" y="32"/>
                  </a:lnTo>
                  <a:lnTo>
                    <a:pt x="154" y="34"/>
                  </a:lnTo>
                  <a:lnTo>
                    <a:pt x="152" y="36"/>
                  </a:lnTo>
                  <a:lnTo>
                    <a:pt x="152" y="38"/>
                  </a:lnTo>
                  <a:lnTo>
                    <a:pt x="152" y="42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48" y="50"/>
                  </a:lnTo>
                  <a:lnTo>
                    <a:pt x="148" y="52"/>
                  </a:lnTo>
                  <a:lnTo>
                    <a:pt x="146" y="54"/>
                  </a:lnTo>
                  <a:lnTo>
                    <a:pt x="146" y="56"/>
                  </a:lnTo>
                  <a:lnTo>
                    <a:pt x="144" y="56"/>
                  </a:lnTo>
                  <a:lnTo>
                    <a:pt x="144" y="58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40" y="58"/>
                  </a:lnTo>
                  <a:lnTo>
                    <a:pt x="138" y="60"/>
                  </a:lnTo>
                  <a:lnTo>
                    <a:pt x="134" y="60"/>
                  </a:lnTo>
                  <a:lnTo>
                    <a:pt x="130" y="60"/>
                  </a:lnTo>
                  <a:lnTo>
                    <a:pt x="128" y="60"/>
                  </a:lnTo>
                  <a:lnTo>
                    <a:pt x="120" y="60"/>
                  </a:lnTo>
                  <a:lnTo>
                    <a:pt x="112" y="60"/>
                  </a:lnTo>
                  <a:lnTo>
                    <a:pt x="108" y="60"/>
                  </a:lnTo>
                  <a:lnTo>
                    <a:pt x="106" y="60"/>
                  </a:lnTo>
                  <a:lnTo>
                    <a:pt x="102" y="60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96" y="62"/>
                  </a:lnTo>
                  <a:lnTo>
                    <a:pt x="96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2" y="66"/>
                  </a:lnTo>
                  <a:lnTo>
                    <a:pt x="92" y="68"/>
                  </a:lnTo>
                  <a:lnTo>
                    <a:pt x="90" y="70"/>
                  </a:lnTo>
                  <a:lnTo>
                    <a:pt x="90" y="72"/>
                  </a:lnTo>
                  <a:lnTo>
                    <a:pt x="90" y="74"/>
                  </a:lnTo>
                  <a:lnTo>
                    <a:pt x="90" y="76"/>
                  </a:lnTo>
                  <a:lnTo>
                    <a:pt x="90" y="76"/>
                  </a:lnTo>
                  <a:lnTo>
                    <a:pt x="90" y="76"/>
                  </a:lnTo>
                  <a:lnTo>
                    <a:pt x="90" y="78"/>
                  </a:lnTo>
                  <a:lnTo>
                    <a:pt x="90" y="80"/>
                  </a:lnTo>
                  <a:lnTo>
                    <a:pt x="92" y="82"/>
                  </a:lnTo>
                  <a:lnTo>
                    <a:pt x="94" y="82"/>
                  </a:lnTo>
                  <a:lnTo>
                    <a:pt x="96" y="84"/>
                  </a:lnTo>
                  <a:lnTo>
                    <a:pt x="98" y="86"/>
                  </a:lnTo>
                  <a:lnTo>
                    <a:pt x="100" y="86"/>
                  </a:lnTo>
                  <a:lnTo>
                    <a:pt x="102" y="88"/>
                  </a:lnTo>
                  <a:lnTo>
                    <a:pt x="106" y="90"/>
                  </a:lnTo>
                  <a:lnTo>
                    <a:pt x="110" y="92"/>
                  </a:lnTo>
                  <a:lnTo>
                    <a:pt x="118" y="96"/>
                  </a:lnTo>
                  <a:lnTo>
                    <a:pt x="120" y="98"/>
                  </a:lnTo>
                  <a:lnTo>
                    <a:pt x="122" y="98"/>
                  </a:lnTo>
                  <a:lnTo>
                    <a:pt x="124" y="100"/>
                  </a:lnTo>
                  <a:lnTo>
                    <a:pt x="128" y="100"/>
                  </a:lnTo>
                  <a:lnTo>
                    <a:pt x="136" y="102"/>
                  </a:lnTo>
                  <a:lnTo>
                    <a:pt x="142" y="104"/>
                  </a:lnTo>
                  <a:lnTo>
                    <a:pt x="146" y="104"/>
                  </a:lnTo>
                  <a:lnTo>
                    <a:pt x="150" y="106"/>
                  </a:lnTo>
                  <a:lnTo>
                    <a:pt x="152" y="106"/>
                  </a:lnTo>
                  <a:lnTo>
                    <a:pt x="156" y="108"/>
                  </a:lnTo>
                  <a:lnTo>
                    <a:pt x="156" y="108"/>
                  </a:lnTo>
                  <a:lnTo>
                    <a:pt x="158" y="108"/>
                  </a:lnTo>
                  <a:lnTo>
                    <a:pt x="158" y="110"/>
                  </a:lnTo>
                  <a:lnTo>
                    <a:pt x="158" y="110"/>
                  </a:lnTo>
                  <a:lnTo>
                    <a:pt x="160" y="112"/>
                  </a:lnTo>
                  <a:lnTo>
                    <a:pt x="160" y="112"/>
                  </a:lnTo>
                  <a:lnTo>
                    <a:pt x="160" y="114"/>
                  </a:lnTo>
                  <a:lnTo>
                    <a:pt x="160" y="114"/>
                  </a:lnTo>
                  <a:lnTo>
                    <a:pt x="160" y="114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58" y="116"/>
                  </a:lnTo>
                  <a:lnTo>
                    <a:pt x="158" y="118"/>
                  </a:lnTo>
                  <a:lnTo>
                    <a:pt x="158" y="118"/>
                  </a:lnTo>
                  <a:lnTo>
                    <a:pt x="156" y="118"/>
                  </a:lnTo>
                  <a:lnTo>
                    <a:pt x="154" y="118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8"/>
                  </a:lnTo>
                  <a:lnTo>
                    <a:pt x="142" y="118"/>
                  </a:lnTo>
                  <a:lnTo>
                    <a:pt x="138" y="118"/>
                  </a:lnTo>
                  <a:lnTo>
                    <a:pt x="134" y="118"/>
                  </a:lnTo>
                  <a:lnTo>
                    <a:pt x="132" y="118"/>
                  </a:lnTo>
                  <a:lnTo>
                    <a:pt x="130" y="120"/>
                  </a:lnTo>
                  <a:lnTo>
                    <a:pt x="128" y="120"/>
                  </a:lnTo>
                  <a:lnTo>
                    <a:pt x="124" y="120"/>
                  </a:lnTo>
                  <a:lnTo>
                    <a:pt x="120" y="122"/>
                  </a:lnTo>
                  <a:lnTo>
                    <a:pt x="116" y="124"/>
                  </a:lnTo>
                  <a:lnTo>
                    <a:pt x="114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2"/>
                  </a:lnTo>
                  <a:lnTo>
                    <a:pt x="106" y="122"/>
                  </a:lnTo>
                  <a:lnTo>
                    <a:pt x="106" y="120"/>
                  </a:lnTo>
                  <a:lnTo>
                    <a:pt x="104" y="118"/>
                  </a:lnTo>
                  <a:lnTo>
                    <a:pt x="104" y="116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98" y="112"/>
                  </a:lnTo>
                  <a:lnTo>
                    <a:pt x="98" y="112"/>
                  </a:lnTo>
                  <a:lnTo>
                    <a:pt x="96" y="112"/>
                  </a:lnTo>
                  <a:lnTo>
                    <a:pt x="94" y="112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8" y="114"/>
                  </a:lnTo>
                  <a:lnTo>
                    <a:pt x="86" y="116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4" y="122"/>
                  </a:lnTo>
                  <a:lnTo>
                    <a:pt x="84" y="124"/>
                  </a:lnTo>
                  <a:lnTo>
                    <a:pt x="84" y="124"/>
                  </a:lnTo>
                  <a:lnTo>
                    <a:pt x="84" y="124"/>
                  </a:lnTo>
                  <a:lnTo>
                    <a:pt x="84" y="126"/>
                  </a:lnTo>
                  <a:lnTo>
                    <a:pt x="82" y="126"/>
                  </a:lnTo>
                  <a:lnTo>
                    <a:pt x="80" y="126"/>
                  </a:lnTo>
                  <a:lnTo>
                    <a:pt x="80" y="126"/>
                  </a:lnTo>
                  <a:lnTo>
                    <a:pt x="78" y="126"/>
                  </a:lnTo>
                  <a:lnTo>
                    <a:pt x="76" y="126"/>
                  </a:lnTo>
                  <a:lnTo>
                    <a:pt x="72" y="126"/>
                  </a:lnTo>
                  <a:lnTo>
                    <a:pt x="68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2" y="126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8" y="128"/>
                  </a:lnTo>
                  <a:lnTo>
                    <a:pt x="56" y="128"/>
                  </a:lnTo>
                  <a:lnTo>
                    <a:pt x="56" y="130"/>
                  </a:lnTo>
                  <a:lnTo>
                    <a:pt x="54" y="132"/>
                  </a:lnTo>
                  <a:lnTo>
                    <a:pt x="52" y="132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4" y="138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8" y="140"/>
                  </a:lnTo>
                  <a:lnTo>
                    <a:pt x="62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66" y="148"/>
                  </a:lnTo>
                  <a:lnTo>
                    <a:pt x="66" y="150"/>
                  </a:lnTo>
                  <a:lnTo>
                    <a:pt x="66" y="152"/>
                  </a:lnTo>
                  <a:lnTo>
                    <a:pt x="64" y="154"/>
                  </a:lnTo>
                  <a:lnTo>
                    <a:pt x="64" y="156"/>
                  </a:lnTo>
                  <a:lnTo>
                    <a:pt x="64" y="158"/>
                  </a:lnTo>
                  <a:lnTo>
                    <a:pt x="64" y="158"/>
                  </a:lnTo>
                  <a:lnTo>
                    <a:pt x="64" y="158"/>
                  </a:lnTo>
                  <a:lnTo>
                    <a:pt x="64" y="160"/>
                  </a:lnTo>
                  <a:lnTo>
                    <a:pt x="64" y="160"/>
                  </a:lnTo>
                  <a:lnTo>
                    <a:pt x="66" y="162"/>
                  </a:lnTo>
                  <a:lnTo>
                    <a:pt x="68" y="162"/>
                  </a:lnTo>
                  <a:lnTo>
                    <a:pt x="68" y="164"/>
                  </a:lnTo>
                  <a:lnTo>
                    <a:pt x="70" y="164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4" y="168"/>
                  </a:lnTo>
                  <a:lnTo>
                    <a:pt x="76" y="168"/>
                  </a:lnTo>
                  <a:lnTo>
                    <a:pt x="78" y="168"/>
                  </a:lnTo>
                  <a:lnTo>
                    <a:pt x="80" y="168"/>
                  </a:lnTo>
                  <a:lnTo>
                    <a:pt x="86" y="168"/>
                  </a:lnTo>
                  <a:lnTo>
                    <a:pt x="90" y="168"/>
                  </a:lnTo>
                  <a:lnTo>
                    <a:pt x="94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4" y="168"/>
                  </a:lnTo>
                  <a:lnTo>
                    <a:pt x="106" y="166"/>
                  </a:lnTo>
                  <a:lnTo>
                    <a:pt x="106" y="166"/>
                  </a:lnTo>
                  <a:lnTo>
                    <a:pt x="108" y="166"/>
                  </a:lnTo>
                  <a:lnTo>
                    <a:pt x="110" y="164"/>
                  </a:lnTo>
                  <a:lnTo>
                    <a:pt x="112" y="162"/>
                  </a:lnTo>
                  <a:lnTo>
                    <a:pt x="114" y="160"/>
                  </a:lnTo>
                  <a:lnTo>
                    <a:pt x="118" y="158"/>
                  </a:lnTo>
                  <a:lnTo>
                    <a:pt x="118" y="156"/>
                  </a:lnTo>
                  <a:lnTo>
                    <a:pt x="120" y="156"/>
                  </a:lnTo>
                  <a:lnTo>
                    <a:pt x="122" y="156"/>
                  </a:lnTo>
                  <a:lnTo>
                    <a:pt x="122" y="154"/>
                  </a:lnTo>
                  <a:lnTo>
                    <a:pt x="124" y="154"/>
                  </a:lnTo>
                  <a:lnTo>
                    <a:pt x="124" y="154"/>
                  </a:lnTo>
                  <a:lnTo>
                    <a:pt x="126" y="154"/>
                  </a:lnTo>
                  <a:lnTo>
                    <a:pt x="126" y="156"/>
                  </a:lnTo>
                  <a:lnTo>
                    <a:pt x="128" y="156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2" y="160"/>
                  </a:lnTo>
                  <a:lnTo>
                    <a:pt x="132" y="160"/>
                  </a:lnTo>
                  <a:lnTo>
                    <a:pt x="132" y="162"/>
                  </a:lnTo>
                  <a:lnTo>
                    <a:pt x="132" y="162"/>
                  </a:lnTo>
                  <a:lnTo>
                    <a:pt x="132" y="162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0" y="164"/>
                  </a:lnTo>
                  <a:lnTo>
                    <a:pt x="130" y="166"/>
                  </a:lnTo>
                  <a:lnTo>
                    <a:pt x="128" y="166"/>
                  </a:lnTo>
                  <a:lnTo>
                    <a:pt x="124" y="168"/>
                  </a:lnTo>
                  <a:lnTo>
                    <a:pt x="124" y="168"/>
                  </a:lnTo>
                  <a:lnTo>
                    <a:pt x="122" y="170"/>
                  </a:lnTo>
                  <a:lnTo>
                    <a:pt x="122" y="170"/>
                  </a:lnTo>
                  <a:lnTo>
                    <a:pt x="122" y="170"/>
                  </a:lnTo>
                  <a:lnTo>
                    <a:pt x="122" y="172"/>
                  </a:lnTo>
                  <a:lnTo>
                    <a:pt x="122" y="174"/>
                  </a:lnTo>
                  <a:lnTo>
                    <a:pt x="122" y="176"/>
                  </a:lnTo>
                  <a:lnTo>
                    <a:pt x="122" y="178"/>
                  </a:lnTo>
                  <a:lnTo>
                    <a:pt x="122" y="182"/>
                  </a:lnTo>
                  <a:lnTo>
                    <a:pt x="122" y="184"/>
                  </a:lnTo>
                  <a:lnTo>
                    <a:pt x="120" y="184"/>
                  </a:lnTo>
                  <a:lnTo>
                    <a:pt x="120" y="186"/>
                  </a:lnTo>
                  <a:lnTo>
                    <a:pt x="120" y="186"/>
                  </a:lnTo>
                  <a:lnTo>
                    <a:pt x="120" y="188"/>
                  </a:lnTo>
                  <a:lnTo>
                    <a:pt x="118" y="188"/>
                  </a:lnTo>
                  <a:lnTo>
                    <a:pt x="118" y="188"/>
                  </a:lnTo>
                  <a:lnTo>
                    <a:pt x="116" y="188"/>
                  </a:lnTo>
                  <a:lnTo>
                    <a:pt x="114" y="188"/>
                  </a:lnTo>
                  <a:lnTo>
                    <a:pt x="114" y="188"/>
                  </a:lnTo>
                  <a:lnTo>
                    <a:pt x="112" y="188"/>
                  </a:lnTo>
                  <a:lnTo>
                    <a:pt x="108" y="188"/>
                  </a:lnTo>
                  <a:lnTo>
                    <a:pt x="106" y="186"/>
                  </a:lnTo>
                  <a:lnTo>
                    <a:pt x="102" y="186"/>
                  </a:lnTo>
                  <a:lnTo>
                    <a:pt x="100" y="186"/>
                  </a:lnTo>
                  <a:lnTo>
                    <a:pt x="100" y="186"/>
                  </a:lnTo>
                  <a:lnTo>
                    <a:pt x="98" y="186"/>
                  </a:lnTo>
                  <a:lnTo>
                    <a:pt x="96" y="188"/>
                  </a:lnTo>
                  <a:lnTo>
                    <a:pt x="96" y="188"/>
                  </a:lnTo>
                  <a:lnTo>
                    <a:pt x="96" y="188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4" y="192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94" y="202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90" y="202"/>
                  </a:lnTo>
                  <a:lnTo>
                    <a:pt x="90" y="202"/>
                  </a:lnTo>
                  <a:lnTo>
                    <a:pt x="88" y="202"/>
                  </a:lnTo>
                  <a:lnTo>
                    <a:pt x="88" y="200"/>
                  </a:lnTo>
                  <a:lnTo>
                    <a:pt x="86" y="198"/>
                  </a:lnTo>
                  <a:lnTo>
                    <a:pt x="84" y="196"/>
                  </a:lnTo>
                  <a:lnTo>
                    <a:pt x="82" y="194"/>
                  </a:lnTo>
                  <a:lnTo>
                    <a:pt x="82" y="194"/>
                  </a:lnTo>
                  <a:lnTo>
                    <a:pt x="80" y="192"/>
                  </a:lnTo>
                  <a:lnTo>
                    <a:pt x="80" y="192"/>
                  </a:lnTo>
                  <a:lnTo>
                    <a:pt x="80" y="192"/>
                  </a:lnTo>
                  <a:lnTo>
                    <a:pt x="78" y="192"/>
                  </a:lnTo>
                  <a:lnTo>
                    <a:pt x="76" y="192"/>
                  </a:lnTo>
                  <a:lnTo>
                    <a:pt x="76" y="192"/>
                  </a:lnTo>
                  <a:lnTo>
                    <a:pt x="74" y="192"/>
                  </a:lnTo>
                  <a:lnTo>
                    <a:pt x="72" y="194"/>
                  </a:lnTo>
                  <a:lnTo>
                    <a:pt x="68" y="196"/>
                  </a:lnTo>
                  <a:lnTo>
                    <a:pt x="66" y="198"/>
                  </a:lnTo>
                  <a:lnTo>
                    <a:pt x="62" y="198"/>
                  </a:lnTo>
                  <a:lnTo>
                    <a:pt x="60" y="200"/>
                  </a:lnTo>
                  <a:lnTo>
                    <a:pt x="60" y="202"/>
                  </a:lnTo>
                  <a:lnTo>
                    <a:pt x="58" y="202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8" y="206"/>
                  </a:lnTo>
                  <a:lnTo>
                    <a:pt x="58" y="208"/>
                  </a:lnTo>
                  <a:lnTo>
                    <a:pt x="58" y="210"/>
                  </a:lnTo>
                  <a:lnTo>
                    <a:pt x="58" y="212"/>
                  </a:lnTo>
                  <a:lnTo>
                    <a:pt x="58" y="214"/>
                  </a:lnTo>
                  <a:lnTo>
                    <a:pt x="58" y="216"/>
                  </a:lnTo>
                  <a:lnTo>
                    <a:pt x="58" y="216"/>
                  </a:lnTo>
                  <a:lnTo>
                    <a:pt x="56" y="218"/>
                  </a:lnTo>
                  <a:lnTo>
                    <a:pt x="56" y="218"/>
                  </a:lnTo>
                  <a:lnTo>
                    <a:pt x="54" y="218"/>
                  </a:lnTo>
                  <a:lnTo>
                    <a:pt x="54" y="220"/>
                  </a:lnTo>
                  <a:lnTo>
                    <a:pt x="52" y="220"/>
                  </a:lnTo>
                  <a:lnTo>
                    <a:pt x="50" y="222"/>
                  </a:lnTo>
                  <a:lnTo>
                    <a:pt x="46" y="222"/>
                  </a:lnTo>
                  <a:lnTo>
                    <a:pt x="42" y="224"/>
                  </a:lnTo>
                  <a:lnTo>
                    <a:pt x="42" y="224"/>
                  </a:lnTo>
                  <a:lnTo>
                    <a:pt x="40" y="224"/>
                  </a:lnTo>
                  <a:lnTo>
                    <a:pt x="38" y="224"/>
                  </a:lnTo>
                  <a:lnTo>
                    <a:pt x="38" y="226"/>
                  </a:lnTo>
                  <a:lnTo>
                    <a:pt x="36" y="226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36" y="230"/>
                  </a:lnTo>
                  <a:lnTo>
                    <a:pt x="36" y="230"/>
                  </a:lnTo>
                  <a:lnTo>
                    <a:pt x="38" y="232"/>
                  </a:lnTo>
                  <a:lnTo>
                    <a:pt x="38" y="234"/>
                  </a:lnTo>
                  <a:lnTo>
                    <a:pt x="40" y="236"/>
                  </a:lnTo>
                  <a:lnTo>
                    <a:pt x="42" y="238"/>
                  </a:lnTo>
                  <a:lnTo>
                    <a:pt x="42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6" y="240"/>
                  </a:lnTo>
                  <a:lnTo>
                    <a:pt x="46" y="242"/>
                  </a:lnTo>
                  <a:lnTo>
                    <a:pt x="52" y="242"/>
                  </a:lnTo>
                  <a:lnTo>
                    <a:pt x="54" y="242"/>
                  </a:lnTo>
                  <a:lnTo>
                    <a:pt x="54" y="244"/>
                  </a:lnTo>
                  <a:lnTo>
                    <a:pt x="56" y="244"/>
                  </a:lnTo>
                  <a:lnTo>
                    <a:pt x="56" y="244"/>
                  </a:lnTo>
                  <a:lnTo>
                    <a:pt x="56" y="244"/>
                  </a:lnTo>
                  <a:lnTo>
                    <a:pt x="56" y="246"/>
                  </a:lnTo>
                  <a:lnTo>
                    <a:pt x="56" y="246"/>
                  </a:lnTo>
                  <a:lnTo>
                    <a:pt x="56" y="246"/>
                  </a:lnTo>
                  <a:lnTo>
                    <a:pt x="56" y="246"/>
                  </a:lnTo>
                  <a:lnTo>
                    <a:pt x="56" y="248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2" y="250"/>
                  </a:lnTo>
                  <a:lnTo>
                    <a:pt x="48" y="250"/>
                  </a:lnTo>
                  <a:lnTo>
                    <a:pt x="46" y="252"/>
                  </a:lnTo>
                  <a:lnTo>
                    <a:pt x="44" y="252"/>
                  </a:lnTo>
                  <a:lnTo>
                    <a:pt x="42" y="252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6"/>
                  </a:lnTo>
                  <a:lnTo>
                    <a:pt x="38" y="256"/>
                  </a:lnTo>
                  <a:lnTo>
                    <a:pt x="40" y="258"/>
                  </a:lnTo>
                  <a:lnTo>
                    <a:pt x="40" y="258"/>
                  </a:lnTo>
                  <a:lnTo>
                    <a:pt x="40" y="260"/>
                  </a:lnTo>
                  <a:lnTo>
                    <a:pt x="40" y="260"/>
                  </a:lnTo>
                  <a:lnTo>
                    <a:pt x="42" y="262"/>
                  </a:lnTo>
                  <a:lnTo>
                    <a:pt x="44" y="264"/>
                  </a:lnTo>
                  <a:lnTo>
                    <a:pt x="46" y="266"/>
                  </a:lnTo>
                  <a:lnTo>
                    <a:pt x="48" y="268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52" y="270"/>
                  </a:lnTo>
                  <a:lnTo>
                    <a:pt x="54" y="270"/>
                  </a:lnTo>
                  <a:lnTo>
                    <a:pt x="54" y="270"/>
                  </a:lnTo>
                  <a:lnTo>
                    <a:pt x="58" y="270"/>
                  </a:lnTo>
                  <a:lnTo>
                    <a:pt x="60" y="270"/>
                  </a:lnTo>
                  <a:lnTo>
                    <a:pt x="62" y="270"/>
                  </a:lnTo>
                  <a:lnTo>
                    <a:pt x="64" y="270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8" y="268"/>
                  </a:lnTo>
                  <a:lnTo>
                    <a:pt x="68" y="266"/>
                  </a:lnTo>
                  <a:lnTo>
                    <a:pt x="68" y="264"/>
                  </a:lnTo>
                  <a:lnTo>
                    <a:pt x="70" y="262"/>
                  </a:lnTo>
                  <a:lnTo>
                    <a:pt x="70" y="260"/>
                  </a:lnTo>
                  <a:lnTo>
                    <a:pt x="70" y="258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4" y="256"/>
                  </a:lnTo>
                  <a:lnTo>
                    <a:pt x="74" y="256"/>
                  </a:lnTo>
                  <a:lnTo>
                    <a:pt x="74" y="256"/>
                  </a:lnTo>
                  <a:lnTo>
                    <a:pt x="74" y="256"/>
                  </a:lnTo>
                  <a:lnTo>
                    <a:pt x="76" y="256"/>
                  </a:lnTo>
                  <a:lnTo>
                    <a:pt x="76" y="258"/>
                  </a:lnTo>
                  <a:lnTo>
                    <a:pt x="76" y="258"/>
                  </a:lnTo>
                  <a:lnTo>
                    <a:pt x="76" y="260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6" y="268"/>
                  </a:lnTo>
                  <a:lnTo>
                    <a:pt x="76" y="270"/>
                  </a:lnTo>
                  <a:lnTo>
                    <a:pt x="74" y="276"/>
                  </a:lnTo>
                  <a:lnTo>
                    <a:pt x="74" y="276"/>
                  </a:lnTo>
                  <a:lnTo>
                    <a:pt x="72" y="278"/>
                  </a:lnTo>
                  <a:lnTo>
                    <a:pt x="70" y="282"/>
                  </a:lnTo>
                  <a:lnTo>
                    <a:pt x="70" y="284"/>
                  </a:lnTo>
                  <a:lnTo>
                    <a:pt x="68" y="284"/>
                  </a:lnTo>
                  <a:lnTo>
                    <a:pt x="68" y="286"/>
                  </a:lnTo>
                  <a:lnTo>
                    <a:pt x="66" y="288"/>
                  </a:lnTo>
                  <a:lnTo>
                    <a:pt x="66" y="290"/>
                  </a:lnTo>
                  <a:lnTo>
                    <a:pt x="66" y="292"/>
                  </a:lnTo>
                  <a:lnTo>
                    <a:pt x="66" y="294"/>
                  </a:lnTo>
                  <a:lnTo>
                    <a:pt x="66" y="296"/>
                  </a:lnTo>
                  <a:lnTo>
                    <a:pt x="66" y="298"/>
                  </a:lnTo>
                  <a:lnTo>
                    <a:pt x="68" y="300"/>
                  </a:lnTo>
                  <a:lnTo>
                    <a:pt x="68" y="302"/>
                  </a:lnTo>
                  <a:lnTo>
                    <a:pt x="68" y="302"/>
                  </a:lnTo>
                  <a:lnTo>
                    <a:pt x="68" y="302"/>
                  </a:lnTo>
                  <a:lnTo>
                    <a:pt x="70" y="302"/>
                  </a:lnTo>
                  <a:lnTo>
                    <a:pt x="70" y="304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4" y="302"/>
                  </a:lnTo>
                  <a:lnTo>
                    <a:pt x="76" y="302"/>
                  </a:lnTo>
                  <a:lnTo>
                    <a:pt x="76" y="302"/>
                  </a:lnTo>
                  <a:lnTo>
                    <a:pt x="80" y="300"/>
                  </a:lnTo>
                  <a:lnTo>
                    <a:pt x="84" y="298"/>
                  </a:lnTo>
                  <a:lnTo>
                    <a:pt x="86" y="296"/>
                  </a:lnTo>
                  <a:lnTo>
                    <a:pt x="88" y="296"/>
                  </a:lnTo>
                  <a:lnTo>
                    <a:pt x="90" y="296"/>
                  </a:lnTo>
                  <a:lnTo>
                    <a:pt x="90" y="296"/>
                  </a:lnTo>
                  <a:lnTo>
                    <a:pt x="92" y="296"/>
                  </a:lnTo>
                  <a:lnTo>
                    <a:pt x="92" y="296"/>
                  </a:lnTo>
                  <a:lnTo>
                    <a:pt x="92" y="296"/>
                  </a:lnTo>
                  <a:lnTo>
                    <a:pt x="94" y="296"/>
                  </a:lnTo>
                  <a:lnTo>
                    <a:pt x="94" y="298"/>
                  </a:lnTo>
                  <a:lnTo>
                    <a:pt x="96" y="298"/>
                  </a:lnTo>
                  <a:lnTo>
                    <a:pt x="96" y="300"/>
                  </a:lnTo>
                  <a:lnTo>
                    <a:pt x="98" y="300"/>
                  </a:lnTo>
                  <a:lnTo>
                    <a:pt x="98" y="302"/>
                  </a:lnTo>
                  <a:lnTo>
                    <a:pt x="98" y="302"/>
                  </a:lnTo>
                  <a:lnTo>
                    <a:pt x="100" y="302"/>
                  </a:lnTo>
                  <a:lnTo>
                    <a:pt x="100" y="302"/>
                  </a:lnTo>
                  <a:lnTo>
                    <a:pt x="102" y="302"/>
                  </a:lnTo>
                  <a:lnTo>
                    <a:pt x="102" y="302"/>
                  </a:lnTo>
                  <a:lnTo>
                    <a:pt x="104" y="300"/>
                  </a:lnTo>
                  <a:lnTo>
                    <a:pt x="106" y="300"/>
                  </a:lnTo>
                  <a:lnTo>
                    <a:pt x="108" y="298"/>
                  </a:lnTo>
                  <a:lnTo>
                    <a:pt x="112" y="296"/>
                  </a:lnTo>
                  <a:lnTo>
                    <a:pt x="112" y="296"/>
                  </a:lnTo>
                  <a:lnTo>
                    <a:pt x="114" y="296"/>
                  </a:lnTo>
                  <a:lnTo>
                    <a:pt x="114" y="296"/>
                  </a:lnTo>
                  <a:lnTo>
                    <a:pt x="116" y="294"/>
                  </a:lnTo>
                  <a:lnTo>
                    <a:pt x="116" y="296"/>
                  </a:lnTo>
                  <a:lnTo>
                    <a:pt x="118" y="296"/>
                  </a:lnTo>
                  <a:lnTo>
                    <a:pt x="118" y="296"/>
                  </a:lnTo>
                  <a:lnTo>
                    <a:pt x="118" y="298"/>
                  </a:lnTo>
                  <a:lnTo>
                    <a:pt x="120" y="298"/>
                  </a:lnTo>
                  <a:lnTo>
                    <a:pt x="120" y="300"/>
                  </a:lnTo>
                  <a:lnTo>
                    <a:pt x="120" y="302"/>
                  </a:lnTo>
                  <a:lnTo>
                    <a:pt x="120" y="302"/>
                  </a:lnTo>
                  <a:lnTo>
                    <a:pt x="122" y="304"/>
                  </a:lnTo>
                  <a:lnTo>
                    <a:pt x="122" y="306"/>
                  </a:lnTo>
                  <a:lnTo>
                    <a:pt x="122" y="310"/>
                  </a:lnTo>
                  <a:lnTo>
                    <a:pt x="120" y="314"/>
                  </a:lnTo>
                  <a:lnTo>
                    <a:pt x="120" y="316"/>
                  </a:lnTo>
                  <a:lnTo>
                    <a:pt x="120" y="316"/>
                  </a:lnTo>
                  <a:lnTo>
                    <a:pt x="120" y="318"/>
                  </a:lnTo>
                  <a:lnTo>
                    <a:pt x="120" y="320"/>
                  </a:lnTo>
                  <a:lnTo>
                    <a:pt x="118" y="320"/>
                  </a:lnTo>
                  <a:lnTo>
                    <a:pt x="118" y="322"/>
                  </a:lnTo>
                  <a:lnTo>
                    <a:pt x="116" y="324"/>
                  </a:lnTo>
                  <a:lnTo>
                    <a:pt x="116" y="326"/>
                  </a:lnTo>
                  <a:lnTo>
                    <a:pt x="114" y="326"/>
                  </a:lnTo>
                  <a:lnTo>
                    <a:pt x="112" y="328"/>
                  </a:lnTo>
                  <a:lnTo>
                    <a:pt x="110" y="330"/>
                  </a:lnTo>
                  <a:lnTo>
                    <a:pt x="106" y="334"/>
                  </a:lnTo>
                  <a:lnTo>
                    <a:pt x="102" y="336"/>
                  </a:lnTo>
                  <a:lnTo>
                    <a:pt x="98" y="338"/>
                  </a:lnTo>
                  <a:lnTo>
                    <a:pt x="94" y="340"/>
                  </a:lnTo>
                  <a:lnTo>
                    <a:pt x="90" y="344"/>
                  </a:lnTo>
                  <a:lnTo>
                    <a:pt x="84" y="346"/>
                  </a:lnTo>
                  <a:lnTo>
                    <a:pt x="76" y="350"/>
                  </a:lnTo>
                  <a:lnTo>
                    <a:pt x="68" y="354"/>
                  </a:lnTo>
                  <a:lnTo>
                    <a:pt x="62" y="358"/>
                  </a:lnTo>
                  <a:lnTo>
                    <a:pt x="58" y="360"/>
                  </a:lnTo>
                  <a:lnTo>
                    <a:pt x="52" y="362"/>
                  </a:lnTo>
                  <a:lnTo>
                    <a:pt x="40" y="366"/>
                  </a:lnTo>
                  <a:lnTo>
                    <a:pt x="20" y="376"/>
                  </a:lnTo>
                  <a:lnTo>
                    <a:pt x="18" y="376"/>
                  </a:lnTo>
                  <a:lnTo>
                    <a:pt x="16" y="378"/>
                  </a:lnTo>
                  <a:lnTo>
                    <a:pt x="8" y="380"/>
                  </a:lnTo>
                  <a:lnTo>
                    <a:pt x="6" y="380"/>
                  </a:lnTo>
                  <a:lnTo>
                    <a:pt x="4" y="382"/>
                  </a:lnTo>
                  <a:lnTo>
                    <a:pt x="2" y="382"/>
                  </a:lnTo>
                  <a:lnTo>
                    <a:pt x="2" y="384"/>
                  </a:lnTo>
                  <a:lnTo>
                    <a:pt x="0" y="384"/>
                  </a:lnTo>
                  <a:lnTo>
                    <a:pt x="0" y="384"/>
                  </a:lnTo>
                  <a:lnTo>
                    <a:pt x="0" y="386"/>
                  </a:lnTo>
                  <a:lnTo>
                    <a:pt x="0" y="386"/>
                  </a:lnTo>
                  <a:lnTo>
                    <a:pt x="0" y="38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0" y="392"/>
                  </a:lnTo>
                  <a:lnTo>
                    <a:pt x="0" y="392"/>
                  </a:lnTo>
                  <a:lnTo>
                    <a:pt x="2" y="394"/>
                  </a:lnTo>
                  <a:lnTo>
                    <a:pt x="2" y="394"/>
                  </a:lnTo>
                  <a:lnTo>
                    <a:pt x="4" y="396"/>
                  </a:lnTo>
                  <a:lnTo>
                    <a:pt x="6" y="396"/>
                  </a:lnTo>
                  <a:lnTo>
                    <a:pt x="8" y="396"/>
                  </a:lnTo>
                  <a:lnTo>
                    <a:pt x="10" y="396"/>
                  </a:lnTo>
                  <a:lnTo>
                    <a:pt x="12" y="396"/>
                  </a:lnTo>
                  <a:lnTo>
                    <a:pt x="12" y="396"/>
                  </a:lnTo>
                  <a:lnTo>
                    <a:pt x="16" y="396"/>
                  </a:lnTo>
                  <a:lnTo>
                    <a:pt x="20" y="396"/>
                  </a:lnTo>
                  <a:lnTo>
                    <a:pt x="24" y="396"/>
                  </a:lnTo>
                  <a:lnTo>
                    <a:pt x="30" y="394"/>
                  </a:lnTo>
                  <a:lnTo>
                    <a:pt x="34" y="394"/>
                  </a:lnTo>
                  <a:lnTo>
                    <a:pt x="38" y="392"/>
                  </a:lnTo>
                  <a:lnTo>
                    <a:pt x="44" y="390"/>
                  </a:lnTo>
                  <a:lnTo>
                    <a:pt x="48" y="388"/>
                  </a:lnTo>
                  <a:lnTo>
                    <a:pt x="52" y="388"/>
                  </a:lnTo>
                  <a:lnTo>
                    <a:pt x="62" y="384"/>
                  </a:lnTo>
                  <a:lnTo>
                    <a:pt x="68" y="382"/>
                  </a:lnTo>
                  <a:lnTo>
                    <a:pt x="72" y="380"/>
                  </a:lnTo>
                  <a:lnTo>
                    <a:pt x="76" y="378"/>
                  </a:lnTo>
                  <a:lnTo>
                    <a:pt x="80" y="374"/>
                  </a:lnTo>
                  <a:lnTo>
                    <a:pt x="86" y="372"/>
                  </a:lnTo>
                  <a:lnTo>
                    <a:pt x="90" y="370"/>
                  </a:lnTo>
                  <a:lnTo>
                    <a:pt x="94" y="366"/>
                  </a:lnTo>
                  <a:lnTo>
                    <a:pt x="106" y="360"/>
                  </a:lnTo>
                  <a:lnTo>
                    <a:pt x="114" y="352"/>
                  </a:lnTo>
                  <a:lnTo>
                    <a:pt x="124" y="346"/>
                  </a:lnTo>
                  <a:lnTo>
                    <a:pt x="132" y="338"/>
                  </a:lnTo>
                  <a:lnTo>
                    <a:pt x="140" y="334"/>
                  </a:lnTo>
                  <a:lnTo>
                    <a:pt x="142" y="332"/>
                  </a:lnTo>
                  <a:lnTo>
                    <a:pt x="144" y="330"/>
                  </a:lnTo>
                  <a:lnTo>
                    <a:pt x="146" y="328"/>
                  </a:lnTo>
                  <a:lnTo>
                    <a:pt x="148" y="326"/>
                  </a:lnTo>
                  <a:lnTo>
                    <a:pt x="150" y="324"/>
                  </a:lnTo>
                  <a:lnTo>
                    <a:pt x="152" y="322"/>
                  </a:lnTo>
                  <a:lnTo>
                    <a:pt x="158" y="318"/>
                  </a:lnTo>
                  <a:lnTo>
                    <a:pt x="160" y="316"/>
                  </a:lnTo>
                  <a:lnTo>
                    <a:pt x="164" y="316"/>
                  </a:lnTo>
                  <a:lnTo>
                    <a:pt x="170" y="312"/>
                  </a:lnTo>
                  <a:lnTo>
                    <a:pt x="172" y="312"/>
                  </a:lnTo>
                  <a:lnTo>
                    <a:pt x="174" y="310"/>
                  </a:lnTo>
                  <a:lnTo>
                    <a:pt x="176" y="310"/>
                  </a:lnTo>
                  <a:lnTo>
                    <a:pt x="176" y="308"/>
                  </a:lnTo>
                  <a:lnTo>
                    <a:pt x="178" y="308"/>
                  </a:lnTo>
                  <a:lnTo>
                    <a:pt x="178" y="306"/>
                  </a:lnTo>
                  <a:lnTo>
                    <a:pt x="178" y="306"/>
                  </a:lnTo>
                  <a:lnTo>
                    <a:pt x="180" y="304"/>
                  </a:lnTo>
                  <a:lnTo>
                    <a:pt x="180" y="304"/>
                  </a:lnTo>
                  <a:lnTo>
                    <a:pt x="178" y="304"/>
                  </a:lnTo>
                  <a:lnTo>
                    <a:pt x="178" y="302"/>
                  </a:lnTo>
                  <a:lnTo>
                    <a:pt x="178" y="300"/>
                  </a:lnTo>
                  <a:lnTo>
                    <a:pt x="176" y="298"/>
                  </a:lnTo>
                  <a:lnTo>
                    <a:pt x="176" y="296"/>
                  </a:lnTo>
                  <a:lnTo>
                    <a:pt x="176" y="294"/>
                  </a:lnTo>
                  <a:lnTo>
                    <a:pt x="174" y="294"/>
                  </a:lnTo>
                  <a:lnTo>
                    <a:pt x="174" y="292"/>
                  </a:lnTo>
                  <a:lnTo>
                    <a:pt x="176" y="292"/>
                  </a:lnTo>
                  <a:lnTo>
                    <a:pt x="176" y="290"/>
                  </a:lnTo>
                  <a:lnTo>
                    <a:pt x="176" y="288"/>
                  </a:lnTo>
                  <a:lnTo>
                    <a:pt x="178" y="288"/>
                  </a:lnTo>
                  <a:lnTo>
                    <a:pt x="178" y="286"/>
                  </a:lnTo>
                  <a:lnTo>
                    <a:pt x="180" y="284"/>
                  </a:lnTo>
                  <a:lnTo>
                    <a:pt x="182" y="284"/>
                  </a:lnTo>
                  <a:lnTo>
                    <a:pt x="186" y="280"/>
                  </a:lnTo>
                  <a:lnTo>
                    <a:pt x="192" y="276"/>
                  </a:lnTo>
                  <a:lnTo>
                    <a:pt x="196" y="274"/>
                  </a:lnTo>
                  <a:lnTo>
                    <a:pt x="196" y="272"/>
                  </a:lnTo>
                  <a:lnTo>
                    <a:pt x="198" y="272"/>
                  </a:lnTo>
                  <a:lnTo>
                    <a:pt x="200" y="270"/>
                  </a:lnTo>
                  <a:lnTo>
                    <a:pt x="200" y="268"/>
                  </a:lnTo>
                  <a:lnTo>
                    <a:pt x="204" y="264"/>
                  </a:lnTo>
                  <a:lnTo>
                    <a:pt x="210" y="252"/>
                  </a:lnTo>
                  <a:lnTo>
                    <a:pt x="214" y="248"/>
                  </a:lnTo>
                  <a:lnTo>
                    <a:pt x="216" y="246"/>
                  </a:lnTo>
                  <a:lnTo>
                    <a:pt x="218" y="244"/>
                  </a:lnTo>
                  <a:lnTo>
                    <a:pt x="220" y="242"/>
                  </a:lnTo>
                  <a:lnTo>
                    <a:pt x="222" y="240"/>
                  </a:lnTo>
                  <a:lnTo>
                    <a:pt x="224" y="238"/>
                  </a:lnTo>
                  <a:lnTo>
                    <a:pt x="224" y="238"/>
                  </a:lnTo>
                  <a:lnTo>
                    <a:pt x="226" y="238"/>
                  </a:lnTo>
                  <a:lnTo>
                    <a:pt x="226" y="238"/>
                  </a:lnTo>
                  <a:lnTo>
                    <a:pt x="228" y="236"/>
                  </a:lnTo>
                  <a:lnTo>
                    <a:pt x="230" y="236"/>
                  </a:lnTo>
                  <a:lnTo>
                    <a:pt x="232" y="236"/>
                  </a:lnTo>
                  <a:lnTo>
                    <a:pt x="236" y="238"/>
                  </a:lnTo>
                  <a:lnTo>
                    <a:pt x="238" y="238"/>
                  </a:lnTo>
                  <a:lnTo>
                    <a:pt x="240" y="238"/>
                  </a:lnTo>
                  <a:lnTo>
                    <a:pt x="242" y="238"/>
                  </a:lnTo>
                  <a:lnTo>
                    <a:pt x="242" y="238"/>
                  </a:lnTo>
                  <a:lnTo>
                    <a:pt x="244" y="240"/>
                  </a:lnTo>
                  <a:lnTo>
                    <a:pt x="246" y="240"/>
                  </a:lnTo>
                  <a:lnTo>
                    <a:pt x="248" y="240"/>
                  </a:lnTo>
                  <a:lnTo>
                    <a:pt x="248" y="242"/>
                  </a:lnTo>
                  <a:lnTo>
                    <a:pt x="250" y="242"/>
                  </a:lnTo>
                  <a:lnTo>
                    <a:pt x="250" y="244"/>
                  </a:lnTo>
                  <a:lnTo>
                    <a:pt x="250" y="244"/>
                  </a:lnTo>
                  <a:lnTo>
                    <a:pt x="250" y="246"/>
                  </a:lnTo>
                  <a:lnTo>
                    <a:pt x="250" y="246"/>
                  </a:lnTo>
                  <a:lnTo>
                    <a:pt x="248" y="248"/>
                  </a:lnTo>
                  <a:lnTo>
                    <a:pt x="248" y="248"/>
                  </a:lnTo>
                  <a:lnTo>
                    <a:pt x="246" y="250"/>
                  </a:lnTo>
                  <a:lnTo>
                    <a:pt x="246" y="250"/>
                  </a:lnTo>
                  <a:lnTo>
                    <a:pt x="244" y="252"/>
                  </a:lnTo>
                  <a:lnTo>
                    <a:pt x="242" y="252"/>
                  </a:lnTo>
                  <a:lnTo>
                    <a:pt x="238" y="254"/>
                  </a:lnTo>
                  <a:lnTo>
                    <a:pt x="236" y="256"/>
                  </a:lnTo>
                  <a:lnTo>
                    <a:pt x="232" y="258"/>
                  </a:lnTo>
                  <a:lnTo>
                    <a:pt x="224" y="260"/>
                  </a:lnTo>
                  <a:lnTo>
                    <a:pt x="222" y="262"/>
                  </a:lnTo>
                  <a:lnTo>
                    <a:pt x="218" y="264"/>
                  </a:lnTo>
                  <a:lnTo>
                    <a:pt x="216" y="266"/>
                  </a:lnTo>
                  <a:lnTo>
                    <a:pt x="214" y="266"/>
                  </a:lnTo>
                  <a:lnTo>
                    <a:pt x="214" y="268"/>
                  </a:lnTo>
                  <a:lnTo>
                    <a:pt x="214" y="268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2"/>
                  </a:lnTo>
                  <a:lnTo>
                    <a:pt x="212" y="272"/>
                  </a:lnTo>
                  <a:lnTo>
                    <a:pt x="212" y="272"/>
                  </a:lnTo>
                  <a:lnTo>
                    <a:pt x="212" y="274"/>
                  </a:lnTo>
                  <a:lnTo>
                    <a:pt x="214" y="274"/>
                  </a:lnTo>
                  <a:lnTo>
                    <a:pt x="214" y="276"/>
                  </a:lnTo>
                  <a:lnTo>
                    <a:pt x="216" y="278"/>
                  </a:lnTo>
                  <a:lnTo>
                    <a:pt x="218" y="278"/>
                  </a:lnTo>
                  <a:lnTo>
                    <a:pt x="218" y="280"/>
                  </a:lnTo>
                  <a:lnTo>
                    <a:pt x="218" y="280"/>
                  </a:lnTo>
                  <a:lnTo>
                    <a:pt x="218" y="280"/>
                  </a:lnTo>
                  <a:lnTo>
                    <a:pt x="218" y="280"/>
                  </a:lnTo>
                  <a:lnTo>
                    <a:pt x="218" y="282"/>
                  </a:lnTo>
                  <a:lnTo>
                    <a:pt x="216" y="282"/>
                  </a:lnTo>
                  <a:lnTo>
                    <a:pt x="216" y="282"/>
                  </a:lnTo>
                  <a:lnTo>
                    <a:pt x="214" y="284"/>
                  </a:lnTo>
                  <a:lnTo>
                    <a:pt x="212" y="284"/>
                  </a:lnTo>
                  <a:lnTo>
                    <a:pt x="210" y="284"/>
                  </a:lnTo>
                  <a:lnTo>
                    <a:pt x="210" y="286"/>
                  </a:lnTo>
                  <a:lnTo>
                    <a:pt x="208" y="286"/>
                  </a:lnTo>
                  <a:lnTo>
                    <a:pt x="208" y="286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8" y="288"/>
                  </a:lnTo>
                  <a:lnTo>
                    <a:pt x="208" y="290"/>
                  </a:lnTo>
                  <a:lnTo>
                    <a:pt x="208" y="290"/>
                  </a:lnTo>
                  <a:lnTo>
                    <a:pt x="210" y="290"/>
                  </a:lnTo>
                  <a:lnTo>
                    <a:pt x="210" y="292"/>
                  </a:lnTo>
                  <a:lnTo>
                    <a:pt x="212" y="292"/>
                  </a:lnTo>
                  <a:lnTo>
                    <a:pt x="214" y="294"/>
                  </a:lnTo>
                  <a:lnTo>
                    <a:pt x="216" y="294"/>
                  </a:lnTo>
                  <a:lnTo>
                    <a:pt x="220" y="296"/>
                  </a:lnTo>
                  <a:lnTo>
                    <a:pt x="220" y="296"/>
                  </a:lnTo>
                  <a:lnTo>
                    <a:pt x="222" y="296"/>
                  </a:lnTo>
                  <a:lnTo>
                    <a:pt x="224" y="296"/>
                  </a:lnTo>
                  <a:lnTo>
                    <a:pt x="224" y="296"/>
                  </a:lnTo>
                  <a:lnTo>
                    <a:pt x="226" y="296"/>
                  </a:lnTo>
                  <a:lnTo>
                    <a:pt x="228" y="296"/>
                  </a:lnTo>
                  <a:lnTo>
                    <a:pt x="228" y="296"/>
                  </a:lnTo>
                  <a:lnTo>
                    <a:pt x="230" y="294"/>
                  </a:lnTo>
                  <a:lnTo>
                    <a:pt x="230" y="294"/>
                  </a:lnTo>
                  <a:lnTo>
                    <a:pt x="232" y="294"/>
                  </a:lnTo>
                  <a:lnTo>
                    <a:pt x="234" y="292"/>
                  </a:lnTo>
                  <a:lnTo>
                    <a:pt x="236" y="290"/>
                  </a:lnTo>
                  <a:lnTo>
                    <a:pt x="240" y="288"/>
                  </a:lnTo>
                  <a:lnTo>
                    <a:pt x="242" y="284"/>
                  </a:lnTo>
                  <a:lnTo>
                    <a:pt x="244" y="282"/>
                  </a:lnTo>
                  <a:lnTo>
                    <a:pt x="248" y="278"/>
                  </a:lnTo>
                  <a:lnTo>
                    <a:pt x="252" y="272"/>
                  </a:lnTo>
                  <a:lnTo>
                    <a:pt x="252" y="270"/>
                  </a:lnTo>
                  <a:lnTo>
                    <a:pt x="254" y="270"/>
                  </a:lnTo>
                  <a:lnTo>
                    <a:pt x="256" y="268"/>
                  </a:lnTo>
                  <a:lnTo>
                    <a:pt x="258" y="268"/>
                  </a:lnTo>
                  <a:lnTo>
                    <a:pt x="262" y="266"/>
                  </a:lnTo>
                  <a:lnTo>
                    <a:pt x="264" y="266"/>
                  </a:lnTo>
                  <a:lnTo>
                    <a:pt x="264" y="264"/>
                  </a:lnTo>
                  <a:lnTo>
                    <a:pt x="266" y="264"/>
                  </a:lnTo>
                  <a:lnTo>
                    <a:pt x="266" y="264"/>
                  </a:lnTo>
                  <a:lnTo>
                    <a:pt x="268" y="262"/>
                  </a:lnTo>
                  <a:lnTo>
                    <a:pt x="268" y="262"/>
                  </a:lnTo>
                  <a:lnTo>
                    <a:pt x="268" y="262"/>
                  </a:lnTo>
                  <a:lnTo>
                    <a:pt x="268" y="260"/>
                  </a:lnTo>
                  <a:lnTo>
                    <a:pt x="268" y="256"/>
                  </a:lnTo>
                  <a:lnTo>
                    <a:pt x="268" y="254"/>
                  </a:lnTo>
                  <a:lnTo>
                    <a:pt x="268" y="252"/>
                  </a:lnTo>
                  <a:lnTo>
                    <a:pt x="268" y="250"/>
                  </a:lnTo>
                  <a:lnTo>
                    <a:pt x="268" y="248"/>
                  </a:lnTo>
                  <a:lnTo>
                    <a:pt x="268" y="248"/>
                  </a:lnTo>
                  <a:lnTo>
                    <a:pt x="270" y="248"/>
                  </a:lnTo>
                  <a:lnTo>
                    <a:pt x="270" y="246"/>
                  </a:lnTo>
                  <a:lnTo>
                    <a:pt x="270" y="246"/>
                  </a:lnTo>
                  <a:lnTo>
                    <a:pt x="272" y="244"/>
                  </a:lnTo>
                  <a:lnTo>
                    <a:pt x="274" y="244"/>
                  </a:lnTo>
                  <a:lnTo>
                    <a:pt x="276" y="242"/>
                  </a:lnTo>
                  <a:lnTo>
                    <a:pt x="278" y="242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4" y="240"/>
                  </a:lnTo>
                  <a:lnTo>
                    <a:pt x="286" y="240"/>
                  </a:lnTo>
                  <a:lnTo>
                    <a:pt x="286" y="240"/>
                  </a:lnTo>
                  <a:lnTo>
                    <a:pt x="288" y="240"/>
                  </a:lnTo>
                  <a:lnTo>
                    <a:pt x="288" y="240"/>
                  </a:lnTo>
                  <a:lnTo>
                    <a:pt x="288" y="240"/>
                  </a:lnTo>
                  <a:lnTo>
                    <a:pt x="290" y="240"/>
                  </a:lnTo>
                  <a:lnTo>
                    <a:pt x="290" y="242"/>
                  </a:lnTo>
                  <a:lnTo>
                    <a:pt x="290" y="244"/>
                  </a:lnTo>
                  <a:lnTo>
                    <a:pt x="290" y="244"/>
                  </a:lnTo>
                  <a:lnTo>
                    <a:pt x="290" y="246"/>
                  </a:lnTo>
                  <a:lnTo>
                    <a:pt x="292" y="248"/>
                  </a:lnTo>
                  <a:lnTo>
                    <a:pt x="292" y="250"/>
                  </a:lnTo>
                  <a:lnTo>
                    <a:pt x="292" y="250"/>
                  </a:lnTo>
                  <a:lnTo>
                    <a:pt x="292" y="250"/>
                  </a:lnTo>
                  <a:lnTo>
                    <a:pt x="292" y="250"/>
                  </a:lnTo>
                  <a:lnTo>
                    <a:pt x="294" y="250"/>
                  </a:lnTo>
                  <a:lnTo>
                    <a:pt x="296" y="250"/>
                  </a:lnTo>
                  <a:lnTo>
                    <a:pt x="298" y="250"/>
                  </a:lnTo>
                  <a:lnTo>
                    <a:pt x="300" y="250"/>
                  </a:lnTo>
                  <a:lnTo>
                    <a:pt x="302" y="250"/>
                  </a:lnTo>
                  <a:lnTo>
                    <a:pt x="304" y="250"/>
                  </a:lnTo>
                  <a:lnTo>
                    <a:pt x="304" y="250"/>
                  </a:lnTo>
                  <a:lnTo>
                    <a:pt x="304" y="250"/>
                  </a:lnTo>
                  <a:lnTo>
                    <a:pt x="306" y="250"/>
                  </a:lnTo>
                  <a:lnTo>
                    <a:pt x="306" y="252"/>
                  </a:lnTo>
                  <a:lnTo>
                    <a:pt x="306" y="252"/>
                  </a:lnTo>
                  <a:lnTo>
                    <a:pt x="306" y="252"/>
                  </a:lnTo>
                  <a:lnTo>
                    <a:pt x="306" y="254"/>
                  </a:lnTo>
                  <a:lnTo>
                    <a:pt x="306" y="254"/>
                  </a:lnTo>
                  <a:lnTo>
                    <a:pt x="306" y="256"/>
                  </a:lnTo>
                  <a:lnTo>
                    <a:pt x="306" y="258"/>
                  </a:lnTo>
                  <a:lnTo>
                    <a:pt x="306" y="260"/>
                  </a:lnTo>
                  <a:lnTo>
                    <a:pt x="306" y="262"/>
                  </a:lnTo>
                  <a:lnTo>
                    <a:pt x="306" y="262"/>
                  </a:lnTo>
                  <a:lnTo>
                    <a:pt x="306" y="262"/>
                  </a:lnTo>
                  <a:lnTo>
                    <a:pt x="306" y="264"/>
                  </a:lnTo>
                  <a:lnTo>
                    <a:pt x="306" y="264"/>
                  </a:lnTo>
                  <a:lnTo>
                    <a:pt x="306" y="264"/>
                  </a:lnTo>
                  <a:lnTo>
                    <a:pt x="308" y="266"/>
                  </a:lnTo>
                  <a:lnTo>
                    <a:pt x="308" y="266"/>
                  </a:lnTo>
                  <a:lnTo>
                    <a:pt x="310" y="266"/>
                  </a:lnTo>
                  <a:lnTo>
                    <a:pt x="312" y="266"/>
                  </a:lnTo>
                  <a:lnTo>
                    <a:pt x="314" y="268"/>
                  </a:lnTo>
                  <a:lnTo>
                    <a:pt x="318" y="268"/>
                  </a:lnTo>
                  <a:lnTo>
                    <a:pt x="320" y="268"/>
                  </a:lnTo>
                  <a:lnTo>
                    <a:pt x="324" y="268"/>
                  </a:lnTo>
                  <a:lnTo>
                    <a:pt x="328" y="266"/>
                  </a:lnTo>
                  <a:lnTo>
                    <a:pt x="334" y="266"/>
                  </a:lnTo>
                  <a:lnTo>
                    <a:pt x="340" y="266"/>
                  </a:lnTo>
                  <a:lnTo>
                    <a:pt x="344" y="266"/>
                  </a:lnTo>
                  <a:lnTo>
                    <a:pt x="346" y="266"/>
                  </a:lnTo>
                  <a:lnTo>
                    <a:pt x="348" y="266"/>
                  </a:lnTo>
                  <a:lnTo>
                    <a:pt x="350" y="266"/>
                  </a:lnTo>
                  <a:lnTo>
                    <a:pt x="352" y="268"/>
                  </a:lnTo>
                  <a:lnTo>
                    <a:pt x="354" y="268"/>
                  </a:lnTo>
                  <a:lnTo>
                    <a:pt x="354" y="270"/>
                  </a:lnTo>
                  <a:lnTo>
                    <a:pt x="354" y="270"/>
                  </a:lnTo>
                  <a:lnTo>
                    <a:pt x="356" y="270"/>
                  </a:lnTo>
                  <a:lnTo>
                    <a:pt x="356" y="272"/>
                  </a:lnTo>
                  <a:lnTo>
                    <a:pt x="356" y="272"/>
                  </a:lnTo>
                  <a:lnTo>
                    <a:pt x="356" y="274"/>
                  </a:lnTo>
                  <a:lnTo>
                    <a:pt x="356" y="276"/>
                  </a:lnTo>
                  <a:lnTo>
                    <a:pt x="356" y="278"/>
                  </a:lnTo>
                  <a:lnTo>
                    <a:pt x="356" y="278"/>
                  </a:lnTo>
                  <a:lnTo>
                    <a:pt x="356" y="280"/>
                  </a:lnTo>
                  <a:lnTo>
                    <a:pt x="358" y="280"/>
                  </a:lnTo>
                  <a:lnTo>
                    <a:pt x="358" y="280"/>
                  </a:lnTo>
                  <a:lnTo>
                    <a:pt x="358" y="280"/>
                  </a:lnTo>
                  <a:lnTo>
                    <a:pt x="360" y="280"/>
                  </a:lnTo>
                  <a:lnTo>
                    <a:pt x="362" y="280"/>
                  </a:lnTo>
                  <a:lnTo>
                    <a:pt x="364" y="280"/>
                  </a:lnTo>
                  <a:lnTo>
                    <a:pt x="366" y="282"/>
                  </a:lnTo>
                  <a:lnTo>
                    <a:pt x="368" y="282"/>
                  </a:lnTo>
                  <a:lnTo>
                    <a:pt x="370" y="282"/>
                  </a:lnTo>
                  <a:lnTo>
                    <a:pt x="370" y="282"/>
                  </a:lnTo>
                  <a:lnTo>
                    <a:pt x="372" y="282"/>
                  </a:lnTo>
                  <a:lnTo>
                    <a:pt x="372" y="282"/>
                  </a:lnTo>
                  <a:lnTo>
                    <a:pt x="372" y="284"/>
                  </a:lnTo>
                  <a:lnTo>
                    <a:pt x="372" y="284"/>
                  </a:lnTo>
                  <a:lnTo>
                    <a:pt x="372" y="286"/>
                  </a:lnTo>
                  <a:lnTo>
                    <a:pt x="372" y="286"/>
                  </a:lnTo>
                  <a:lnTo>
                    <a:pt x="372" y="288"/>
                  </a:lnTo>
                  <a:lnTo>
                    <a:pt x="374" y="290"/>
                  </a:lnTo>
                  <a:lnTo>
                    <a:pt x="374" y="292"/>
                  </a:lnTo>
                  <a:lnTo>
                    <a:pt x="374" y="294"/>
                  </a:lnTo>
                  <a:lnTo>
                    <a:pt x="374" y="294"/>
                  </a:lnTo>
                  <a:lnTo>
                    <a:pt x="374" y="294"/>
                  </a:lnTo>
                  <a:lnTo>
                    <a:pt x="374" y="294"/>
                  </a:lnTo>
                  <a:lnTo>
                    <a:pt x="376" y="294"/>
                  </a:lnTo>
                  <a:lnTo>
                    <a:pt x="376" y="294"/>
                  </a:lnTo>
                  <a:lnTo>
                    <a:pt x="378" y="294"/>
                  </a:lnTo>
                  <a:lnTo>
                    <a:pt x="380" y="294"/>
                  </a:lnTo>
                  <a:lnTo>
                    <a:pt x="382" y="294"/>
                  </a:lnTo>
                  <a:lnTo>
                    <a:pt x="384" y="292"/>
                  </a:lnTo>
                  <a:lnTo>
                    <a:pt x="384" y="292"/>
                  </a:lnTo>
                  <a:lnTo>
                    <a:pt x="386" y="292"/>
                  </a:lnTo>
                  <a:lnTo>
                    <a:pt x="386" y="292"/>
                  </a:lnTo>
                  <a:lnTo>
                    <a:pt x="386" y="294"/>
                  </a:lnTo>
                  <a:lnTo>
                    <a:pt x="386" y="294"/>
                  </a:lnTo>
                  <a:lnTo>
                    <a:pt x="386" y="294"/>
                  </a:lnTo>
                  <a:lnTo>
                    <a:pt x="388" y="296"/>
                  </a:lnTo>
                  <a:lnTo>
                    <a:pt x="388" y="298"/>
                  </a:lnTo>
                  <a:lnTo>
                    <a:pt x="388" y="300"/>
                  </a:lnTo>
                  <a:lnTo>
                    <a:pt x="388" y="302"/>
                  </a:lnTo>
                  <a:lnTo>
                    <a:pt x="390" y="302"/>
                  </a:lnTo>
                  <a:lnTo>
                    <a:pt x="390" y="304"/>
                  </a:lnTo>
                  <a:lnTo>
                    <a:pt x="392" y="306"/>
                  </a:lnTo>
                  <a:lnTo>
                    <a:pt x="392" y="306"/>
                  </a:lnTo>
                  <a:lnTo>
                    <a:pt x="394" y="308"/>
                  </a:lnTo>
                  <a:lnTo>
                    <a:pt x="396" y="308"/>
                  </a:lnTo>
                  <a:lnTo>
                    <a:pt x="398" y="308"/>
                  </a:lnTo>
                  <a:lnTo>
                    <a:pt x="400" y="310"/>
                  </a:lnTo>
                  <a:lnTo>
                    <a:pt x="400" y="310"/>
                  </a:lnTo>
                  <a:lnTo>
                    <a:pt x="400" y="310"/>
                  </a:lnTo>
                  <a:lnTo>
                    <a:pt x="402" y="310"/>
                  </a:lnTo>
                  <a:lnTo>
                    <a:pt x="402" y="308"/>
                  </a:lnTo>
                  <a:lnTo>
                    <a:pt x="402" y="308"/>
                  </a:lnTo>
                  <a:lnTo>
                    <a:pt x="402" y="308"/>
                  </a:lnTo>
                  <a:lnTo>
                    <a:pt x="404" y="306"/>
                  </a:lnTo>
                  <a:lnTo>
                    <a:pt x="404" y="304"/>
                  </a:lnTo>
                  <a:lnTo>
                    <a:pt x="404" y="302"/>
                  </a:lnTo>
                  <a:lnTo>
                    <a:pt x="406" y="300"/>
                  </a:lnTo>
                  <a:lnTo>
                    <a:pt x="406" y="300"/>
                  </a:lnTo>
                  <a:lnTo>
                    <a:pt x="406" y="300"/>
                  </a:lnTo>
                  <a:lnTo>
                    <a:pt x="406" y="300"/>
                  </a:lnTo>
                  <a:lnTo>
                    <a:pt x="408" y="300"/>
                  </a:lnTo>
                  <a:lnTo>
                    <a:pt x="408" y="300"/>
                  </a:lnTo>
                  <a:lnTo>
                    <a:pt x="408" y="300"/>
                  </a:lnTo>
                  <a:lnTo>
                    <a:pt x="408" y="300"/>
                  </a:lnTo>
                  <a:lnTo>
                    <a:pt x="408" y="300"/>
                  </a:lnTo>
                  <a:lnTo>
                    <a:pt x="410" y="302"/>
                  </a:lnTo>
                  <a:lnTo>
                    <a:pt x="410" y="304"/>
                  </a:lnTo>
                  <a:lnTo>
                    <a:pt x="412" y="306"/>
                  </a:lnTo>
                  <a:lnTo>
                    <a:pt x="412" y="308"/>
                  </a:lnTo>
                  <a:lnTo>
                    <a:pt x="414" y="310"/>
                  </a:lnTo>
                  <a:lnTo>
                    <a:pt x="416" y="310"/>
                  </a:lnTo>
                  <a:lnTo>
                    <a:pt x="418" y="312"/>
                  </a:lnTo>
                  <a:lnTo>
                    <a:pt x="418" y="314"/>
                  </a:lnTo>
                  <a:lnTo>
                    <a:pt x="420" y="314"/>
                  </a:lnTo>
                  <a:lnTo>
                    <a:pt x="422" y="314"/>
                  </a:lnTo>
                  <a:lnTo>
                    <a:pt x="422" y="314"/>
                  </a:lnTo>
                  <a:lnTo>
                    <a:pt x="422" y="314"/>
                  </a:lnTo>
                  <a:lnTo>
                    <a:pt x="424" y="314"/>
                  </a:lnTo>
                  <a:lnTo>
                    <a:pt x="424" y="312"/>
                  </a:lnTo>
                  <a:lnTo>
                    <a:pt x="426" y="310"/>
                  </a:lnTo>
                  <a:lnTo>
                    <a:pt x="426" y="310"/>
                  </a:lnTo>
                  <a:lnTo>
                    <a:pt x="428" y="310"/>
                  </a:lnTo>
                  <a:lnTo>
                    <a:pt x="428" y="310"/>
                  </a:lnTo>
                  <a:lnTo>
                    <a:pt x="428" y="310"/>
                  </a:lnTo>
                  <a:lnTo>
                    <a:pt x="430" y="310"/>
                  </a:lnTo>
                  <a:lnTo>
                    <a:pt x="430" y="310"/>
                  </a:lnTo>
                  <a:lnTo>
                    <a:pt x="432" y="310"/>
                  </a:lnTo>
                  <a:lnTo>
                    <a:pt x="432" y="310"/>
                  </a:lnTo>
                  <a:lnTo>
                    <a:pt x="434" y="312"/>
                  </a:lnTo>
                  <a:lnTo>
                    <a:pt x="434" y="312"/>
                  </a:lnTo>
                  <a:lnTo>
                    <a:pt x="434" y="312"/>
                  </a:lnTo>
                  <a:lnTo>
                    <a:pt x="434" y="314"/>
                  </a:lnTo>
                  <a:lnTo>
                    <a:pt x="434" y="314"/>
                  </a:lnTo>
                  <a:lnTo>
                    <a:pt x="432" y="316"/>
                  </a:lnTo>
                  <a:lnTo>
                    <a:pt x="432" y="318"/>
                  </a:lnTo>
                  <a:lnTo>
                    <a:pt x="432" y="322"/>
                  </a:lnTo>
                  <a:lnTo>
                    <a:pt x="432" y="324"/>
                  </a:lnTo>
                  <a:lnTo>
                    <a:pt x="432" y="326"/>
                  </a:lnTo>
                  <a:lnTo>
                    <a:pt x="432" y="328"/>
                  </a:lnTo>
                  <a:lnTo>
                    <a:pt x="432" y="330"/>
                  </a:lnTo>
                  <a:lnTo>
                    <a:pt x="432" y="330"/>
                  </a:lnTo>
                  <a:lnTo>
                    <a:pt x="432" y="332"/>
                  </a:lnTo>
                  <a:lnTo>
                    <a:pt x="434" y="332"/>
                  </a:lnTo>
                  <a:lnTo>
                    <a:pt x="434" y="334"/>
                  </a:lnTo>
                  <a:lnTo>
                    <a:pt x="436" y="336"/>
                  </a:lnTo>
                  <a:lnTo>
                    <a:pt x="438" y="338"/>
                  </a:lnTo>
                  <a:lnTo>
                    <a:pt x="438" y="338"/>
                  </a:lnTo>
                  <a:lnTo>
                    <a:pt x="440" y="338"/>
                  </a:lnTo>
                  <a:lnTo>
                    <a:pt x="440" y="338"/>
                  </a:lnTo>
                  <a:lnTo>
                    <a:pt x="444" y="338"/>
                  </a:lnTo>
                  <a:lnTo>
                    <a:pt x="444" y="338"/>
                  </a:lnTo>
                  <a:lnTo>
                    <a:pt x="446" y="338"/>
                  </a:lnTo>
                  <a:lnTo>
                    <a:pt x="446" y="338"/>
                  </a:lnTo>
                  <a:lnTo>
                    <a:pt x="448" y="340"/>
                  </a:lnTo>
                  <a:lnTo>
                    <a:pt x="448" y="340"/>
                  </a:lnTo>
                  <a:lnTo>
                    <a:pt x="448" y="340"/>
                  </a:lnTo>
                  <a:lnTo>
                    <a:pt x="448" y="340"/>
                  </a:lnTo>
                  <a:lnTo>
                    <a:pt x="448" y="342"/>
                  </a:lnTo>
                  <a:lnTo>
                    <a:pt x="448" y="344"/>
                  </a:lnTo>
                  <a:lnTo>
                    <a:pt x="448" y="346"/>
                  </a:lnTo>
                  <a:lnTo>
                    <a:pt x="448" y="346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48" y="350"/>
                  </a:lnTo>
                  <a:lnTo>
                    <a:pt x="448" y="350"/>
                  </a:lnTo>
                  <a:lnTo>
                    <a:pt x="448" y="352"/>
                  </a:lnTo>
                  <a:lnTo>
                    <a:pt x="450" y="352"/>
                  </a:lnTo>
                  <a:lnTo>
                    <a:pt x="450" y="354"/>
                  </a:lnTo>
                  <a:lnTo>
                    <a:pt x="452" y="354"/>
                  </a:lnTo>
                  <a:lnTo>
                    <a:pt x="454" y="356"/>
                  </a:lnTo>
                  <a:lnTo>
                    <a:pt x="456" y="356"/>
                  </a:lnTo>
                  <a:lnTo>
                    <a:pt x="458" y="358"/>
                  </a:lnTo>
                  <a:lnTo>
                    <a:pt x="460" y="358"/>
                  </a:lnTo>
                  <a:lnTo>
                    <a:pt x="462" y="358"/>
                  </a:lnTo>
                  <a:lnTo>
                    <a:pt x="466" y="358"/>
                  </a:lnTo>
                  <a:lnTo>
                    <a:pt x="470" y="358"/>
                  </a:lnTo>
                  <a:lnTo>
                    <a:pt x="472" y="356"/>
                  </a:lnTo>
                  <a:lnTo>
                    <a:pt x="474" y="354"/>
                  </a:lnTo>
                  <a:lnTo>
                    <a:pt x="476" y="354"/>
                  </a:lnTo>
                  <a:lnTo>
                    <a:pt x="478" y="352"/>
                  </a:lnTo>
                  <a:lnTo>
                    <a:pt x="480" y="350"/>
                  </a:lnTo>
                  <a:lnTo>
                    <a:pt x="480" y="350"/>
                  </a:lnTo>
                  <a:lnTo>
                    <a:pt x="480" y="348"/>
                  </a:lnTo>
                  <a:lnTo>
                    <a:pt x="480" y="348"/>
                  </a:lnTo>
                  <a:lnTo>
                    <a:pt x="480" y="346"/>
                  </a:lnTo>
                  <a:lnTo>
                    <a:pt x="480" y="346"/>
                  </a:lnTo>
                  <a:lnTo>
                    <a:pt x="480" y="346"/>
                  </a:lnTo>
                  <a:lnTo>
                    <a:pt x="478" y="346"/>
                  </a:lnTo>
                  <a:lnTo>
                    <a:pt x="476" y="344"/>
                  </a:lnTo>
                  <a:lnTo>
                    <a:pt x="476" y="344"/>
                  </a:lnTo>
                  <a:lnTo>
                    <a:pt x="474" y="344"/>
                  </a:lnTo>
                  <a:lnTo>
                    <a:pt x="470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64" y="344"/>
                  </a:lnTo>
                  <a:lnTo>
                    <a:pt x="462" y="344"/>
                  </a:lnTo>
                  <a:lnTo>
                    <a:pt x="460" y="342"/>
                  </a:lnTo>
                  <a:lnTo>
                    <a:pt x="460" y="342"/>
                  </a:lnTo>
                  <a:lnTo>
                    <a:pt x="460" y="340"/>
                  </a:lnTo>
                  <a:lnTo>
                    <a:pt x="458" y="340"/>
                  </a:lnTo>
                  <a:lnTo>
                    <a:pt x="458" y="338"/>
                  </a:lnTo>
                  <a:lnTo>
                    <a:pt x="458" y="338"/>
                  </a:lnTo>
                  <a:lnTo>
                    <a:pt x="458" y="334"/>
                  </a:lnTo>
                  <a:lnTo>
                    <a:pt x="458" y="330"/>
                  </a:lnTo>
                  <a:lnTo>
                    <a:pt x="458" y="326"/>
                  </a:lnTo>
                  <a:lnTo>
                    <a:pt x="456" y="324"/>
                  </a:lnTo>
                  <a:lnTo>
                    <a:pt x="456" y="322"/>
                  </a:lnTo>
                  <a:lnTo>
                    <a:pt x="456" y="320"/>
                  </a:lnTo>
                  <a:lnTo>
                    <a:pt x="456" y="320"/>
                  </a:lnTo>
                  <a:lnTo>
                    <a:pt x="454" y="318"/>
                  </a:lnTo>
                  <a:lnTo>
                    <a:pt x="454" y="318"/>
                  </a:lnTo>
                  <a:lnTo>
                    <a:pt x="454" y="316"/>
                  </a:lnTo>
                  <a:lnTo>
                    <a:pt x="452" y="316"/>
                  </a:lnTo>
                  <a:lnTo>
                    <a:pt x="448" y="316"/>
                  </a:lnTo>
                  <a:lnTo>
                    <a:pt x="448" y="314"/>
                  </a:lnTo>
                  <a:lnTo>
                    <a:pt x="448" y="314"/>
                  </a:lnTo>
                  <a:lnTo>
                    <a:pt x="446" y="314"/>
                  </a:lnTo>
                  <a:lnTo>
                    <a:pt x="446" y="312"/>
                  </a:lnTo>
                  <a:lnTo>
                    <a:pt x="446" y="310"/>
                  </a:lnTo>
                  <a:lnTo>
                    <a:pt x="446" y="308"/>
                  </a:lnTo>
                  <a:lnTo>
                    <a:pt x="446" y="306"/>
                  </a:lnTo>
                  <a:lnTo>
                    <a:pt x="444" y="300"/>
                  </a:lnTo>
                  <a:lnTo>
                    <a:pt x="444" y="298"/>
                  </a:lnTo>
                  <a:lnTo>
                    <a:pt x="444" y="298"/>
                  </a:lnTo>
                  <a:lnTo>
                    <a:pt x="444" y="296"/>
                  </a:lnTo>
                  <a:lnTo>
                    <a:pt x="442" y="294"/>
                  </a:lnTo>
                  <a:lnTo>
                    <a:pt x="440" y="290"/>
                  </a:lnTo>
                  <a:lnTo>
                    <a:pt x="438" y="286"/>
                  </a:lnTo>
                  <a:lnTo>
                    <a:pt x="434" y="284"/>
                  </a:lnTo>
                  <a:lnTo>
                    <a:pt x="432" y="280"/>
                  </a:lnTo>
                  <a:lnTo>
                    <a:pt x="428" y="278"/>
                  </a:lnTo>
                  <a:lnTo>
                    <a:pt x="426" y="274"/>
                  </a:lnTo>
                  <a:lnTo>
                    <a:pt x="424" y="274"/>
                  </a:lnTo>
                  <a:lnTo>
                    <a:pt x="422" y="272"/>
                  </a:lnTo>
                  <a:lnTo>
                    <a:pt x="420" y="272"/>
                  </a:lnTo>
                  <a:lnTo>
                    <a:pt x="418" y="272"/>
                  </a:lnTo>
                  <a:lnTo>
                    <a:pt x="416" y="272"/>
                  </a:lnTo>
                  <a:lnTo>
                    <a:pt x="416" y="272"/>
                  </a:lnTo>
                  <a:lnTo>
                    <a:pt x="414" y="272"/>
                  </a:lnTo>
                  <a:lnTo>
                    <a:pt x="414" y="272"/>
                  </a:lnTo>
                  <a:lnTo>
                    <a:pt x="414" y="272"/>
                  </a:lnTo>
                  <a:lnTo>
                    <a:pt x="412" y="272"/>
                  </a:lnTo>
                  <a:lnTo>
                    <a:pt x="412" y="274"/>
                  </a:lnTo>
                  <a:lnTo>
                    <a:pt x="412" y="274"/>
                  </a:lnTo>
                  <a:lnTo>
                    <a:pt x="412" y="276"/>
                  </a:lnTo>
                  <a:lnTo>
                    <a:pt x="412" y="278"/>
                  </a:lnTo>
                  <a:lnTo>
                    <a:pt x="412" y="280"/>
                  </a:lnTo>
                  <a:lnTo>
                    <a:pt x="412" y="280"/>
                  </a:lnTo>
                  <a:lnTo>
                    <a:pt x="412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10" y="282"/>
                  </a:lnTo>
                  <a:lnTo>
                    <a:pt x="408" y="282"/>
                  </a:lnTo>
                  <a:lnTo>
                    <a:pt x="408" y="282"/>
                  </a:lnTo>
                  <a:lnTo>
                    <a:pt x="406" y="282"/>
                  </a:lnTo>
                  <a:lnTo>
                    <a:pt x="406" y="282"/>
                  </a:lnTo>
                  <a:lnTo>
                    <a:pt x="404" y="282"/>
                  </a:lnTo>
                  <a:lnTo>
                    <a:pt x="402" y="282"/>
                  </a:lnTo>
                  <a:lnTo>
                    <a:pt x="402" y="282"/>
                  </a:lnTo>
                  <a:lnTo>
                    <a:pt x="402" y="282"/>
                  </a:lnTo>
                  <a:lnTo>
                    <a:pt x="402" y="282"/>
                  </a:lnTo>
                  <a:lnTo>
                    <a:pt x="402" y="282"/>
                  </a:lnTo>
                  <a:lnTo>
                    <a:pt x="400" y="284"/>
                  </a:lnTo>
                  <a:lnTo>
                    <a:pt x="400" y="284"/>
                  </a:lnTo>
                  <a:lnTo>
                    <a:pt x="400" y="286"/>
                  </a:lnTo>
                  <a:lnTo>
                    <a:pt x="400" y="288"/>
                  </a:lnTo>
                  <a:lnTo>
                    <a:pt x="400" y="288"/>
                  </a:lnTo>
                  <a:lnTo>
                    <a:pt x="398" y="290"/>
                  </a:lnTo>
                  <a:lnTo>
                    <a:pt x="398" y="290"/>
                  </a:lnTo>
                  <a:lnTo>
                    <a:pt x="398" y="290"/>
                  </a:lnTo>
                  <a:lnTo>
                    <a:pt x="398" y="290"/>
                  </a:lnTo>
                  <a:lnTo>
                    <a:pt x="396" y="290"/>
                  </a:lnTo>
                  <a:lnTo>
                    <a:pt x="396" y="290"/>
                  </a:lnTo>
                  <a:lnTo>
                    <a:pt x="394" y="290"/>
                  </a:lnTo>
                  <a:lnTo>
                    <a:pt x="394" y="288"/>
                  </a:lnTo>
                  <a:lnTo>
                    <a:pt x="392" y="288"/>
                  </a:lnTo>
                  <a:lnTo>
                    <a:pt x="390" y="286"/>
                  </a:lnTo>
                  <a:lnTo>
                    <a:pt x="388" y="284"/>
                  </a:lnTo>
                  <a:lnTo>
                    <a:pt x="386" y="284"/>
                  </a:lnTo>
                  <a:lnTo>
                    <a:pt x="386" y="282"/>
                  </a:lnTo>
                  <a:lnTo>
                    <a:pt x="386" y="280"/>
                  </a:lnTo>
                  <a:lnTo>
                    <a:pt x="384" y="280"/>
                  </a:lnTo>
                  <a:lnTo>
                    <a:pt x="384" y="278"/>
                  </a:lnTo>
                  <a:lnTo>
                    <a:pt x="384" y="274"/>
                  </a:lnTo>
                  <a:lnTo>
                    <a:pt x="384" y="272"/>
                  </a:lnTo>
                  <a:lnTo>
                    <a:pt x="384" y="270"/>
                  </a:lnTo>
                  <a:lnTo>
                    <a:pt x="384" y="266"/>
                  </a:lnTo>
                  <a:lnTo>
                    <a:pt x="382" y="264"/>
                  </a:lnTo>
                  <a:lnTo>
                    <a:pt x="382" y="264"/>
                  </a:lnTo>
                  <a:lnTo>
                    <a:pt x="382" y="262"/>
                  </a:lnTo>
                  <a:lnTo>
                    <a:pt x="380" y="262"/>
                  </a:lnTo>
                  <a:lnTo>
                    <a:pt x="380" y="260"/>
                  </a:lnTo>
                  <a:lnTo>
                    <a:pt x="378" y="258"/>
                  </a:lnTo>
                  <a:lnTo>
                    <a:pt x="378" y="258"/>
                  </a:lnTo>
                  <a:lnTo>
                    <a:pt x="376" y="258"/>
                  </a:lnTo>
                  <a:lnTo>
                    <a:pt x="376" y="258"/>
                  </a:lnTo>
                  <a:lnTo>
                    <a:pt x="374" y="258"/>
                  </a:lnTo>
                  <a:lnTo>
                    <a:pt x="374" y="258"/>
                  </a:lnTo>
                  <a:lnTo>
                    <a:pt x="372" y="258"/>
                  </a:lnTo>
                  <a:lnTo>
                    <a:pt x="370" y="260"/>
                  </a:lnTo>
                  <a:lnTo>
                    <a:pt x="368" y="260"/>
                  </a:lnTo>
                  <a:lnTo>
                    <a:pt x="364" y="262"/>
                  </a:lnTo>
                  <a:lnTo>
                    <a:pt x="364" y="262"/>
                  </a:lnTo>
                  <a:lnTo>
                    <a:pt x="428" y="42"/>
                  </a:lnTo>
                  <a:lnTo>
                    <a:pt x="426" y="40"/>
                  </a:lnTo>
                  <a:lnTo>
                    <a:pt x="422" y="34"/>
                  </a:lnTo>
                  <a:lnTo>
                    <a:pt x="420" y="32"/>
                  </a:lnTo>
                  <a:lnTo>
                    <a:pt x="416" y="30"/>
                  </a:lnTo>
                  <a:lnTo>
                    <a:pt x="414" y="28"/>
                  </a:lnTo>
                  <a:lnTo>
                    <a:pt x="414" y="28"/>
                  </a:lnTo>
                  <a:lnTo>
                    <a:pt x="412" y="28"/>
                  </a:lnTo>
                  <a:lnTo>
                    <a:pt x="410" y="28"/>
                  </a:lnTo>
                  <a:lnTo>
                    <a:pt x="408" y="26"/>
                  </a:lnTo>
                  <a:lnTo>
                    <a:pt x="406" y="26"/>
                  </a:lnTo>
                  <a:lnTo>
                    <a:pt x="404" y="26"/>
                  </a:lnTo>
                  <a:lnTo>
                    <a:pt x="402" y="26"/>
                  </a:lnTo>
                  <a:lnTo>
                    <a:pt x="400" y="28"/>
                  </a:lnTo>
                  <a:lnTo>
                    <a:pt x="394" y="28"/>
                  </a:lnTo>
                  <a:lnTo>
                    <a:pt x="384" y="30"/>
                  </a:lnTo>
                  <a:lnTo>
                    <a:pt x="380" y="30"/>
                  </a:lnTo>
                  <a:lnTo>
                    <a:pt x="376" y="32"/>
                  </a:lnTo>
                  <a:lnTo>
                    <a:pt x="374" y="32"/>
                  </a:lnTo>
                  <a:lnTo>
                    <a:pt x="370" y="32"/>
                  </a:lnTo>
                  <a:lnTo>
                    <a:pt x="368" y="32"/>
                  </a:lnTo>
                  <a:lnTo>
                    <a:pt x="364" y="32"/>
                  </a:lnTo>
                  <a:lnTo>
                    <a:pt x="364" y="32"/>
                  </a:lnTo>
                  <a:lnTo>
                    <a:pt x="362" y="32"/>
                  </a:lnTo>
                  <a:lnTo>
                    <a:pt x="362" y="32"/>
                  </a:lnTo>
                  <a:lnTo>
                    <a:pt x="362" y="32"/>
                  </a:lnTo>
                  <a:lnTo>
                    <a:pt x="360" y="32"/>
                  </a:lnTo>
                  <a:lnTo>
                    <a:pt x="360" y="30"/>
                  </a:lnTo>
                  <a:lnTo>
                    <a:pt x="358" y="30"/>
                  </a:lnTo>
                  <a:lnTo>
                    <a:pt x="356" y="28"/>
                  </a:lnTo>
                  <a:lnTo>
                    <a:pt x="356" y="26"/>
                  </a:lnTo>
                  <a:lnTo>
                    <a:pt x="354" y="24"/>
                  </a:lnTo>
                  <a:lnTo>
                    <a:pt x="352" y="24"/>
                  </a:lnTo>
                  <a:lnTo>
                    <a:pt x="352" y="22"/>
                  </a:lnTo>
                  <a:lnTo>
                    <a:pt x="352" y="22"/>
                  </a:lnTo>
                  <a:lnTo>
                    <a:pt x="350" y="22"/>
                  </a:lnTo>
                  <a:lnTo>
                    <a:pt x="350" y="22"/>
                  </a:lnTo>
                  <a:lnTo>
                    <a:pt x="348" y="22"/>
                  </a:lnTo>
                  <a:lnTo>
                    <a:pt x="344" y="22"/>
                  </a:lnTo>
                  <a:lnTo>
                    <a:pt x="342" y="22"/>
                  </a:lnTo>
                  <a:lnTo>
                    <a:pt x="338" y="22"/>
                  </a:lnTo>
                  <a:lnTo>
                    <a:pt x="336" y="24"/>
                  </a:lnTo>
                  <a:lnTo>
                    <a:pt x="328" y="24"/>
                  </a:lnTo>
                  <a:lnTo>
                    <a:pt x="322" y="26"/>
                  </a:lnTo>
                  <a:lnTo>
                    <a:pt x="320" y="26"/>
                  </a:lnTo>
                  <a:lnTo>
                    <a:pt x="316" y="28"/>
                  </a:lnTo>
                  <a:lnTo>
                    <a:pt x="314" y="28"/>
                  </a:lnTo>
                  <a:lnTo>
                    <a:pt x="310" y="28"/>
                  </a:lnTo>
                  <a:lnTo>
                    <a:pt x="308" y="26"/>
                  </a:lnTo>
                  <a:lnTo>
                    <a:pt x="308" y="26"/>
                  </a:lnTo>
                  <a:lnTo>
                    <a:pt x="306" y="26"/>
                  </a:lnTo>
                  <a:lnTo>
                    <a:pt x="306" y="26"/>
                  </a:lnTo>
                  <a:lnTo>
                    <a:pt x="304" y="24"/>
                  </a:lnTo>
                  <a:lnTo>
                    <a:pt x="304" y="24"/>
                  </a:lnTo>
                  <a:lnTo>
                    <a:pt x="302" y="22"/>
                  </a:lnTo>
                  <a:lnTo>
                    <a:pt x="300" y="18"/>
                  </a:lnTo>
                  <a:lnTo>
                    <a:pt x="298" y="16"/>
                  </a:lnTo>
                  <a:lnTo>
                    <a:pt x="298" y="12"/>
                  </a:lnTo>
                  <a:lnTo>
                    <a:pt x="296" y="10"/>
                  </a:lnTo>
                  <a:lnTo>
                    <a:pt x="296" y="10"/>
                  </a:lnTo>
                  <a:lnTo>
                    <a:pt x="294" y="8"/>
                  </a:lnTo>
                  <a:lnTo>
                    <a:pt x="294" y="6"/>
                  </a:lnTo>
                  <a:lnTo>
                    <a:pt x="292" y="6"/>
                  </a:lnTo>
                  <a:lnTo>
                    <a:pt x="292" y="6"/>
                  </a:lnTo>
                  <a:lnTo>
                    <a:pt x="290" y="6"/>
                  </a:lnTo>
                  <a:lnTo>
                    <a:pt x="290" y="6"/>
                  </a:lnTo>
                  <a:lnTo>
                    <a:pt x="288" y="6"/>
                  </a:lnTo>
                  <a:lnTo>
                    <a:pt x="288" y="8"/>
                  </a:lnTo>
                  <a:lnTo>
                    <a:pt x="286" y="10"/>
                  </a:lnTo>
                  <a:lnTo>
                    <a:pt x="284" y="12"/>
                  </a:lnTo>
                  <a:lnTo>
                    <a:pt x="282" y="14"/>
                  </a:lnTo>
                  <a:lnTo>
                    <a:pt x="280" y="16"/>
                  </a:lnTo>
                  <a:lnTo>
                    <a:pt x="278" y="16"/>
                  </a:lnTo>
                  <a:lnTo>
                    <a:pt x="278" y="18"/>
                  </a:lnTo>
                  <a:lnTo>
                    <a:pt x="276" y="18"/>
                  </a:lnTo>
                  <a:lnTo>
                    <a:pt x="276" y="18"/>
                  </a:lnTo>
                  <a:lnTo>
                    <a:pt x="274" y="20"/>
                  </a:lnTo>
                  <a:lnTo>
                    <a:pt x="270" y="20"/>
                  </a:lnTo>
                  <a:lnTo>
                    <a:pt x="268" y="20"/>
                  </a:lnTo>
                  <a:lnTo>
                    <a:pt x="264" y="20"/>
                  </a:lnTo>
                  <a:lnTo>
                    <a:pt x="262" y="20"/>
                  </a:lnTo>
                  <a:lnTo>
                    <a:pt x="258" y="18"/>
                  </a:lnTo>
                  <a:lnTo>
                    <a:pt x="258" y="18"/>
                  </a:lnTo>
                  <a:lnTo>
                    <a:pt x="256" y="18"/>
                  </a:lnTo>
                  <a:lnTo>
                    <a:pt x="256" y="16"/>
                  </a:lnTo>
                  <a:lnTo>
                    <a:pt x="254" y="16"/>
                  </a:lnTo>
                  <a:lnTo>
                    <a:pt x="254" y="16"/>
                  </a:lnTo>
                  <a:lnTo>
                    <a:pt x="254" y="14"/>
                  </a:lnTo>
                  <a:lnTo>
                    <a:pt x="254" y="14"/>
                  </a:lnTo>
                  <a:lnTo>
                    <a:pt x="254" y="14"/>
                  </a:lnTo>
                  <a:lnTo>
                    <a:pt x="254" y="12"/>
                  </a:lnTo>
                  <a:lnTo>
                    <a:pt x="254" y="10"/>
                  </a:lnTo>
                  <a:lnTo>
                    <a:pt x="254" y="8"/>
                  </a:lnTo>
                  <a:lnTo>
                    <a:pt x="254" y="6"/>
                  </a:lnTo>
                  <a:lnTo>
                    <a:pt x="254" y="4"/>
                  </a:lnTo>
                  <a:lnTo>
                    <a:pt x="254" y="4"/>
                  </a:lnTo>
                  <a:lnTo>
                    <a:pt x="254" y="2"/>
                  </a:lnTo>
                  <a:lnTo>
                    <a:pt x="254" y="2"/>
                  </a:lnTo>
                  <a:lnTo>
                    <a:pt x="252" y="2"/>
                  </a:lnTo>
                  <a:lnTo>
                    <a:pt x="252" y="2"/>
                  </a:lnTo>
                  <a:lnTo>
                    <a:pt x="250" y="0"/>
                  </a:lnTo>
                  <a:lnTo>
                    <a:pt x="248" y="0"/>
                  </a:lnTo>
                  <a:lnTo>
                    <a:pt x="246" y="0"/>
                  </a:lnTo>
                  <a:lnTo>
                    <a:pt x="246" y="0"/>
                  </a:lnTo>
                  <a:lnTo>
                    <a:pt x="244" y="0"/>
                  </a:lnTo>
                  <a:lnTo>
                    <a:pt x="244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35" name="Freeform 526">
              <a:extLst>
                <a:ext uri="{FF2B5EF4-FFF2-40B4-BE49-F238E27FC236}">
                  <a16:creationId xmlns:a16="http://schemas.microsoft.com/office/drawing/2014/main" id="{1A5CAAA5-C23F-4751-B7A7-E59677948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3640" y="3205289"/>
              <a:ext cx="1390660" cy="762203"/>
            </a:xfrm>
            <a:custGeom>
              <a:avLst/>
              <a:gdLst>
                <a:gd name="T0" fmla="*/ 464 w 814"/>
                <a:gd name="T1" fmla="*/ 10 h 456"/>
                <a:gd name="T2" fmla="*/ 542 w 814"/>
                <a:gd name="T3" fmla="*/ 20 h 456"/>
                <a:gd name="T4" fmla="*/ 590 w 814"/>
                <a:gd name="T5" fmla="*/ 70 h 456"/>
                <a:gd name="T6" fmla="*/ 588 w 814"/>
                <a:gd name="T7" fmla="*/ 122 h 456"/>
                <a:gd name="T8" fmla="*/ 596 w 814"/>
                <a:gd name="T9" fmla="*/ 144 h 456"/>
                <a:gd name="T10" fmla="*/ 642 w 814"/>
                <a:gd name="T11" fmla="*/ 108 h 456"/>
                <a:gd name="T12" fmla="*/ 680 w 814"/>
                <a:gd name="T13" fmla="*/ 104 h 456"/>
                <a:gd name="T14" fmla="*/ 702 w 814"/>
                <a:gd name="T15" fmla="*/ 74 h 456"/>
                <a:gd name="T16" fmla="*/ 762 w 814"/>
                <a:gd name="T17" fmla="*/ 68 h 456"/>
                <a:gd name="T18" fmla="*/ 786 w 814"/>
                <a:gd name="T19" fmla="*/ 26 h 456"/>
                <a:gd name="T20" fmla="*/ 802 w 814"/>
                <a:gd name="T21" fmla="*/ 62 h 456"/>
                <a:gd name="T22" fmla="*/ 802 w 814"/>
                <a:gd name="T23" fmla="*/ 86 h 456"/>
                <a:gd name="T24" fmla="*/ 780 w 814"/>
                <a:gd name="T25" fmla="*/ 94 h 456"/>
                <a:gd name="T26" fmla="*/ 766 w 814"/>
                <a:gd name="T27" fmla="*/ 102 h 456"/>
                <a:gd name="T28" fmla="*/ 756 w 814"/>
                <a:gd name="T29" fmla="*/ 128 h 456"/>
                <a:gd name="T30" fmla="*/ 746 w 814"/>
                <a:gd name="T31" fmla="*/ 144 h 456"/>
                <a:gd name="T32" fmla="*/ 716 w 814"/>
                <a:gd name="T33" fmla="*/ 164 h 456"/>
                <a:gd name="T34" fmla="*/ 692 w 814"/>
                <a:gd name="T35" fmla="*/ 184 h 456"/>
                <a:gd name="T36" fmla="*/ 672 w 814"/>
                <a:gd name="T37" fmla="*/ 214 h 456"/>
                <a:gd name="T38" fmla="*/ 676 w 814"/>
                <a:gd name="T39" fmla="*/ 234 h 456"/>
                <a:gd name="T40" fmla="*/ 662 w 814"/>
                <a:gd name="T41" fmla="*/ 264 h 456"/>
                <a:gd name="T42" fmla="*/ 646 w 814"/>
                <a:gd name="T43" fmla="*/ 272 h 456"/>
                <a:gd name="T44" fmla="*/ 620 w 814"/>
                <a:gd name="T45" fmla="*/ 288 h 456"/>
                <a:gd name="T46" fmla="*/ 602 w 814"/>
                <a:gd name="T47" fmla="*/ 308 h 456"/>
                <a:gd name="T48" fmla="*/ 586 w 814"/>
                <a:gd name="T49" fmla="*/ 362 h 456"/>
                <a:gd name="T50" fmla="*/ 594 w 814"/>
                <a:gd name="T51" fmla="*/ 396 h 456"/>
                <a:gd name="T52" fmla="*/ 602 w 814"/>
                <a:gd name="T53" fmla="*/ 452 h 456"/>
                <a:gd name="T54" fmla="*/ 576 w 814"/>
                <a:gd name="T55" fmla="*/ 438 h 456"/>
                <a:gd name="T56" fmla="*/ 564 w 814"/>
                <a:gd name="T57" fmla="*/ 380 h 456"/>
                <a:gd name="T58" fmla="*/ 538 w 814"/>
                <a:gd name="T59" fmla="*/ 350 h 456"/>
                <a:gd name="T60" fmla="*/ 500 w 814"/>
                <a:gd name="T61" fmla="*/ 346 h 456"/>
                <a:gd name="T62" fmla="*/ 466 w 814"/>
                <a:gd name="T63" fmla="*/ 362 h 456"/>
                <a:gd name="T64" fmla="*/ 446 w 814"/>
                <a:gd name="T65" fmla="*/ 372 h 456"/>
                <a:gd name="T66" fmla="*/ 434 w 814"/>
                <a:gd name="T67" fmla="*/ 348 h 456"/>
                <a:gd name="T68" fmla="*/ 420 w 814"/>
                <a:gd name="T69" fmla="*/ 368 h 456"/>
                <a:gd name="T70" fmla="*/ 400 w 814"/>
                <a:gd name="T71" fmla="*/ 354 h 456"/>
                <a:gd name="T72" fmla="*/ 360 w 814"/>
                <a:gd name="T73" fmla="*/ 396 h 456"/>
                <a:gd name="T74" fmla="*/ 328 w 814"/>
                <a:gd name="T75" fmla="*/ 424 h 456"/>
                <a:gd name="T76" fmla="*/ 316 w 814"/>
                <a:gd name="T77" fmla="*/ 400 h 456"/>
                <a:gd name="T78" fmla="*/ 298 w 814"/>
                <a:gd name="T79" fmla="*/ 366 h 456"/>
                <a:gd name="T80" fmla="*/ 278 w 814"/>
                <a:gd name="T81" fmla="*/ 368 h 456"/>
                <a:gd name="T82" fmla="*/ 258 w 814"/>
                <a:gd name="T83" fmla="*/ 364 h 456"/>
                <a:gd name="T84" fmla="*/ 244 w 814"/>
                <a:gd name="T85" fmla="*/ 342 h 456"/>
                <a:gd name="T86" fmla="*/ 230 w 814"/>
                <a:gd name="T87" fmla="*/ 328 h 456"/>
                <a:gd name="T88" fmla="*/ 216 w 814"/>
                <a:gd name="T89" fmla="*/ 322 h 456"/>
                <a:gd name="T90" fmla="*/ 198 w 814"/>
                <a:gd name="T91" fmla="*/ 334 h 456"/>
                <a:gd name="T92" fmla="*/ 146 w 814"/>
                <a:gd name="T93" fmla="*/ 336 h 456"/>
                <a:gd name="T94" fmla="*/ 112 w 814"/>
                <a:gd name="T95" fmla="*/ 310 h 456"/>
                <a:gd name="T96" fmla="*/ 80 w 814"/>
                <a:gd name="T97" fmla="*/ 292 h 456"/>
                <a:gd name="T98" fmla="*/ 46 w 814"/>
                <a:gd name="T99" fmla="*/ 274 h 456"/>
                <a:gd name="T100" fmla="*/ 36 w 814"/>
                <a:gd name="T101" fmla="*/ 248 h 456"/>
                <a:gd name="T102" fmla="*/ 22 w 814"/>
                <a:gd name="T103" fmla="*/ 230 h 456"/>
                <a:gd name="T104" fmla="*/ 4 w 814"/>
                <a:gd name="T105" fmla="*/ 196 h 456"/>
                <a:gd name="T106" fmla="*/ 4 w 814"/>
                <a:gd name="T107" fmla="*/ 150 h 456"/>
                <a:gd name="T108" fmla="*/ 4 w 814"/>
                <a:gd name="T109" fmla="*/ 130 h 456"/>
                <a:gd name="T110" fmla="*/ 16 w 814"/>
                <a:gd name="T111" fmla="*/ 102 h 456"/>
                <a:gd name="T112" fmla="*/ 26 w 814"/>
                <a:gd name="T113" fmla="*/ 68 h 456"/>
                <a:gd name="T114" fmla="*/ 38 w 814"/>
                <a:gd name="T115" fmla="*/ 38 h 456"/>
                <a:gd name="T116" fmla="*/ 28 w 814"/>
                <a:gd name="T117" fmla="*/ 14 h 456"/>
                <a:gd name="T118" fmla="*/ 54 w 814"/>
                <a:gd name="T119" fmla="*/ 3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14" h="456">
                  <a:moveTo>
                    <a:pt x="58" y="2"/>
                  </a:moveTo>
                  <a:lnTo>
                    <a:pt x="442" y="0"/>
                  </a:lnTo>
                  <a:lnTo>
                    <a:pt x="440" y="2"/>
                  </a:lnTo>
                  <a:lnTo>
                    <a:pt x="440" y="4"/>
                  </a:lnTo>
                  <a:lnTo>
                    <a:pt x="440" y="6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0"/>
                  </a:lnTo>
                  <a:lnTo>
                    <a:pt x="440" y="10"/>
                  </a:lnTo>
                  <a:lnTo>
                    <a:pt x="440" y="10"/>
                  </a:lnTo>
                  <a:lnTo>
                    <a:pt x="442" y="12"/>
                  </a:lnTo>
                  <a:lnTo>
                    <a:pt x="444" y="12"/>
                  </a:lnTo>
                  <a:lnTo>
                    <a:pt x="444" y="12"/>
                  </a:lnTo>
                  <a:lnTo>
                    <a:pt x="446" y="12"/>
                  </a:lnTo>
                  <a:lnTo>
                    <a:pt x="448" y="12"/>
                  </a:lnTo>
                  <a:lnTo>
                    <a:pt x="452" y="12"/>
                  </a:lnTo>
                  <a:lnTo>
                    <a:pt x="456" y="12"/>
                  </a:lnTo>
                  <a:lnTo>
                    <a:pt x="460" y="10"/>
                  </a:lnTo>
                  <a:lnTo>
                    <a:pt x="464" y="10"/>
                  </a:lnTo>
                  <a:lnTo>
                    <a:pt x="464" y="10"/>
                  </a:lnTo>
                  <a:lnTo>
                    <a:pt x="466" y="10"/>
                  </a:lnTo>
                  <a:lnTo>
                    <a:pt x="470" y="10"/>
                  </a:lnTo>
                  <a:lnTo>
                    <a:pt x="476" y="10"/>
                  </a:lnTo>
                  <a:lnTo>
                    <a:pt x="486" y="12"/>
                  </a:lnTo>
                  <a:lnTo>
                    <a:pt x="498" y="14"/>
                  </a:lnTo>
                  <a:lnTo>
                    <a:pt x="502" y="14"/>
                  </a:lnTo>
                  <a:lnTo>
                    <a:pt x="506" y="14"/>
                  </a:lnTo>
                  <a:lnTo>
                    <a:pt x="508" y="14"/>
                  </a:lnTo>
                  <a:lnTo>
                    <a:pt x="512" y="14"/>
                  </a:lnTo>
                  <a:lnTo>
                    <a:pt x="520" y="14"/>
                  </a:lnTo>
                  <a:lnTo>
                    <a:pt x="522" y="12"/>
                  </a:lnTo>
                  <a:lnTo>
                    <a:pt x="526" y="12"/>
                  </a:lnTo>
                  <a:lnTo>
                    <a:pt x="530" y="14"/>
                  </a:lnTo>
                  <a:lnTo>
                    <a:pt x="530" y="14"/>
                  </a:lnTo>
                  <a:lnTo>
                    <a:pt x="532" y="14"/>
                  </a:lnTo>
                  <a:lnTo>
                    <a:pt x="532" y="14"/>
                  </a:lnTo>
                  <a:lnTo>
                    <a:pt x="534" y="14"/>
                  </a:lnTo>
                  <a:lnTo>
                    <a:pt x="536" y="16"/>
                  </a:lnTo>
                  <a:lnTo>
                    <a:pt x="540" y="18"/>
                  </a:lnTo>
                  <a:lnTo>
                    <a:pt x="542" y="20"/>
                  </a:lnTo>
                  <a:lnTo>
                    <a:pt x="548" y="26"/>
                  </a:lnTo>
                  <a:lnTo>
                    <a:pt x="550" y="28"/>
                  </a:lnTo>
                  <a:lnTo>
                    <a:pt x="552" y="28"/>
                  </a:lnTo>
                  <a:lnTo>
                    <a:pt x="554" y="30"/>
                  </a:lnTo>
                  <a:lnTo>
                    <a:pt x="558" y="32"/>
                  </a:lnTo>
                  <a:lnTo>
                    <a:pt x="564" y="34"/>
                  </a:lnTo>
                  <a:lnTo>
                    <a:pt x="568" y="36"/>
                  </a:lnTo>
                  <a:lnTo>
                    <a:pt x="570" y="38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76" y="42"/>
                  </a:lnTo>
                  <a:lnTo>
                    <a:pt x="576" y="42"/>
                  </a:lnTo>
                  <a:lnTo>
                    <a:pt x="578" y="44"/>
                  </a:lnTo>
                  <a:lnTo>
                    <a:pt x="578" y="46"/>
                  </a:lnTo>
                  <a:lnTo>
                    <a:pt x="580" y="48"/>
                  </a:lnTo>
                  <a:lnTo>
                    <a:pt x="582" y="52"/>
                  </a:lnTo>
                  <a:lnTo>
                    <a:pt x="584" y="56"/>
                  </a:lnTo>
                  <a:lnTo>
                    <a:pt x="588" y="64"/>
                  </a:lnTo>
                  <a:lnTo>
                    <a:pt x="590" y="68"/>
                  </a:lnTo>
                  <a:lnTo>
                    <a:pt x="590" y="70"/>
                  </a:lnTo>
                  <a:lnTo>
                    <a:pt x="592" y="74"/>
                  </a:lnTo>
                  <a:lnTo>
                    <a:pt x="594" y="78"/>
                  </a:lnTo>
                  <a:lnTo>
                    <a:pt x="596" y="80"/>
                  </a:lnTo>
                  <a:lnTo>
                    <a:pt x="600" y="84"/>
                  </a:lnTo>
                  <a:lnTo>
                    <a:pt x="602" y="88"/>
                  </a:lnTo>
                  <a:lnTo>
                    <a:pt x="602" y="90"/>
                  </a:lnTo>
                  <a:lnTo>
                    <a:pt x="604" y="92"/>
                  </a:lnTo>
                  <a:lnTo>
                    <a:pt x="604" y="94"/>
                  </a:lnTo>
                  <a:lnTo>
                    <a:pt x="604" y="96"/>
                  </a:lnTo>
                  <a:lnTo>
                    <a:pt x="604" y="98"/>
                  </a:lnTo>
                  <a:lnTo>
                    <a:pt x="604" y="100"/>
                  </a:lnTo>
                  <a:lnTo>
                    <a:pt x="604" y="100"/>
                  </a:lnTo>
                  <a:lnTo>
                    <a:pt x="604" y="102"/>
                  </a:lnTo>
                  <a:lnTo>
                    <a:pt x="604" y="104"/>
                  </a:lnTo>
                  <a:lnTo>
                    <a:pt x="602" y="106"/>
                  </a:lnTo>
                  <a:lnTo>
                    <a:pt x="602" y="108"/>
                  </a:lnTo>
                  <a:lnTo>
                    <a:pt x="600" y="110"/>
                  </a:lnTo>
                  <a:lnTo>
                    <a:pt x="598" y="112"/>
                  </a:lnTo>
                  <a:lnTo>
                    <a:pt x="592" y="120"/>
                  </a:lnTo>
                  <a:lnTo>
                    <a:pt x="588" y="122"/>
                  </a:lnTo>
                  <a:lnTo>
                    <a:pt x="588" y="124"/>
                  </a:lnTo>
                  <a:lnTo>
                    <a:pt x="586" y="126"/>
                  </a:lnTo>
                  <a:lnTo>
                    <a:pt x="584" y="128"/>
                  </a:lnTo>
                  <a:lnTo>
                    <a:pt x="582" y="130"/>
                  </a:lnTo>
                  <a:lnTo>
                    <a:pt x="580" y="132"/>
                  </a:lnTo>
                  <a:lnTo>
                    <a:pt x="580" y="134"/>
                  </a:lnTo>
                  <a:lnTo>
                    <a:pt x="580" y="134"/>
                  </a:lnTo>
                  <a:lnTo>
                    <a:pt x="580" y="134"/>
                  </a:lnTo>
                  <a:lnTo>
                    <a:pt x="580" y="136"/>
                  </a:lnTo>
                  <a:lnTo>
                    <a:pt x="580" y="136"/>
                  </a:lnTo>
                  <a:lnTo>
                    <a:pt x="580" y="138"/>
                  </a:lnTo>
                  <a:lnTo>
                    <a:pt x="580" y="138"/>
                  </a:lnTo>
                  <a:lnTo>
                    <a:pt x="582" y="138"/>
                  </a:lnTo>
                  <a:lnTo>
                    <a:pt x="582" y="140"/>
                  </a:lnTo>
                  <a:lnTo>
                    <a:pt x="584" y="140"/>
                  </a:lnTo>
                  <a:lnTo>
                    <a:pt x="586" y="142"/>
                  </a:lnTo>
                  <a:lnTo>
                    <a:pt x="588" y="142"/>
                  </a:lnTo>
                  <a:lnTo>
                    <a:pt x="588" y="142"/>
                  </a:lnTo>
                  <a:lnTo>
                    <a:pt x="592" y="144"/>
                  </a:lnTo>
                  <a:lnTo>
                    <a:pt x="596" y="144"/>
                  </a:lnTo>
                  <a:lnTo>
                    <a:pt x="598" y="144"/>
                  </a:lnTo>
                  <a:lnTo>
                    <a:pt x="600" y="144"/>
                  </a:lnTo>
                  <a:lnTo>
                    <a:pt x="600" y="144"/>
                  </a:lnTo>
                  <a:lnTo>
                    <a:pt x="602" y="144"/>
                  </a:lnTo>
                  <a:lnTo>
                    <a:pt x="604" y="144"/>
                  </a:lnTo>
                  <a:lnTo>
                    <a:pt x="606" y="142"/>
                  </a:lnTo>
                  <a:lnTo>
                    <a:pt x="610" y="140"/>
                  </a:lnTo>
                  <a:lnTo>
                    <a:pt x="612" y="140"/>
                  </a:lnTo>
                  <a:lnTo>
                    <a:pt x="614" y="138"/>
                  </a:lnTo>
                  <a:lnTo>
                    <a:pt x="618" y="132"/>
                  </a:lnTo>
                  <a:lnTo>
                    <a:pt x="622" y="128"/>
                  </a:lnTo>
                  <a:lnTo>
                    <a:pt x="626" y="124"/>
                  </a:lnTo>
                  <a:lnTo>
                    <a:pt x="630" y="120"/>
                  </a:lnTo>
                  <a:lnTo>
                    <a:pt x="630" y="118"/>
                  </a:lnTo>
                  <a:lnTo>
                    <a:pt x="632" y="118"/>
                  </a:lnTo>
                  <a:lnTo>
                    <a:pt x="634" y="116"/>
                  </a:lnTo>
                  <a:lnTo>
                    <a:pt x="634" y="114"/>
                  </a:lnTo>
                  <a:lnTo>
                    <a:pt x="638" y="110"/>
                  </a:lnTo>
                  <a:lnTo>
                    <a:pt x="640" y="110"/>
                  </a:lnTo>
                  <a:lnTo>
                    <a:pt x="642" y="108"/>
                  </a:lnTo>
                  <a:lnTo>
                    <a:pt x="644" y="106"/>
                  </a:lnTo>
                  <a:lnTo>
                    <a:pt x="644" y="106"/>
                  </a:lnTo>
                  <a:lnTo>
                    <a:pt x="644" y="106"/>
                  </a:lnTo>
                  <a:lnTo>
                    <a:pt x="646" y="106"/>
                  </a:lnTo>
                  <a:lnTo>
                    <a:pt x="648" y="106"/>
                  </a:lnTo>
                  <a:lnTo>
                    <a:pt x="650" y="106"/>
                  </a:lnTo>
                  <a:lnTo>
                    <a:pt x="652" y="106"/>
                  </a:lnTo>
                  <a:lnTo>
                    <a:pt x="656" y="106"/>
                  </a:lnTo>
                  <a:lnTo>
                    <a:pt x="662" y="108"/>
                  </a:lnTo>
                  <a:lnTo>
                    <a:pt x="666" y="108"/>
                  </a:lnTo>
                  <a:lnTo>
                    <a:pt x="668" y="108"/>
                  </a:lnTo>
                  <a:lnTo>
                    <a:pt x="670" y="108"/>
                  </a:lnTo>
                  <a:lnTo>
                    <a:pt x="672" y="108"/>
                  </a:lnTo>
                  <a:lnTo>
                    <a:pt x="674" y="108"/>
                  </a:lnTo>
                  <a:lnTo>
                    <a:pt x="676" y="108"/>
                  </a:lnTo>
                  <a:lnTo>
                    <a:pt x="676" y="108"/>
                  </a:lnTo>
                  <a:lnTo>
                    <a:pt x="678" y="106"/>
                  </a:lnTo>
                  <a:lnTo>
                    <a:pt x="678" y="106"/>
                  </a:lnTo>
                  <a:lnTo>
                    <a:pt x="678" y="106"/>
                  </a:lnTo>
                  <a:lnTo>
                    <a:pt x="680" y="104"/>
                  </a:lnTo>
                  <a:lnTo>
                    <a:pt x="680" y="102"/>
                  </a:lnTo>
                  <a:lnTo>
                    <a:pt x="680" y="100"/>
                  </a:lnTo>
                  <a:lnTo>
                    <a:pt x="682" y="96"/>
                  </a:lnTo>
                  <a:lnTo>
                    <a:pt x="682" y="94"/>
                  </a:lnTo>
                  <a:lnTo>
                    <a:pt x="682" y="90"/>
                  </a:lnTo>
                  <a:lnTo>
                    <a:pt x="682" y="88"/>
                  </a:lnTo>
                  <a:lnTo>
                    <a:pt x="684" y="86"/>
                  </a:lnTo>
                  <a:lnTo>
                    <a:pt x="684" y="86"/>
                  </a:lnTo>
                  <a:lnTo>
                    <a:pt x="684" y="84"/>
                  </a:lnTo>
                  <a:lnTo>
                    <a:pt x="686" y="82"/>
                  </a:lnTo>
                  <a:lnTo>
                    <a:pt x="688" y="80"/>
                  </a:lnTo>
                  <a:lnTo>
                    <a:pt x="688" y="80"/>
                  </a:lnTo>
                  <a:lnTo>
                    <a:pt x="690" y="78"/>
                  </a:lnTo>
                  <a:lnTo>
                    <a:pt x="692" y="76"/>
                  </a:lnTo>
                  <a:lnTo>
                    <a:pt x="694" y="76"/>
                  </a:lnTo>
                  <a:lnTo>
                    <a:pt x="696" y="74"/>
                  </a:lnTo>
                  <a:lnTo>
                    <a:pt x="696" y="74"/>
                  </a:lnTo>
                  <a:lnTo>
                    <a:pt x="698" y="74"/>
                  </a:lnTo>
                  <a:lnTo>
                    <a:pt x="700" y="74"/>
                  </a:lnTo>
                  <a:lnTo>
                    <a:pt x="702" y="74"/>
                  </a:lnTo>
                  <a:lnTo>
                    <a:pt x="704" y="74"/>
                  </a:lnTo>
                  <a:lnTo>
                    <a:pt x="708" y="74"/>
                  </a:lnTo>
                  <a:lnTo>
                    <a:pt x="712" y="74"/>
                  </a:lnTo>
                  <a:lnTo>
                    <a:pt x="716" y="74"/>
                  </a:lnTo>
                  <a:lnTo>
                    <a:pt x="724" y="76"/>
                  </a:lnTo>
                  <a:lnTo>
                    <a:pt x="734" y="78"/>
                  </a:lnTo>
                  <a:lnTo>
                    <a:pt x="738" y="78"/>
                  </a:lnTo>
                  <a:lnTo>
                    <a:pt x="742" y="80"/>
                  </a:lnTo>
                  <a:lnTo>
                    <a:pt x="746" y="80"/>
                  </a:lnTo>
                  <a:lnTo>
                    <a:pt x="748" y="80"/>
                  </a:lnTo>
                  <a:lnTo>
                    <a:pt x="750" y="80"/>
                  </a:lnTo>
                  <a:lnTo>
                    <a:pt x="752" y="78"/>
                  </a:lnTo>
                  <a:lnTo>
                    <a:pt x="754" y="78"/>
                  </a:lnTo>
                  <a:lnTo>
                    <a:pt x="754" y="78"/>
                  </a:lnTo>
                  <a:lnTo>
                    <a:pt x="754" y="78"/>
                  </a:lnTo>
                  <a:lnTo>
                    <a:pt x="756" y="78"/>
                  </a:lnTo>
                  <a:lnTo>
                    <a:pt x="758" y="76"/>
                  </a:lnTo>
                  <a:lnTo>
                    <a:pt x="758" y="74"/>
                  </a:lnTo>
                  <a:lnTo>
                    <a:pt x="760" y="72"/>
                  </a:lnTo>
                  <a:lnTo>
                    <a:pt x="762" y="68"/>
                  </a:lnTo>
                  <a:lnTo>
                    <a:pt x="764" y="64"/>
                  </a:lnTo>
                  <a:lnTo>
                    <a:pt x="766" y="62"/>
                  </a:lnTo>
                  <a:lnTo>
                    <a:pt x="768" y="58"/>
                  </a:lnTo>
                  <a:lnTo>
                    <a:pt x="770" y="54"/>
                  </a:lnTo>
                  <a:lnTo>
                    <a:pt x="772" y="50"/>
                  </a:lnTo>
                  <a:lnTo>
                    <a:pt x="772" y="50"/>
                  </a:lnTo>
                  <a:lnTo>
                    <a:pt x="772" y="48"/>
                  </a:lnTo>
                  <a:lnTo>
                    <a:pt x="774" y="44"/>
                  </a:lnTo>
                  <a:lnTo>
                    <a:pt x="776" y="38"/>
                  </a:lnTo>
                  <a:lnTo>
                    <a:pt x="776" y="34"/>
                  </a:lnTo>
                  <a:lnTo>
                    <a:pt x="776" y="32"/>
                  </a:lnTo>
                  <a:lnTo>
                    <a:pt x="778" y="30"/>
                  </a:lnTo>
                  <a:lnTo>
                    <a:pt x="778" y="30"/>
                  </a:lnTo>
                  <a:lnTo>
                    <a:pt x="778" y="28"/>
                  </a:lnTo>
                  <a:lnTo>
                    <a:pt x="780" y="28"/>
                  </a:lnTo>
                  <a:lnTo>
                    <a:pt x="780" y="26"/>
                  </a:lnTo>
                  <a:lnTo>
                    <a:pt x="782" y="26"/>
                  </a:lnTo>
                  <a:lnTo>
                    <a:pt x="782" y="26"/>
                  </a:lnTo>
                  <a:lnTo>
                    <a:pt x="784" y="26"/>
                  </a:lnTo>
                  <a:lnTo>
                    <a:pt x="786" y="26"/>
                  </a:lnTo>
                  <a:lnTo>
                    <a:pt x="788" y="26"/>
                  </a:lnTo>
                  <a:lnTo>
                    <a:pt x="792" y="26"/>
                  </a:lnTo>
                  <a:lnTo>
                    <a:pt x="794" y="26"/>
                  </a:lnTo>
                  <a:lnTo>
                    <a:pt x="796" y="28"/>
                  </a:lnTo>
                  <a:lnTo>
                    <a:pt x="798" y="28"/>
                  </a:lnTo>
                  <a:lnTo>
                    <a:pt x="800" y="28"/>
                  </a:lnTo>
                  <a:lnTo>
                    <a:pt x="800" y="30"/>
                  </a:lnTo>
                  <a:lnTo>
                    <a:pt x="800" y="30"/>
                  </a:lnTo>
                  <a:lnTo>
                    <a:pt x="802" y="30"/>
                  </a:lnTo>
                  <a:lnTo>
                    <a:pt x="802" y="32"/>
                  </a:lnTo>
                  <a:lnTo>
                    <a:pt x="802" y="32"/>
                  </a:lnTo>
                  <a:lnTo>
                    <a:pt x="802" y="34"/>
                  </a:lnTo>
                  <a:lnTo>
                    <a:pt x="804" y="36"/>
                  </a:lnTo>
                  <a:lnTo>
                    <a:pt x="804" y="38"/>
                  </a:lnTo>
                  <a:lnTo>
                    <a:pt x="804" y="42"/>
                  </a:lnTo>
                  <a:lnTo>
                    <a:pt x="804" y="44"/>
                  </a:lnTo>
                  <a:lnTo>
                    <a:pt x="802" y="50"/>
                  </a:lnTo>
                  <a:lnTo>
                    <a:pt x="802" y="56"/>
                  </a:lnTo>
                  <a:lnTo>
                    <a:pt x="802" y="58"/>
                  </a:lnTo>
                  <a:lnTo>
                    <a:pt x="802" y="62"/>
                  </a:lnTo>
                  <a:lnTo>
                    <a:pt x="802" y="64"/>
                  </a:lnTo>
                  <a:lnTo>
                    <a:pt x="802" y="66"/>
                  </a:lnTo>
                  <a:lnTo>
                    <a:pt x="802" y="68"/>
                  </a:lnTo>
                  <a:lnTo>
                    <a:pt x="802" y="70"/>
                  </a:lnTo>
                  <a:lnTo>
                    <a:pt x="804" y="70"/>
                  </a:lnTo>
                  <a:lnTo>
                    <a:pt x="804" y="72"/>
                  </a:lnTo>
                  <a:lnTo>
                    <a:pt x="804" y="72"/>
                  </a:lnTo>
                  <a:lnTo>
                    <a:pt x="806" y="72"/>
                  </a:lnTo>
                  <a:lnTo>
                    <a:pt x="808" y="74"/>
                  </a:lnTo>
                  <a:lnTo>
                    <a:pt x="808" y="74"/>
                  </a:lnTo>
                  <a:lnTo>
                    <a:pt x="812" y="76"/>
                  </a:lnTo>
                  <a:lnTo>
                    <a:pt x="814" y="76"/>
                  </a:lnTo>
                  <a:lnTo>
                    <a:pt x="812" y="78"/>
                  </a:lnTo>
                  <a:lnTo>
                    <a:pt x="810" y="80"/>
                  </a:lnTo>
                  <a:lnTo>
                    <a:pt x="808" y="82"/>
                  </a:lnTo>
                  <a:lnTo>
                    <a:pt x="808" y="84"/>
                  </a:lnTo>
                  <a:lnTo>
                    <a:pt x="806" y="84"/>
                  </a:lnTo>
                  <a:lnTo>
                    <a:pt x="804" y="86"/>
                  </a:lnTo>
                  <a:lnTo>
                    <a:pt x="804" y="86"/>
                  </a:lnTo>
                  <a:lnTo>
                    <a:pt x="802" y="86"/>
                  </a:lnTo>
                  <a:lnTo>
                    <a:pt x="800" y="86"/>
                  </a:lnTo>
                  <a:lnTo>
                    <a:pt x="798" y="86"/>
                  </a:lnTo>
                  <a:lnTo>
                    <a:pt x="796" y="86"/>
                  </a:lnTo>
                  <a:lnTo>
                    <a:pt x="794" y="86"/>
                  </a:lnTo>
                  <a:lnTo>
                    <a:pt x="794" y="86"/>
                  </a:lnTo>
                  <a:lnTo>
                    <a:pt x="792" y="86"/>
                  </a:lnTo>
                  <a:lnTo>
                    <a:pt x="792" y="86"/>
                  </a:lnTo>
                  <a:lnTo>
                    <a:pt x="792" y="88"/>
                  </a:lnTo>
                  <a:lnTo>
                    <a:pt x="790" y="88"/>
                  </a:lnTo>
                  <a:lnTo>
                    <a:pt x="788" y="92"/>
                  </a:lnTo>
                  <a:lnTo>
                    <a:pt x="788" y="92"/>
                  </a:lnTo>
                  <a:lnTo>
                    <a:pt x="788" y="94"/>
                  </a:lnTo>
                  <a:lnTo>
                    <a:pt x="786" y="96"/>
                  </a:lnTo>
                  <a:lnTo>
                    <a:pt x="786" y="96"/>
                  </a:lnTo>
                  <a:lnTo>
                    <a:pt x="786" y="96"/>
                  </a:lnTo>
                  <a:lnTo>
                    <a:pt x="786" y="96"/>
                  </a:lnTo>
                  <a:lnTo>
                    <a:pt x="784" y="96"/>
                  </a:lnTo>
                  <a:lnTo>
                    <a:pt x="784" y="96"/>
                  </a:lnTo>
                  <a:lnTo>
                    <a:pt x="782" y="96"/>
                  </a:lnTo>
                  <a:lnTo>
                    <a:pt x="780" y="94"/>
                  </a:lnTo>
                  <a:lnTo>
                    <a:pt x="780" y="94"/>
                  </a:lnTo>
                  <a:lnTo>
                    <a:pt x="778" y="94"/>
                  </a:lnTo>
                  <a:lnTo>
                    <a:pt x="776" y="94"/>
                  </a:lnTo>
                  <a:lnTo>
                    <a:pt x="776" y="94"/>
                  </a:lnTo>
                  <a:lnTo>
                    <a:pt x="776" y="94"/>
                  </a:lnTo>
                  <a:lnTo>
                    <a:pt x="776" y="94"/>
                  </a:lnTo>
                  <a:lnTo>
                    <a:pt x="776" y="96"/>
                  </a:lnTo>
                  <a:lnTo>
                    <a:pt x="774" y="96"/>
                  </a:lnTo>
                  <a:lnTo>
                    <a:pt x="774" y="96"/>
                  </a:lnTo>
                  <a:lnTo>
                    <a:pt x="774" y="98"/>
                  </a:lnTo>
                  <a:lnTo>
                    <a:pt x="774" y="100"/>
                  </a:lnTo>
                  <a:lnTo>
                    <a:pt x="774" y="102"/>
                  </a:lnTo>
                  <a:lnTo>
                    <a:pt x="774" y="102"/>
                  </a:lnTo>
                  <a:lnTo>
                    <a:pt x="774" y="102"/>
                  </a:lnTo>
                  <a:lnTo>
                    <a:pt x="772" y="102"/>
                  </a:lnTo>
                  <a:lnTo>
                    <a:pt x="772" y="102"/>
                  </a:lnTo>
                  <a:lnTo>
                    <a:pt x="770" y="102"/>
                  </a:lnTo>
                  <a:lnTo>
                    <a:pt x="770" y="102"/>
                  </a:lnTo>
                  <a:lnTo>
                    <a:pt x="768" y="102"/>
                  </a:lnTo>
                  <a:lnTo>
                    <a:pt x="766" y="102"/>
                  </a:lnTo>
                  <a:lnTo>
                    <a:pt x="764" y="102"/>
                  </a:lnTo>
                  <a:lnTo>
                    <a:pt x="762" y="102"/>
                  </a:lnTo>
                  <a:lnTo>
                    <a:pt x="762" y="102"/>
                  </a:lnTo>
                  <a:lnTo>
                    <a:pt x="762" y="102"/>
                  </a:lnTo>
                  <a:lnTo>
                    <a:pt x="762" y="102"/>
                  </a:lnTo>
                  <a:lnTo>
                    <a:pt x="760" y="102"/>
                  </a:lnTo>
                  <a:lnTo>
                    <a:pt x="760" y="104"/>
                  </a:lnTo>
                  <a:lnTo>
                    <a:pt x="760" y="106"/>
                  </a:lnTo>
                  <a:lnTo>
                    <a:pt x="758" y="108"/>
                  </a:lnTo>
                  <a:lnTo>
                    <a:pt x="758" y="112"/>
                  </a:lnTo>
                  <a:lnTo>
                    <a:pt x="756" y="114"/>
                  </a:lnTo>
                  <a:lnTo>
                    <a:pt x="756" y="118"/>
                  </a:lnTo>
                  <a:lnTo>
                    <a:pt x="754" y="120"/>
                  </a:lnTo>
                  <a:lnTo>
                    <a:pt x="754" y="122"/>
                  </a:lnTo>
                  <a:lnTo>
                    <a:pt x="754" y="124"/>
                  </a:lnTo>
                  <a:lnTo>
                    <a:pt x="754" y="124"/>
                  </a:lnTo>
                  <a:lnTo>
                    <a:pt x="754" y="126"/>
                  </a:lnTo>
                  <a:lnTo>
                    <a:pt x="754" y="126"/>
                  </a:lnTo>
                  <a:lnTo>
                    <a:pt x="754" y="128"/>
                  </a:lnTo>
                  <a:lnTo>
                    <a:pt x="756" y="128"/>
                  </a:lnTo>
                  <a:lnTo>
                    <a:pt x="758" y="130"/>
                  </a:lnTo>
                  <a:lnTo>
                    <a:pt x="760" y="130"/>
                  </a:lnTo>
                  <a:lnTo>
                    <a:pt x="762" y="132"/>
                  </a:lnTo>
                  <a:lnTo>
                    <a:pt x="764" y="134"/>
                  </a:lnTo>
                  <a:lnTo>
                    <a:pt x="764" y="134"/>
                  </a:lnTo>
                  <a:lnTo>
                    <a:pt x="764" y="134"/>
                  </a:lnTo>
                  <a:lnTo>
                    <a:pt x="764" y="136"/>
                  </a:lnTo>
                  <a:lnTo>
                    <a:pt x="764" y="136"/>
                  </a:lnTo>
                  <a:lnTo>
                    <a:pt x="764" y="136"/>
                  </a:lnTo>
                  <a:lnTo>
                    <a:pt x="764" y="138"/>
                  </a:lnTo>
                  <a:lnTo>
                    <a:pt x="764" y="138"/>
                  </a:lnTo>
                  <a:lnTo>
                    <a:pt x="762" y="138"/>
                  </a:lnTo>
                  <a:lnTo>
                    <a:pt x="762" y="140"/>
                  </a:lnTo>
                  <a:lnTo>
                    <a:pt x="760" y="140"/>
                  </a:lnTo>
                  <a:lnTo>
                    <a:pt x="758" y="142"/>
                  </a:lnTo>
                  <a:lnTo>
                    <a:pt x="756" y="142"/>
                  </a:lnTo>
                  <a:lnTo>
                    <a:pt x="752" y="144"/>
                  </a:lnTo>
                  <a:lnTo>
                    <a:pt x="750" y="144"/>
                  </a:lnTo>
                  <a:lnTo>
                    <a:pt x="750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38" y="144"/>
                  </a:lnTo>
                  <a:lnTo>
                    <a:pt x="734" y="144"/>
                  </a:lnTo>
                  <a:lnTo>
                    <a:pt x="730" y="144"/>
                  </a:lnTo>
                  <a:lnTo>
                    <a:pt x="730" y="144"/>
                  </a:lnTo>
                  <a:lnTo>
                    <a:pt x="728" y="144"/>
                  </a:lnTo>
                  <a:lnTo>
                    <a:pt x="726" y="146"/>
                  </a:lnTo>
                  <a:lnTo>
                    <a:pt x="726" y="146"/>
                  </a:lnTo>
                  <a:lnTo>
                    <a:pt x="724" y="146"/>
                  </a:lnTo>
                  <a:lnTo>
                    <a:pt x="724" y="146"/>
                  </a:lnTo>
                  <a:lnTo>
                    <a:pt x="724" y="148"/>
                  </a:lnTo>
                  <a:lnTo>
                    <a:pt x="724" y="150"/>
                  </a:lnTo>
                  <a:lnTo>
                    <a:pt x="722" y="152"/>
                  </a:lnTo>
                  <a:lnTo>
                    <a:pt x="722" y="154"/>
                  </a:lnTo>
                  <a:lnTo>
                    <a:pt x="720" y="156"/>
                  </a:lnTo>
                  <a:lnTo>
                    <a:pt x="720" y="158"/>
                  </a:lnTo>
                  <a:lnTo>
                    <a:pt x="720" y="160"/>
                  </a:lnTo>
                  <a:lnTo>
                    <a:pt x="718" y="162"/>
                  </a:lnTo>
                  <a:lnTo>
                    <a:pt x="716" y="164"/>
                  </a:lnTo>
                  <a:lnTo>
                    <a:pt x="716" y="164"/>
                  </a:lnTo>
                  <a:lnTo>
                    <a:pt x="716" y="164"/>
                  </a:lnTo>
                  <a:lnTo>
                    <a:pt x="714" y="166"/>
                  </a:lnTo>
                  <a:lnTo>
                    <a:pt x="714" y="166"/>
                  </a:lnTo>
                  <a:lnTo>
                    <a:pt x="712" y="166"/>
                  </a:lnTo>
                  <a:lnTo>
                    <a:pt x="710" y="166"/>
                  </a:lnTo>
                  <a:lnTo>
                    <a:pt x="708" y="166"/>
                  </a:lnTo>
                  <a:lnTo>
                    <a:pt x="706" y="166"/>
                  </a:lnTo>
                  <a:lnTo>
                    <a:pt x="704" y="166"/>
                  </a:lnTo>
                  <a:lnTo>
                    <a:pt x="702" y="166"/>
                  </a:lnTo>
                  <a:lnTo>
                    <a:pt x="700" y="168"/>
                  </a:lnTo>
                  <a:lnTo>
                    <a:pt x="700" y="168"/>
                  </a:lnTo>
                  <a:lnTo>
                    <a:pt x="700" y="168"/>
                  </a:lnTo>
                  <a:lnTo>
                    <a:pt x="698" y="170"/>
                  </a:lnTo>
                  <a:lnTo>
                    <a:pt x="696" y="170"/>
                  </a:lnTo>
                  <a:lnTo>
                    <a:pt x="696" y="172"/>
                  </a:lnTo>
                  <a:lnTo>
                    <a:pt x="694" y="176"/>
                  </a:lnTo>
                  <a:lnTo>
                    <a:pt x="692" y="178"/>
                  </a:lnTo>
                  <a:lnTo>
                    <a:pt x="692" y="178"/>
                  </a:lnTo>
                  <a:lnTo>
                    <a:pt x="692" y="180"/>
                  </a:lnTo>
                  <a:lnTo>
                    <a:pt x="692" y="184"/>
                  </a:lnTo>
                  <a:lnTo>
                    <a:pt x="692" y="186"/>
                  </a:lnTo>
                  <a:lnTo>
                    <a:pt x="692" y="190"/>
                  </a:lnTo>
                  <a:lnTo>
                    <a:pt x="692" y="194"/>
                  </a:lnTo>
                  <a:lnTo>
                    <a:pt x="690" y="198"/>
                  </a:lnTo>
                  <a:lnTo>
                    <a:pt x="690" y="198"/>
                  </a:lnTo>
                  <a:lnTo>
                    <a:pt x="690" y="200"/>
                  </a:lnTo>
                  <a:lnTo>
                    <a:pt x="690" y="202"/>
                  </a:lnTo>
                  <a:lnTo>
                    <a:pt x="688" y="202"/>
                  </a:lnTo>
                  <a:lnTo>
                    <a:pt x="688" y="204"/>
                  </a:lnTo>
                  <a:lnTo>
                    <a:pt x="688" y="204"/>
                  </a:lnTo>
                  <a:lnTo>
                    <a:pt x="688" y="204"/>
                  </a:lnTo>
                  <a:lnTo>
                    <a:pt x="686" y="204"/>
                  </a:lnTo>
                  <a:lnTo>
                    <a:pt x="684" y="204"/>
                  </a:lnTo>
                  <a:lnTo>
                    <a:pt x="682" y="206"/>
                  </a:lnTo>
                  <a:lnTo>
                    <a:pt x="680" y="206"/>
                  </a:lnTo>
                  <a:lnTo>
                    <a:pt x="678" y="206"/>
                  </a:lnTo>
                  <a:lnTo>
                    <a:pt x="678" y="208"/>
                  </a:lnTo>
                  <a:lnTo>
                    <a:pt x="678" y="208"/>
                  </a:lnTo>
                  <a:lnTo>
                    <a:pt x="676" y="210"/>
                  </a:lnTo>
                  <a:lnTo>
                    <a:pt x="672" y="214"/>
                  </a:lnTo>
                  <a:lnTo>
                    <a:pt x="670" y="216"/>
                  </a:lnTo>
                  <a:lnTo>
                    <a:pt x="668" y="218"/>
                  </a:lnTo>
                  <a:lnTo>
                    <a:pt x="668" y="220"/>
                  </a:lnTo>
                  <a:lnTo>
                    <a:pt x="666" y="220"/>
                  </a:lnTo>
                  <a:lnTo>
                    <a:pt x="666" y="222"/>
                  </a:lnTo>
                  <a:lnTo>
                    <a:pt x="666" y="222"/>
                  </a:lnTo>
                  <a:lnTo>
                    <a:pt x="666" y="222"/>
                  </a:lnTo>
                  <a:lnTo>
                    <a:pt x="666" y="224"/>
                  </a:lnTo>
                  <a:lnTo>
                    <a:pt x="666" y="224"/>
                  </a:lnTo>
                  <a:lnTo>
                    <a:pt x="668" y="224"/>
                  </a:lnTo>
                  <a:lnTo>
                    <a:pt x="668" y="226"/>
                  </a:lnTo>
                  <a:lnTo>
                    <a:pt x="670" y="226"/>
                  </a:lnTo>
                  <a:lnTo>
                    <a:pt x="672" y="226"/>
                  </a:lnTo>
                  <a:lnTo>
                    <a:pt x="674" y="228"/>
                  </a:lnTo>
                  <a:lnTo>
                    <a:pt x="674" y="228"/>
                  </a:lnTo>
                  <a:lnTo>
                    <a:pt x="674" y="228"/>
                  </a:lnTo>
                  <a:lnTo>
                    <a:pt x="674" y="230"/>
                  </a:lnTo>
                  <a:lnTo>
                    <a:pt x="674" y="230"/>
                  </a:lnTo>
                  <a:lnTo>
                    <a:pt x="676" y="232"/>
                  </a:lnTo>
                  <a:lnTo>
                    <a:pt x="676" y="234"/>
                  </a:lnTo>
                  <a:lnTo>
                    <a:pt x="676" y="236"/>
                  </a:lnTo>
                  <a:lnTo>
                    <a:pt x="676" y="238"/>
                  </a:lnTo>
                  <a:lnTo>
                    <a:pt x="676" y="244"/>
                  </a:lnTo>
                  <a:lnTo>
                    <a:pt x="676" y="248"/>
                  </a:lnTo>
                  <a:lnTo>
                    <a:pt x="676" y="250"/>
                  </a:lnTo>
                  <a:lnTo>
                    <a:pt x="674" y="252"/>
                  </a:lnTo>
                  <a:lnTo>
                    <a:pt x="674" y="254"/>
                  </a:lnTo>
                  <a:lnTo>
                    <a:pt x="674" y="256"/>
                  </a:lnTo>
                  <a:lnTo>
                    <a:pt x="674" y="256"/>
                  </a:lnTo>
                  <a:lnTo>
                    <a:pt x="672" y="258"/>
                  </a:lnTo>
                  <a:lnTo>
                    <a:pt x="672" y="258"/>
                  </a:lnTo>
                  <a:lnTo>
                    <a:pt x="672" y="258"/>
                  </a:lnTo>
                  <a:lnTo>
                    <a:pt x="670" y="260"/>
                  </a:lnTo>
                  <a:lnTo>
                    <a:pt x="670" y="260"/>
                  </a:lnTo>
                  <a:lnTo>
                    <a:pt x="668" y="260"/>
                  </a:lnTo>
                  <a:lnTo>
                    <a:pt x="666" y="262"/>
                  </a:lnTo>
                  <a:lnTo>
                    <a:pt x="664" y="262"/>
                  </a:lnTo>
                  <a:lnTo>
                    <a:pt x="664" y="262"/>
                  </a:lnTo>
                  <a:lnTo>
                    <a:pt x="662" y="262"/>
                  </a:lnTo>
                  <a:lnTo>
                    <a:pt x="662" y="264"/>
                  </a:lnTo>
                  <a:lnTo>
                    <a:pt x="662" y="264"/>
                  </a:lnTo>
                  <a:lnTo>
                    <a:pt x="662" y="264"/>
                  </a:lnTo>
                  <a:lnTo>
                    <a:pt x="662" y="266"/>
                  </a:lnTo>
                  <a:lnTo>
                    <a:pt x="662" y="268"/>
                  </a:lnTo>
                  <a:lnTo>
                    <a:pt x="662" y="270"/>
                  </a:lnTo>
                  <a:lnTo>
                    <a:pt x="662" y="270"/>
                  </a:lnTo>
                  <a:lnTo>
                    <a:pt x="660" y="272"/>
                  </a:lnTo>
                  <a:lnTo>
                    <a:pt x="660" y="274"/>
                  </a:lnTo>
                  <a:lnTo>
                    <a:pt x="660" y="274"/>
                  </a:lnTo>
                  <a:lnTo>
                    <a:pt x="660" y="274"/>
                  </a:lnTo>
                  <a:lnTo>
                    <a:pt x="660" y="274"/>
                  </a:lnTo>
                  <a:lnTo>
                    <a:pt x="658" y="276"/>
                  </a:lnTo>
                  <a:lnTo>
                    <a:pt x="658" y="276"/>
                  </a:lnTo>
                  <a:lnTo>
                    <a:pt x="656" y="276"/>
                  </a:lnTo>
                  <a:lnTo>
                    <a:pt x="654" y="274"/>
                  </a:lnTo>
                  <a:lnTo>
                    <a:pt x="652" y="274"/>
                  </a:lnTo>
                  <a:lnTo>
                    <a:pt x="650" y="274"/>
                  </a:lnTo>
                  <a:lnTo>
                    <a:pt x="648" y="274"/>
                  </a:lnTo>
                  <a:lnTo>
                    <a:pt x="646" y="272"/>
                  </a:lnTo>
                  <a:lnTo>
                    <a:pt x="646" y="272"/>
                  </a:lnTo>
                  <a:lnTo>
                    <a:pt x="644" y="274"/>
                  </a:lnTo>
                  <a:lnTo>
                    <a:pt x="644" y="274"/>
                  </a:lnTo>
                  <a:lnTo>
                    <a:pt x="644" y="274"/>
                  </a:lnTo>
                  <a:lnTo>
                    <a:pt x="642" y="274"/>
                  </a:lnTo>
                  <a:lnTo>
                    <a:pt x="642" y="276"/>
                  </a:lnTo>
                  <a:lnTo>
                    <a:pt x="640" y="276"/>
                  </a:lnTo>
                  <a:lnTo>
                    <a:pt x="640" y="278"/>
                  </a:lnTo>
                  <a:lnTo>
                    <a:pt x="638" y="282"/>
                  </a:lnTo>
                  <a:lnTo>
                    <a:pt x="638" y="282"/>
                  </a:lnTo>
                  <a:lnTo>
                    <a:pt x="636" y="284"/>
                  </a:lnTo>
                  <a:lnTo>
                    <a:pt x="636" y="284"/>
                  </a:lnTo>
                  <a:lnTo>
                    <a:pt x="634" y="284"/>
                  </a:lnTo>
                  <a:lnTo>
                    <a:pt x="632" y="284"/>
                  </a:lnTo>
                  <a:lnTo>
                    <a:pt x="630" y="286"/>
                  </a:lnTo>
                  <a:lnTo>
                    <a:pt x="628" y="286"/>
                  </a:lnTo>
                  <a:lnTo>
                    <a:pt x="626" y="286"/>
                  </a:lnTo>
                  <a:lnTo>
                    <a:pt x="624" y="286"/>
                  </a:lnTo>
                  <a:lnTo>
                    <a:pt x="622" y="288"/>
                  </a:lnTo>
                  <a:lnTo>
                    <a:pt x="622" y="288"/>
                  </a:lnTo>
                  <a:lnTo>
                    <a:pt x="620" y="288"/>
                  </a:lnTo>
                  <a:lnTo>
                    <a:pt x="620" y="290"/>
                  </a:lnTo>
                  <a:lnTo>
                    <a:pt x="620" y="290"/>
                  </a:lnTo>
                  <a:lnTo>
                    <a:pt x="620" y="292"/>
                  </a:lnTo>
                  <a:lnTo>
                    <a:pt x="618" y="294"/>
                  </a:lnTo>
                  <a:lnTo>
                    <a:pt x="618" y="296"/>
                  </a:lnTo>
                  <a:lnTo>
                    <a:pt x="618" y="298"/>
                  </a:lnTo>
                  <a:lnTo>
                    <a:pt x="618" y="300"/>
                  </a:lnTo>
                  <a:lnTo>
                    <a:pt x="616" y="302"/>
                  </a:lnTo>
                  <a:lnTo>
                    <a:pt x="616" y="302"/>
                  </a:lnTo>
                  <a:lnTo>
                    <a:pt x="616" y="302"/>
                  </a:lnTo>
                  <a:lnTo>
                    <a:pt x="616" y="302"/>
                  </a:lnTo>
                  <a:lnTo>
                    <a:pt x="614" y="302"/>
                  </a:lnTo>
                  <a:lnTo>
                    <a:pt x="614" y="304"/>
                  </a:lnTo>
                  <a:lnTo>
                    <a:pt x="612" y="304"/>
                  </a:lnTo>
                  <a:lnTo>
                    <a:pt x="610" y="304"/>
                  </a:lnTo>
                  <a:lnTo>
                    <a:pt x="608" y="304"/>
                  </a:lnTo>
                  <a:lnTo>
                    <a:pt x="606" y="304"/>
                  </a:lnTo>
                  <a:lnTo>
                    <a:pt x="604" y="304"/>
                  </a:lnTo>
                  <a:lnTo>
                    <a:pt x="604" y="306"/>
                  </a:lnTo>
                  <a:lnTo>
                    <a:pt x="602" y="308"/>
                  </a:lnTo>
                  <a:lnTo>
                    <a:pt x="600" y="308"/>
                  </a:lnTo>
                  <a:lnTo>
                    <a:pt x="598" y="310"/>
                  </a:lnTo>
                  <a:lnTo>
                    <a:pt x="596" y="312"/>
                  </a:lnTo>
                  <a:lnTo>
                    <a:pt x="594" y="314"/>
                  </a:lnTo>
                  <a:lnTo>
                    <a:pt x="592" y="314"/>
                  </a:lnTo>
                  <a:lnTo>
                    <a:pt x="592" y="316"/>
                  </a:lnTo>
                  <a:lnTo>
                    <a:pt x="592" y="318"/>
                  </a:lnTo>
                  <a:lnTo>
                    <a:pt x="590" y="318"/>
                  </a:lnTo>
                  <a:lnTo>
                    <a:pt x="590" y="320"/>
                  </a:lnTo>
                  <a:lnTo>
                    <a:pt x="590" y="322"/>
                  </a:lnTo>
                  <a:lnTo>
                    <a:pt x="588" y="326"/>
                  </a:lnTo>
                  <a:lnTo>
                    <a:pt x="588" y="330"/>
                  </a:lnTo>
                  <a:lnTo>
                    <a:pt x="588" y="332"/>
                  </a:lnTo>
                  <a:lnTo>
                    <a:pt x="588" y="336"/>
                  </a:lnTo>
                  <a:lnTo>
                    <a:pt x="588" y="342"/>
                  </a:lnTo>
                  <a:lnTo>
                    <a:pt x="588" y="348"/>
                  </a:lnTo>
                  <a:lnTo>
                    <a:pt x="588" y="352"/>
                  </a:lnTo>
                  <a:lnTo>
                    <a:pt x="588" y="354"/>
                  </a:lnTo>
                  <a:lnTo>
                    <a:pt x="588" y="358"/>
                  </a:lnTo>
                  <a:lnTo>
                    <a:pt x="586" y="362"/>
                  </a:lnTo>
                  <a:lnTo>
                    <a:pt x="586" y="366"/>
                  </a:lnTo>
                  <a:lnTo>
                    <a:pt x="586" y="368"/>
                  </a:lnTo>
                  <a:lnTo>
                    <a:pt x="586" y="368"/>
                  </a:lnTo>
                  <a:lnTo>
                    <a:pt x="586" y="370"/>
                  </a:lnTo>
                  <a:lnTo>
                    <a:pt x="586" y="370"/>
                  </a:lnTo>
                  <a:lnTo>
                    <a:pt x="588" y="372"/>
                  </a:lnTo>
                  <a:lnTo>
                    <a:pt x="588" y="372"/>
                  </a:lnTo>
                  <a:lnTo>
                    <a:pt x="588" y="372"/>
                  </a:lnTo>
                  <a:lnTo>
                    <a:pt x="590" y="372"/>
                  </a:lnTo>
                  <a:lnTo>
                    <a:pt x="592" y="374"/>
                  </a:lnTo>
                  <a:lnTo>
                    <a:pt x="592" y="374"/>
                  </a:lnTo>
                  <a:lnTo>
                    <a:pt x="594" y="374"/>
                  </a:lnTo>
                  <a:lnTo>
                    <a:pt x="594" y="376"/>
                  </a:lnTo>
                  <a:lnTo>
                    <a:pt x="594" y="376"/>
                  </a:lnTo>
                  <a:lnTo>
                    <a:pt x="594" y="378"/>
                  </a:lnTo>
                  <a:lnTo>
                    <a:pt x="594" y="380"/>
                  </a:lnTo>
                  <a:lnTo>
                    <a:pt x="594" y="382"/>
                  </a:lnTo>
                  <a:lnTo>
                    <a:pt x="594" y="386"/>
                  </a:lnTo>
                  <a:lnTo>
                    <a:pt x="594" y="394"/>
                  </a:lnTo>
                  <a:lnTo>
                    <a:pt x="594" y="396"/>
                  </a:lnTo>
                  <a:lnTo>
                    <a:pt x="594" y="398"/>
                  </a:lnTo>
                  <a:lnTo>
                    <a:pt x="594" y="400"/>
                  </a:lnTo>
                  <a:lnTo>
                    <a:pt x="596" y="400"/>
                  </a:lnTo>
                  <a:lnTo>
                    <a:pt x="596" y="402"/>
                  </a:lnTo>
                  <a:lnTo>
                    <a:pt x="596" y="404"/>
                  </a:lnTo>
                  <a:lnTo>
                    <a:pt x="598" y="406"/>
                  </a:lnTo>
                  <a:lnTo>
                    <a:pt x="600" y="414"/>
                  </a:lnTo>
                  <a:lnTo>
                    <a:pt x="602" y="418"/>
                  </a:lnTo>
                  <a:lnTo>
                    <a:pt x="602" y="424"/>
                  </a:lnTo>
                  <a:lnTo>
                    <a:pt x="604" y="428"/>
                  </a:lnTo>
                  <a:lnTo>
                    <a:pt x="604" y="434"/>
                  </a:lnTo>
                  <a:lnTo>
                    <a:pt x="604" y="436"/>
                  </a:lnTo>
                  <a:lnTo>
                    <a:pt x="604" y="438"/>
                  </a:lnTo>
                  <a:lnTo>
                    <a:pt x="604" y="440"/>
                  </a:lnTo>
                  <a:lnTo>
                    <a:pt x="604" y="442"/>
                  </a:lnTo>
                  <a:lnTo>
                    <a:pt x="604" y="444"/>
                  </a:lnTo>
                  <a:lnTo>
                    <a:pt x="604" y="446"/>
                  </a:lnTo>
                  <a:lnTo>
                    <a:pt x="604" y="448"/>
                  </a:lnTo>
                  <a:lnTo>
                    <a:pt x="602" y="450"/>
                  </a:lnTo>
                  <a:lnTo>
                    <a:pt x="602" y="452"/>
                  </a:lnTo>
                  <a:lnTo>
                    <a:pt x="600" y="454"/>
                  </a:lnTo>
                  <a:lnTo>
                    <a:pt x="600" y="454"/>
                  </a:lnTo>
                  <a:lnTo>
                    <a:pt x="600" y="454"/>
                  </a:lnTo>
                  <a:lnTo>
                    <a:pt x="598" y="456"/>
                  </a:lnTo>
                  <a:lnTo>
                    <a:pt x="598" y="456"/>
                  </a:lnTo>
                  <a:lnTo>
                    <a:pt x="598" y="456"/>
                  </a:lnTo>
                  <a:lnTo>
                    <a:pt x="598" y="456"/>
                  </a:lnTo>
                  <a:lnTo>
                    <a:pt x="596" y="454"/>
                  </a:lnTo>
                  <a:lnTo>
                    <a:pt x="596" y="454"/>
                  </a:lnTo>
                  <a:lnTo>
                    <a:pt x="596" y="452"/>
                  </a:lnTo>
                  <a:lnTo>
                    <a:pt x="594" y="452"/>
                  </a:lnTo>
                  <a:lnTo>
                    <a:pt x="592" y="448"/>
                  </a:lnTo>
                  <a:lnTo>
                    <a:pt x="592" y="446"/>
                  </a:lnTo>
                  <a:lnTo>
                    <a:pt x="590" y="446"/>
                  </a:lnTo>
                  <a:lnTo>
                    <a:pt x="590" y="444"/>
                  </a:lnTo>
                  <a:lnTo>
                    <a:pt x="588" y="444"/>
                  </a:lnTo>
                  <a:lnTo>
                    <a:pt x="582" y="442"/>
                  </a:lnTo>
                  <a:lnTo>
                    <a:pt x="580" y="440"/>
                  </a:lnTo>
                  <a:lnTo>
                    <a:pt x="578" y="440"/>
                  </a:lnTo>
                  <a:lnTo>
                    <a:pt x="576" y="438"/>
                  </a:lnTo>
                  <a:lnTo>
                    <a:pt x="576" y="438"/>
                  </a:lnTo>
                  <a:lnTo>
                    <a:pt x="576" y="438"/>
                  </a:lnTo>
                  <a:lnTo>
                    <a:pt x="574" y="436"/>
                  </a:lnTo>
                  <a:lnTo>
                    <a:pt x="574" y="436"/>
                  </a:lnTo>
                  <a:lnTo>
                    <a:pt x="574" y="432"/>
                  </a:lnTo>
                  <a:lnTo>
                    <a:pt x="572" y="430"/>
                  </a:lnTo>
                  <a:lnTo>
                    <a:pt x="572" y="428"/>
                  </a:lnTo>
                  <a:lnTo>
                    <a:pt x="570" y="422"/>
                  </a:lnTo>
                  <a:lnTo>
                    <a:pt x="568" y="416"/>
                  </a:lnTo>
                  <a:lnTo>
                    <a:pt x="566" y="412"/>
                  </a:lnTo>
                  <a:lnTo>
                    <a:pt x="564" y="406"/>
                  </a:lnTo>
                  <a:lnTo>
                    <a:pt x="564" y="404"/>
                  </a:lnTo>
                  <a:lnTo>
                    <a:pt x="562" y="400"/>
                  </a:lnTo>
                  <a:lnTo>
                    <a:pt x="562" y="398"/>
                  </a:lnTo>
                  <a:lnTo>
                    <a:pt x="562" y="396"/>
                  </a:lnTo>
                  <a:lnTo>
                    <a:pt x="562" y="394"/>
                  </a:lnTo>
                  <a:lnTo>
                    <a:pt x="562" y="394"/>
                  </a:lnTo>
                  <a:lnTo>
                    <a:pt x="562" y="390"/>
                  </a:lnTo>
                  <a:lnTo>
                    <a:pt x="564" y="384"/>
                  </a:lnTo>
                  <a:lnTo>
                    <a:pt x="564" y="380"/>
                  </a:lnTo>
                  <a:lnTo>
                    <a:pt x="564" y="378"/>
                  </a:lnTo>
                  <a:lnTo>
                    <a:pt x="564" y="376"/>
                  </a:lnTo>
                  <a:lnTo>
                    <a:pt x="564" y="376"/>
                  </a:lnTo>
                  <a:lnTo>
                    <a:pt x="564" y="374"/>
                  </a:lnTo>
                  <a:lnTo>
                    <a:pt x="564" y="372"/>
                  </a:lnTo>
                  <a:lnTo>
                    <a:pt x="564" y="372"/>
                  </a:lnTo>
                  <a:lnTo>
                    <a:pt x="564" y="372"/>
                  </a:lnTo>
                  <a:lnTo>
                    <a:pt x="562" y="370"/>
                  </a:lnTo>
                  <a:lnTo>
                    <a:pt x="560" y="368"/>
                  </a:lnTo>
                  <a:lnTo>
                    <a:pt x="560" y="366"/>
                  </a:lnTo>
                  <a:lnTo>
                    <a:pt x="556" y="364"/>
                  </a:lnTo>
                  <a:lnTo>
                    <a:pt x="552" y="362"/>
                  </a:lnTo>
                  <a:lnTo>
                    <a:pt x="550" y="358"/>
                  </a:lnTo>
                  <a:lnTo>
                    <a:pt x="546" y="356"/>
                  </a:lnTo>
                  <a:lnTo>
                    <a:pt x="544" y="354"/>
                  </a:lnTo>
                  <a:lnTo>
                    <a:pt x="542" y="352"/>
                  </a:lnTo>
                  <a:lnTo>
                    <a:pt x="540" y="350"/>
                  </a:lnTo>
                  <a:lnTo>
                    <a:pt x="540" y="350"/>
                  </a:lnTo>
                  <a:lnTo>
                    <a:pt x="540" y="350"/>
                  </a:lnTo>
                  <a:lnTo>
                    <a:pt x="538" y="350"/>
                  </a:lnTo>
                  <a:lnTo>
                    <a:pt x="538" y="350"/>
                  </a:lnTo>
                  <a:lnTo>
                    <a:pt x="536" y="350"/>
                  </a:lnTo>
                  <a:lnTo>
                    <a:pt x="532" y="352"/>
                  </a:lnTo>
                  <a:lnTo>
                    <a:pt x="530" y="352"/>
                  </a:lnTo>
                  <a:lnTo>
                    <a:pt x="528" y="352"/>
                  </a:lnTo>
                  <a:lnTo>
                    <a:pt x="526" y="354"/>
                  </a:lnTo>
                  <a:lnTo>
                    <a:pt x="524" y="354"/>
                  </a:lnTo>
                  <a:lnTo>
                    <a:pt x="522" y="354"/>
                  </a:lnTo>
                  <a:lnTo>
                    <a:pt x="522" y="354"/>
                  </a:lnTo>
                  <a:lnTo>
                    <a:pt x="520" y="354"/>
                  </a:lnTo>
                  <a:lnTo>
                    <a:pt x="520" y="354"/>
                  </a:lnTo>
                  <a:lnTo>
                    <a:pt x="518" y="352"/>
                  </a:lnTo>
                  <a:lnTo>
                    <a:pt x="516" y="352"/>
                  </a:lnTo>
                  <a:lnTo>
                    <a:pt x="514" y="350"/>
                  </a:lnTo>
                  <a:lnTo>
                    <a:pt x="510" y="348"/>
                  </a:lnTo>
                  <a:lnTo>
                    <a:pt x="510" y="346"/>
                  </a:lnTo>
                  <a:lnTo>
                    <a:pt x="508" y="346"/>
                  </a:lnTo>
                  <a:lnTo>
                    <a:pt x="506" y="346"/>
                  </a:lnTo>
                  <a:lnTo>
                    <a:pt x="504" y="346"/>
                  </a:lnTo>
                  <a:lnTo>
                    <a:pt x="500" y="346"/>
                  </a:lnTo>
                  <a:lnTo>
                    <a:pt x="496" y="346"/>
                  </a:lnTo>
                  <a:lnTo>
                    <a:pt x="492" y="346"/>
                  </a:lnTo>
                  <a:lnTo>
                    <a:pt x="486" y="346"/>
                  </a:lnTo>
                  <a:lnTo>
                    <a:pt x="482" y="348"/>
                  </a:lnTo>
                  <a:lnTo>
                    <a:pt x="478" y="348"/>
                  </a:lnTo>
                  <a:lnTo>
                    <a:pt x="476" y="348"/>
                  </a:lnTo>
                  <a:lnTo>
                    <a:pt x="476" y="348"/>
                  </a:lnTo>
                  <a:lnTo>
                    <a:pt x="472" y="350"/>
                  </a:lnTo>
                  <a:lnTo>
                    <a:pt x="470" y="352"/>
                  </a:lnTo>
                  <a:lnTo>
                    <a:pt x="470" y="352"/>
                  </a:lnTo>
                  <a:lnTo>
                    <a:pt x="468" y="352"/>
                  </a:lnTo>
                  <a:lnTo>
                    <a:pt x="466" y="354"/>
                  </a:lnTo>
                  <a:lnTo>
                    <a:pt x="466" y="356"/>
                  </a:lnTo>
                  <a:lnTo>
                    <a:pt x="466" y="356"/>
                  </a:lnTo>
                  <a:lnTo>
                    <a:pt x="464" y="356"/>
                  </a:lnTo>
                  <a:lnTo>
                    <a:pt x="464" y="358"/>
                  </a:lnTo>
                  <a:lnTo>
                    <a:pt x="464" y="358"/>
                  </a:lnTo>
                  <a:lnTo>
                    <a:pt x="466" y="358"/>
                  </a:lnTo>
                  <a:lnTo>
                    <a:pt x="466" y="360"/>
                  </a:lnTo>
                  <a:lnTo>
                    <a:pt x="466" y="362"/>
                  </a:lnTo>
                  <a:lnTo>
                    <a:pt x="468" y="364"/>
                  </a:lnTo>
                  <a:lnTo>
                    <a:pt x="470" y="366"/>
                  </a:lnTo>
                  <a:lnTo>
                    <a:pt x="470" y="368"/>
                  </a:lnTo>
                  <a:lnTo>
                    <a:pt x="472" y="370"/>
                  </a:lnTo>
                  <a:lnTo>
                    <a:pt x="472" y="370"/>
                  </a:lnTo>
                  <a:lnTo>
                    <a:pt x="472" y="370"/>
                  </a:lnTo>
                  <a:lnTo>
                    <a:pt x="472" y="372"/>
                  </a:lnTo>
                  <a:lnTo>
                    <a:pt x="470" y="372"/>
                  </a:lnTo>
                  <a:lnTo>
                    <a:pt x="470" y="372"/>
                  </a:lnTo>
                  <a:lnTo>
                    <a:pt x="470" y="372"/>
                  </a:lnTo>
                  <a:lnTo>
                    <a:pt x="468" y="374"/>
                  </a:lnTo>
                  <a:lnTo>
                    <a:pt x="466" y="374"/>
                  </a:lnTo>
                  <a:lnTo>
                    <a:pt x="464" y="374"/>
                  </a:lnTo>
                  <a:lnTo>
                    <a:pt x="462" y="374"/>
                  </a:lnTo>
                  <a:lnTo>
                    <a:pt x="460" y="374"/>
                  </a:lnTo>
                  <a:lnTo>
                    <a:pt x="456" y="372"/>
                  </a:lnTo>
                  <a:lnTo>
                    <a:pt x="452" y="372"/>
                  </a:lnTo>
                  <a:lnTo>
                    <a:pt x="450" y="372"/>
                  </a:lnTo>
                  <a:lnTo>
                    <a:pt x="448" y="372"/>
                  </a:lnTo>
                  <a:lnTo>
                    <a:pt x="446" y="372"/>
                  </a:lnTo>
                  <a:lnTo>
                    <a:pt x="442" y="370"/>
                  </a:lnTo>
                  <a:lnTo>
                    <a:pt x="442" y="370"/>
                  </a:lnTo>
                  <a:lnTo>
                    <a:pt x="440" y="370"/>
                  </a:lnTo>
                  <a:lnTo>
                    <a:pt x="440" y="370"/>
                  </a:lnTo>
                  <a:lnTo>
                    <a:pt x="440" y="368"/>
                  </a:lnTo>
                  <a:lnTo>
                    <a:pt x="438" y="368"/>
                  </a:lnTo>
                  <a:lnTo>
                    <a:pt x="438" y="366"/>
                  </a:lnTo>
                  <a:lnTo>
                    <a:pt x="438" y="364"/>
                  </a:lnTo>
                  <a:lnTo>
                    <a:pt x="438" y="362"/>
                  </a:lnTo>
                  <a:lnTo>
                    <a:pt x="438" y="358"/>
                  </a:lnTo>
                  <a:lnTo>
                    <a:pt x="438" y="356"/>
                  </a:lnTo>
                  <a:lnTo>
                    <a:pt x="438" y="354"/>
                  </a:lnTo>
                  <a:lnTo>
                    <a:pt x="438" y="352"/>
                  </a:lnTo>
                  <a:lnTo>
                    <a:pt x="438" y="352"/>
                  </a:lnTo>
                  <a:lnTo>
                    <a:pt x="438" y="350"/>
                  </a:lnTo>
                  <a:lnTo>
                    <a:pt x="438" y="350"/>
                  </a:lnTo>
                  <a:lnTo>
                    <a:pt x="438" y="348"/>
                  </a:lnTo>
                  <a:lnTo>
                    <a:pt x="436" y="348"/>
                  </a:lnTo>
                  <a:lnTo>
                    <a:pt x="436" y="348"/>
                  </a:lnTo>
                  <a:lnTo>
                    <a:pt x="434" y="348"/>
                  </a:lnTo>
                  <a:lnTo>
                    <a:pt x="432" y="348"/>
                  </a:lnTo>
                  <a:lnTo>
                    <a:pt x="432" y="350"/>
                  </a:lnTo>
                  <a:lnTo>
                    <a:pt x="430" y="350"/>
                  </a:lnTo>
                  <a:lnTo>
                    <a:pt x="428" y="352"/>
                  </a:lnTo>
                  <a:lnTo>
                    <a:pt x="426" y="352"/>
                  </a:lnTo>
                  <a:lnTo>
                    <a:pt x="426" y="352"/>
                  </a:lnTo>
                  <a:lnTo>
                    <a:pt x="426" y="354"/>
                  </a:lnTo>
                  <a:lnTo>
                    <a:pt x="426" y="354"/>
                  </a:lnTo>
                  <a:lnTo>
                    <a:pt x="424" y="354"/>
                  </a:lnTo>
                  <a:lnTo>
                    <a:pt x="424" y="356"/>
                  </a:lnTo>
                  <a:lnTo>
                    <a:pt x="424" y="358"/>
                  </a:lnTo>
                  <a:lnTo>
                    <a:pt x="424" y="360"/>
                  </a:lnTo>
                  <a:lnTo>
                    <a:pt x="424" y="362"/>
                  </a:lnTo>
                  <a:lnTo>
                    <a:pt x="424" y="364"/>
                  </a:lnTo>
                  <a:lnTo>
                    <a:pt x="424" y="366"/>
                  </a:lnTo>
                  <a:lnTo>
                    <a:pt x="424" y="366"/>
                  </a:lnTo>
                  <a:lnTo>
                    <a:pt x="422" y="368"/>
                  </a:lnTo>
                  <a:lnTo>
                    <a:pt x="422" y="368"/>
                  </a:lnTo>
                  <a:lnTo>
                    <a:pt x="422" y="368"/>
                  </a:lnTo>
                  <a:lnTo>
                    <a:pt x="420" y="368"/>
                  </a:lnTo>
                  <a:lnTo>
                    <a:pt x="420" y="368"/>
                  </a:lnTo>
                  <a:lnTo>
                    <a:pt x="418" y="368"/>
                  </a:lnTo>
                  <a:lnTo>
                    <a:pt x="416" y="368"/>
                  </a:lnTo>
                  <a:lnTo>
                    <a:pt x="416" y="366"/>
                  </a:lnTo>
                  <a:lnTo>
                    <a:pt x="414" y="366"/>
                  </a:lnTo>
                  <a:lnTo>
                    <a:pt x="412" y="364"/>
                  </a:lnTo>
                  <a:lnTo>
                    <a:pt x="412" y="364"/>
                  </a:lnTo>
                  <a:lnTo>
                    <a:pt x="412" y="362"/>
                  </a:lnTo>
                  <a:lnTo>
                    <a:pt x="410" y="360"/>
                  </a:lnTo>
                  <a:lnTo>
                    <a:pt x="410" y="358"/>
                  </a:lnTo>
                  <a:lnTo>
                    <a:pt x="408" y="356"/>
                  </a:lnTo>
                  <a:lnTo>
                    <a:pt x="408" y="354"/>
                  </a:lnTo>
                  <a:lnTo>
                    <a:pt x="406" y="354"/>
                  </a:lnTo>
                  <a:lnTo>
                    <a:pt x="406" y="354"/>
                  </a:lnTo>
                  <a:lnTo>
                    <a:pt x="406" y="352"/>
                  </a:lnTo>
                  <a:lnTo>
                    <a:pt x="404" y="352"/>
                  </a:lnTo>
                  <a:lnTo>
                    <a:pt x="404" y="352"/>
                  </a:lnTo>
                  <a:lnTo>
                    <a:pt x="404" y="352"/>
                  </a:lnTo>
                  <a:lnTo>
                    <a:pt x="402" y="354"/>
                  </a:lnTo>
                  <a:lnTo>
                    <a:pt x="400" y="354"/>
                  </a:lnTo>
                  <a:lnTo>
                    <a:pt x="400" y="354"/>
                  </a:lnTo>
                  <a:lnTo>
                    <a:pt x="396" y="358"/>
                  </a:lnTo>
                  <a:lnTo>
                    <a:pt x="394" y="358"/>
                  </a:lnTo>
                  <a:lnTo>
                    <a:pt x="392" y="360"/>
                  </a:lnTo>
                  <a:lnTo>
                    <a:pt x="390" y="364"/>
                  </a:lnTo>
                  <a:lnTo>
                    <a:pt x="388" y="366"/>
                  </a:lnTo>
                  <a:lnTo>
                    <a:pt x="386" y="368"/>
                  </a:lnTo>
                  <a:lnTo>
                    <a:pt x="384" y="370"/>
                  </a:lnTo>
                  <a:lnTo>
                    <a:pt x="384" y="370"/>
                  </a:lnTo>
                  <a:lnTo>
                    <a:pt x="382" y="374"/>
                  </a:lnTo>
                  <a:lnTo>
                    <a:pt x="378" y="378"/>
                  </a:lnTo>
                  <a:lnTo>
                    <a:pt x="376" y="382"/>
                  </a:lnTo>
                  <a:lnTo>
                    <a:pt x="374" y="384"/>
                  </a:lnTo>
                  <a:lnTo>
                    <a:pt x="372" y="388"/>
                  </a:lnTo>
                  <a:lnTo>
                    <a:pt x="370" y="390"/>
                  </a:lnTo>
                  <a:lnTo>
                    <a:pt x="368" y="390"/>
                  </a:lnTo>
                  <a:lnTo>
                    <a:pt x="368" y="392"/>
                  </a:lnTo>
                  <a:lnTo>
                    <a:pt x="366" y="392"/>
                  </a:lnTo>
                  <a:lnTo>
                    <a:pt x="364" y="394"/>
                  </a:lnTo>
                  <a:lnTo>
                    <a:pt x="360" y="396"/>
                  </a:lnTo>
                  <a:lnTo>
                    <a:pt x="358" y="396"/>
                  </a:lnTo>
                  <a:lnTo>
                    <a:pt x="354" y="398"/>
                  </a:lnTo>
                  <a:lnTo>
                    <a:pt x="352" y="398"/>
                  </a:lnTo>
                  <a:lnTo>
                    <a:pt x="352" y="398"/>
                  </a:lnTo>
                  <a:lnTo>
                    <a:pt x="352" y="400"/>
                  </a:lnTo>
                  <a:lnTo>
                    <a:pt x="352" y="400"/>
                  </a:lnTo>
                  <a:lnTo>
                    <a:pt x="350" y="402"/>
                  </a:lnTo>
                  <a:lnTo>
                    <a:pt x="350" y="404"/>
                  </a:lnTo>
                  <a:lnTo>
                    <a:pt x="348" y="406"/>
                  </a:lnTo>
                  <a:lnTo>
                    <a:pt x="348" y="408"/>
                  </a:lnTo>
                  <a:lnTo>
                    <a:pt x="346" y="412"/>
                  </a:lnTo>
                  <a:lnTo>
                    <a:pt x="346" y="416"/>
                  </a:lnTo>
                  <a:lnTo>
                    <a:pt x="346" y="420"/>
                  </a:lnTo>
                  <a:lnTo>
                    <a:pt x="346" y="424"/>
                  </a:lnTo>
                  <a:lnTo>
                    <a:pt x="342" y="424"/>
                  </a:lnTo>
                  <a:lnTo>
                    <a:pt x="340" y="424"/>
                  </a:lnTo>
                  <a:lnTo>
                    <a:pt x="336" y="424"/>
                  </a:lnTo>
                  <a:lnTo>
                    <a:pt x="334" y="424"/>
                  </a:lnTo>
                  <a:lnTo>
                    <a:pt x="330" y="424"/>
                  </a:lnTo>
                  <a:lnTo>
                    <a:pt x="328" y="424"/>
                  </a:lnTo>
                  <a:lnTo>
                    <a:pt x="328" y="424"/>
                  </a:lnTo>
                  <a:lnTo>
                    <a:pt x="326" y="424"/>
                  </a:lnTo>
                  <a:lnTo>
                    <a:pt x="326" y="424"/>
                  </a:lnTo>
                  <a:lnTo>
                    <a:pt x="324" y="422"/>
                  </a:lnTo>
                  <a:lnTo>
                    <a:pt x="324" y="422"/>
                  </a:lnTo>
                  <a:lnTo>
                    <a:pt x="324" y="420"/>
                  </a:lnTo>
                  <a:lnTo>
                    <a:pt x="324" y="420"/>
                  </a:lnTo>
                  <a:lnTo>
                    <a:pt x="324" y="416"/>
                  </a:lnTo>
                  <a:lnTo>
                    <a:pt x="324" y="414"/>
                  </a:lnTo>
                  <a:lnTo>
                    <a:pt x="324" y="410"/>
                  </a:lnTo>
                  <a:lnTo>
                    <a:pt x="322" y="408"/>
                  </a:lnTo>
                  <a:lnTo>
                    <a:pt x="322" y="406"/>
                  </a:lnTo>
                  <a:lnTo>
                    <a:pt x="322" y="404"/>
                  </a:lnTo>
                  <a:lnTo>
                    <a:pt x="322" y="404"/>
                  </a:lnTo>
                  <a:lnTo>
                    <a:pt x="322" y="404"/>
                  </a:lnTo>
                  <a:lnTo>
                    <a:pt x="320" y="402"/>
                  </a:lnTo>
                  <a:lnTo>
                    <a:pt x="320" y="402"/>
                  </a:lnTo>
                  <a:lnTo>
                    <a:pt x="318" y="402"/>
                  </a:lnTo>
                  <a:lnTo>
                    <a:pt x="318" y="400"/>
                  </a:lnTo>
                  <a:lnTo>
                    <a:pt x="316" y="400"/>
                  </a:lnTo>
                  <a:lnTo>
                    <a:pt x="314" y="400"/>
                  </a:lnTo>
                  <a:lnTo>
                    <a:pt x="312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08" y="396"/>
                  </a:lnTo>
                  <a:lnTo>
                    <a:pt x="308" y="396"/>
                  </a:lnTo>
                  <a:lnTo>
                    <a:pt x="308" y="394"/>
                  </a:lnTo>
                  <a:lnTo>
                    <a:pt x="308" y="394"/>
                  </a:lnTo>
                  <a:lnTo>
                    <a:pt x="308" y="392"/>
                  </a:lnTo>
                  <a:lnTo>
                    <a:pt x="306" y="390"/>
                  </a:lnTo>
                  <a:lnTo>
                    <a:pt x="306" y="386"/>
                  </a:lnTo>
                  <a:lnTo>
                    <a:pt x="306" y="384"/>
                  </a:lnTo>
                  <a:lnTo>
                    <a:pt x="306" y="380"/>
                  </a:lnTo>
                  <a:lnTo>
                    <a:pt x="306" y="378"/>
                  </a:lnTo>
                  <a:lnTo>
                    <a:pt x="306" y="376"/>
                  </a:lnTo>
                  <a:lnTo>
                    <a:pt x="306" y="376"/>
                  </a:lnTo>
                  <a:lnTo>
                    <a:pt x="304" y="374"/>
                  </a:lnTo>
                  <a:lnTo>
                    <a:pt x="304" y="372"/>
                  </a:lnTo>
                  <a:lnTo>
                    <a:pt x="302" y="370"/>
                  </a:lnTo>
                  <a:lnTo>
                    <a:pt x="298" y="366"/>
                  </a:lnTo>
                  <a:lnTo>
                    <a:pt x="296" y="364"/>
                  </a:lnTo>
                  <a:lnTo>
                    <a:pt x="294" y="360"/>
                  </a:lnTo>
                  <a:lnTo>
                    <a:pt x="292" y="358"/>
                  </a:lnTo>
                  <a:lnTo>
                    <a:pt x="290" y="356"/>
                  </a:lnTo>
                  <a:lnTo>
                    <a:pt x="286" y="354"/>
                  </a:lnTo>
                  <a:lnTo>
                    <a:pt x="286" y="354"/>
                  </a:lnTo>
                  <a:lnTo>
                    <a:pt x="284" y="354"/>
                  </a:lnTo>
                  <a:lnTo>
                    <a:pt x="284" y="352"/>
                  </a:lnTo>
                  <a:lnTo>
                    <a:pt x="282" y="352"/>
                  </a:lnTo>
                  <a:lnTo>
                    <a:pt x="282" y="352"/>
                  </a:lnTo>
                  <a:lnTo>
                    <a:pt x="282" y="352"/>
                  </a:lnTo>
                  <a:lnTo>
                    <a:pt x="280" y="354"/>
                  </a:lnTo>
                  <a:lnTo>
                    <a:pt x="280" y="354"/>
                  </a:lnTo>
                  <a:lnTo>
                    <a:pt x="280" y="354"/>
                  </a:lnTo>
                  <a:lnTo>
                    <a:pt x="278" y="356"/>
                  </a:lnTo>
                  <a:lnTo>
                    <a:pt x="278" y="358"/>
                  </a:lnTo>
                  <a:lnTo>
                    <a:pt x="278" y="358"/>
                  </a:lnTo>
                  <a:lnTo>
                    <a:pt x="278" y="362"/>
                  </a:lnTo>
                  <a:lnTo>
                    <a:pt x="278" y="366"/>
                  </a:lnTo>
                  <a:lnTo>
                    <a:pt x="278" y="368"/>
                  </a:lnTo>
                  <a:lnTo>
                    <a:pt x="278" y="370"/>
                  </a:lnTo>
                  <a:lnTo>
                    <a:pt x="278" y="372"/>
                  </a:lnTo>
                  <a:lnTo>
                    <a:pt x="276" y="372"/>
                  </a:lnTo>
                  <a:lnTo>
                    <a:pt x="276" y="372"/>
                  </a:lnTo>
                  <a:lnTo>
                    <a:pt x="276" y="374"/>
                  </a:lnTo>
                  <a:lnTo>
                    <a:pt x="274" y="374"/>
                  </a:lnTo>
                  <a:lnTo>
                    <a:pt x="274" y="374"/>
                  </a:lnTo>
                  <a:lnTo>
                    <a:pt x="270" y="374"/>
                  </a:lnTo>
                  <a:lnTo>
                    <a:pt x="268" y="374"/>
                  </a:lnTo>
                  <a:lnTo>
                    <a:pt x="266" y="374"/>
                  </a:lnTo>
                  <a:lnTo>
                    <a:pt x="264" y="374"/>
                  </a:lnTo>
                  <a:lnTo>
                    <a:pt x="262" y="374"/>
                  </a:lnTo>
                  <a:lnTo>
                    <a:pt x="262" y="374"/>
                  </a:lnTo>
                  <a:lnTo>
                    <a:pt x="262" y="372"/>
                  </a:lnTo>
                  <a:lnTo>
                    <a:pt x="260" y="372"/>
                  </a:lnTo>
                  <a:lnTo>
                    <a:pt x="260" y="370"/>
                  </a:lnTo>
                  <a:lnTo>
                    <a:pt x="258" y="370"/>
                  </a:lnTo>
                  <a:lnTo>
                    <a:pt x="258" y="368"/>
                  </a:lnTo>
                  <a:lnTo>
                    <a:pt x="258" y="366"/>
                  </a:lnTo>
                  <a:lnTo>
                    <a:pt x="258" y="364"/>
                  </a:lnTo>
                  <a:lnTo>
                    <a:pt x="256" y="362"/>
                  </a:lnTo>
                  <a:lnTo>
                    <a:pt x="256" y="358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4" y="352"/>
                  </a:lnTo>
                  <a:lnTo>
                    <a:pt x="254" y="350"/>
                  </a:lnTo>
                  <a:lnTo>
                    <a:pt x="254" y="348"/>
                  </a:lnTo>
                  <a:lnTo>
                    <a:pt x="252" y="348"/>
                  </a:lnTo>
                  <a:lnTo>
                    <a:pt x="252" y="348"/>
                  </a:lnTo>
                  <a:lnTo>
                    <a:pt x="248" y="348"/>
                  </a:lnTo>
                  <a:lnTo>
                    <a:pt x="248" y="348"/>
                  </a:lnTo>
                  <a:lnTo>
                    <a:pt x="246" y="348"/>
                  </a:lnTo>
                  <a:lnTo>
                    <a:pt x="246" y="346"/>
                  </a:lnTo>
                  <a:lnTo>
                    <a:pt x="246" y="346"/>
                  </a:lnTo>
                  <a:lnTo>
                    <a:pt x="244" y="346"/>
                  </a:lnTo>
                  <a:lnTo>
                    <a:pt x="244" y="346"/>
                  </a:lnTo>
                  <a:lnTo>
                    <a:pt x="244" y="346"/>
                  </a:lnTo>
                  <a:lnTo>
                    <a:pt x="244" y="344"/>
                  </a:lnTo>
                  <a:lnTo>
                    <a:pt x="244" y="344"/>
                  </a:lnTo>
                  <a:lnTo>
                    <a:pt x="244" y="342"/>
                  </a:lnTo>
                  <a:lnTo>
                    <a:pt x="244" y="340"/>
                  </a:lnTo>
                  <a:lnTo>
                    <a:pt x="244" y="338"/>
                  </a:lnTo>
                  <a:lnTo>
                    <a:pt x="244" y="336"/>
                  </a:lnTo>
                  <a:lnTo>
                    <a:pt x="244" y="334"/>
                  </a:lnTo>
                  <a:lnTo>
                    <a:pt x="244" y="334"/>
                  </a:lnTo>
                  <a:lnTo>
                    <a:pt x="244" y="334"/>
                  </a:lnTo>
                  <a:lnTo>
                    <a:pt x="244" y="332"/>
                  </a:lnTo>
                  <a:lnTo>
                    <a:pt x="242" y="332"/>
                  </a:lnTo>
                  <a:lnTo>
                    <a:pt x="242" y="332"/>
                  </a:lnTo>
                  <a:lnTo>
                    <a:pt x="242" y="332"/>
                  </a:lnTo>
                  <a:lnTo>
                    <a:pt x="240" y="332"/>
                  </a:lnTo>
                  <a:lnTo>
                    <a:pt x="238" y="332"/>
                  </a:lnTo>
                  <a:lnTo>
                    <a:pt x="236" y="330"/>
                  </a:lnTo>
                  <a:lnTo>
                    <a:pt x="234" y="330"/>
                  </a:lnTo>
                  <a:lnTo>
                    <a:pt x="234" y="330"/>
                  </a:lnTo>
                  <a:lnTo>
                    <a:pt x="232" y="330"/>
                  </a:lnTo>
                  <a:lnTo>
                    <a:pt x="232" y="330"/>
                  </a:lnTo>
                  <a:lnTo>
                    <a:pt x="232" y="330"/>
                  </a:lnTo>
                  <a:lnTo>
                    <a:pt x="232" y="328"/>
                  </a:lnTo>
                  <a:lnTo>
                    <a:pt x="230" y="328"/>
                  </a:lnTo>
                  <a:lnTo>
                    <a:pt x="230" y="326"/>
                  </a:lnTo>
                  <a:lnTo>
                    <a:pt x="230" y="324"/>
                  </a:lnTo>
                  <a:lnTo>
                    <a:pt x="230" y="322"/>
                  </a:lnTo>
                  <a:lnTo>
                    <a:pt x="230" y="320"/>
                  </a:lnTo>
                  <a:lnTo>
                    <a:pt x="228" y="318"/>
                  </a:lnTo>
                  <a:lnTo>
                    <a:pt x="228" y="316"/>
                  </a:lnTo>
                  <a:lnTo>
                    <a:pt x="228" y="316"/>
                  </a:lnTo>
                  <a:lnTo>
                    <a:pt x="228" y="316"/>
                  </a:lnTo>
                  <a:lnTo>
                    <a:pt x="228" y="314"/>
                  </a:lnTo>
                  <a:lnTo>
                    <a:pt x="226" y="314"/>
                  </a:lnTo>
                  <a:lnTo>
                    <a:pt x="226" y="314"/>
                  </a:lnTo>
                  <a:lnTo>
                    <a:pt x="226" y="316"/>
                  </a:lnTo>
                  <a:lnTo>
                    <a:pt x="224" y="316"/>
                  </a:lnTo>
                  <a:lnTo>
                    <a:pt x="224" y="316"/>
                  </a:lnTo>
                  <a:lnTo>
                    <a:pt x="222" y="318"/>
                  </a:lnTo>
                  <a:lnTo>
                    <a:pt x="220" y="320"/>
                  </a:lnTo>
                  <a:lnTo>
                    <a:pt x="218" y="322"/>
                  </a:lnTo>
                  <a:lnTo>
                    <a:pt x="218" y="322"/>
                  </a:lnTo>
                  <a:lnTo>
                    <a:pt x="218" y="322"/>
                  </a:lnTo>
                  <a:lnTo>
                    <a:pt x="216" y="322"/>
                  </a:lnTo>
                  <a:lnTo>
                    <a:pt x="214" y="322"/>
                  </a:lnTo>
                  <a:lnTo>
                    <a:pt x="210" y="322"/>
                  </a:lnTo>
                  <a:lnTo>
                    <a:pt x="208" y="322"/>
                  </a:lnTo>
                  <a:lnTo>
                    <a:pt x="206" y="322"/>
                  </a:lnTo>
                  <a:lnTo>
                    <a:pt x="206" y="324"/>
                  </a:lnTo>
                  <a:lnTo>
                    <a:pt x="204" y="324"/>
                  </a:lnTo>
                  <a:lnTo>
                    <a:pt x="204" y="324"/>
                  </a:lnTo>
                  <a:lnTo>
                    <a:pt x="204" y="324"/>
                  </a:lnTo>
                  <a:lnTo>
                    <a:pt x="204" y="324"/>
                  </a:lnTo>
                  <a:lnTo>
                    <a:pt x="204" y="326"/>
                  </a:lnTo>
                  <a:lnTo>
                    <a:pt x="204" y="326"/>
                  </a:lnTo>
                  <a:lnTo>
                    <a:pt x="204" y="328"/>
                  </a:lnTo>
                  <a:lnTo>
                    <a:pt x="204" y="330"/>
                  </a:lnTo>
                  <a:lnTo>
                    <a:pt x="202" y="330"/>
                  </a:lnTo>
                  <a:lnTo>
                    <a:pt x="202" y="332"/>
                  </a:lnTo>
                  <a:lnTo>
                    <a:pt x="202" y="332"/>
                  </a:lnTo>
                  <a:lnTo>
                    <a:pt x="202" y="332"/>
                  </a:lnTo>
                  <a:lnTo>
                    <a:pt x="202" y="334"/>
                  </a:lnTo>
                  <a:lnTo>
                    <a:pt x="200" y="334"/>
                  </a:lnTo>
                  <a:lnTo>
                    <a:pt x="198" y="334"/>
                  </a:lnTo>
                  <a:lnTo>
                    <a:pt x="198" y="334"/>
                  </a:lnTo>
                  <a:lnTo>
                    <a:pt x="194" y="334"/>
                  </a:lnTo>
                  <a:lnTo>
                    <a:pt x="192" y="334"/>
                  </a:lnTo>
                  <a:lnTo>
                    <a:pt x="186" y="332"/>
                  </a:lnTo>
                  <a:lnTo>
                    <a:pt x="182" y="332"/>
                  </a:lnTo>
                  <a:lnTo>
                    <a:pt x="182" y="332"/>
                  </a:lnTo>
                  <a:lnTo>
                    <a:pt x="180" y="332"/>
                  </a:lnTo>
                  <a:lnTo>
                    <a:pt x="178" y="334"/>
                  </a:lnTo>
                  <a:lnTo>
                    <a:pt x="176" y="334"/>
                  </a:lnTo>
                  <a:lnTo>
                    <a:pt x="172" y="336"/>
                  </a:lnTo>
                  <a:lnTo>
                    <a:pt x="170" y="336"/>
                  </a:lnTo>
                  <a:lnTo>
                    <a:pt x="168" y="338"/>
                  </a:lnTo>
                  <a:lnTo>
                    <a:pt x="166" y="338"/>
                  </a:lnTo>
                  <a:lnTo>
                    <a:pt x="164" y="338"/>
                  </a:lnTo>
                  <a:lnTo>
                    <a:pt x="162" y="338"/>
                  </a:lnTo>
                  <a:lnTo>
                    <a:pt x="158" y="338"/>
                  </a:lnTo>
                  <a:lnTo>
                    <a:pt x="156" y="338"/>
                  </a:lnTo>
                  <a:lnTo>
                    <a:pt x="152" y="338"/>
                  </a:lnTo>
                  <a:lnTo>
                    <a:pt x="150" y="336"/>
                  </a:lnTo>
                  <a:lnTo>
                    <a:pt x="146" y="336"/>
                  </a:lnTo>
                  <a:lnTo>
                    <a:pt x="144" y="334"/>
                  </a:lnTo>
                  <a:lnTo>
                    <a:pt x="142" y="334"/>
                  </a:lnTo>
                  <a:lnTo>
                    <a:pt x="140" y="334"/>
                  </a:lnTo>
                  <a:lnTo>
                    <a:pt x="140" y="332"/>
                  </a:lnTo>
                  <a:lnTo>
                    <a:pt x="138" y="330"/>
                  </a:lnTo>
                  <a:lnTo>
                    <a:pt x="136" y="328"/>
                  </a:lnTo>
                  <a:lnTo>
                    <a:pt x="134" y="326"/>
                  </a:lnTo>
                  <a:lnTo>
                    <a:pt x="130" y="322"/>
                  </a:lnTo>
                  <a:lnTo>
                    <a:pt x="128" y="320"/>
                  </a:lnTo>
                  <a:lnTo>
                    <a:pt x="126" y="318"/>
                  </a:lnTo>
                  <a:lnTo>
                    <a:pt x="126" y="318"/>
                  </a:lnTo>
                  <a:lnTo>
                    <a:pt x="124" y="318"/>
                  </a:lnTo>
                  <a:lnTo>
                    <a:pt x="120" y="316"/>
                  </a:lnTo>
                  <a:lnTo>
                    <a:pt x="118" y="316"/>
                  </a:lnTo>
                  <a:lnTo>
                    <a:pt x="116" y="316"/>
                  </a:lnTo>
                  <a:lnTo>
                    <a:pt x="114" y="314"/>
                  </a:lnTo>
                  <a:lnTo>
                    <a:pt x="114" y="314"/>
                  </a:lnTo>
                  <a:lnTo>
                    <a:pt x="114" y="312"/>
                  </a:lnTo>
                  <a:lnTo>
                    <a:pt x="112" y="312"/>
                  </a:lnTo>
                  <a:lnTo>
                    <a:pt x="112" y="310"/>
                  </a:lnTo>
                  <a:lnTo>
                    <a:pt x="112" y="308"/>
                  </a:lnTo>
                  <a:lnTo>
                    <a:pt x="112" y="306"/>
                  </a:lnTo>
                  <a:lnTo>
                    <a:pt x="110" y="306"/>
                  </a:lnTo>
                  <a:lnTo>
                    <a:pt x="110" y="306"/>
                  </a:lnTo>
                  <a:lnTo>
                    <a:pt x="110" y="304"/>
                  </a:lnTo>
                  <a:lnTo>
                    <a:pt x="108" y="304"/>
                  </a:lnTo>
                  <a:lnTo>
                    <a:pt x="106" y="304"/>
                  </a:lnTo>
                  <a:lnTo>
                    <a:pt x="104" y="302"/>
                  </a:lnTo>
                  <a:lnTo>
                    <a:pt x="102" y="302"/>
                  </a:lnTo>
                  <a:lnTo>
                    <a:pt x="100" y="302"/>
                  </a:lnTo>
                  <a:lnTo>
                    <a:pt x="98" y="302"/>
                  </a:lnTo>
                  <a:lnTo>
                    <a:pt x="92" y="302"/>
                  </a:lnTo>
                  <a:lnTo>
                    <a:pt x="86" y="302"/>
                  </a:lnTo>
                  <a:lnTo>
                    <a:pt x="82" y="304"/>
                  </a:lnTo>
                  <a:lnTo>
                    <a:pt x="78" y="304"/>
                  </a:lnTo>
                  <a:lnTo>
                    <a:pt x="80" y="302"/>
                  </a:lnTo>
                  <a:lnTo>
                    <a:pt x="80" y="298"/>
                  </a:lnTo>
                  <a:lnTo>
                    <a:pt x="80" y="296"/>
                  </a:lnTo>
                  <a:lnTo>
                    <a:pt x="80" y="294"/>
                  </a:lnTo>
                  <a:lnTo>
                    <a:pt x="80" y="292"/>
                  </a:lnTo>
                  <a:lnTo>
                    <a:pt x="80" y="292"/>
                  </a:lnTo>
                  <a:lnTo>
                    <a:pt x="80" y="290"/>
                  </a:lnTo>
                  <a:lnTo>
                    <a:pt x="80" y="290"/>
                  </a:lnTo>
                  <a:lnTo>
                    <a:pt x="78" y="290"/>
                  </a:lnTo>
                  <a:lnTo>
                    <a:pt x="78" y="290"/>
                  </a:lnTo>
                  <a:lnTo>
                    <a:pt x="76" y="288"/>
                  </a:lnTo>
                  <a:lnTo>
                    <a:pt x="74" y="288"/>
                  </a:lnTo>
                  <a:lnTo>
                    <a:pt x="72" y="288"/>
                  </a:lnTo>
                  <a:lnTo>
                    <a:pt x="66" y="286"/>
                  </a:lnTo>
                  <a:lnTo>
                    <a:pt x="62" y="286"/>
                  </a:lnTo>
                  <a:lnTo>
                    <a:pt x="62" y="286"/>
                  </a:lnTo>
                  <a:lnTo>
                    <a:pt x="62" y="284"/>
                  </a:lnTo>
                  <a:lnTo>
                    <a:pt x="60" y="284"/>
                  </a:lnTo>
                  <a:lnTo>
                    <a:pt x="58" y="282"/>
                  </a:lnTo>
                  <a:lnTo>
                    <a:pt x="54" y="280"/>
                  </a:lnTo>
                  <a:lnTo>
                    <a:pt x="52" y="276"/>
                  </a:lnTo>
                  <a:lnTo>
                    <a:pt x="50" y="276"/>
                  </a:lnTo>
                  <a:lnTo>
                    <a:pt x="48" y="274"/>
                  </a:lnTo>
                  <a:lnTo>
                    <a:pt x="46" y="274"/>
                  </a:lnTo>
                  <a:lnTo>
                    <a:pt x="46" y="274"/>
                  </a:lnTo>
                  <a:lnTo>
                    <a:pt x="40" y="272"/>
                  </a:lnTo>
                  <a:lnTo>
                    <a:pt x="38" y="272"/>
                  </a:lnTo>
                  <a:lnTo>
                    <a:pt x="36" y="270"/>
                  </a:lnTo>
                  <a:lnTo>
                    <a:pt x="36" y="270"/>
                  </a:lnTo>
                  <a:lnTo>
                    <a:pt x="36" y="270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4" y="268"/>
                  </a:lnTo>
                  <a:lnTo>
                    <a:pt x="34" y="266"/>
                  </a:lnTo>
                  <a:lnTo>
                    <a:pt x="34" y="266"/>
                  </a:lnTo>
                  <a:lnTo>
                    <a:pt x="34" y="264"/>
                  </a:lnTo>
                  <a:lnTo>
                    <a:pt x="36" y="262"/>
                  </a:lnTo>
                  <a:lnTo>
                    <a:pt x="36" y="258"/>
                  </a:lnTo>
                  <a:lnTo>
                    <a:pt x="36" y="256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36" y="248"/>
                  </a:lnTo>
                  <a:lnTo>
                    <a:pt x="36" y="248"/>
                  </a:lnTo>
                  <a:lnTo>
                    <a:pt x="34" y="246"/>
                  </a:lnTo>
                  <a:lnTo>
                    <a:pt x="34" y="246"/>
                  </a:lnTo>
                  <a:lnTo>
                    <a:pt x="30" y="246"/>
                  </a:lnTo>
                  <a:lnTo>
                    <a:pt x="28" y="246"/>
                  </a:lnTo>
                  <a:lnTo>
                    <a:pt x="26" y="246"/>
                  </a:lnTo>
                  <a:lnTo>
                    <a:pt x="22" y="246"/>
                  </a:lnTo>
                  <a:lnTo>
                    <a:pt x="22" y="246"/>
                  </a:lnTo>
                  <a:lnTo>
                    <a:pt x="20" y="246"/>
                  </a:lnTo>
                  <a:lnTo>
                    <a:pt x="20" y="244"/>
                  </a:lnTo>
                  <a:lnTo>
                    <a:pt x="20" y="244"/>
                  </a:lnTo>
                  <a:lnTo>
                    <a:pt x="20" y="244"/>
                  </a:lnTo>
                  <a:lnTo>
                    <a:pt x="20" y="244"/>
                  </a:lnTo>
                  <a:lnTo>
                    <a:pt x="18" y="242"/>
                  </a:lnTo>
                  <a:lnTo>
                    <a:pt x="18" y="240"/>
                  </a:lnTo>
                  <a:lnTo>
                    <a:pt x="20" y="238"/>
                  </a:lnTo>
                  <a:lnTo>
                    <a:pt x="20" y="236"/>
                  </a:lnTo>
                  <a:lnTo>
                    <a:pt x="20" y="232"/>
                  </a:lnTo>
                  <a:lnTo>
                    <a:pt x="22" y="232"/>
                  </a:lnTo>
                  <a:lnTo>
                    <a:pt x="22" y="230"/>
                  </a:lnTo>
                  <a:lnTo>
                    <a:pt x="24" y="226"/>
                  </a:lnTo>
                  <a:lnTo>
                    <a:pt x="24" y="224"/>
                  </a:lnTo>
                  <a:lnTo>
                    <a:pt x="26" y="222"/>
                  </a:lnTo>
                  <a:lnTo>
                    <a:pt x="26" y="220"/>
                  </a:lnTo>
                  <a:lnTo>
                    <a:pt x="26" y="220"/>
                  </a:lnTo>
                  <a:lnTo>
                    <a:pt x="26" y="220"/>
                  </a:lnTo>
                  <a:lnTo>
                    <a:pt x="26" y="218"/>
                  </a:lnTo>
                  <a:lnTo>
                    <a:pt x="26" y="218"/>
                  </a:lnTo>
                  <a:lnTo>
                    <a:pt x="24" y="216"/>
                  </a:lnTo>
                  <a:lnTo>
                    <a:pt x="24" y="214"/>
                  </a:lnTo>
                  <a:lnTo>
                    <a:pt x="22" y="214"/>
                  </a:lnTo>
                  <a:lnTo>
                    <a:pt x="20" y="210"/>
                  </a:lnTo>
                  <a:lnTo>
                    <a:pt x="16" y="208"/>
                  </a:lnTo>
                  <a:lnTo>
                    <a:pt x="16" y="206"/>
                  </a:lnTo>
                  <a:lnTo>
                    <a:pt x="14" y="204"/>
                  </a:lnTo>
                  <a:lnTo>
                    <a:pt x="10" y="202"/>
                  </a:lnTo>
                  <a:lnTo>
                    <a:pt x="8" y="200"/>
                  </a:lnTo>
                  <a:lnTo>
                    <a:pt x="6" y="198"/>
                  </a:lnTo>
                  <a:lnTo>
                    <a:pt x="6" y="196"/>
                  </a:lnTo>
                  <a:lnTo>
                    <a:pt x="4" y="196"/>
                  </a:lnTo>
                  <a:lnTo>
                    <a:pt x="4" y="196"/>
                  </a:lnTo>
                  <a:lnTo>
                    <a:pt x="4" y="194"/>
                  </a:lnTo>
                  <a:lnTo>
                    <a:pt x="2" y="192"/>
                  </a:lnTo>
                  <a:lnTo>
                    <a:pt x="2" y="188"/>
                  </a:lnTo>
                  <a:lnTo>
                    <a:pt x="2" y="186"/>
                  </a:lnTo>
                  <a:lnTo>
                    <a:pt x="0" y="182"/>
                  </a:lnTo>
                  <a:lnTo>
                    <a:pt x="0" y="180"/>
                  </a:lnTo>
                  <a:lnTo>
                    <a:pt x="0" y="176"/>
                  </a:lnTo>
                  <a:lnTo>
                    <a:pt x="0" y="174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0" y="164"/>
                  </a:lnTo>
                  <a:lnTo>
                    <a:pt x="0" y="162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2" y="154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4" y="150"/>
                  </a:lnTo>
                  <a:lnTo>
                    <a:pt x="6" y="150"/>
                  </a:lnTo>
                  <a:lnTo>
                    <a:pt x="6" y="148"/>
                  </a:lnTo>
                  <a:lnTo>
                    <a:pt x="8" y="148"/>
                  </a:lnTo>
                  <a:lnTo>
                    <a:pt x="10" y="146"/>
                  </a:lnTo>
                  <a:lnTo>
                    <a:pt x="10" y="146"/>
                  </a:lnTo>
                  <a:lnTo>
                    <a:pt x="10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2"/>
                  </a:lnTo>
                  <a:lnTo>
                    <a:pt x="8" y="142"/>
                  </a:lnTo>
                  <a:lnTo>
                    <a:pt x="6" y="140"/>
                  </a:lnTo>
                  <a:lnTo>
                    <a:pt x="4" y="140"/>
                  </a:lnTo>
                  <a:lnTo>
                    <a:pt x="4" y="138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4" y="130"/>
                  </a:lnTo>
                  <a:lnTo>
                    <a:pt x="4" y="130"/>
                  </a:lnTo>
                  <a:lnTo>
                    <a:pt x="4" y="130"/>
                  </a:lnTo>
                  <a:lnTo>
                    <a:pt x="4" y="128"/>
                  </a:lnTo>
                  <a:lnTo>
                    <a:pt x="6" y="126"/>
                  </a:lnTo>
                  <a:lnTo>
                    <a:pt x="6" y="124"/>
                  </a:lnTo>
                  <a:lnTo>
                    <a:pt x="6" y="124"/>
                  </a:lnTo>
                  <a:lnTo>
                    <a:pt x="8" y="122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8" y="110"/>
                  </a:lnTo>
                  <a:lnTo>
                    <a:pt x="8" y="108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4" y="104"/>
                  </a:lnTo>
                  <a:lnTo>
                    <a:pt x="16" y="104"/>
                  </a:lnTo>
                  <a:lnTo>
                    <a:pt x="16" y="102"/>
                  </a:lnTo>
                  <a:lnTo>
                    <a:pt x="16" y="102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18" y="94"/>
                  </a:lnTo>
                  <a:lnTo>
                    <a:pt x="16" y="90"/>
                  </a:lnTo>
                  <a:lnTo>
                    <a:pt x="16" y="86"/>
                  </a:lnTo>
                  <a:lnTo>
                    <a:pt x="16" y="82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78"/>
                  </a:lnTo>
                  <a:lnTo>
                    <a:pt x="16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20" y="74"/>
                  </a:lnTo>
                  <a:lnTo>
                    <a:pt x="22" y="72"/>
                  </a:lnTo>
                  <a:lnTo>
                    <a:pt x="24" y="72"/>
                  </a:lnTo>
                  <a:lnTo>
                    <a:pt x="24" y="70"/>
                  </a:lnTo>
                  <a:lnTo>
                    <a:pt x="26" y="70"/>
                  </a:lnTo>
                  <a:lnTo>
                    <a:pt x="26" y="68"/>
                  </a:lnTo>
                  <a:lnTo>
                    <a:pt x="26" y="66"/>
                  </a:lnTo>
                  <a:lnTo>
                    <a:pt x="26" y="64"/>
                  </a:lnTo>
                  <a:lnTo>
                    <a:pt x="26" y="60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28" y="50"/>
                  </a:lnTo>
                  <a:lnTo>
                    <a:pt x="28" y="48"/>
                  </a:lnTo>
                  <a:lnTo>
                    <a:pt x="28" y="46"/>
                  </a:lnTo>
                  <a:lnTo>
                    <a:pt x="30" y="4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6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6" y="34"/>
                  </a:lnTo>
                  <a:lnTo>
                    <a:pt x="34" y="32"/>
                  </a:lnTo>
                  <a:lnTo>
                    <a:pt x="32" y="32"/>
                  </a:lnTo>
                  <a:lnTo>
                    <a:pt x="30" y="30"/>
                  </a:lnTo>
                  <a:lnTo>
                    <a:pt x="30" y="28"/>
                  </a:lnTo>
                  <a:lnTo>
                    <a:pt x="28" y="28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4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8" y="18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2" y="12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8" y="10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6" y="16"/>
                  </a:lnTo>
                  <a:lnTo>
                    <a:pt x="48" y="1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2" y="26"/>
                  </a:lnTo>
                  <a:lnTo>
                    <a:pt x="54" y="28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8" y="30"/>
                  </a:lnTo>
                  <a:lnTo>
                    <a:pt x="58" y="28"/>
                  </a:lnTo>
                  <a:lnTo>
                    <a:pt x="58" y="28"/>
                  </a:lnTo>
                  <a:lnTo>
                    <a:pt x="58" y="26"/>
                  </a:lnTo>
                  <a:lnTo>
                    <a:pt x="60" y="24"/>
                  </a:lnTo>
                  <a:lnTo>
                    <a:pt x="60" y="22"/>
                  </a:lnTo>
                  <a:lnTo>
                    <a:pt x="60" y="20"/>
                  </a:lnTo>
                  <a:lnTo>
                    <a:pt x="60" y="18"/>
                  </a:lnTo>
                  <a:lnTo>
                    <a:pt x="60" y="16"/>
                  </a:lnTo>
                  <a:lnTo>
                    <a:pt x="60" y="10"/>
                  </a:lnTo>
                  <a:lnTo>
                    <a:pt x="60" y="6"/>
                  </a:lnTo>
                  <a:lnTo>
                    <a:pt x="58" y="2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36" name="Freeform 528">
              <a:extLst>
                <a:ext uri="{FF2B5EF4-FFF2-40B4-BE49-F238E27FC236}">
                  <a16:creationId xmlns:a16="http://schemas.microsoft.com/office/drawing/2014/main" id="{66BB702C-D124-473B-A884-0509BF200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6695" y="2904420"/>
              <a:ext cx="51253" cy="50145"/>
            </a:xfrm>
            <a:custGeom>
              <a:avLst/>
              <a:gdLst>
                <a:gd name="T0" fmla="*/ 8 w 30"/>
                <a:gd name="T1" fmla="*/ 10 h 30"/>
                <a:gd name="T2" fmla="*/ 8 w 30"/>
                <a:gd name="T3" fmla="*/ 10 h 30"/>
                <a:gd name="T4" fmla="*/ 8 w 30"/>
                <a:gd name="T5" fmla="*/ 10 h 30"/>
                <a:gd name="T6" fmla="*/ 10 w 30"/>
                <a:gd name="T7" fmla="*/ 8 h 30"/>
                <a:gd name="T8" fmla="*/ 10 w 30"/>
                <a:gd name="T9" fmla="*/ 4 h 30"/>
                <a:gd name="T10" fmla="*/ 12 w 30"/>
                <a:gd name="T11" fmla="*/ 4 h 30"/>
                <a:gd name="T12" fmla="*/ 12 w 30"/>
                <a:gd name="T13" fmla="*/ 2 h 30"/>
                <a:gd name="T14" fmla="*/ 12 w 30"/>
                <a:gd name="T15" fmla="*/ 2 h 30"/>
                <a:gd name="T16" fmla="*/ 14 w 30"/>
                <a:gd name="T17" fmla="*/ 0 h 30"/>
                <a:gd name="T18" fmla="*/ 14 w 30"/>
                <a:gd name="T19" fmla="*/ 0 h 30"/>
                <a:gd name="T20" fmla="*/ 16 w 30"/>
                <a:gd name="T21" fmla="*/ 0 h 30"/>
                <a:gd name="T22" fmla="*/ 18 w 30"/>
                <a:gd name="T23" fmla="*/ 0 h 30"/>
                <a:gd name="T24" fmla="*/ 20 w 30"/>
                <a:gd name="T25" fmla="*/ 0 h 30"/>
                <a:gd name="T26" fmla="*/ 24 w 30"/>
                <a:gd name="T27" fmla="*/ 0 h 30"/>
                <a:gd name="T28" fmla="*/ 24 w 30"/>
                <a:gd name="T29" fmla="*/ 0 h 30"/>
                <a:gd name="T30" fmla="*/ 26 w 30"/>
                <a:gd name="T31" fmla="*/ 0 h 30"/>
                <a:gd name="T32" fmla="*/ 28 w 30"/>
                <a:gd name="T33" fmla="*/ 0 h 30"/>
                <a:gd name="T34" fmla="*/ 28 w 30"/>
                <a:gd name="T35" fmla="*/ 0 h 30"/>
                <a:gd name="T36" fmla="*/ 28 w 30"/>
                <a:gd name="T37" fmla="*/ 2 h 30"/>
                <a:gd name="T38" fmla="*/ 28 w 30"/>
                <a:gd name="T39" fmla="*/ 2 h 30"/>
                <a:gd name="T40" fmla="*/ 28 w 30"/>
                <a:gd name="T41" fmla="*/ 4 h 30"/>
                <a:gd name="T42" fmla="*/ 30 w 30"/>
                <a:gd name="T43" fmla="*/ 6 h 30"/>
                <a:gd name="T44" fmla="*/ 30 w 30"/>
                <a:gd name="T45" fmla="*/ 8 h 30"/>
                <a:gd name="T46" fmla="*/ 28 w 30"/>
                <a:gd name="T47" fmla="*/ 10 h 30"/>
                <a:gd name="T48" fmla="*/ 28 w 30"/>
                <a:gd name="T49" fmla="*/ 10 h 30"/>
                <a:gd name="T50" fmla="*/ 28 w 30"/>
                <a:gd name="T51" fmla="*/ 12 h 30"/>
                <a:gd name="T52" fmla="*/ 28 w 30"/>
                <a:gd name="T53" fmla="*/ 14 h 30"/>
                <a:gd name="T54" fmla="*/ 26 w 30"/>
                <a:gd name="T55" fmla="*/ 16 h 30"/>
                <a:gd name="T56" fmla="*/ 26 w 30"/>
                <a:gd name="T57" fmla="*/ 18 h 30"/>
                <a:gd name="T58" fmla="*/ 24 w 30"/>
                <a:gd name="T59" fmla="*/ 22 h 30"/>
                <a:gd name="T60" fmla="*/ 20 w 30"/>
                <a:gd name="T61" fmla="*/ 24 h 30"/>
                <a:gd name="T62" fmla="*/ 18 w 30"/>
                <a:gd name="T63" fmla="*/ 26 h 30"/>
                <a:gd name="T64" fmla="*/ 18 w 30"/>
                <a:gd name="T65" fmla="*/ 28 h 30"/>
                <a:gd name="T66" fmla="*/ 16 w 30"/>
                <a:gd name="T67" fmla="*/ 28 h 30"/>
                <a:gd name="T68" fmla="*/ 14 w 30"/>
                <a:gd name="T69" fmla="*/ 30 h 30"/>
                <a:gd name="T70" fmla="*/ 14 w 30"/>
                <a:gd name="T71" fmla="*/ 30 h 30"/>
                <a:gd name="T72" fmla="*/ 12 w 30"/>
                <a:gd name="T73" fmla="*/ 30 h 30"/>
                <a:gd name="T74" fmla="*/ 12 w 30"/>
                <a:gd name="T75" fmla="*/ 30 h 30"/>
                <a:gd name="T76" fmla="*/ 10 w 30"/>
                <a:gd name="T77" fmla="*/ 30 h 30"/>
                <a:gd name="T78" fmla="*/ 10 w 30"/>
                <a:gd name="T79" fmla="*/ 30 h 30"/>
                <a:gd name="T80" fmla="*/ 8 w 30"/>
                <a:gd name="T81" fmla="*/ 30 h 30"/>
                <a:gd name="T82" fmla="*/ 8 w 30"/>
                <a:gd name="T83" fmla="*/ 30 h 30"/>
                <a:gd name="T84" fmla="*/ 6 w 30"/>
                <a:gd name="T85" fmla="*/ 28 h 30"/>
                <a:gd name="T86" fmla="*/ 4 w 30"/>
                <a:gd name="T87" fmla="*/ 26 h 30"/>
                <a:gd name="T88" fmla="*/ 2 w 30"/>
                <a:gd name="T89" fmla="*/ 24 h 30"/>
                <a:gd name="T90" fmla="*/ 0 w 30"/>
                <a:gd name="T91" fmla="*/ 22 h 30"/>
                <a:gd name="T92" fmla="*/ 0 w 30"/>
                <a:gd name="T93" fmla="*/ 22 h 30"/>
                <a:gd name="T94" fmla="*/ 0 w 30"/>
                <a:gd name="T95" fmla="*/ 20 h 30"/>
                <a:gd name="T96" fmla="*/ 0 w 30"/>
                <a:gd name="T97" fmla="*/ 20 h 30"/>
                <a:gd name="T98" fmla="*/ 0 w 30"/>
                <a:gd name="T99" fmla="*/ 18 h 30"/>
                <a:gd name="T100" fmla="*/ 0 w 30"/>
                <a:gd name="T101" fmla="*/ 18 h 30"/>
                <a:gd name="T102" fmla="*/ 0 w 30"/>
                <a:gd name="T103" fmla="*/ 18 h 30"/>
                <a:gd name="T104" fmla="*/ 0 w 30"/>
                <a:gd name="T105" fmla="*/ 18 h 30"/>
                <a:gd name="T106" fmla="*/ 0 w 30"/>
                <a:gd name="T107" fmla="*/ 16 h 30"/>
                <a:gd name="T108" fmla="*/ 2 w 30"/>
                <a:gd name="T109" fmla="*/ 16 h 30"/>
                <a:gd name="T110" fmla="*/ 4 w 30"/>
                <a:gd name="T111" fmla="*/ 14 h 30"/>
                <a:gd name="T112" fmla="*/ 6 w 30"/>
                <a:gd name="T113" fmla="*/ 12 h 30"/>
                <a:gd name="T114" fmla="*/ 8 w 30"/>
                <a:gd name="T115" fmla="*/ 10 h 30"/>
                <a:gd name="T116" fmla="*/ 8 w 30"/>
                <a:gd name="T117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" h="30">
                  <a:moveTo>
                    <a:pt x="8" y="10"/>
                  </a:moveTo>
                  <a:lnTo>
                    <a:pt x="8" y="10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30" y="6"/>
                  </a:lnTo>
                  <a:lnTo>
                    <a:pt x="3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8"/>
                  </a:lnTo>
                  <a:lnTo>
                    <a:pt x="16" y="28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4" y="26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6" y="12"/>
                  </a:lnTo>
                  <a:lnTo>
                    <a:pt x="8" y="10"/>
                  </a:lnTo>
                  <a:lnTo>
                    <a:pt x="8" y="1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37" name="Freeform 596">
              <a:extLst>
                <a:ext uri="{FF2B5EF4-FFF2-40B4-BE49-F238E27FC236}">
                  <a16:creationId xmlns:a16="http://schemas.microsoft.com/office/drawing/2014/main" id="{2BC53796-A967-461A-B9E0-00E4EAE47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0155" y="2416342"/>
              <a:ext cx="61504" cy="33429"/>
            </a:xfrm>
            <a:custGeom>
              <a:avLst/>
              <a:gdLst>
                <a:gd name="T0" fmla="*/ 10 w 36"/>
                <a:gd name="T1" fmla="*/ 0 h 20"/>
                <a:gd name="T2" fmla="*/ 10 w 36"/>
                <a:gd name="T3" fmla="*/ 0 h 20"/>
                <a:gd name="T4" fmla="*/ 10 w 36"/>
                <a:gd name="T5" fmla="*/ 2 h 20"/>
                <a:gd name="T6" fmla="*/ 8 w 36"/>
                <a:gd name="T7" fmla="*/ 2 h 20"/>
                <a:gd name="T8" fmla="*/ 8 w 36"/>
                <a:gd name="T9" fmla="*/ 2 h 20"/>
                <a:gd name="T10" fmla="*/ 6 w 36"/>
                <a:gd name="T11" fmla="*/ 4 h 20"/>
                <a:gd name="T12" fmla="*/ 4 w 36"/>
                <a:gd name="T13" fmla="*/ 6 h 20"/>
                <a:gd name="T14" fmla="*/ 4 w 36"/>
                <a:gd name="T15" fmla="*/ 8 h 20"/>
                <a:gd name="T16" fmla="*/ 2 w 36"/>
                <a:gd name="T17" fmla="*/ 10 h 20"/>
                <a:gd name="T18" fmla="*/ 2 w 36"/>
                <a:gd name="T19" fmla="*/ 12 h 20"/>
                <a:gd name="T20" fmla="*/ 2 w 36"/>
                <a:gd name="T21" fmla="*/ 12 h 20"/>
                <a:gd name="T22" fmla="*/ 0 w 36"/>
                <a:gd name="T23" fmla="*/ 14 h 20"/>
                <a:gd name="T24" fmla="*/ 0 w 36"/>
                <a:gd name="T25" fmla="*/ 16 h 20"/>
                <a:gd name="T26" fmla="*/ 0 w 36"/>
                <a:gd name="T27" fmla="*/ 16 h 20"/>
                <a:gd name="T28" fmla="*/ 0 w 36"/>
                <a:gd name="T29" fmla="*/ 18 h 20"/>
                <a:gd name="T30" fmla="*/ 0 w 36"/>
                <a:gd name="T31" fmla="*/ 18 h 20"/>
                <a:gd name="T32" fmla="*/ 2 w 36"/>
                <a:gd name="T33" fmla="*/ 20 h 20"/>
                <a:gd name="T34" fmla="*/ 2 w 36"/>
                <a:gd name="T35" fmla="*/ 20 h 20"/>
                <a:gd name="T36" fmla="*/ 2 w 36"/>
                <a:gd name="T37" fmla="*/ 20 h 20"/>
                <a:gd name="T38" fmla="*/ 4 w 36"/>
                <a:gd name="T39" fmla="*/ 20 h 20"/>
                <a:gd name="T40" fmla="*/ 6 w 36"/>
                <a:gd name="T41" fmla="*/ 20 h 20"/>
                <a:gd name="T42" fmla="*/ 6 w 36"/>
                <a:gd name="T43" fmla="*/ 20 h 20"/>
                <a:gd name="T44" fmla="*/ 8 w 36"/>
                <a:gd name="T45" fmla="*/ 20 h 20"/>
                <a:gd name="T46" fmla="*/ 12 w 36"/>
                <a:gd name="T47" fmla="*/ 20 h 20"/>
                <a:gd name="T48" fmla="*/ 14 w 36"/>
                <a:gd name="T49" fmla="*/ 20 h 20"/>
                <a:gd name="T50" fmla="*/ 18 w 36"/>
                <a:gd name="T51" fmla="*/ 18 h 20"/>
                <a:gd name="T52" fmla="*/ 22 w 36"/>
                <a:gd name="T53" fmla="*/ 18 h 20"/>
                <a:gd name="T54" fmla="*/ 26 w 36"/>
                <a:gd name="T55" fmla="*/ 16 h 20"/>
                <a:gd name="T56" fmla="*/ 28 w 36"/>
                <a:gd name="T57" fmla="*/ 16 h 20"/>
                <a:gd name="T58" fmla="*/ 32 w 36"/>
                <a:gd name="T59" fmla="*/ 16 h 20"/>
                <a:gd name="T60" fmla="*/ 32 w 36"/>
                <a:gd name="T61" fmla="*/ 14 h 20"/>
                <a:gd name="T62" fmla="*/ 34 w 36"/>
                <a:gd name="T63" fmla="*/ 14 h 20"/>
                <a:gd name="T64" fmla="*/ 34 w 36"/>
                <a:gd name="T65" fmla="*/ 14 h 20"/>
                <a:gd name="T66" fmla="*/ 34 w 36"/>
                <a:gd name="T67" fmla="*/ 12 h 20"/>
                <a:gd name="T68" fmla="*/ 36 w 36"/>
                <a:gd name="T69" fmla="*/ 12 h 20"/>
                <a:gd name="T70" fmla="*/ 36 w 36"/>
                <a:gd name="T71" fmla="*/ 10 h 20"/>
                <a:gd name="T72" fmla="*/ 36 w 36"/>
                <a:gd name="T73" fmla="*/ 10 h 20"/>
                <a:gd name="T74" fmla="*/ 36 w 36"/>
                <a:gd name="T75" fmla="*/ 10 h 20"/>
                <a:gd name="T76" fmla="*/ 34 w 36"/>
                <a:gd name="T77" fmla="*/ 8 h 20"/>
                <a:gd name="T78" fmla="*/ 34 w 36"/>
                <a:gd name="T79" fmla="*/ 8 h 20"/>
                <a:gd name="T80" fmla="*/ 32 w 36"/>
                <a:gd name="T81" fmla="*/ 6 h 20"/>
                <a:gd name="T82" fmla="*/ 30 w 36"/>
                <a:gd name="T83" fmla="*/ 6 h 20"/>
                <a:gd name="T84" fmla="*/ 30 w 36"/>
                <a:gd name="T85" fmla="*/ 4 h 20"/>
                <a:gd name="T86" fmla="*/ 28 w 36"/>
                <a:gd name="T87" fmla="*/ 4 h 20"/>
                <a:gd name="T88" fmla="*/ 26 w 36"/>
                <a:gd name="T89" fmla="*/ 2 h 20"/>
                <a:gd name="T90" fmla="*/ 24 w 36"/>
                <a:gd name="T91" fmla="*/ 2 h 20"/>
                <a:gd name="T92" fmla="*/ 22 w 36"/>
                <a:gd name="T93" fmla="*/ 2 h 20"/>
                <a:gd name="T94" fmla="*/ 20 w 36"/>
                <a:gd name="T95" fmla="*/ 0 h 20"/>
                <a:gd name="T96" fmla="*/ 18 w 36"/>
                <a:gd name="T97" fmla="*/ 0 h 20"/>
                <a:gd name="T98" fmla="*/ 16 w 36"/>
                <a:gd name="T99" fmla="*/ 0 h 20"/>
                <a:gd name="T100" fmla="*/ 14 w 36"/>
                <a:gd name="T101" fmla="*/ 0 h 20"/>
                <a:gd name="T102" fmla="*/ 12 w 36"/>
                <a:gd name="T103" fmla="*/ 0 h 20"/>
                <a:gd name="T104" fmla="*/ 10 w 36"/>
                <a:gd name="T10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6" h="20">
                  <a:moveTo>
                    <a:pt x="10" y="0"/>
                  </a:moveTo>
                  <a:lnTo>
                    <a:pt x="10" y="0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8" y="18"/>
                  </a:lnTo>
                  <a:lnTo>
                    <a:pt x="22" y="18"/>
                  </a:lnTo>
                  <a:lnTo>
                    <a:pt x="26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38" name="Freeform 598">
              <a:extLst>
                <a:ext uri="{FF2B5EF4-FFF2-40B4-BE49-F238E27FC236}">
                  <a16:creationId xmlns:a16="http://schemas.microsoft.com/office/drawing/2014/main" id="{514D24C8-B332-4989-86D6-F417A8D55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2888" y="1754428"/>
              <a:ext cx="1233484" cy="1046358"/>
            </a:xfrm>
            <a:custGeom>
              <a:avLst/>
              <a:gdLst>
                <a:gd name="T0" fmla="*/ 104 w 722"/>
                <a:gd name="T1" fmla="*/ 102 h 626"/>
                <a:gd name="T2" fmla="*/ 92 w 722"/>
                <a:gd name="T3" fmla="*/ 136 h 626"/>
                <a:gd name="T4" fmla="*/ 34 w 722"/>
                <a:gd name="T5" fmla="*/ 168 h 626"/>
                <a:gd name="T6" fmla="*/ 2 w 722"/>
                <a:gd name="T7" fmla="*/ 188 h 626"/>
                <a:gd name="T8" fmla="*/ 56 w 722"/>
                <a:gd name="T9" fmla="*/ 188 h 626"/>
                <a:gd name="T10" fmla="*/ 42 w 722"/>
                <a:gd name="T11" fmla="*/ 208 h 626"/>
                <a:gd name="T12" fmla="*/ 22 w 722"/>
                <a:gd name="T13" fmla="*/ 218 h 626"/>
                <a:gd name="T14" fmla="*/ 106 w 722"/>
                <a:gd name="T15" fmla="*/ 234 h 626"/>
                <a:gd name="T16" fmla="*/ 166 w 722"/>
                <a:gd name="T17" fmla="*/ 262 h 626"/>
                <a:gd name="T18" fmla="*/ 190 w 722"/>
                <a:gd name="T19" fmla="*/ 358 h 626"/>
                <a:gd name="T20" fmla="*/ 216 w 722"/>
                <a:gd name="T21" fmla="*/ 352 h 626"/>
                <a:gd name="T22" fmla="*/ 206 w 722"/>
                <a:gd name="T23" fmla="*/ 376 h 626"/>
                <a:gd name="T24" fmla="*/ 218 w 722"/>
                <a:gd name="T25" fmla="*/ 388 h 626"/>
                <a:gd name="T26" fmla="*/ 224 w 722"/>
                <a:gd name="T27" fmla="*/ 424 h 626"/>
                <a:gd name="T28" fmla="*/ 188 w 722"/>
                <a:gd name="T29" fmla="*/ 462 h 626"/>
                <a:gd name="T30" fmla="*/ 232 w 722"/>
                <a:gd name="T31" fmla="*/ 586 h 626"/>
                <a:gd name="T32" fmla="*/ 270 w 722"/>
                <a:gd name="T33" fmla="*/ 608 h 626"/>
                <a:gd name="T34" fmla="*/ 304 w 722"/>
                <a:gd name="T35" fmla="*/ 620 h 626"/>
                <a:gd name="T36" fmla="*/ 342 w 722"/>
                <a:gd name="T37" fmla="*/ 540 h 626"/>
                <a:gd name="T38" fmla="*/ 356 w 722"/>
                <a:gd name="T39" fmla="*/ 498 h 626"/>
                <a:gd name="T40" fmla="*/ 436 w 722"/>
                <a:gd name="T41" fmla="*/ 482 h 626"/>
                <a:gd name="T42" fmla="*/ 462 w 722"/>
                <a:gd name="T43" fmla="*/ 436 h 626"/>
                <a:gd name="T44" fmla="*/ 528 w 722"/>
                <a:gd name="T45" fmla="*/ 434 h 626"/>
                <a:gd name="T46" fmla="*/ 584 w 722"/>
                <a:gd name="T47" fmla="*/ 384 h 626"/>
                <a:gd name="T48" fmla="*/ 530 w 722"/>
                <a:gd name="T49" fmla="*/ 374 h 626"/>
                <a:gd name="T50" fmla="*/ 550 w 722"/>
                <a:gd name="T51" fmla="*/ 348 h 626"/>
                <a:gd name="T52" fmla="*/ 592 w 722"/>
                <a:gd name="T53" fmla="*/ 374 h 626"/>
                <a:gd name="T54" fmla="*/ 592 w 722"/>
                <a:gd name="T55" fmla="*/ 336 h 626"/>
                <a:gd name="T56" fmla="*/ 560 w 722"/>
                <a:gd name="T57" fmla="*/ 314 h 626"/>
                <a:gd name="T58" fmla="*/ 588 w 722"/>
                <a:gd name="T59" fmla="*/ 312 h 626"/>
                <a:gd name="T60" fmla="*/ 606 w 722"/>
                <a:gd name="T61" fmla="*/ 300 h 626"/>
                <a:gd name="T62" fmla="*/ 612 w 722"/>
                <a:gd name="T63" fmla="*/ 282 h 626"/>
                <a:gd name="T64" fmla="*/ 644 w 722"/>
                <a:gd name="T65" fmla="*/ 268 h 626"/>
                <a:gd name="T66" fmla="*/ 628 w 722"/>
                <a:gd name="T67" fmla="*/ 244 h 626"/>
                <a:gd name="T68" fmla="*/ 638 w 722"/>
                <a:gd name="T69" fmla="*/ 212 h 626"/>
                <a:gd name="T70" fmla="*/ 644 w 722"/>
                <a:gd name="T71" fmla="*/ 188 h 626"/>
                <a:gd name="T72" fmla="*/ 602 w 722"/>
                <a:gd name="T73" fmla="*/ 182 h 626"/>
                <a:gd name="T74" fmla="*/ 638 w 722"/>
                <a:gd name="T75" fmla="*/ 140 h 626"/>
                <a:gd name="T76" fmla="*/ 622 w 722"/>
                <a:gd name="T77" fmla="*/ 122 h 626"/>
                <a:gd name="T78" fmla="*/ 662 w 722"/>
                <a:gd name="T79" fmla="*/ 108 h 626"/>
                <a:gd name="T80" fmla="*/ 722 w 722"/>
                <a:gd name="T81" fmla="*/ 76 h 626"/>
                <a:gd name="T82" fmla="*/ 648 w 722"/>
                <a:gd name="T83" fmla="*/ 74 h 626"/>
                <a:gd name="T84" fmla="*/ 582 w 722"/>
                <a:gd name="T85" fmla="*/ 104 h 626"/>
                <a:gd name="T86" fmla="*/ 604 w 722"/>
                <a:gd name="T87" fmla="*/ 64 h 626"/>
                <a:gd name="T88" fmla="*/ 558 w 722"/>
                <a:gd name="T89" fmla="*/ 82 h 626"/>
                <a:gd name="T90" fmla="*/ 556 w 722"/>
                <a:gd name="T91" fmla="*/ 58 h 626"/>
                <a:gd name="T92" fmla="*/ 482 w 722"/>
                <a:gd name="T93" fmla="*/ 72 h 626"/>
                <a:gd name="T94" fmla="*/ 484 w 722"/>
                <a:gd name="T95" fmla="*/ 56 h 626"/>
                <a:gd name="T96" fmla="*/ 598 w 722"/>
                <a:gd name="T97" fmla="*/ 40 h 626"/>
                <a:gd name="T98" fmla="*/ 566 w 722"/>
                <a:gd name="T99" fmla="*/ 22 h 626"/>
                <a:gd name="T100" fmla="*/ 478 w 722"/>
                <a:gd name="T101" fmla="*/ 38 h 626"/>
                <a:gd name="T102" fmla="*/ 506 w 722"/>
                <a:gd name="T103" fmla="*/ 22 h 626"/>
                <a:gd name="T104" fmla="*/ 508 w 722"/>
                <a:gd name="T105" fmla="*/ 2 h 626"/>
                <a:gd name="T106" fmla="*/ 408 w 722"/>
                <a:gd name="T107" fmla="*/ 22 h 626"/>
                <a:gd name="T108" fmla="*/ 360 w 722"/>
                <a:gd name="T109" fmla="*/ 32 h 626"/>
                <a:gd name="T110" fmla="*/ 342 w 722"/>
                <a:gd name="T111" fmla="*/ 48 h 626"/>
                <a:gd name="T112" fmla="*/ 322 w 722"/>
                <a:gd name="T113" fmla="*/ 56 h 626"/>
                <a:gd name="T114" fmla="*/ 284 w 722"/>
                <a:gd name="T115" fmla="*/ 54 h 626"/>
                <a:gd name="T116" fmla="*/ 276 w 722"/>
                <a:gd name="T117" fmla="*/ 82 h 626"/>
                <a:gd name="T118" fmla="*/ 258 w 722"/>
                <a:gd name="T119" fmla="*/ 58 h 626"/>
                <a:gd name="T120" fmla="*/ 240 w 722"/>
                <a:gd name="T121" fmla="*/ 62 h 626"/>
                <a:gd name="T122" fmla="*/ 212 w 722"/>
                <a:gd name="T123" fmla="*/ 56 h 626"/>
                <a:gd name="T124" fmla="*/ 174 w 722"/>
                <a:gd name="T125" fmla="*/ 64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2" h="626">
                  <a:moveTo>
                    <a:pt x="150" y="78"/>
                  </a:moveTo>
                  <a:lnTo>
                    <a:pt x="150" y="78"/>
                  </a:lnTo>
                  <a:lnTo>
                    <a:pt x="150" y="80"/>
                  </a:lnTo>
                  <a:lnTo>
                    <a:pt x="148" y="82"/>
                  </a:lnTo>
                  <a:lnTo>
                    <a:pt x="144" y="88"/>
                  </a:lnTo>
                  <a:lnTo>
                    <a:pt x="144" y="90"/>
                  </a:lnTo>
                  <a:lnTo>
                    <a:pt x="142" y="94"/>
                  </a:lnTo>
                  <a:lnTo>
                    <a:pt x="140" y="94"/>
                  </a:lnTo>
                  <a:lnTo>
                    <a:pt x="140" y="96"/>
                  </a:lnTo>
                  <a:lnTo>
                    <a:pt x="138" y="96"/>
                  </a:lnTo>
                  <a:lnTo>
                    <a:pt x="138" y="98"/>
                  </a:lnTo>
                  <a:lnTo>
                    <a:pt x="136" y="98"/>
                  </a:lnTo>
                  <a:lnTo>
                    <a:pt x="134" y="98"/>
                  </a:lnTo>
                  <a:lnTo>
                    <a:pt x="132" y="100"/>
                  </a:lnTo>
                  <a:lnTo>
                    <a:pt x="128" y="100"/>
                  </a:lnTo>
                  <a:lnTo>
                    <a:pt x="126" y="100"/>
                  </a:lnTo>
                  <a:lnTo>
                    <a:pt x="122" y="100"/>
                  </a:lnTo>
                  <a:lnTo>
                    <a:pt x="116" y="100"/>
                  </a:lnTo>
                  <a:lnTo>
                    <a:pt x="110" y="102"/>
                  </a:lnTo>
                  <a:lnTo>
                    <a:pt x="106" y="102"/>
                  </a:lnTo>
                  <a:lnTo>
                    <a:pt x="104" y="102"/>
                  </a:lnTo>
                  <a:lnTo>
                    <a:pt x="102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10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6"/>
                  </a:lnTo>
                  <a:lnTo>
                    <a:pt x="94" y="118"/>
                  </a:lnTo>
                  <a:lnTo>
                    <a:pt x="94" y="122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4" y="132"/>
                  </a:lnTo>
                  <a:lnTo>
                    <a:pt x="94" y="134"/>
                  </a:lnTo>
                  <a:lnTo>
                    <a:pt x="94" y="136"/>
                  </a:lnTo>
                  <a:lnTo>
                    <a:pt x="92" y="136"/>
                  </a:lnTo>
                  <a:lnTo>
                    <a:pt x="92" y="138"/>
                  </a:lnTo>
                  <a:lnTo>
                    <a:pt x="90" y="140"/>
                  </a:lnTo>
                  <a:lnTo>
                    <a:pt x="88" y="140"/>
                  </a:lnTo>
                  <a:lnTo>
                    <a:pt x="86" y="140"/>
                  </a:lnTo>
                  <a:lnTo>
                    <a:pt x="84" y="142"/>
                  </a:lnTo>
                  <a:lnTo>
                    <a:pt x="82" y="142"/>
                  </a:lnTo>
                  <a:lnTo>
                    <a:pt x="78" y="142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6" y="146"/>
                  </a:lnTo>
                  <a:lnTo>
                    <a:pt x="64" y="146"/>
                  </a:lnTo>
                  <a:lnTo>
                    <a:pt x="62" y="146"/>
                  </a:lnTo>
                  <a:lnTo>
                    <a:pt x="60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4" y="152"/>
                  </a:lnTo>
                  <a:lnTo>
                    <a:pt x="50" y="154"/>
                  </a:lnTo>
                  <a:lnTo>
                    <a:pt x="44" y="158"/>
                  </a:lnTo>
                  <a:lnTo>
                    <a:pt x="40" y="162"/>
                  </a:lnTo>
                  <a:lnTo>
                    <a:pt x="38" y="164"/>
                  </a:lnTo>
                  <a:lnTo>
                    <a:pt x="34" y="168"/>
                  </a:lnTo>
                  <a:lnTo>
                    <a:pt x="32" y="168"/>
                  </a:lnTo>
                  <a:lnTo>
                    <a:pt x="30" y="170"/>
                  </a:lnTo>
                  <a:lnTo>
                    <a:pt x="28" y="170"/>
                  </a:lnTo>
                  <a:lnTo>
                    <a:pt x="26" y="170"/>
                  </a:lnTo>
                  <a:lnTo>
                    <a:pt x="22" y="172"/>
                  </a:lnTo>
                  <a:lnTo>
                    <a:pt x="14" y="174"/>
                  </a:lnTo>
                  <a:lnTo>
                    <a:pt x="10" y="174"/>
                  </a:lnTo>
                  <a:lnTo>
                    <a:pt x="6" y="176"/>
                  </a:lnTo>
                  <a:lnTo>
                    <a:pt x="6" y="176"/>
                  </a:lnTo>
                  <a:lnTo>
                    <a:pt x="4" y="176"/>
                  </a:lnTo>
                  <a:lnTo>
                    <a:pt x="2" y="178"/>
                  </a:lnTo>
                  <a:lnTo>
                    <a:pt x="0" y="178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8"/>
                  </a:lnTo>
                  <a:lnTo>
                    <a:pt x="2" y="188"/>
                  </a:lnTo>
                  <a:lnTo>
                    <a:pt x="2" y="190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8" y="192"/>
                  </a:lnTo>
                  <a:lnTo>
                    <a:pt x="10" y="192"/>
                  </a:lnTo>
                  <a:lnTo>
                    <a:pt x="14" y="192"/>
                  </a:lnTo>
                  <a:lnTo>
                    <a:pt x="16" y="192"/>
                  </a:lnTo>
                  <a:lnTo>
                    <a:pt x="20" y="190"/>
                  </a:lnTo>
                  <a:lnTo>
                    <a:pt x="28" y="190"/>
                  </a:lnTo>
                  <a:lnTo>
                    <a:pt x="36" y="188"/>
                  </a:lnTo>
                  <a:lnTo>
                    <a:pt x="40" y="186"/>
                  </a:lnTo>
                  <a:lnTo>
                    <a:pt x="44" y="186"/>
                  </a:lnTo>
                  <a:lnTo>
                    <a:pt x="46" y="186"/>
                  </a:lnTo>
                  <a:lnTo>
                    <a:pt x="50" y="186"/>
                  </a:lnTo>
                  <a:lnTo>
                    <a:pt x="52" y="186"/>
                  </a:lnTo>
                  <a:lnTo>
                    <a:pt x="52" y="186"/>
                  </a:lnTo>
                  <a:lnTo>
                    <a:pt x="54" y="186"/>
                  </a:lnTo>
                  <a:lnTo>
                    <a:pt x="56" y="188"/>
                  </a:lnTo>
                  <a:lnTo>
                    <a:pt x="56" y="188"/>
                  </a:lnTo>
                  <a:lnTo>
                    <a:pt x="58" y="190"/>
                  </a:lnTo>
                  <a:lnTo>
                    <a:pt x="60" y="192"/>
                  </a:lnTo>
                  <a:lnTo>
                    <a:pt x="62" y="194"/>
                  </a:lnTo>
                  <a:lnTo>
                    <a:pt x="64" y="196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202"/>
                  </a:lnTo>
                  <a:lnTo>
                    <a:pt x="66" y="202"/>
                  </a:lnTo>
                  <a:lnTo>
                    <a:pt x="64" y="204"/>
                  </a:lnTo>
                  <a:lnTo>
                    <a:pt x="64" y="204"/>
                  </a:lnTo>
                  <a:lnTo>
                    <a:pt x="62" y="204"/>
                  </a:lnTo>
                  <a:lnTo>
                    <a:pt x="62" y="206"/>
                  </a:lnTo>
                  <a:lnTo>
                    <a:pt x="60" y="206"/>
                  </a:lnTo>
                  <a:lnTo>
                    <a:pt x="58" y="206"/>
                  </a:lnTo>
                  <a:lnTo>
                    <a:pt x="56" y="206"/>
                  </a:lnTo>
                  <a:lnTo>
                    <a:pt x="52" y="206"/>
                  </a:lnTo>
                  <a:lnTo>
                    <a:pt x="48" y="208"/>
                  </a:lnTo>
                  <a:lnTo>
                    <a:pt x="44" y="208"/>
                  </a:lnTo>
                  <a:lnTo>
                    <a:pt x="42" y="208"/>
                  </a:lnTo>
                  <a:lnTo>
                    <a:pt x="42" y="208"/>
                  </a:lnTo>
                  <a:lnTo>
                    <a:pt x="40" y="208"/>
                  </a:lnTo>
                  <a:lnTo>
                    <a:pt x="36" y="208"/>
                  </a:lnTo>
                  <a:lnTo>
                    <a:pt x="34" y="208"/>
                  </a:lnTo>
                  <a:lnTo>
                    <a:pt x="30" y="208"/>
                  </a:lnTo>
                  <a:lnTo>
                    <a:pt x="26" y="208"/>
                  </a:lnTo>
                  <a:lnTo>
                    <a:pt x="24" y="208"/>
                  </a:lnTo>
                  <a:lnTo>
                    <a:pt x="24" y="208"/>
                  </a:lnTo>
                  <a:lnTo>
                    <a:pt x="22" y="208"/>
                  </a:lnTo>
                  <a:lnTo>
                    <a:pt x="20" y="208"/>
                  </a:lnTo>
                  <a:lnTo>
                    <a:pt x="20" y="210"/>
                  </a:lnTo>
                  <a:lnTo>
                    <a:pt x="20" y="210"/>
                  </a:lnTo>
                  <a:lnTo>
                    <a:pt x="20" y="210"/>
                  </a:lnTo>
                  <a:lnTo>
                    <a:pt x="20" y="212"/>
                  </a:lnTo>
                  <a:lnTo>
                    <a:pt x="20" y="212"/>
                  </a:lnTo>
                  <a:lnTo>
                    <a:pt x="20" y="212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2" y="218"/>
                  </a:lnTo>
                  <a:lnTo>
                    <a:pt x="24" y="220"/>
                  </a:lnTo>
                  <a:lnTo>
                    <a:pt x="28" y="222"/>
                  </a:lnTo>
                  <a:lnTo>
                    <a:pt x="30" y="224"/>
                  </a:lnTo>
                  <a:lnTo>
                    <a:pt x="32" y="226"/>
                  </a:lnTo>
                  <a:lnTo>
                    <a:pt x="36" y="226"/>
                  </a:lnTo>
                  <a:lnTo>
                    <a:pt x="38" y="228"/>
                  </a:lnTo>
                  <a:lnTo>
                    <a:pt x="42" y="230"/>
                  </a:lnTo>
                  <a:lnTo>
                    <a:pt x="44" y="232"/>
                  </a:lnTo>
                  <a:lnTo>
                    <a:pt x="50" y="234"/>
                  </a:lnTo>
                  <a:lnTo>
                    <a:pt x="56" y="236"/>
                  </a:lnTo>
                  <a:lnTo>
                    <a:pt x="58" y="236"/>
                  </a:lnTo>
                  <a:lnTo>
                    <a:pt x="60" y="236"/>
                  </a:lnTo>
                  <a:lnTo>
                    <a:pt x="62" y="236"/>
                  </a:lnTo>
                  <a:lnTo>
                    <a:pt x="64" y="236"/>
                  </a:lnTo>
                  <a:lnTo>
                    <a:pt x="66" y="236"/>
                  </a:lnTo>
                  <a:lnTo>
                    <a:pt x="70" y="236"/>
                  </a:lnTo>
                  <a:lnTo>
                    <a:pt x="74" y="236"/>
                  </a:lnTo>
                  <a:lnTo>
                    <a:pt x="80" y="236"/>
                  </a:lnTo>
                  <a:lnTo>
                    <a:pt x="86" y="236"/>
                  </a:lnTo>
                  <a:lnTo>
                    <a:pt x="100" y="234"/>
                  </a:lnTo>
                  <a:lnTo>
                    <a:pt x="106" y="234"/>
                  </a:lnTo>
                  <a:lnTo>
                    <a:pt x="112" y="234"/>
                  </a:lnTo>
                  <a:lnTo>
                    <a:pt x="118" y="232"/>
                  </a:lnTo>
                  <a:lnTo>
                    <a:pt x="124" y="232"/>
                  </a:lnTo>
                  <a:lnTo>
                    <a:pt x="130" y="232"/>
                  </a:lnTo>
                  <a:lnTo>
                    <a:pt x="132" y="232"/>
                  </a:lnTo>
                  <a:lnTo>
                    <a:pt x="134" y="232"/>
                  </a:lnTo>
                  <a:lnTo>
                    <a:pt x="136" y="234"/>
                  </a:lnTo>
                  <a:lnTo>
                    <a:pt x="140" y="234"/>
                  </a:lnTo>
                  <a:lnTo>
                    <a:pt x="142" y="234"/>
                  </a:lnTo>
                  <a:lnTo>
                    <a:pt x="144" y="236"/>
                  </a:lnTo>
                  <a:lnTo>
                    <a:pt x="144" y="236"/>
                  </a:lnTo>
                  <a:lnTo>
                    <a:pt x="146" y="236"/>
                  </a:lnTo>
                  <a:lnTo>
                    <a:pt x="148" y="238"/>
                  </a:lnTo>
                  <a:lnTo>
                    <a:pt x="150" y="240"/>
                  </a:lnTo>
                  <a:lnTo>
                    <a:pt x="152" y="242"/>
                  </a:lnTo>
                  <a:lnTo>
                    <a:pt x="156" y="246"/>
                  </a:lnTo>
                  <a:lnTo>
                    <a:pt x="158" y="250"/>
                  </a:lnTo>
                  <a:lnTo>
                    <a:pt x="162" y="254"/>
                  </a:lnTo>
                  <a:lnTo>
                    <a:pt x="164" y="258"/>
                  </a:lnTo>
                  <a:lnTo>
                    <a:pt x="166" y="260"/>
                  </a:lnTo>
                  <a:lnTo>
                    <a:pt x="166" y="262"/>
                  </a:lnTo>
                  <a:lnTo>
                    <a:pt x="168" y="264"/>
                  </a:lnTo>
                  <a:lnTo>
                    <a:pt x="170" y="270"/>
                  </a:lnTo>
                  <a:lnTo>
                    <a:pt x="172" y="274"/>
                  </a:lnTo>
                  <a:lnTo>
                    <a:pt x="174" y="280"/>
                  </a:lnTo>
                  <a:lnTo>
                    <a:pt x="176" y="286"/>
                  </a:lnTo>
                  <a:lnTo>
                    <a:pt x="178" y="292"/>
                  </a:lnTo>
                  <a:lnTo>
                    <a:pt x="182" y="300"/>
                  </a:lnTo>
                  <a:lnTo>
                    <a:pt x="182" y="304"/>
                  </a:lnTo>
                  <a:lnTo>
                    <a:pt x="184" y="310"/>
                  </a:lnTo>
                  <a:lnTo>
                    <a:pt x="186" y="320"/>
                  </a:lnTo>
                  <a:lnTo>
                    <a:pt x="188" y="332"/>
                  </a:lnTo>
                  <a:lnTo>
                    <a:pt x="188" y="340"/>
                  </a:lnTo>
                  <a:lnTo>
                    <a:pt x="188" y="344"/>
                  </a:lnTo>
                  <a:lnTo>
                    <a:pt x="188" y="346"/>
                  </a:lnTo>
                  <a:lnTo>
                    <a:pt x="188" y="350"/>
                  </a:lnTo>
                  <a:lnTo>
                    <a:pt x="188" y="354"/>
                  </a:lnTo>
                  <a:lnTo>
                    <a:pt x="188" y="354"/>
                  </a:lnTo>
                  <a:lnTo>
                    <a:pt x="190" y="356"/>
                  </a:lnTo>
                  <a:lnTo>
                    <a:pt x="190" y="356"/>
                  </a:lnTo>
                  <a:lnTo>
                    <a:pt x="190" y="358"/>
                  </a:lnTo>
                  <a:lnTo>
                    <a:pt x="190" y="358"/>
                  </a:lnTo>
                  <a:lnTo>
                    <a:pt x="192" y="358"/>
                  </a:lnTo>
                  <a:lnTo>
                    <a:pt x="192" y="358"/>
                  </a:lnTo>
                  <a:lnTo>
                    <a:pt x="192" y="358"/>
                  </a:lnTo>
                  <a:lnTo>
                    <a:pt x="194" y="358"/>
                  </a:lnTo>
                  <a:lnTo>
                    <a:pt x="194" y="358"/>
                  </a:lnTo>
                  <a:lnTo>
                    <a:pt x="196" y="358"/>
                  </a:lnTo>
                  <a:lnTo>
                    <a:pt x="196" y="358"/>
                  </a:lnTo>
                  <a:lnTo>
                    <a:pt x="198" y="356"/>
                  </a:lnTo>
                  <a:lnTo>
                    <a:pt x="202" y="354"/>
                  </a:lnTo>
                  <a:lnTo>
                    <a:pt x="204" y="352"/>
                  </a:lnTo>
                  <a:lnTo>
                    <a:pt x="206" y="350"/>
                  </a:lnTo>
                  <a:lnTo>
                    <a:pt x="206" y="350"/>
                  </a:lnTo>
                  <a:lnTo>
                    <a:pt x="208" y="350"/>
                  </a:lnTo>
                  <a:lnTo>
                    <a:pt x="210" y="348"/>
                  </a:lnTo>
                  <a:lnTo>
                    <a:pt x="210" y="348"/>
                  </a:lnTo>
                  <a:lnTo>
                    <a:pt x="210" y="348"/>
                  </a:lnTo>
                  <a:lnTo>
                    <a:pt x="212" y="348"/>
                  </a:lnTo>
                  <a:lnTo>
                    <a:pt x="212" y="350"/>
                  </a:lnTo>
                  <a:lnTo>
                    <a:pt x="214" y="350"/>
                  </a:lnTo>
                  <a:lnTo>
                    <a:pt x="214" y="352"/>
                  </a:lnTo>
                  <a:lnTo>
                    <a:pt x="216" y="352"/>
                  </a:lnTo>
                  <a:lnTo>
                    <a:pt x="216" y="354"/>
                  </a:lnTo>
                  <a:lnTo>
                    <a:pt x="218" y="356"/>
                  </a:lnTo>
                  <a:lnTo>
                    <a:pt x="218" y="356"/>
                  </a:lnTo>
                  <a:lnTo>
                    <a:pt x="218" y="358"/>
                  </a:lnTo>
                  <a:lnTo>
                    <a:pt x="220" y="360"/>
                  </a:lnTo>
                  <a:lnTo>
                    <a:pt x="220" y="362"/>
                  </a:lnTo>
                  <a:lnTo>
                    <a:pt x="220" y="364"/>
                  </a:lnTo>
                  <a:lnTo>
                    <a:pt x="220" y="366"/>
                  </a:lnTo>
                  <a:lnTo>
                    <a:pt x="220" y="368"/>
                  </a:lnTo>
                  <a:lnTo>
                    <a:pt x="220" y="368"/>
                  </a:lnTo>
                  <a:lnTo>
                    <a:pt x="220" y="370"/>
                  </a:lnTo>
                  <a:lnTo>
                    <a:pt x="220" y="370"/>
                  </a:lnTo>
                  <a:lnTo>
                    <a:pt x="220" y="372"/>
                  </a:lnTo>
                  <a:lnTo>
                    <a:pt x="220" y="372"/>
                  </a:lnTo>
                  <a:lnTo>
                    <a:pt x="218" y="372"/>
                  </a:lnTo>
                  <a:lnTo>
                    <a:pt x="218" y="372"/>
                  </a:lnTo>
                  <a:lnTo>
                    <a:pt x="216" y="374"/>
                  </a:lnTo>
                  <a:lnTo>
                    <a:pt x="214" y="374"/>
                  </a:lnTo>
                  <a:lnTo>
                    <a:pt x="212" y="374"/>
                  </a:lnTo>
                  <a:lnTo>
                    <a:pt x="210" y="374"/>
                  </a:lnTo>
                  <a:lnTo>
                    <a:pt x="206" y="376"/>
                  </a:lnTo>
                  <a:lnTo>
                    <a:pt x="202" y="376"/>
                  </a:lnTo>
                  <a:lnTo>
                    <a:pt x="200" y="376"/>
                  </a:lnTo>
                  <a:lnTo>
                    <a:pt x="198" y="376"/>
                  </a:lnTo>
                  <a:lnTo>
                    <a:pt x="196" y="376"/>
                  </a:lnTo>
                  <a:lnTo>
                    <a:pt x="196" y="378"/>
                  </a:lnTo>
                  <a:lnTo>
                    <a:pt x="194" y="378"/>
                  </a:lnTo>
                  <a:lnTo>
                    <a:pt x="194" y="378"/>
                  </a:lnTo>
                  <a:lnTo>
                    <a:pt x="194" y="380"/>
                  </a:lnTo>
                  <a:lnTo>
                    <a:pt x="194" y="380"/>
                  </a:lnTo>
                  <a:lnTo>
                    <a:pt x="194" y="380"/>
                  </a:lnTo>
                  <a:lnTo>
                    <a:pt x="194" y="382"/>
                  </a:lnTo>
                  <a:lnTo>
                    <a:pt x="194" y="382"/>
                  </a:lnTo>
                  <a:lnTo>
                    <a:pt x="196" y="382"/>
                  </a:lnTo>
                  <a:lnTo>
                    <a:pt x="196" y="384"/>
                  </a:lnTo>
                  <a:lnTo>
                    <a:pt x="196" y="384"/>
                  </a:lnTo>
                  <a:lnTo>
                    <a:pt x="198" y="384"/>
                  </a:lnTo>
                  <a:lnTo>
                    <a:pt x="202" y="386"/>
                  </a:lnTo>
                  <a:lnTo>
                    <a:pt x="204" y="386"/>
                  </a:lnTo>
                  <a:lnTo>
                    <a:pt x="210" y="388"/>
                  </a:lnTo>
                  <a:lnTo>
                    <a:pt x="216" y="388"/>
                  </a:lnTo>
                  <a:lnTo>
                    <a:pt x="218" y="388"/>
                  </a:lnTo>
                  <a:lnTo>
                    <a:pt x="222" y="390"/>
                  </a:lnTo>
                  <a:lnTo>
                    <a:pt x="224" y="390"/>
                  </a:lnTo>
                  <a:lnTo>
                    <a:pt x="226" y="392"/>
                  </a:lnTo>
                  <a:lnTo>
                    <a:pt x="228" y="392"/>
                  </a:lnTo>
                  <a:lnTo>
                    <a:pt x="228" y="392"/>
                  </a:lnTo>
                  <a:lnTo>
                    <a:pt x="228" y="394"/>
                  </a:lnTo>
                  <a:lnTo>
                    <a:pt x="228" y="394"/>
                  </a:lnTo>
                  <a:lnTo>
                    <a:pt x="230" y="396"/>
                  </a:lnTo>
                  <a:lnTo>
                    <a:pt x="230" y="398"/>
                  </a:lnTo>
                  <a:lnTo>
                    <a:pt x="230" y="398"/>
                  </a:lnTo>
                  <a:lnTo>
                    <a:pt x="230" y="400"/>
                  </a:lnTo>
                  <a:lnTo>
                    <a:pt x="230" y="402"/>
                  </a:lnTo>
                  <a:lnTo>
                    <a:pt x="230" y="404"/>
                  </a:lnTo>
                  <a:lnTo>
                    <a:pt x="230" y="408"/>
                  </a:lnTo>
                  <a:lnTo>
                    <a:pt x="230" y="410"/>
                  </a:lnTo>
                  <a:lnTo>
                    <a:pt x="228" y="414"/>
                  </a:lnTo>
                  <a:lnTo>
                    <a:pt x="228" y="418"/>
                  </a:lnTo>
                  <a:lnTo>
                    <a:pt x="226" y="420"/>
                  </a:lnTo>
                  <a:lnTo>
                    <a:pt x="226" y="422"/>
                  </a:lnTo>
                  <a:lnTo>
                    <a:pt x="224" y="422"/>
                  </a:lnTo>
                  <a:lnTo>
                    <a:pt x="224" y="424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0" y="428"/>
                  </a:lnTo>
                  <a:lnTo>
                    <a:pt x="218" y="428"/>
                  </a:lnTo>
                  <a:lnTo>
                    <a:pt x="214" y="430"/>
                  </a:lnTo>
                  <a:lnTo>
                    <a:pt x="210" y="432"/>
                  </a:lnTo>
                  <a:lnTo>
                    <a:pt x="206" y="434"/>
                  </a:lnTo>
                  <a:lnTo>
                    <a:pt x="202" y="436"/>
                  </a:lnTo>
                  <a:lnTo>
                    <a:pt x="200" y="436"/>
                  </a:lnTo>
                  <a:lnTo>
                    <a:pt x="198" y="438"/>
                  </a:lnTo>
                  <a:lnTo>
                    <a:pt x="198" y="438"/>
                  </a:lnTo>
                  <a:lnTo>
                    <a:pt x="196" y="440"/>
                  </a:lnTo>
                  <a:lnTo>
                    <a:pt x="196" y="440"/>
                  </a:lnTo>
                  <a:lnTo>
                    <a:pt x="194" y="442"/>
                  </a:lnTo>
                  <a:lnTo>
                    <a:pt x="194" y="444"/>
                  </a:lnTo>
                  <a:lnTo>
                    <a:pt x="192" y="446"/>
                  </a:lnTo>
                  <a:lnTo>
                    <a:pt x="190" y="450"/>
                  </a:lnTo>
                  <a:lnTo>
                    <a:pt x="190" y="454"/>
                  </a:lnTo>
                  <a:lnTo>
                    <a:pt x="190" y="456"/>
                  </a:lnTo>
                  <a:lnTo>
                    <a:pt x="188" y="460"/>
                  </a:lnTo>
                  <a:lnTo>
                    <a:pt x="188" y="462"/>
                  </a:lnTo>
                  <a:lnTo>
                    <a:pt x="188" y="464"/>
                  </a:lnTo>
                  <a:lnTo>
                    <a:pt x="188" y="466"/>
                  </a:lnTo>
                  <a:lnTo>
                    <a:pt x="190" y="470"/>
                  </a:lnTo>
                  <a:lnTo>
                    <a:pt x="190" y="472"/>
                  </a:lnTo>
                  <a:lnTo>
                    <a:pt x="192" y="478"/>
                  </a:lnTo>
                  <a:lnTo>
                    <a:pt x="194" y="486"/>
                  </a:lnTo>
                  <a:lnTo>
                    <a:pt x="196" y="492"/>
                  </a:lnTo>
                  <a:lnTo>
                    <a:pt x="198" y="498"/>
                  </a:lnTo>
                  <a:lnTo>
                    <a:pt x="200" y="502"/>
                  </a:lnTo>
                  <a:lnTo>
                    <a:pt x="202" y="508"/>
                  </a:lnTo>
                  <a:lnTo>
                    <a:pt x="204" y="518"/>
                  </a:lnTo>
                  <a:lnTo>
                    <a:pt x="210" y="532"/>
                  </a:lnTo>
                  <a:lnTo>
                    <a:pt x="214" y="544"/>
                  </a:lnTo>
                  <a:lnTo>
                    <a:pt x="216" y="550"/>
                  </a:lnTo>
                  <a:lnTo>
                    <a:pt x="218" y="556"/>
                  </a:lnTo>
                  <a:lnTo>
                    <a:pt x="220" y="560"/>
                  </a:lnTo>
                  <a:lnTo>
                    <a:pt x="224" y="566"/>
                  </a:lnTo>
                  <a:lnTo>
                    <a:pt x="226" y="572"/>
                  </a:lnTo>
                  <a:lnTo>
                    <a:pt x="228" y="580"/>
                  </a:lnTo>
                  <a:lnTo>
                    <a:pt x="230" y="582"/>
                  </a:lnTo>
                  <a:lnTo>
                    <a:pt x="232" y="586"/>
                  </a:lnTo>
                  <a:lnTo>
                    <a:pt x="232" y="590"/>
                  </a:lnTo>
                  <a:lnTo>
                    <a:pt x="234" y="592"/>
                  </a:lnTo>
                  <a:lnTo>
                    <a:pt x="236" y="594"/>
                  </a:lnTo>
                  <a:lnTo>
                    <a:pt x="238" y="598"/>
                  </a:lnTo>
                  <a:lnTo>
                    <a:pt x="240" y="600"/>
                  </a:lnTo>
                  <a:lnTo>
                    <a:pt x="242" y="600"/>
                  </a:lnTo>
                  <a:lnTo>
                    <a:pt x="242" y="602"/>
                  </a:lnTo>
                  <a:lnTo>
                    <a:pt x="244" y="602"/>
                  </a:lnTo>
                  <a:lnTo>
                    <a:pt x="246" y="602"/>
                  </a:lnTo>
                  <a:lnTo>
                    <a:pt x="246" y="602"/>
                  </a:lnTo>
                  <a:lnTo>
                    <a:pt x="250" y="604"/>
                  </a:lnTo>
                  <a:lnTo>
                    <a:pt x="254" y="604"/>
                  </a:lnTo>
                  <a:lnTo>
                    <a:pt x="258" y="604"/>
                  </a:lnTo>
                  <a:lnTo>
                    <a:pt x="262" y="604"/>
                  </a:lnTo>
                  <a:lnTo>
                    <a:pt x="262" y="604"/>
                  </a:lnTo>
                  <a:lnTo>
                    <a:pt x="264" y="604"/>
                  </a:lnTo>
                  <a:lnTo>
                    <a:pt x="266" y="606"/>
                  </a:lnTo>
                  <a:lnTo>
                    <a:pt x="266" y="606"/>
                  </a:lnTo>
                  <a:lnTo>
                    <a:pt x="268" y="606"/>
                  </a:lnTo>
                  <a:lnTo>
                    <a:pt x="268" y="608"/>
                  </a:lnTo>
                  <a:lnTo>
                    <a:pt x="270" y="608"/>
                  </a:lnTo>
                  <a:lnTo>
                    <a:pt x="270" y="610"/>
                  </a:lnTo>
                  <a:lnTo>
                    <a:pt x="272" y="614"/>
                  </a:lnTo>
                  <a:lnTo>
                    <a:pt x="272" y="616"/>
                  </a:lnTo>
                  <a:lnTo>
                    <a:pt x="274" y="620"/>
                  </a:lnTo>
                  <a:lnTo>
                    <a:pt x="276" y="622"/>
                  </a:lnTo>
                  <a:lnTo>
                    <a:pt x="276" y="624"/>
                  </a:lnTo>
                  <a:lnTo>
                    <a:pt x="278" y="624"/>
                  </a:lnTo>
                  <a:lnTo>
                    <a:pt x="278" y="626"/>
                  </a:lnTo>
                  <a:lnTo>
                    <a:pt x="280" y="626"/>
                  </a:lnTo>
                  <a:lnTo>
                    <a:pt x="280" y="626"/>
                  </a:lnTo>
                  <a:lnTo>
                    <a:pt x="282" y="626"/>
                  </a:lnTo>
                  <a:lnTo>
                    <a:pt x="284" y="626"/>
                  </a:lnTo>
                  <a:lnTo>
                    <a:pt x="284" y="626"/>
                  </a:lnTo>
                  <a:lnTo>
                    <a:pt x="288" y="626"/>
                  </a:lnTo>
                  <a:lnTo>
                    <a:pt x="290" y="626"/>
                  </a:lnTo>
                  <a:lnTo>
                    <a:pt x="294" y="624"/>
                  </a:lnTo>
                  <a:lnTo>
                    <a:pt x="298" y="624"/>
                  </a:lnTo>
                  <a:lnTo>
                    <a:pt x="300" y="622"/>
                  </a:lnTo>
                  <a:lnTo>
                    <a:pt x="302" y="622"/>
                  </a:lnTo>
                  <a:lnTo>
                    <a:pt x="302" y="620"/>
                  </a:lnTo>
                  <a:lnTo>
                    <a:pt x="304" y="620"/>
                  </a:lnTo>
                  <a:lnTo>
                    <a:pt x="304" y="618"/>
                  </a:lnTo>
                  <a:lnTo>
                    <a:pt x="306" y="618"/>
                  </a:lnTo>
                  <a:lnTo>
                    <a:pt x="306" y="616"/>
                  </a:lnTo>
                  <a:lnTo>
                    <a:pt x="308" y="612"/>
                  </a:lnTo>
                  <a:lnTo>
                    <a:pt x="310" y="608"/>
                  </a:lnTo>
                  <a:lnTo>
                    <a:pt x="312" y="604"/>
                  </a:lnTo>
                  <a:lnTo>
                    <a:pt x="314" y="600"/>
                  </a:lnTo>
                  <a:lnTo>
                    <a:pt x="314" y="596"/>
                  </a:lnTo>
                  <a:lnTo>
                    <a:pt x="316" y="590"/>
                  </a:lnTo>
                  <a:lnTo>
                    <a:pt x="318" y="582"/>
                  </a:lnTo>
                  <a:lnTo>
                    <a:pt x="322" y="572"/>
                  </a:lnTo>
                  <a:lnTo>
                    <a:pt x="322" y="568"/>
                  </a:lnTo>
                  <a:lnTo>
                    <a:pt x="324" y="564"/>
                  </a:lnTo>
                  <a:lnTo>
                    <a:pt x="326" y="560"/>
                  </a:lnTo>
                  <a:lnTo>
                    <a:pt x="328" y="558"/>
                  </a:lnTo>
                  <a:lnTo>
                    <a:pt x="328" y="556"/>
                  </a:lnTo>
                  <a:lnTo>
                    <a:pt x="328" y="556"/>
                  </a:lnTo>
                  <a:lnTo>
                    <a:pt x="330" y="552"/>
                  </a:lnTo>
                  <a:lnTo>
                    <a:pt x="336" y="546"/>
                  </a:lnTo>
                  <a:lnTo>
                    <a:pt x="340" y="544"/>
                  </a:lnTo>
                  <a:lnTo>
                    <a:pt x="342" y="540"/>
                  </a:lnTo>
                  <a:lnTo>
                    <a:pt x="344" y="538"/>
                  </a:lnTo>
                  <a:lnTo>
                    <a:pt x="344" y="536"/>
                  </a:lnTo>
                  <a:lnTo>
                    <a:pt x="344" y="536"/>
                  </a:lnTo>
                  <a:lnTo>
                    <a:pt x="346" y="534"/>
                  </a:lnTo>
                  <a:lnTo>
                    <a:pt x="346" y="532"/>
                  </a:lnTo>
                  <a:lnTo>
                    <a:pt x="346" y="530"/>
                  </a:lnTo>
                  <a:lnTo>
                    <a:pt x="346" y="528"/>
                  </a:lnTo>
                  <a:lnTo>
                    <a:pt x="346" y="524"/>
                  </a:lnTo>
                  <a:lnTo>
                    <a:pt x="346" y="518"/>
                  </a:lnTo>
                  <a:lnTo>
                    <a:pt x="346" y="514"/>
                  </a:lnTo>
                  <a:lnTo>
                    <a:pt x="346" y="512"/>
                  </a:lnTo>
                  <a:lnTo>
                    <a:pt x="346" y="510"/>
                  </a:lnTo>
                  <a:lnTo>
                    <a:pt x="346" y="508"/>
                  </a:lnTo>
                  <a:lnTo>
                    <a:pt x="346" y="506"/>
                  </a:lnTo>
                  <a:lnTo>
                    <a:pt x="346" y="504"/>
                  </a:lnTo>
                  <a:lnTo>
                    <a:pt x="348" y="502"/>
                  </a:lnTo>
                  <a:lnTo>
                    <a:pt x="348" y="502"/>
                  </a:lnTo>
                  <a:lnTo>
                    <a:pt x="348" y="500"/>
                  </a:lnTo>
                  <a:lnTo>
                    <a:pt x="350" y="500"/>
                  </a:lnTo>
                  <a:lnTo>
                    <a:pt x="352" y="498"/>
                  </a:lnTo>
                  <a:lnTo>
                    <a:pt x="356" y="498"/>
                  </a:lnTo>
                  <a:lnTo>
                    <a:pt x="358" y="496"/>
                  </a:lnTo>
                  <a:lnTo>
                    <a:pt x="362" y="496"/>
                  </a:lnTo>
                  <a:lnTo>
                    <a:pt x="364" y="496"/>
                  </a:lnTo>
                  <a:lnTo>
                    <a:pt x="368" y="496"/>
                  </a:lnTo>
                  <a:lnTo>
                    <a:pt x="374" y="494"/>
                  </a:lnTo>
                  <a:lnTo>
                    <a:pt x="380" y="494"/>
                  </a:lnTo>
                  <a:lnTo>
                    <a:pt x="386" y="494"/>
                  </a:lnTo>
                  <a:lnTo>
                    <a:pt x="388" y="492"/>
                  </a:lnTo>
                  <a:lnTo>
                    <a:pt x="390" y="492"/>
                  </a:lnTo>
                  <a:lnTo>
                    <a:pt x="392" y="492"/>
                  </a:lnTo>
                  <a:lnTo>
                    <a:pt x="396" y="492"/>
                  </a:lnTo>
                  <a:lnTo>
                    <a:pt x="400" y="490"/>
                  </a:lnTo>
                  <a:lnTo>
                    <a:pt x="408" y="490"/>
                  </a:lnTo>
                  <a:lnTo>
                    <a:pt x="414" y="488"/>
                  </a:lnTo>
                  <a:lnTo>
                    <a:pt x="420" y="488"/>
                  </a:lnTo>
                  <a:lnTo>
                    <a:pt x="424" y="488"/>
                  </a:lnTo>
                  <a:lnTo>
                    <a:pt x="426" y="486"/>
                  </a:lnTo>
                  <a:lnTo>
                    <a:pt x="428" y="486"/>
                  </a:lnTo>
                  <a:lnTo>
                    <a:pt x="432" y="484"/>
                  </a:lnTo>
                  <a:lnTo>
                    <a:pt x="434" y="484"/>
                  </a:lnTo>
                  <a:lnTo>
                    <a:pt x="436" y="482"/>
                  </a:lnTo>
                  <a:lnTo>
                    <a:pt x="436" y="482"/>
                  </a:lnTo>
                  <a:lnTo>
                    <a:pt x="438" y="480"/>
                  </a:lnTo>
                  <a:lnTo>
                    <a:pt x="438" y="480"/>
                  </a:lnTo>
                  <a:lnTo>
                    <a:pt x="438" y="478"/>
                  </a:lnTo>
                  <a:lnTo>
                    <a:pt x="440" y="476"/>
                  </a:lnTo>
                  <a:lnTo>
                    <a:pt x="442" y="472"/>
                  </a:lnTo>
                  <a:lnTo>
                    <a:pt x="442" y="470"/>
                  </a:lnTo>
                  <a:lnTo>
                    <a:pt x="444" y="466"/>
                  </a:lnTo>
                  <a:lnTo>
                    <a:pt x="446" y="458"/>
                  </a:lnTo>
                  <a:lnTo>
                    <a:pt x="448" y="452"/>
                  </a:lnTo>
                  <a:lnTo>
                    <a:pt x="450" y="448"/>
                  </a:lnTo>
                  <a:lnTo>
                    <a:pt x="452" y="446"/>
                  </a:lnTo>
                  <a:lnTo>
                    <a:pt x="452" y="442"/>
                  </a:lnTo>
                  <a:lnTo>
                    <a:pt x="454" y="440"/>
                  </a:lnTo>
                  <a:lnTo>
                    <a:pt x="456" y="440"/>
                  </a:lnTo>
                  <a:lnTo>
                    <a:pt x="456" y="438"/>
                  </a:lnTo>
                  <a:lnTo>
                    <a:pt x="458" y="438"/>
                  </a:lnTo>
                  <a:lnTo>
                    <a:pt x="458" y="436"/>
                  </a:lnTo>
                  <a:lnTo>
                    <a:pt x="460" y="436"/>
                  </a:lnTo>
                  <a:lnTo>
                    <a:pt x="460" y="436"/>
                  </a:lnTo>
                  <a:lnTo>
                    <a:pt x="462" y="436"/>
                  </a:lnTo>
                  <a:lnTo>
                    <a:pt x="464" y="436"/>
                  </a:lnTo>
                  <a:lnTo>
                    <a:pt x="464" y="436"/>
                  </a:lnTo>
                  <a:lnTo>
                    <a:pt x="466" y="436"/>
                  </a:lnTo>
                  <a:lnTo>
                    <a:pt x="470" y="436"/>
                  </a:lnTo>
                  <a:lnTo>
                    <a:pt x="474" y="436"/>
                  </a:lnTo>
                  <a:lnTo>
                    <a:pt x="478" y="436"/>
                  </a:lnTo>
                  <a:lnTo>
                    <a:pt x="482" y="438"/>
                  </a:lnTo>
                  <a:lnTo>
                    <a:pt x="486" y="438"/>
                  </a:lnTo>
                  <a:lnTo>
                    <a:pt x="494" y="440"/>
                  </a:lnTo>
                  <a:lnTo>
                    <a:pt x="498" y="440"/>
                  </a:lnTo>
                  <a:lnTo>
                    <a:pt x="500" y="442"/>
                  </a:lnTo>
                  <a:lnTo>
                    <a:pt x="504" y="442"/>
                  </a:lnTo>
                  <a:lnTo>
                    <a:pt x="508" y="442"/>
                  </a:lnTo>
                  <a:lnTo>
                    <a:pt x="510" y="442"/>
                  </a:lnTo>
                  <a:lnTo>
                    <a:pt x="512" y="442"/>
                  </a:lnTo>
                  <a:lnTo>
                    <a:pt x="514" y="442"/>
                  </a:lnTo>
                  <a:lnTo>
                    <a:pt x="516" y="442"/>
                  </a:lnTo>
                  <a:lnTo>
                    <a:pt x="520" y="440"/>
                  </a:lnTo>
                  <a:lnTo>
                    <a:pt x="522" y="438"/>
                  </a:lnTo>
                  <a:lnTo>
                    <a:pt x="526" y="436"/>
                  </a:lnTo>
                  <a:lnTo>
                    <a:pt x="528" y="434"/>
                  </a:lnTo>
                  <a:lnTo>
                    <a:pt x="532" y="432"/>
                  </a:lnTo>
                  <a:lnTo>
                    <a:pt x="536" y="430"/>
                  </a:lnTo>
                  <a:lnTo>
                    <a:pt x="538" y="428"/>
                  </a:lnTo>
                  <a:lnTo>
                    <a:pt x="546" y="422"/>
                  </a:lnTo>
                  <a:lnTo>
                    <a:pt x="552" y="418"/>
                  </a:lnTo>
                  <a:lnTo>
                    <a:pt x="556" y="414"/>
                  </a:lnTo>
                  <a:lnTo>
                    <a:pt x="562" y="410"/>
                  </a:lnTo>
                  <a:lnTo>
                    <a:pt x="564" y="406"/>
                  </a:lnTo>
                  <a:lnTo>
                    <a:pt x="568" y="404"/>
                  </a:lnTo>
                  <a:lnTo>
                    <a:pt x="572" y="400"/>
                  </a:lnTo>
                  <a:lnTo>
                    <a:pt x="576" y="398"/>
                  </a:lnTo>
                  <a:lnTo>
                    <a:pt x="578" y="396"/>
                  </a:lnTo>
                  <a:lnTo>
                    <a:pt x="580" y="394"/>
                  </a:lnTo>
                  <a:lnTo>
                    <a:pt x="582" y="392"/>
                  </a:lnTo>
                  <a:lnTo>
                    <a:pt x="582" y="390"/>
                  </a:lnTo>
                  <a:lnTo>
                    <a:pt x="584" y="388"/>
                  </a:lnTo>
                  <a:lnTo>
                    <a:pt x="584" y="388"/>
                  </a:lnTo>
                  <a:lnTo>
                    <a:pt x="584" y="386"/>
                  </a:lnTo>
                  <a:lnTo>
                    <a:pt x="584" y="386"/>
                  </a:lnTo>
                  <a:lnTo>
                    <a:pt x="584" y="384"/>
                  </a:lnTo>
                  <a:lnTo>
                    <a:pt x="584" y="384"/>
                  </a:lnTo>
                  <a:lnTo>
                    <a:pt x="584" y="382"/>
                  </a:lnTo>
                  <a:lnTo>
                    <a:pt x="582" y="382"/>
                  </a:lnTo>
                  <a:lnTo>
                    <a:pt x="582" y="380"/>
                  </a:lnTo>
                  <a:lnTo>
                    <a:pt x="580" y="380"/>
                  </a:lnTo>
                  <a:lnTo>
                    <a:pt x="578" y="380"/>
                  </a:lnTo>
                  <a:lnTo>
                    <a:pt x="578" y="380"/>
                  </a:lnTo>
                  <a:lnTo>
                    <a:pt x="574" y="378"/>
                  </a:lnTo>
                  <a:lnTo>
                    <a:pt x="570" y="378"/>
                  </a:lnTo>
                  <a:lnTo>
                    <a:pt x="566" y="378"/>
                  </a:lnTo>
                  <a:lnTo>
                    <a:pt x="562" y="376"/>
                  </a:lnTo>
                  <a:lnTo>
                    <a:pt x="558" y="376"/>
                  </a:lnTo>
                  <a:lnTo>
                    <a:pt x="558" y="376"/>
                  </a:lnTo>
                  <a:lnTo>
                    <a:pt x="556" y="376"/>
                  </a:lnTo>
                  <a:lnTo>
                    <a:pt x="552" y="376"/>
                  </a:lnTo>
                  <a:lnTo>
                    <a:pt x="548" y="376"/>
                  </a:lnTo>
                  <a:lnTo>
                    <a:pt x="542" y="376"/>
                  </a:lnTo>
                  <a:lnTo>
                    <a:pt x="538" y="376"/>
                  </a:lnTo>
                  <a:lnTo>
                    <a:pt x="536" y="376"/>
                  </a:lnTo>
                  <a:lnTo>
                    <a:pt x="534" y="374"/>
                  </a:lnTo>
                  <a:lnTo>
                    <a:pt x="532" y="374"/>
                  </a:lnTo>
                  <a:lnTo>
                    <a:pt x="530" y="374"/>
                  </a:lnTo>
                  <a:lnTo>
                    <a:pt x="530" y="372"/>
                  </a:lnTo>
                  <a:lnTo>
                    <a:pt x="530" y="372"/>
                  </a:lnTo>
                  <a:lnTo>
                    <a:pt x="528" y="372"/>
                  </a:lnTo>
                  <a:lnTo>
                    <a:pt x="528" y="370"/>
                  </a:lnTo>
                  <a:lnTo>
                    <a:pt x="528" y="370"/>
                  </a:lnTo>
                  <a:lnTo>
                    <a:pt x="528" y="368"/>
                  </a:lnTo>
                  <a:lnTo>
                    <a:pt x="528" y="368"/>
                  </a:lnTo>
                  <a:lnTo>
                    <a:pt x="528" y="364"/>
                  </a:lnTo>
                  <a:lnTo>
                    <a:pt x="530" y="362"/>
                  </a:lnTo>
                  <a:lnTo>
                    <a:pt x="530" y="360"/>
                  </a:lnTo>
                  <a:lnTo>
                    <a:pt x="532" y="358"/>
                  </a:lnTo>
                  <a:lnTo>
                    <a:pt x="532" y="356"/>
                  </a:lnTo>
                  <a:lnTo>
                    <a:pt x="534" y="354"/>
                  </a:lnTo>
                  <a:lnTo>
                    <a:pt x="534" y="354"/>
                  </a:lnTo>
                  <a:lnTo>
                    <a:pt x="536" y="352"/>
                  </a:lnTo>
                  <a:lnTo>
                    <a:pt x="538" y="352"/>
                  </a:lnTo>
                  <a:lnTo>
                    <a:pt x="540" y="350"/>
                  </a:lnTo>
                  <a:lnTo>
                    <a:pt x="542" y="350"/>
                  </a:lnTo>
                  <a:lnTo>
                    <a:pt x="544" y="350"/>
                  </a:lnTo>
                  <a:lnTo>
                    <a:pt x="548" y="348"/>
                  </a:lnTo>
                  <a:lnTo>
                    <a:pt x="550" y="348"/>
                  </a:lnTo>
                  <a:lnTo>
                    <a:pt x="552" y="348"/>
                  </a:lnTo>
                  <a:lnTo>
                    <a:pt x="552" y="348"/>
                  </a:lnTo>
                  <a:lnTo>
                    <a:pt x="554" y="350"/>
                  </a:lnTo>
                  <a:lnTo>
                    <a:pt x="554" y="350"/>
                  </a:lnTo>
                  <a:lnTo>
                    <a:pt x="556" y="352"/>
                  </a:lnTo>
                  <a:lnTo>
                    <a:pt x="560" y="352"/>
                  </a:lnTo>
                  <a:lnTo>
                    <a:pt x="562" y="356"/>
                  </a:lnTo>
                  <a:lnTo>
                    <a:pt x="566" y="360"/>
                  </a:lnTo>
                  <a:lnTo>
                    <a:pt x="570" y="362"/>
                  </a:lnTo>
                  <a:lnTo>
                    <a:pt x="572" y="364"/>
                  </a:lnTo>
                  <a:lnTo>
                    <a:pt x="574" y="366"/>
                  </a:lnTo>
                  <a:lnTo>
                    <a:pt x="576" y="366"/>
                  </a:lnTo>
                  <a:lnTo>
                    <a:pt x="578" y="368"/>
                  </a:lnTo>
                  <a:lnTo>
                    <a:pt x="582" y="370"/>
                  </a:lnTo>
                  <a:lnTo>
                    <a:pt x="584" y="372"/>
                  </a:lnTo>
                  <a:lnTo>
                    <a:pt x="586" y="372"/>
                  </a:lnTo>
                  <a:lnTo>
                    <a:pt x="586" y="374"/>
                  </a:lnTo>
                  <a:lnTo>
                    <a:pt x="588" y="374"/>
                  </a:lnTo>
                  <a:lnTo>
                    <a:pt x="590" y="374"/>
                  </a:lnTo>
                  <a:lnTo>
                    <a:pt x="590" y="374"/>
                  </a:lnTo>
                  <a:lnTo>
                    <a:pt x="592" y="374"/>
                  </a:lnTo>
                  <a:lnTo>
                    <a:pt x="592" y="374"/>
                  </a:lnTo>
                  <a:lnTo>
                    <a:pt x="594" y="374"/>
                  </a:lnTo>
                  <a:lnTo>
                    <a:pt x="594" y="372"/>
                  </a:lnTo>
                  <a:lnTo>
                    <a:pt x="596" y="372"/>
                  </a:lnTo>
                  <a:lnTo>
                    <a:pt x="596" y="370"/>
                  </a:lnTo>
                  <a:lnTo>
                    <a:pt x="598" y="368"/>
                  </a:lnTo>
                  <a:lnTo>
                    <a:pt x="600" y="366"/>
                  </a:lnTo>
                  <a:lnTo>
                    <a:pt x="600" y="362"/>
                  </a:lnTo>
                  <a:lnTo>
                    <a:pt x="602" y="360"/>
                  </a:lnTo>
                  <a:lnTo>
                    <a:pt x="602" y="360"/>
                  </a:lnTo>
                  <a:lnTo>
                    <a:pt x="602" y="358"/>
                  </a:lnTo>
                  <a:lnTo>
                    <a:pt x="602" y="358"/>
                  </a:lnTo>
                  <a:lnTo>
                    <a:pt x="602" y="356"/>
                  </a:lnTo>
                  <a:lnTo>
                    <a:pt x="602" y="354"/>
                  </a:lnTo>
                  <a:lnTo>
                    <a:pt x="600" y="352"/>
                  </a:lnTo>
                  <a:lnTo>
                    <a:pt x="600" y="350"/>
                  </a:lnTo>
                  <a:lnTo>
                    <a:pt x="600" y="348"/>
                  </a:lnTo>
                  <a:lnTo>
                    <a:pt x="598" y="346"/>
                  </a:lnTo>
                  <a:lnTo>
                    <a:pt x="596" y="342"/>
                  </a:lnTo>
                  <a:lnTo>
                    <a:pt x="594" y="338"/>
                  </a:lnTo>
                  <a:lnTo>
                    <a:pt x="592" y="336"/>
                  </a:lnTo>
                  <a:lnTo>
                    <a:pt x="590" y="334"/>
                  </a:lnTo>
                  <a:lnTo>
                    <a:pt x="590" y="334"/>
                  </a:lnTo>
                  <a:lnTo>
                    <a:pt x="588" y="332"/>
                  </a:lnTo>
                  <a:lnTo>
                    <a:pt x="586" y="332"/>
                  </a:lnTo>
                  <a:lnTo>
                    <a:pt x="584" y="332"/>
                  </a:lnTo>
                  <a:lnTo>
                    <a:pt x="582" y="330"/>
                  </a:lnTo>
                  <a:lnTo>
                    <a:pt x="578" y="330"/>
                  </a:lnTo>
                  <a:lnTo>
                    <a:pt x="574" y="330"/>
                  </a:lnTo>
                  <a:lnTo>
                    <a:pt x="570" y="328"/>
                  </a:lnTo>
                  <a:lnTo>
                    <a:pt x="568" y="328"/>
                  </a:lnTo>
                  <a:lnTo>
                    <a:pt x="566" y="328"/>
                  </a:lnTo>
                  <a:lnTo>
                    <a:pt x="564" y="326"/>
                  </a:lnTo>
                  <a:lnTo>
                    <a:pt x="564" y="326"/>
                  </a:lnTo>
                  <a:lnTo>
                    <a:pt x="562" y="324"/>
                  </a:lnTo>
                  <a:lnTo>
                    <a:pt x="562" y="324"/>
                  </a:lnTo>
                  <a:lnTo>
                    <a:pt x="560" y="322"/>
                  </a:lnTo>
                  <a:lnTo>
                    <a:pt x="560" y="322"/>
                  </a:lnTo>
                  <a:lnTo>
                    <a:pt x="560" y="320"/>
                  </a:lnTo>
                  <a:lnTo>
                    <a:pt x="560" y="320"/>
                  </a:lnTo>
                  <a:lnTo>
                    <a:pt x="560" y="316"/>
                  </a:lnTo>
                  <a:lnTo>
                    <a:pt x="560" y="314"/>
                  </a:lnTo>
                  <a:lnTo>
                    <a:pt x="562" y="312"/>
                  </a:lnTo>
                  <a:lnTo>
                    <a:pt x="562" y="310"/>
                  </a:lnTo>
                  <a:lnTo>
                    <a:pt x="562" y="308"/>
                  </a:lnTo>
                  <a:lnTo>
                    <a:pt x="562" y="308"/>
                  </a:lnTo>
                  <a:lnTo>
                    <a:pt x="564" y="306"/>
                  </a:lnTo>
                  <a:lnTo>
                    <a:pt x="564" y="306"/>
                  </a:lnTo>
                  <a:lnTo>
                    <a:pt x="564" y="306"/>
                  </a:lnTo>
                  <a:lnTo>
                    <a:pt x="566" y="304"/>
                  </a:lnTo>
                  <a:lnTo>
                    <a:pt x="566" y="304"/>
                  </a:lnTo>
                  <a:lnTo>
                    <a:pt x="568" y="304"/>
                  </a:lnTo>
                  <a:lnTo>
                    <a:pt x="570" y="304"/>
                  </a:lnTo>
                  <a:lnTo>
                    <a:pt x="574" y="304"/>
                  </a:lnTo>
                  <a:lnTo>
                    <a:pt x="576" y="304"/>
                  </a:lnTo>
                  <a:lnTo>
                    <a:pt x="580" y="304"/>
                  </a:lnTo>
                  <a:lnTo>
                    <a:pt x="582" y="306"/>
                  </a:lnTo>
                  <a:lnTo>
                    <a:pt x="584" y="306"/>
                  </a:lnTo>
                  <a:lnTo>
                    <a:pt x="584" y="306"/>
                  </a:lnTo>
                  <a:lnTo>
                    <a:pt x="586" y="306"/>
                  </a:lnTo>
                  <a:lnTo>
                    <a:pt x="586" y="308"/>
                  </a:lnTo>
                  <a:lnTo>
                    <a:pt x="588" y="310"/>
                  </a:lnTo>
                  <a:lnTo>
                    <a:pt x="588" y="312"/>
                  </a:lnTo>
                  <a:lnTo>
                    <a:pt x="590" y="312"/>
                  </a:lnTo>
                  <a:lnTo>
                    <a:pt x="590" y="312"/>
                  </a:lnTo>
                  <a:lnTo>
                    <a:pt x="590" y="314"/>
                  </a:lnTo>
                  <a:lnTo>
                    <a:pt x="592" y="314"/>
                  </a:lnTo>
                  <a:lnTo>
                    <a:pt x="592" y="314"/>
                  </a:lnTo>
                  <a:lnTo>
                    <a:pt x="592" y="314"/>
                  </a:lnTo>
                  <a:lnTo>
                    <a:pt x="592" y="312"/>
                  </a:lnTo>
                  <a:lnTo>
                    <a:pt x="594" y="312"/>
                  </a:lnTo>
                  <a:lnTo>
                    <a:pt x="594" y="312"/>
                  </a:lnTo>
                  <a:lnTo>
                    <a:pt x="594" y="310"/>
                  </a:lnTo>
                  <a:lnTo>
                    <a:pt x="596" y="308"/>
                  </a:lnTo>
                  <a:lnTo>
                    <a:pt x="596" y="306"/>
                  </a:lnTo>
                  <a:lnTo>
                    <a:pt x="598" y="304"/>
                  </a:lnTo>
                  <a:lnTo>
                    <a:pt x="598" y="302"/>
                  </a:lnTo>
                  <a:lnTo>
                    <a:pt x="598" y="302"/>
                  </a:lnTo>
                  <a:lnTo>
                    <a:pt x="600" y="300"/>
                  </a:lnTo>
                  <a:lnTo>
                    <a:pt x="600" y="300"/>
                  </a:lnTo>
                  <a:lnTo>
                    <a:pt x="602" y="300"/>
                  </a:lnTo>
                  <a:lnTo>
                    <a:pt x="602" y="300"/>
                  </a:lnTo>
                  <a:lnTo>
                    <a:pt x="604" y="300"/>
                  </a:lnTo>
                  <a:lnTo>
                    <a:pt x="606" y="300"/>
                  </a:lnTo>
                  <a:lnTo>
                    <a:pt x="610" y="298"/>
                  </a:lnTo>
                  <a:lnTo>
                    <a:pt x="614" y="298"/>
                  </a:lnTo>
                  <a:lnTo>
                    <a:pt x="614" y="298"/>
                  </a:lnTo>
                  <a:lnTo>
                    <a:pt x="616" y="298"/>
                  </a:lnTo>
                  <a:lnTo>
                    <a:pt x="618" y="298"/>
                  </a:lnTo>
                  <a:lnTo>
                    <a:pt x="618" y="298"/>
                  </a:lnTo>
                  <a:lnTo>
                    <a:pt x="618" y="296"/>
                  </a:lnTo>
                  <a:lnTo>
                    <a:pt x="620" y="296"/>
                  </a:lnTo>
                  <a:lnTo>
                    <a:pt x="620" y="296"/>
                  </a:lnTo>
                  <a:lnTo>
                    <a:pt x="620" y="294"/>
                  </a:lnTo>
                  <a:lnTo>
                    <a:pt x="620" y="294"/>
                  </a:lnTo>
                  <a:lnTo>
                    <a:pt x="618" y="292"/>
                  </a:lnTo>
                  <a:lnTo>
                    <a:pt x="618" y="292"/>
                  </a:lnTo>
                  <a:lnTo>
                    <a:pt x="616" y="290"/>
                  </a:lnTo>
                  <a:lnTo>
                    <a:pt x="614" y="288"/>
                  </a:lnTo>
                  <a:lnTo>
                    <a:pt x="612" y="286"/>
                  </a:lnTo>
                  <a:lnTo>
                    <a:pt x="612" y="286"/>
                  </a:lnTo>
                  <a:lnTo>
                    <a:pt x="612" y="284"/>
                  </a:lnTo>
                  <a:lnTo>
                    <a:pt x="612" y="284"/>
                  </a:lnTo>
                  <a:lnTo>
                    <a:pt x="612" y="284"/>
                  </a:lnTo>
                  <a:lnTo>
                    <a:pt x="612" y="282"/>
                  </a:lnTo>
                  <a:lnTo>
                    <a:pt x="614" y="282"/>
                  </a:lnTo>
                  <a:lnTo>
                    <a:pt x="614" y="282"/>
                  </a:lnTo>
                  <a:lnTo>
                    <a:pt x="614" y="282"/>
                  </a:lnTo>
                  <a:lnTo>
                    <a:pt x="616" y="282"/>
                  </a:lnTo>
                  <a:lnTo>
                    <a:pt x="618" y="282"/>
                  </a:lnTo>
                  <a:lnTo>
                    <a:pt x="620" y="282"/>
                  </a:lnTo>
                  <a:lnTo>
                    <a:pt x="622" y="282"/>
                  </a:lnTo>
                  <a:lnTo>
                    <a:pt x="626" y="284"/>
                  </a:lnTo>
                  <a:lnTo>
                    <a:pt x="626" y="284"/>
                  </a:lnTo>
                  <a:lnTo>
                    <a:pt x="628" y="284"/>
                  </a:lnTo>
                  <a:lnTo>
                    <a:pt x="628" y="284"/>
                  </a:lnTo>
                  <a:lnTo>
                    <a:pt x="630" y="284"/>
                  </a:lnTo>
                  <a:lnTo>
                    <a:pt x="630" y="282"/>
                  </a:lnTo>
                  <a:lnTo>
                    <a:pt x="632" y="282"/>
                  </a:lnTo>
                  <a:lnTo>
                    <a:pt x="634" y="280"/>
                  </a:lnTo>
                  <a:lnTo>
                    <a:pt x="636" y="278"/>
                  </a:lnTo>
                  <a:lnTo>
                    <a:pt x="638" y="276"/>
                  </a:lnTo>
                  <a:lnTo>
                    <a:pt x="640" y="274"/>
                  </a:lnTo>
                  <a:lnTo>
                    <a:pt x="642" y="272"/>
                  </a:lnTo>
                  <a:lnTo>
                    <a:pt x="644" y="270"/>
                  </a:lnTo>
                  <a:lnTo>
                    <a:pt x="644" y="268"/>
                  </a:lnTo>
                  <a:lnTo>
                    <a:pt x="646" y="264"/>
                  </a:lnTo>
                  <a:lnTo>
                    <a:pt x="648" y="262"/>
                  </a:lnTo>
                  <a:lnTo>
                    <a:pt x="648" y="260"/>
                  </a:lnTo>
                  <a:lnTo>
                    <a:pt x="650" y="258"/>
                  </a:lnTo>
                  <a:lnTo>
                    <a:pt x="650" y="256"/>
                  </a:lnTo>
                  <a:lnTo>
                    <a:pt x="650" y="256"/>
                  </a:lnTo>
                  <a:lnTo>
                    <a:pt x="650" y="254"/>
                  </a:lnTo>
                  <a:lnTo>
                    <a:pt x="650" y="254"/>
                  </a:lnTo>
                  <a:lnTo>
                    <a:pt x="650" y="252"/>
                  </a:lnTo>
                  <a:lnTo>
                    <a:pt x="648" y="252"/>
                  </a:lnTo>
                  <a:lnTo>
                    <a:pt x="648" y="252"/>
                  </a:lnTo>
                  <a:lnTo>
                    <a:pt x="646" y="250"/>
                  </a:lnTo>
                  <a:lnTo>
                    <a:pt x="646" y="250"/>
                  </a:lnTo>
                  <a:lnTo>
                    <a:pt x="644" y="248"/>
                  </a:lnTo>
                  <a:lnTo>
                    <a:pt x="642" y="248"/>
                  </a:lnTo>
                  <a:lnTo>
                    <a:pt x="638" y="248"/>
                  </a:lnTo>
                  <a:lnTo>
                    <a:pt x="636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28" y="244"/>
                  </a:lnTo>
                  <a:lnTo>
                    <a:pt x="628" y="244"/>
                  </a:lnTo>
                  <a:lnTo>
                    <a:pt x="626" y="242"/>
                  </a:lnTo>
                  <a:lnTo>
                    <a:pt x="626" y="242"/>
                  </a:lnTo>
                  <a:lnTo>
                    <a:pt x="626" y="242"/>
                  </a:lnTo>
                  <a:lnTo>
                    <a:pt x="626" y="240"/>
                  </a:lnTo>
                  <a:lnTo>
                    <a:pt x="624" y="236"/>
                  </a:lnTo>
                  <a:lnTo>
                    <a:pt x="624" y="234"/>
                  </a:lnTo>
                  <a:lnTo>
                    <a:pt x="624" y="232"/>
                  </a:lnTo>
                  <a:lnTo>
                    <a:pt x="624" y="230"/>
                  </a:lnTo>
                  <a:lnTo>
                    <a:pt x="624" y="226"/>
                  </a:lnTo>
                  <a:lnTo>
                    <a:pt x="624" y="226"/>
                  </a:lnTo>
                  <a:lnTo>
                    <a:pt x="626" y="224"/>
                  </a:lnTo>
                  <a:lnTo>
                    <a:pt x="626" y="222"/>
                  </a:lnTo>
                  <a:lnTo>
                    <a:pt x="628" y="220"/>
                  </a:lnTo>
                  <a:lnTo>
                    <a:pt x="628" y="218"/>
                  </a:lnTo>
                  <a:lnTo>
                    <a:pt x="630" y="216"/>
                  </a:lnTo>
                  <a:lnTo>
                    <a:pt x="632" y="214"/>
                  </a:lnTo>
                  <a:lnTo>
                    <a:pt x="634" y="214"/>
                  </a:lnTo>
                  <a:lnTo>
                    <a:pt x="634" y="212"/>
                  </a:lnTo>
                  <a:lnTo>
                    <a:pt x="636" y="212"/>
                  </a:lnTo>
                  <a:lnTo>
                    <a:pt x="636" y="212"/>
                  </a:lnTo>
                  <a:lnTo>
                    <a:pt x="638" y="212"/>
                  </a:lnTo>
                  <a:lnTo>
                    <a:pt x="642" y="212"/>
                  </a:lnTo>
                  <a:lnTo>
                    <a:pt x="642" y="212"/>
                  </a:lnTo>
                  <a:lnTo>
                    <a:pt x="644" y="212"/>
                  </a:lnTo>
                  <a:lnTo>
                    <a:pt x="646" y="212"/>
                  </a:lnTo>
                  <a:lnTo>
                    <a:pt x="646" y="210"/>
                  </a:lnTo>
                  <a:lnTo>
                    <a:pt x="646" y="210"/>
                  </a:lnTo>
                  <a:lnTo>
                    <a:pt x="648" y="210"/>
                  </a:lnTo>
                  <a:lnTo>
                    <a:pt x="648" y="208"/>
                  </a:lnTo>
                  <a:lnTo>
                    <a:pt x="648" y="208"/>
                  </a:lnTo>
                  <a:lnTo>
                    <a:pt x="648" y="206"/>
                  </a:lnTo>
                  <a:lnTo>
                    <a:pt x="648" y="206"/>
                  </a:lnTo>
                  <a:lnTo>
                    <a:pt x="648" y="204"/>
                  </a:lnTo>
                  <a:lnTo>
                    <a:pt x="648" y="202"/>
                  </a:lnTo>
                  <a:lnTo>
                    <a:pt x="648" y="198"/>
                  </a:lnTo>
                  <a:lnTo>
                    <a:pt x="648" y="196"/>
                  </a:lnTo>
                  <a:lnTo>
                    <a:pt x="648" y="194"/>
                  </a:lnTo>
                  <a:lnTo>
                    <a:pt x="648" y="192"/>
                  </a:lnTo>
                  <a:lnTo>
                    <a:pt x="646" y="190"/>
                  </a:lnTo>
                  <a:lnTo>
                    <a:pt x="646" y="190"/>
                  </a:lnTo>
                  <a:lnTo>
                    <a:pt x="646" y="188"/>
                  </a:lnTo>
                  <a:lnTo>
                    <a:pt x="644" y="188"/>
                  </a:lnTo>
                  <a:lnTo>
                    <a:pt x="644" y="186"/>
                  </a:lnTo>
                  <a:lnTo>
                    <a:pt x="642" y="186"/>
                  </a:lnTo>
                  <a:lnTo>
                    <a:pt x="642" y="186"/>
                  </a:lnTo>
                  <a:lnTo>
                    <a:pt x="640" y="186"/>
                  </a:lnTo>
                  <a:lnTo>
                    <a:pt x="640" y="186"/>
                  </a:lnTo>
                  <a:lnTo>
                    <a:pt x="638" y="184"/>
                  </a:lnTo>
                  <a:lnTo>
                    <a:pt x="636" y="184"/>
                  </a:lnTo>
                  <a:lnTo>
                    <a:pt x="632" y="184"/>
                  </a:lnTo>
                  <a:lnTo>
                    <a:pt x="630" y="184"/>
                  </a:lnTo>
                  <a:lnTo>
                    <a:pt x="622" y="186"/>
                  </a:lnTo>
                  <a:lnTo>
                    <a:pt x="616" y="186"/>
                  </a:lnTo>
                  <a:lnTo>
                    <a:pt x="612" y="186"/>
                  </a:lnTo>
                  <a:lnTo>
                    <a:pt x="610" y="186"/>
                  </a:lnTo>
                  <a:lnTo>
                    <a:pt x="608" y="186"/>
                  </a:lnTo>
                  <a:lnTo>
                    <a:pt x="606" y="186"/>
                  </a:lnTo>
                  <a:lnTo>
                    <a:pt x="604" y="184"/>
                  </a:lnTo>
                  <a:lnTo>
                    <a:pt x="604" y="184"/>
                  </a:lnTo>
                  <a:lnTo>
                    <a:pt x="604" y="184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0" y="180"/>
                  </a:lnTo>
                  <a:lnTo>
                    <a:pt x="600" y="178"/>
                  </a:lnTo>
                  <a:lnTo>
                    <a:pt x="602" y="176"/>
                  </a:lnTo>
                  <a:lnTo>
                    <a:pt x="602" y="174"/>
                  </a:lnTo>
                  <a:lnTo>
                    <a:pt x="602" y="174"/>
                  </a:lnTo>
                  <a:lnTo>
                    <a:pt x="604" y="172"/>
                  </a:lnTo>
                  <a:lnTo>
                    <a:pt x="604" y="170"/>
                  </a:lnTo>
                  <a:lnTo>
                    <a:pt x="606" y="166"/>
                  </a:lnTo>
                  <a:lnTo>
                    <a:pt x="608" y="162"/>
                  </a:lnTo>
                  <a:lnTo>
                    <a:pt x="610" y="160"/>
                  </a:lnTo>
                  <a:lnTo>
                    <a:pt x="612" y="158"/>
                  </a:lnTo>
                  <a:lnTo>
                    <a:pt x="612" y="156"/>
                  </a:lnTo>
                  <a:lnTo>
                    <a:pt x="614" y="154"/>
                  </a:lnTo>
                  <a:lnTo>
                    <a:pt x="616" y="154"/>
                  </a:lnTo>
                  <a:lnTo>
                    <a:pt x="620" y="152"/>
                  </a:lnTo>
                  <a:lnTo>
                    <a:pt x="622" y="148"/>
                  </a:lnTo>
                  <a:lnTo>
                    <a:pt x="630" y="146"/>
                  </a:lnTo>
                  <a:lnTo>
                    <a:pt x="632" y="144"/>
                  </a:lnTo>
                  <a:lnTo>
                    <a:pt x="634" y="142"/>
                  </a:lnTo>
                  <a:lnTo>
                    <a:pt x="636" y="142"/>
                  </a:lnTo>
                  <a:lnTo>
                    <a:pt x="638" y="140"/>
                  </a:lnTo>
                  <a:lnTo>
                    <a:pt x="642" y="138"/>
                  </a:lnTo>
                  <a:lnTo>
                    <a:pt x="644" y="136"/>
                  </a:lnTo>
                  <a:lnTo>
                    <a:pt x="646" y="134"/>
                  </a:lnTo>
                  <a:lnTo>
                    <a:pt x="646" y="134"/>
                  </a:lnTo>
                  <a:lnTo>
                    <a:pt x="646" y="134"/>
                  </a:lnTo>
                  <a:lnTo>
                    <a:pt x="648" y="132"/>
                  </a:lnTo>
                  <a:lnTo>
                    <a:pt x="648" y="132"/>
                  </a:lnTo>
                  <a:lnTo>
                    <a:pt x="646" y="132"/>
                  </a:lnTo>
                  <a:lnTo>
                    <a:pt x="646" y="130"/>
                  </a:lnTo>
                  <a:lnTo>
                    <a:pt x="646" y="130"/>
                  </a:lnTo>
                  <a:lnTo>
                    <a:pt x="646" y="130"/>
                  </a:lnTo>
                  <a:lnTo>
                    <a:pt x="644" y="128"/>
                  </a:lnTo>
                  <a:lnTo>
                    <a:pt x="642" y="128"/>
                  </a:lnTo>
                  <a:lnTo>
                    <a:pt x="640" y="128"/>
                  </a:lnTo>
                  <a:lnTo>
                    <a:pt x="638" y="126"/>
                  </a:lnTo>
                  <a:lnTo>
                    <a:pt x="634" y="126"/>
                  </a:lnTo>
                  <a:lnTo>
                    <a:pt x="630" y="124"/>
                  </a:lnTo>
                  <a:lnTo>
                    <a:pt x="628" y="124"/>
                  </a:lnTo>
                  <a:lnTo>
                    <a:pt x="626" y="124"/>
                  </a:lnTo>
                  <a:lnTo>
                    <a:pt x="624" y="122"/>
                  </a:lnTo>
                  <a:lnTo>
                    <a:pt x="622" y="122"/>
                  </a:lnTo>
                  <a:lnTo>
                    <a:pt x="622" y="120"/>
                  </a:lnTo>
                  <a:lnTo>
                    <a:pt x="622" y="120"/>
                  </a:lnTo>
                  <a:lnTo>
                    <a:pt x="622" y="120"/>
                  </a:lnTo>
                  <a:lnTo>
                    <a:pt x="622" y="120"/>
                  </a:lnTo>
                  <a:lnTo>
                    <a:pt x="622" y="118"/>
                  </a:lnTo>
                  <a:lnTo>
                    <a:pt x="622" y="118"/>
                  </a:lnTo>
                  <a:lnTo>
                    <a:pt x="624" y="116"/>
                  </a:lnTo>
                  <a:lnTo>
                    <a:pt x="624" y="116"/>
                  </a:lnTo>
                  <a:lnTo>
                    <a:pt x="626" y="116"/>
                  </a:lnTo>
                  <a:lnTo>
                    <a:pt x="626" y="116"/>
                  </a:lnTo>
                  <a:lnTo>
                    <a:pt x="630" y="114"/>
                  </a:lnTo>
                  <a:lnTo>
                    <a:pt x="632" y="114"/>
                  </a:lnTo>
                  <a:lnTo>
                    <a:pt x="634" y="112"/>
                  </a:lnTo>
                  <a:lnTo>
                    <a:pt x="638" y="112"/>
                  </a:lnTo>
                  <a:lnTo>
                    <a:pt x="640" y="112"/>
                  </a:lnTo>
                  <a:lnTo>
                    <a:pt x="642" y="112"/>
                  </a:lnTo>
                  <a:lnTo>
                    <a:pt x="642" y="110"/>
                  </a:lnTo>
                  <a:lnTo>
                    <a:pt x="648" y="110"/>
                  </a:lnTo>
                  <a:lnTo>
                    <a:pt x="652" y="110"/>
                  </a:lnTo>
                  <a:lnTo>
                    <a:pt x="654" y="110"/>
                  </a:lnTo>
                  <a:lnTo>
                    <a:pt x="662" y="108"/>
                  </a:lnTo>
                  <a:lnTo>
                    <a:pt x="672" y="104"/>
                  </a:lnTo>
                  <a:lnTo>
                    <a:pt x="678" y="104"/>
                  </a:lnTo>
                  <a:lnTo>
                    <a:pt x="682" y="102"/>
                  </a:lnTo>
                  <a:lnTo>
                    <a:pt x="686" y="100"/>
                  </a:lnTo>
                  <a:lnTo>
                    <a:pt x="690" y="100"/>
                  </a:lnTo>
                  <a:lnTo>
                    <a:pt x="694" y="98"/>
                  </a:lnTo>
                  <a:lnTo>
                    <a:pt x="700" y="94"/>
                  </a:lnTo>
                  <a:lnTo>
                    <a:pt x="704" y="92"/>
                  </a:lnTo>
                  <a:lnTo>
                    <a:pt x="708" y="92"/>
                  </a:lnTo>
                  <a:lnTo>
                    <a:pt x="710" y="90"/>
                  </a:lnTo>
                  <a:lnTo>
                    <a:pt x="714" y="88"/>
                  </a:lnTo>
                  <a:lnTo>
                    <a:pt x="716" y="86"/>
                  </a:lnTo>
                  <a:lnTo>
                    <a:pt x="718" y="86"/>
                  </a:lnTo>
                  <a:lnTo>
                    <a:pt x="720" y="84"/>
                  </a:lnTo>
                  <a:lnTo>
                    <a:pt x="722" y="82"/>
                  </a:lnTo>
                  <a:lnTo>
                    <a:pt x="722" y="80"/>
                  </a:lnTo>
                  <a:lnTo>
                    <a:pt x="722" y="80"/>
                  </a:lnTo>
                  <a:lnTo>
                    <a:pt x="722" y="80"/>
                  </a:lnTo>
                  <a:lnTo>
                    <a:pt x="722" y="78"/>
                  </a:lnTo>
                  <a:lnTo>
                    <a:pt x="722" y="78"/>
                  </a:lnTo>
                  <a:lnTo>
                    <a:pt x="722" y="76"/>
                  </a:lnTo>
                  <a:lnTo>
                    <a:pt x="722" y="76"/>
                  </a:lnTo>
                  <a:lnTo>
                    <a:pt x="722" y="74"/>
                  </a:lnTo>
                  <a:lnTo>
                    <a:pt x="720" y="72"/>
                  </a:lnTo>
                  <a:lnTo>
                    <a:pt x="720" y="72"/>
                  </a:lnTo>
                  <a:lnTo>
                    <a:pt x="718" y="70"/>
                  </a:lnTo>
                  <a:lnTo>
                    <a:pt x="716" y="70"/>
                  </a:lnTo>
                  <a:lnTo>
                    <a:pt x="714" y="70"/>
                  </a:lnTo>
                  <a:lnTo>
                    <a:pt x="714" y="68"/>
                  </a:lnTo>
                  <a:lnTo>
                    <a:pt x="712" y="68"/>
                  </a:lnTo>
                  <a:lnTo>
                    <a:pt x="710" y="68"/>
                  </a:lnTo>
                  <a:lnTo>
                    <a:pt x="706" y="68"/>
                  </a:lnTo>
                  <a:lnTo>
                    <a:pt x="700" y="68"/>
                  </a:lnTo>
                  <a:lnTo>
                    <a:pt x="696" y="68"/>
                  </a:lnTo>
                  <a:lnTo>
                    <a:pt x="690" y="68"/>
                  </a:lnTo>
                  <a:lnTo>
                    <a:pt x="686" y="68"/>
                  </a:lnTo>
                  <a:lnTo>
                    <a:pt x="676" y="70"/>
                  </a:lnTo>
                  <a:lnTo>
                    <a:pt x="666" y="70"/>
                  </a:lnTo>
                  <a:lnTo>
                    <a:pt x="660" y="72"/>
                  </a:lnTo>
                  <a:lnTo>
                    <a:pt x="656" y="72"/>
                  </a:lnTo>
                  <a:lnTo>
                    <a:pt x="652" y="72"/>
                  </a:lnTo>
                  <a:lnTo>
                    <a:pt x="648" y="74"/>
                  </a:lnTo>
                  <a:lnTo>
                    <a:pt x="644" y="76"/>
                  </a:lnTo>
                  <a:lnTo>
                    <a:pt x="634" y="78"/>
                  </a:lnTo>
                  <a:lnTo>
                    <a:pt x="626" y="82"/>
                  </a:lnTo>
                  <a:lnTo>
                    <a:pt x="624" y="82"/>
                  </a:lnTo>
                  <a:lnTo>
                    <a:pt x="622" y="84"/>
                  </a:lnTo>
                  <a:lnTo>
                    <a:pt x="620" y="86"/>
                  </a:lnTo>
                  <a:lnTo>
                    <a:pt x="616" y="88"/>
                  </a:lnTo>
                  <a:lnTo>
                    <a:pt x="610" y="94"/>
                  </a:lnTo>
                  <a:lnTo>
                    <a:pt x="604" y="98"/>
                  </a:lnTo>
                  <a:lnTo>
                    <a:pt x="600" y="100"/>
                  </a:lnTo>
                  <a:lnTo>
                    <a:pt x="596" y="102"/>
                  </a:lnTo>
                  <a:lnTo>
                    <a:pt x="594" y="104"/>
                  </a:lnTo>
                  <a:lnTo>
                    <a:pt x="590" y="106"/>
                  </a:lnTo>
                  <a:lnTo>
                    <a:pt x="590" y="106"/>
                  </a:lnTo>
                  <a:lnTo>
                    <a:pt x="588" y="106"/>
                  </a:lnTo>
                  <a:lnTo>
                    <a:pt x="586" y="106"/>
                  </a:lnTo>
                  <a:lnTo>
                    <a:pt x="586" y="106"/>
                  </a:lnTo>
                  <a:lnTo>
                    <a:pt x="584" y="106"/>
                  </a:lnTo>
                  <a:lnTo>
                    <a:pt x="584" y="106"/>
                  </a:lnTo>
                  <a:lnTo>
                    <a:pt x="582" y="104"/>
                  </a:lnTo>
                  <a:lnTo>
                    <a:pt x="582" y="104"/>
                  </a:lnTo>
                  <a:lnTo>
                    <a:pt x="580" y="104"/>
                  </a:lnTo>
                  <a:lnTo>
                    <a:pt x="580" y="102"/>
                  </a:lnTo>
                  <a:lnTo>
                    <a:pt x="580" y="102"/>
                  </a:lnTo>
                  <a:lnTo>
                    <a:pt x="580" y="100"/>
                  </a:lnTo>
                  <a:lnTo>
                    <a:pt x="580" y="100"/>
                  </a:lnTo>
                  <a:lnTo>
                    <a:pt x="582" y="98"/>
                  </a:lnTo>
                  <a:lnTo>
                    <a:pt x="582" y="96"/>
                  </a:lnTo>
                  <a:lnTo>
                    <a:pt x="582" y="96"/>
                  </a:lnTo>
                  <a:lnTo>
                    <a:pt x="584" y="92"/>
                  </a:lnTo>
                  <a:lnTo>
                    <a:pt x="588" y="90"/>
                  </a:lnTo>
                  <a:lnTo>
                    <a:pt x="592" y="84"/>
                  </a:lnTo>
                  <a:lnTo>
                    <a:pt x="598" y="78"/>
                  </a:lnTo>
                  <a:lnTo>
                    <a:pt x="600" y="76"/>
                  </a:lnTo>
                  <a:lnTo>
                    <a:pt x="602" y="72"/>
                  </a:lnTo>
                  <a:lnTo>
                    <a:pt x="604" y="72"/>
                  </a:lnTo>
                  <a:lnTo>
                    <a:pt x="604" y="70"/>
                  </a:lnTo>
                  <a:lnTo>
                    <a:pt x="604" y="68"/>
                  </a:lnTo>
                  <a:lnTo>
                    <a:pt x="606" y="68"/>
                  </a:lnTo>
                  <a:lnTo>
                    <a:pt x="606" y="66"/>
                  </a:lnTo>
                  <a:lnTo>
                    <a:pt x="606" y="66"/>
                  </a:lnTo>
                  <a:lnTo>
                    <a:pt x="604" y="64"/>
                  </a:lnTo>
                  <a:lnTo>
                    <a:pt x="604" y="64"/>
                  </a:lnTo>
                  <a:lnTo>
                    <a:pt x="604" y="62"/>
                  </a:lnTo>
                  <a:lnTo>
                    <a:pt x="602" y="62"/>
                  </a:lnTo>
                  <a:lnTo>
                    <a:pt x="602" y="62"/>
                  </a:lnTo>
                  <a:lnTo>
                    <a:pt x="600" y="62"/>
                  </a:lnTo>
                  <a:lnTo>
                    <a:pt x="598" y="62"/>
                  </a:lnTo>
                  <a:lnTo>
                    <a:pt x="598" y="62"/>
                  </a:lnTo>
                  <a:lnTo>
                    <a:pt x="596" y="62"/>
                  </a:lnTo>
                  <a:lnTo>
                    <a:pt x="594" y="64"/>
                  </a:lnTo>
                  <a:lnTo>
                    <a:pt x="590" y="66"/>
                  </a:lnTo>
                  <a:lnTo>
                    <a:pt x="588" y="66"/>
                  </a:lnTo>
                  <a:lnTo>
                    <a:pt x="584" y="70"/>
                  </a:lnTo>
                  <a:lnTo>
                    <a:pt x="580" y="72"/>
                  </a:lnTo>
                  <a:lnTo>
                    <a:pt x="576" y="74"/>
                  </a:lnTo>
                  <a:lnTo>
                    <a:pt x="572" y="76"/>
                  </a:lnTo>
                  <a:lnTo>
                    <a:pt x="568" y="78"/>
                  </a:lnTo>
                  <a:lnTo>
                    <a:pt x="564" y="80"/>
                  </a:lnTo>
                  <a:lnTo>
                    <a:pt x="564" y="82"/>
                  </a:lnTo>
                  <a:lnTo>
                    <a:pt x="562" y="82"/>
                  </a:lnTo>
                  <a:lnTo>
                    <a:pt x="560" y="82"/>
                  </a:lnTo>
                  <a:lnTo>
                    <a:pt x="558" y="82"/>
                  </a:lnTo>
                  <a:lnTo>
                    <a:pt x="558" y="82"/>
                  </a:lnTo>
                  <a:lnTo>
                    <a:pt x="556" y="82"/>
                  </a:lnTo>
                  <a:lnTo>
                    <a:pt x="554" y="82"/>
                  </a:lnTo>
                  <a:lnTo>
                    <a:pt x="554" y="82"/>
                  </a:lnTo>
                  <a:lnTo>
                    <a:pt x="554" y="82"/>
                  </a:lnTo>
                  <a:lnTo>
                    <a:pt x="554" y="80"/>
                  </a:lnTo>
                  <a:lnTo>
                    <a:pt x="552" y="80"/>
                  </a:lnTo>
                  <a:lnTo>
                    <a:pt x="552" y="78"/>
                  </a:lnTo>
                  <a:lnTo>
                    <a:pt x="552" y="76"/>
                  </a:lnTo>
                  <a:lnTo>
                    <a:pt x="554" y="76"/>
                  </a:lnTo>
                  <a:lnTo>
                    <a:pt x="554" y="74"/>
                  </a:lnTo>
                  <a:lnTo>
                    <a:pt x="554" y="70"/>
                  </a:lnTo>
                  <a:lnTo>
                    <a:pt x="556" y="66"/>
                  </a:lnTo>
                  <a:lnTo>
                    <a:pt x="556" y="66"/>
                  </a:lnTo>
                  <a:lnTo>
                    <a:pt x="558" y="64"/>
                  </a:lnTo>
                  <a:lnTo>
                    <a:pt x="558" y="62"/>
                  </a:lnTo>
                  <a:lnTo>
                    <a:pt x="558" y="60"/>
                  </a:lnTo>
                  <a:lnTo>
                    <a:pt x="558" y="60"/>
                  </a:lnTo>
                  <a:lnTo>
                    <a:pt x="556" y="60"/>
                  </a:lnTo>
                  <a:lnTo>
                    <a:pt x="556" y="58"/>
                  </a:lnTo>
                  <a:lnTo>
                    <a:pt x="556" y="58"/>
                  </a:lnTo>
                  <a:lnTo>
                    <a:pt x="554" y="58"/>
                  </a:lnTo>
                  <a:lnTo>
                    <a:pt x="554" y="56"/>
                  </a:lnTo>
                  <a:lnTo>
                    <a:pt x="554" y="56"/>
                  </a:lnTo>
                  <a:lnTo>
                    <a:pt x="552" y="56"/>
                  </a:lnTo>
                  <a:lnTo>
                    <a:pt x="548" y="56"/>
                  </a:lnTo>
                  <a:lnTo>
                    <a:pt x="546" y="56"/>
                  </a:lnTo>
                  <a:lnTo>
                    <a:pt x="544" y="56"/>
                  </a:lnTo>
                  <a:lnTo>
                    <a:pt x="540" y="56"/>
                  </a:lnTo>
                  <a:lnTo>
                    <a:pt x="538" y="56"/>
                  </a:lnTo>
                  <a:lnTo>
                    <a:pt x="534" y="58"/>
                  </a:lnTo>
                  <a:lnTo>
                    <a:pt x="532" y="58"/>
                  </a:lnTo>
                  <a:lnTo>
                    <a:pt x="524" y="60"/>
                  </a:lnTo>
                  <a:lnTo>
                    <a:pt x="518" y="62"/>
                  </a:lnTo>
                  <a:lnTo>
                    <a:pt x="510" y="64"/>
                  </a:lnTo>
                  <a:lnTo>
                    <a:pt x="504" y="66"/>
                  </a:lnTo>
                  <a:lnTo>
                    <a:pt x="498" y="68"/>
                  </a:lnTo>
                  <a:lnTo>
                    <a:pt x="492" y="70"/>
                  </a:lnTo>
                  <a:lnTo>
                    <a:pt x="488" y="72"/>
                  </a:lnTo>
                  <a:lnTo>
                    <a:pt x="486" y="72"/>
                  </a:lnTo>
                  <a:lnTo>
                    <a:pt x="484" y="72"/>
                  </a:lnTo>
                  <a:lnTo>
                    <a:pt x="482" y="72"/>
                  </a:lnTo>
                  <a:lnTo>
                    <a:pt x="480" y="72"/>
                  </a:lnTo>
                  <a:lnTo>
                    <a:pt x="478" y="72"/>
                  </a:lnTo>
                  <a:lnTo>
                    <a:pt x="476" y="72"/>
                  </a:lnTo>
                  <a:lnTo>
                    <a:pt x="476" y="70"/>
                  </a:lnTo>
                  <a:lnTo>
                    <a:pt x="476" y="70"/>
                  </a:lnTo>
                  <a:lnTo>
                    <a:pt x="474" y="70"/>
                  </a:lnTo>
                  <a:lnTo>
                    <a:pt x="474" y="68"/>
                  </a:lnTo>
                  <a:lnTo>
                    <a:pt x="474" y="68"/>
                  </a:lnTo>
                  <a:lnTo>
                    <a:pt x="474" y="68"/>
                  </a:lnTo>
                  <a:lnTo>
                    <a:pt x="474" y="66"/>
                  </a:lnTo>
                  <a:lnTo>
                    <a:pt x="474" y="66"/>
                  </a:lnTo>
                  <a:lnTo>
                    <a:pt x="474" y="64"/>
                  </a:lnTo>
                  <a:lnTo>
                    <a:pt x="474" y="64"/>
                  </a:lnTo>
                  <a:lnTo>
                    <a:pt x="474" y="62"/>
                  </a:lnTo>
                  <a:lnTo>
                    <a:pt x="474" y="62"/>
                  </a:lnTo>
                  <a:lnTo>
                    <a:pt x="476" y="60"/>
                  </a:lnTo>
                  <a:lnTo>
                    <a:pt x="476" y="60"/>
                  </a:lnTo>
                  <a:lnTo>
                    <a:pt x="478" y="60"/>
                  </a:lnTo>
                  <a:lnTo>
                    <a:pt x="480" y="58"/>
                  </a:lnTo>
                  <a:lnTo>
                    <a:pt x="480" y="58"/>
                  </a:lnTo>
                  <a:lnTo>
                    <a:pt x="484" y="56"/>
                  </a:lnTo>
                  <a:lnTo>
                    <a:pt x="488" y="56"/>
                  </a:lnTo>
                  <a:lnTo>
                    <a:pt x="492" y="56"/>
                  </a:lnTo>
                  <a:lnTo>
                    <a:pt x="496" y="54"/>
                  </a:lnTo>
                  <a:lnTo>
                    <a:pt x="500" y="54"/>
                  </a:lnTo>
                  <a:lnTo>
                    <a:pt x="508" y="54"/>
                  </a:lnTo>
                  <a:lnTo>
                    <a:pt x="516" y="52"/>
                  </a:lnTo>
                  <a:lnTo>
                    <a:pt x="518" y="52"/>
                  </a:lnTo>
                  <a:lnTo>
                    <a:pt x="522" y="52"/>
                  </a:lnTo>
                  <a:lnTo>
                    <a:pt x="528" y="50"/>
                  </a:lnTo>
                  <a:lnTo>
                    <a:pt x="534" y="48"/>
                  </a:lnTo>
                  <a:lnTo>
                    <a:pt x="542" y="48"/>
                  </a:lnTo>
                  <a:lnTo>
                    <a:pt x="552" y="46"/>
                  </a:lnTo>
                  <a:lnTo>
                    <a:pt x="568" y="44"/>
                  </a:lnTo>
                  <a:lnTo>
                    <a:pt x="576" y="42"/>
                  </a:lnTo>
                  <a:lnTo>
                    <a:pt x="582" y="42"/>
                  </a:lnTo>
                  <a:lnTo>
                    <a:pt x="584" y="40"/>
                  </a:lnTo>
                  <a:lnTo>
                    <a:pt x="586" y="40"/>
                  </a:lnTo>
                  <a:lnTo>
                    <a:pt x="590" y="40"/>
                  </a:lnTo>
                  <a:lnTo>
                    <a:pt x="594" y="40"/>
                  </a:lnTo>
                  <a:lnTo>
                    <a:pt x="596" y="40"/>
                  </a:lnTo>
                  <a:lnTo>
                    <a:pt x="598" y="40"/>
                  </a:lnTo>
                  <a:lnTo>
                    <a:pt x="600" y="38"/>
                  </a:lnTo>
                  <a:lnTo>
                    <a:pt x="600" y="38"/>
                  </a:lnTo>
                  <a:lnTo>
                    <a:pt x="600" y="38"/>
                  </a:lnTo>
                  <a:lnTo>
                    <a:pt x="602" y="36"/>
                  </a:lnTo>
                  <a:lnTo>
                    <a:pt x="602" y="36"/>
                  </a:lnTo>
                  <a:lnTo>
                    <a:pt x="602" y="36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0" y="32"/>
                  </a:lnTo>
                  <a:lnTo>
                    <a:pt x="600" y="32"/>
                  </a:lnTo>
                  <a:lnTo>
                    <a:pt x="600" y="30"/>
                  </a:lnTo>
                  <a:lnTo>
                    <a:pt x="598" y="30"/>
                  </a:lnTo>
                  <a:lnTo>
                    <a:pt x="598" y="30"/>
                  </a:lnTo>
                  <a:lnTo>
                    <a:pt x="594" y="28"/>
                  </a:lnTo>
                  <a:lnTo>
                    <a:pt x="592" y="26"/>
                  </a:lnTo>
                  <a:lnTo>
                    <a:pt x="588" y="26"/>
                  </a:lnTo>
                  <a:lnTo>
                    <a:pt x="586" y="24"/>
                  </a:lnTo>
                  <a:lnTo>
                    <a:pt x="582" y="24"/>
                  </a:lnTo>
                  <a:lnTo>
                    <a:pt x="580" y="24"/>
                  </a:lnTo>
                  <a:lnTo>
                    <a:pt x="572" y="22"/>
                  </a:lnTo>
                  <a:lnTo>
                    <a:pt x="566" y="22"/>
                  </a:lnTo>
                  <a:lnTo>
                    <a:pt x="562" y="20"/>
                  </a:lnTo>
                  <a:lnTo>
                    <a:pt x="560" y="20"/>
                  </a:lnTo>
                  <a:lnTo>
                    <a:pt x="556" y="20"/>
                  </a:lnTo>
                  <a:lnTo>
                    <a:pt x="554" y="22"/>
                  </a:lnTo>
                  <a:lnTo>
                    <a:pt x="552" y="22"/>
                  </a:lnTo>
                  <a:lnTo>
                    <a:pt x="548" y="22"/>
                  </a:lnTo>
                  <a:lnTo>
                    <a:pt x="546" y="24"/>
                  </a:lnTo>
                  <a:lnTo>
                    <a:pt x="540" y="24"/>
                  </a:lnTo>
                  <a:lnTo>
                    <a:pt x="532" y="28"/>
                  </a:lnTo>
                  <a:lnTo>
                    <a:pt x="526" y="30"/>
                  </a:lnTo>
                  <a:lnTo>
                    <a:pt x="512" y="34"/>
                  </a:lnTo>
                  <a:lnTo>
                    <a:pt x="504" y="36"/>
                  </a:lnTo>
                  <a:lnTo>
                    <a:pt x="498" y="38"/>
                  </a:lnTo>
                  <a:lnTo>
                    <a:pt x="494" y="38"/>
                  </a:lnTo>
                  <a:lnTo>
                    <a:pt x="492" y="40"/>
                  </a:lnTo>
                  <a:lnTo>
                    <a:pt x="490" y="40"/>
                  </a:lnTo>
                  <a:lnTo>
                    <a:pt x="486" y="40"/>
                  </a:lnTo>
                  <a:lnTo>
                    <a:pt x="484" y="40"/>
                  </a:lnTo>
                  <a:lnTo>
                    <a:pt x="482" y="40"/>
                  </a:lnTo>
                  <a:lnTo>
                    <a:pt x="480" y="40"/>
                  </a:lnTo>
                  <a:lnTo>
                    <a:pt x="478" y="38"/>
                  </a:lnTo>
                  <a:lnTo>
                    <a:pt x="476" y="38"/>
                  </a:lnTo>
                  <a:lnTo>
                    <a:pt x="476" y="38"/>
                  </a:lnTo>
                  <a:lnTo>
                    <a:pt x="474" y="36"/>
                  </a:lnTo>
                  <a:lnTo>
                    <a:pt x="474" y="36"/>
                  </a:lnTo>
                  <a:lnTo>
                    <a:pt x="474" y="36"/>
                  </a:lnTo>
                  <a:lnTo>
                    <a:pt x="474" y="34"/>
                  </a:lnTo>
                  <a:lnTo>
                    <a:pt x="474" y="34"/>
                  </a:lnTo>
                  <a:lnTo>
                    <a:pt x="474" y="32"/>
                  </a:lnTo>
                  <a:lnTo>
                    <a:pt x="474" y="32"/>
                  </a:lnTo>
                  <a:lnTo>
                    <a:pt x="474" y="30"/>
                  </a:lnTo>
                  <a:lnTo>
                    <a:pt x="474" y="30"/>
                  </a:lnTo>
                  <a:lnTo>
                    <a:pt x="476" y="28"/>
                  </a:lnTo>
                  <a:lnTo>
                    <a:pt x="476" y="28"/>
                  </a:lnTo>
                  <a:lnTo>
                    <a:pt x="478" y="28"/>
                  </a:lnTo>
                  <a:lnTo>
                    <a:pt x="480" y="26"/>
                  </a:lnTo>
                  <a:lnTo>
                    <a:pt x="484" y="26"/>
                  </a:lnTo>
                  <a:lnTo>
                    <a:pt x="488" y="24"/>
                  </a:lnTo>
                  <a:lnTo>
                    <a:pt x="492" y="24"/>
                  </a:lnTo>
                  <a:lnTo>
                    <a:pt x="496" y="24"/>
                  </a:lnTo>
                  <a:lnTo>
                    <a:pt x="502" y="22"/>
                  </a:lnTo>
                  <a:lnTo>
                    <a:pt x="506" y="22"/>
                  </a:lnTo>
                  <a:lnTo>
                    <a:pt x="510" y="22"/>
                  </a:lnTo>
                  <a:lnTo>
                    <a:pt x="514" y="20"/>
                  </a:lnTo>
                  <a:lnTo>
                    <a:pt x="516" y="20"/>
                  </a:lnTo>
                  <a:lnTo>
                    <a:pt x="518" y="18"/>
                  </a:lnTo>
                  <a:lnTo>
                    <a:pt x="518" y="18"/>
                  </a:lnTo>
                  <a:lnTo>
                    <a:pt x="520" y="18"/>
                  </a:lnTo>
                  <a:lnTo>
                    <a:pt x="520" y="16"/>
                  </a:lnTo>
                  <a:lnTo>
                    <a:pt x="520" y="16"/>
                  </a:lnTo>
                  <a:lnTo>
                    <a:pt x="522" y="14"/>
                  </a:lnTo>
                  <a:lnTo>
                    <a:pt x="522" y="14"/>
                  </a:lnTo>
                  <a:lnTo>
                    <a:pt x="520" y="12"/>
                  </a:lnTo>
                  <a:lnTo>
                    <a:pt x="520" y="12"/>
                  </a:lnTo>
                  <a:lnTo>
                    <a:pt x="520" y="10"/>
                  </a:lnTo>
                  <a:lnTo>
                    <a:pt x="520" y="10"/>
                  </a:lnTo>
                  <a:lnTo>
                    <a:pt x="518" y="8"/>
                  </a:lnTo>
                  <a:lnTo>
                    <a:pt x="518" y="8"/>
                  </a:lnTo>
                  <a:lnTo>
                    <a:pt x="516" y="6"/>
                  </a:lnTo>
                  <a:lnTo>
                    <a:pt x="516" y="6"/>
                  </a:lnTo>
                  <a:lnTo>
                    <a:pt x="514" y="4"/>
                  </a:lnTo>
                  <a:lnTo>
                    <a:pt x="512" y="4"/>
                  </a:lnTo>
                  <a:lnTo>
                    <a:pt x="508" y="2"/>
                  </a:lnTo>
                  <a:lnTo>
                    <a:pt x="506" y="2"/>
                  </a:lnTo>
                  <a:lnTo>
                    <a:pt x="502" y="0"/>
                  </a:lnTo>
                  <a:lnTo>
                    <a:pt x="498" y="0"/>
                  </a:lnTo>
                  <a:lnTo>
                    <a:pt x="496" y="0"/>
                  </a:lnTo>
                  <a:lnTo>
                    <a:pt x="492" y="0"/>
                  </a:lnTo>
                  <a:lnTo>
                    <a:pt x="488" y="0"/>
                  </a:lnTo>
                  <a:lnTo>
                    <a:pt x="484" y="0"/>
                  </a:lnTo>
                  <a:lnTo>
                    <a:pt x="480" y="0"/>
                  </a:lnTo>
                  <a:lnTo>
                    <a:pt x="476" y="2"/>
                  </a:lnTo>
                  <a:lnTo>
                    <a:pt x="466" y="2"/>
                  </a:lnTo>
                  <a:lnTo>
                    <a:pt x="458" y="4"/>
                  </a:lnTo>
                  <a:lnTo>
                    <a:pt x="450" y="6"/>
                  </a:lnTo>
                  <a:lnTo>
                    <a:pt x="442" y="8"/>
                  </a:lnTo>
                  <a:lnTo>
                    <a:pt x="434" y="10"/>
                  </a:lnTo>
                  <a:lnTo>
                    <a:pt x="426" y="12"/>
                  </a:lnTo>
                  <a:lnTo>
                    <a:pt x="420" y="14"/>
                  </a:lnTo>
                  <a:lnTo>
                    <a:pt x="416" y="16"/>
                  </a:lnTo>
                  <a:lnTo>
                    <a:pt x="414" y="16"/>
                  </a:lnTo>
                  <a:lnTo>
                    <a:pt x="412" y="18"/>
                  </a:lnTo>
                  <a:lnTo>
                    <a:pt x="410" y="20"/>
                  </a:lnTo>
                  <a:lnTo>
                    <a:pt x="408" y="22"/>
                  </a:lnTo>
                  <a:lnTo>
                    <a:pt x="406" y="24"/>
                  </a:lnTo>
                  <a:lnTo>
                    <a:pt x="404" y="26"/>
                  </a:lnTo>
                  <a:lnTo>
                    <a:pt x="400" y="30"/>
                  </a:lnTo>
                  <a:lnTo>
                    <a:pt x="396" y="34"/>
                  </a:lnTo>
                  <a:lnTo>
                    <a:pt x="394" y="38"/>
                  </a:lnTo>
                  <a:lnTo>
                    <a:pt x="392" y="38"/>
                  </a:lnTo>
                  <a:lnTo>
                    <a:pt x="390" y="40"/>
                  </a:lnTo>
                  <a:lnTo>
                    <a:pt x="388" y="42"/>
                  </a:lnTo>
                  <a:lnTo>
                    <a:pt x="386" y="44"/>
                  </a:lnTo>
                  <a:lnTo>
                    <a:pt x="386" y="44"/>
                  </a:lnTo>
                  <a:lnTo>
                    <a:pt x="386" y="44"/>
                  </a:lnTo>
                  <a:lnTo>
                    <a:pt x="384" y="44"/>
                  </a:lnTo>
                  <a:lnTo>
                    <a:pt x="382" y="44"/>
                  </a:lnTo>
                  <a:lnTo>
                    <a:pt x="382" y="44"/>
                  </a:lnTo>
                  <a:lnTo>
                    <a:pt x="380" y="44"/>
                  </a:lnTo>
                  <a:lnTo>
                    <a:pt x="378" y="42"/>
                  </a:lnTo>
                  <a:lnTo>
                    <a:pt x="374" y="42"/>
                  </a:lnTo>
                  <a:lnTo>
                    <a:pt x="372" y="40"/>
                  </a:lnTo>
                  <a:lnTo>
                    <a:pt x="368" y="38"/>
                  </a:lnTo>
                  <a:lnTo>
                    <a:pt x="362" y="34"/>
                  </a:lnTo>
                  <a:lnTo>
                    <a:pt x="360" y="32"/>
                  </a:lnTo>
                  <a:lnTo>
                    <a:pt x="358" y="30"/>
                  </a:lnTo>
                  <a:lnTo>
                    <a:pt x="354" y="30"/>
                  </a:lnTo>
                  <a:lnTo>
                    <a:pt x="352" y="28"/>
                  </a:lnTo>
                  <a:lnTo>
                    <a:pt x="348" y="28"/>
                  </a:lnTo>
                  <a:lnTo>
                    <a:pt x="348" y="28"/>
                  </a:lnTo>
                  <a:lnTo>
                    <a:pt x="346" y="28"/>
                  </a:lnTo>
                  <a:lnTo>
                    <a:pt x="346" y="28"/>
                  </a:lnTo>
                  <a:lnTo>
                    <a:pt x="344" y="28"/>
                  </a:lnTo>
                  <a:lnTo>
                    <a:pt x="344" y="28"/>
                  </a:lnTo>
                  <a:lnTo>
                    <a:pt x="342" y="28"/>
                  </a:lnTo>
                  <a:lnTo>
                    <a:pt x="342" y="30"/>
                  </a:lnTo>
                  <a:lnTo>
                    <a:pt x="340" y="30"/>
                  </a:lnTo>
                  <a:lnTo>
                    <a:pt x="340" y="30"/>
                  </a:lnTo>
                  <a:lnTo>
                    <a:pt x="340" y="32"/>
                  </a:lnTo>
                  <a:lnTo>
                    <a:pt x="340" y="34"/>
                  </a:lnTo>
                  <a:lnTo>
                    <a:pt x="340" y="34"/>
                  </a:lnTo>
                  <a:lnTo>
                    <a:pt x="340" y="38"/>
                  </a:lnTo>
                  <a:lnTo>
                    <a:pt x="342" y="44"/>
                  </a:lnTo>
                  <a:lnTo>
                    <a:pt x="342" y="46"/>
                  </a:lnTo>
                  <a:lnTo>
                    <a:pt x="342" y="48"/>
                  </a:lnTo>
                  <a:lnTo>
                    <a:pt x="342" y="48"/>
                  </a:lnTo>
                  <a:lnTo>
                    <a:pt x="342" y="54"/>
                  </a:lnTo>
                  <a:lnTo>
                    <a:pt x="340" y="58"/>
                  </a:lnTo>
                  <a:lnTo>
                    <a:pt x="340" y="62"/>
                  </a:lnTo>
                  <a:lnTo>
                    <a:pt x="340" y="66"/>
                  </a:lnTo>
                  <a:lnTo>
                    <a:pt x="338" y="66"/>
                  </a:lnTo>
                  <a:lnTo>
                    <a:pt x="338" y="68"/>
                  </a:lnTo>
                  <a:lnTo>
                    <a:pt x="338" y="70"/>
                  </a:lnTo>
                  <a:lnTo>
                    <a:pt x="336" y="70"/>
                  </a:lnTo>
                  <a:lnTo>
                    <a:pt x="336" y="72"/>
                  </a:lnTo>
                  <a:lnTo>
                    <a:pt x="334" y="72"/>
                  </a:lnTo>
                  <a:lnTo>
                    <a:pt x="334" y="72"/>
                  </a:lnTo>
                  <a:lnTo>
                    <a:pt x="334" y="72"/>
                  </a:lnTo>
                  <a:lnTo>
                    <a:pt x="332" y="72"/>
                  </a:lnTo>
                  <a:lnTo>
                    <a:pt x="332" y="70"/>
                  </a:lnTo>
                  <a:lnTo>
                    <a:pt x="330" y="70"/>
                  </a:lnTo>
                  <a:lnTo>
                    <a:pt x="330" y="68"/>
                  </a:lnTo>
                  <a:lnTo>
                    <a:pt x="328" y="66"/>
                  </a:lnTo>
                  <a:lnTo>
                    <a:pt x="328" y="64"/>
                  </a:lnTo>
                  <a:lnTo>
                    <a:pt x="326" y="60"/>
                  </a:lnTo>
                  <a:lnTo>
                    <a:pt x="324" y="58"/>
                  </a:lnTo>
                  <a:lnTo>
                    <a:pt x="322" y="56"/>
                  </a:lnTo>
                  <a:lnTo>
                    <a:pt x="322" y="56"/>
                  </a:lnTo>
                  <a:lnTo>
                    <a:pt x="320" y="54"/>
                  </a:lnTo>
                  <a:lnTo>
                    <a:pt x="320" y="54"/>
                  </a:lnTo>
                  <a:lnTo>
                    <a:pt x="318" y="54"/>
                  </a:lnTo>
                  <a:lnTo>
                    <a:pt x="318" y="54"/>
                  </a:lnTo>
                  <a:lnTo>
                    <a:pt x="316" y="54"/>
                  </a:lnTo>
                  <a:lnTo>
                    <a:pt x="314" y="54"/>
                  </a:lnTo>
                  <a:lnTo>
                    <a:pt x="312" y="54"/>
                  </a:lnTo>
                  <a:lnTo>
                    <a:pt x="308" y="54"/>
                  </a:lnTo>
                  <a:lnTo>
                    <a:pt x="304" y="54"/>
                  </a:lnTo>
                  <a:lnTo>
                    <a:pt x="302" y="54"/>
                  </a:lnTo>
                  <a:lnTo>
                    <a:pt x="300" y="54"/>
                  </a:lnTo>
                  <a:lnTo>
                    <a:pt x="294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88" y="52"/>
                  </a:lnTo>
                  <a:lnTo>
                    <a:pt x="288" y="52"/>
                  </a:lnTo>
                  <a:lnTo>
                    <a:pt x="286" y="52"/>
                  </a:lnTo>
                  <a:lnTo>
                    <a:pt x="284" y="54"/>
                  </a:lnTo>
                  <a:lnTo>
                    <a:pt x="284" y="54"/>
                  </a:lnTo>
                  <a:lnTo>
                    <a:pt x="284" y="54"/>
                  </a:lnTo>
                  <a:lnTo>
                    <a:pt x="284" y="54"/>
                  </a:lnTo>
                  <a:lnTo>
                    <a:pt x="284" y="56"/>
                  </a:lnTo>
                  <a:lnTo>
                    <a:pt x="284" y="58"/>
                  </a:lnTo>
                  <a:lnTo>
                    <a:pt x="284" y="58"/>
                  </a:lnTo>
                  <a:lnTo>
                    <a:pt x="284" y="60"/>
                  </a:lnTo>
                  <a:lnTo>
                    <a:pt x="284" y="62"/>
                  </a:lnTo>
                  <a:lnTo>
                    <a:pt x="284" y="66"/>
                  </a:lnTo>
                  <a:lnTo>
                    <a:pt x="284" y="70"/>
                  </a:lnTo>
                  <a:lnTo>
                    <a:pt x="286" y="72"/>
                  </a:lnTo>
                  <a:lnTo>
                    <a:pt x="286" y="74"/>
                  </a:lnTo>
                  <a:lnTo>
                    <a:pt x="286" y="76"/>
                  </a:lnTo>
                  <a:lnTo>
                    <a:pt x="286" y="76"/>
                  </a:lnTo>
                  <a:lnTo>
                    <a:pt x="284" y="78"/>
                  </a:lnTo>
                  <a:lnTo>
                    <a:pt x="284" y="78"/>
                  </a:lnTo>
                  <a:lnTo>
                    <a:pt x="284" y="78"/>
                  </a:lnTo>
                  <a:lnTo>
                    <a:pt x="284" y="80"/>
                  </a:lnTo>
                  <a:lnTo>
                    <a:pt x="282" y="80"/>
                  </a:lnTo>
                  <a:lnTo>
                    <a:pt x="282" y="80"/>
                  </a:lnTo>
                  <a:lnTo>
                    <a:pt x="280" y="82"/>
                  </a:lnTo>
                  <a:lnTo>
                    <a:pt x="278" y="82"/>
                  </a:lnTo>
                  <a:lnTo>
                    <a:pt x="276" y="82"/>
                  </a:lnTo>
                  <a:lnTo>
                    <a:pt x="274" y="82"/>
                  </a:lnTo>
                  <a:lnTo>
                    <a:pt x="270" y="82"/>
                  </a:lnTo>
                  <a:lnTo>
                    <a:pt x="268" y="82"/>
                  </a:lnTo>
                  <a:lnTo>
                    <a:pt x="266" y="82"/>
                  </a:lnTo>
                  <a:lnTo>
                    <a:pt x="264" y="80"/>
                  </a:lnTo>
                  <a:lnTo>
                    <a:pt x="264" y="80"/>
                  </a:lnTo>
                  <a:lnTo>
                    <a:pt x="262" y="80"/>
                  </a:lnTo>
                  <a:lnTo>
                    <a:pt x="262" y="78"/>
                  </a:lnTo>
                  <a:lnTo>
                    <a:pt x="262" y="78"/>
                  </a:lnTo>
                  <a:lnTo>
                    <a:pt x="260" y="78"/>
                  </a:lnTo>
                  <a:lnTo>
                    <a:pt x="260" y="76"/>
                  </a:lnTo>
                  <a:lnTo>
                    <a:pt x="260" y="74"/>
                  </a:lnTo>
                  <a:lnTo>
                    <a:pt x="260" y="72"/>
                  </a:lnTo>
                  <a:lnTo>
                    <a:pt x="260" y="68"/>
                  </a:lnTo>
                  <a:lnTo>
                    <a:pt x="260" y="66"/>
                  </a:lnTo>
                  <a:lnTo>
                    <a:pt x="260" y="62"/>
                  </a:lnTo>
                  <a:lnTo>
                    <a:pt x="260" y="62"/>
                  </a:lnTo>
                  <a:lnTo>
                    <a:pt x="260" y="60"/>
                  </a:lnTo>
                  <a:lnTo>
                    <a:pt x="260" y="60"/>
                  </a:lnTo>
                  <a:lnTo>
                    <a:pt x="260" y="58"/>
                  </a:lnTo>
                  <a:lnTo>
                    <a:pt x="258" y="58"/>
                  </a:lnTo>
                  <a:lnTo>
                    <a:pt x="258" y="58"/>
                  </a:lnTo>
                  <a:lnTo>
                    <a:pt x="256" y="56"/>
                  </a:lnTo>
                  <a:lnTo>
                    <a:pt x="254" y="56"/>
                  </a:lnTo>
                  <a:lnTo>
                    <a:pt x="252" y="56"/>
                  </a:lnTo>
                  <a:lnTo>
                    <a:pt x="252" y="56"/>
                  </a:lnTo>
                  <a:lnTo>
                    <a:pt x="250" y="54"/>
                  </a:lnTo>
                  <a:lnTo>
                    <a:pt x="248" y="54"/>
                  </a:lnTo>
                  <a:lnTo>
                    <a:pt x="246" y="54"/>
                  </a:lnTo>
                  <a:lnTo>
                    <a:pt x="244" y="54"/>
                  </a:lnTo>
                  <a:lnTo>
                    <a:pt x="242" y="54"/>
                  </a:lnTo>
                  <a:lnTo>
                    <a:pt x="240" y="54"/>
                  </a:lnTo>
                  <a:lnTo>
                    <a:pt x="240" y="54"/>
                  </a:lnTo>
                  <a:lnTo>
                    <a:pt x="238" y="54"/>
                  </a:lnTo>
                  <a:lnTo>
                    <a:pt x="238" y="56"/>
                  </a:lnTo>
                  <a:lnTo>
                    <a:pt x="236" y="56"/>
                  </a:lnTo>
                  <a:lnTo>
                    <a:pt x="236" y="56"/>
                  </a:lnTo>
                  <a:lnTo>
                    <a:pt x="236" y="58"/>
                  </a:lnTo>
                  <a:lnTo>
                    <a:pt x="236" y="58"/>
                  </a:lnTo>
                  <a:lnTo>
                    <a:pt x="236" y="60"/>
                  </a:lnTo>
                  <a:lnTo>
                    <a:pt x="238" y="60"/>
                  </a:lnTo>
                  <a:lnTo>
                    <a:pt x="240" y="62"/>
                  </a:lnTo>
                  <a:lnTo>
                    <a:pt x="240" y="64"/>
                  </a:lnTo>
                  <a:lnTo>
                    <a:pt x="242" y="66"/>
                  </a:lnTo>
                  <a:lnTo>
                    <a:pt x="242" y="66"/>
                  </a:lnTo>
                  <a:lnTo>
                    <a:pt x="242" y="68"/>
                  </a:lnTo>
                  <a:lnTo>
                    <a:pt x="242" y="68"/>
                  </a:lnTo>
                  <a:lnTo>
                    <a:pt x="242" y="68"/>
                  </a:lnTo>
                  <a:lnTo>
                    <a:pt x="240" y="70"/>
                  </a:lnTo>
                  <a:lnTo>
                    <a:pt x="240" y="70"/>
                  </a:lnTo>
                  <a:lnTo>
                    <a:pt x="240" y="70"/>
                  </a:lnTo>
                  <a:lnTo>
                    <a:pt x="238" y="70"/>
                  </a:lnTo>
                  <a:lnTo>
                    <a:pt x="238" y="70"/>
                  </a:lnTo>
                  <a:lnTo>
                    <a:pt x="236" y="70"/>
                  </a:lnTo>
                  <a:lnTo>
                    <a:pt x="234" y="70"/>
                  </a:lnTo>
                  <a:lnTo>
                    <a:pt x="234" y="70"/>
                  </a:lnTo>
                  <a:lnTo>
                    <a:pt x="230" y="68"/>
                  </a:lnTo>
                  <a:lnTo>
                    <a:pt x="228" y="68"/>
                  </a:lnTo>
                  <a:lnTo>
                    <a:pt x="226" y="66"/>
                  </a:lnTo>
                  <a:lnTo>
                    <a:pt x="222" y="64"/>
                  </a:lnTo>
                  <a:lnTo>
                    <a:pt x="216" y="60"/>
                  </a:lnTo>
                  <a:lnTo>
                    <a:pt x="214" y="58"/>
                  </a:lnTo>
                  <a:lnTo>
                    <a:pt x="212" y="56"/>
                  </a:lnTo>
                  <a:lnTo>
                    <a:pt x="208" y="56"/>
                  </a:lnTo>
                  <a:lnTo>
                    <a:pt x="206" y="54"/>
                  </a:lnTo>
                  <a:lnTo>
                    <a:pt x="204" y="54"/>
                  </a:lnTo>
                  <a:lnTo>
                    <a:pt x="204" y="54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198" y="54"/>
                  </a:lnTo>
                  <a:lnTo>
                    <a:pt x="196" y="56"/>
                  </a:lnTo>
                  <a:lnTo>
                    <a:pt x="194" y="56"/>
                  </a:lnTo>
                  <a:lnTo>
                    <a:pt x="192" y="58"/>
                  </a:lnTo>
                  <a:lnTo>
                    <a:pt x="190" y="60"/>
                  </a:lnTo>
                  <a:lnTo>
                    <a:pt x="188" y="62"/>
                  </a:lnTo>
                  <a:lnTo>
                    <a:pt x="186" y="62"/>
                  </a:lnTo>
                  <a:lnTo>
                    <a:pt x="184" y="64"/>
                  </a:lnTo>
                  <a:lnTo>
                    <a:pt x="184" y="64"/>
                  </a:lnTo>
                  <a:lnTo>
                    <a:pt x="182" y="64"/>
                  </a:lnTo>
                  <a:lnTo>
                    <a:pt x="180" y="64"/>
                  </a:lnTo>
                  <a:lnTo>
                    <a:pt x="176" y="64"/>
                  </a:lnTo>
                  <a:lnTo>
                    <a:pt x="174" y="64"/>
                  </a:lnTo>
                  <a:lnTo>
                    <a:pt x="172" y="64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68" y="64"/>
                  </a:lnTo>
                  <a:lnTo>
                    <a:pt x="168" y="64"/>
                  </a:lnTo>
                  <a:lnTo>
                    <a:pt x="166" y="64"/>
                  </a:lnTo>
                  <a:lnTo>
                    <a:pt x="164" y="66"/>
                  </a:lnTo>
                  <a:lnTo>
                    <a:pt x="162" y="68"/>
                  </a:lnTo>
                  <a:lnTo>
                    <a:pt x="160" y="70"/>
                  </a:lnTo>
                  <a:lnTo>
                    <a:pt x="156" y="72"/>
                  </a:lnTo>
                  <a:lnTo>
                    <a:pt x="154" y="76"/>
                  </a:lnTo>
                  <a:lnTo>
                    <a:pt x="150" y="7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sp>
          <p:nvSpPr>
            <p:cNvPr id="1939" name="Freeform 600">
              <a:extLst>
                <a:ext uri="{FF2B5EF4-FFF2-40B4-BE49-F238E27FC236}">
                  <a16:creationId xmlns:a16="http://schemas.microsoft.com/office/drawing/2014/main" id="{92C83050-D02B-469D-87DA-70B6477A7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283" y="3947435"/>
              <a:ext cx="23918" cy="46802"/>
            </a:xfrm>
            <a:custGeom>
              <a:avLst/>
              <a:gdLst>
                <a:gd name="T0" fmla="*/ 10 w 14"/>
                <a:gd name="T1" fmla="*/ 28 h 28"/>
                <a:gd name="T2" fmla="*/ 10 w 14"/>
                <a:gd name="T3" fmla="*/ 28 h 28"/>
                <a:gd name="T4" fmla="*/ 10 w 14"/>
                <a:gd name="T5" fmla="*/ 24 h 28"/>
                <a:gd name="T6" fmla="*/ 8 w 14"/>
                <a:gd name="T7" fmla="*/ 22 h 28"/>
                <a:gd name="T8" fmla="*/ 8 w 14"/>
                <a:gd name="T9" fmla="*/ 22 h 28"/>
                <a:gd name="T10" fmla="*/ 4 w 14"/>
                <a:gd name="T11" fmla="*/ 16 h 28"/>
                <a:gd name="T12" fmla="*/ 4 w 14"/>
                <a:gd name="T13" fmla="*/ 16 h 28"/>
                <a:gd name="T14" fmla="*/ 0 w 14"/>
                <a:gd name="T15" fmla="*/ 12 h 28"/>
                <a:gd name="T16" fmla="*/ 0 w 14"/>
                <a:gd name="T17" fmla="*/ 12 h 28"/>
                <a:gd name="T18" fmla="*/ 0 w 14"/>
                <a:gd name="T19" fmla="*/ 8 h 28"/>
                <a:gd name="T20" fmla="*/ 0 w 14"/>
                <a:gd name="T21" fmla="*/ 8 h 28"/>
                <a:gd name="T22" fmla="*/ 4 w 14"/>
                <a:gd name="T23" fmla="*/ 4 h 28"/>
                <a:gd name="T24" fmla="*/ 4 w 14"/>
                <a:gd name="T25" fmla="*/ 4 h 28"/>
                <a:gd name="T26" fmla="*/ 4 w 14"/>
                <a:gd name="T27" fmla="*/ 0 h 28"/>
                <a:gd name="T28" fmla="*/ 4 w 14"/>
                <a:gd name="T29" fmla="*/ 0 h 28"/>
                <a:gd name="T30" fmla="*/ 4 w 14"/>
                <a:gd name="T31" fmla="*/ 0 h 28"/>
                <a:gd name="T32" fmla="*/ 4 w 14"/>
                <a:gd name="T33" fmla="*/ 0 h 28"/>
                <a:gd name="T34" fmla="*/ 6 w 14"/>
                <a:gd name="T35" fmla="*/ 0 h 28"/>
                <a:gd name="T36" fmla="*/ 6 w 14"/>
                <a:gd name="T37" fmla="*/ 2 h 28"/>
                <a:gd name="T38" fmla="*/ 6 w 14"/>
                <a:gd name="T39" fmla="*/ 2 h 28"/>
                <a:gd name="T40" fmla="*/ 10 w 14"/>
                <a:gd name="T41" fmla="*/ 8 h 28"/>
                <a:gd name="T42" fmla="*/ 10 w 14"/>
                <a:gd name="T43" fmla="*/ 8 h 28"/>
                <a:gd name="T44" fmla="*/ 10 w 14"/>
                <a:gd name="T45" fmla="*/ 10 h 28"/>
                <a:gd name="T46" fmla="*/ 12 w 14"/>
                <a:gd name="T47" fmla="*/ 14 h 28"/>
                <a:gd name="T48" fmla="*/ 12 w 14"/>
                <a:gd name="T49" fmla="*/ 14 h 28"/>
                <a:gd name="T50" fmla="*/ 12 w 14"/>
                <a:gd name="T51" fmla="*/ 16 h 28"/>
                <a:gd name="T52" fmla="*/ 14 w 14"/>
                <a:gd name="T53" fmla="*/ 18 h 28"/>
                <a:gd name="T54" fmla="*/ 14 w 14"/>
                <a:gd name="T55" fmla="*/ 18 h 28"/>
                <a:gd name="T56" fmla="*/ 14 w 14"/>
                <a:gd name="T57" fmla="*/ 20 h 28"/>
                <a:gd name="T58" fmla="*/ 14 w 14"/>
                <a:gd name="T59" fmla="*/ 26 h 28"/>
                <a:gd name="T60" fmla="*/ 14 w 14"/>
                <a:gd name="T61" fmla="*/ 26 h 28"/>
                <a:gd name="T62" fmla="*/ 14 w 14"/>
                <a:gd name="T63" fmla="*/ 28 h 28"/>
                <a:gd name="T64" fmla="*/ 12 w 14"/>
                <a:gd name="T65" fmla="*/ 28 h 28"/>
                <a:gd name="T66" fmla="*/ 12 w 14"/>
                <a:gd name="T67" fmla="*/ 28 h 28"/>
                <a:gd name="T68" fmla="*/ 10 w 14"/>
                <a:gd name="T69" fmla="*/ 28 h 28"/>
                <a:gd name="T70" fmla="*/ 10 w 14"/>
                <a:gd name="T7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" h="28">
                  <a:moveTo>
                    <a:pt x="10" y="28"/>
                  </a:moveTo>
                  <a:lnTo>
                    <a:pt x="10" y="28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10" y="28"/>
                  </a:lnTo>
                  <a:close/>
                </a:path>
              </a:pathLst>
            </a:custGeom>
            <a:solidFill>
              <a:srgbClr val="FF2929">
                <a:alpha val="10196"/>
              </a:srgbClr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en-GB" kern="0">
                <a:solidFill>
                  <a:prstClr val="black">
                    <a:lumMod val="75000"/>
                    <a:lumOff val="25000"/>
                  </a:prstClr>
                </a:solidFill>
                <a:latin typeface="思源黑体 CN Light" panose="020B0300000000000000" pitchFamily="34" charset="-122"/>
                <a:ea typeface="思源黑体 CN Light" panose="020B0300000000000000" pitchFamily="34" charset="-122"/>
              </a:endParaRPr>
            </a:p>
          </p:txBody>
        </p:sp>
        <p:grpSp>
          <p:nvGrpSpPr>
            <p:cNvPr id="1940" name="Gruppieren 26632">
              <a:extLst>
                <a:ext uri="{FF2B5EF4-FFF2-40B4-BE49-F238E27FC236}">
                  <a16:creationId xmlns:a16="http://schemas.microsoft.com/office/drawing/2014/main" id="{C62C6782-C659-49C0-B2CA-BEA2E7C76AD7}"/>
                </a:ext>
              </a:extLst>
            </p:cNvPr>
            <p:cNvGrpSpPr/>
            <p:nvPr/>
          </p:nvGrpSpPr>
          <p:grpSpPr bwMode="auto">
            <a:xfrm>
              <a:off x="6042048" y="1811260"/>
              <a:ext cx="1930524" cy="1634725"/>
              <a:chOff x="1383002" y="2114717"/>
              <a:chExt cx="1793876" cy="1552575"/>
            </a:xfrm>
            <a:solidFill>
              <a:srgbClr val="FF2929">
                <a:alpha val="10196"/>
              </a:srgbClr>
            </a:solidFill>
          </p:grpSpPr>
          <p:sp>
            <p:nvSpPr>
              <p:cNvPr id="1941" name="Freeform 585">
                <a:extLst>
                  <a:ext uri="{FF2B5EF4-FFF2-40B4-BE49-F238E27FC236}">
                    <a16:creationId xmlns:a16="http://schemas.microsoft.com/office/drawing/2014/main" id="{06C4F021-B008-4591-B62A-B64C7958DD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6203" y="3391067"/>
                <a:ext cx="53975" cy="57150"/>
              </a:xfrm>
              <a:custGeom>
                <a:avLst/>
                <a:gdLst>
                  <a:gd name="T0" fmla="*/ 0 w 34"/>
                  <a:gd name="T1" fmla="*/ 8 h 36"/>
                  <a:gd name="T2" fmla="*/ 0 w 34"/>
                  <a:gd name="T3" fmla="*/ 8 h 36"/>
                  <a:gd name="T4" fmla="*/ 0 w 34"/>
                  <a:gd name="T5" fmla="*/ 8 h 36"/>
                  <a:gd name="T6" fmla="*/ 0 w 34"/>
                  <a:gd name="T7" fmla="*/ 6 h 36"/>
                  <a:gd name="T8" fmla="*/ 2 w 34"/>
                  <a:gd name="T9" fmla="*/ 4 h 36"/>
                  <a:gd name="T10" fmla="*/ 2 w 34"/>
                  <a:gd name="T11" fmla="*/ 4 h 36"/>
                  <a:gd name="T12" fmla="*/ 4 w 34"/>
                  <a:gd name="T13" fmla="*/ 2 h 36"/>
                  <a:gd name="T14" fmla="*/ 6 w 34"/>
                  <a:gd name="T15" fmla="*/ 2 h 36"/>
                  <a:gd name="T16" fmla="*/ 6 w 34"/>
                  <a:gd name="T17" fmla="*/ 0 h 36"/>
                  <a:gd name="T18" fmla="*/ 8 w 34"/>
                  <a:gd name="T19" fmla="*/ 0 h 36"/>
                  <a:gd name="T20" fmla="*/ 8 w 34"/>
                  <a:gd name="T21" fmla="*/ 0 h 36"/>
                  <a:gd name="T22" fmla="*/ 8 w 34"/>
                  <a:gd name="T23" fmla="*/ 0 h 36"/>
                  <a:gd name="T24" fmla="*/ 10 w 34"/>
                  <a:gd name="T25" fmla="*/ 0 h 36"/>
                  <a:gd name="T26" fmla="*/ 12 w 34"/>
                  <a:gd name="T27" fmla="*/ 2 h 36"/>
                  <a:gd name="T28" fmla="*/ 12 w 34"/>
                  <a:gd name="T29" fmla="*/ 2 h 36"/>
                  <a:gd name="T30" fmla="*/ 14 w 34"/>
                  <a:gd name="T31" fmla="*/ 4 h 36"/>
                  <a:gd name="T32" fmla="*/ 16 w 34"/>
                  <a:gd name="T33" fmla="*/ 4 h 36"/>
                  <a:gd name="T34" fmla="*/ 18 w 34"/>
                  <a:gd name="T35" fmla="*/ 8 h 36"/>
                  <a:gd name="T36" fmla="*/ 20 w 34"/>
                  <a:gd name="T37" fmla="*/ 12 h 36"/>
                  <a:gd name="T38" fmla="*/ 22 w 34"/>
                  <a:gd name="T39" fmla="*/ 14 h 36"/>
                  <a:gd name="T40" fmla="*/ 26 w 34"/>
                  <a:gd name="T41" fmla="*/ 20 h 36"/>
                  <a:gd name="T42" fmla="*/ 28 w 34"/>
                  <a:gd name="T43" fmla="*/ 22 h 36"/>
                  <a:gd name="T44" fmla="*/ 30 w 34"/>
                  <a:gd name="T45" fmla="*/ 24 h 36"/>
                  <a:gd name="T46" fmla="*/ 32 w 34"/>
                  <a:gd name="T47" fmla="*/ 26 h 36"/>
                  <a:gd name="T48" fmla="*/ 32 w 34"/>
                  <a:gd name="T49" fmla="*/ 28 h 36"/>
                  <a:gd name="T50" fmla="*/ 34 w 34"/>
                  <a:gd name="T51" fmla="*/ 30 h 36"/>
                  <a:gd name="T52" fmla="*/ 34 w 34"/>
                  <a:gd name="T53" fmla="*/ 30 h 36"/>
                  <a:gd name="T54" fmla="*/ 34 w 34"/>
                  <a:gd name="T55" fmla="*/ 30 h 36"/>
                  <a:gd name="T56" fmla="*/ 34 w 34"/>
                  <a:gd name="T57" fmla="*/ 32 h 36"/>
                  <a:gd name="T58" fmla="*/ 34 w 34"/>
                  <a:gd name="T59" fmla="*/ 32 h 36"/>
                  <a:gd name="T60" fmla="*/ 34 w 34"/>
                  <a:gd name="T61" fmla="*/ 32 h 36"/>
                  <a:gd name="T62" fmla="*/ 32 w 34"/>
                  <a:gd name="T63" fmla="*/ 34 h 36"/>
                  <a:gd name="T64" fmla="*/ 32 w 34"/>
                  <a:gd name="T65" fmla="*/ 34 h 36"/>
                  <a:gd name="T66" fmla="*/ 32 w 34"/>
                  <a:gd name="T67" fmla="*/ 34 h 36"/>
                  <a:gd name="T68" fmla="*/ 30 w 34"/>
                  <a:gd name="T69" fmla="*/ 36 h 36"/>
                  <a:gd name="T70" fmla="*/ 28 w 34"/>
                  <a:gd name="T71" fmla="*/ 36 h 36"/>
                  <a:gd name="T72" fmla="*/ 26 w 34"/>
                  <a:gd name="T73" fmla="*/ 36 h 36"/>
                  <a:gd name="T74" fmla="*/ 24 w 34"/>
                  <a:gd name="T75" fmla="*/ 36 h 36"/>
                  <a:gd name="T76" fmla="*/ 22 w 34"/>
                  <a:gd name="T77" fmla="*/ 36 h 36"/>
                  <a:gd name="T78" fmla="*/ 20 w 34"/>
                  <a:gd name="T79" fmla="*/ 36 h 36"/>
                  <a:gd name="T80" fmla="*/ 18 w 34"/>
                  <a:gd name="T81" fmla="*/ 36 h 36"/>
                  <a:gd name="T82" fmla="*/ 18 w 34"/>
                  <a:gd name="T83" fmla="*/ 36 h 36"/>
                  <a:gd name="T84" fmla="*/ 16 w 34"/>
                  <a:gd name="T85" fmla="*/ 34 h 36"/>
                  <a:gd name="T86" fmla="*/ 16 w 34"/>
                  <a:gd name="T87" fmla="*/ 34 h 36"/>
                  <a:gd name="T88" fmla="*/ 14 w 34"/>
                  <a:gd name="T89" fmla="*/ 32 h 36"/>
                  <a:gd name="T90" fmla="*/ 12 w 34"/>
                  <a:gd name="T91" fmla="*/ 30 h 36"/>
                  <a:gd name="T92" fmla="*/ 10 w 34"/>
                  <a:gd name="T93" fmla="*/ 28 h 36"/>
                  <a:gd name="T94" fmla="*/ 8 w 34"/>
                  <a:gd name="T95" fmla="*/ 26 h 36"/>
                  <a:gd name="T96" fmla="*/ 4 w 34"/>
                  <a:gd name="T97" fmla="*/ 22 h 36"/>
                  <a:gd name="T98" fmla="*/ 2 w 34"/>
                  <a:gd name="T99" fmla="*/ 18 h 36"/>
                  <a:gd name="T100" fmla="*/ 0 w 34"/>
                  <a:gd name="T101" fmla="*/ 16 h 36"/>
                  <a:gd name="T102" fmla="*/ 0 w 34"/>
                  <a:gd name="T103" fmla="*/ 14 h 36"/>
                  <a:gd name="T104" fmla="*/ 0 w 34"/>
                  <a:gd name="T105" fmla="*/ 12 h 36"/>
                  <a:gd name="T106" fmla="*/ 0 w 34"/>
                  <a:gd name="T107" fmla="*/ 10 h 36"/>
                  <a:gd name="T108" fmla="*/ 0 w 34"/>
                  <a:gd name="T109" fmla="*/ 10 h 36"/>
                  <a:gd name="T110" fmla="*/ 0 w 34"/>
                  <a:gd name="T111" fmla="*/ 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36">
                    <a:moveTo>
                      <a:pt x="0" y="8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20" y="12"/>
                    </a:lnTo>
                    <a:lnTo>
                      <a:pt x="22" y="14"/>
                    </a:lnTo>
                    <a:lnTo>
                      <a:pt x="26" y="20"/>
                    </a:lnTo>
                    <a:lnTo>
                      <a:pt x="28" y="22"/>
                    </a:lnTo>
                    <a:lnTo>
                      <a:pt x="30" y="24"/>
                    </a:lnTo>
                    <a:lnTo>
                      <a:pt x="32" y="26"/>
                    </a:lnTo>
                    <a:lnTo>
                      <a:pt x="32" y="28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2"/>
                    </a:lnTo>
                    <a:lnTo>
                      <a:pt x="34" y="32"/>
                    </a:lnTo>
                    <a:lnTo>
                      <a:pt x="34" y="32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6"/>
                    </a:lnTo>
                    <a:lnTo>
                      <a:pt x="28" y="36"/>
                    </a:lnTo>
                    <a:lnTo>
                      <a:pt x="26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0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4" y="32"/>
                    </a:lnTo>
                    <a:lnTo>
                      <a:pt x="12" y="30"/>
                    </a:lnTo>
                    <a:lnTo>
                      <a:pt x="10" y="28"/>
                    </a:lnTo>
                    <a:lnTo>
                      <a:pt x="8" y="26"/>
                    </a:lnTo>
                    <a:lnTo>
                      <a:pt x="4" y="22"/>
                    </a:lnTo>
                    <a:lnTo>
                      <a:pt x="2" y="18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42" name="Freeform 530">
                <a:extLst>
                  <a:ext uri="{FF2B5EF4-FFF2-40B4-BE49-F238E27FC236}">
                    <a16:creationId xmlns:a16="http://schemas.microsoft.com/office/drawing/2014/main" id="{39BDE3BF-28A7-4E7C-81EA-3BEEB290CB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3002" y="2629067"/>
                <a:ext cx="1746249" cy="1038225"/>
              </a:xfrm>
              <a:custGeom>
                <a:avLst/>
                <a:gdLst>
                  <a:gd name="T0" fmla="*/ 1028 w 1100"/>
                  <a:gd name="T1" fmla="*/ 304 h 654"/>
                  <a:gd name="T2" fmla="*/ 1038 w 1100"/>
                  <a:gd name="T3" fmla="*/ 338 h 654"/>
                  <a:gd name="T4" fmla="*/ 1044 w 1100"/>
                  <a:gd name="T5" fmla="*/ 374 h 654"/>
                  <a:gd name="T6" fmla="*/ 1066 w 1100"/>
                  <a:gd name="T7" fmla="*/ 388 h 654"/>
                  <a:gd name="T8" fmla="*/ 1054 w 1100"/>
                  <a:gd name="T9" fmla="*/ 410 h 654"/>
                  <a:gd name="T10" fmla="*/ 1086 w 1100"/>
                  <a:gd name="T11" fmla="*/ 406 h 654"/>
                  <a:gd name="T12" fmla="*/ 1092 w 1100"/>
                  <a:gd name="T13" fmla="*/ 458 h 654"/>
                  <a:gd name="T14" fmla="*/ 1012 w 1100"/>
                  <a:gd name="T15" fmla="*/ 480 h 654"/>
                  <a:gd name="T16" fmla="*/ 912 w 1100"/>
                  <a:gd name="T17" fmla="*/ 512 h 654"/>
                  <a:gd name="T18" fmla="*/ 958 w 1100"/>
                  <a:gd name="T19" fmla="*/ 500 h 654"/>
                  <a:gd name="T20" fmla="*/ 976 w 1100"/>
                  <a:gd name="T21" fmla="*/ 542 h 654"/>
                  <a:gd name="T22" fmla="*/ 988 w 1100"/>
                  <a:gd name="T23" fmla="*/ 582 h 654"/>
                  <a:gd name="T24" fmla="*/ 946 w 1100"/>
                  <a:gd name="T25" fmla="*/ 592 h 654"/>
                  <a:gd name="T26" fmla="*/ 966 w 1100"/>
                  <a:gd name="T27" fmla="*/ 554 h 654"/>
                  <a:gd name="T28" fmla="*/ 920 w 1100"/>
                  <a:gd name="T29" fmla="*/ 540 h 654"/>
                  <a:gd name="T30" fmla="*/ 874 w 1100"/>
                  <a:gd name="T31" fmla="*/ 586 h 654"/>
                  <a:gd name="T32" fmla="*/ 800 w 1100"/>
                  <a:gd name="T33" fmla="*/ 610 h 654"/>
                  <a:gd name="T34" fmla="*/ 732 w 1100"/>
                  <a:gd name="T35" fmla="*/ 646 h 654"/>
                  <a:gd name="T36" fmla="*/ 720 w 1100"/>
                  <a:gd name="T37" fmla="*/ 616 h 654"/>
                  <a:gd name="T38" fmla="*/ 670 w 1100"/>
                  <a:gd name="T39" fmla="*/ 538 h 654"/>
                  <a:gd name="T40" fmla="*/ 560 w 1100"/>
                  <a:gd name="T41" fmla="*/ 520 h 654"/>
                  <a:gd name="T42" fmla="*/ 122 w 1100"/>
                  <a:gd name="T43" fmla="*/ 448 h 654"/>
                  <a:gd name="T44" fmla="*/ 106 w 1100"/>
                  <a:gd name="T45" fmla="*/ 408 h 654"/>
                  <a:gd name="T46" fmla="*/ 116 w 1100"/>
                  <a:gd name="T47" fmla="*/ 360 h 654"/>
                  <a:gd name="T48" fmla="*/ 84 w 1100"/>
                  <a:gd name="T49" fmla="*/ 326 h 654"/>
                  <a:gd name="T50" fmla="*/ 48 w 1100"/>
                  <a:gd name="T51" fmla="*/ 292 h 654"/>
                  <a:gd name="T52" fmla="*/ 20 w 1100"/>
                  <a:gd name="T53" fmla="*/ 290 h 654"/>
                  <a:gd name="T54" fmla="*/ 118 w 1100"/>
                  <a:gd name="T55" fmla="*/ 66 h 654"/>
                  <a:gd name="T56" fmla="*/ 172 w 1100"/>
                  <a:gd name="T57" fmla="*/ 54 h 654"/>
                  <a:gd name="T58" fmla="*/ 198 w 1100"/>
                  <a:gd name="T59" fmla="*/ 48 h 654"/>
                  <a:gd name="T60" fmla="*/ 234 w 1100"/>
                  <a:gd name="T61" fmla="*/ 32 h 654"/>
                  <a:gd name="T62" fmla="*/ 276 w 1100"/>
                  <a:gd name="T63" fmla="*/ 48 h 654"/>
                  <a:gd name="T64" fmla="*/ 306 w 1100"/>
                  <a:gd name="T65" fmla="*/ 46 h 654"/>
                  <a:gd name="T66" fmla="*/ 416 w 1100"/>
                  <a:gd name="T67" fmla="*/ 76 h 654"/>
                  <a:gd name="T68" fmla="*/ 446 w 1100"/>
                  <a:gd name="T69" fmla="*/ 86 h 654"/>
                  <a:gd name="T70" fmla="*/ 486 w 1100"/>
                  <a:gd name="T71" fmla="*/ 96 h 654"/>
                  <a:gd name="T72" fmla="*/ 546 w 1100"/>
                  <a:gd name="T73" fmla="*/ 98 h 654"/>
                  <a:gd name="T74" fmla="*/ 622 w 1100"/>
                  <a:gd name="T75" fmla="*/ 80 h 654"/>
                  <a:gd name="T76" fmla="*/ 660 w 1100"/>
                  <a:gd name="T77" fmla="*/ 68 h 654"/>
                  <a:gd name="T78" fmla="*/ 654 w 1100"/>
                  <a:gd name="T79" fmla="*/ 16 h 654"/>
                  <a:gd name="T80" fmla="*/ 694 w 1100"/>
                  <a:gd name="T81" fmla="*/ 26 h 654"/>
                  <a:gd name="T82" fmla="*/ 714 w 1100"/>
                  <a:gd name="T83" fmla="*/ 80 h 654"/>
                  <a:gd name="T84" fmla="*/ 734 w 1100"/>
                  <a:gd name="T85" fmla="*/ 96 h 654"/>
                  <a:gd name="T86" fmla="*/ 768 w 1100"/>
                  <a:gd name="T87" fmla="*/ 76 h 654"/>
                  <a:gd name="T88" fmla="*/ 812 w 1100"/>
                  <a:gd name="T89" fmla="*/ 54 h 654"/>
                  <a:gd name="T90" fmla="*/ 812 w 1100"/>
                  <a:gd name="T91" fmla="*/ 104 h 654"/>
                  <a:gd name="T92" fmla="*/ 766 w 1100"/>
                  <a:gd name="T93" fmla="*/ 124 h 654"/>
                  <a:gd name="T94" fmla="*/ 722 w 1100"/>
                  <a:gd name="T95" fmla="*/ 144 h 654"/>
                  <a:gd name="T96" fmla="*/ 712 w 1100"/>
                  <a:gd name="T97" fmla="*/ 150 h 654"/>
                  <a:gd name="T98" fmla="*/ 688 w 1100"/>
                  <a:gd name="T99" fmla="*/ 186 h 654"/>
                  <a:gd name="T100" fmla="*/ 604 w 1100"/>
                  <a:gd name="T101" fmla="*/ 274 h 654"/>
                  <a:gd name="T102" fmla="*/ 624 w 1100"/>
                  <a:gd name="T103" fmla="*/ 320 h 654"/>
                  <a:gd name="T104" fmla="*/ 692 w 1100"/>
                  <a:gd name="T105" fmla="*/ 364 h 654"/>
                  <a:gd name="T106" fmla="*/ 750 w 1100"/>
                  <a:gd name="T107" fmla="*/ 382 h 654"/>
                  <a:gd name="T108" fmla="*/ 754 w 1100"/>
                  <a:gd name="T109" fmla="*/ 462 h 654"/>
                  <a:gd name="T110" fmla="*/ 788 w 1100"/>
                  <a:gd name="T111" fmla="*/ 460 h 654"/>
                  <a:gd name="T112" fmla="*/ 806 w 1100"/>
                  <a:gd name="T113" fmla="*/ 380 h 654"/>
                  <a:gd name="T114" fmla="*/ 822 w 1100"/>
                  <a:gd name="T115" fmla="*/ 296 h 654"/>
                  <a:gd name="T116" fmla="*/ 840 w 1100"/>
                  <a:gd name="T117" fmla="*/ 216 h 654"/>
                  <a:gd name="T118" fmla="*/ 902 w 1100"/>
                  <a:gd name="T119" fmla="*/ 224 h 654"/>
                  <a:gd name="T120" fmla="*/ 936 w 1100"/>
                  <a:gd name="T121" fmla="*/ 270 h 654"/>
                  <a:gd name="T122" fmla="*/ 986 w 1100"/>
                  <a:gd name="T123" fmla="*/ 302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00" h="654">
                    <a:moveTo>
                      <a:pt x="1004" y="272"/>
                    </a:moveTo>
                    <a:lnTo>
                      <a:pt x="1004" y="272"/>
                    </a:lnTo>
                    <a:lnTo>
                      <a:pt x="1004" y="272"/>
                    </a:lnTo>
                    <a:lnTo>
                      <a:pt x="1006" y="272"/>
                    </a:lnTo>
                    <a:lnTo>
                      <a:pt x="1006" y="272"/>
                    </a:lnTo>
                    <a:lnTo>
                      <a:pt x="1006" y="272"/>
                    </a:lnTo>
                    <a:lnTo>
                      <a:pt x="1008" y="274"/>
                    </a:lnTo>
                    <a:lnTo>
                      <a:pt x="1008" y="276"/>
                    </a:lnTo>
                    <a:lnTo>
                      <a:pt x="1010" y="278"/>
                    </a:lnTo>
                    <a:lnTo>
                      <a:pt x="1010" y="280"/>
                    </a:lnTo>
                    <a:lnTo>
                      <a:pt x="1012" y="284"/>
                    </a:lnTo>
                    <a:lnTo>
                      <a:pt x="1012" y="284"/>
                    </a:lnTo>
                    <a:lnTo>
                      <a:pt x="1012" y="286"/>
                    </a:lnTo>
                    <a:lnTo>
                      <a:pt x="1012" y="288"/>
                    </a:lnTo>
                    <a:lnTo>
                      <a:pt x="1012" y="294"/>
                    </a:lnTo>
                    <a:lnTo>
                      <a:pt x="1012" y="296"/>
                    </a:lnTo>
                    <a:lnTo>
                      <a:pt x="1014" y="298"/>
                    </a:lnTo>
                    <a:lnTo>
                      <a:pt x="1014" y="300"/>
                    </a:lnTo>
                    <a:lnTo>
                      <a:pt x="1014" y="302"/>
                    </a:lnTo>
                    <a:lnTo>
                      <a:pt x="1014" y="302"/>
                    </a:lnTo>
                    <a:lnTo>
                      <a:pt x="1016" y="302"/>
                    </a:lnTo>
                    <a:lnTo>
                      <a:pt x="1016" y="302"/>
                    </a:lnTo>
                    <a:lnTo>
                      <a:pt x="1016" y="304"/>
                    </a:lnTo>
                    <a:lnTo>
                      <a:pt x="1018" y="304"/>
                    </a:lnTo>
                    <a:lnTo>
                      <a:pt x="1020" y="302"/>
                    </a:lnTo>
                    <a:lnTo>
                      <a:pt x="1022" y="302"/>
                    </a:lnTo>
                    <a:lnTo>
                      <a:pt x="1022" y="302"/>
                    </a:lnTo>
                    <a:lnTo>
                      <a:pt x="1024" y="302"/>
                    </a:lnTo>
                    <a:lnTo>
                      <a:pt x="1026" y="302"/>
                    </a:lnTo>
                    <a:lnTo>
                      <a:pt x="1026" y="302"/>
                    </a:lnTo>
                    <a:lnTo>
                      <a:pt x="1026" y="302"/>
                    </a:lnTo>
                    <a:lnTo>
                      <a:pt x="1028" y="304"/>
                    </a:lnTo>
                    <a:lnTo>
                      <a:pt x="1028" y="304"/>
                    </a:lnTo>
                    <a:lnTo>
                      <a:pt x="1028" y="304"/>
                    </a:lnTo>
                    <a:lnTo>
                      <a:pt x="1028" y="306"/>
                    </a:lnTo>
                    <a:lnTo>
                      <a:pt x="1028" y="308"/>
                    </a:lnTo>
                    <a:lnTo>
                      <a:pt x="1028" y="310"/>
                    </a:lnTo>
                    <a:lnTo>
                      <a:pt x="1028" y="312"/>
                    </a:lnTo>
                    <a:lnTo>
                      <a:pt x="1028" y="316"/>
                    </a:lnTo>
                    <a:lnTo>
                      <a:pt x="1028" y="320"/>
                    </a:lnTo>
                    <a:lnTo>
                      <a:pt x="1028" y="322"/>
                    </a:lnTo>
                    <a:lnTo>
                      <a:pt x="1028" y="324"/>
                    </a:lnTo>
                    <a:lnTo>
                      <a:pt x="1028" y="324"/>
                    </a:lnTo>
                    <a:lnTo>
                      <a:pt x="1030" y="326"/>
                    </a:lnTo>
                    <a:lnTo>
                      <a:pt x="1030" y="328"/>
                    </a:lnTo>
                    <a:lnTo>
                      <a:pt x="1030" y="328"/>
                    </a:lnTo>
                    <a:lnTo>
                      <a:pt x="1030" y="328"/>
                    </a:lnTo>
                    <a:lnTo>
                      <a:pt x="1030" y="328"/>
                    </a:lnTo>
                    <a:lnTo>
                      <a:pt x="1032" y="328"/>
                    </a:lnTo>
                    <a:lnTo>
                      <a:pt x="1032" y="328"/>
                    </a:lnTo>
                    <a:lnTo>
                      <a:pt x="1034" y="328"/>
                    </a:lnTo>
                    <a:lnTo>
                      <a:pt x="1034" y="328"/>
                    </a:lnTo>
                    <a:lnTo>
                      <a:pt x="1036" y="326"/>
                    </a:lnTo>
                    <a:lnTo>
                      <a:pt x="1036" y="326"/>
                    </a:lnTo>
                    <a:lnTo>
                      <a:pt x="1038" y="326"/>
                    </a:lnTo>
                    <a:lnTo>
                      <a:pt x="1038" y="326"/>
                    </a:lnTo>
                    <a:lnTo>
                      <a:pt x="1038" y="326"/>
                    </a:lnTo>
                    <a:lnTo>
                      <a:pt x="1038" y="328"/>
                    </a:lnTo>
                    <a:lnTo>
                      <a:pt x="1038" y="328"/>
                    </a:lnTo>
                    <a:lnTo>
                      <a:pt x="1040" y="328"/>
                    </a:lnTo>
                    <a:lnTo>
                      <a:pt x="1040" y="330"/>
                    </a:lnTo>
                    <a:lnTo>
                      <a:pt x="1040" y="332"/>
                    </a:lnTo>
                    <a:lnTo>
                      <a:pt x="1040" y="334"/>
                    </a:lnTo>
                    <a:lnTo>
                      <a:pt x="1040" y="336"/>
                    </a:lnTo>
                    <a:lnTo>
                      <a:pt x="1038" y="336"/>
                    </a:lnTo>
                    <a:lnTo>
                      <a:pt x="1038" y="338"/>
                    </a:lnTo>
                    <a:lnTo>
                      <a:pt x="1038" y="338"/>
                    </a:lnTo>
                    <a:lnTo>
                      <a:pt x="1036" y="340"/>
                    </a:lnTo>
                    <a:lnTo>
                      <a:pt x="1034" y="340"/>
                    </a:lnTo>
                    <a:lnTo>
                      <a:pt x="1034" y="342"/>
                    </a:lnTo>
                    <a:lnTo>
                      <a:pt x="1032" y="342"/>
                    </a:lnTo>
                    <a:lnTo>
                      <a:pt x="1032" y="342"/>
                    </a:lnTo>
                    <a:lnTo>
                      <a:pt x="1030" y="342"/>
                    </a:lnTo>
                    <a:lnTo>
                      <a:pt x="1030" y="344"/>
                    </a:lnTo>
                    <a:lnTo>
                      <a:pt x="1030" y="346"/>
                    </a:lnTo>
                    <a:lnTo>
                      <a:pt x="1030" y="346"/>
                    </a:lnTo>
                    <a:lnTo>
                      <a:pt x="1030" y="348"/>
                    </a:lnTo>
                    <a:lnTo>
                      <a:pt x="1030" y="350"/>
                    </a:lnTo>
                    <a:lnTo>
                      <a:pt x="1030" y="352"/>
                    </a:lnTo>
                    <a:lnTo>
                      <a:pt x="1032" y="352"/>
                    </a:lnTo>
                    <a:lnTo>
                      <a:pt x="1032" y="352"/>
                    </a:lnTo>
                    <a:lnTo>
                      <a:pt x="1032" y="354"/>
                    </a:lnTo>
                    <a:lnTo>
                      <a:pt x="1032" y="354"/>
                    </a:lnTo>
                    <a:lnTo>
                      <a:pt x="1034" y="354"/>
                    </a:lnTo>
                    <a:lnTo>
                      <a:pt x="1036" y="354"/>
                    </a:lnTo>
                    <a:lnTo>
                      <a:pt x="1036" y="354"/>
                    </a:lnTo>
                    <a:lnTo>
                      <a:pt x="1038" y="354"/>
                    </a:lnTo>
                    <a:lnTo>
                      <a:pt x="1040" y="354"/>
                    </a:lnTo>
                    <a:lnTo>
                      <a:pt x="1042" y="356"/>
                    </a:lnTo>
                    <a:lnTo>
                      <a:pt x="1042" y="356"/>
                    </a:lnTo>
                    <a:lnTo>
                      <a:pt x="1042" y="356"/>
                    </a:lnTo>
                    <a:lnTo>
                      <a:pt x="1042" y="356"/>
                    </a:lnTo>
                    <a:lnTo>
                      <a:pt x="1044" y="358"/>
                    </a:lnTo>
                    <a:lnTo>
                      <a:pt x="1044" y="360"/>
                    </a:lnTo>
                    <a:lnTo>
                      <a:pt x="1044" y="360"/>
                    </a:lnTo>
                    <a:lnTo>
                      <a:pt x="1044" y="364"/>
                    </a:lnTo>
                    <a:lnTo>
                      <a:pt x="1044" y="368"/>
                    </a:lnTo>
                    <a:lnTo>
                      <a:pt x="1044" y="372"/>
                    </a:lnTo>
                    <a:lnTo>
                      <a:pt x="1044" y="374"/>
                    </a:lnTo>
                    <a:lnTo>
                      <a:pt x="1044" y="374"/>
                    </a:lnTo>
                    <a:lnTo>
                      <a:pt x="1044" y="376"/>
                    </a:lnTo>
                    <a:lnTo>
                      <a:pt x="1046" y="378"/>
                    </a:lnTo>
                    <a:lnTo>
                      <a:pt x="1046" y="378"/>
                    </a:lnTo>
                    <a:lnTo>
                      <a:pt x="1046" y="380"/>
                    </a:lnTo>
                    <a:lnTo>
                      <a:pt x="1048" y="380"/>
                    </a:lnTo>
                    <a:lnTo>
                      <a:pt x="1048" y="380"/>
                    </a:lnTo>
                    <a:lnTo>
                      <a:pt x="1050" y="380"/>
                    </a:lnTo>
                    <a:lnTo>
                      <a:pt x="1052" y="380"/>
                    </a:lnTo>
                    <a:lnTo>
                      <a:pt x="1054" y="380"/>
                    </a:lnTo>
                    <a:lnTo>
                      <a:pt x="1056" y="378"/>
                    </a:lnTo>
                    <a:lnTo>
                      <a:pt x="1060" y="376"/>
                    </a:lnTo>
                    <a:lnTo>
                      <a:pt x="1060" y="376"/>
                    </a:lnTo>
                    <a:lnTo>
                      <a:pt x="1062" y="376"/>
                    </a:lnTo>
                    <a:lnTo>
                      <a:pt x="1064" y="376"/>
                    </a:lnTo>
                    <a:lnTo>
                      <a:pt x="1064" y="376"/>
                    </a:lnTo>
                    <a:lnTo>
                      <a:pt x="1066" y="376"/>
                    </a:lnTo>
                    <a:lnTo>
                      <a:pt x="1066" y="378"/>
                    </a:lnTo>
                    <a:lnTo>
                      <a:pt x="1066" y="378"/>
                    </a:lnTo>
                    <a:lnTo>
                      <a:pt x="1066" y="378"/>
                    </a:lnTo>
                    <a:lnTo>
                      <a:pt x="1066" y="378"/>
                    </a:lnTo>
                    <a:lnTo>
                      <a:pt x="1066" y="380"/>
                    </a:lnTo>
                    <a:lnTo>
                      <a:pt x="1066" y="380"/>
                    </a:lnTo>
                    <a:lnTo>
                      <a:pt x="1064" y="382"/>
                    </a:lnTo>
                    <a:lnTo>
                      <a:pt x="1064" y="384"/>
                    </a:lnTo>
                    <a:lnTo>
                      <a:pt x="1064" y="384"/>
                    </a:lnTo>
                    <a:lnTo>
                      <a:pt x="1064" y="386"/>
                    </a:lnTo>
                    <a:lnTo>
                      <a:pt x="1062" y="386"/>
                    </a:lnTo>
                    <a:lnTo>
                      <a:pt x="1064" y="386"/>
                    </a:lnTo>
                    <a:lnTo>
                      <a:pt x="1064" y="388"/>
                    </a:lnTo>
                    <a:lnTo>
                      <a:pt x="1064" y="388"/>
                    </a:lnTo>
                    <a:lnTo>
                      <a:pt x="1064" y="388"/>
                    </a:lnTo>
                    <a:lnTo>
                      <a:pt x="1066" y="388"/>
                    </a:lnTo>
                    <a:lnTo>
                      <a:pt x="1066" y="388"/>
                    </a:lnTo>
                    <a:lnTo>
                      <a:pt x="1068" y="386"/>
                    </a:lnTo>
                    <a:lnTo>
                      <a:pt x="1072" y="386"/>
                    </a:lnTo>
                    <a:lnTo>
                      <a:pt x="1074" y="384"/>
                    </a:lnTo>
                    <a:lnTo>
                      <a:pt x="1076" y="384"/>
                    </a:lnTo>
                    <a:lnTo>
                      <a:pt x="1076" y="384"/>
                    </a:lnTo>
                    <a:lnTo>
                      <a:pt x="1078" y="384"/>
                    </a:lnTo>
                    <a:lnTo>
                      <a:pt x="1078" y="384"/>
                    </a:lnTo>
                    <a:lnTo>
                      <a:pt x="1078" y="384"/>
                    </a:lnTo>
                    <a:lnTo>
                      <a:pt x="1078" y="386"/>
                    </a:lnTo>
                    <a:lnTo>
                      <a:pt x="1078" y="386"/>
                    </a:lnTo>
                    <a:lnTo>
                      <a:pt x="1078" y="386"/>
                    </a:lnTo>
                    <a:lnTo>
                      <a:pt x="1078" y="388"/>
                    </a:lnTo>
                    <a:lnTo>
                      <a:pt x="1078" y="388"/>
                    </a:lnTo>
                    <a:lnTo>
                      <a:pt x="1076" y="390"/>
                    </a:lnTo>
                    <a:lnTo>
                      <a:pt x="1076" y="392"/>
                    </a:lnTo>
                    <a:lnTo>
                      <a:pt x="1072" y="396"/>
                    </a:lnTo>
                    <a:lnTo>
                      <a:pt x="1070" y="396"/>
                    </a:lnTo>
                    <a:lnTo>
                      <a:pt x="1068" y="398"/>
                    </a:lnTo>
                    <a:lnTo>
                      <a:pt x="1068" y="398"/>
                    </a:lnTo>
                    <a:lnTo>
                      <a:pt x="1068" y="400"/>
                    </a:lnTo>
                    <a:lnTo>
                      <a:pt x="1068" y="400"/>
                    </a:lnTo>
                    <a:lnTo>
                      <a:pt x="1066" y="404"/>
                    </a:lnTo>
                    <a:lnTo>
                      <a:pt x="1066" y="406"/>
                    </a:lnTo>
                    <a:lnTo>
                      <a:pt x="1066" y="406"/>
                    </a:lnTo>
                    <a:lnTo>
                      <a:pt x="1066" y="408"/>
                    </a:lnTo>
                    <a:lnTo>
                      <a:pt x="1064" y="408"/>
                    </a:lnTo>
                    <a:lnTo>
                      <a:pt x="1064" y="408"/>
                    </a:lnTo>
                    <a:lnTo>
                      <a:pt x="1062" y="410"/>
                    </a:lnTo>
                    <a:lnTo>
                      <a:pt x="1062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4" y="410"/>
                    </a:lnTo>
                    <a:lnTo>
                      <a:pt x="1050" y="410"/>
                    </a:lnTo>
                    <a:lnTo>
                      <a:pt x="1048" y="410"/>
                    </a:lnTo>
                    <a:lnTo>
                      <a:pt x="1048" y="412"/>
                    </a:lnTo>
                    <a:lnTo>
                      <a:pt x="1046" y="412"/>
                    </a:lnTo>
                    <a:lnTo>
                      <a:pt x="1046" y="412"/>
                    </a:lnTo>
                    <a:lnTo>
                      <a:pt x="1044" y="412"/>
                    </a:lnTo>
                    <a:lnTo>
                      <a:pt x="1044" y="414"/>
                    </a:lnTo>
                    <a:lnTo>
                      <a:pt x="1044" y="414"/>
                    </a:lnTo>
                    <a:lnTo>
                      <a:pt x="1044" y="414"/>
                    </a:lnTo>
                    <a:lnTo>
                      <a:pt x="1044" y="414"/>
                    </a:lnTo>
                    <a:lnTo>
                      <a:pt x="1044" y="414"/>
                    </a:lnTo>
                    <a:lnTo>
                      <a:pt x="1046" y="416"/>
                    </a:lnTo>
                    <a:lnTo>
                      <a:pt x="1046" y="416"/>
                    </a:lnTo>
                    <a:lnTo>
                      <a:pt x="1048" y="416"/>
                    </a:lnTo>
                    <a:lnTo>
                      <a:pt x="1050" y="418"/>
                    </a:lnTo>
                    <a:lnTo>
                      <a:pt x="1050" y="418"/>
                    </a:lnTo>
                    <a:lnTo>
                      <a:pt x="1052" y="418"/>
                    </a:lnTo>
                    <a:lnTo>
                      <a:pt x="1054" y="418"/>
                    </a:lnTo>
                    <a:lnTo>
                      <a:pt x="1054" y="418"/>
                    </a:lnTo>
                    <a:lnTo>
                      <a:pt x="1056" y="418"/>
                    </a:lnTo>
                    <a:lnTo>
                      <a:pt x="1058" y="418"/>
                    </a:lnTo>
                    <a:lnTo>
                      <a:pt x="1060" y="416"/>
                    </a:lnTo>
                    <a:lnTo>
                      <a:pt x="1064" y="414"/>
                    </a:lnTo>
                    <a:lnTo>
                      <a:pt x="1068" y="414"/>
                    </a:lnTo>
                    <a:lnTo>
                      <a:pt x="1070" y="412"/>
                    </a:lnTo>
                    <a:lnTo>
                      <a:pt x="1072" y="412"/>
                    </a:lnTo>
                    <a:lnTo>
                      <a:pt x="1076" y="410"/>
                    </a:lnTo>
                    <a:lnTo>
                      <a:pt x="1078" y="408"/>
                    </a:lnTo>
                    <a:lnTo>
                      <a:pt x="1078" y="408"/>
                    </a:lnTo>
                    <a:lnTo>
                      <a:pt x="1080" y="406"/>
                    </a:lnTo>
                    <a:lnTo>
                      <a:pt x="1082" y="406"/>
                    </a:lnTo>
                    <a:lnTo>
                      <a:pt x="1084" y="406"/>
                    </a:lnTo>
                    <a:lnTo>
                      <a:pt x="1086" y="406"/>
                    </a:lnTo>
                    <a:lnTo>
                      <a:pt x="1088" y="406"/>
                    </a:lnTo>
                    <a:lnTo>
                      <a:pt x="1090" y="406"/>
                    </a:lnTo>
                    <a:lnTo>
                      <a:pt x="1092" y="406"/>
                    </a:lnTo>
                    <a:lnTo>
                      <a:pt x="1094" y="406"/>
                    </a:lnTo>
                    <a:lnTo>
                      <a:pt x="1094" y="406"/>
                    </a:lnTo>
                    <a:lnTo>
                      <a:pt x="1096" y="406"/>
                    </a:lnTo>
                    <a:lnTo>
                      <a:pt x="1096" y="408"/>
                    </a:lnTo>
                    <a:lnTo>
                      <a:pt x="1096" y="408"/>
                    </a:lnTo>
                    <a:lnTo>
                      <a:pt x="1096" y="408"/>
                    </a:lnTo>
                    <a:lnTo>
                      <a:pt x="1098" y="410"/>
                    </a:lnTo>
                    <a:lnTo>
                      <a:pt x="1098" y="412"/>
                    </a:lnTo>
                    <a:lnTo>
                      <a:pt x="1098" y="414"/>
                    </a:lnTo>
                    <a:lnTo>
                      <a:pt x="1098" y="416"/>
                    </a:lnTo>
                    <a:lnTo>
                      <a:pt x="1098" y="420"/>
                    </a:lnTo>
                    <a:lnTo>
                      <a:pt x="1098" y="422"/>
                    </a:lnTo>
                    <a:lnTo>
                      <a:pt x="1098" y="424"/>
                    </a:lnTo>
                    <a:lnTo>
                      <a:pt x="1098" y="428"/>
                    </a:lnTo>
                    <a:lnTo>
                      <a:pt x="1098" y="434"/>
                    </a:lnTo>
                    <a:lnTo>
                      <a:pt x="1098" y="438"/>
                    </a:lnTo>
                    <a:lnTo>
                      <a:pt x="1098" y="440"/>
                    </a:lnTo>
                    <a:lnTo>
                      <a:pt x="1100" y="442"/>
                    </a:lnTo>
                    <a:lnTo>
                      <a:pt x="1100" y="446"/>
                    </a:lnTo>
                    <a:lnTo>
                      <a:pt x="1100" y="448"/>
                    </a:lnTo>
                    <a:lnTo>
                      <a:pt x="1100" y="450"/>
                    </a:lnTo>
                    <a:lnTo>
                      <a:pt x="1100" y="452"/>
                    </a:lnTo>
                    <a:lnTo>
                      <a:pt x="1100" y="452"/>
                    </a:lnTo>
                    <a:lnTo>
                      <a:pt x="1100" y="454"/>
                    </a:lnTo>
                    <a:lnTo>
                      <a:pt x="1098" y="454"/>
                    </a:lnTo>
                    <a:lnTo>
                      <a:pt x="1098" y="456"/>
                    </a:lnTo>
                    <a:lnTo>
                      <a:pt x="1098" y="456"/>
                    </a:lnTo>
                    <a:lnTo>
                      <a:pt x="1098" y="456"/>
                    </a:lnTo>
                    <a:lnTo>
                      <a:pt x="1096" y="458"/>
                    </a:lnTo>
                    <a:lnTo>
                      <a:pt x="1092" y="458"/>
                    </a:lnTo>
                    <a:lnTo>
                      <a:pt x="1090" y="458"/>
                    </a:lnTo>
                    <a:lnTo>
                      <a:pt x="1088" y="460"/>
                    </a:lnTo>
                    <a:lnTo>
                      <a:pt x="1086" y="460"/>
                    </a:lnTo>
                    <a:lnTo>
                      <a:pt x="1082" y="460"/>
                    </a:lnTo>
                    <a:lnTo>
                      <a:pt x="1080" y="460"/>
                    </a:lnTo>
                    <a:lnTo>
                      <a:pt x="1078" y="460"/>
                    </a:lnTo>
                    <a:lnTo>
                      <a:pt x="1074" y="460"/>
                    </a:lnTo>
                    <a:lnTo>
                      <a:pt x="1072" y="458"/>
                    </a:lnTo>
                    <a:lnTo>
                      <a:pt x="1070" y="458"/>
                    </a:lnTo>
                    <a:lnTo>
                      <a:pt x="1068" y="458"/>
                    </a:lnTo>
                    <a:lnTo>
                      <a:pt x="1066" y="458"/>
                    </a:lnTo>
                    <a:lnTo>
                      <a:pt x="1066" y="458"/>
                    </a:lnTo>
                    <a:lnTo>
                      <a:pt x="1064" y="460"/>
                    </a:lnTo>
                    <a:lnTo>
                      <a:pt x="1064" y="460"/>
                    </a:lnTo>
                    <a:lnTo>
                      <a:pt x="1062" y="462"/>
                    </a:lnTo>
                    <a:lnTo>
                      <a:pt x="1060" y="462"/>
                    </a:lnTo>
                    <a:lnTo>
                      <a:pt x="1058" y="464"/>
                    </a:lnTo>
                    <a:lnTo>
                      <a:pt x="1056" y="468"/>
                    </a:lnTo>
                    <a:lnTo>
                      <a:pt x="1054" y="470"/>
                    </a:lnTo>
                    <a:lnTo>
                      <a:pt x="1050" y="472"/>
                    </a:lnTo>
                    <a:lnTo>
                      <a:pt x="1050" y="474"/>
                    </a:lnTo>
                    <a:lnTo>
                      <a:pt x="1048" y="474"/>
                    </a:lnTo>
                    <a:lnTo>
                      <a:pt x="1046" y="476"/>
                    </a:lnTo>
                    <a:lnTo>
                      <a:pt x="1046" y="476"/>
                    </a:lnTo>
                    <a:lnTo>
                      <a:pt x="1044" y="478"/>
                    </a:lnTo>
                    <a:lnTo>
                      <a:pt x="1042" y="478"/>
                    </a:lnTo>
                    <a:lnTo>
                      <a:pt x="1040" y="478"/>
                    </a:lnTo>
                    <a:lnTo>
                      <a:pt x="1038" y="478"/>
                    </a:lnTo>
                    <a:lnTo>
                      <a:pt x="1034" y="480"/>
                    </a:lnTo>
                    <a:lnTo>
                      <a:pt x="1028" y="480"/>
                    </a:lnTo>
                    <a:lnTo>
                      <a:pt x="1024" y="480"/>
                    </a:lnTo>
                    <a:lnTo>
                      <a:pt x="1020" y="480"/>
                    </a:lnTo>
                    <a:lnTo>
                      <a:pt x="1012" y="480"/>
                    </a:lnTo>
                    <a:lnTo>
                      <a:pt x="1004" y="480"/>
                    </a:lnTo>
                    <a:lnTo>
                      <a:pt x="994" y="480"/>
                    </a:lnTo>
                    <a:lnTo>
                      <a:pt x="984" y="480"/>
                    </a:lnTo>
                    <a:lnTo>
                      <a:pt x="980" y="480"/>
                    </a:lnTo>
                    <a:lnTo>
                      <a:pt x="976" y="480"/>
                    </a:lnTo>
                    <a:lnTo>
                      <a:pt x="974" y="480"/>
                    </a:lnTo>
                    <a:lnTo>
                      <a:pt x="972" y="480"/>
                    </a:lnTo>
                    <a:lnTo>
                      <a:pt x="968" y="478"/>
                    </a:lnTo>
                    <a:lnTo>
                      <a:pt x="966" y="478"/>
                    </a:lnTo>
                    <a:lnTo>
                      <a:pt x="962" y="478"/>
                    </a:lnTo>
                    <a:lnTo>
                      <a:pt x="960" y="478"/>
                    </a:lnTo>
                    <a:lnTo>
                      <a:pt x="960" y="478"/>
                    </a:lnTo>
                    <a:lnTo>
                      <a:pt x="958" y="478"/>
                    </a:lnTo>
                    <a:lnTo>
                      <a:pt x="958" y="478"/>
                    </a:lnTo>
                    <a:lnTo>
                      <a:pt x="958" y="478"/>
                    </a:lnTo>
                    <a:lnTo>
                      <a:pt x="956" y="480"/>
                    </a:lnTo>
                    <a:lnTo>
                      <a:pt x="954" y="482"/>
                    </a:lnTo>
                    <a:lnTo>
                      <a:pt x="952" y="484"/>
                    </a:lnTo>
                    <a:lnTo>
                      <a:pt x="950" y="486"/>
                    </a:lnTo>
                    <a:lnTo>
                      <a:pt x="948" y="488"/>
                    </a:lnTo>
                    <a:lnTo>
                      <a:pt x="946" y="490"/>
                    </a:lnTo>
                    <a:lnTo>
                      <a:pt x="944" y="490"/>
                    </a:lnTo>
                    <a:lnTo>
                      <a:pt x="942" y="492"/>
                    </a:lnTo>
                    <a:lnTo>
                      <a:pt x="936" y="494"/>
                    </a:lnTo>
                    <a:lnTo>
                      <a:pt x="934" y="494"/>
                    </a:lnTo>
                    <a:lnTo>
                      <a:pt x="932" y="496"/>
                    </a:lnTo>
                    <a:lnTo>
                      <a:pt x="930" y="496"/>
                    </a:lnTo>
                    <a:lnTo>
                      <a:pt x="928" y="498"/>
                    </a:lnTo>
                    <a:lnTo>
                      <a:pt x="922" y="502"/>
                    </a:lnTo>
                    <a:lnTo>
                      <a:pt x="918" y="506"/>
                    </a:lnTo>
                    <a:lnTo>
                      <a:pt x="914" y="508"/>
                    </a:lnTo>
                    <a:lnTo>
                      <a:pt x="914" y="510"/>
                    </a:lnTo>
                    <a:lnTo>
                      <a:pt x="912" y="512"/>
                    </a:lnTo>
                    <a:lnTo>
                      <a:pt x="910" y="514"/>
                    </a:lnTo>
                    <a:lnTo>
                      <a:pt x="910" y="516"/>
                    </a:lnTo>
                    <a:lnTo>
                      <a:pt x="910" y="516"/>
                    </a:lnTo>
                    <a:lnTo>
                      <a:pt x="908" y="518"/>
                    </a:lnTo>
                    <a:lnTo>
                      <a:pt x="908" y="518"/>
                    </a:lnTo>
                    <a:lnTo>
                      <a:pt x="910" y="520"/>
                    </a:lnTo>
                    <a:lnTo>
                      <a:pt x="910" y="520"/>
                    </a:lnTo>
                    <a:lnTo>
                      <a:pt x="910" y="520"/>
                    </a:lnTo>
                    <a:lnTo>
                      <a:pt x="910" y="522"/>
                    </a:lnTo>
                    <a:lnTo>
                      <a:pt x="910" y="522"/>
                    </a:lnTo>
                    <a:lnTo>
                      <a:pt x="912" y="522"/>
                    </a:lnTo>
                    <a:lnTo>
                      <a:pt x="912" y="522"/>
                    </a:lnTo>
                    <a:lnTo>
                      <a:pt x="912" y="522"/>
                    </a:lnTo>
                    <a:lnTo>
                      <a:pt x="914" y="522"/>
                    </a:lnTo>
                    <a:lnTo>
                      <a:pt x="916" y="522"/>
                    </a:lnTo>
                    <a:lnTo>
                      <a:pt x="918" y="522"/>
                    </a:lnTo>
                    <a:lnTo>
                      <a:pt x="920" y="520"/>
                    </a:lnTo>
                    <a:lnTo>
                      <a:pt x="922" y="520"/>
                    </a:lnTo>
                    <a:lnTo>
                      <a:pt x="924" y="518"/>
                    </a:lnTo>
                    <a:lnTo>
                      <a:pt x="928" y="516"/>
                    </a:lnTo>
                    <a:lnTo>
                      <a:pt x="932" y="512"/>
                    </a:lnTo>
                    <a:lnTo>
                      <a:pt x="936" y="510"/>
                    </a:lnTo>
                    <a:lnTo>
                      <a:pt x="938" y="508"/>
                    </a:lnTo>
                    <a:lnTo>
                      <a:pt x="940" y="508"/>
                    </a:lnTo>
                    <a:lnTo>
                      <a:pt x="942" y="506"/>
                    </a:lnTo>
                    <a:lnTo>
                      <a:pt x="944" y="506"/>
                    </a:lnTo>
                    <a:lnTo>
                      <a:pt x="948" y="502"/>
                    </a:lnTo>
                    <a:lnTo>
                      <a:pt x="950" y="502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6" y="500"/>
                    </a:lnTo>
                    <a:lnTo>
                      <a:pt x="956" y="500"/>
                    </a:lnTo>
                    <a:lnTo>
                      <a:pt x="958" y="500"/>
                    </a:lnTo>
                    <a:lnTo>
                      <a:pt x="960" y="500"/>
                    </a:lnTo>
                    <a:lnTo>
                      <a:pt x="962" y="500"/>
                    </a:lnTo>
                    <a:lnTo>
                      <a:pt x="966" y="502"/>
                    </a:lnTo>
                    <a:lnTo>
                      <a:pt x="968" y="502"/>
                    </a:lnTo>
                    <a:lnTo>
                      <a:pt x="970" y="504"/>
                    </a:lnTo>
                    <a:lnTo>
                      <a:pt x="972" y="504"/>
                    </a:lnTo>
                    <a:lnTo>
                      <a:pt x="972" y="506"/>
                    </a:lnTo>
                    <a:lnTo>
                      <a:pt x="974" y="506"/>
                    </a:lnTo>
                    <a:lnTo>
                      <a:pt x="974" y="508"/>
                    </a:lnTo>
                    <a:lnTo>
                      <a:pt x="974" y="508"/>
                    </a:lnTo>
                    <a:lnTo>
                      <a:pt x="976" y="510"/>
                    </a:lnTo>
                    <a:lnTo>
                      <a:pt x="976" y="510"/>
                    </a:lnTo>
                    <a:lnTo>
                      <a:pt x="974" y="512"/>
                    </a:lnTo>
                    <a:lnTo>
                      <a:pt x="974" y="512"/>
                    </a:lnTo>
                    <a:lnTo>
                      <a:pt x="974" y="514"/>
                    </a:lnTo>
                    <a:lnTo>
                      <a:pt x="972" y="514"/>
                    </a:lnTo>
                    <a:lnTo>
                      <a:pt x="972" y="516"/>
                    </a:lnTo>
                    <a:lnTo>
                      <a:pt x="970" y="518"/>
                    </a:lnTo>
                    <a:lnTo>
                      <a:pt x="968" y="520"/>
                    </a:lnTo>
                    <a:lnTo>
                      <a:pt x="966" y="522"/>
                    </a:lnTo>
                    <a:lnTo>
                      <a:pt x="964" y="524"/>
                    </a:lnTo>
                    <a:lnTo>
                      <a:pt x="964" y="524"/>
                    </a:lnTo>
                    <a:lnTo>
                      <a:pt x="964" y="526"/>
                    </a:lnTo>
                    <a:lnTo>
                      <a:pt x="964" y="526"/>
                    </a:lnTo>
                    <a:lnTo>
                      <a:pt x="964" y="528"/>
                    </a:lnTo>
                    <a:lnTo>
                      <a:pt x="964" y="530"/>
                    </a:lnTo>
                    <a:lnTo>
                      <a:pt x="966" y="530"/>
                    </a:lnTo>
                    <a:lnTo>
                      <a:pt x="966" y="532"/>
                    </a:lnTo>
                    <a:lnTo>
                      <a:pt x="966" y="532"/>
                    </a:lnTo>
                    <a:lnTo>
                      <a:pt x="968" y="534"/>
                    </a:lnTo>
                    <a:lnTo>
                      <a:pt x="970" y="536"/>
                    </a:lnTo>
                    <a:lnTo>
                      <a:pt x="974" y="538"/>
                    </a:lnTo>
                    <a:lnTo>
                      <a:pt x="976" y="542"/>
                    </a:lnTo>
                    <a:lnTo>
                      <a:pt x="980" y="544"/>
                    </a:lnTo>
                    <a:lnTo>
                      <a:pt x="982" y="546"/>
                    </a:lnTo>
                    <a:lnTo>
                      <a:pt x="984" y="546"/>
                    </a:lnTo>
                    <a:lnTo>
                      <a:pt x="988" y="548"/>
                    </a:lnTo>
                    <a:lnTo>
                      <a:pt x="990" y="548"/>
                    </a:lnTo>
                    <a:lnTo>
                      <a:pt x="996" y="550"/>
                    </a:lnTo>
                    <a:lnTo>
                      <a:pt x="1004" y="552"/>
                    </a:lnTo>
                    <a:lnTo>
                      <a:pt x="1006" y="554"/>
                    </a:lnTo>
                    <a:lnTo>
                      <a:pt x="1010" y="556"/>
                    </a:lnTo>
                    <a:lnTo>
                      <a:pt x="1012" y="556"/>
                    </a:lnTo>
                    <a:lnTo>
                      <a:pt x="1016" y="558"/>
                    </a:lnTo>
                    <a:lnTo>
                      <a:pt x="1016" y="558"/>
                    </a:lnTo>
                    <a:lnTo>
                      <a:pt x="1018" y="560"/>
                    </a:lnTo>
                    <a:lnTo>
                      <a:pt x="1018" y="560"/>
                    </a:lnTo>
                    <a:lnTo>
                      <a:pt x="1020" y="560"/>
                    </a:lnTo>
                    <a:lnTo>
                      <a:pt x="1020" y="562"/>
                    </a:lnTo>
                    <a:lnTo>
                      <a:pt x="1020" y="562"/>
                    </a:lnTo>
                    <a:lnTo>
                      <a:pt x="1020" y="564"/>
                    </a:lnTo>
                    <a:lnTo>
                      <a:pt x="1020" y="564"/>
                    </a:lnTo>
                    <a:lnTo>
                      <a:pt x="1020" y="566"/>
                    </a:lnTo>
                    <a:lnTo>
                      <a:pt x="1020" y="566"/>
                    </a:lnTo>
                    <a:lnTo>
                      <a:pt x="1020" y="568"/>
                    </a:lnTo>
                    <a:lnTo>
                      <a:pt x="1020" y="568"/>
                    </a:lnTo>
                    <a:lnTo>
                      <a:pt x="1018" y="570"/>
                    </a:lnTo>
                    <a:lnTo>
                      <a:pt x="1018" y="570"/>
                    </a:lnTo>
                    <a:lnTo>
                      <a:pt x="1016" y="572"/>
                    </a:lnTo>
                    <a:lnTo>
                      <a:pt x="1014" y="572"/>
                    </a:lnTo>
                    <a:lnTo>
                      <a:pt x="1012" y="574"/>
                    </a:lnTo>
                    <a:lnTo>
                      <a:pt x="1008" y="576"/>
                    </a:lnTo>
                    <a:lnTo>
                      <a:pt x="1006" y="576"/>
                    </a:lnTo>
                    <a:lnTo>
                      <a:pt x="1000" y="578"/>
                    </a:lnTo>
                    <a:lnTo>
                      <a:pt x="994" y="580"/>
                    </a:lnTo>
                    <a:lnTo>
                      <a:pt x="988" y="582"/>
                    </a:lnTo>
                    <a:lnTo>
                      <a:pt x="986" y="584"/>
                    </a:lnTo>
                    <a:lnTo>
                      <a:pt x="984" y="584"/>
                    </a:lnTo>
                    <a:lnTo>
                      <a:pt x="982" y="586"/>
                    </a:lnTo>
                    <a:lnTo>
                      <a:pt x="980" y="588"/>
                    </a:lnTo>
                    <a:lnTo>
                      <a:pt x="976" y="592"/>
                    </a:lnTo>
                    <a:lnTo>
                      <a:pt x="972" y="596"/>
                    </a:lnTo>
                    <a:lnTo>
                      <a:pt x="966" y="600"/>
                    </a:lnTo>
                    <a:lnTo>
                      <a:pt x="964" y="602"/>
                    </a:lnTo>
                    <a:lnTo>
                      <a:pt x="962" y="604"/>
                    </a:lnTo>
                    <a:lnTo>
                      <a:pt x="960" y="604"/>
                    </a:lnTo>
                    <a:lnTo>
                      <a:pt x="958" y="606"/>
                    </a:lnTo>
                    <a:lnTo>
                      <a:pt x="956" y="608"/>
                    </a:lnTo>
                    <a:lnTo>
                      <a:pt x="952" y="608"/>
                    </a:lnTo>
                    <a:lnTo>
                      <a:pt x="952" y="608"/>
                    </a:lnTo>
                    <a:lnTo>
                      <a:pt x="950" y="608"/>
                    </a:lnTo>
                    <a:lnTo>
                      <a:pt x="950" y="608"/>
                    </a:lnTo>
                    <a:lnTo>
                      <a:pt x="948" y="608"/>
                    </a:lnTo>
                    <a:lnTo>
                      <a:pt x="948" y="608"/>
                    </a:lnTo>
                    <a:lnTo>
                      <a:pt x="948" y="608"/>
                    </a:lnTo>
                    <a:lnTo>
                      <a:pt x="946" y="608"/>
                    </a:lnTo>
                    <a:lnTo>
                      <a:pt x="944" y="606"/>
                    </a:lnTo>
                    <a:lnTo>
                      <a:pt x="944" y="606"/>
                    </a:lnTo>
                    <a:lnTo>
                      <a:pt x="942" y="604"/>
                    </a:lnTo>
                    <a:lnTo>
                      <a:pt x="942" y="602"/>
                    </a:lnTo>
                    <a:lnTo>
                      <a:pt x="942" y="602"/>
                    </a:lnTo>
                    <a:lnTo>
                      <a:pt x="942" y="600"/>
                    </a:lnTo>
                    <a:lnTo>
                      <a:pt x="942" y="600"/>
                    </a:lnTo>
                    <a:lnTo>
                      <a:pt x="942" y="598"/>
                    </a:lnTo>
                    <a:lnTo>
                      <a:pt x="942" y="598"/>
                    </a:lnTo>
                    <a:lnTo>
                      <a:pt x="942" y="596"/>
                    </a:lnTo>
                    <a:lnTo>
                      <a:pt x="944" y="594"/>
                    </a:lnTo>
                    <a:lnTo>
                      <a:pt x="944" y="594"/>
                    </a:lnTo>
                    <a:lnTo>
                      <a:pt x="946" y="592"/>
                    </a:lnTo>
                    <a:lnTo>
                      <a:pt x="946" y="590"/>
                    </a:lnTo>
                    <a:lnTo>
                      <a:pt x="948" y="590"/>
                    </a:lnTo>
                    <a:lnTo>
                      <a:pt x="950" y="586"/>
                    </a:lnTo>
                    <a:lnTo>
                      <a:pt x="954" y="584"/>
                    </a:lnTo>
                    <a:lnTo>
                      <a:pt x="958" y="582"/>
                    </a:lnTo>
                    <a:lnTo>
                      <a:pt x="962" y="580"/>
                    </a:lnTo>
                    <a:lnTo>
                      <a:pt x="970" y="574"/>
                    </a:lnTo>
                    <a:lnTo>
                      <a:pt x="972" y="572"/>
                    </a:lnTo>
                    <a:lnTo>
                      <a:pt x="976" y="570"/>
                    </a:lnTo>
                    <a:lnTo>
                      <a:pt x="978" y="568"/>
                    </a:lnTo>
                    <a:lnTo>
                      <a:pt x="980" y="566"/>
                    </a:lnTo>
                    <a:lnTo>
                      <a:pt x="982" y="564"/>
                    </a:lnTo>
                    <a:lnTo>
                      <a:pt x="982" y="564"/>
                    </a:lnTo>
                    <a:lnTo>
                      <a:pt x="984" y="562"/>
                    </a:lnTo>
                    <a:lnTo>
                      <a:pt x="984" y="560"/>
                    </a:lnTo>
                    <a:lnTo>
                      <a:pt x="984" y="560"/>
                    </a:lnTo>
                    <a:lnTo>
                      <a:pt x="984" y="558"/>
                    </a:lnTo>
                    <a:lnTo>
                      <a:pt x="984" y="558"/>
                    </a:lnTo>
                    <a:lnTo>
                      <a:pt x="984" y="558"/>
                    </a:lnTo>
                    <a:lnTo>
                      <a:pt x="984" y="556"/>
                    </a:lnTo>
                    <a:lnTo>
                      <a:pt x="984" y="556"/>
                    </a:lnTo>
                    <a:lnTo>
                      <a:pt x="982" y="554"/>
                    </a:lnTo>
                    <a:lnTo>
                      <a:pt x="982" y="554"/>
                    </a:lnTo>
                    <a:lnTo>
                      <a:pt x="982" y="554"/>
                    </a:lnTo>
                    <a:lnTo>
                      <a:pt x="980" y="552"/>
                    </a:lnTo>
                    <a:lnTo>
                      <a:pt x="978" y="552"/>
                    </a:lnTo>
                    <a:lnTo>
                      <a:pt x="978" y="552"/>
                    </a:lnTo>
                    <a:lnTo>
                      <a:pt x="976" y="552"/>
                    </a:lnTo>
                    <a:lnTo>
                      <a:pt x="974" y="552"/>
                    </a:lnTo>
                    <a:lnTo>
                      <a:pt x="972" y="552"/>
                    </a:lnTo>
                    <a:lnTo>
                      <a:pt x="970" y="552"/>
                    </a:lnTo>
                    <a:lnTo>
                      <a:pt x="968" y="554"/>
                    </a:lnTo>
                    <a:lnTo>
                      <a:pt x="966" y="554"/>
                    </a:lnTo>
                    <a:lnTo>
                      <a:pt x="964" y="556"/>
                    </a:lnTo>
                    <a:lnTo>
                      <a:pt x="962" y="558"/>
                    </a:lnTo>
                    <a:lnTo>
                      <a:pt x="958" y="560"/>
                    </a:lnTo>
                    <a:lnTo>
                      <a:pt x="956" y="562"/>
                    </a:lnTo>
                    <a:lnTo>
                      <a:pt x="952" y="566"/>
                    </a:lnTo>
                    <a:lnTo>
                      <a:pt x="946" y="570"/>
                    </a:lnTo>
                    <a:lnTo>
                      <a:pt x="940" y="576"/>
                    </a:lnTo>
                    <a:lnTo>
                      <a:pt x="936" y="580"/>
                    </a:lnTo>
                    <a:lnTo>
                      <a:pt x="932" y="584"/>
                    </a:lnTo>
                    <a:lnTo>
                      <a:pt x="930" y="584"/>
                    </a:lnTo>
                    <a:lnTo>
                      <a:pt x="928" y="584"/>
                    </a:lnTo>
                    <a:lnTo>
                      <a:pt x="926" y="582"/>
                    </a:lnTo>
                    <a:lnTo>
                      <a:pt x="924" y="582"/>
                    </a:lnTo>
                    <a:lnTo>
                      <a:pt x="924" y="580"/>
                    </a:lnTo>
                    <a:lnTo>
                      <a:pt x="922" y="580"/>
                    </a:lnTo>
                    <a:lnTo>
                      <a:pt x="922" y="580"/>
                    </a:lnTo>
                    <a:lnTo>
                      <a:pt x="922" y="578"/>
                    </a:lnTo>
                    <a:lnTo>
                      <a:pt x="922" y="578"/>
                    </a:lnTo>
                    <a:lnTo>
                      <a:pt x="920" y="576"/>
                    </a:lnTo>
                    <a:lnTo>
                      <a:pt x="920" y="574"/>
                    </a:lnTo>
                    <a:lnTo>
                      <a:pt x="920" y="570"/>
                    </a:lnTo>
                    <a:lnTo>
                      <a:pt x="920" y="568"/>
                    </a:lnTo>
                    <a:lnTo>
                      <a:pt x="920" y="566"/>
                    </a:lnTo>
                    <a:lnTo>
                      <a:pt x="922" y="560"/>
                    </a:lnTo>
                    <a:lnTo>
                      <a:pt x="922" y="554"/>
                    </a:lnTo>
                    <a:lnTo>
                      <a:pt x="922" y="550"/>
                    </a:lnTo>
                    <a:lnTo>
                      <a:pt x="922" y="548"/>
                    </a:lnTo>
                    <a:lnTo>
                      <a:pt x="922" y="546"/>
                    </a:lnTo>
                    <a:lnTo>
                      <a:pt x="922" y="542"/>
                    </a:lnTo>
                    <a:lnTo>
                      <a:pt x="922" y="542"/>
                    </a:lnTo>
                    <a:lnTo>
                      <a:pt x="920" y="542"/>
                    </a:lnTo>
                    <a:lnTo>
                      <a:pt x="920" y="540"/>
                    </a:lnTo>
                    <a:lnTo>
                      <a:pt x="920" y="540"/>
                    </a:lnTo>
                    <a:lnTo>
                      <a:pt x="918" y="538"/>
                    </a:lnTo>
                    <a:lnTo>
                      <a:pt x="918" y="538"/>
                    </a:lnTo>
                    <a:lnTo>
                      <a:pt x="916" y="538"/>
                    </a:lnTo>
                    <a:lnTo>
                      <a:pt x="916" y="536"/>
                    </a:lnTo>
                    <a:lnTo>
                      <a:pt x="912" y="536"/>
                    </a:lnTo>
                    <a:lnTo>
                      <a:pt x="910" y="536"/>
                    </a:lnTo>
                    <a:lnTo>
                      <a:pt x="906" y="534"/>
                    </a:lnTo>
                    <a:lnTo>
                      <a:pt x="904" y="534"/>
                    </a:lnTo>
                    <a:lnTo>
                      <a:pt x="902" y="534"/>
                    </a:lnTo>
                    <a:lnTo>
                      <a:pt x="902" y="534"/>
                    </a:lnTo>
                    <a:lnTo>
                      <a:pt x="900" y="536"/>
                    </a:lnTo>
                    <a:lnTo>
                      <a:pt x="900" y="536"/>
                    </a:lnTo>
                    <a:lnTo>
                      <a:pt x="898" y="536"/>
                    </a:lnTo>
                    <a:lnTo>
                      <a:pt x="898" y="538"/>
                    </a:lnTo>
                    <a:lnTo>
                      <a:pt x="896" y="538"/>
                    </a:lnTo>
                    <a:lnTo>
                      <a:pt x="896" y="540"/>
                    </a:lnTo>
                    <a:lnTo>
                      <a:pt x="896" y="542"/>
                    </a:lnTo>
                    <a:lnTo>
                      <a:pt x="896" y="544"/>
                    </a:lnTo>
                    <a:lnTo>
                      <a:pt x="894" y="546"/>
                    </a:lnTo>
                    <a:lnTo>
                      <a:pt x="892" y="554"/>
                    </a:lnTo>
                    <a:lnTo>
                      <a:pt x="892" y="556"/>
                    </a:lnTo>
                    <a:lnTo>
                      <a:pt x="892" y="558"/>
                    </a:lnTo>
                    <a:lnTo>
                      <a:pt x="890" y="560"/>
                    </a:lnTo>
                    <a:lnTo>
                      <a:pt x="890" y="562"/>
                    </a:lnTo>
                    <a:lnTo>
                      <a:pt x="888" y="566"/>
                    </a:lnTo>
                    <a:lnTo>
                      <a:pt x="884" y="570"/>
                    </a:lnTo>
                    <a:lnTo>
                      <a:pt x="884" y="574"/>
                    </a:lnTo>
                    <a:lnTo>
                      <a:pt x="882" y="576"/>
                    </a:lnTo>
                    <a:lnTo>
                      <a:pt x="878" y="580"/>
                    </a:lnTo>
                    <a:lnTo>
                      <a:pt x="878" y="584"/>
                    </a:lnTo>
                    <a:lnTo>
                      <a:pt x="876" y="584"/>
                    </a:lnTo>
                    <a:lnTo>
                      <a:pt x="874" y="586"/>
                    </a:lnTo>
                    <a:lnTo>
                      <a:pt x="874" y="586"/>
                    </a:lnTo>
                    <a:lnTo>
                      <a:pt x="872" y="588"/>
                    </a:lnTo>
                    <a:lnTo>
                      <a:pt x="872" y="588"/>
                    </a:lnTo>
                    <a:lnTo>
                      <a:pt x="870" y="588"/>
                    </a:lnTo>
                    <a:lnTo>
                      <a:pt x="868" y="588"/>
                    </a:lnTo>
                    <a:lnTo>
                      <a:pt x="868" y="588"/>
                    </a:lnTo>
                    <a:lnTo>
                      <a:pt x="864" y="588"/>
                    </a:lnTo>
                    <a:lnTo>
                      <a:pt x="860" y="588"/>
                    </a:lnTo>
                    <a:lnTo>
                      <a:pt x="856" y="588"/>
                    </a:lnTo>
                    <a:lnTo>
                      <a:pt x="852" y="588"/>
                    </a:lnTo>
                    <a:lnTo>
                      <a:pt x="844" y="586"/>
                    </a:lnTo>
                    <a:lnTo>
                      <a:pt x="836" y="584"/>
                    </a:lnTo>
                    <a:lnTo>
                      <a:pt x="832" y="584"/>
                    </a:lnTo>
                    <a:lnTo>
                      <a:pt x="828" y="582"/>
                    </a:lnTo>
                    <a:lnTo>
                      <a:pt x="824" y="582"/>
                    </a:lnTo>
                    <a:lnTo>
                      <a:pt x="820" y="582"/>
                    </a:lnTo>
                    <a:lnTo>
                      <a:pt x="818" y="582"/>
                    </a:lnTo>
                    <a:lnTo>
                      <a:pt x="816" y="582"/>
                    </a:lnTo>
                    <a:lnTo>
                      <a:pt x="816" y="584"/>
                    </a:lnTo>
                    <a:lnTo>
                      <a:pt x="814" y="584"/>
                    </a:lnTo>
                    <a:lnTo>
                      <a:pt x="812" y="584"/>
                    </a:lnTo>
                    <a:lnTo>
                      <a:pt x="810" y="586"/>
                    </a:lnTo>
                    <a:lnTo>
                      <a:pt x="810" y="586"/>
                    </a:lnTo>
                    <a:lnTo>
                      <a:pt x="808" y="588"/>
                    </a:lnTo>
                    <a:lnTo>
                      <a:pt x="806" y="590"/>
                    </a:lnTo>
                    <a:lnTo>
                      <a:pt x="804" y="592"/>
                    </a:lnTo>
                    <a:lnTo>
                      <a:pt x="804" y="594"/>
                    </a:lnTo>
                    <a:lnTo>
                      <a:pt x="802" y="594"/>
                    </a:lnTo>
                    <a:lnTo>
                      <a:pt x="802" y="596"/>
                    </a:lnTo>
                    <a:lnTo>
                      <a:pt x="802" y="598"/>
                    </a:lnTo>
                    <a:lnTo>
                      <a:pt x="800" y="600"/>
                    </a:lnTo>
                    <a:lnTo>
                      <a:pt x="800" y="602"/>
                    </a:lnTo>
                    <a:lnTo>
                      <a:pt x="800" y="606"/>
                    </a:lnTo>
                    <a:lnTo>
                      <a:pt x="800" y="610"/>
                    </a:lnTo>
                    <a:lnTo>
                      <a:pt x="798" y="612"/>
                    </a:lnTo>
                    <a:lnTo>
                      <a:pt x="798" y="614"/>
                    </a:lnTo>
                    <a:lnTo>
                      <a:pt x="798" y="614"/>
                    </a:lnTo>
                    <a:lnTo>
                      <a:pt x="798" y="616"/>
                    </a:lnTo>
                    <a:lnTo>
                      <a:pt x="796" y="616"/>
                    </a:lnTo>
                    <a:lnTo>
                      <a:pt x="796" y="616"/>
                    </a:lnTo>
                    <a:lnTo>
                      <a:pt x="794" y="616"/>
                    </a:lnTo>
                    <a:lnTo>
                      <a:pt x="794" y="618"/>
                    </a:lnTo>
                    <a:lnTo>
                      <a:pt x="792" y="618"/>
                    </a:lnTo>
                    <a:lnTo>
                      <a:pt x="790" y="618"/>
                    </a:lnTo>
                    <a:lnTo>
                      <a:pt x="788" y="618"/>
                    </a:lnTo>
                    <a:lnTo>
                      <a:pt x="786" y="618"/>
                    </a:lnTo>
                    <a:lnTo>
                      <a:pt x="780" y="616"/>
                    </a:lnTo>
                    <a:lnTo>
                      <a:pt x="776" y="616"/>
                    </a:lnTo>
                    <a:lnTo>
                      <a:pt x="770" y="614"/>
                    </a:lnTo>
                    <a:lnTo>
                      <a:pt x="768" y="614"/>
                    </a:lnTo>
                    <a:lnTo>
                      <a:pt x="766" y="614"/>
                    </a:lnTo>
                    <a:lnTo>
                      <a:pt x="766" y="614"/>
                    </a:lnTo>
                    <a:lnTo>
                      <a:pt x="764" y="614"/>
                    </a:lnTo>
                    <a:lnTo>
                      <a:pt x="762" y="616"/>
                    </a:lnTo>
                    <a:lnTo>
                      <a:pt x="762" y="616"/>
                    </a:lnTo>
                    <a:lnTo>
                      <a:pt x="760" y="616"/>
                    </a:lnTo>
                    <a:lnTo>
                      <a:pt x="758" y="618"/>
                    </a:lnTo>
                    <a:lnTo>
                      <a:pt x="756" y="620"/>
                    </a:lnTo>
                    <a:lnTo>
                      <a:pt x="754" y="624"/>
                    </a:lnTo>
                    <a:lnTo>
                      <a:pt x="752" y="626"/>
                    </a:lnTo>
                    <a:lnTo>
                      <a:pt x="750" y="626"/>
                    </a:lnTo>
                    <a:lnTo>
                      <a:pt x="750" y="628"/>
                    </a:lnTo>
                    <a:lnTo>
                      <a:pt x="748" y="630"/>
                    </a:lnTo>
                    <a:lnTo>
                      <a:pt x="744" y="634"/>
                    </a:lnTo>
                    <a:lnTo>
                      <a:pt x="740" y="638"/>
                    </a:lnTo>
                    <a:lnTo>
                      <a:pt x="736" y="642"/>
                    </a:lnTo>
                    <a:lnTo>
                      <a:pt x="732" y="646"/>
                    </a:lnTo>
                    <a:lnTo>
                      <a:pt x="730" y="648"/>
                    </a:lnTo>
                    <a:lnTo>
                      <a:pt x="728" y="650"/>
                    </a:lnTo>
                    <a:lnTo>
                      <a:pt x="726" y="652"/>
                    </a:lnTo>
                    <a:lnTo>
                      <a:pt x="724" y="652"/>
                    </a:lnTo>
                    <a:lnTo>
                      <a:pt x="722" y="654"/>
                    </a:lnTo>
                    <a:lnTo>
                      <a:pt x="720" y="654"/>
                    </a:lnTo>
                    <a:lnTo>
                      <a:pt x="718" y="654"/>
                    </a:lnTo>
                    <a:lnTo>
                      <a:pt x="716" y="654"/>
                    </a:lnTo>
                    <a:lnTo>
                      <a:pt x="714" y="654"/>
                    </a:lnTo>
                    <a:lnTo>
                      <a:pt x="710" y="654"/>
                    </a:lnTo>
                    <a:lnTo>
                      <a:pt x="708" y="652"/>
                    </a:lnTo>
                    <a:lnTo>
                      <a:pt x="706" y="652"/>
                    </a:lnTo>
                    <a:lnTo>
                      <a:pt x="704" y="650"/>
                    </a:lnTo>
                    <a:lnTo>
                      <a:pt x="702" y="650"/>
                    </a:lnTo>
                    <a:lnTo>
                      <a:pt x="702" y="650"/>
                    </a:lnTo>
                    <a:lnTo>
                      <a:pt x="700" y="648"/>
                    </a:lnTo>
                    <a:lnTo>
                      <a:pt x="700" y="648"/>
                    </a:lnTo>
                    <a:lnTo>
                      <a:pt x="698" y="646"/>
                    </a:lnTo>
                    <a:lnTo>
                      <a:pt x="698" y="646"/>
                    </a:lnTo>
                    <a:lnTo>
                      <a:pt x="698" y="644"/>
                    </a:lnTo>
                    <a:lnTo>
                      <a:pt x="698" y="644"/>
                    </a:lnTo>
                    <a:lnTo>
                      <a:pt x="698" y="644"/>
                    </a:lnTo>
                    <a:lnTo>
                      <a:pt x="698" y="642"/>
                    </a:lnTo>
                    <a:lnTo>
                      <a:pt x="700" y="640"/>
                    </a:lnTo>
                    <a:lnTo>
                      <a:pt x="700" y="640"/>
                    </a:lnTo>
                    <a:lnTo>
                      <a:pt x="704" y="636"/>
                    </a:lnTo>
                    <a:lnTo>
                      <a:pt x="704" y="636"/>
                    </a:lnTo>
                    <a:lnTo>
                      <a:pt x="706" y="634"/>
                    </a:lnTo>
                    <a:lnTo>
                      <a:pt x="708" y="632"/>
                    </a:lnTo>
                    <a:lnTo>
                      <a:pt x="710" y="628"/>
                    </a:lnTo>
                    <a:lnTo>
                      <a:pt x="716" y="622"/>
                    </a:lnTo>
                    <a:lnTo>
                      <a:pt x="718" y="618"/>
                    </a:lnTo>
                    <a:lnTo>
                      <a:pt x="720" y="616"/>
                    </a:lnTo>
                    <a:lnTo>
                      <a:pt x="720" y="614"/>
                    </a:lnTo>
                    <a:lnTo>
                      <a:pt x="722" y="614"/>
                    </a:lnTo>
                    <a:lnTo>
                      <a:pt x="722" y="612"/>
                    </a:lnTo>
                    <a:lnTo>
                      <a:pt x="722" y="610"/>
                    </a:lnTo>
                    <a:lnTo>
                      <a:pt x="724" y="608"/>
                    </a:lnTo>
                    <a:lnTo>
                      <a:pt x="724" y="608"/>
                    </a:lnTo>
                    <a:lnTo>
                      <a:pt x="722" y="606"/>
                    </a:lnTo>
                    <a:lnTo>
                      <a:pt x="722" y="604"/>
                    </a:lnTo>
                    <a:lnTo>
                      <a:pt x="722" y="602"/>
                    </a:lnTo>
                    <a:lnTo>
                      <a:pt x="720" y="600"/>
                    </a:lnTo>
                    <a:lnTo>
                      <a:pt x="720" y="598"/>
                    </a:lnTo>
                    <a:lnTo>
                      <a:pt x="718" y="594"/>
                    </a:lnTo>
                    <a:lnTo>
                      <a:pt x="716" y="590"/>
                    </a:lnTo>
                    <a:lnTo>
                      <a:pt x="714" y="586"/>
                    </a:lnTo>
                    <a:lnTo>
                      <a:pt x="710" y="582"/>
                    </a:lnTo>
                    <a:lnTo>
                      <a:pt x="710" y="580"/>
                    </a:lnTo>
                    <a:lnTo>
                      <a:pt x="708" y="576"/>
                    </a:lnTo>
                    <a:lnTo>
                      <a:pt x="706" y="572"/>
                    </a:lnTo>
                    <a:lnTo>
                      <a:pt x="702" y="564"/>
                    </a:lnTo>
                    <a:lnTo>
                      <a:pt x="700" y="560"/>
                    </a:lnTo>
                    <a:lnTo>
                      <a:pt x="698" y="556"/>
                    </a:lnTo>
                    <a:lnTo>
                      <a:pt x="698" y="554"/>
                    </a:lnTo>
                    <a:lnTo>
                      <a:pt x="696" y="554"/>
                    </a:lnTo>
                    <a:lnTo>
                      <a:pt x="696" y="552"/>
                    </a:lnTo>
                    <a:lnTo>
                      <a:pt x="694" y="550"/>
                    </a:lnTo>
                    <a:lnTo>
                      <a:pt x="694" y="550"/>
                    </a:lnTo>
                    <a:lnTo>
                      <a:pt x="692" y="548"/>
                    </a:lnTo>
                    <a:lnTo>
                      <a:pt x="690" y="548"/>
                    </a:lnTo>
                    <a:lnTo>
                      <a:pt x="686" y="546"/>
                    </a:lnTo>
                    <a:lnTo>
                      <a:pt x="682" y="544"/>
                    </a:lnTo>
                    <a:lnTo>
                      <a:pt x="676" y="542"/>
                    </a:lnTo>
                    <a:lnTo>
                      <a:pt x="672" y="540"/>
                    </a:lnTo>
                    <a:lnTo>
                      <a:pt x="670" y="538"/>
                    </a:lnTo>
                    <a:lnTo>
                      <a:pt x="668" y="536"/>
                    </a:lnTo>
                    <a:lnTo>
                      <a:pt x="666" y="534"/>
                    </a:lnTo>
                    <a:lnTo>
                      <a:pt x="660" y="530"/>
                    </a:lnTo>
                    <a:lnTo>
                      <a:pt x="658" y="528"/>
                    </a:lnTo>
                    <a:lnTo>
                      <a:pt x="656" y="526"/>
                    </a:lnTo>
                    <a:lnTo>
                      <a:pt x="652" y="524"/>
                    </a:lnTo>
                    <a:lnTo>
                      <a:pt x="652" y="524"/>
                    </a:lnTo>
                    <a:lnTo>
                      <a:pt x="650" y="524"/>
                    </a:lnTo>
                    <a:lnTo>
                      <a:pt x="648" y="522"/>
                    </a:lnTo>
                    <a:lnTo>
                      <a:pt x="648" y="522"/>
                    </a:lnTo>
                    <a:lnTo>
                      <a:pt x="644" y="522"/>
                    </a:lnTo>
                    <a:lnTo>
                      <a:pt x="642" y="522"/>
                    </a:lnTo>
                    <a:lnTo>
                      <a:pt x="638" y="522"/>
                    </a:lnTo>
                    <a:lnTo>
                      <a:pt x="630" y="522"/>
                    </a:lnTo>
                    <a:lnTo>
                      <a:pt x="628" y="524"/>
                    </a:lnTo>
                    <a:lnTo>
                      <a:pt x="624" y="524"/>
                    </a:lnTo>
                    <a:lnTo>
                      <a:pt x="620" y="522"/>
                    </a:lnTo>
                    <a:lnTo>
                      <a:pt x="616" y="522"/>
                    </a:lnTo>
                    <a:lnTo>
                      <a:pt x="604" y="522"/>
                    </a:lnTo>
                    <a:lnTo>
                      <a:pt x="594" y="520"/>
                    </a:lnTo>
                    <a:lnTo>
                      <a:pt x="588" y="520"/>
                    </a:lnTo>
                    <a:lnTo>
                      <a:pt x="584" y="520"/>
                    </a:lnTo>
                    <a:lnTo>
                      <a:pt x="584" y="520"/>
                    </a:lnTo>
                    <a:lnTo>
                      <a:pt x="582" y="520"/>
                    </a:lnTo>
                    <a:lnTo>
                      <a:pt x="578" y="520"/>
                    </a:lnTo>
                    <a:lnTo>
                      <a:pt x="574" y="520"/>
                    </a:lnTo>
                    <a:lnTo>
                      <a:pt x="570" y="522"/>
                    </a:lnTo>
                    <a:lnTo>
                      <a:pt x="566" y="522"/>
                    </a:lnTo>
                    <a:lnTo>
                      <a:pt x="564" y="522"/>
                    </a:lnTo>
                    <a:lnTo>
                      <a:pt x="564" y="522"/>
                    </a:lnTo>
                    <a:lnTo>
                      <a:pt x="562" y="522"/>
                    </a:lnTo>
                    <a:lnTo>
                      <a:pt x="560" y="520"/>
                    </a:lnTo>
                    <a:lnTo>
                      <a:pt x="560" y="520"/>
                    </a:lnTo>
                    <a:lnTo>
                      <a:pt x="558" y="520"/>
                    </a:lnTo>
                    <a:lnTo>
                      <a:pt x="558" y="518"/>
                    </a:lnTo>
                    <a:lnTo>
                      <a:pt x="558" y="518"/>
                    </a:lnTo>
                    <a:lnTo>
                      <a:pt x="558" y="516"/>
                    </a:lnTo>
                    <a:lnTo>
                      <a:pt x="558" y="516"/>
                    </a:lnTo>
                    <a:lnTo>
                      <a:pt x="558" y="514"/>
                    </a:lnTo>
                    <a:lnTo>
                      <a:pt x="558" y="510"/>
                    </a:lnTo>
                    <a:lnTo>
                      <a:pt x="560" y="510"/>
                    </a:lnTo>
                    <a:lnTo>
                      <a:pt x="176" y="510"/>
                    </a:lnTo>
                    <a:lnTo>
                      <a:pt x="174" y="508"/>
                    </a:lnTo>
                    <a:lnTo>
                      <a:pt x="170" y="500"/>
                    </a:lnTo>
                    <a:lnTo>
                      <a:pt x="166" y="496"/>
                    </a:lnTo>
                    <a:lnTo>
                      <a:pt x="162" y="492"/>
                    </a:lnTo>
                    <a:lnTo>
                      <a:pt x="160" y="490"/>
                    </a:lnTo>
                    <a:lnTo>
                      <a:pt x="158" y="486"/>
                    </a:lnTo>
                    <a:lnTo>
                      <a:pt x="156" y="486"/>
                    </a:lnTo>
                    <a:lnTo>
                      <a:pt x="154" y="484"/>
                    </a:lnTo>
                    <a:lnTo>
                      <a:pt x="148" y="480"/>
                    </a:lnTo>
                    <a:lnTo>
                      <a:pt x="142" y="476"/>
                    </a:lnTo>
                    <a:lnTo>
                      <a:pt x="140" y="476"/>
                    </a:lnTo>
                    <a:lnTo>
                      <a:pt x="138" y="474"/>
                    </a:lnTo>
                    <a:lnTo>
                      <a:pt x="134" y="470"/>
                    </a:lnTo>
                    <a:lnTo>
                      <a:pt x="132" y="468"/>
                    </a:lnTo>
                    <a:lnTo>
                      <a:pt x="130" y="466"/>
                    </a:lnTo>
                    <a:lnTo>
                      <a:pt x="128" y="464"/>
                    </a:lnTo>
                    <a:lnTo>
                      <a:pt x="126" y="460"/>
                    </a:lnTo>
                    <a:lnTo>
                      <a:pt x="124" y="458"/>
                    </a:lnTo>
                    <a:lnTo>
                      <a:pt x="124" y="458"/>
                    </a:lnTo>
                    <a:lnTo>
                      <a:pt x="124" y="456"/>
                    </a:lnTo>
                    <a:lnTo>
                      <a:pt x="124" y="456"/>
                    </a:lnTo>
                    <a:lnTo>
                      <a:pt x="124" y="454"/>
                    </a:lnTo>
                    <a:lnTo>
                      <a:pt x="122" y="452"/>
                    </a:lnTo>
                    <a:lnTo>
                      <a:pt x="122" y="448"/>
                    </a:lnTo>
                    <a:lnTo>
                      <a:pt x="122" y="446"/>
                    </a:lnTo>
                    <a:lnTo>
                      <a:pt x="122" y="440"/>
                    </a:lnTo>
                    <a:lnTo>
                      <a:pt x="122" y="438"/>
                    </a:lnTo>
                    <a:lnTo>
                      <a:pt x="122" y="434"/>
                    </a:lnTo>
                    <a:lnTo>
                      <a:pt x="122" y="434"/>
                    </a:lnTo>
                    <a:lnTo>
                      <a:pt x="122" y="430"/>
                    </a:lnTo>
                    <a:lnTo>
                      <a:pt x="122" y="426"/>
                    </a:lnTo>
                    <a:lnTo>
                      <a:pt x="122" y="424"/>
                    </a:lnTo>
                    <a:lnTo>
                      <a:pt x="122" y="420"/>
                    </a:lnTo>
                    <a:lnTo>
                      <a:pt x="122" y="420"/>
                    </a:lnTo>
                    <a:lnTo>
                      <a:pt x="122" y="418"/>
                    </a:lnTo>
                    <a:lnTo>
                      <a:pt x="122" y="418"/>
                    </a:lnTo>
                    <a:lnTo>
                      <a:pt x="122" y="418"/>
                    </a:lnTo>
                    <a:lnTo>
                      <a:pt x="120" y="418"/>
                    </a:lnTo>
                    <a:lnTo>
                      <a:pt x="120" y="416"/>
                    </a:lnTo>
                    <a:lnTo>
                      <a:pt x="120" y="416"/>
                    </a:lnTo>
                    <a:lnTo>
                      <a:pt x="118" y="416"/>
                    </a:lnTo>
                    <a:lnTo>
                      <a:pt x="116" y="418"/>
                    </a:lnTo>
                    <a:lnTo>
                      <a:pt x="114" y="418"/>
                    </a:lnTo>
                    <a:lnTo>
                      <a:pt x="112" y="418"/>
                    </a:lnTo>
                    <a:lnTo>
                      <a:pt x="110" y="418"/>
                    </a:lnTo>
                    <a:lnTo>
                      <a:pt x="110" y="418"/>
                    </a:lnTo>
                    <a:lnTo>
                      <a:pt x="108" y="418"/>
                    </a:lnTo>
                    <a:lnTo>
                      <a:pt x="108" y="418"/>
                    </a:lnTo>
                    <a:lnTo>
                      <a:pt x="108" y="418"/>
                    </a:lnTo>
                    <a:lnTo>
                      <a:pt x="106" y="418"/>
                    </a:lnTo>
                    <a:lnTo>
                      <a:pt x="106" y="418"/>
                    </a:lnTo>
                    <a:lnTo>
                      <a:pt x="106" y="416"/>
                    </a:lnTo>
                    <a:lnTo>
                      <a:pt x="106" y="416"/>
                    </a:lnTo>
                    <a:lnTo>
                      <a:pt x="106" y="414"/>
                    </a:lnTo>
                    <a:lnTo>
                      <a:pt x="106" y="412"/>
                    </a:lnTo>
                    <a:lnTo>
                      <a:pt x="106" y="410"/>
                    </a:lnTo>
                    <a:lnTo>
                      <a:pt x="106" y="408"/>
                    </a:lnTo>
                    <a:lnTo>
                      <a:pt x="106" y="406"/>
                    </a:lnTo>
                    <a:lnTo>
                      <a:pt x="106" y="406"/>
                    </a:lnTo>
                    <a:lnTo>
                      <a:pt x="106" y="404"/>
                    </a:lnTo>
                    <a:lnTo>
                      <a:pt x="106" y="404"/>
                    </a:lnTo>
                    <a:lnTo>
                      <a:pt x="106" y="404"/>
                    </a:lnTo>
                    <a:lnTo>
                      <a:pt x="104" y="404"/>
                    </a:lnTo>
                    <a:lnTo>
                      <a:pt x="102" y="404"/>
                    </a:lnTo>
                    <a:lnTo>
                      <a:pt x="102" y="402"/>
                    </a:lnTo>
                    <a:lnTo>
                      <a:pt x="100" y="402"/>
                    </a:lnTo>
                    <a:lnTo>
                      <a:pt x="98" y="402"/>
                    </a:lnTo>
                    <a:lnTo>
                      <a:pt x="98" y="402"/>
                    </a:lnTo>
                    <a:lnTo>
                      <a:pt x="98" y="402"/>
                    </a:lnTo>
                    <a:lnTo>
                      <a:pt x="98" y="402"/>
                    </a:lnTo>
                    <a:lnTo>
                      <a:pt x="96" y="400"/>
                    </a:lnTo>
                    <a:lnTo>
                      <a:pt x="96" y="398"/>
                    </a:lnTo>
                    <a:lnTo>
                      <a:pt x="96" y="398"/>
                    </a:lnTo>
                    <a:lnTo>
                      <a:pt x="96" y="396"/>
                    </a:lnTo>
                    <a:lnTo>
                      <a:pt x="96" y="394"/>
                    </a:lnTo>
                    <a:lnTo>
                      <a:pt x="96" y="390"/>
                    </a:lnTo>
                    <a:lnTo>
                      <a:pt x="98" y="388"/>
                    </a:lnTo>
                    <a:lnTo>
                      <a:pt x="98" y="384"/>
                    </a:lnTo>
                    <a:lnTo>
                      <a:pt x="100" y="380"/>
                    </a:lnTo>
                    <a:lnTo>
                      <a:pt x="100" y="378"/>
                    </a:lnTo>
                    <a:lnTo>
                      <a:pt x="100" y="376"/>
                    </a:lnTo>
                    <a:lnTo>
                      <a:pt x="104" y="372"/>
                    </a:lnTo>
                    <a:lnTo>
                      <a:pt x="106" y="368"/>
                    </a:lnTo>
                    <a:lnTo>
                      <a:pt x="108" y="368"/>
                    </a:lnTo>
                    <a:lnTo>
                      <a:pt x="110" y="366"/>
                    </a:lnTo>
                    <a:lnTo>
                      <a:pt x="112" y="364"/>
                    </a:lnTo>
                    <a:lnTo>
                      <a:pt x="114" y="362"/>
                    </a:lnTo>
                    <a:lnTo>
                      <a:pt x="114" y="362"/>
                    </a:lnTo>
                    <a:lnTo>
                      <a:pt x="116" y="360"/>
                    </a:lnTo>
                    <a:lnTo>
                      <a:pt x="116" y="360"/>
                    </a:lnTo>
                    <a:lnTo>
                      <a:pt x="116" y="358"/>
                    </a:lnTo>
                    <a:lnTo>
                      <a:pt x="116" y="358"/>
                    </a:lnTo>
                    <a:lnTo>
                      <a:pt x="116" y="358"/>
                    </a:lnTo>
                    <a:lnTo>
                      <a:pt x="114" y="356"/>
                    </a:lnTo>
                    <a:lnTo>
                      <a:pt x="114" y="356"/>
                    </a:lnTo>
                    <a:lnTo>
                      <a:pt x="112" y="356"/>
                    </a:lnTo>
                    <a:lnTo>
                      <a:pt x="112" y="356"/>
                    </a:lnTo>
                    <a:lnTo>
                      <a:pt x="110" y="356"/>
                    </a:lnTo>
                    <a:lnTo>
                      <a:pt x="106" y="356"/>
                    </a:lnTo>
                    <a:lnTo>
                      <a:pt x="104" y="356"/>
                    </a:lnTo>
                    <a:lnTo>
                      <a:pt x="100" y="354"/>
                    </a:lnTo>
                    <a:lnTo>
                      <a:pt x="100" y="354"/>
                    </a:lnTo>
                    <a:lnTo>
                      <a:pt x="98" y="354"/>
                    </a:lnTo>
                    <a:lnTo>
                      <a:pt x="96" y="354"/>
                    </a:lnTo>
                    <a:lnTo>
                      <a:pt x="96" y="352"/>
                    </a:lnTo>
                    <a:lnTo>
                      <a:pt x="96" y="352"/>
                    </a:lnTo>
                    <a:lnTo>
                      <a:pt x="94" y="352"/>
                    </a:lnTo>
                    <a:lnTo>
                      <a:pt x="94" y="350"/>
                    </a:lnTo>
                    <a:lnTo>
                      <a:pt x="94" y="348"/>
                    </a:lnTo>
                    <a:lnTo>
                      <a:pt x="94" y="344"/>
                    </a:lnTo>
                    <a:lnTo>
                      <a:pt x="94" y="342"/>
                    </a:lnTo>
                    <a:lnTo>
                      <a:pt x="94" y="338"/>
                    </a:lnTo>
                    <a:lnTo>
                      <a:pt x="92" y="334"/>
                    </a:lnTo>
                    <a:lnTo>
                      <a:pt x="92" y="332"/>
                    </a:lnTo>
                    <a:lnTo>
                      <a:pt x="92" y="332"/>
                    </a:lnTo>
                    <a:lnTo>
                      <a:pt x="92" y="330"/>
                    </a:lnTo>
                    <a:lnTo>
                      <a:pt x="90" y="330"/>
                    </a:lnTo>
                    <a:lnTo>
                      <a:pt x="90" y="328"/>
                    </a:lnTo>
                    <a:lnTo>
                      <a:pt x="90" y="328"/>
                    </a:lnTo>
                    <a:lnTo>
                      <a:pt x="88" y="328"/>
                    </a:lnTo>
                    <a:lnTo>
                      <a:pt x="84" y="326"/>
                    </a:lnTo>
                    <a:lnTo>
                      <a:pt x="84" y="326"/>
                    </a:lnTo>
                    <a:lnTo>
                      <a:pt x="84" y="326"/>
                    </a:lnTo>
                    <a:lnTo>
                      <a:pt x="82" y="324"/>
                    </a:lnTo>
                    <a:lnTo>
                      <a:pt x="82" y="324"/>
                    </a:lnTo>
                    <a:lnTo>
                      <a:pt x="82" y="322"/>
                    </a:lnTo>
                    <a:lnTo>
                      <a:pt x="82" y="320"/>
                    </a:lnTo>
                    <a:lnTo>
                      <a:pt x="82" y="316"/>
                    </a:lnTo>
                    <a:lnTo>
                      <a:pt x="80" y="312"/>
                    </a:lnTo>
                    <a:lnTo>
                      <a:pt x="80" y="310"/>
                    </a:lnTo>
                    <a:lnTo>
                      <a:pt x="80" y="308"/>
                    </a:lnTo>
                    <a:lnTo>
                      <a:pt x="80" y="308"/>
                    </a:lnTo>
                    <a:lnTo>
                      <a:pt x="78" y="304"/>
                    </a:lnTo>
                    <a:lnTo>
                      <a:pt x="76" y="302"/>
                    </a:lnTo>
                    <a:lnTo>
                      <a:pt x="72" y="298"/>
                    </a:lnTo>
                    <a:lnTo>
                      <a:pt x="70" y="294"/>
                    </a:lnTo>
                    <a:lnTo>
                      <a:pt x="68" y="292"/>
                    </a:lnTo>
                    <a:lnTo>
                      <a:pt x="64" y="288"/>
                    </a:lnTo>
                    <a:lnTo>
                      <a:pt x="62" y="286"/>
                    </a:lnTo>
                    <a:lnTo>
                      <a:pt x="60" y="284"/>
                    </a:lnTo>
                    <a:lnTo>
                      <a:pt x="58" y="284"/>
                    </a:lnTo>
                    <a:lnTo>
                      <a:pt x="56" y="284"/>
                    </a:lnTo>
                    <a:lnTo>
                      <a:pt x="54" y="282"/>
                    </a:lnTo>
                    <a:lnTo>
                      <a:pt x="52" y="282"/>
                    </a:lnTo>
                    <a:lnTo>
                      <a:pt x="52" y="282"/>
                    </a:lnTo>
                    <a:lnTo>
                      <a:pt x="50" y="282"/>
                    </a:lnTo>
                    <a:lnTo>
                      <a:pt x="50" y="282"/>
                    </a:lnTo>
                    <a:lnTo>
                      <a:pt x="50" y="282"/>
                    </a:lnTo>
                    <a:lnTo>
                      <a:pt x="48" y="284"/>
                    </a:lnTo>
                    <a:lnTo>
                      <a:pt x="48" y="284"/>
                    </a:lnTo>
                    <a:lnTo>
                      <a:pt x="48" y="286"/>
                    </a:lnTo>
                    <a:lnTo>
                      <a:pt x="48" y="288"/>
                    </a:lnTo>
                    <a:lnTo>
                      <a:pt x="48" y="290"/>
                    </a:lnTo>
                    <a:lnTo>
                      <a:pt x="48" y="290"/>
                    </a:lnTo>
                    <a:lnTo>
                      <a:pt x="48" y="292"/>
                    </a:lnTo>
                    <a:lnTo>
                      <a:pt x="48" y="292"/>
                    </a:lnTo>
                    <a:lnTo>
                      <a:pt x="46" y="292"/>
                    </a:lnTo>
                    <a:lnTo>
                      <a:pt x="46" y="292"/>
                    </a:lnTo>
                    <a:lnTo>
                      <a:pt x="46" y="292"/>
                    </a:lnTo>
                    <a:lnTo>
                      <a:pt x="44" y="294"/>
                    </a:lnTo>
                    <a:lnTo>
                      <a:pt x="44" y="292"/>
                    </a:lnTo>
                    <a:lnTo>
                      <a:pt x="42" y="292"/>
                    </a:lnTo>
                    <a:lnTo>
                      <a:pt x="42" y="292"/>
                    </a:lnTo>
                    <a:lnTo>
                      <a:pt x="40" y="292"/>
                    </a:lnTo>
                    <a:lnTo>
                      <a:pt x="38" y="292"/>
                    </a:lnTo>
                    <a:lnTo>
                      <a:pt x="38" y="292"/>
                    </a:lnTo>
                    <a:lnTo>
                      <a:pt x="38" y="292"/>
                    </a:lnTo>
                    <a:lnTo>
                      <a:pt x="38" y="292"/>
                    </a:lnTo>
                    <a:lnTo>
                      <a:pt x="38" y="294"/>
                    </a:lnTo>
                    <a:lnTo>
                      <a:pt x="36" y="294"/>
                    </a:lnTo>
                    <a:lnTo>
                      <a:pt x="36" y="296"/>
                    </a:lnTo>
                    <a:lnTo>
                      <a:pt x="36" y="298"/>
                    </a:lnTo>
                    <a:lnTo>
                      <a:pt x="36" y="298"/>
                    </a:lnTo>
                    <a:lnTo>
                      <a:pt x="36" y="300"/>
                    </a:lnTo>
                    <a:lnTo>
                      <a:pt x="34" y="302"/>
                    </a:lnTo>
                    <a:lnTo>
                      <a:pt x="34" y="302"/>
                    </a:lnTo>
                    <a:lnTo>
                      <a:pt x="34" y="302"/>
                    </a:lnTo>
                    <a:lnTo>
                      <a:pt x="34" y="302"/>
                    </a:lnTo>
                    <a:lnTo>
                      <a:pt x="32" y="302"/>
                    </a:lnTo>
                    <a:lnTo>
                      <a:pt x="32" y="302"/>
                    </a:lnTo>
                    <a:lnTo>
                      <a:pt x="30" y="302"/>
                    </a:lnTo>
                    <a:lnTo>
                      <a:pt x="30" y="300"/>
                    </a:lnTo>
                    <a:lnTo>
                      <a:pt x="28" y="298"/>
                    </a:lnTo>
                    <a:lnTo>
                      <a:pt x="26" y="298"/>
                    </a:lnTo>
                    <a:lnTo>
                      <a:pt x="24" y="296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92"/>
                    </a:lnTo>
                    <a:lnTo>
                      <a:pt x="20" y="290"/>
                    </a:lnTo>
                    <a:lnTo>
                      <a:pt x="20" y="288"/>
                    </a:lnTo>
                    <a:lnTo>
                      <a:pt x="20" y="286"/>
                    </a:lnTo>
                    <a:lnTo>
                      <a:pt x="20" y="284"/>
                    </a:lnTo>
                    <a:lnTo>
                      <a:pt x="20" y="280"/>
                    </a:lnTo>
                    <a:lnTo>
                      <a:pt x="20" y="278"/>
                    </a:lnTo>
                    <a:lnTo>
                      <a:pt x="18" y="276"/>
                    </a:lnTo>
                    <a:lnTo>
                      <a:pt x="18" y="274"/>
                    </a:lnTo>
                    <a:lnTo>
                      <a:pt x="18" y="274"/>
                    </a:lnTo>
                    <a:lnTo>
                      <a:pt x="16" y="272"/>
                    </a:lnTo>
                    <a:lnTo>
                      <a:pt x="16" y="270"/>
                    </a:lnTo>
                    <a:lnTo>
                      <a:pt x="14" y="270"/>
                    </a:lnTo>
                    <a:lnTo>
                      <a:pt x="14" y="270"/>
                    </a:lnTo>
                    <a:lnTo>
                      <a:pt x="12" y="268"/>
                    </a:lnTo>
                    <a:lnTo>
                      <a:pt x="12" y="268"/>
                    </a:lnTo>
                    <a:lnTo>
                      <a:pt x="10" y="268"/>
                    </a:lnTo>
                    <a:lnTo>
                      <a:pt x="10" y="268"/>
                    </a:lnTo>
                    <a:lnTo>
                      <a:pt x="8" y="270"/>
                    </a:lnTo>
                    <a:lnTo>
                      <a:pt x="6" y="270"/>
                    </a:lnTo>
                    <a:lnTo>
                      <a:pt x="4" y="272"/>
                    </a:lnTo>
                    <a:lnTo>
                      <a:pt x="0" y="272"/>
                    </a:lnTo>
                    <a:lnTo>
                      <a:pt x="0" y="274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80" y="54"/>
                    </a:lnTo>
                    <a:lnTo>
                      <a:pt x="88" y="56"/>
                    </a:lnTo>
                    <a:lnTo>
                      <a:pt x="94" y="58"/>
                    </a:lnTo>
                    <a:lnTo>
                      <a:pt x="100" y="58"/>
                    </a:lnTo>
                    <a:lnTo>
                      <a:pt x="102" y="60"/>
                    </a:lnTo>
                    <a:lnTo>
                      <a:pt x="104" y="60"/>
                    </a:lnTo>
                    <a:lnTo>
                      <a:pt x="106" y="60"/>
                    </a:lnTo>
                    <a:lnTo>
                      <a:pt x="108" y="62"/>
                    </a:lnTo>
                    <a:lnTo>
                      <a:pt x="114" y="64"/>
                    </a:lnTo>
                    <a:lnTo>
                      <a:pt x="118" y="66"/>
                    </a:lnTo>
                    <a:lnTo>
                      <a:pt x="124" y="68"/>
                    </a:lnTo>
                    <a:lnTo>
                      <a:pt x="128" y="72"/>
                    </a:lnTo>
                    <a:lnTo>
                      <a:pt x="134" y="74"/>
                    </a:lnTo>
                    <a:lnTo>
                      <a:pt x="138" y="76"/>
                    </a:lnTo>
                    <a:lnTo>
                      <a:pt x="140" y="76"/>
                    </a:lnTo>
                    <a:lnTo>
                      <a:pt x="142" y="78"/>
                    </a:lnTo>
                    <a:lnTo>
                      <a:pt x="146" y="78"/>
                    </a:lnTo>
                    <a:lnTo>
                      <a:pt x="148" y="78"/>
                    </a:lnTo>
                    <a:lnTo>
                      <a:pt x="150" y="80"/>
                    </a:lnTo>
                    <a:lnTo>
                      <a:pt x="152" y="80"/>
                    </a:lnTo>
                    <a:lnTo>
                      <a:pt x="154" y="80"/>
                    </a:lnTo>
                    <a:lnTo>
                      <a:pt x="156" y="80"/>
                    </a:lnTo>
                    <a:lnTo>
                      <a:pt x="156" y="80"/>
                    </a:lnTo>
                    <a:lnTo>
                      <a:pt x="156" y="78"/>
                    </a:lnTo>
                    <a:lnTo>
                      <a:pt x="158" y="78"/>
                    </a:lnTo>
                    <a:lnTo>
                      <a:pt x="158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58" y="76"/>
                    </a:lnTo>
                    <a:lnTo>
                      <a:pt x="158" y="74"/>
                    </a:lnTo>
                    <a:lnTo>
                      <a:pt x="158" y="72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66"/>
                    </a:lnTo>
                    <a:lnTo>
                      <a:pt x="158" y="64"/>
                    </a:lnTo>
                    <a:lnTo>
                      <a:pt x="158" y="64"/>
                    </a:lnTo>
                    <a:lnTo>
                      <a:pt x="160" y="62"/>
                    </a:lnTo>
                    <a:lnTo>
                      <a:pt x="160" y="62"/>
                    </a:lnTo>
                    <a:lnTo>
                      <a:pt x="162" y="60"/>
                    </a:lnTo>
                    <a:lnTo>
                      <a:pt x="164" y="60"/>
                    </a:lnTo>
                    <a:lnTo>
                      <a:pt x="166" y="58"/>
                    </a:lnTo>
                    <a:lnTo>
                      <a:pt x="170" y="56"/>
                    </a:lnTo>
                    <a:lnTo>
                      <a:pt x="172" y="54"/>
                    </a:lnTo>
                    <a:lnTo>
                      <a:pt x="176" y="50"/>
                    </a:lnTo>
                    <a:lnTo>
                      <a:pt x="180" y="48"/>
                    </a:lnTo>
                    <a:lnTo>
                      <a:pt x="184" y="44"/>
                    </a:lnTo>
                    <a:lnTo>
                      <a:pt x="190" y="40"/>
                    </a:lnTo>
                    <a:lnTo>
                      <a:pt x="192" y="38"/>
                    </a:lnTo>
                    <a:lnTo>
                      <a:pt x="194" y="36"/>
                    </a:lnTo>
                    <a:lnTo>
                      <a:pt x="196" y="34"/>
                    </a:lnTo>
                    <a:lnTo>
                      <a:pt x="200" y="34"/>
                    </a:lnTo>
                    <a:lnTo>
                      <a:pt x="202" y="32"/>
                    </a:lnTo>
                    <a:lnTo>
                      <a:pt x="204" y="32"/>
                    </a:lnTo>
                    <a:lnTo>
                      <a:pt x="206" y="32"/>
                    </a:lnTo>
                    <a:lnTo>
                      <a:pt x="208" y="30"/>
                    </a:lnTo>
                    <a:lnTo>
                      <a:pt x="210" y="30"/>
                    </a:lnTo>
                    <a:lnTo>
                      <a:pt x="210" y="32"/>
                    </a:lnTo>
                    <a:lnTo>
                      <a:pt x="212" y="32"/>
                    </a:lnTo>
                    <a:lnTo>
                      <a:pt x="214" y="32"/>
                    </a:lnTo>
                    <a:lnTo>
                      <a:pt x="216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18" y="36"/>
                    </a:lnTo>
                    <a:lnTo>
                      <a:pt x="218" y="36"/>
                    </a:lnTo>
                    <a:lnTo>
                      <a:pt x="218" y="38"/>
                    </a:lnTo>
                    <a:lnTo>
                      <a:pt x="218" y="38"/>
                    </a:lnTo>
                    <a:lnTo>
                      <a:pt x="218" y="38"/>
                    </a:lnTo>
                    <a:lnTo>
                      <a:pt x="218" y="40"/>
                    </a:lnTo>
                    <a:lnTo>
                      <a:pt x="218" y="40"/>
                    </a:lnTo>
                    <a:lnTo>
                      <a:pt x="216" y="40"/>
                    </a:lnTo>
                    <a:lnTo>
                      <a:pt x="214" y="42"/>
                    </a:lnTo>
                    <a:lnTo>
                      <a:pt x="212" y="42"/>
                    </a:lnTo>
                    <a:lnTo>
                      <a:pt x="210" y="44"/>
                    </a:lnTo>
                    <a:lnTo>
                      <a:pt x="204" y="46"/>
                    </a:lnTo>
                    <a:lnTo>
                      <a:pt x="200" y="48"/>
                    </a:lnTo>
                    <a:lnTo>
                      <a:pt x="198" y="48"/>
                    </a:lnTo>
                    <a:lnTo>
                      <a:pt x="196" y="50"/>
                    </a:lnTo>
                    <a:lnTo>
                      <a:pt x="194" y="50"/>
                    </a:lnTo>
                    <a:lnTo>
                      <a:pt x="194" y="50"/>
                    </a:lnTo>
                    <a:lnTo>
                      <a:pt x="194" y="50"/>
                    </a:lnTo>
                    <a:lnTo>
                      <a:pt x="192" y="52"/>
                    </a:lnTo>
                    <a:lnTo>
                      <a:pt x="192" y="52"/>
                    </a:lnTo>
                    <a:lnTo>
                      <a:pt x="192" y="52"/>
                    </a:lnTo>
                    <a:lnTo>
                      <a:pt x="192" y="54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4" y="56"/>
                    </a:lnTo>
                    <a:lnTo>
                      <a:pt x="196" y="56"/>
                    </a:lnTo>
                    <a:lnTo>
                      <a:pt x="196" y="56"/>
                    </a:lnTo>
                    <a:lnTo>
                      <a:pt x="198" y="56"/>
                    </a:lnTo>
                    <a:lnTo>
                      <a:pt x="200" y="56"/>
                    </a:lnTo>
                    <a:lnTo>
                      <a:pt x="202" y="56"/>
                    </a:lnTo>
                    <a:lnTo>
                      <a:pt x="204" y="56"/>
                    </a:lnTo>
                    <a:lnTo>
                      <a:pt x="208" y="56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2"/>
                    </a:lnTo>
                    <a:lnTo>
                      <a:pt x="220" y="52"/>
                    </a:lnTo>
                    <a:lnTo>
                      <a:pt x="222" y="50"/>
                    </a:lnTo>
                    <a:lnTo>
                      <a:pt x="224" y="50"/>
                    </a:lnTo>
                    <a:lnTo>
                      <a:pt x="224" y="48"/>
                    </a:lnTo>
                    <a:lnTo>
                      <a:pt x="228" y="44"/>
                    </a:lnTo>
                    <a:lnTo>
                      <a:pt x="230" y="42"/>
                    </a:lnTo>
                    <a:lnTo>
                      <a:pt x="230" y="40"/>
                    </a:lnTo>
                    <a:lnTo>
                      <a:pt x="230" y="40"/>
                    </a:lnTo>
                    <a:lnTo>
                      <a:pt x="232" y="36"/>
                    </a:lnTo>
                    <a:lnTo>
                      <a:pt x="234" y="34"/>
                    </a:lnTo>
                    <a:lnTo>
                      <a:pt x="234" y="32"/>
                    </a:lnTo>
                    <a:lnTo>
                      <a:pt x="236" y="30"/>
                    </a:lnTo>
                    <a:lnTo>
                      <a:pt x="238" y="30"/>
                    </a:lnTo>
                    <a:lnTo>
                      <a:pt x="238" y="28"/>
                    </a:lnTo>
                    <a:lnTo>
                      <a:pt x="240" y="28"/>
                    </a:lnTo>
                    <a:lnTo>
                      <a:pt x="242" y="28"/>
                    </a:lnTo>
                    <a:lnTo>
                      <a:pt x="242" y="28"/>
                    </a:lnTo>
                    <a:lnTo>
                      <a:pt x="244" y="28"/>
                    </a:lnTo>
                    <a:lnTo>
                      <a:pt x="244" y="28"/>
                    </a:lnTo>
                    <a:lnTo>
                      <a:pt x="246" y="28"/>
                    </a:lnTo>
                    <a:lnTo>
                      <a:pt x="246" y="28"/>
                    </a:lnTo>
                    <a:lnTo>
                      <a:pt x="248" y="30"/>
                    </a:lnTo>
                    <a:lnTo>
                      <a:pt x="248" y="30"/>
                    </a:lnTo>
                    <a:lnTo>
                      <a:pt x="250" y="32"/>
                    </a:lnTo>
                    <a:lnTo>
                      <a:pt x="250" y="34"/>
                    </a:lnTo>
                    <a:lnTo>
                      <a:pt x="252" y="38"/>
                    </a:lnTo>
                    <a:lnTo>
                      <a:pt x="252" y="40"/>
                    </a:lnTo>
                    <a:lnTo>
                      <a:pt x="254" y="44"/>
                    </a:lnTo>
                    <a:lnTo>
                      <a:pt x="254" y="46"/>
                    </a:lnTo>
                    <a:lnTo>
                      <a:pt x="256" y="46"/>
                    </a:lnTo>
                    <a:lnTo>
                      <a:pt x="256" y="48"/>
                    </a:lnTo>
                    <a:lnTo>
                      <a:pt x="258" y="48"/>
                    </a:lnTo>
                    <a:lnTo>
                      <a:pt x="258" y="50"/>
                    </a:lnTo>
                    <a:lnTo>
                      <a:pt x="260" y="50"/>
                    </a:lnTo>
                    <a:lnTo>
                      <a:pt x="262" y="50"/>
                    </a:lnTo>
                    <a:lnTo>
                      <a:pt x="266" y="50"/>
                    </a:lnTo>
                    <a:lnTo>
                      <a:pt x="268" y="52"/>
                    </a:lnTo>
                    <a:lnTo>
                      <a:pt x="270" y="52"/>
                    </a:lnTo>
                    <a:lnTo>
                      <a:pt x="272" y="52"/>
                    </a:lnTo>
                    <a:lnTo>
                      <a:pt x="274" y="50"/>
                    </a:lnTo>
                    <a:lnTo>
                      <a:pt x="274" y="50"/>
                    </a:lnTo>
                    <a:lnTo>
                      <a:pt x="274" y="50"/>
                    </a:lnTo>
                    <a:lnTo>
                      <a:pt x="276" y="50"/>
                    </a:lnTo>
                    <a:lnTo>
                      <a:pt x="276" y="48"/>
                    </a:lnTo>
                    <a:lnTo>
                      <a:pt x="278" y="46"/>
                    </a:lnTo>
                    <a:lnTo>
                      <a:pt x="278" y="44"/>
                    </a:lnTo>
                    <a:lnTo>
                      <a:pt x="280" y="44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82" y="42"/>
                    </a:lnTo>
                    <a:lnTo>
                      <a:pt x="282" y="42"/>
                    </a:lnTo>
                    <a:lnTo>
                      <a:pt x="284" y="44"/>
                    </a:lnTo>
                    <a:lnTo>
                      <a:pt x="284" y="44"/>
                    </a:lnTo>
                    <a:lnTo>
                      <a:pt x="286" y="46"/>
                    </a:lnTo>
                    <a:lnTo>
                      <a:pt x="286" y="50"/>
                    </a:lnTo>
                    <a:lnTo>
                      <a:pt x="288" y="52"/>
                    </a:lnTo>
                    <a:lnTo>
                      <a:pt x="288" y="54"/>
                    </a:lnTo>
                    <a:lnTo>
                      <a:pt x="288" y="56"/>
                    </a:lnTo>
                    <a:lnTo>
                      <a:pt x="290" y="56"/>
                    </a:lnTo>
                    <a:lnTo>
                      <a:pt x="290" y="56"/>
                    </a:lnTo>
                    <a:lnTo>
                      <a:pt x="292" y="58"/>
                    </a:lnTo>
                    <a:lnTo>
                      <a:pt x="292" y="58"/>
                    </a:lnTo>
                    <a:lnTo>
                      <a:pt x="292" y="56"/>
                    </a:lnTo>
                    <a:lnTo>
                      <a:pt x="294" y="56"/>
                    </a:lnTo>
                    <a:lnTo>
                      <a:pt x="294" y="56"/>
                    </a:lnTo>
                    <a:lnTo>
                      <a:pt x="296" y="54"/>
                    </a:lnTo>
                    <a:lnTo>
                      <a:pt x="298" y="52"/>
                    </a:lnTo>
                    <a:lnTo>
                      <a:pt x="300" y="50"/>
                    </a:lnTo>
                    <a:lnTo>
                      <a:pt x="300" y="50"/>
                    </a:lnTo>
                    <a:lnTo>
                      <a:pt x="302" y="48"/>
                    </a:lnTo>
                    <a:lnTo>
                      <a:pt x="302" y="48"/>
                    </a:lnTo>
                    <a:lnTo>
                      <a:pt x="304" y="48"/>
                    </a:lnTo>
                    <a:lnTo>
                      <a:pt x="304" y="48"/>
                    </a:lnTo>
                    <a:lnTo>
                      <a:pt x="306" y="46"/>
                    </a:lnTo>
                    <a:lnTo>
                      <a:pt x="306" y="46"/>
                    </a:lnTo>
                    <a:lnTo>
                      <a:pt x="308" y="46"/>
                    </a:lnTo>
                    <a:lnTo>
                      <a:pt x="310" y="48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0"/>
                    </a:lnTo>
                    <a:lnTo>
                      <a:pt x="324" y="50"/>
                    </a:lnTo>
                    <a:lnTo>
                      <a:pt x="328" y="52"/>
                    </a:lnTo>
                    <a:lnTo>
                      <a:pt x="330" y="54"/>
                    </a:lnTo>
                    <a:lnTo>
                      <a:pt x="338" y="58"/>
                    </a:lnTo>
                    <a:lnTo>
                      <a:pt x="346" y="60"/>
                    </a:lnTo>
                    <a:lnTo>
                      <a:pt x="348" y="62"/>
                    </a:lnTo>
                    <a:lnTo>
                      <a:pt x="352" y="64"/>
                    </a:lnTo>
                    <a:lnTo>
                      <a:pt x="356" y="64"/>
                    </a:lnTo>
                    <a:lnTo>
                      <a:pt x="358" y="64"/>
                    </a:lnTo>
                    <a:lnTo>
                      <a:pt x="360" y="66"/>
                    </a:lnTo>
                    <a:lnTo>
                      <a:pt x="362" y="66"/>
                    </a:lnTo>
                    <a:lnTo>
                      <a:pt x="366" y="66"/>
                    </a:lnTo>
                    <a:lnTo>
                      <a:pt x="370" y="66"/>
                    </a:lnTo>
                    <a:lnTo>
                      <a:pt x="374" y="66"/>
                    </a:lnTo>
                    <a:lnTo>
                      <a:pt x="380" y="66"/>
                    </a:lnTo>
                    <a:lnTo>
                      <a:pt x="384" y="66"/>
                    </a:lnTo>
                    <a:lnTo>
                      <a:pt x="388" y="66"/>
                    </a:lnTo>
                    <a:lnTo>
                      <a:pt x="390" y="66"/>
                    </a:lnTo>
                    <a:lnTo>
                      <a:pt x="392" y="66"/>
                    </a:lnTo>
                    <a:lnTo>
                      <a:pt x="394" y="66"/>
                    </a:lnTo>
                    <a:lnTo>
                      <a:pt x="398" y="68"/>
                    </a:lnTo>
                    <a:lnTo>
                      <a:pt x="402" y="70"/>
                    </a:lnTo>
                    <a:lnTo>
                      <a:pt x="406" y="70"/>
                    </a:lnTo>
                    <a:lnTo>
                      <a:pt x="410" y="72"/>
                    </a:lnTo>
                    <a:lnTo>
                      <a:pt x="412" y="74"/>
                    </a:lnTo>
                    <a:lnTo>
                      <a:pt x="414" y="74"/>
                    </a:lnTo>
                    <a:lnTo>
                      <a:pt x="414" y="76"/>
                    </a:lnTo>
                    <a:lnTo>
                      <a:pt x="416" y="76"/>
                    </a:lnTo>
                    <a:lnTo>
                      <a:pt x="416" y="78"/>
                    </a:lnTo>
                    <a:lnTo>
                      <a:pt x="418" y="78"/>
                    </a:lnTo>
                    <a:lnTo>
                      <a:pt x="418" y="80"/>
                    </a:lnTo>
                    <a:lnTo>
                      <a:pt x="418" y="80"/>
                    </a:lnTo>
                    <a:lnTo>
                      <a:pt x="418" y="82"/>
                    </a:lnTo>
                    <a:lnTo>
                      <a:pt x="416" y="82"/>
                    </a:lnTo>
                    <a:lnTo>
                      <a:pt x="416" y="86"/>
                    </a:lnTo>
                    <a:lnTo>
                      <a:pt x="414" y="88"/>
                    </a:lnTo>
                    <a:lnTo>
                      <a:pt x="412" y="90"/>
                    </a:lnTo>
                    <a:lnTo>
                      <a:pt x="412" y="92"/>
                    </a:lnTo>
                    <a:lnTo>
                      <a:pt x="412" y="92"/>
                    </a:lnTo>
                    <a:lnTo>
                      <a:pt x="412" y="94"/>
                    </a:lnTo>
                    <a:lnTo>
                      <a:pt x="412" y="94"/>
                    </a:lnTo>
                    <a:lnTo>
                      <a:pt x="412" y="96"/>
                    </a:lnTo>
                    <a:lnTo>
                      <a:pt x="412" y="96"/>
                    </a:lnTo>
                    <a:lnTo>
                      <a:pt x="412" y="96"/>
                    </a:lnTo>
                    <a:lnTo>
                      <a:pt x="414" y="98"/>
                    </a:lnTo>
                    <a:lnTo>
                      <a:pt x="414" y="98"/>
                    </a:lnTo>
                    <a:lnTo>
                      <a:pt x="416" y="98"/>
                    </a:lnTo>
                    <a:lnTo>
                      <a:pt x="416" y="98"/>
                    </a:lnTo>
                    <a:lnTo>
                      <a:pt x="416" y="98"/>
                    </a:lnTo>
                    <a:lnTo>
                      <a:pt x="418" y="96"/>
                    </a:lnTo>
                    <a:lnTo>
                      <a:pt x="422" y="96"/>
                    </a:lnTo>
                    <a:lnTo>
                      <a:pt x="424" y="96"/>
                    </a:lnTo>
                    <a:lnTo>
                      <a:pt x="428" y="92"/>
                    </a:lnTo>
                    <a:lnTo>
                      <a:pt x="434" y="90"/>
                    </a:lnTo>
                    <a:lnTo>
                      <a:pt x="436" y="88"/>
                    </a:lnTo>
                    <a:lnTo>
                      <a:pt x="438" y="88"/>
                    </a:lnTo>
                    <a:lnTo>
                      <a:pt x="440" y="86"/>
                    </a:lnTo>
                    <a:lnTo>
                      <a:pt x="442" y="86"/>
                    </a:lnTo>
                    <a:lnTo>
                      <a:pt x="444" y="86"/>
                    </a:lnTo>
                    <a:lnTo>
                      <a:pt x="446" y="86"/>
                    </a:lnTo>
                    <a:lnTo>
                      <a:pt x="446" y="86"/>
                    </a:lnTo>
                    <a:lnTo>
                      <a:pt x="448" y="86"/>
                    </a:lnTo>
                    <a:lnTo>
                      <a:pt x="450" y="88"/>
                    </a:lnTo>
                    <a:lnTo>
                      <a:pt x="450" y="88"/>
                    </a:lnTo>
                    <a:lnTo>
                      <a:pt x="452" y="90"/>
                    </a:lnTo>
                    <a:lnTo>
                      <a:pt x="454" y="92"/>
                    </a:lnTo>
                    <a:lnTo>
                      <a:pt x="456" y="94"/>
                    </a:lnTo>
                    <a:lnTo>
                      <a:pt x="458" y="98"/>
                    </a:lnTo>
                    <a:lnTo>
                      <a:pt x="462" y="102"/>
                    </a:lnTo>
                    <a:lnTo>
                      <a:pt x="464" y="106"/>
                    </a:lnTo>
                    <a:lnTo>
                      <a:pt x="466" y="106"/>
                    </a:lnTo>
                    <a:lnTo>
                      <a:pt x="468" y="108"/>
                    </a:lnTo>
                    <a:lnTo>
                      <a:pt x="468" y="110"/>
                    </a:lnTo>
                    <a:lnTo>
                      <a:pt x="470" y="110"/>
                    </a:lnTo>
                    <a:lnTo>
                      <a:pt x="472" y="110"/>
                    </a:lnTo>
                    <a:lnTo>
                      <a:pt x="474" y="112"/>
                    </a:lnTo>
                    <a:lnTo>
                      <a:pt x="476" y="112"/>
                    </a:lnTo>
                    <a:lnTo>
                      <a:pt x="480" y="112"/>
                    </a:lnTo>
                    <a:lnTo>
                      <a:pt x="482" y="112"/>
                    </a:lnTo>
                    <a:lnTo>
                      <a:pt x="484" y="110"/>
                    </a:lnTo>
                    <a:lnTo>
                      <a:pt x="486" y="110"/>
                    </a:lnTo>
                    <a:lnTo>
                      <a:pt x="486" y="110"/>
                    </a:lnTo>
                    <a:lnTo>
                      <a:pt x="488" y="110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6"/>
                    </a:lnTo>
                    <a:lnTo>
                      <a:pt x="488" y="106"/>
                    </a:lnTo>
                    <a:lnTo>
                      <a:pt x="488" y="104"/>
                    </a:lnTo>
                    <a:lnTo>
                      <a:pt x="486" y="102"/>
                    </a:lnTo>
                    <a:lnTo>
                      <a:pt x="486" y="100"/>
                    </a:lnTo>
                    <a:lnTo>
                      <a:pt x="486" y="100"/>
                    </a:lnTo>
                    <a:lnTo>
                      <a:pt x="486" y="98"/>
                    </a:lnTo>
                    <a:lnTo>
                      <a:pt x="486" y="96"/>
                    </a:lnTo>
                    <a:lnTo>
                      <a:pt x="486" y="96"/>
                    </a:lnTo>
                    <a:lnTo>
                      <a:pt x="486" y="94"/>
                    </a:lnTo>
                    <a:lnTo>
                      <a:pt x="486" y="94"/>
                    </a:lnTo>
                    <a:lnTo>
                      <a:pt x="488" y="92"/>
                    </a:lnTo>
                    <a:lnTo>
                      <a:pt x="488" y="90"/>
                    </a:lnTo>
                    <a:lnTo>
                      <a:pt x="490" y="88"/>
                    </a:lnTo>
                    <a:lnTo>
                      <a:pt x="494" y="84"/>
                    </a:lnTo>
                    <a:lnTo>
                      <a:pt x="494" y="82"/>
                    </a:lnTo>
                    <a:lnTo>
                      <a:pt x="496" y="80"/>
                    </a:lnTo>
                    <a:lnTo>
                      <a:pt x="498" y="80"/>
                    </a:lnTo>
                    <a:lnTo>
                      <a:pt x="500" y="78"/>
                    </a:lnTo>
                    <a:lnTo>
                      <a:pt x="500" y="78"/>
                    </a:lnTo>
                    <a:lnTo>
                      <a:pt x="502" y="76"/>
                    </a:lnTo>
                    <a:lnTo>
                      <a:pt x="504" y="76"/>
                    </a:lnTo>
                    <a:lnTo>
                      <a:pt x="506" y="76"/>
                    </a:lnTo>
                    <a:lnTo>
                      <a:pt x="506" y="76"/>
                    </a:lnTo>
                    <a:lnTo>
                      <a:pt x="508" y="76"/>
                    </a:lnTo>
                    <a:lnTo>
                      <a:pt x="510" y="78"/>
                    </a:lnTo>
                    <a:lnTo>
                      <a:pt x="510" y="78"/>
                    </a:lnTo>
                    <a:lnTo>
                      <a:pt x="512" y="80"/>
                    </a:lnTo>
                    <a:lnTo>
                      <a:pt x="514" y="80"/>
                    </a:lnTo>
                    <a:lnTo>
                      <a:pt x="516" y="84"/>
                    </a:lnTo>
                    <a:lnTo>
                      <a:pt x="518" y="86"/>
                    </a:lnTo>
                    <a:lnTo>
                      <a:pt x="522" y="88"/>
                    </a:lnTo>
                    <a:lnTo>
                      <a:pt x="524" y="90"/>
                    </a:lnTo>
                    <a:lnTo>
                      <a:pt x="524" y="92"/>
                    </a:lnTo>
                    <a:lnTo>
                      <a:pt x="526" y="92"/>
                    </a:lnTo>
                    <a:lnTo>
                      <a:pt x="526" y="92"/>
                    </a:lnTo>
                    <a:lnTo>
                      <a:pt x="530" y="94"/>
                    </a:lnTo>
                    <a:lnTo>
                      <a:pt x="534" y="94"/>
                    </a:lnTo>
                    <a:lnTo>
                      <a:pt x="536" y="96"/>
                    </a:lnTo>
                    <a:lnTo>
                      <a:pt x="542" y="96"/>
                    </a:lnTo>
                    <a:lnTo>
                      <a:pt x="546" y="98"/>
                    </a:lnTo>
                    <a:lnTo>
                      <a:pt x="550" y="98"/>
                    </a:lnTo>
                    <a:lnTo>
                      <a:pt x="554" y="98"/>
                    </a:lnTo>
                    <a:lnTo>
                      <a:pt x="558" y="98"/>
                    </a:lnTo>
                    <a:lnTo>
                      <a:pt x="564" y="100"/>
                    </a:lnTo>
                    <a:lnTo>
                      <a:pt x="568" y="100"/>
                    </a:lnTo>
                    <a:lnTo>
                      <a:pt x="572" y="100"/>
                    </a:lnTo>
                    <a:lnTo>
                      <a:pt x="576" y="100"/>
                    </a:lnTo>
                    <a:lnTo>
                      <a:pt x="580" y="98"/>
                    </a:lnTo>
                    <a:lnTo>
                      <a:pt x="584" y="98"/>
                    </a:lnTo>
                    <a:lnTo>
                      <a:pt x="588" y="98"/>
                    </a:lnTo>
                    <a:lnTo>
                      <a:pt x="590" y="96"/>
                    </a:lnTo>
                    <a:lnTo>
                      <a:pt x="592" y="96"/>
                    </a:lnTo>
                    <a:lnTo>
                      <a:pt x="592" y="96"/>
                    </a:lnTo>
                    <a:lnTo>
                      <a:pt x="592" y="96"/>
                    </a:lnTo>
                    <a:lnTo>
                      <a:pt x="594" y="94"/>
                    </a:lnTo>
                    <a:lnTo>
                      <a:pt x="594" y="94"/>
                    </a:lnTo>
                    <a:lnTo>
                      <a:pt x="596" y="92"/>
                    </a:lnTo>
                    <a:lnTo>
                      <a:pt x="596" y="90"/>
                    </a:lnTo>
                    <a:lnTo>
                      <a:pt x="598" y="88"/>
                    </a:lnTo>
                    <a:lnTo>
                      <a:pt x="600" y="86"/>
                    </a:lnTo>
                    <a:lnTo>
                      <a:pt x="600" y="84"/>
                    </a:lnTo>
                    <a:lnTo>
                      <a:pt x="602" y="82"/>
                    </a:lnTo>
                    <a:lnTo>
                      <a:pt x="602" y="82"/>
                    </a:lnTo>
                    <a:lnTo>
                      <a:pt x="604" y="82"/>
                    </a:lnTo>
                    <a:lnTo>
                      <a:pt x="606" y="80"/>
                    </a:lnTo>
                    <a:lnTo>
                      <a:pt x="608" y="80"/>
                    </a:lnTo>
                    <a:lnTo>
                      <a:pt x="612" y="80"/>
                    </a:lnTo>
                    <a:lnTo>
                      <a:pt x="614" y="80"/>
                    </a:lnTo>
                    <a:lnTo>
                      <a:pt x="616" y="80"/>
                    </a:lnTo>
                    <a:lnTo>
                      <a:pt x="620" y="80"/>
                    </a:lnTo>
                    <a:lnTo>
                      <a:pt x="620" y="80"/>
                    </a:lnTo>
                    <a:lnTo>
                      <a:pt x="622" y="80"/>
                    </a:lnTo>
                    <a:lnTo>
                      <a:pt x="622" y="80"/>
                    </a:lnTo>
                    <a:lnTo>
                      <a:pt x="622" y="82"/>
                    </a:lnTo>
                    <a:lnTo>
                      <a:pt x="624" y="82"/>
                    </a:lnTo>
                    <a:lnTo>
                      <a:pt x="624" y="82"/>
                    </a:lnTo>
                    <a:lnTo>
                      <a:pt x="626" y="86"/>
                    </a:lnTo>
                    <a:lnTo>
                      <a:pt x="626" y="88"/>
                    </a:lnTo>
                    <a:lnTo>
                      <a:pt x="628" y="90"/>
                    </a:lnTo>
                    <a:lnTo>
                      <a:pt x="628" y="92"/>
                    </a:lnTo>
                    <a:lnTo>
                      <a:pt x="630" y="94"/>
                    </a:lnTo>
                    <a:lnTo>
                      <a:pt x="630" y="94"/>
                    </a:lnTo>
                    <a:lnTo>
                      <a:pt x="630" y="94"/>
                    </a:lnTo>
                    <a:lnTo>
                      <a:pt x="632" y="96"/>
                    </a:lnTo>
                    <a:lnTo>
                      <a:pt x="632" y="96"/>
                    </a:lnTo>
                    <a:lnTo>
                      <a:pt x="632" y="96"/>
                    </a:lnTo>
                    <a:lnTo>
                      <a:pt x="634" y="94"/>
                    </a:lnTo>
                    <a:lnTo>
                      <a:pt x="634" y="94"/>
                    </a:lnTo>
                    <a:lnTo>
                      <a:pt x="636" y="94"/>
                    </a:lnTo>
                    <a:lnTo>
                      <a:pt x="640" y="92"/>
                    </a:lnTo>
                    <a:lnTo>
                      <a:pt x="642" y="88"/>
                    </a:lnTo>
                    <a:lnTo>
                      <a:pt x="644" y="88"/>
                    </a:lnTo>
                    <a:lnTo>
                      <a:pt x="646" y="86"/>
                    </a:lnTo>
                    <a:lnTo>
                      <a:pt x="650" y="84"/>
                    </a:lnTo>
                    <a:lnTo>
                      <a:pt x="654" y="82"/>
                    </a:lnTo>
                    <a:lnTo>
                      <a:pt x="656" y="80"/>
                    </a:lnTo>
                    <a:lnTo>
                      <a:pt x="658" y="78"/>
                    </a:lnTo>
                    <a:lnTo>
                      <a:pt x="658" y="78"/>
                    </a:lnTo>
                    <a:lnTo>
                      <a:pt x="660" y="78"/>
                    </a:lnTo>
                    <a:lnTo>
                      <a:pt x="660" y="76"/>
                    </a:lnTo>
                    <a:lnTo>
                      <a:pt x="660" y="76"/>
                    </a:lnTo>
                    <a:lnTo>
                      <a:pt x="660" y="74"/>
                    </a:lnTo>
                    <a:lnTo>
                      <a:pt x="660" y="72"/>
                    </a:lnTo>
                    <a:lnTo>
                      <a:pt x="660" y="72"/>
                    </a:lnTo>
                    <a:lnTo>
                      <a:pt x="660" y="70"/>
                    </a:lnTo>
                    <a:lnTo>
                      <a:pt x="660" y="68"/>
                    </a:lnTo>
                    <a:lnTo>
                      <a:pt x="660" y="66"/>
                    </a:lnTo>
                    <a:lnTo>
                      <a:pt x="658" y="62"/>
                    </a:lnTo>
                    <a:lnTo>
                      <a:pt x="658" y="58"/>
                    </a:lnTo>
                    <a:lnTo>
                      <a:pt x="656" y="54"/>
                    </a:lnTo>
                    <a:lnTo>
                      <a:pt x="654" y="50"/>
                    </a:lnTo>
                    <a:lnTo>
                      <a:pt x="652" y="48"/>
                    </a:lnTo>
                    <a:lnTo>
                      <a:pt x="652" y="46"/>
                    </a:lnTo>
                    <a:lnTo>
                      <a:pt x="652" y="46"/>
                    </a:lnTo>
                    <a:lnTo>
                      <a:pt x="650" y="44"/>
                    </a:lnTo>
                    <a:lnTo>
                      <a:pt x="648" y="44"/>
                    </a:lnTo>
                    <a:lnTo>
                      <a:pt x="646" y="42"/>
                    </a:lnTo>
                    <a:lnTo>
                      <a:pt x="642" y="42"/>
                    </a:lnTo>
                    <a:lnTo>
                      <a:pt x="640" y="40"/>
                    </a:lnTo>
                    <a:lnTo>
                      <a:pt x="638" y="38"/>
                    </a:lnTo>
                    <a:lnTo>
                      <a:pt x="638" y="38"/>
                    </a:lnTo>
                    <a:lnTo>
                      <a:pt x="636" y="38"/>
                    </a:lnTo>
                    <a:lnTo>
                      <a:pt x="636" y="36"/>
                    </a:lnTo>
                    <a:lnTo>
                      <a:pt x="636" y="36"/>
                    </a:lnTo>
                    <a:lnTo>
                      <a:pt x="636" y="34"/>
                    </a:lnTo>
                    <a:lnTo>
                      <a:pt x="636" y="34"/>
                    </a:lnTo>
                    <a:lnTo>
                      <a:pt x="636" y="34"/>
                    </a:lnTo>
                    <a:lnTo>
                      <a:pt x="636" y="32"/>
                    </a:lnTo>
                    <a:lnTo>
                      <a:pt x="636" y="32"/>
                    </a:lnTo>
                    <a:lnTo>
                      <a:pt x="638" y="30"/>
                    </a:lnTo>
                    <a:lnTo>
                      <a:pt x="642" y="30"/>
                    </a:lnTo>
                    <a:lnTo>
                      <a:pt x="646" y="28"/>
                    </a:lnTo>
                    <a:lnTo>
                      <a:pt x="648" y="26"/>
                    </a:lnTo>
                    <a:lnTo>
                      <a:pt x="648" y="26"/>
                    </a:lnTo>
                    <a:lnTo>
                      <a:pt x="648" y="26"/>
                    </a:lnTo>
                    <a:lnTo>
                      <a:pt x="650" y="24"/>
                    </a:lnTo>
                    <a:lnTo>
                      <a:pt x="650" y="22"/>
                    </a:lnTo>
                    <a:lnTo>
                      <a:pt x="652" y="20"/>
                    </a:lnTo>
                    <a:lnTo>
                      <a:pt x="654" y="16"/>
                    </a:lnTo>
                    <a:lnTo>
                      <a:pt x="656" y="14"/>
                    </a:lnTo>
                    <a:lnTo>
                      <a:pt x="656" y="14"/>
                    </a:lnTo>
                    <a:lnTo>
                      <a:pt x="658" y="12"/>
                    </a:lnTo>
                    <a:lnTo>
                      <a:pt x="660" y="10"/>
                    </a:lnTo>
                    <a:lnTo>
                      <a:pt x="662" y="8"/>
                    </a:lnTo>
                    <a:lnTo>
                      <a:pt x="666" y="6"/>
                    </a:lnTo>
                    <a:lnTo>
                      <a:pt x="668" y="4"/>
                    </a:lnTo>
                    <a:lnTo>
                      <a:pt x="670" y="2"/>
                    </a:lnTo>
                    <a:lnTo>
                      <a:pt x="672" y="2"/>
                    </a:lnTo>
                    <a:lnTo>
                      <a:pt x="674" y="0"/>
                    </a:lnTo>
                    <a:lnTo>
                      <a:pt x="674" y="0"/>
                    </a:lnTo>
                    <a:lnTo>
                      <a:pt x="676" y="0"/>
                    </a:lnTo>
                    <a:lnTo>
                      <a:pt x="676" y="0"/>
                    </a:lnTo>
                    <a:lnTo>
                      <a:pt x="678" y="2"/>
                    </a:lnTo>
                    <a:lnTo>
                      <a:pt x="680" y="2"/>
                    </a:lnTo>
                    <a:lnTo>
                      <a:pt x="682" y="2"/>
                    </a:lnTo>
                    <a:lnTo>
                      <a:pt x="682" y="4"/>
                    </a:lnTo>
                    <a:lnTo>
                      <a:pt x="684" y="4"/>
                    </a:lnTo>
                    <a:lnTo>
                      <a:pt x="686" y="6"/>
                    </a:lnTo>
                    <a:lnTo>
                      <a:pt x="688" y="8"/>
                    </a:lnTo>
                    <a:lnTo>
                      <a:pt x="690" y="10"/>
                    </a:lnTo>
                    <a:lnTo>
                      <a:pt x="692" y="12"/>
                    </a:lnTo>
                    <a:lnTo>
                      <a:pt x="692" y="12"/>
                    </a:lnTo>
                    <a:lnTo>
                      <a:pt x="694" y="14"/>
                    </a:lnTo>
                    <a:lnTo>
                      <a:pt x="694" y="16"/>
                    </a:lnTo>
                    <a:lnTo>
                      <a:pt x="696" y="16"/>
                    </a:lnTo>
                    <a:lnTo>
                      <a:pt x="696" y="18"/>
                    </a:lnTo>
                    <a:lnTo>
                      <a:pt x="696" y="18"/>
                    </a:lnTo>
                    <a:lnTo>
                      <a:pt x="696" y="20"/>
                    </a:lnTo>
                    <a:lnTo>
                      <a:pt x="696" y="20"/>
                    </a:lnTo>
                    <a:lnTo>
                      <a:pt x="696" y="22"/>
                    </a:lnTo>
                    <a:lnTo>
                      <a:pt x="694" y="24"/>
                    </a:lnTo>
                    <a:lnTo>
                      <a:pt x="694" y="26"/>
                    </a:lnTo>
                    <a:lnTo>
                      <a:pt x="692" y="30"/>
                    </a:lnTo>
                    <a:lnTo>
                      <a:pt x="690" y="32"/>
                    </a:lnTo>
                    <a:lnTo>
                      <a:pt x="690" y="34"/>
                    </a:lnTo>
                    <a:lnTo>
                      <a:pt x="690" y="34"/>
                    </a:lnTo>
                    <a:lnTo>
                      <a:pt x="690" y="36"/>
                    </a:lnTo>
                    <a:lnTo>
                      <a:pt x="690" y="38"/>
                    </a:lnTo>
                    <a:lnTo>
                      <a:pt x="692" y="42"/>
                    </a:lnTo>
                    <a:lnTo>
                      <a:pt x="692" y="44"/>
                    </a:lnTo>
                    <a:lnTo>
                      <a:pt x="692" y="46"/>
                    </a:lnTo>
                    <a:lnTo>
                      <a:pt x="692" y="48"/>
                    </a:lnTo>
                    <a:lnTo>
                      <a:pt x="692" y="48"/>
                    </a:lnTo>
                    <a:lnTo>
                      <a:pt x="694" y="50"/>
                    </a:lnTo>
                    <a:lnTo>
                      <a:pt x="694" y="50"/>
                    </a:lnTo>
                    <a:lnTo>
                      <a:pt x="696" y="52"/>
                    </a:lnTo>
                    <a:lnTo>
                      <a:pt x="698" y="52"/>
                    </a:lnTo>
                    <a:lnTo>
                      <a:pt x="700" y="54"/>
                    </a:lnTo>
                    <a:lnTo>
                      <a:pt x="704" y="56"/>
                    </a:lnTo>
                    <a:lnTo>
                      <a:pt x="704" y="58"/>
                    </a:lnTo>
                    <a:lnTo>
                      <a:pt x="706" y="60"/>
                    </a:lnTo>
                    <a:lnTo>
                      <a:pt x="706" y="60"/>
                    </a:lnTo>
                    <a:lnTo>
                      <a:pt x="706" y="62"/>
                    </a:lnTo>
                    <a:lnTo>
                      <a:pt x="708" y="64"/>
                    </a:lnTo>
                    <a:lnTo>
                      <a:pt x="708" y="68"/>
                    </a:lnTo>
                    <a:lnTo>
                      <a:pt x="708" y="72"/>
                    </a:lnTo>
                    <a:lnTo>
                      <a:pt x="708" y="74"/>
                    </a:lnTo>
                    <a:lnTo>
                      <a:pt x="708" y="76"/>
                    </a:lnTo>
                    <a:lnTo>
                      <a:pt x="710" y="76"/>
                    </a:lnTo>
                    <a:lnTo>
                      <a:pt x="710" y="78"/>
                    </a:lnTo>
                    <a:lnTo>
                      <a:pt x="710" y="78"/>
                    </a:lnTo>
                    <a:lnTo>
                      <a:pt x="710" y="80"/>
                    </a:lnTo>
                    <a:lnTo>
                      <a:pt x="712" y="80"/>
                    </a:lnTo>
                    <a:lnTo>
                      <a:pt x="712" y="80"/>
                    </a:lnTo>
                    <a:lnTo>
                      <a:pt x="714" y="80"/>
                    </a:lnTo>
                    <a:lnTo>
                      <a:pt x="714" y="80"/>
                    </a:lnTo>
                    <a:lnTo>
                      <a:pt x="714" y="80"/>
                    </a:lnTo>
                    <a:lnTo>
                      <a:pt x="716" y="78"/>
                    </a:lnTo>
                    <a:lnTo>
                      <a:pt x="716" y="78"/>
                    </a:lnTo>
                    <a:lnTo>
                      <a:pt x="718" y="76"/>
                    </a:lnTo>
                    <a:lnTo>
                      <a:pt x="718" y="74"/>
                    </a:lnTo>
                    <a:lnTo>
                      <a:pt x="720" y="70"/>
                    </a:lnTo>
                    <a:lnTo>
                      <a:pt x="722" y="66"/>
                    </a:lnTo>
                    <a:lnTo>
                      <a:pt x="722" y="64"/>
                    </a:lnTo>
                    <a:lnTo>
                      <a:pt x="724" y="62"/>
                    </a:lnTo>
                    <a:lnTo>
                      <a:pt x="724" y="62"/>
                    </a:lnTo>
                    <a:lnTo>
                      <a:pt x="726" y="60"/>
                    </a:lnTo>
                    <a:lnTo>
                      <a:pt x="726" y="60"/>
                    </a:lnTo>
                    <a:lnTo>
                      <a:pt x="726" y="60"/>
                    </a:lnTo>
                    <a:lnTo>
                      <a:pt x="728" y="60"/>
                    </a:lnTo>
                    <a:lnTo>
                      <a:pt x="728" y="60"/>
                    </a:lnTo>
                    <a:lnTo>
                      <a:pt x="730" y="60"/>
                    </a:lnTo>
                    <a:lnTo>
                      <a:pt x="730" y="60"/>
                    </a:lnTo>
                    <a:lnTo>
                      <a:pt x="730" y="62"/>
                    </a:lnTo>
                    <a:lnTo>
                      <a:pt x="732" y="62"/>
                    </a:lnTo>
                    <a:lnTo>
                      <a:pt x="732" y="64"/>
                    </a:lnTo>
                    <a:lnTo>
                      <a:pt x="732" y="64"/>
                    </a:lnTo>
                    <a:lnTo>
                      <a:pt x="734" y="66"/>
                    </a:lnTo>
                    <a:lnTo>
                      <a:pt x="736" y="70"/>
                    </a:lnTo>
                    <a:lnTo>
                      <a:pt x="736" y="72"/>
                    </a:lnTo>
                    <a:lnTo>
                      <a:pt x="738" y="78"/>
                    </a:lnTo>
                    <a:lnTo>
                      <a:pt x="738" y="78"/>
                    </a:lnTo>
                    <a:lnTo>
                      <a:pt x="738" y="80"/>
                    </a:lnTo>
                    <a:lnTo>
                      <a:pt x="738" y="82"/>
                    </a:lnTo>
                    <a:lnTo>
                      <a:pt x="736" y="84"/>
                    </a:lnTo>
                    <a:lnTo>
                      <a:pt x="736" y="88"/>
                    </a:lnTo>
                    <a:lnTo>
                      <a:pt x="736" y="92"/>
                    </a:lnTo>
                    <a:lnTo>
                      <a:pt x="734" y="96"/>
                    </a:lnTo>
                    <a:lnTo>
                      <a:pt x="734" y="98"/>
                    </a:lnTo>
                    <a:lnTo>
                      <a:pt x="734" y="100"/>
                    </a:lnTo>
                    <a:lnTo>
                      <a:pt x="734" y="102"/>
                    </a:lnTo>
                    <a:lnTo>
                      <a:pt x="734" y="104"/>
                    </a:lnTo>
                    <a:lnTo>
                      <a:pt x="736" y="106"/>
                    </a:lnTo>
                    <a:lnTo>
                      <a:pt x="736" y="106"/>
                    </a:lnTo>
                    <a:lnTo>
                      <a:pt x="736" y="106"/>
                    </a:lnTo>
                    <a:lnTo>
                      <a:pt x="736" y="106"/>
                    </a:lnTo>
                    <a:lnTo>
                      <a:pt x="738" y="106"/>
                    </a:lnTo>
                    <a:lnTo>
                      <a:pt x="738" y="108"/>
                    </a:lnTo>
                    <a:lnTo>
                      <a:pt x="740" y="108"/>
                    </a:lnTo>
                    <a:lnTo>
                      <a:pt x="742" y="108"/>
                    </a:lnTo>
                    <a:lnTo>
                      <a:pt x="744" y="108"/>
                    </a:lnTo>
                    <a:lnTo>
                      <a:pt x="746" y="108"/>
                    </a:lnTo>
                    <a:lnTo>
                      <a:pt x="748" y="106"/>
                    </a:lnTo>
                    <a:lnTo>
                      <a:pt x="748" y="106"/>
                    </a:lnTo>
                    <a:lnTo>
                      <a:pt x="748" y="106"/>
                    </a:lnTo>
                    <a:lnTo>
                      <a:pt x="750" y="106"/>
                    </a:lnTo>
                    <a:lnTo>
                      <a:pt x="750" y="104"/>
                    </a:lnTo>
                    <a:lnTo>
                      <a:pt x="750" y="104"/>
                    </a:lnTo>
                    <a:lnTo>
                      <a:pt x="750" y="100"/>
                    </a:lnTo>
                    <a:lnTo>
                      <a:pt x="752" y="98"/>
                    </a:lnTo>
                    <a:lnTo>
                      <a:pt x="752" y="94"/>
                    </a:lnTo>
                    <a:lnTo>
                      <a:pt x="752" y="92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88"/>
                    </a:lnTo>
                    <a:lnTo>
                      <a:pt x="754" y="88"/>
                    </a:lnTo>
                    <a:lnTo>
                      <a:pt x="758" y="86"/>
                    </a:lnTo>
                    <a:lnTo>
                      <a:pt x="760" y="84"/>
                    </a:lnTo>
                    <a:lnTo>
                      <a:pt x="762" y="82"/>
                    </a:lnTo>
                    <a:lnTo>
                      <a:pt x="766" y="78"/>
                    </a:lnTo>
                    <a:lnTo>
                      <a:pt x="768" y="76"/>
                    </a:lnTo>
                    <a:lnTo>
                      <a:pt x="770" y="74"/>
                    </a:lnTo>
                    <a:lnTo>
                      <a:pt x="770" y="74"/>
                    </a:lnTo>
                    <a:lnTo>
                      <a:pt x="772" y="72"/>
                    </a:lnTo>
                    <a:lnTo>
                      <a:pt x="772" y="72"/>
                    </a:lnTo>
                    <a:lnTo>
                      <a:pt x="772" y="70"/>
                    </a:lnTo>
                    <a:lnTo>
                      <a:pt x="772" y="66"/>
                    </a:lnTo>
                    <a:lnTo>
                      <a:pt x="774" y="64"/>
                    </a:lnTo>
                    <a:lnTo>
                      <a:pt x="774" y="60"/>
                    </a:lnTo>
                    <a:lnTo>
                      <a:pt x="774" y="56"/>
                    </a:lnTo>
                    <a:lnTo>
                      <a:pt x="776" y="54"/>
                    </a:lnTo>
                    <a:lnTo>
                      <a:pt x="776" y="52"/>
                    </a:lnTo>
                    <a:lnTo>
                      <a:pt x="776" y="52"/>
                    </a:lnTo>
                    <a:lnTo>
                      <a:pt x="776" y="50"/>
                    </a:lnTo>
                    <a:lnTo>
                      <a:pt x="778" y="50"/>
                    </a:lnTo>
                    <a:lnTo>
                      <a:pt x="778" y="48"/>
                    </a:lnTo>
                    <a:lnTo>
                      <a:pt x="780" y="48"/>
                    </a:lnTo>
                    <a:lnTo>
                      <a:pt x="782" y="48"/>
                    </a:lnTo>
                    <a:lnTo>
                      <a:pt x="784" y="46"/>
                    </a:lnTo>
                    <a:lnTo>
                      <a:pt x="786" y="46"/>
                    </a:lnTo>
                    <a:lnTo>
                      <a:pt x="788" y="46"/>
                    </a:lnTo>
                    <a:lnTo>
                      <a:pt x="790" y="46"/>
                    </a:lnTo>
                    <a:lnTo>
                      <a:pt x="792" y="46"/>
                    </a:lnTo>
                    <a:lnTo>
                      <a:pt x="794" y="46"/>
                    </a:lnTo>
                    <a:lnTo>
                      <a:pt x="796" y="48"/>
                    </a:lnTo>
                    <a:lnTo>
                      <a:pt x="800" y="48"/>
                    </a:lnTo>
                    <a:lnTo>
                      <a:pt x="802" y="48"/>
                    </a:lnTo>
                    <a:lnTo>
                      <a:pt x="804" y="50"/>
                    </a:lnTo>
                    <a:lnTo>
                      <a:pt x="806" y="50"/>
                    </a:lnTo>
                    <a:lnTo>
                      <a:pt x="808" y="50"/>
                    </a:lnTo>
                    <a:lnTo>
                      <a:pt x="808" y="52"/>
                    </a:lnTo>
                    <a:lnTo>
                      <a:pt x="810" y="52"/>
                    </a:lnTo>
                    <a:lnTo>
                      <a:pt x="810" y="54"/>
                    </a:lnTo>
                    <a:lnTo>
                      <a:pt x="812" y="54"/>
                    </a:lnTo>
                    <a:lnTo>
                      <a:pt x="812" y="56"/>
                    </a:lnTo>
                    <a:lnTo>
                      <a:pt x="814" y="56"/>
                    </a:lnTo>
                    <a:lnTo>
                      <a:pt x="816" y="60"/>
                    </a:lnTo>
                    <a:lnTo>
                      <a:pt x="816" y="62"/>
                    </a:lnTo>
                    <a:lnTo>
                      <a:pt x="818" y="66"/>
                    </a:lnTo>
                    <a:lnTo>
                      <a:pt x="818" y="68"/>
                    </a:lnTo>
                    <a:lnTo>
                      <a:pt x="820" y="70"/>
                    </a:lnTo>
                    <a:lnTo>
                      <a:pt x="820" y="72"/>
                    </a:lnTo>
                    <a:lnTo>
                      <a:pt x="820" y="72"/>
                    </a:lnTo>
                    <a:lnTo>
                      <a:pt x="820" y="74"/>
                    </a:lnTo>
                    <a:lnTo>
                      <a:pt x="818" y="74"/>
                    </a:lnTo>
                    <a:lnTo>
                      <a:pt x="818" y="76"/>
                    </a:lnTo>
                    <a:lnTo>
                      <a:pt x="818" y="76"/>
                    </a:lnTo>
                    <a:lnTo>
                      <a:pt x="818" y="76"/>
                    </a:lnTo>
                    <a:lnTo>
                      <a:pt x="816" y="76"/>
                    </a:lnTo>
                    <a:lnTo>
                      <a:pt x="814" y="78"/>
                    </a:lnTo>
                    <a:lnTo>
                      <a:pt x="812" y="78"/>
                    </a:lnTo>
                    <a:lnTo>
                      <a:pt x="810" y="80"/>
                    </a:lnTo>
                    <a:lnTo>
                      <a:pt x="808" y="80"/>
                    </a:lnTo>
                    <a:lnTo>
                      <a:pt x="808" y="80"/>
                    </a:lnTo>
                    <a:lnTo>
                      <a:pt x="808" y="82"/>
                    </a:lnTo>
                    <a:lnTo>
                      <a:pt x="806" y="82"/>
                    </a:lnTo>
                    <a:lnTo>
                      <a:pt x="806" y="82"/>
                    </a:lnTo>
                    <a:lnTo>
                      <a:pt x="806" y="84"/>
                    </a:lnTo>
                    <a:lnTo>
                      <a:pt x="806" y="84"/>
                    </a:lnTo>
                    <a:lnTo>
                      <a:pt x="806" y="86"/>
                    </a:lnTo>
                    <a:lnTo>
                      <a:pt x="806" y="88"/>
                    </a:lnTo>
                    <a:lnTo>
                      <a:pt x="806" y="88"/>
                    </a:lnTo>
                    <a:lnTo>
                      <a:pt x="808" y="90"/>
                    </a:lnTo>
                    <a:lnTo>
                      <a:pt x="808" y="92"/>
                    </a:lnTo>
                    <a:lnTo>
                      <a:pt x="810" y="96"/>
                    </a:lnTo>
                    <a:lnTo>
                      <a:pt x="812" y="100"/>
                    </a:lnTo>
                    <a:lnTo>
                      <a:pt x="812" y="104"/>
                    </a:lnTo>
                    <a:lnTo>
                      <a:pt x="812" y="104"/>
                    </a:lnTo>
                    <a:lnTo>
                      <a:pt x="812" y="106"/>
                    </a:lnTo>
                    <a:lnTo>
                      <a:pt x="814" y="108"/>
                    </a:lnTo>
                    <a:lnTo>
                      <a:pt x="814" y="110"/>
                    </a:lnTo>
                    <a:lnTo>
                      <a:pt x="812" y="110"/>
                    </a:lnTo>
                    <a:lnTo>
                      <a:pt x="812" y="112"/>
                    </a:lnTo>
                    <a:lnTo>
                      <a:pt x="812" y="114"/>
                    </a:lnTo>
                    <a:lnTo>
                      <a:pt x="810" y="116"/>
                    </a:lnTo>
                    <a:lnTo>
                      <a:pt x="808" y="118"/>
                    </a:lnTo>
                    <a:lnTo>
                      <a:pt x="806" y="120"/>
                    </a:lnTo>
                    <a:lnTo>
                      <a:pt x="804" y="122"/>
                    </a:lnTo>
                    <a:lnTo>
                      <a:pt x="800" y="124"/>
                    </a:lnTo>
                    <a:lnTo>
                      <a:pt x="798" y="126"/>
                    </a:lnTo>
                    <a:lnTo>
                      <a:pt x="794" y="128"/>
                    </a:lnTo>
                    <a:lnTo>
                      <a:pt x="792" y="128"/>
                    </a:lnTo>
                    <a:lnTo>
                      <a:pt x="788" y="130"/>
                    </a:lnTo>
                    <a:lnTo>
                      <a:pt x="786" y="132"/>
                    </a:lnTo>
                    <a:lnTo>
                      <a:pt x="782" y="132"/>
                    </a:lnTo>
                    <a:lnTo>
                      <a:pt x="780" y="132"/>
                    </a:lnTo>
                    <a:lnTo>
                      <a:pt x="778" y="134"/>
                    </a:lnTo>
                    <a:lnTo>
                      <a:pt x="774" y="134"/>
                    </a:lnTo>
                    <a:lnTo>
                      <a:pt x="774" y="132"/>
                    </a:lnTo>
                    <a:lnTo>
                      <a:pt x="772" y="132"/>
                    </a:lnTo>
                    <a:lnTo>
                      <a:pt x="772" y="132"/>
                    </a:lnTo>
                    <a:lnTo>
                      <a:pt x="772" y="132"/>
                    </a:lnTo>
                    <a:lnTo>
                      <a:pt x="770" y="132"/>
                    </a:lnTo>
                    <a:lnTo>
                      <a:pt x="770" y="132"/>
                    </a:lnTo>
                    <a:lnTo>
                      <a:pt x="770" y="130"/>
                    </a:lnTo>
                    <a:lnTo>
                      <a:pt x="770" y="128"/>
                    </a:lnTo>
                    <a:lnTo>
                      <a:pt x="768" y="126"/>
                    </a:lnTo>
                    <a:lnTo>
                      <a:pt x="768" y="124"/>
                    </a:lnTo>
                    <a:lnTo>
                      <a:pt x="766" y="124"/>
                    </a:lnTo>
                    <a:lnTo>
                      <a:pt x="766" y="124"/>
                    </a:lnTo>
                    <a:lnTo>
                      <a:pt x="766" y="122"/>
                    </a:lnTo>
                    <a:lnTo>
                      <a:pt x="766" y="122"/>
                    </a:lnTo>
                    <a:lnTo>
                      <a:pt x="764" y="122"/>
                    </a:lnTo>
                    <a:lnTo>
                      <a:pt x="762" y="122"/>
                    </a:lnTo>
                    <a:lnTo>
                      <a:pt x="758" y="122"/>
                    </a:lnTo>
                    <a:lnTo>
                      <a:pt x="754" y="122"/>
                    </a:lnTo>
                    <a:lnTo>
                      <a:pt x="752" y="122"/>
                    </a:lnTo>
                    <a:lnTo>
                      <a:pt x="748" y="122"/>
                    </a:lnTo>
                    <a:lnTo>
                      <a:pt x="748" y="122"/>
                    </a:lnTo>
                    <a:lnTo>
                      <a:pt x="746" y="122"/>
                    </a:lnTo>
                    <a:lnTo>
                      <a:pt x="746" y="124"/>
                    </a:lnTo>
                    <a:lnTo>
                      <a:pt x="744" y="124"/>
                    </a:lnTo>
                    <a:lnTo>
                      <a:pt x="744" y="124"/>
                    </a:lnTo>
                    <a:lnTo>
                      <a:pt x="744" y="126"/>
                    </a:lnTo>
                    <a:lnTo>
                      <a:pt x="744" y="126"/>
                    </a:lnTo>
                    <a:lnTo>
                      <a:pt x="744" y="128"/>
                    </a:lnTo>
                    <a:lnTo>
                      <a:pt x="742" y="130"/>
                    </a:lnTo>
                    <a:lnTo>
                      <a:pt x="742" y="132"/>
                    </a:lnTo>
                    <a:lnTo>
                      <a:pt x="742" y="136"/>
                    </a:lnTo>
                    <a:lnTo>
                      <a:pt x="742" y="138"/>
                    </a:lnTo>
                    <a:lnTo>
                      <a:pt x="742" y="140"/>
                    </a:lnTo>
                    <a:lnTo>
                      <a:pt x="742" y="140"/>
                    </a:lnTo>
                    <a:lnTo>
                      <a:pt x="742" y="140"/>
                    </a:lnTo>
                    <a:lnTo>
                      <a:pt x="740" y="142"/>
                    </a:lnTo>
                    <a:lnTo>
                      <a:pt x="740" y="142"/>
                    </a:lnTo>
                    <a:lnTo>
                      <a:pt x="738" y="142"/>
                    </a:lnTo>
                    <a:lnTo>
                      <a:pt x="738" y="144"/>
                    </a:lnTo>
                    <a:lnTo>
                      <a:pt x="736" y="144"/>
                    </a:lnTo>
                    <a:lnTo>
                      <a:pt x="734" y="144"/>
                    </a:lnTo>
                    <a:lnTo>
                      <a:pt x="732" y="144"/>
                    </a:lnTo>
                    <a:lnTo>
                      <a:pt x="728" y="144"/>
                    </a:lnTo>
                    <a:lnTo>
                      <a:pt x="724" y="144"/>
                    </a:lnTo>
                    <a:lnTo>
                      <a:pt x="722" y="144"/>
                    </a:lnTo>
                    <a:lnTo>
                      <a:pt x="718" y="142"/>
                    </a:lnTo>
                    <a:lnTo>
                      <a:pt x="716" y="142"/>
                    </a:lnTo>
                    <a:lnTo>
                      <a:pt x="714" y="140"/>
                    </a:lnTo>
                    <a:lnTo>
                      <a:pt x="714" y="140"/>
                    </a:lnTo>
                    <a:lnTo>
                      <a:pt x="712" y="138"/>
                    </a:lnTo>
                    <a:lnTo>
                      <a:pt x="710" y="136"/>
                    </a:lnTo>
                    <a:lnTo>
                      <a:pt x="710" y="136"/>
                    </a:lnTo>
                    <a:lnTo>
                      <a:pt x="710" y="134"/>
                    </a:lnTo>
                    <a:lnTo>
                      <a:pt x="708" y="134"/>
                    </a:lnTo>
                    <a:lnTo>
                      <a:pt x="708" y="134"/>
                    </a:lnTo>
                    <a:lnTo>
                      <a:pt x="706" y="134"/>
                    </a:lnTo>
                    <a:lnTo>
                      <a:pt x="704" y="134"/>
                    </a:lnTo>
                    <a:lnTo>
                      <a:pt x="702" y="134"/>
                    </a:lnTo>
                    <a:lnTo>
                      <a:pt x="702" y="134"/>
                    </a:lnTo>
                    <a:lnTo>
                      <a:pt x="700" y="134"/>
                    </a:lnTo>
                    <a:lnTo>
                      <a:pt x="698" y="134"/>
                    </a:lnTo>
                    <a:lnTo>
                      <a:pt x="698" y="134"/>
                    </a:lnTo>
                    <a:lnTo>
                      <a:pt x="698" y="136"/>
                    </a:lnTo>
                    <a:lnTo>
                      <a:pt x="698" y="136"/>
                    </a:lnTo>
                    <a:lnTo>
                      <a:pt x="698" y="136"/>
                    </a:lnTo>
                    <a:lnTo>
                      <a:pt x="698" y="138"/>
                    </a:lnTo>
                    <a:lnTo>
                      <a:pt x="698" y="138"/>
                    </a:lnTo>
                    <a:lnTo>
                      <a:pt x="698" y="140"/>
                    </a:lnTo>
                    <a:lnTo>
                      <a:pt x="698" y="142"/>
                    </a:lnTo>
                    <a:lnTo>
                      <a:pt x="698" y="144"/>
                    </a:lnTo>
                    <a:lnTo>
                      <a:pt x="698" y="144"/>
                    </a:lnTo>
                    <a:lnTo>
                      <a:pt x="700" y="146"/>
                    </a:lnTo>
                    <a:lnTo>
                      <a:pt x="700" y="146"/>
                    </a:lnTo>
                    <a:lnTo>
                      <a:pt x="702" y="146"/>
                    </a:lnTo>
                    <a:lnTo>
                      <a:pt x="702" y="148"/>
                    </a:lnTo>
                    <a:lnTo>
                      <a:pt x="704" y="148"/>
                    </a:lnTo>
                    <a:lnTo>
                      <a:pt x="708" y="148"/>
                    </a:lnTo>
                    <a:lnTo>
                      <a:pt x="712" y="150"/>
                    </a:lnTo>
                    <a:lnTo>
                      <a:pt x="716" y="150"/>
                    </a:lnTo>
                    <a:lnTo>
                      <a:pt x="718" y="150"/>
                    </a:lnTo>
                    <a:lnTo>
                      <a:pt x="718" y="152"/>
                    </a:lnTo>
                    <a:lnTo>
                      <a:pt x="720" y="152"/>
                    </a:lnTo>
                    <a:lnTo>
                      <a:pt x="722" y="152"/>
                    </a:lnTo>
                    <a:lnTo>
                      <a:pt x="722" y="154"/>
                    </a:lnTo>
                    <a:lnTo>
                      <a:pt x="724" y="154"/>
                    </a:lnTo>
                    <a:lnTo>
                      <a:pt x="724" y="156"/>
                    </a:lnTo>
                    <a:lnTo>
                      <a:pt x="724" y="156"/>
                    </a:lnTo>
                    <a:lnTo>
                      <a:pt x="724" y="158"/>
                    </a:lnTo>
                    <a:lnTo>
                      <a:pt x="724" y="160"/>
                    </a:lnTo>
                    <a:lnTo>
                      <a:pt x="724" y="160"/>
                    </a:lnTo>
                    <a:lnTo>
                      <a:pt x="724" y="162"/>
                    </a:lnTo>
                    <a:lnTo>
                      <a:pt x="722" y="166"/>
                    </a:lnTo>
                    <a:lnTo>
                      <a:pt x="720" y="168"/>
                    </a:lnTo>
                    <a:lnTo>
                      <a:pt x="720" y="172"/>
                    </a:lnTo>
                    <a:lnTo>
                      <a:pt x="718" y="174"/>
                    </a:lnTo>
                    <a:lnTo>
                      <a:pt x="716" y="176"/>
                    </a:lnTo>
                    <a:lnTo>
                      <a:pt x="716" y="178"/>
                    </a:lnTo>
                    <a:lnTo>
                      <a:pt x="714" y="180"/>
                    </a:lnTo>
                    <a:lnTo>
                      <a:pt x="712" y="180"/>
                    </a:lnTo>
                    <a:lnTo>
                      <a:pt x="712" y="182"/>
                    </a:lnTo>
                    <a:lnTo>
                      <a:pt x="710" y="184"/>
                    </a:lnTo>
                    <a:lnTo>
                      <a:pt x="708" y="184"/>
                    </a:lnTo>
                    <a:lnTo>
                      <a:pt x="706" y="184"/>
                    </a:lnTo>
                    <a:lnTo>
                      <a:pt x="704" y="186"/>
                    </a:lnTo>
                    <a:lnTo>
                      <a:pt x="704" y="186"/>
                    </a:lnTo>
                    <a:lnTo>
                      <a:pt x="702" y="186"/>
                    </a:lnTo>
                    <a:lnTo>
                      <a:pt x="700" y="186"/>
                    </a:lnTo>
                    <a:lnTo>
                      <a:pt x="698" y="186"/>
                    </a:lnTo>
                    <a:lnTo>
                      <a:pt x="694" y="186"/>
                    </a:lnTo>
                    <a:lnTo>
                      <a:pt x="692" y="186"/>
                    </a:lnTo>
                    <a:lnTo>
                      <a:pt x="688" y="186"/>
                    </a:lnTo>
                    <a:lnTo>
                      <a:pt x="688" y="188"/>
                    </a:lnTo>
                    <a:lnTo>
                      <a:pt x="686" y="188"/>
                    </a:lnTo>
                    <a:lnTo>
                      <a:pt x="686" y="188"/>
                    </a:lnTo>
                    <a:lnTo>
                      <a:pt x="684" y="188"/>
                    </a:lnTo>
                    <a:lnTo>
                      <a:pt x="684" y="188"/>
                    </a:lnTo>
                    <a:lnTo>
                      <a:pt x="682" y="190"/>
                    </a:lnTo>
                    <a:lnTo>
                      <a:pt x="682" y="190"/>
                    </a:lnTo>
                    <a:lnTo>
                      <a:pt x="682" y="192"/>
                    </a:lnTo>
                    <a:lnTo>
                      <a:pt x="680" y="194"/>
                    </a:lnTo>
                    <a:lnTo>
                      <a:pt x="678" y="196"/>
                    </a:lnTo>
                    <a:lnTo>
                      <a:pt x="676" y="202"/>
                    </a:lnTo>
                    <a:lnTo>
                      <a:pt x="674" y="204"/>
                    </a:lnTo>
                    <a:lnTo>
                      <a:pt x="672" y="206"/>
                    </a:lnTo>
                    <a:lnTo>
                      <a:pt x="670" y="208"/>
                    </a:lnTo>
                    <a:lnTo>
                      <a:pt x="666" y="212"/>
                    </a:lnTo>
                    <a:lnTo>
                      <a:pt x="664" y="214"/>
                    </a:lnTo>
                    <a:lnTo>
                      <a:pt x="660" y="216"/>
                    </a:lnTo>
                    <a:lnTo>
                      <a:pt x="652" y="222"/>
                    </a:lnTo>
                    <a:lnTo>
                      <a:pt x="648" y="224"/>
                    </a:lnTo>
                    <a:lnTo>
                      <a:pt x="646" y="228"/>
                    </a:lnTo>
                    <a:lnTo>
                      <a:pt x="640" y="232"/>
                    </a:lnTo>
                    <a:lnTo>
                      <a:pt x="634" y="236"/>
                    </a:lnTo>
                    <a:lnTo>
                      <a:pt x="630" y="240"/>
                    </a:lnTo>
                    <a:lnTo>
                      <a:pt x="628" y="242"/>
                    </a:lnTo>
                    <a:lnTo>
                      <a:pt x="624" y="246"/>
                    </a:lnTo>
                    <a:lnTo>
                      <a:pt x="622" y="248"/>
                    </a:lnTo>
                    <a:lnTo>
                      <a:pt x="620" y="250"/>
                    </a:lnTo>
                    <a:lnTo>
                      <a:pt x="618" y="254"/>
                    </a:lnTo>
                    <a:lnTo>
                      <a:pt x="614" y="258"/>
                    </a:lnTo>
                    <a:lnTo>
                      <a:pt x="612" y="262"/>
                    </a:lnTo>
                    <a:lnTo>
                      <a:pt x="610" y="266"/>
                    </a:lnTo>
                    <a:lnTo>
                      <a:pt x="606" y="270"/>
                    </a:lnTo>
                    <a:lnTo>
                      <a:pt x="604" y="274"/>
                    </a:lnTo>
                    <a:lnTo>
                      <a:pt x="604" y="274"/>
                    </a:lnTo>
                    <a:lnTo>
                      <a:pt x="604" y="276"/>
                    </a:lnTo>
                    <a:lnTo>
                      <a:pt x="602" y="278"/>
                    </a:lnTo>
                    <a:lnTo>
                      <a:pt x="602" y="282"/>
                    </a:lnTo>
                    <a:lnTo>
                      <a:pt x="602" y="284"/>
                    </a:lnTo>
                    <a:lnTo>
                      <a:pt x="602" y="288"/>
                    </a:lnTo>
                    <a:lnTo>
                      <a:pt x="600" y="290"/>
                    </a:lnTo>
                    <a:lnTo>
                      <a:pt x="600" y="292"/>
                    </a:lnTo>
                    <a:lnTo>
                      <a:pt x="600" y="294"/>
                    </a:lnTo>
                    <a:lnTo>
                      <a:pt x="602" y="294"/>
                    </a:lnTo>
                    <a:lnTo>
                      <a:pt x="602" y="296"/>
                    </a:lnTo>
                    <a:lnTo>
                      <a:pt x="602" y="296"/>
                    </a:lnTo>
                    <a:lnTo>
                      <a:pt x="602" y="298"/>
                    </a:lnTo>
                    <a:lnTo>
                      <a:pt x="602" y="298"/>
                    </a:lnTo>
                    <a:lnTo>
                      <a:pt x="604" y="298"/>
                    </a:lnTo>
                    <a:lnTo>
                      <a:pt x="604" y="300"/>
                    </a:lnTo>
                    <a:lnTo>
                      <a:pt x="606" y="300"/>
                    </a:lnTo>
                    <a:lnTo>
                      <a:pt x="608" y="300"/>
                    </a:lnTo>
                    <a:lnTo>
                      <a:pt x="610" y="300"/>
                    </a:lnTo>
                    <a:lnTo>
                      <a:pt x="614" y="300"/>
                    </a:lnTo>
                    <a:lnTo>
                      <a:pt x="616" y="300"/>
                    </a:lnTo>
                    <a:lnTo>
                      <a:pt x="618" y="300"/>
                    </a:lnTo>
                    <a:lnTo>
                      <a:pt x="618" y="300"/>
                    </a:lnTo>
                    <a:lnTo>
                      <a:pt x="620" y="302"/>
                    </a:lnTo>
                    <a:lnTo>
                      <a:pt x="620" y="302"/>
                    </a:lnTo>
                    <a:lnTo>
                      <a:pt x="620" y="302"/>
                    </a:lnTo>
                    <a:lnTo>
                      <a:pt x="620" y="302"/>
                    </a:lnTo>
                    <a:lnTo>
                      <a:pt x="622" y="304"/>
                    </a:lnTo>
                    <a:lnTo>
                      <a:pt x="622" y="306"/>
                    </a:lnTo>
                    <a:lnTo>
                      <a:pt x="624" y="308"/>
                    </a:lnTo>
                    <a:lnTo>
                      <a:pt x="624" y="312"/>
                    </a:lnTo>
                    <a:lnTo>
                      <a:pt x="624" y="314"/>
                    </a:lnTo>
                    <a:lnTo>
                      <a:pt x="624" y="320"/>
                    </a:lnTo>
                    <a:lnTo>
                      <a:pt x="624" y="324"/>
                    </a:lnTo>
                    <a:lnTo>
                      <a:pt x="624" y="328"/>
                    </a:lnTo>
                    <a:lnTo>
                      <a:pt x="626" y="330"/>
                    </a:lnTo>
                    <a:lnTo>
                      <a:pt x="626" y="332"/>
                    </a:lnTo>
                    <a:lnTo>
                      <a:pt x="626" y="334"/>
                    </a:lnTo>
                    <a:lnTo>
                      <a:pt x="628" y="336"/>
                    </a:lnTo>
                    <a:lnTo>
                      <a:pt x="628" y="336"/>
                    </a:lnTo>
                    <a:lnTo>
                      <a:pt x="628" y="336"/>
                    </a:lnTo>
                    <a:lnTo>
                      <a:pt x="630" y="338"/>
                    </a:lnTo>
                    <a:lnTo>
                      <a:pt x="630" y="338"/>
                    </a:lnTo>
                    <a:lnTo>
                      <a:pt x="632" y="338"/>
                    </a:lnTo>
                    <a:lnTo>
                      <a:pt x="634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2" y="340"/>
                    </a:lnTo>
                    <a:lnTo>
                      <a:pt x="648" y="340"/>
                    </a:lnTo>
                    <a:lnTo>
                      <a:pt x="654" y="340"/>
                    </a:lnTo>
                    <a:lnTo>
                      <a:pt x="658" y="340"/>
                    </a:lnTo>
                    <a:lnTo>
                      <a:pt x="662" y="340"/>
                    </a:lnTo>
                    <a:lnTo>
                      <a:pt x="664" y="340"/>
                    </a:lnTo>
                    <a:lnTo>
                      <a:pt x="666" y="342"/>
                    </a:lnTo>
                    <a:lnTo>
                      <a:pt x="668" y="342"/>
                    </a:lnTo>
                    <a:lnTo>
                      <a:pt x="670" y="342"/>
                    </a:lnTo>
                    <a:lnTo>
                      <a:pt x="670" y="344"/>
                    </a:lnTo>
                    <a:lnTo>
                      <a:pt x="672" y="346"/>
                    </a:lnTo>
                    <a:lnTo>
                      <a:pt x="674" y="346"/>
                    </a:lnTo>
                    <a:lnTo>
                      <a:pt x="678" y="350"/>
                    </a:lnTo>
                    <a:lnTo>
                      <a:pt x="680" y="354"/>
                    </a:lnTo>
                    <a:lnTo>
                      <a:pt x="684" y="358"/>
                    </a:lnTo>
                    <a:lnTo>
                      <a:pt x="686" y="360"/>
                    </a:lnTo>
                    <a:lnTo>
                      <a:pt x="688" y="362"/>
                    </a:lnTo>
                    <a:lnTo>
                      <a:pt x="690" y="364"/>
                    </a:lnTo>
                    <a:lnTo>
                      <a:pt x="692" y="364"/>
                    </a:lnTo>
                    <a:lnTo>
                      <a:pt x="692" y="366"/>
                    </a:lnTo>
                    <a:lnTo>
                      <a:pt x="694" y="366"/>
                    </a:lnTo>
                    <a:lnTo>
                      <a:pt x="696" y="366"/>
                    </a:lnTo>
                    <a:lnTo>
                      <a:pt x="700" y="366"/>
                    </a:lnTo>
                    <a:lnTo>
                      <a:pt x="702" y="368"/>
                    </a:lnTo>
                    <a:lnTo>
                      <a:pt x="704" y="368"/>
                    </a:lnTo>
                    <a:lnTo>
                      <a:pt x="706" y="368"/>
                    </a:lnTo>
                    <a:lnTo>
                      <a:pt x="708" y="368"/>
                    </a:lnTo>
                    <a:lnTo>
                      <a:pt x="708" y="368"/>
                    </a:lnTo>
                    <a:lnTo>
                      <a:pt x="710" y="368"/>
                    </a:lnTo>
                    <a:lnTo>
                      <a:pt x="710" y="370"/>
                    </a:lnTo>
                    <a:lnTo>
                      <a:pt x="712" y="372"/>
                    </a:lnTo>
                    <a:lnTo>
                      <a:pt x="714" y="374"/>
                    </a:lnTo>
                    <a:lnTo>
                      <a:pt x="716" y="376"/>
                    </a:lnTo>
                    <a:lnTo>
                      <a:pt x="718" y="380"/>
                    </a:lnTo>
                    <a:lnTo>
                      <a:pt x="720" y="382"/>
                    </a:lnTo>
                    <a:lnTo>
                      <a:pt x="720" y="382"/>
                    </a:lnTo>
                    <a:lnTo>
                      <a:pt x="722" y="384"/>
                    </a:lnTo>
                    <a:lnTo>
                      <a:pt x="722" y="384"/>
                    </a:lnTo>
                    <a:lnTo>
                      <a:pt x="724" y="384"/>
                    </a:lnTo>
                    <a:lnTo>
                      <a:pt x="724" y="384"/>
                    </a:lnTo>
                    <a:lnTo>
                      <a:pt x="726" y="384"/>
                    </a:lnTo>
                    <a:lnTo>
                      <a:pt x="728" y="384"/>
                    </a:lnTo>
                    <a:lnTo>
                      <a:pt x="730" y="384"/>
                    </a:lnTo>
                    <a:lnTo>
                      <a:pt x="732" y="384"/>
                    </a:lnTo>
                    <a:lnTo>
                      <a:pt x="738" y="382"/>
                    </a:lnTo>
                    <a:lnTo>
                      <a:pt x="740" y="382"/>
                    </a:lnTo>
                    <a:lnTo>
                      <a:pt x="742" y="380"/>
                    </a:lnTo>
                    <a:lnTo>
                      <a:pt x="744" y="380"/>
                    </a:lnTo>
                    <a:lnTo>
                      <a:pt x="746" y="380"/>
                    </a:lnTo>
                    <a:lnTo>
                      <a:pt x="748" y="380"/>
                    </a:lnTo>
                    <a:lnTo>
                      <a:pt x="748" y="382"/>
                    </a:lnTo>
                    <a:lnTo>
                      <a:pt x="750" y="382"/>
                    </a:lnTo>
                    <a:lnTo>
                      <a:pt x="750" y="382"/>
                    </a:lnTo>
                    <a:lnTo>
                      <a:pt x="750" y="382"/>
                    </a:lnTo>
                    <a:lnTo>
                      <a:pt x="750" y="384"/>
                    </a:lnTo>
                    <a:lnTo>
                      <a:pt x="752" y="384"/>
                    </a:lnTo>
                    <a:lnTo>
                      <a:pt x="752" y="386"/>
                    </a:lnTo>
                    <a:lnTo>
                      <a:pt x="752" y="388"/>
                    </a:lnTo>
                    <a:lnTo>
                      <a:pt x="752" y="390"/>
                    </a:lnTo>
                    <a:lnTo>
                      <a:pt x="752" y="392"/>
                    </a:lnTo>
                    <a:lnTo>
                      <a:pt x="752" y="394"/>
                    </a:lnTo>
                    <a:lnTo>
                      <a:pt x="750" y="396"/>
                    </a:lnTo>
                    <a:lnTo>
                      <a:pt x="750" y="402"/>
                    </a:lnTo>
                    <a:lnTo>
                      <a:pt x="748" y="406"/>
                    </a:lnTo>
                    <a:lnTo>
                      <a:pt x="748" y="410"/>
                    </a:lnTo>
                    <a:lnTo>
                      <a:pt x="748" y="412"/>
                    </a:lnTo>
                    <a:lnTo>
                      <a:pt x="748" y="414"/>
                    </a:lnTo>
                    <a:lnTo>
                      <a:pt x="746" y="416"/>
                    </a:lnTo>
                    <a:lnTo>
                      <a:pt x="746" y="420"/>
                    </a:lnTo>
                    <a:lnTo>
                      <a:pt x="746" y="428"/>
                    </a:lnTo>
                    <a:lnTo>
                      <a:pt x="744" y="432"/>
                    </a:lnTo>
                    <a:lnTo>
                      <a:pt x="744" y="434"/>
                    </a:lnTo>
                    <a:lnTo>
                      <a:pt x="744" y="438"/>
                    </a:lnTo>
                    <a:lnTo>
                      <a:pt x="744" y="440"/>
                    </a:lnTo>
                    <a:lnTo>
                      <a:pt x="744" y="442"/>
                    </a:lnTo>
                    <a:lnTo>
                      <a:pt x="746" y="444"/>
                    </a:lnTo>
                    <a:lnTo>
                      <a:pt x="746" y="446"/>
                    </a:lnTo>
                    <a:lnTo>
                      <a:pt x="748" y="450"/>
                    </a:lnTo>
                    <a:lnTo>
                      <a:pt x="748" y="452"/>
                    </a:lnTo>
                    <a:lnTo>
                      <a:pt x="750" y="456"/>
                    </a:lnTo>
                    <a:lnTo>
                      <a:pt x="752" y="458"/>
                    </a:lnTo>
                    <a:lnTo>
                      <a:pt x="752" y="458"/>
                    </a:lnTo>
                    <a:lnTo>
                      <a:pt x="754" y="460"/>
                    </a:lnTo>
                    <a:lnTo>
                      <a:pt x="754" y="460"/>
                    </a:lnTo>
                    <a:lnTo>
                      <a:pt x="754" y="462"/>
                    </a:lnTo>
                    <a:lnTo>
                      <a:pt x="756" y="462"/>
                    </a:lnTo>
                    <a:lnTo>
                      <a:pt x="758" y="462"/>
                    </a:lnTo>
                    <a:lnTo>
                      <a:pt x="758" y="462"/>
                    </a:lnTo>
                    <a:lnTo>
                      <a:pt x="760" y="462"/>
                    </a:lnTo>
                    <a:lnTo>
                      <a:pt x="762" y="464"/>
                    </a:lnTo>
                    <a:lnTo>
                      <a:pt x="764" y="464"/>
                    </a:lnTo>
                    <a:lnTo>
                      <a:pt x="766" y="462"/>
                    </a:lnTo>
                    <a:lnTo>
                      <a:pt x="766" y="462"/>
                    </a:lnTo>
                    <a:lnTo>
                      <a:pt x="766" y="462"/>
                    </a:lnTo>
                    <a:lnTo>
                      <a:pt x="768" y="462"/>
                    </a:lnTo>
                    <a:lnTo>
                      <a:pt x="768" y="460"/>
                    </a:lnTo>
                    <a:lnTo>
                      <a:pt x="770" y="458"/>
                    </a:lnTo>
                    <a:lnTo>
                      <a:pt x="770" y="458"/>
                    </a:lnTo>
                    <a:lnTo>
                      <a:pt x="772" y="456"/>
                    </a:lnTo>
                    <a:lnTo>
                      <a:pt x="772" y="454"/>
                    </a:lnTo>
                    <a:lnTo>
                      <a:pt x="774" y="454"/>
                    </a:lnTo>
                    <a:lnTo>
                      <a:pt x="774" y="452"/>
                    </a:lnTo>
                    <a:lnTo>
                      <a:pt x="774" y="452"/>
                    </a:lnTo>
                    <a:lnTo>
                      <a:pt x="774" y="452"/>
                    </a:lnTo>
                    <a:lnTo>
                      <a:pt x="776" y="452"/>
                    </a:lnTo>
                    <a:lnTo>
                      <a:pt x="776" y="452"/>
                    </a:lnTo>
                    <a:lnTo>
                      <a:pt x="776" y="454"/>
                    </a:lnTo>
                    <a:lnTo>
                      <a:pt x="778" y="454"/>
                    </a:lnTo>
                    <a:lnTo>
                      <a:pt x="780" y="456"/>
                    </a:lnTo>
                    <a:lnTo>
                      <a:pt x="780" y="458"/>
                    </a:lnTo>
                    <a:lnTo>
                      <a:pt x="782" y="458"/>
                    </a:lnTo>
                    <a:lnTo>
                      <a:pt x="784" y="460"/>
                    </a:lnTo>
                    <a:lnTo>
                      <a:pt x="784" y="460"/>
                    </a:lnTo>
                    <a:lnTo>
                      <a:pt x="784" y="462"/>
                    </a:lnTo>
                    <a:lnTo>
                      <a:pt x="786" y="462"/>
                    </a:lnTo>
                    <a:lnTo>
                      <a:pt x="786" y="462"/>
                    </a:lnTo>
                    <a:lnTo>
                      <a:pt x="786" y="462"/>
                    </a:lnTo>
                    <a:lnTo>
                      <a:pt x="788" y="460"/>
                    </a:lnTo>
                    <a:lnTo>
                      <a:pt x="788" y="460"/>
                    </a:lnTo>
                    <a:lnTo>
                      <a:pt x="788" y="460"/>
                    </a:lnTo>
                    <a:lnTo>
                      <a:pt x="788" y="458"/>
                    </a:lnTo>
                    <a:lnTo>
                      <a:pt x="790" y="456"/>
                    </a:lnTo>
                    <a:lnTo>
                      <a:pt x="790" y="452"/>
                    </a:lnTo>
                    <a:lnTo>
                      <a:pt x="792" y="450"/>
                    </a:lnTo>
                    <a:lnTo>
                      <a:pt x="792" y="446"/>
                    </a:lnTo>
                    <a:lnTo>
                      <a:pt x="794" y="442"/>
                    </a:lnTo>
                    <a:lnTo>
                      <a:pt x="796" y="434"/>
                    </a:lnTo>
                    <a:lnTo>
                      <a:pt x="796" y="430"/>
                    </a:lnTo>
                    <a:lnTo>
                      <a:pt x="796" y="426"/>
                    </a:lnTo>
                    <a:lnTo>
                      <a:pt x="798" y="422"/>
                    </a:lnTo>
                    <a:lnTo>
                      <a:pt x="798" y="418"/>
                    </a:lnTo>
                    <a:lnTo>
                      <a:pt x="798" y="418"/>
                    </a:lnTo>
                    <a:lnTo>
                      <a:pt x="798" y="416"/>
                    </a:lnTo>
                    <a:lnTo>
                      <a:pt x="796" y="412"/>
                    </a:lnTo>
                    <a:lnTo>
                      <a:pt x="796" y="408"/>
                    </a:lnTo>
                    <a:lnTo>
                      <a:pt x="796" y="408"/>
                    </a:lnTo>
                    <a:lnTo>
                      <a:pt x="796" y="406"/>
                    </a:lnTo>
                    <a:lnTo>
                      <a:pt x="796" y="402"/>
                    </a:lnTo>
                    <a:lnTo>
                      <a:pt x="796" y="398"/>
                    </a:lnTo>
                    <a:lnTo>
                      <a:pt x="796" y="394"/>
                    </a:lnTo>
                    <a:lnTo>
                      <a:pt x="796" y="392"/>
                    </a:lnTo>
                    <a:lnTo>
                      <a:pt x="798" y="390"/>
                    </a:lnTo>
                    <a:lnTo>
                      <a:pt x="798" y="388"/>
                    </a:lnTo>
                    <a:lnTo>
                      <a:pt x="798" y="386"/>
                    </a:lnTo>
                    <a:lnTo>
                      <a:pt x="798" y="386"/>
                    </a:lnTo>
                    <a:lnTo>
                      <a:pt x="798" y="384"/>
                    </a:lnTo>
                    <a:lnTo>
                      <a:pt x="800" y="384"/>
                    </a:lnTo>
                    <a:lnTo>
                      <a:pt x="800" y="382"/>
                    </a:lnTo>
                    <a:lnTo>
                      <a:pt x="802" y="382"/>
                    </a:lnTo>
                    <a:lnTo>
                      <a:pt x="804" y="382"/>
                    </a:lnTo>
                    <a:lnTo>
                      <a:pt x="806" y="380"/>
                    </a:lnTo>
                    <a:lnTo>
                      <a:pt x="810" y="378"/>
                    </a:lnTo>
                    <a:lnTo>
                      <a:pt x="812" y="378"/>
                    </a:lnTo>
                    <a:lnTo>
                      <a:pt x="816" y="376"/>
                    </a:lnTo>
                    <a:lnTo>
                      <a:pt x="818" y="376"/>
                    </a:lnTo>
                    <a:lnTo>
                      <a:pt x="818" y="374"/>
                    </a:lnTo>
                    <a:lnTo>
                      <a:pt x="820" y="374"/>
                    </a:lnTo>
                    <a:lnTo>
                      <a:pt x="820" y="374"/>
                    </a:lnTo>
                    <a:lnTo>
                      <a:pt x="822" y="372"/>
                    </a:lnTo>
                    <a:lnTo>
                      <a:pt x="822" y="370"/>
                    </a:lnTo>
                    <a:lnTo>
                      <a:pt x="822" y="368"/>
                    </a:lnTo>
                    <a:lnTo>
                      <a:pt x="822" y="366"/>
                    </a:lnTo>
                    <a:lnTo>
                      <a:pt x="824" y="364"/>
                    </a:lnTo>
                    <a:lnTo>
                      <a:pt x="824" y="362"/>
                    </a:lnTo>
                    <a:lnTo>
                      <a:pt x="824" y="360"/>
                    </a:lnTo>
                    <a:lnTo>
                      <a:pt x="824" y="358"/>
                    </a:lnTo>
                    <a:lnTo>
                      <a:pt x="824" y="354"/>
                    </a:lnTo>
                    <a:lnTo>
                      <a:pt x="822" y="350"/>
                    </a:lnTo>
                    <a:lnTo>
                      <a:pt x="822" y="344"/>
                    </a:lnTo>
                    <a:lnTo>
                      <a:pt x="820" y="340"/>
                    </a:lnTo>
                    <a:lnTo>
                      <a:pt x="818" y="328"/>
                    </a:lnTo>
                    <a:lnTo>
                      <a:pt x="816" y="318"/>
                    </a:lnTo>
                    <a:lnTo>
                      <a:pt x="814" y="314"/>
                    </a:lnTo>
                    <a:lnTo>
                      <a:pt x="814" y="308"/>
                    </a:lnTo>
                    <a:lnTo>
                      <a:pt x="812" y="304"/>
                    </a:lnTo>
                    <a:lnTo>
                      <a:pt x="812" y="302"/>
                    </a:lnTo>
                    <a:lnTo>
                      <a:pt x="812" y="300"/>
                    </a:lnTo>
                    <a:lnTo>
                      <a:pt x="812" y="300"/>
                    </a:lnTo>
                    <a:lnTo>
                      <a:pt x="814" y="298"/>
                    </a:lnTo>
                    <a:lnTo>
                      <a:pt x="814" y="298"/>
                    </a:lnTo>
                    <a:lnTo>
                      <a:pt x="814" y="298"/>
                    </a:lnTo>
                    <a:lnTo>
                      <a:pt x="816" y="298"/>
                    </a:lnTo>
                    <a:lnTo>
                      <a:pt x="818" y="296"/>
                    </a:lnTo>
                    <a:lnTo>
                      <a:pt x="822" y="296"/>
                    </a:lnTo>
                    <a:lnTo>
                      <a:pt x="824" y="296"/>
                    </a:lnTo>
                    <a:lnTo>
                      <a:pt x="824" y="296"/>
                    </a:lnTo>
                    <a:lnTo>
                      <a:pt x="826" y="294"/>
                    </a:lnTo>
                    <a:lnTo>
                      <a:pt x="826" y="294"/>
                    </a:lnTo>
                    <a:lnTo>
                      <a:pt x="826" y="294"/>
                    </a:lnTo>
                    <a:lnTo>
                      <a:pt x="828" y="292"/>
                    </a:lnTo>
                    <a:lnTo>
                      <a:pt x="828" y="292"/>
                    </a:lnTo>
                    <a:lnTo>
                      <a:pt x="828" y="290"/>
                    </a:lnTo>
                    <a:lnTo>
                      <a:pt x="830" y="288"/>
                    </a:lnTo>
                    <a:lnTo>
                      <a:pt x="830" y="284"/>
                    </a:lnTo>
                    <a:lnTo>
                      <a:pt x="832" y="280"/>
                    </a:lnTo>
                    <a:lnTo>
                      <a:pt x="832" y="276"/>
                    </a:lnTo>
                    <a:lnTo>
                      <a:pt x="832" y="272"/>
                    </a:lnTo>
                    <a:lnTo>
                      <a:pt x="832" y="268"/>
                    </a:lnTo>
                    <a:lnTo>
                      <a:pt x="832" y="264"/>
                    </a:lnTo>
                    <a:lnTo>
                      <a:pt x="832" y="264"/>
                    </a:lnTo>
                    <a:lnTo>
                      <a:pt x="830" y="262"/>
                    </a:lnTo>
                    <a:lnTo>
                      <a:pt x="830" y="260"/>
                    </a:lnTo>
                    <a:lnTo>
                      <a:pt x="828" y="258"/>
                    </a:lnTo>
                    <a:lnTo>
                      <a:pt x="828" y="256"/>
                    </a:lnTo>
                    <a:lnTo>
                      <a:pt x="828" y="254"/>
                    </a:lnTo>
                    <a:lnTo>
                      <a:pt x="828" y="252"/>
                    </a:lnTo>
                    <a:lnTo>
                      <a:pt x="828" y="250"/>
                    </a:lnTo>
                    <a:lnTo>
                      <a:pt x="828" y="246"/>
                    </a:lnTo>
                    <a:lnTo>
                      <a:pt x="828" y="244"/>
                    </a:lnTo>
                    <a:lnTo>
                      <a:pt x="830" y="240"/>
                    </a:lnTo>
                    <a:lnTo>
                      <a:pt x="830" y="238"/>
                    </a:lnTo>
                    <a:lnTo>
                      <a:pt x="830" y="234"/>
                    </a:lnTo>
                    <a:lnTo>
                      <a:pt x="832" y="232"/>
                    </a:lnTo>
                    <a:lnTo>
                      <a:pt x="834" y="226"/>
                    </a:lnTo>
                    <a:lnTo>
                      <a:pt x="836" y="222"/>
                    </a:lnTo>
                    <a:lnTo>
                      <a:pt x="838" y="220"/>
                    </a:lnTo>
                    <a:lnTo>
                      <a:pt x="840" y="216"/>
                    </a:lnTo>
                    <a:lnTo>
                      <a:pt x="840" y="214"/>
                    </a:lnTo>
                    <a:lnTo>
                      <a:pt x="842" y="212"/>
                    </a:lnTo>
                    <a:lnTo>
                      <a:pt x="844" y="212"/>
                    </a:lnTo>
                    <a:lnTo>
                      <a:pt x="844" y="210"/>
                    </a:lnTo>
                    <a:lnTo>
                      <a:pt x="846" y="210"/>
                    </a:lnTo>
                    <a:lnTo>
                      <a:pt x="846" y="210"/>
                    </a:lnTo>
                    <a:lnTo>
                      <a:pt x="848" y="210"/>
                    </a:lnTo>
                    <a:lnTo>
                      <a:pt x="850" y="210"/>
                    </a:lnTo>
                    <a:lnTo>
                      <a:pt x="850" y="210"/>
                    </a:lnTo>
                    <a:lnTo>
                      <a:pt x="852" y="210"/>
                    </a:lnTo>
                    <a:lnTo>
                      <a:pt x="854" y="212"/>
                    </a:lnTo>
                    <a:lnTo>
                      <a:pt x="854" y="212"/>
                    </a:lnTo>
                    <a:lnTo>
                      <a:pt x="858" y="214"/>
                    </a:lnTo>
                    <a:lnTo>
                      <a:pt x="862" y="218"/>
                    </a:lnTo>
                    <a:lnTo>
                      <a:pt x="864" y="220"/>
                    </a:lnTo>
                    <a:lnTo>
                      <a:pt x="866" y="220"/>
                    </a:lnTo>
                    <a:lnTo>
                      <a:pt x="866" y="222"/>
                    </a:lnTo>
                    <a:lnTo>
                      <a:pt x="868" y="222"/>
                    </a:lnTo>
                    <a:lnTo>
                      <a:pt x="870" y="222"/>
                    </a:lnTo>
                    <a:lnTo>
                      <a:pt x="870" y="222"/>
                    </a:lnTo>
                    <a:lnTo>
                      <a:pt x="872" y="222"/>
                    </a:lnTo>
                    <a:lnTo>
                      <a:pt x="874" y="222"/>
                    </a:lnTo>
                    <a:lnTo>
                      <a:pt x="876" y="222"/>
                    </a:lnTo>
                    <a:lnTo>
                      <a:pt x="880" y="222"/>
                    </a:lnTo>
                    <a:lnTo>
                      <a:pt x="886" y="222"/>
                    </a:lnTo>
                    <a:lnTo>
                      <a:pt x="890" y="222"/>
                    </a:lnTo>
                    <a:lnTo>
                      <a:pt x="894" y="222"/>
                    </a:lnTo>
                    <a:lnTo>
                      <a:pt x="896" y="222"/>
                    </a:lnTo>
                    <a:lnTo>
                      <a:pt x="898" y="222"/>
                    </a:lnTo>
                    <a:lnTo>
                      <a:pt x="900" y="222"/>
                    </a:lnTo>
                    <a:lnTo>
                      <a:pt x="900" y="222"/>
                    </a:lnTo>
                    <a:lnTo>
                      <a:pt x="902" y="222"/>
                    </a:lnTo>
                    <a:lnTo>
                      <a:pt x="902" y="224"/>
                    </a:lnTo>
                    <a:lnTo>
                      <a:pt x="904" y="224"/>
                    </a:lnTo>
                    <a:lnTo>
                      <a:pt x="906" y="226"/>
                    </a:lnTo>
                    <a:lnTo>
                      <a:pt x="908" y="228"/>
                    </a:lnTo>
                    <a:lnTo>
                      <a:pt x="910" y="232"/>
                    </a:lnTo>
                    <a:lnTo>
                      <a:pt x="914" y="234"/>
                    </a:lnTo>
                    <a:lnTo>
                      <a:pt x="916" y="238"/>
                    </a:lnTo>
                    <a:lnTo>
                      <a:pt x="920" y="242"/>
                    </a:lnTo>
                    <a:lnTo>
                      <a:pt x="922" y="244"/>
                    </a:lnTo>
                    <a:lnTo>
                      <a:pt x="922" y="246"/>
                    </a:lnTo>
                    <a:lnTo>
                      <a:pt x="924" y="248"/>
                    </a:lnTo>
                    <a:lnTo>
                      <a:pt x="926" y="248"/>
                    </a:lnTo>
                    <a:lnTo>
                      <a:pt x="928" y="250"/>
                    </a:lnTo>
                    <a:lnTo>
                      <a:pt x="928" y="250"/>
                    </a:lnTo>
                    <a:lnTo>
                      <a:pt x="930" y="250"/>
                    </a:lnTo>
                    <a:lnTo>
                      <a:pt x="938" y="252"/>
                    </a:lnTo>
                    <a:lnTo>
                      <a:pt x="940" y="252"/>
                    </a:lnTo>
                    <a:lnTo>
                      <a:pt x="942" y="252"/>
                    </a:lnTo>
                    <a:lnTo>
                      <a:pt x="944" y="254"/>
                    </a:lnTo>
                    <a:lnTo>
                      <a:pt x="944" y="254"/>
                    </a:lnTo>
                    <a:lnTo>
                      <a:pt x="946" y="254"/>
                    </a:lnTo>
                    <a:lnTo>
                      <a:pt x="946" y="256"/>
                    </a:lnTo>
                    <a:lnTo>
                      <a:pt x="946" y="256"/>
                    </a:lnTo>
                    <a:lnTo>
                      <a:pt x="946" y="256"/>
                    </a:lnTo>
                    <a:lnTo>
                      <a:pt x="946" y="258"/>
                    </a:lnTo>
                    <a:lnTo>
                      <a:pt x="946" y="258"/>
                    </a:lnTo>
                    <a:lnTo>
                      <a:pt x="946" y="258"/>
                    </a:lnTo>
                    <a:lnTo>
                      <a:pt x="944" y="260"/>
                    </a:lnTo>
                    <a:lnTo>
                      <a:pt x="942" y="262"/>
                    </a:lnTo>
                    <a:lnTo>
                      <a:pt x="940" y="264"/>
                    </a:lnTo>
                    <a:lnTo>
                      <a:pt x="938" y="266"/>
                    </a:lnTo>
                    <a:lnTo>
                      <a:pt x="938" y="266"/>
                    </a:lnTo>
                    <a:lnTo>
                      <a:pt x="938" y="268"/>
                    </a:lnTo>
                    <a:lnTo>
                      <a:pt x="936" y="270"/>
                    </a:lnTo>
                    <a:lnTo>
                      <a:pt x="936" y="272"/>
                    </a:lnTo>
                    <a:lnTo>
                      <a:pt x="936" y="276"/>
                    </a:lnTo>
                    <a:lnTo>
                      <a:pt x="934" y="282"/>
                    </a:lnTo>
                    <a:lnTo>
                      <a:pt x="934" y="284"/>
                    </a:lnTo>
                    <a:lnTo>
                      <a:pt x="934" y="288"/>
                    </a:lnTo>
                    <a:lnTo>
                      <a:pt x="934" y="290"/>
                    </a:lnTo>
                    <a:lnTo>
                      <a:pt x="934" y="294"/>
                    </a:lnTo>
                    <a:lnTo>
                      <a:pt x="936" y="296"/>
                    </a:lnTo>
                    <a:lnTo>
                      <a:pt x="936" y="298"/>
                    </a:lnTo>
                    <a:lnTo>
                      <a:pt x="936" y="300"/>
                    </a:lnTo>
                    <a:lnTo>
                      <a:pt x="936" y="302"/>
                    </a:lnTo>
                    <a:lnTo>
                      <a:pt x="938" y="304"/>
                    </a:lnTo>
                    <a:lnTo>
                      <a:pt x="938" y="306"/>
                    </a:lnTo>
                    <a:lnTo>
                      <a:pt x="940" y="308"/>
                    </a:lnTo>
                    <a:lnTo>
                      <a:pt x="940" y="308"/>
                    </a:lnTo>
                    <a:lnTo>
                      <a:pt x="942" y="308"/>
                    </a:lnTo>
                    <a:lnTo>
                      <a:pt x="942" y="310"/>
                    </a:lnTo>
                    <a:lnTo>
                      <a:pt x="946" y="310"/>
                    </a:lnTo>
                    <a:lnTo>
                      <a:pt x="948" y="312"/>
                    </a:lnTo>
                    <a:lnTo>
                      <a:pt x="952" y="312"/>
                    </a:lnTo>
                    <a:lnTo>
                      <a:pt x="954" y="312"/>
                    </a:lnTo>
                    <a:lnTo>
                      <a:pt x="958" y="312"/>
                    </a:lnTo>
                    <a:lnTo>
                      <a:pt x="960" y="312"/>
                    </a:lnTo>
                    <a:lnTo>
                      <a:pt x="962" y="312"/>
                    </a:lnTo>
                    <a:lnTo>
                      <a:pt x="966" y="312"/>
                    </a:lnTo>
                    <a:lnTo>
                      <a:pt x="968" y="312"/>
                    </a:lnTo>
                    <a:lnTo>
                      <a:pt x="972" y="310"/>
                    </a:lnTo>
                    <a:lnTo>
                      <a:pt x="974" y="310"/>
                    </a:lnTo>
                    <a:lnTo>
                      <a:pt x="978" y="308"/>
                    </a:lnTo>
                    <a:lnTo>
                      <a:pt x="980" y="306"/>
                    </a:lnTo>
                    <a:lnTo>
                      <a:pt x="982" y="306"/>
                    </a:lnTo>
                    <a:lnTo>
                      <a:pt x="984" y="304"/>
                    </a:lnTo>
                    <a:lnTo>
                      <a:pt x="986" y="302"/>
                    </a:lnTo>
                    <a:lnTo>
                      <a:pt x="986" y="302"/>
                    </a:lnTo>
                    <a:lnTo>
                      <a:pt x="988" y="300"/>
                    </a:lnTo>
                    <a:lnTo>
                      <a:pt x="992" y="292"/>
                    </a:lnTo>
                    <a:lnTo>
                      <a:pt x="992" y="292"/>
                    </a:lnTo>
                    <a:lnTo>
                      <a:pt x="992" y="290"/>
                    </a:lnTo>
                    <a:lnTo>
                      <a:pt x="994" y="288"/>
                    </a:lnTo>
                    <a:lnTo>
                      <a:pt x="996" y="284"/>
                    </a:lnTo>
                    <a:lnTo>
                      <a:pt x="996" y="280"/>
                    </a:lnTo>
                    <a:lnTo>
                      <a:pt x="998" y="276"/>
                    </a:lnTo>
                    <a:lnTo>
                      <a:pt x="1000" y="276"/>
                    </a:lnTo>
                    <a:lnTo>
                      <a:pt x="1000" y="274"/>
                    </a:lnTo>
                    <a:lnTo>
                      <a:pt x="1000" y="272"/>
                    </a:lnTo>
                    <a:lnTo>
                      <a:pt x="1002" y="272"/>
                    </a:lnTo>
                    <a:lnTo>
                      <a:pt x="1002" y="272"/>
                    </a:lnTo>
                    <a:lnTo>
                      <a:pt x="1004" y="27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43" name="Freeform 532">
                <a:extLst>
                  <a:ext uri="{FF2B5EF4-FFF2-40B4-BE49-F238E27FC236}">
                    <a16:creationId xmlns:a16="http://schemas.microsoft.com/office/drawing/2014/main" id="{BF037714-69B0-44A4-BDA4-D6E046068E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7178" y="3372017"/>
                <a:ext cx="130175" cy="133350"/>
              </a:xfrm>
              <a:custGeom>
                <a:avLst/>
                <a:gdLst>
                  <a:gd name="T0" fmla="*/ 42 w 82"/>
                  <a:gd name="T1" fmla="*/ 0 h 84"/>
                  <a:gd name="T2" fmla="*/ 42 w 82"/>
                  <a:gd name="T3" fmla="*/ 2 h 84"/>
                  <a:gd name="T4" fmla="*/ 38 w 82"/>
                  <a:gd name="T5" fmla="*/ 2 h 84"/>
                  <a:gd name="T6" fmla="*/ 34 w 82"/>
                  <a:gd name="T7" fmla="*/ 4 h 84"/>
                  <a:gd name="T8" fmla="*/ 30 w 82"/>
                  <a:gd name="T9" fmla="*/ 12 h 84"/>
                  <a:gd name="T10" fmla="*/ 22 w 82"/>
                  <a:gd name="T11" fmla="*/ 22 h 84"/>
                  <a:gd name="T12" fmla="*/ 20 w 82"/>
                  <a:gd name="T13" fmla="*/ 26 h 84"/>
                  <a:gd name="T14" fmla="*/ 12 w 82"/>
                  <a:gd name="T15" fmla="*/ 28 h 84"/>
                  <a:gd name="T16" fmla="*/ 8 w 82"/>
                  <a:gd name="T17" fmla="*/ 32 h 84"/>
                  <a:gd name="T18" fmla="*/ 6 w 82"/>
                  <a:gd name="T19" fmla="*/ 36 h 84"/>
                  <a:gd name="T20" fmla="*/ 2 w 82"/>
                  <a:gd name="T21" fmla="*/ 46 h 84"/>
                  <a:gd name="T22" fmla="*/ 0 w 82"/>
                  <a:gd name="T23" fmla="*/ 56 h 84"/>
                  <a:gd name="T24" fmla="*/ 0 w 82"/>
                  <a:gd name="T25" fmla="*/ 62 h 84"/>
                  <a:gd name="T26" fmla="*/ 2 w 82"/>
                  <a:gd name="T27" fmla="*/ 66 h 84"/>
                  <a:gd name="T28" fmla="*/ 4 w 82"/>
                  <a:gd name="T29" fmla="*/ 68 h 84"/>
                  <a:gd name="T30" fmla="*/ 10 w 82"/>
                  <a:gd name="T31" fmla="*/ 68 h 84"/>
                  <a:gd name="T32" fmla="*/ 16 w 82"/>
                  <a:gd name="T33" fmla="*/ 68 h 84"/>
                  <a:gd name="T34" fmla="*/ 22 w 82"/>
                  <a:gd name="T35" fmla="*/ 68 h 84"/>
                  <a:gd name="T36" fmla="*/ 30 w 82"/>
                  <a:gd name="T37" fmla="*/ 62 h 84"/>
                  <a:gd name="T38" fmla="*/ 38 w 82"/>
                  <a:gd name="T39" fmla="*/ 60 h 84"/>
                  <a:gd name="T40" fmla="*/ 42 w 82"/>
                  <a:gd name="T41" fmla="*/ 62 h 84"/>
                  <a:gd name="T42" fmla="*/ 44 w 82"/>
                  <a:gd name="T43" fmla="*/ 62 h 84"/>
                  <a:gd name="T44" fmla="*/ 44 w 82"/>
                  <a:gd name="T45" fmla="*/ 66 h 84"/>
                  <a:gd name="T46" fmla="*/ 44 w 82"/>
                  <a:gd name="T47" fmla="*/ 74 h 84"/>
                  <a:gd name="T48" fmla="*/ 44 w 82"/>
                  <a:gd name="T49" fmla="*/ 80 h 84"/>
                  <a:gd name="T50" fmla="*/ 46 w 82"/>
                  <a:gd name="T51" fmla="*/ 82 h 84"/>
                  <a:gd name="T52" fmla="*/ 50 w 82"/>
                  <a:gd name="T53" fmla="*/ 84 h 84"/>
                  <a:gd name="T54" fmla="*/ 54 w 82"/>
                  <a:gd name="T55" fmla="*/ 84 h 84"/>
                  <a:gd name="T56" fmla="*/ 56 w 82"/>
                  <a:gd name="T57" fmla="*/ 84 h 84"/>
                  <a:gd name="T58" fmla="*/ 56 w 82"/>
                  <a:gd name="T59" fmla="*/ 82 h 84"/>
                  <a:gd name="T60" fmla="*/ 56 w 82"/>
                  <a:gd name="T61" fmla="*/ 76 h 84"/>
                  <a:gd name="T62" fmla="*/ 54 w 82"/>
                  <a:gd name="T63" fmla="*/ 72 h 84"/>
                  <a:gd name="T64" fmla="*/ 56 w 82"/>
                  <a:gd name="T65" fmla="*/ 70 h 84"/>
                  <a:gd name="T66" fmla="*/ 58 w 82"/>
                  <a:gd name="T67" fmla="*/ 70 h 84"/>
                  <a:gd name="T68" fmla="*/ 62 w 82"/>
                  <a:gd name="T69" fmla="*/ 72 h 84"/>
                  <a:gd name="T70" fmla="*/ 64 w 82"/>
                  <a:gd name="T71" fmla="*/ 74 h 84"/>
                  <a:gd name="T72" fmla="*/ 66 w 82"/>
                  <a:gd name="T73" fmla="*/ 78 h 84"/>
                  <a:gd name="T74" fmla="*/ 66 w 82"/>
                  <a:gd name="T75" fmla="*/ 84 h 84"/>
                  <a:gd name="T76" fmla="*/ 68 w 82"/>
                  <a:gd name="T77" fmla="*/ 84 h 84"/>
                  <a:gd name="T78" fmla="*/ 70 w 82"/>
                  <a:gd name="T79" fmla="*/ 84 h 84"/>
                  <a:gd name="T80" fmla="*/ 72 w 82"/>
                  <a:gd name="T81" fmla="*/ 82 h 84"/>
                  <a:gd name="T82" fmla="*/ 74 w 82"/>
                  <a:gd name="T83" fmla="*/ 74 h 84"/>
                  <a:gd name="T84" fmla="*/ 76 w 82"/>
                  <a:gd name="T85" fmla="*/ 66 h 84"/>
                  <a:gd name="T86" fmla="*/ 80 w 82"/>
                  <a:gd name="T87" fmla="*/ 58 h 84"/>
                  <a:gd name="T88" fmla="*/ 82 w 82"/>
                  <a:gd name="T89" fmla="*/ 52 h 84"/>
                  <a:gd name="T90" fmla="*/ 82 w 82"/>
                  <a:gd name="T91" fmla="*/ 44 h 84"/>
                  <a:gd name="T92" fmla="*/ 80 w 82"/>
                  <a:gd name="T93" fmla="*/ 34 h 84"/>
                  <a:gd name="T94" fmla="*/ 78 w 82"/>
                  <a:gd name="T95" fmla="*/ 32 h 84"/>
                  <a:gd name="T96" fmla="*/ 76 w 82"/>
                  <a:gd name="T97" fmla="*/ 28 h 84"/>
                  <a:gd name="T98" fmla="*/ 70 w 82"/>
                  <a:gd name="T99" fmla="*/ 28 h 84"/>
                  <a:gd name="T100" fmla="*/ 66 w 82"/>
                  <a:gd name="T101" fmla="*/ 26 h 84"/>
                  <a:gd name="T102" fmla="*/ 58 w 82"/>
                  <a:gd name="T103" fmla="*/ 28 h 84"/>
                  <a:gd name="T104" fmla="*/ 56 w 82"/>
                  <a:gd name="T105" fmla="*/ 26 h 84"/>
                  <a:gd name="T106" fmla="*/ 54 w 82"/>
                  <a:gd name="T107" fmla="*/ 24 h 84"/>
                  <a:gd name="T108" fmla="*/ 52 w 82"/>
                  <a:gd name="T109" fmla="*/ 18 h 84"/>
                  <a:gd name="T110" fmla="*/ 50 w 82"/>
                  <a:gd name="T111" fmla="*/ 12 h 84"/>
                  <a:gd name="T112" fmla="*/ 52 w 82"/>
                  <a:gd name="T113" fmla="*/ 8 h 84"/>
                  <a:gd name="T114" fmla="*/ 52 w 82"/>
                  <a:gd name="T115" fmla="*/ 4 h 84"/>
                  <a:gd name="T116" fmla="*/ 50 w 82"/>
                  <a:gd name="T117" fmla="*/ 4 h 84"/>
                  <a:gd name="T118" fmla="*/ 46 w 82"/>
                  <a:gd name="T119" fmla="*/ 2 h 84"/>
                  <a:gd name="T120" fmla="*/ 44 w 82"/>
                  <a:gd name="T121" fmla="*/ 2 h 84"/>
                  <a:gd name="T122" fmla="*/ 46 w 82"/>
                  <a:gd name="T123" fmla="*/ 0 h 84"/>
                  <a:gd name="T124" fmla="*/ 42 w 82"/>
                  <a:gd name="T12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2" h="84">
                    <a:moveTo>
                      <a:pt x="42" y="0"/>
                    </a:moveTo>
                    <a:lnTo>
                      <a:pt x="42" y="0"/>
                    </a:lnTo>
                    <a:lnTo>
                      <a:pt x="42" y="0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4" y="6"/>
                    </a:lnTo>
                    <a:lnTo>
                      <a:pt x="32" y="8"/>
                    </a:lnTo>
                    <a:lnTo>
                      <a:pt x="30" y="12"/>
                    </a:lnTo>
                    <a:lnTo>
                      <a:pt x="30" y="14"/>
                    </a:lnTo>
                    <a:lnTo>
                      <a:pt x="26" y="20"/>
                    </a:lnTo>
                    <a:lnTo>
                      <a:pt x="22" y="22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2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2"/>
                    </a:lnTo>
                    <a:lnTo>
                      <a:pt x="6" y="32"/>
                    </a:lnTo>
                    <a:lnTo>
                      <a:pt x="6" y="34"/>
                    </a:lnTo>
                    <a:lnTo>
                      <a:pt x="6" y="36"/>
                    </a:lnTo>
                    <a:lnTo>
                      <a:pt x="4" y="38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6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4"/>
                    </a:lnTo>
                    <a:lnTo>
                      <a:pt x="2" y="64"/>
                    </a:lnTo>
                    <a:lnTo>
                      <a:pt x="2" y="66"/>
                    </a:lnTo>
                    <a:lnTo>
                      <a:pt x="2" y="66"/>
                    </a:lnTo>
                    <a:lnTo>
                      <a:pt x="4" y="66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6" y="68"/>
                    </a:lnTo>
                    <a:lnTo>
                      <a:pt x="18" y="68"/>
                    </a:lnTo>
                    <a:lnTo>
                      <a:pt x="20" y="68"/>
                    </a:lnTo>
                    <a:lnTo>
                      <a:pt x="22" y="68"/>
                    </a:lnTo>
                    <a:lnTo>
                      <a:pt x="26" y="66"/>
                    </a:lnTo>
                    <a:lnTo>
                      <a:pt x="28" y="64"/>
                    </a:lnTo>
                    <a:lnTo>
                      <a:pt x="30" y="62"/>
                    </a:lnTo>
                    <a:lnTo>
                      <a:pt x="32" y="62"/>
                    </a:lnTo>
                    <a:lnTo>
                      <a:pt x="34" y="62"/>
                    </a:lnTo>
                    <a:lnTo>
                      <a:pt x="38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6"/>
                    </a:lnTo>
                    <a:lnTo>
                      <a:pt x="44" y="68"/>
                    </a:lnTo>
                    <a:lnTo>
                      <a:pt x="44" y="72"/>
                    </a:lnTo>
                    <a:lnTo>
                      <a:pt x="44" y="74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0"/>
                    </a:lnTo>
                    <a:lnTo>
                      <a:pt x="46" y="80"/>
                    </a:lnTo>
                    <a:lnTo>
                      <a:pt x="46" y="80"/>
                    </a:lnTo>
                    <a:lnTo>
                      <a:pt x="46" y="82"/>
                    </a:lnTo>
                    <a:lnTo>
                      <a:pt x="48" y="82"/>
                    </a:lnTo>
                    <a:lnTo>
                      <a:pt x="48" y="84"/>
                    </a:lnTo>
                    <a:lnTo>
                      <a:pt x="50" y="84"/>
                    </a:lnTo>
                    <a:lnTo>
                      <a:pt x="52" y="84"/>
                    </a:lnTo>
                    <a:lnTo>
                      <a:pt x="54" y="84"/>
                    </a:lnTo>
                    <a:lnTo>
                      <a:pt x="54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8"/>
                    </a:lnTo>
                    <a:lnTo>
                      <a:pt x="56" y="76"/>
                    </a:lnTo>
                    <a:lnTo>
                      <a:pt x="54" y="74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6" y="72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8" y="70"/>
                    </a:lnTo>
                    <a:lnTo>
                      <a:pt x="58" y="70"/>
                    </a:lnTo>
                    <a:lnTo>
                      <a:pt x="60" y="70"/>
                    </a:lnTo>
                    <a:lnTo>
                      <a:pt x="62" y="72"/>
                    </a:lnTo>
                    <a:lnTo>
                      <a:pt x="62" y="72"/>
                    </a:lnTo>
                    <a:lnTo>
                      <a:pt x="64" y="72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6"/>
                    </a:lnTo>
                    <a:lnTo>
                      <a:pt x="66" y="78"/>
                    </a:lnTo>
                    <a:lnTo>
                      <a:pt x="66" y="80"/>
                    </a:lnTo>
                    <a:lnTo>
                      <a:pt x="66" y="82"/>
                    </a:lnTo>
                    <a:lnTo>
                      <a:pt x="66" y="84"/>
                    </a:lnTo>
                    <a:lnTo>
                      <a:pt x="66" y="84"/>
                    </a:lnTo>
                    <a:lnTo>
                      <a:pt x="68" y="84"/>
                    </a:lnTo>
                    <a:lnTo>
                      <a:pt x="68" y="84"/>
                    </a:lnTo>
                    <a:lnTo>
                      <a:pt x="68" y="84"/>
                    </a:lnTo>
                    <a:lnTo>
                      <a:pt x="70" y="84"/>
                    </a:lnTo>
                    <a:lnTo>
                      <a:pt x="70" y="84"/>
                    </a:lnTo>
                    <a:lnTo>
                      <a:pt x="70" y="84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72" y="80"/>
                    </a:lnTo>
                    <a:lnTo>
                      <a:pt x="74" y="78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8" y="64"/>
                    </a:lnTo>
                    <a:lnTo>
                      <a:pt x="80" y="60"/>
                    </a:lnTo>
                    <a:lnTo>
                      <a:pt x="80" y="58"/>
                    </a:lnTo>
                    <a:lnTo>
                      <a:pt x="82" y="56"/>
                    </a:lnTo>
                    <a:lnTo>
                      <a:pt x="82" y="54"/>
                    </a:lnTo>
                    <a:lnTo>
                      <a:pt x="82" y="52"/>
                    </a:lnTo>
                    <a:lnTo>
                      <a:pt x="82" y="50"/>
                    </a:lnTo>
                    <a:lnTo>
                      <a:pt x="82" y="46"/>
                    </a:lnTo>
                    <a:lnTo>
                      <a:pt x="82" y="44"/>
                    </a:lnTo>
                    <a:lnTo>
                      <a:pt x="82" y="40"/>
                    </a:lnTo>
                    <a:lnTo>
                      <a:pt x="82" y="38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2"/>
                    </a:lnTo>
                    <a:lnTo>
                      <a:pt x="78" y="32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6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0" y="28"/>
                    </a:lnTo>
                    <a:lnTo>
                      <a:pt x="68" y="26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2" y="26"/>
                    </a:lnTo>
                    <a:lnTo>
                      <a:pt x="60" y="28"/>
                    </a:lnTo>
                    <a:lnTo>
                      <a:pt x="58" y="28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2" y="22"/>
                    </a:lnTo>
                    <a:lnTo>
                      <a:pt x="52" y="20"/>
                    </a:lnTo>
                    <a:lnTo>
                      <a:pt x="52" y="18"/>
                    </a:lnTo>
                    <a:lnTo>
                      <a:pt x="52" y="16"/>
                    </a:lnTo>
                    <a:lnTo>
                      <a:pt x="50" y="14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0" y="4"/>
                    </a:lnTo>
                    <a:lnTo>
                      <a:pt x="48" y="4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44" name="Freeform 534">
                <a:extLst>
                  <a:ext uri="{FF2B5EF4-FFF2-40B4-BE49-F238E27FC236}">
                    <a16:creationId xmlns:a16="http://schemas.microsoft.com/office/drawing/2014/main" id="{203499A3-C94A-492D-B7A6-7D8432AA11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4653" y="3473617"/>
                <a:ext cx="22225" cy="38100"/>
              </a:xfrm>
              <a:custGeom>
                <a:avLst/>
                <a:gdLst>
                  <a:gd name="T0" fmla="*/ 14 w 14"/>
                  <a:gd name="T1" fmla="*/ 0 h 24"/>
                  <a:gd name="T2" fmla="*/ 14 w 14"/>
                  <a:gd name="T3" fmla="*/ 0 h 24"/>
                  <a:gd name="T4" fmla="*/ 14 w 14"/>
                  <a:gd name="T5" fmla="*/ 2 h 24"/>
                  <a:gd name="T6" fmla="*/ 14 w 14"/>
                  <a:gd name="T7" fmla="*/ 2 h 24"/>
                  <a:gd name="T8" fmla="*/ 14 w 14"/>
                  <a:gd name="T9" fmla="*/ 2 h 24"/>
                  <a:gd name="T10" fmla="*/ 14 w 14"/>
                  <a:gd name="T11" fmla="*/ 2 h 24"/>
                  <a:gd name="T12" fmla="*/ 14 w 14"/>
                  <a:gd name="T13" fmla="*/ 4 h 24"/>
                  <a:gd name="T14" fmla="*/ 14 w 14"/>
                  <a:gd name="T15" fmla="*/ 6 h 24"/>
                  <a:gd name="T16" fmla="*/ 14 w 14"/>
                  <a:gd name="T17" fmla="*/ 8 h 24"/>
                  <a:gd name="T18" fmla="*/ 12 w 14"/>
                  <a:gd name="T19" fmla="*/ 10 h 24"/>
                  <a:gd name="T20" fmla="*/ 12 w 14"/>
                  <a:gd name="T21" fmla="*/ 10 h 24"/>
                  <a:gd name="T22" fmla="*/ 12 w 14"/>
                  <a:gd name="T23" fmla="*/ 14 h 24"/>
                  <a:gd name="T24" fmla="*/ 12 w 14"/>
                  <a:gd name="T25" fmla="*/ 16 h 24"/>
                  <a:gd name="T26" fmla="*/ 12 w 14"/>
                  <a:gd name="T27" fmla="*/ 18 h 24"/>
                  <a:gd name="T28" fmla="*/ 12 w 14"/>
                  <a:gd name="T29" fmla="*/ 18 h 24"/>
                  <a:gd name="T30" fmla="*/ 12 w 14"/>
                  <a:gd name="T31" fmla="*/ 20 h 24"/>
                  <a:gd name="T32" fmla="*/ 12 w 14"/>
                  <a:gd name="T33" fmla="*/ 20 h 24"/>
                  <a:gd name="T34" fmla="*/ 10 w 14"/>
                  <a:gd name="T35" fmla="*/ 22 h 24"/>
                  <a:gd name="T36" fmla="*/ 10 w 14"/>
                  <a:gd name="T37" fmla="*/ 22 h 24"/>
                  <a:gd name="T38" fmla="*/ 8 w 14"/>
                  <a:gd name="T39" fmla="*/ 22 h 24"/>
                  <a:gd name="T40" fmla="*/ 6 w 14"/>
                  <a:gd name="T41" fmla="*/ 24 h 24"/>
                  <a:gd name="T42" fmla="*/ 4 w 14"/>
                  <a:gd name="T43" fmla="*/ 24 h 24"/>
                  <a:gd name="T44" fmla="*/ 2 w 14"/>
                  <a:gd name="T45" fmla="*/ 24 h 24"/>
                  <a:gd name="T46" fmla="*/ 2 w 14"/>
                  <a:gd name="T47" fmla="*/ 24 h 24"/>
                  <a:gd name="T48" fmla="*/ 2 w 14"/>
                  <a:gd name="T49" fmla="*/ 24 h 24"/>
                  <a:gd name="T50" fmla="*/ 2 w 14"/>
                  <a:gd name="T51" fmla="*/ 24 h 24"/>
                  <a:gd name="T52" fmla="*/ 2 w 14"/>
                  <a:gd name="T53" fmla="*/ 22 h 24"/>
                  <a:gd name="T54" fmla="*/ 0 w 14"/>
                  <a:gd name="T55" fmla="*/ 22 h 24"/>
                  <a:gd name="T56" fmla="*/ 0 w 14"/>
                  <a:gd name="T57" fmla="*/ 22 h 24"/>
                  <a:gd name="T58" fmla="*/ 0 w 14"/>
                  <a:gd name="T59" fmla="*/ 20 h 24"/>
                  <a:gd name="T60" fmla="*/ 0 w 14"/>
                  <a:gd name="T61" fmla="*/ 18 h 24"/>
                  <a:gd name="T62" fmla="*/ 0 w 14"/>
                  <a:gd name="T63" fmla="*/ 18 h 24"/>
                  <a:gd name="T64" fmla="*/ 0 w 14"/>
                  <a:gd name="T65" fmla="*/ 16 h 24"/>
                  <a:gd name="T66" fmla="*/ 2 w 14"/>
                  <a:gd name="T67" fmla="*/ 14 h 24"/>
                  <a:gd name="T68" fmla="*/ 2 w 14"/>
                  <a:gd name="T69" fmla="*/ 12 h 24"/>
                  <a:gd name="T70" fmla="*/ 4 w 14"/>
                  <a:gd name="T71" fmla="*/ 10 h 24"/>
                  <a:gd name="T72" fmla="*/ 4 w 14"/>
                  <a:gd name="T73" fmla="*/ 8 h 24"/>
                  <a:gd name="T74" fmla="*/ 6 w 14"/>
                  <a:gd name="T75" fmla="*/ 6 h 24"/>
                  <a:gd name="T76" fmla="*/ 8 w 14"/>
                  <a:gd name="T77" fmla="*/ 4 h 24"/>
                  <a:gd name="T78" fmla="*/ 8 w 14"/>
                  <a:gd name="T79" fmla="*/ 2 h 24"/>
                  <a:gd name="T80" fmla="*/ 10 w 14"/>
                  <a:gd name="T81" fmla="*/ 2 h 24"/>
                  <a:gd name="T82" fmla="*/ 12 w 14"/>
                  <a:gd name="T83" fmla="*/ 2 h 24"/>
                  <a:gd name="T84" fmla="*/ 12 w 14"/>
                  <a:gd name="T85" fmla="*/ 0 h 24"/>
                  <a:gd name="T86" fmla="*/ 12 w 14"/>
                  <a:gd name="T87" fmla="*/ 0 h 24"/>
                  <a:gd name="T88" fmla="*/ 14 w 14"/>
                  <a:gd name="T89" fmla="*/ 0 h 24"/>
                  <a:gd name="T90" fmla="*/ 14 w 14"/>
                  <a:gd name="T9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4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6" y="24"/>
                    </a:lnTo>
                    <a:lnTo>
                      <a:pt x="4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45" name="Freeform 536">
                <a:extLst>
                  <a:ext uri="{FF2B5EF4-FFF2-40B4-BE49-F238E27FC236}">
                    <a16:creationId xmlns:a16="http://schemas.microsoft.com/office/drawing/2014/main" id="{BD000CE2-F49C-436A-B82C-96474C070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7503" y="2489367"/>
                <a:ext cx="222250" cy="155575"/>
              </a:xfrm>
              <a:custGeom>
                <a:avLst/>
                <a:gdLst>
                  <a:gd name="T0" fmla="*/ 44 w 140"/>
                  <a:gd name="T1" fmla="*/ 6 h 98"/>
                  <a:gd name="T2" fmla="*/ 40 w 140"/>
                  <a:gd name="T3" fmla="*/ 8 h 98"/>
                  <a:gd name="T4" fmla="*/ 36 w 140"/>
                  <a:gd name="T5" fmla="*/ 14 h 98"/>
                  <a:gd name="T6" fmla="*/ 32 w 140"/>
                  <a:gd name="T7" fmla="*/ 22 h 98"/>
                  <a:gd name="T8" fmla="*/ 28 w 140"/>
                  <a:gd name="T9" fmla="*/ 32 h 98"/>
                  <a:gd name="T10" fmla="*/ 22 w 140"/>
                  <a:gd name="T11" fmla="*/ 42 h 98"/>
                  <a:gd name="T12" fmla="*/ 16 w 140"/>
                  <a:gd name="T13" fmla="*/ 50 h 98"/>
                  <a:gd name="T14" fmla="*/ 12 w 140"/>
                  <a:gd name="T15" fmla="*/ 56 h 98"/>
                  <a:gd name="T16" fmla="*/ 2 w 140"/>
                  <a:gd name="T17" fmla="*/ 64 h 98"/>
                  <a:gd name="T18" fmla="*/ 0 w 140"/>
                  <a:gd name="T19" fmla="*/ 68 h 98"/>
                  <a:gd name="T20" fmla="*/ 0 w 140"/>
                  <a:gd name="T21" fmla="*/ 72 h 98"/>
                  <a:gd name="T22" fmla="*/ 0 w 140"/>
                  <a:gd name="T23" fmla="*/ 74 h 98"/>
                  <a:gd name="T24" fmla="*/ 6 w 140"/>
                  <a:gd name="T25" fmla="*/ 80 h 98"/>
                  <a:gd name="T26" fmla="*/ 16 w 140"/>
                  <a:gd name="T27" fmla="*/ 88 h 98"/>
                  <a:gd name="T28" fmla="*/ 24 w 140"/>
                  <a:gd name="T29" fmla="*/ 94 h 98"/>
                  <a:gd name="T30" fmla="*/ 30 w 140"/>
                  <a:gd name="T31" fmla="*/ 98 h 98"/>
                  <a:gd name="T32" fmla="*/ 34 w 140"/>
                  <a:gd name="T33" fmla="*/ 98 h 98"/>
                  <a:gd name="T34" fmla="*/ 42 w 140"/>
                  <a:gd name="T35" fmla="*/ 96 h 98"/>
                  <a:gd name="T36" fmla="*/ 52 w 140"/>
                  <a:gd name="T37" fmla="*/ 90 h 98"/>
                  <a:gd name="T38" fmla="*/ 66 w 140"/>
                  <a:gd name="T39" fmla="*/ 80 h 98"/>
                  <a:gd name="T40" fmla="*/ 74 w 140"/>
                  <a:gd name="T41" fmla="*/ 76 h 98"/>
                  <a:gd name="T42" fmla="*/ 88 w 140"/>
                  <a:gd name="T43" fmla="*/ 66 h 98"/>
                  <a:gd name="T44" fmla="*/ 94 w 140"/>
                  <a:gd name="T45" fmla="*/ 64 h 98"/>
                  <a:gd name="T46" fmla="*/ 106 w 140"/>
                  <a:gd name="T47" fmla="*/ 62 h 98"/>
                  <a:gd name="T48" fmla="*/ 118 w 140"/>
                  <a:gd name="T49" fmla="*/ 60 h 98"/>
                  <a:gd name="T50" fmla="*/ 126 w 140"/>
                  <a:gd name="T51" fmla="*/ 56 h 98"/>
                  <a:gd name="T52" fmla="*/ 136 w 140"/>
                  <a:gd name="T53" fmla="*/ 50 h 98"/>
                  <a:gd name="T54" fmla="*/ 140 w 140"/>
                  <a:gd name="T55" fmla="*/ 46 h 98"/>
                  <a:gd name="T56" fmla="*/ 140 w 140"/>
                  <a:gd name="T57" fmla="*/ 44 h 98"/>
                  <a:gd name="T58" fmla="*/ 140 w 140"/>
                  <a:gd name="T59" fmla="*/ 40 h 98"/>
                  <a:gd name="T60" fmla="*/ 136 w 140"/>
                  <a:gd name="T61" fmla="*/ 36 h 98"/>
                  <a:gd name="T62" fmla="*/ 132 w 140"/>
                  <a:gd name="T63" fmla="*/ 30 h 98"/>
                  <a:gd name="T64" fmla="*/ 118 w 140"/>
                  <a:gd name="T65" fmla="*/ 22 h 98"/>
                  <a:gd name="T66" fmla="*/ 112 w 140"/>
                  <a:gd name="T67" fmla="*/ 20 h 98"/>
                  <a:gd name="T68" fmla="*/ 104 w 140"/>
                  <a:gd name="T69" fmla="*/ 18 h 98"/>
                  <a:gd name="T70" fmla="*/ 90 w 140"/>
                  <a:gd name="T71" fmla="*/ 16 h 98"/>
                  <a:gd name="T72" fmla="*/ 84 w 140"/>
                  <a:gd name="T73" fmla="*/ 14 h 98"/>
                  <a:gd name="T74" fmla="*/ 82 w 140"/>
                  <a:gd name="T75" fmla="*/ 12 h 98"/>
                  <a:gd name="T76" fmla="*/ 74 w 140"/>
                  <a:gd name="T77" fmla="*/ 4 h 98"/>
                  <a:gd name="T78" fmla="*/ 72 w 140"/>
                  <a:gd name="T79" fmla="*/ 2 h 98"/>
                  <a:gd name="T80" fmla="*/ 68 w 140"/>
                  <a:gd name="T81" fmla="*/ 2 h 98"/>
                  <a:gd name="T82" fmla="*/ 66 w 140"/>
                  <a:gd name="T83" fmla="*/ 4 h 98"/>
                  <a:gd name="T84" fmla="*/ 62 w 140"/>
                  <a:gd name="T85" fmla="*/ 8 h 98"/>
                  <a:gd name="T86" fmla="*/ 58 w 140"/>
                  <a:gd name="T87" fmla="*/ 14 h 98"/>
                  <a:gd name="T88" fmla="*/ 56 w 140"/>
                  <a:gd name="T89" fmla="*/ 16 h 98"/>
                  <a:gd name="T90" fmla="*/ 54 w 140"/>
                  <a:gd name="T91" fmla="*/ 16 h 98"/>
                  <a:gd name="T92" fmla="*/ 50 w 140"/>
                  <a:gd name="T93" fmla="*/ 12 h 98"/>
                  <a:gd name="T94" fmla="*/ 48 w 140"/>
                  <a:gd name="T95" fmla="*/ 8 h 98"/>
                  <a:gd name="T96" fmla="*/ 46 w 140"/>
                  <a:gd name="T97" fmla="*/ 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0" h="98">
                    <a:moveTo>
                      <a:pt x="44" y="6"/>
                    </a:move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2" y="8"/>
                    </a:lnTo>
                    <a:lnTo>
                      <a:pt x="40" y="8"/>
                    </a:lnTo>
                    <a:lnTo>
                      <a:pt x="40" y="10"/>
                    </a:lnTo>
                    <a:lnTo>
                      <a:pt x="38" y="12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4" y="18"/>
                    </a:lnTo>
                    <a:lnTo>
                      <a:pt x="32" y="22"/>
                    </a:lnTo>
                    <a:lnTo>
                      <a:pt x="30" y="26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4"/>
                    </a:lnTo>
                    <a:lnTo>
                      <a:pt x="24" y="38"/>
                    </a:lnTo>
                    <a:lnTo>
                      <a:pt x="22" y="42"/>
                    </a:lnTo>
                    <a:lnTo>
                      <a:pt x="20" y="46"/>
                    </a:lnTo>
                    <a:lnTo>
                      <a:pt x="18" y="48"/>
                    </a:lnTo>
                    <a:lnTo>
                      <a:pt x="16" y="50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2" y="56"/>
                    </a:lnTo>
                    <a:lnTo>
                      <a:pt x="6" y="60"/>
                    </a:lnTo>
                    <a:lnTo>
                      <a:pt x="4" y="62"/>
                    </a:lnTo>
                    <a:lnTo>
                      <a:pt x="2" y="64"/>
                    </a:lnTo>
                    <a:lnTo>
                      <a:pt x="2" y="66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2" y="76"/>
                    </a:lnTo>
                    <a:lnTo>
                      <a:pt x="4" y="78"/>
                    </a:lnTo>
                    <a:lnTo>
                      <a:pt x="6" y="80"/>
                    </a:lnTo>
                    <a:lnTo>
                      <a:pt x="8" y="82"/>
                    </a:lnTo>
                    <a:lnTo>
                      <a:pt x="12" y="86"/>
                    </a:lnTo>
                    <a:lnTo>
                      <a:pt x="16" y="88"/>
                    </a:lnTo>
                    <a:lnTo>
                      <a:pt x="18" y="92"/>
                    </a:lnTo>
                    <a:lnTo>
                      <a:pt x="22" y="94"/>
                    </a:lnTo>
                    <a:lnTo>
                      <a:pt x="24" y="94"/>
                    </a:lnTo>
                    <a:lnTo>
                      <a:pt x="28" y="96"/>
                    </a:lnTo>
                    <a:lnTo>
                      <a:pt x="28" y="98"/>
                    </a:lnTo>
                    <a:lnTo>
                      <a:pt x="30" y="98"/>
                    </a:lnTo>
                    <a:lnTo>
                      <a:pt x="30" y="98"/>
                    </a:lnTo>
                    <a:lnTo>
                      <a:pt x="32" y="98"/>
                    </a:lnTo>
                    <a:lnTo>
                      <a:pt x="34" y="98"/>
                    </a:lnTo>
                    <a:lnTo>
                      <a:pt x="36" y="98"/>
                    </a:lnTo>
                    <a:lnTo>
                      <a:pt x="38" y="96"/>
                    </a:lnTo>
                    <a:lnTo>
                      <a:pt x="42" y="96"/>
                    </a:lnTo>
                    <a:lnTo>
                      <a:pt x="44" y="94"/>
                    </a:lnTo>
                    <a:lnTo>
                      <a:pt x="46" y="94"/>
                    </a:lnTo>
                    <a:lnTo>
                      <a:pt x="52" y="90"/>
                    </a:lnTo>
                    <a:lnTo>
                      <a:pt x="56" y="86"/>
                    </a:lnTo>
                    <a:lnTo>
                      <a:pt x="62" y="84"/>
                    </a:lnTo>
                    <a:lnTo>
                      <a:pt x="66" y="80"/>
                    </a:lnTo>
                    <a:lnTo>
                      <a:pt x="70" y="78"/>
                    </a:lnTo>
                    <a:lnTo>
                      <a:pt x="72" y="76"/>
                    </a:lnTo>
                    <a:lnTo>
                      <a:pt x="74" y="76"/>
                    </a:lnTo>
                    <a:lnTo>
                      <a:pt x="80" y="72"/>
                    </a:lnTo>
                    <a:lnTo>
                      <a:pt x="86" y="68"/>
                    </a:lnTo>
                    <a:lnTo>
                      <a:pt x="88" y="66"/>
                    </a:lnTo>
                    <a:lnTo>
                      <a:pt x="90" y="66"/>
                    </a:lnTo>
                    <a:lnTo>
                      <a:pt x="92" y="66"/>
                    </a:lnTo>
                    <a:lnTo>
                      <a:pt x="94" y="64"/>
                    </a:lnTo>
                    <a:lnTo>
                      <a:pt x="98" y="64"/>
                    </a:lnTo>
                    <a:lnTo>
                      <a:pt x="102" y="62"/>
                    </a:lnTo>
                    <a:lnTo>
                      <a:pt x="106" y="62"/>
                    </a:lnTo>
                    <a:lnTo>
                      <a:pt x="110" y="62"/>
                    </a:lnTo>
                    <a:lnTo>
                      <a:pt x="114" y="60"/>
                    </a:lnTo>
                    <a:lnTo>
                      <a:pt x="118" y="60"/>
                    </a:lnTo>
                    <a:lnTo>
                      <a:pt x="120" y="58"/>
                    </a:lnTo>
                    <a:lnTo>
                      <a:pt x="120" y="58"/>
                    </a:lnTo>
                    <a:lnTo>
                      <a:pt x="126" y="56"/>
                    </a:lnTo>
                    <a:lnTo>
                      <a:pt x="130" y="54"/>
                    </a:lnTo>
                    <a:lnTo>
                      <a:pt x="132" y="52"/>
                    </a:lnTo>
                    <a:lnTo>
                      <a:pt x="136" y="50"/>
                    </a:lnTo>
                    <a:lnTo>
                      <a:pt x="138" y="48"/>
                    </a:lnTo>
                    <a:lnTo>
                      <a:pt x="138" y="48"/>
                    </a:lnTo>
                    <a:lnTo>
                      <a:pt x="140" y="46"/>
                    </a:lnTo>
                    <a:lnTo>
                      <a:pt x="140" y="46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2"/>
                    </a:lnTo>
                    <a:lnTo>
                      <a:pt x="140" y="42"/>
                    </a:lnTo>
                    <a:lnTo>
                      <a:pt x="140" y="40"/>
                    </a:lnTo>
                    <a:lnTo>
                      <a:pt x="140" y="38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4" y="34"/>
                    </a:lnTo>
                    <a:lnTo>
                      <a:pt x="134" y="32"/>
                    </a:lnTo>
                    <a:lnTo>
                      <a:pt x="132" y="30"/>
                    </a:lnTo>
                    <a:lnTo>
                      <a:pt x="126" y="28"/>
                    </a:lnTo>
                    <a:lnTo>
                      <a:pt x="122" y="24"/>
                    </a:lnTo>
                    <a:lnTo>
                      <a:pt x="118" y="22"/>
                    </a:lnTo>
                    <a:lnTo>
                      <a:pt x="116" y="20"/>
                    </a:lnTo>
                    <a:lnTo>
                      <a:pt x="114" y="20"/>
                    </a:lnTo>
                    <a:lnTo>
                      <a:pt x="112" y="20"/>
                    </a:lnTo>
                    <a:lnTo>
                      <a:pt x="110" y="20"/>
                    </a:lnTo>
                    <a:lnTo>
                      <a:pt x="108" y="18"/>
                    </a:lnTo>
                    <a:lnTo>
                      <a:pt x="104" y="18"/>
                    </a:lnTo>
                    <a:lnTo>
                      <a:pt x="100" y="18"/>
                    </a:lnTo>
                    <a:lnTo>
                      <a:pt x="94" y="16"/>
                    </a:lnTo>
                    <a:lnTo>
                      <a:pt x="90" y="16"/>
                    </a:lnTo>
                    <a:lnTo>
                      <a:pt x="88" y="16"/>
                    </a:lnTo>
                    <a:lnTo>
                      <a:pt x="86" y="14"/>
                    </a:lnTo>
                    <a:lnTo>
                      <a:pt x="84" y="14"/>
                    </a:lnTo>
                    <a:lnTo>
                      <a:pt x="82" y="14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0" y="10"/>
                    </a:lnTo>
                    <a:lnTo>
                      <a:pt x="76" y="6"/>
                    </a:lnTo>
                    <a:lnTo>
                      <a:pt x="74" y="4"/>
                    </a:lnTo>
                    <a:lnTo>
                      <a:pt x="74" y="2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4" y="6"/>
                    </a:lnTo>
                    <a:lnTo>
                      <a:pt x="62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0" y="12"/>
                    </a:lnTo>
                    <a:lnTo>
                      <a:pt x="50" y="10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4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46" name="Freeform 538">
                <a:extLst>
                  <a:ext uri="{FF2B5EF4-FFF2-40B4-BE49-F238E27FC236}">
                    <a16:creationId xmlns:a16="http://schemas.microsoft.com/office/drawing/2014/main" id="{AEFC0FA4-DAE1-4FCD-A384-D1D4D73918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0378" y="2556042"/>
                <a:ext cx="323850" cy="174625"/>
              </a:xfrm>
              <a:custGeom>
                <a:avLst/>
                <a:gdLst>
                  <a:gd name="T0" fmla="*/ 48 w 204"/>
                  <a:gd name="T1" fmla="*/ 18 h 110"/>
                  <a:gd name="T2" fmla="*/ 38 w 204"/>
                  <a:gd name="T3" fmla="*/ 24 h 110"/>
                  <a:gd name="T4" fmla="*/ 36 w 204"/>
                  <a:gd name="T5" fmla="*/ 30 h 110"/>
                  <a:gd name="T6" fmla="*/ 36 w 204"/>
                  <a:gd name="T7" fmla="*/ 38 h 110"/>
                  <a:gd name="T8" fmla="*/ 34 w 204"/>
                  <a:gd name="T9" fmla="*/ 40 h 110"/>
                  <a:gd name="T10" fmla="*/ 26 w 204"/>
                  <a:gd name="T11" fmla="*/ 42 h 110"/>
                  <a:gd name="T12" fmla="*/ 10 w 204"/>
                  <a:gd name="T13" fmla="*/ 40 h 110"/>
                  <a:gd name="T14" fmla="*/ 2 w 204"/>
                  <a:gd name="T15" fmla="*/ 42 h 110"/>
                  <a:gd name="T16" fmla="*/ 0 w 204"/>
                  <a:gd name="T17" fmla="*/ 50 h 110"/>
                  <a:gd name="T18" fmla="*/ 2 w 204"/>
                  <a:gd name="T19" fmla="*/ 54 h 110"/>
                  <a:gd name="T20" fmla="*/ 8 w 204"/>
                  <a:gd name="T21" fmla="*/ 58 h 110"/>
                  <a:gd name="T22" fmla="*/ 30 w 204"/>
                  <a:gd name="T23" fmla="*/ 58 h 110"/>
                  <a:gd name="T24" fmla="*/ 48 w 204"/>
                  <a:gd name="T25" fmla="*/ 58 h 110"/>
                  <a:gd name="T26" fmla="*/ 52 w 204"/>
                  <a:gd name="T27" fmla="*/ 62 h 110"/>
                  <a:gd name="T28" fmla="*/ 52 w 204"/>
                  <a:gd name="T29" fmla="*/ 66 h 110"/>
                  <a:gd name="T30" fmla="*/ 48 w 204"/>
                  <a:gd name="T31" fmla="*/ 70 h 110"/>
                  <a:gd name="T32" fmla="*/ 30 w 204"/>
                  <a:gd name="T33" fmla="*/ 72 h 110"/>
                  <a:gd name="T34" fmla="*/ 14 w 204"/>
                  <a:gd name="T35" fmla="*/ 74 h 110"/>
                  <a:gd name="T36" fmla="*/ 6 w 204"/>
                  <a:gd name="T37" fmla="*/ 78 h 110"/>
                  <a:gd name="T38" fmla="*/ 6 w 204"/>
                  <a:gd name="T39" fmla="*/ 82 h 110"/>
                  <a:gd name="T40" fmla="*/ 10 w 204"/>
                  <a:gd name="T41" fmla="*/ 88 h 110"/>
                  <a:gd name="T42" fmla="*/ 26 w 204"/>
                  <a:gd name="T43" fmla="*/ 94 h 110"/>
                  <a:gd name="T44" fmla="*/ 46 w 204"/>
                  <a:gd name="T45" fmla="*/ 104 h 110"/>
                  <a:gd name="T46" fmla="*/ 60 w 204"/>
                  <a:gd name="T47" fmla="*/ 110 h 110"/>
                  <a:gd name="T48" fmla="*/ 86 w 204"/>
                  <a:gd name="T49" fmla="*/ 110 h 110"/>
                  <a:gd name="T50" fmla="*/ 140 w 204"/>
                  <a:gd name="T51" fmla="*/ 108 h 110"/>
                  <a:gd name="T52" fmla="*/ 168 w 204"/>
                  <a:gd name="T53" fmla="*/ 106 h 110"/>
                  <a:gd name="T54" fmla="*/ 186 w 204"/>
                  <a:gd name="T55" fmla="*/ 104 h 110"/>
                  <a:gd name="T56" fmla="*/ 192 w 204"/>
                  <a:gd name="T57" fmla="*/ 100 h 110"/>
                  <a:gd name="T58" fmla="*/ 192 w 204"/>
                  <a:gd name="T59" fmla="*/ 96 h 110"/>
                  <a:gd name="T60" fmla="*/ 186 w 204"/>
                  <a:gd name="T61" fmla="*/ 86 h 110"/>
                  <a:gd name="T62" fmla="*/ 182 w 204"/>
                  <a:gd name="T63" fmla="*/ 76 h 110"/>
                  <a:gd name="T64" fmla="*/ 182 w 204"/>
                  <a:gd name="T65" fmla="*/ 74 h 110"/>
                  <a:gd name="T66" fmla="*/ 188 w 204"/>
                  <a:gd name="T67" fmla="*/ 72 h 110"/>
                  <a:gd name="T68" fmla="*/ 200 w 204"/>
                  <a:gd name="T69" fmla="*/ 72 h 110"/>
                  <a:gd name="T70" fmla="*/ 204 w 204"/>
                  <a:gd name="T71" fmla="*/ 70 h 110"/>
                  <a:gd name="T72" fmla="*/ 204 w 204"/>
                  <a:gd name="T73" fmla="*/ 66 h 110"/>
                  <a:gd name="T74" fmla="*/ 194 w 204"/>
                  <a:gd name="T75" fmla="*/ 60 h 110"/>
                  <a:gd name="T76" fmla="*/ 180 w 204"/>
                  <a:gd name="T77" fmla="*/ 54 h 110"/>
                  <a:gd name="T78" fmla="*/ 170 w 204"/>
                  <a:gd name="T79" fmla="*/ 40 h 110"/>
                  <a:gd name="T80" fmla="*/ 164 w 204"/>
                  <a:gd name="T81" fmla="*/ 28 h 110"/>
                  <a:gd name="T82" fmla="*/ 164 w 204"/>
                  <a:gd name="T83" fmla="*/ 20 h 110"/>
                  <a:gd name="T84" fmla="*/ 170 w 204"/>
                  <a:gd name="T85" fmla="*/ 12 h 110"/>
                  <a:gd name="T86" fmla="*/ 172 w 204"/>
                  <a:gd name="T87" fmla="*/ 6 h 110"/>
                  <a:gd name="T88" fmla="*/ 164 w 204"/>
                  <a:gd name="T89" fmla="*/ 2 h 110"/>
                  <a:gd name="T90" fmla="*/ 152 w 204"/>
                  <a:gd name="T91" fmla="*/ 0 h 110"/>
                  <a:gd name="T92" fmla="*/ 142 w 204"/>
                  <a:gd name="T93" fmla="*/ 0 h 110"/>
                  <a:gd name="T94" fmla="*/ 140 w 204"/>
                  <a:gd name="T95" fmla="*/ 4 h 110"/>
                  <a:gd name="T96" fmla="*/ 138 w 204"/>
                  <a:gd name="T97" fmla="*/ 18 h 110"/>
                  <a:gd name="T98" fmla="*/ 136 w 204"/>
                  <a:gd name="T99" fmla="*/ 32 h 110"/>
                  <a:gd name="T100" fmla="*/ 134 w 204"/>
                  <a:gd name="T101" fmla="*/ 34 h 110"/>
                  <a:gd name="T102" fmla="*/ 128 w 204"/>
                  <a:gd name="T103" fmla="*/ 32 h 110"/>
                  <a:gd name="T104" fmla="*/ 120 w 204"/>
                  <a:gd name="T105" fmla="*/ 18 h 110"/>
                  <a:gd name="T106" fmla="*/ 112 w 204"/>
                  <a:gd name="T107" fmla="*/ 8 h 110"/>
                  <a:gd name="T108" fmla="*/ 106 w 204"/>
                  <a:gd name="T109" fmla="*/ 6 h 110"/>
                  <a:gd name="T110" fmla="*/ 102 w 204"/>
                  <a:gd name="T111" fmla="*/ 10 h 110"/>
                  <a:gd name="T112" fmla="*/ 98 w 204"/>
                  <a:gd name="T113" fmla="*/ 22 h 110"/>
                  <a:gd name="T114" fmla="*/ 96 w 204"/>
                  <a:gd name="T115" fmla="*/ 24 h 110"/>
                  <a:gd name="T116" fmla="*/ 92 w 204"/>
                  <a:gd name="T117" fmla="*/ 22 h 110"/>
                  <a:gd name="T118" fmla="*/ 90 w 204"/>
                  <a:gd name="T119" fmla="*/ 10 h 110"/>
                  <a:gd name="T120" fmla="*/ 86 w 204"/>
                  <a:gd name="T121" fmla="*/ 4 h 110"/>
                  <a:gd name="T122" fmla="*/ 80 w 204"/>
                  <a:gd name="T123" fmla="*/ 4 h 110"/>
                  <a:gd name="T124" fmla="*/ 66 w 204"/>
                  <a:gd name="T125" fmla="*/ 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4" h="110">
                    <a:moveTo>
                      <a:pt x="64" y="12"/>
                    </a:moveTo>
                    <a:lnTo>
                      <a:pt x="64" y="12"/>
                    </a:lnTo>
                    <a:lnTo>
                      <a:pt x="56" y="14"/>
                    </a:lnTo>
                    <a:lnTo>
                      <a:pt x="52" y="16"/>
                    </a:lnTo>
                    <a:lnTo>
                      <a:pt x="48" y="18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4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4"/>
                    </a:lnTo>
                    <a:lnTo>
                      <a:pt x="36" y="36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2" y="40"/>
                    </a:lnTo>
                    <a:lnTo>
                      <a:pt x="30" y="40"/>
                    </a:lnTo>
                    <a:lnTo>
                      <a:pt x="28" y="42"/>
                    </a:lnTo>
                    <a:lnTo>
                      <a:pt x="26" y="42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4"/>
                    </a:lnTo>
                    <a:lnTo>
                      <a:pt x="2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8"/>
                    </a:lnTo>
                    <a:lnTo>
                      <a:pt x="8" y="58"/>
                    </a:lnTo>
                    <a:lnTo>
                      <a:pt x="10" y="58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20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8"/>
                    </a:lnTo>
                    <a:lnTo>
                      <a:pt x="48" y="60"/>
                    </a:lnTo>
                    <a:lnTo>
                      <a:pt x="50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2"/>
                    </a:lnTo>
                    <a:lnTo>
                      <a:pt x="54" y="62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48" y="70"/>
                    </a:lnTo>
                    <a:lnTo>
                      <a:pt x="46" y="70"/>
                    </a:lnTo>
                    <a:lnTo>
                      <a:pt x="42" y="70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0" y="72"/>
                    </a:lnTo>
                    <a:lnTo>
                      <a:pt x="22" y="72"/>
                    </a:lnTo>
                    <a:lnTo>
                      <a:pt x="20" y="72"/>
                    </a:lnTo>
                    <a:lnTo>
                      <a:pt x="18" y="72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0" y="76"/>
                    </a:lnTo>
                    <a:lnTo>
                      <a:pt x="10" y="76"/>
                    </a:lnTo>
                    <a:lnTo>
                      <a:pt x="8" y="78"/>
                    </a:lnTo>
                    <a:lnTo>
                      <a:pt x="6" y="78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6" y="82"/>
                    </a:lnTo>
                    <a:lnTo>
                      <a:pt x="6" y="82"/>
                    </a:lnTo>
                    <a:lnTo>
                      <a:pt x="6" y="82"/>
                    </a:lnTo>
                    <a:lnTo>
                      <a:pt x="6" y="84"/>
                    </a:lnTo>
                    <a:lnTo>
                      <a:pt x="8" y="86"/>
                    </a:lnTo>
                    <a:lnTo>
                      <a:pt x="10" y="86"/>
                    </a:lnTo>
                    <a:lnTo>
                      <a:pt x="10" y="88"/>
                    </a:lnTo>
                    <a:lnTo>
                      <a:pt x="12" y="88"/>
                    </a:lnTo>
                    <a:lnTo>
                      <a:pt x="14" y="90"/>
                    </a:lnTo>
                    <a:lnTo>
                      <a:pt x="16" y="90"/>
                    </a:lnTo>
                    <a:lnTo>
                      <a:pt x="22" y="92"/>
                    </a:lnTo>
                    <a:lnTo>
                      <a:pt x="26" y="94"/>
                    </a:lnTo>
                    <a:lnTo>
                      <a:pt x="30" y="96"/>
                    </a:lnTo>
                    <a:lnTo>
                      <a:pt x="32" y="96"/>
                    </a:lnTo>
                    <a:lnTo>
                      <a:pt x="34" y="96"/>
                    </a:lnTo>
                    <a:lnTo>
                      <a:pt x="38" y="100"/>
                    </a:lnTo>
                    <a:lnTo>
                      <a:pt x="46" y="104"/>
                    </a:lnTo>
                    <a:lnTo>
                      <a:pt x="48" y="106"/>
                    </a:lnTo>
                    <a:lnTo>
                      <a:pt x="52" y="106"/>
                    </a:lnTo>
                    <a:lnTo>
                      <a:pt x="56" y="108"/>
                    </a:lnTo>
                    <a:lnTo>
                      <a:pt x="58" y="108"/>
                    </a:lnTo>
                    <a:lnTo>
                      <a:pt x="60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70" y="110"/>
                    </a:lnTo>
                    <a:lnTo>
                      <a:pt x="76" y="110"/>
                    </a:lnTo>
                    <a:lnTo>
                      <a:pt x="86" y="110"/>
                    </a:lnTo>
                    <a:lnTo>
                      <a:pt x="94" y="108"/>
                    </a:lnTo>
                    <a:lnTo>
                      <a:pt x="108" y="108"/>
                    </a:lnTo>
                    <a:lnTo>
                      <a:pt x="124" y="108"/>
                    </a:lnTo>
                    <a:lnTo>
                      <a:pt x="132" y="108"/>
                    </a:lnTo>
                    <a:lnTo>
                      <a:pt x="140" y="108"/>
                    </a:lnTo>
                    <a:lnTo>
                      <a:pt x="148" y="108"/>
                    </a:lnTo>
                    <a:lnTo>
                      <a:pt x="154" y="106"/>
                    </a:lnTo>
                    <a:lnTo>
                      <a:pt x="158" y="106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74" y="106"/>
                    </a:lnTo>
                    <a:lnTo>
                      <a:pt x="178" y="106"/>
                    </a:lnTo>
                    <a:lnTo>
                      <a:pt x="180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8" y="102"/>
                    </a:lnTo>
                    <a:lnTo>
                      <a:pt x="190" y="102"/>
                    </a:lnTo>
                    <a:lnTo>
                      <a:pt x="190" y="100"/>
                    </a:lnTo>
                    <a:lnTo>
                      <a:pt x="190" y="100"/>
                    </a:lnTo>
                    <a:lnTo>
                      <a:pt x="192" y="100"/>
                    </a:lnTo>
                    <a:lnTo>
                      <a:pt x="192" y="100"/>
                    </a:lnTo>
                    <a:lnTo>
                      <a:pt x="192" y="98"/>
                    </a:lnTo>
                    <a:lnTo>
                      <a:pt x="192" y="98"/>
                    </a:lnTo>
                    <a:lnTo>
                      <a:pt x="192" y="98"/>
                    </a:lnTo>
                    <a:lnTo>
                      <a:pt x="192" y="96"/>
                    </a:lnTo>
                    <a:lnTo>
                      <a:pt x="192" y="94"/>
                    </a:lnTo>
                    <a:lnTo>
                      <a:pt x="190" y="94"/>
                    </a:lnTo>
                    <a:lnTo>
                      <a:pt x="190" y="92"/>
                    </a:lnTo>
                    <a:lnTo>
                      <a:pt x="190" y="90"/>
                    </a:lnTo>
                    <a:lnTo>
                      <a:pt x="186" y="86"/>
                    </a:lnTo>
                    <a:lnTo>
                      <a:pt x="184" y="82"/>
                    </a:lnTo>
                    <a:lnTo>
                      <a:pt x="184" y="82"/>
                    </a:lnTo>
                    <a:lnTo>
                      <a:pt x="182" y="80"/>
                    </a:lnTo>
                    <a:lnTo>
                      <a:pt x="182" y="78"/>
                    </a:lnTo>
                    <a:lnTo>
                      <a:pt x="182" y="76"/>
                    </a:lnTo>
                    <a:lnTo>
                      <a:pt x="182" y="76"/>
                    </a:lnTo>
                    <a:lnTo>
                      <a:pt x="182" y="76"/>
                    </a:lnTo>
                    <a:lnTo>
                      <a:pt x="182" y="74"/>
                    </a:lnTo>
                    <a:lnTo>
                      <a:pt x="182" y="74"/>
                    </a:lnTo>
                    <a:lnTo>
                      <a:pt x="182" y="74"/>
                    </a:lnTo>
                    <a:lnTo>
                      <a:pt x="182" y="74"/>
                    </a:lnTo>
                    <a:lnTo>
                      <a:pt x="184" y="72"/>
                    </a:lnTo>
                    <a:lnTo>
                      <a:pt x="184" y="72"/>
                    </a:lnTo>
                    <a:lnTo>
                      <a:pt x="186" y="72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200" y="72"/>
                    </a:lnTo>
                    <a:lnTo>
                      <a:pt x="200" y="72"/>
                    </a:lnTo>
                    <a:lnTo>
                      <a:pt x="202" y="72"/>
                    </a:lnTo>
                    <a:lnTo>
                      <a:pt x="204" y="70"/>
                    </a:lnTo>
                    <a:lnTo>
                      <a:pt x="204" y="70"/>
                    </a:lnTo>
                    <a:lnTo>
                      <a:pt x="204" y="70"/>
                    </a:lnTo>
                    <a:lnTo>
                      <a:pt x="204" y="70"/>
                    </a:lnTo>
                    <a:lnTo>
                      <a:pt x="204" y="68"/>
                    </a:lnTo>
                    <a:lnTo>
                      <a:pt x="204" y="68"/>
                    </a:lnTo>
                    <a:lnTo>
                      <a:pt x="204" y="68"/>
                    </a:lnTo>
                    <a:lnTo>
                      <a:pt x="204" y="68"/>
                    </a:lnTo>
                    <a:lnTo>
                      <a:pt x="204" y="66"/>
                    </a:lnTo>
                    <a:lnTo>
                      <a:pt x="202" y="66"/>
                    </a:lnTo>
                    <a:lnTo>
                      <a:pt x="202" y="64"/>
                    </a:lnTo>
                    <a:lnTo>
                      <a:pt x="200" y="64"/>
                    </a:lnTo>
                    <a:lnTo>
                      <a:pt x="198" y="62"/>
                    </a:lnTo>
                    <a:lnTo>
                      <a:pt x="194" y="60"/>
                    </a:lnTo>
                    <a:lnTo>
                      <a:pt x="190" y="60"/>
                    </a:lnTo>
                    <a:lnTo>
                      <a:pt x="186" y="58"/>
                    </a:lnTo>
                    <a:lnTo>
                      <a:pt x="184" y="56"/>
                    </a:lnTo>
                    <a:lnTo>
                      <a:pt x="182" y="56"/>
                    </a:lnTo>
                    <a:lnTo>
                      <a:pt x="180" y="54"/>
                    </a:lnTo>
                    <a:lnTo>
                      <a:pt x="180" y="54"/>
                    </a:lnTo>
                    <a:lnTo>
                      <a:pt x="176" y="52"/>
                    </a:lnTo>
                    <a:lnTo>
                      <a:pt x="174" y="48"/>
                    </a:lnTo>
                    <a:lnTo>
                      <a:pt x="172" y="44"/>
                    </a:lnTo>
                    <a:lnTo>
                      <a:pt x="170" y="40"/>
                    </a:lnTo>
                    <a:lnTo>
                      <a:pt x="168" y="36"/>
                    </a:lnTo>
                    <a:lnTo>
                      <a:pt x="166" y="34"/>
                    </a:lnTo>
                    <a:lnTo>
                      <a:pt x="166" y="32"/>
                    </a:lnTo>
                    <a:lnTo>
                      <a:pt x="164" y="30"/>
                    </a:lnTo>
                    <a:lnTo>
                      <a:pt x="164" y="28"/>
                    </a:lnTo>
                    <a:lnTo>
                      <a:pt x="164" y="26"/>
                    </a:lnTo>
                    <a:lnTo>
                      <a:pt x="164" y="24"/>
                    </a:lnTo>
                    <a:lnTo>
                      <a:pt x="164" y="22"/>
                    </a:lnTo>
                    <a:lnTo>
                      <a:pt x="164" y="22"/>
                    </a:lnTo>
                    <a:lnTo>
                      <a:pt x="164" y="20"/>
                    </a:lnTo>
                    <a:lnTo>
                      <a:pt x="166" y="20"/>
                    </a:lnTo>
                    <a:lnTo>
                      <a:pt x="166" y="18"/>
                    </a:lnTo>
                    <a:lnTo>
                      <a:pt x="168" y="14"/>
                    </a:lnTo>
                    <a:lnTo>
                      <a:pt x="170" y="12"/>
                    </a:lnTo>
                    <a:lnTo>
                      <a:pt x="170" y="12"/>
                    </a:lnTo>
                    <a:lnTo>
                      <a:pt x="172" y="10"/>
                    </a:lnTo>
                    <a:lnTo>
                      <a:pt x="172" y="10"/>
                    </a:lnTo>
                    <a:lnTo>
                      <a:pt x="172" y="8"/>
                    </a:lnTo>
                    <a:lnTo>
                      <a:pt x="172" y="8"/>
                    </a:lnTo>
                    <a:lnTo>
                      <a:pt x="172" y="6"/>
                    </a:lnTo>
                    <a:lnTo>
                      <a:pt x="170" y="6"/>
                    </a:lnTo>
                    <a:lnTo>
                      <a:pt x="170" y="4"/>
                    </a:lnTo>
                    <a:lnTo>
                      <a:pt x="168" y="4"/>
                    </a:lnTo>
                    <a:lnTo>
                      <a:pt x="166" y="2"/>
                    </a:lnTo>
                    <a:lnTo>
                      <a:pt x="164" y="2"/>
                    </a:lnTo>
                    <a:lnTo>
                      <a:pt x="162" y="0"/>
                    </a:lnTo>
                    <a:lnTo>
                      <a:pt x="160" y="0"/>
                    </a:lnTo>
                    <a:lnTo>
                      <a:pt x="158" y="0"/>
                    </a:lnTo>
                    <a:lnTo>
                      <a:pt x="156" y="0"/>
                    </a:lnTo>
                    <a:lnTo>
                      <a:pt x="152" y="0"/>
                    </a:lnTo>
                    <a:lnTo>
                      <a:pt x="150" y="0"/>
                    </a:lnTo>
                    <a:lnTo>
                      <a:pt x="148" y="0"/>
                    </a:lnTo>
                    <a:lnTo>
                      <a:pt x="146" y="0"/>
                    </a:lnTo>
                    <a:lnTo>
                      <a:pt x="144" y="0"/>
                    </a:lnTo>
                    <a:lnTo>
                      <a:pt x="142" y="0"/>
                    </a:lnTo>
                    <a:lnTo>
                      <a:pt x="142" y="2"/>
                    </a:lnTo>
                    <a:lnTo>
                      <a:pt x="140" y="2"/>
                    </a:lnTo>
                    <a:lnTo>
                      <a:pt x="140" y="2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38" y="6"/>
                    </a:lnTo>
                    <a:lnTo>
                      <a:pt x="138" y="8"/>
                    </a:lnTo>
                    <a:lnTo>
                      <a:pt x="138" y="10"/>
                    </a:lnTo>
                    <a:lnTo>
                      <a:pt x="138" y="14"/>
                    </a:lnTo>
                    <a:lnTo>
                      <a:pt x="138" y="18"/>
                    </a:lnTo>
                    <a:lnTo>
                      <a:pt x="138" y="24"/>
                    </a:lnTo>
                    <a:lnTo>
                      <a:pt x="138" y="26"/>
                    </a:lnTo>
                    <a:lnTo>
                      <a:pt x="138" y="28"/>
                    </a:lnTo>
                    <a:lnTo>
                      <a:pt x="136" y="30"/>
                    </a:lnTo>
                    <a:lnTo>
                      <a:pt x="136" y="32"/>
                    </a:lnTo>
                    <a:lnTo>
                      <a:pt x="136" y="32"/>
                    </a:lnTo>
                    <a:lnTo>
                      <a:pt x="136" y="32"/>
                    </a:lnTo>
                    <a:lnTo>
                      <a:pt x="136" y="34"/>
                    </a:lnTo>
                    <a:lnTo>
                      <a:pt x="134" y="34"/>
                    </a:lnTo>
                    <a:lnTo>
                      <a:pt x="134" y="34"/>
                    </a:lnTo>
                    <a:lnTo>
                      <a:pt x="132" y="34"/>
                    </a:lnTo>
                    <a:lnTo>
                      <a:pt x="132" y="34"/>
                    </a:lnTo>
                    <a:lnTo>
                      <a:pt x="130" y="34"/>
                    </a:lnTo>
                    <a:lnTo>
                      <a:pt x="130" y="32"/>
                    </a:lnTo>
                    <a:lnTo>
                      <a:pt x="128" y="32"/>
                    </a:lnTo>
                    <a:lnTo>
                      <a:pt x="128" y="30"/>
                    </a:lnTo>
                    <a:lnTo>
                      <a:pt x="126" y="28"/>
                    </a:lnTo>
                    <a:lnTo>
                      <a:pt x="122" y="22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18" y="16"/>
                    </a:lnTo>
                    <a:lnTo>
                      <a:pt x="116" y="14"/>
                    </a:lnTo>
                    <a:lnTo>
                      <a:pt x="114" y="12"/>
                    </a:lnTo>
                    <a:lnTo>
                      <a:pt x="112" y="10"/>
                    </a:lnTo>
                    <a:lnTo>
                      <a:pt x="112" y="8"/>
                    </a:lnTo>
                    <a:lnTo>
                      <a:pt x="110" y="8"/>
                    </a:lnTo>
                    <a:lnTo>
                      <a:pt x="108" y="6"/>
                    </a:lnTo>
                    <a:lnTo>
                      <a:pt x="108" y="6"/>
                    </a:lnTo>
                    <a:lnTo>
                      <a:pt x="106" y="6"/>
                    </a:lnTo>
                    <a:lnTo>
                      <a:pt x="106" y="6"/>
                    </a:lnTo>
                    <a:lnTo>
                      <a:pt x="106" y="6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10"/>
                    </a:lnTo>
                    <a:lnTo>
                      <a:pt x="102" y="10"/>
                    </a:lnTo>
                    <a:lnTo>
                      <a:pt x="102" y="12"/>
                    </a:lnTo>
                    <a:lnTo>
                      <a:pt x="100" y="16"/>
                    </a:lnTo>
                    <a:lnTo>
                      <a:pt x="100" y="18"/>
                    </a:lnTo>
                    <a:lnTo>
                      <a:pt x="100" y="20"/>
                    </a:lnTo>
                    <a:lnTo>
                      <a:pt x="98" y="22"/>
                    </a:lnTo>
                    <a:lnTo>
                      <a:pt x="98" y="22"/>
                    </a:lnTo>
                    <a:lnTo>
                      <a:pt x="98" y="24"/>
                    </a:lnTo>
                    <a:lnTo>
                      <a:pt x="96" y="24"/>
                    </a:lnTo>
                    <a:lnTo>
                      <a:pt x="96" y="24"/>
                    </a:lnTo>
                    <a:lnTo>
                      <a:pt x="96" y="24"/>
                    </a:lnTo>
                    <a:lnTo>
                      <a:pt x="96" y="24"/>
                    </a:lnTo>
                    <a:lnTo>
                      <a:pt x="94" y="24"/>
                    </a:lnTo>
                    <a:lnTo>
                      <a:pt x="94" y="24"/>
                    </a:lnTo>
                    <a:lnTo>
                      <a:pt x="94" y="22"/>
                    </a:lnTo>
                    <a:lnTo>
                      <a:pt x="92" y="22"/>
                    </a:lnTo>
                    <a:lnTo>
                      <a:pt x="92" y="20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90" y="12"/>
                    </a:lnTo>
                    <a:lnTo>
                      <a:pt x="90" y="10"/>
                    </a:lnTo>
                    <a:lnTo>
                      <a:pt x="88" y="8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2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78" y="4"/>
                    </a:lnTo>
                    <a:lnTo>
                      <a:pt x="74" y="6"/>
                    </a:lnTo>
                    <a:lnTo>
                      <a:pt x="72" y="8"/>
                    </a:lnTo>
                    <a:lnTo>
                      <a:pt x="68" y="8"/>
                    </a:lnTo>
                    <a:lnTo>
                      <a:pt x="66" y="10"/>
                    </a:lnTo>
                    <a:lnTo>
                      <a:pt x="6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47" name="Freeform 540">
                <a:extLst>
                  <a:ext uri="{FF2B5EF4-FFF2-40B4-BE49-F238E27FC236}">
                    <a16:creationId xmlns:a16="http://schemas.microsoft.com/office/drawing/2014/main" id="{FBA53FF0-A881-4C93-B778-6E3AC6237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7553" y="2527467"/>
                <a:ext cx="44450" cy="22225"/>
              </a:xfrm>
              <a:custGeom>
                <a:avLst/>
                <a:gdLst>
                  <a:gd name="T0" fmla="*/ 14 w 28"/>
                  <a:gd name="T1" fmla="*/ 14 h 14"/>
                  <a:gd name="T2" fmla="*/ 14 w 28"/>
                  <a:gd name="T3" fmla="*/ 14 h 14"/>
                  <a:gd name="T4" fmla="*/ 18 w 28"/>
                  <a:gd name="T5" fmla="*/ 14 h 14"/>
                  <a:gd name="T6" fmla="*/ 20 w 28"/>
                  <a:gd name="T7" fmla="*/ 12 h 14"/>
                  <a:gd name="T8" fmla="*/ 22 w 28"/>
                  <a:gd name="T9" fmla="*/ 12 h 14"/>
                  <a:gd name="T10" fmla="*/ 24 w 28"/>
                  <a:gd name="T11" fmla="*/ 12 h 14"/>
                  <a:gd name="T12" fmla="*/ 26 w 28"/>
                  <a:gd name="T13" fmla="*/ 10 h 14"/>
                  <a:gd name="T14" fmla="*/ 28 w 28"/>
                  <a:gd name="T15" fmla="*/ 10 h 14"/>
                  <a:gd name="T16" fmla="*/ 28 w 28"/>
                  <a:gd name="T17" fmla="*/ 10 h 14"/>
                  <a:gd name="T18" fmla="*/ 28 w 28"/>
                  <a:gd name="T19" fmla="*/ 8 h 14"/>
                  <a:gd name="T20" fmla="*/ 28 w 28"/>
                  <a:gd name="T21" fmla="*/ 8 h 14"/>
                  <a:gd name="T22" fmla="*/ 28 w 28"/>
                  <a:gd name="T23" fmla="*/ 8 h 14"/>
                  <a:gd name="T24" fmla="*/ 28 w 28"/>
                  <a:gd name="T25" fmla="*/ 6 h 14"/>
                  <a:gd name="T26" fmla="*/ 28 w 28"/>
                  <a:gd name="T27" fmla="*/ 6 h 14"/>
                  <a:gd name="T28" fmla="*/ 28 w 28"/>
                  <a:gd name="T29" fmla="*/ 6 h 14"/>
                  <a:gd name="T30" fmla="*/ 28 w 28"/>
                  <a:gd name="T31" fmla="*/ 4 h 14"/>
                  <a:gd name="T32" fmla="*/ 28 w 28"/>
                  <a:gd name="T33" fmla="*/ 4 h 14"/>
                  <a:gd name="T34" fmla="*/ 28 w 28"/>
                  <a:gd name="T35" fmla="*/ 4 h 14"/>
                  <a:gd name="T36" fmla="*/ 26 w 28"/>
                  <a:gd name="T37" fmla="*/ 2 h 14"/>
                  <a:gd name="T38" fmla="*/ 24 w 28"/>
                  <a:gd name="T39" fmla="*/ 2 h 14"/>
                  <a:gd name="T40" fmla="*/ 22 w 28"/>
                  <a:gd name="T41" fmla="*/ 2 h 14"/>
                  <a:gd name="T42" fmla="*/ 20 w 28"/>
                  <a:gd name="T43" fmla="*/ 0 h 14"/>
                  <a:gd name="T44" fmla="*/ 18 w 28"/>
                  <a:gd name="T45" fmla="*/ 0 h 14"/>
                  <a:gd name="T46" fmla="*/ 14 w 28"/>
                  <a:gd name="T47" fmla="*/ 0 h 14"/>
                  <a:gd name="T48" fmla="*/ 12 w 28"/>
                  <a:gd name="T49" fmla="*/ 0 h 14"/>
                  <a:gd name="T50" fmla="*/ 10 w 28"/>
                  <a:gd name="T51" fmla="*/ 0 h 14"/>
                  <a:gd name="T52" fmla="*/ 6 w 28"/>
                  <a:gd name="T53" fmla="*/ 2 h 14"/>
                  <a:gd name="T54" fmla="*/ 4 w 28"/>
                  <a:gd name="T55" fmla="*/ 2 h 14"/>
                  <a:gd name="T56" fmla="*/ 2 w 28"/>
                  <a:gd name="T57" fmla="*/ 2 h 14"/>
                  <a:gd name="T58" fmla="*/ 2 w 28"/>
                  <a:gd name="T59" fmla="*/ 4 h 14"/>
                  <a:gd name="T60" fmla="*/ 2 w 28"/>
                  <a:gd name="T61" fmla="*/ 4 h 14"/>
                  <a:gd name="T62" fmla="*/ 2 w 28"/>
                  <a:gd name="T63" fmla="*/ 4 h 14"/>
                  <a:gd name="T64" fmla="*/ 0 w 28"/>
                  <a:gd name="T65" fmla="*/ 6 h 14"/>
                  <a:gd name="T66" fmla="*/ 0 w 28"/>
                  <a:gd name="T67" fmla="*/ 6 h 14"/>
                  <a:gd name="T68" fmla="*/ 0 w 28"/>
                  <a:gd name="T69" fmla="*/ 6 h 14"/>
                  <a:gd name="T70" fmla="*/ 0 w 28"/>
                  <a:gd name="T71" fmla="*/ 8 h 14"/>
                  <a:gd name="T72" fmla="*/ 0 w 28"/>
                  <a:gd name="T73" fmla="*/ 8 h 14"/>
                  <a:gd name="T74" fmla="*/ 2 w 28"/>
                  <a:gd name="T75" fmla="*/ 8 h 14"/>
                  <a:gd name="T76" fmla="*/ 2 w 28"/>
                  <a:gd name="T77" fmla="*/ 10 h 14"/>
                  <a:gd name="T78" fmla="*/ 2 w 28"/>
                  <a:gd name="T79" fmla="*/ 10 h 14"/>
                  <a:gd name="T80" fmla="*/ 2 w 28"/>
                  <a:gd name="T81" fmla="*/ 10 h 14"/>
                  <a:gd name="T82" fmla="*/ 4 w 28"/>
                  <a:gd name="T83" fmla="*/ 12 h 14"/>
                  <a:gd name="T84" fmla="*/ 6 w 28"/>
                  <a:gd name="T85" fmla="*/ 12 h 14"/>
                  <a:gd name="T86" fmla="*/ 10 w 28"/>
                  <a:gd name="T87" fmla="*/ 12 h 14"/>
                  <a:gd name="T88" fmla="*/ 12 w 28"/>
                  <a:gd name="T89" fmla="*/ 14 h 14"/>
                  <a:gd name="T90" fmla="*/ 14 w 2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8" h="14">
                    <a:moveTo>
                      <a:pt x="14" y="14"/>
                    </a:moveTo>
                    <a:lnTo>
                      <a:pt x="14" y="14"/>
                    </a:lnTo>
                    <a:lnTo>
                      <a:pt x="18" y="14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2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48" name="Freeform 542">
                <a:extLst>
                  <a:ext uri="{FF2B5EF4-FFF2-40B4-BE49-F238E27FC236}">
                    <a16:creationId xmlns:a16="http://schemas.microsoft.com/office/drawing/2014/main" id="{6373C444-520C-45B8-BF03-6AEB9CD16C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4978" y="2368717"/>
                <a:ext cx="146050" cy="88900"/>
              </a:xfrm>
              <a:custGeom>
                <a:avLst/>
                <a:gdLst>
                  <a:gd name="T0" fmla="*/ 88 w 92"/>
                  <a:gd name="T1" fmla="*/ 0 h 56"/>
                  <a:gd name="T2" fmla="*/ 84 w 92"/>
                  <a:gd name="T3" fmla="*/ 0 h 56"/>
                  <a:gd name="T4" fmla="*/ 82 w 92"/>
                  <a:gd name="T5" fmla="*/ 0 h 56"/>
                  <a:gd name="T6" fmla="*/ 80 w 92"/>
                  <a:gd name="T7" fmla="*/ 2 h 56"/>
                  <a:gd name="T8" fmla="*/ 72 w 92"/>
                  <a:gd name="T9" fmla="*/ 4 h 56"/>
                  <a:gd name="T10" fmla="*/ 66 w 92"/>
                  <a:gd name="T11" fmla="*/ 8 h 56"/>
                  <a:gd name="T12" fmla="*/ 60 w 92"/>
                  <a:gd name="T13" fmla="*/ 10 h 56"/>
                  <a:gd name="T14" fmla="*/ 48 w 92"/>
                  <a:gd name="T15" fmla="*/ 16 h 56"/>
                  <a:gd name="T16" fmla="*/ 34 w 92"/>
                  <a:gd name="T17" fmla="*/ 22 h 56"/>
                  <a:gd name="T18" fmla="*/ 30 w 92"/>
                  <a:gd name="T19" fmla="*/ 24 h 56"/>
                  <a:gd name="T20" fmla="*/ 24 w 92"/>
                  <a:gd name="T21" fmla="*/ 26 h 56"/>
                  <a:gd name="T22" fmla="*/ 12 w 92"/>
                  <a:gd name="T23" fmla="*/ 26 h 56"/>
                  <a:gd name="T24" fmla="*/ 8 w 92"/>
                  <a:gd name="T25" fmla="*/ 28 h 56"/>
                  <a:gd name="T26" fmla="*/ 6 w 92"/>
                  <a:gd name="T27" fmla="*/ 30 h 56"/>
                  <a:gd name="T28" fmla="*/ 4 w 92"/>
                  <a:gd name="T29" fmla="*/ 32 h 56"/>
                  <a:gd name="T30" fmla="*/ 2 w 92"/>
                  <a:gd name="T31" fmla="*/ 32 h 56"/>
                  <a:gd name="T32" fmla="*/ 0 w 92"/>
                  <a:gd name="T33" fmla="*/ 38 h 56"/>
                  <a:gd name="T34" fmla="*/ 0 w 92"/>
                  <a:gd name="T35" fmla="*/ 42 h 56"/>
                  <a:gd name="T36" fmla="*/ 0 w 92"/>
                  <a:gd name="T37" fmla="*/ 46 h 56"/>
                  <a:gd name="T38" fmla="*/ 0 w 92"/>
                  <a:gd name="T39" fmla="*/ 48 h 56"/>
                  <a:gd name="T40" fmla="*/ 2 w 92"/>
                  <a:gd name="T41" fmla="*/ 50 h 56"/>
                  <a:gd name="T42" fmla="*/ 4 w 92"/>
                  <a:gd name="T43" fmla="*/ 52 h 56"/>
                  <a:gd name="T44" fmla="*/ 8 w 92"/>
                  <a:gd name="T45" fmla="*/ 54 h 56"/>
                  <a:gd name="T46" fmla="*/ 12 w 92"/>
                  <a:gd name="T47" fmla="*/ 54 h 56"/>
                  <a:gd name="T48" fmla="*/ 18 w 92"/>
                  <a:gd name="T49" fmla="*/ 56 h 56"/>
                  <a:gd name="T50" fmla="*/ 24 w 92"/>
                  <a:gd name="T51" fmla="*/ 56 h 56"/>
                  <a:gd name="T52" fmla="*/ 30 w 92"/>
                  <a:gd name="T53" fmla="*/ 56 h 56"/>
                  <a:gd name="T54" fmla="*/ 34 w 92"/>
                  <a:gd name="T55" fmla="*/ 54 h 56"/>
                  <a:gd name="T56" fmla="*/ 38 w 92"/>
                  <a:gd name="T57" fmla="*/ 54 h 56"/>
                  <a:gd name="T58" fmla="*/ 42 w 92"/>
                  <a:gd name="T59" fmla="*/ 52 h 56"/>
                  <a:gd name="T60" fmla="*/ 46 w 92"/>
                  <a:gd name="T61" fmla="*/ 48 h 56"/>
                  <a:gd name="T62" fmla="*/ 48 w 92"/>
                  <a:gd name="T63" fmla="*/ 46 h 56"/>
                  <a:gd name="T64" fmla="*/ 54 w 92"/>
                  <a:gd name="T65" fmla="*/ 38 h 56"/>
                  <a:gd name="T66" fmla="*/ 60 w 92"/>
                  <a:gd name="T67" fmla="*/ 32 h 56"/>
                  <a:gd name="T68" fmla="*/ 62 w 92"/>
                  <a:gd name="T69" fmla="*/ 30 h 56"/>
                  <a:gd name="T70" fmla="*/ 66 w 92"/>
                  <a:gd name="T71" fmla="*/ 28 h 56"/>
                  <a:gd name="T72" fmla="*/ 68 w 92"/>
                  <a:gd name="T73" fmla="*/ 28 h 56"/>
                  <a:gd name="T74" fmla="*/ 72 w 92"/>
                  <a:gd name="T75" fmla="*/ 28 h 56"/>
                  <a:gd name="T76" fmla="*/ 80 w 92"/>
                  <a:gd name="T77" fmla="*/ 30 h 56"/>
                  <a:gd name="T78" fmla="*/ 82 w 92"/>
                  <a:gd name="T79" fmla="*/ 30 h 56"/>
                  <a:gd name="T80" fmla="*/ 86 w 92"/>
                  <a:gd name="T81" fmla="*/ 30 h 56"/>
                  <a:gd name="T82" fmla="*/ 88 w 92"/>
                  <a:gd name="T83" fmla="*/ 28 h 56"/>
                  <a:gd name="T84" fmla="*/ 88 w 92"/>
                  <a:gd name="T85" fmla="*/ 26 h 56"/>
                  <a:gd name="T86" fmla="*/ 90 w 92"/>
                  <a:gd name="T87" fmla="*/ 22 h 56"/>
                  <a:gd name="T88" fmla="*/ 90 w 92"/>
                  <a:gd name="T89" fmla="*/ 18 h 56"/>
                  <a:gd name="T90" fmla="*/ 92 w 92"/>
                  <a:gd name="T91" fmla="*/ 14 h 56"/>
                  <a:gd name="T92" fmla="*/ 90 w 92"/>
                  <a:gd name="T93" fmla="*/ 10 h 56"/>
                  <a:gd name="T94" fmla="*/ 90 w 92"/>
                  <a:gd name="T95" fmla="*/ 6 h 56"/>
                  <a:gd name="T96" fmla="*/ 88 w 92"/>
                  <a:gd name="T97" fmla="*/ 4 h 56"/>
                  <a:gd name="T98" fmla="*/ 88 w 92"/>
                  <a:gd name="T9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2" h="56">
                    <a:moveTo>
                      <a:pt x="88" y="0"/>
                    </a:moveTo>
                    <a:lnTo>
                      <a:pt x="88" y="0"/>
                    </a:lnTo>
                    <a:lnTo>
                      <a:pt x="86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2" y="0"/>
                    </a:lnTo>
                    <a:lnTo>
                      <a:pt x="80" y="0"/>
                    </a:lnTo>
                    <a:lnTo>
                      <a:pt x="80" y="2"/>
                    </a:lnTo>
                    <a:lnTo>
                      <a:pt x="76" y="2"/>
                    </a:lnTo>
                    <a:lnTo>
                      <a:pt x="72" y="4"/>
                    </a:lnTo>
                    <a:lnTo>
                      <a:pt x="70" y="6"/>
                    </a:lnTo>
                    <a:lnTo>
                      <a:pt x="66" y="8"/>
                    </a:lnTo>
                    <a:lnTo>
                      <a:pt x="64" y="8"/>
                    </a:lnTo>
                    <a:lnTo>
                      <a:pt x="60" y="10"/>
                    </a:lnTo>
                    <a:lnTo>
                      <a:pt x="56" y="12"/>
                    </a:lnTo>
                    <a:lnTo>
                      <a:pt x="48" y="16"/>
                    </a:lnTo>
                    <a:lnTo>
                      <a:pt x="38" y="20"/>
                    </a:lnTo>
                    <a:lnTo>
                      <a:pt x="34" y="22"/>
                    </a:lnTo>
                    <a:lnTo>
                      <a:pt x="32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4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0" y="28"/>
                    </a:lnTo>
                    <a:lnTo>
                      <a:pt x="8" y="28"/>
                    </a:lnTo>
                    <a:lnTo>
                      <a:pt x="6" y="28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8" y="54"/>
                    </a:lnTo>
                    <a:lnTo>
                      <a:pt x="10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24" y="56"/>
                    </a:lnTo>
                    <a:lnTo>
                      <a:pt x="28" y="56"/>
                    </a:lnTo>
                    <a:lnTo>
                      <a:pt x="30" y="56"/>
                    </a:lnTo>
                    <a:lnTo>
                      <a:pt x="32" y="54"/>
                    </a:lnTo>
                    <a:lnTo>
                      <a:pt x="34" y="54"/>
                    </a:lnTo>
                    <a:lnTo>
                      <a:pt x="36" y="54"/>
                    </a:lnTo>
                    <a:lnTo>
                      <a:pt x="38" y="54"/>
                    </a:lnTo>
                    <a:lnTo>
                      <a:pt x="40" y="52"/>
                    </a:lnTo>
                    <a:lnTo>
                      <a:pt x="42" y="52"/>
                    </a:lnTo>
                    <a:lnTo>
                      <a:pt x="44" y="50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8" y="46"/>
                    </a:lnTo>
                    <a:lnTo>
                      <a:pt x="52" y="42"/>
                    </a:lnTo>
                    <a:lnTo>
                      <a:pt x="54" y="38"/>
                    </a:lnTo>
                    <a:lnTo>
                      <a:pt x="58" y="34"/>
                    </a:lnTo>
                    <a:lnTo>
                      <a:pt x="60" y="32"/>
                    </a:lnTo>
                    <a:lnTo>
                      <a:pt x="60" y="30"/>
                    </a:lnTo>
                    <a:lnTo>
                      <a:pt x="62" y="30"/>
                    </a:lnTo>
                    <a:lnTo>
                      <a:pt x="64" y="28"/>
                    </a:lnTo>
                    <a:lnTo>
                      <a:pt x="66" y="28"/>
                    </a:lnTo>
                    <a:lnTo>
                      <a:pt x="66" y="28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2" y="28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8" y="28"/>
                    </a:lnTo>
                    <a:lnTo>
                      <a:pt x="88" y="28"/>
                    </a:lnTo>
                    <a:lnTo>
                      <a:pt x="88" y="26"/>
                    </a:lnTo>
                    <a:lnTo>
                      <a:pt x="90" y="24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2" y="14"/>
                    </a:lnTo>
                    <a:lnTo>
                      <a:pt x="92" y="12"/>
                    </a:lnTo>
                    <a:lnTo>
                      <a:pt x="90" y="10"/>
                    </a:lnTo>
                    <a:lnTo>
                      <a:pt x="90" y="8"/>
                    </a:lnTo>
                    <a:lnTo>
                      <a:pt x="90" y="6"/>
                    </a:lnTo>
                    <a:lnTo>
                      <a:pt x="90" y="4"/>
                    </a:lnTo>
                    <a:lnTo>
                      <a:pt x="88" y="4"/>
                    </a:lnTo>
                    <a:lnTo>
                      <a:pt x="88" y="2"/>
                    </a:lnTo>
                    <a:lnTo>
                      <a:pt x="88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49" name="Freeform 544">
                <a:extLst>
                  <a:ext uri="{FF2B5EF4-FFF2-40B4-BE49-F238E27FC236}">
                    <a16:creationId xmlns:a16="http://schemas.microsoft.com/office/drawing/2014/main" id="{29C9A2F1-521D-43DD-BCFA-7C28064D7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703" y="2448092"/>
                <a:ext cx="22225" cy="41275"/>
              </a:xfrm>
              <a:custGeom>
                <a:avLst/>
                <a:gdLst>
                  <a:gd name="T0" fmla="*/ 8 w 14"/>
                  <a:gd name="T1" fmla="*/ 26 h 26"/>
                  <a:gd name="T2" fmla="*/ 8 w 14"/>
                  <a:gd name="T3" fmla="*/ 26 h 26"/>
                  <a:gd name="T4" fmla="*/ 6 w 14"/>
                  <a:gd name="T5" fmla="*/ 26 h 26"/>
                  <a:gd name="T6" fmla="*/ 6 w 14"/>
                  <a:gd name="T7" fmla="*/ 26 h 26"/>
                  <a:gd name="T8" fmla="*/ 6 w 14"/>
                  <a:gd name="T9" fmla="*/ 24 h 26"/>
                  <a:gd name="T10" fmla="*/ 4 w 14"/>
                  <a:gd name="T11" fmla="*/ 24 h 26"/>
                  <a:gd name="T12" fmla="*/ 4 w 14"/>
                  <a:gd name="T13" fmla="*/ 24 h 26"/>
                  <a:gd name="T14" fmla="*/ 4 w 14"/>
                  <a:gd name="T15" fmla="*/ 24 h 26"/>
                  <a:gd name="T16" fmla="*/ 2 w 14"/>
                  <a:gd name="T17" fmla="*/ 22 h 26"/>
                  <a:gd name="T18" fmla="*/ 2 w 14"/>
                  <a:gd name="T19" fmla="*/ 20 h 26"/>
                  <a:gd name="T20" fmla="*/ 2 w 14"/>
                  <a:gd name="T21" fmla="*/ 18 h 26"/>
                  <a:gd name="T22" fmla="*/ 0 w 14"/>
                  <a:gd name="T23" fmla="*/ 16 h 26"/>
                  <a:gd name="T24" fmla="*/ 0 w 14"/>
                  <a:gd name="T25" fmla="*/ 12 h 26"/>
                  <a:gd name="T26" fmla="*/ 0 w 14"/>
                  <a:gd name="T27" fmla="*/ 10 h 26"/>
                  <a:gd name="T28" fmla="*/ 2 w 14"/>
                  <a:gd name="T29" fmla="*/ 8 h 26"/>
                  <a:gd name="T30" fmla="*/ 2 w 14"/>
                  <a:gd name="T31" fmla="*/ 6 h 26"/>
                  <a:gd name="T32" fmla="*/ 2 w 14"/>
                  <a:gd name="T33" fmla="*/ 4 h 26"/>
                  <a:gd name="T34" fmla="*/ 4 w 14"/>
                  <a:gd name="T35" fmla="*/ 2 h 26"/>
                  <a:gd name="T36" fmla="*/ 4 w 14"/>
                  <a:gd name="T37" fmla="*/ 2 h 26"/>
                  <a:gd name="T38" fmla="*/ 4 w 14"/>
                  <a:gd name="T39" fmla="*/ 2 h 26"/>
                  <a:gd name="T40" fmla="*/ 6 w 14"/>
                  <a:gd name="T41" fmla="*/ 0 h 26"/>
                  <a:gd name="T42" fmla="*/ 6 w 14"/>
                  <a:gd name="T43" fmla="*/ 0 h 26"/>
                  <a:gd name="T44" fmla="*/ 6 w 14"/>
                  <a:gd name="T45" fmla="*/ 0 h 26"/>
                  <a:gd name="T46" fmla="*/ 8 w 14"/>
                  <a:gd name="T47" fmla="*/ 0 h 26"/>
                  <a:gd name="T48" fmla="*/ 8 w 14"/>
                  <a:gd name="T49" fmla="*/ 0 h 26"/>
                  <a:gd name="T50" fmla="*/ 8 w 14"/>
                  <a:gd name="T51" fmla="*/ 0 h 26"/>
                  <a:gd name="T52" fmla="*/ 10 w 14"/>
                  <a:gd name="T53" fmla="*/ 0 h 26"/>
                  <a:gd name="T54" fmla="*/ 10 w 14"/>
                  <a:gd name="T55" fmla="*/ 2 h 26"/>
                  <a:gd name="T56" fmla="*/ 10 w 14"/>
                  <a:gd name="T57" fmla="*/ 2 h 26"/>
                  <a:gd name="T58" fmla="*/ 12 w 14"/>
                  <a:gd name="T59" fmla="*/ 2 h 26"/>
                  <a:gd name="T60" fmla="*/ 12 w 14"/>
                  <a:gd name="T61" fmla="*/ 4 h 26"/>
                  <a:gd name="T62" fmla="*/ 12 w 14"/>
                  <a:gd name="T63" fmla="*/ 6 h 26"/>
                  <a:gd name="T64" fmla="*/ 14 w 14"/>
                  <a:gd name="T65" fmla="*/ 8 h 26"/>
                  <a:gd name="T66" fmla="*/ 14 w 14"/>
                  <a:gd name="T67" fmla="*/ 10 h 26"/>
                  <a:gd name="T68" fmla="*/ 14 w 14"/>
                  <a:gd name="T69" fmla="*/ 12 h 26"/>
                  <a:gd name="T70" fmla="*/ 14 w 14"/>
                  <a:gd name="T71" fmla="*/ 16 h 26"/>
                  <a:gd name="T72" fmla="*/ 14 w 14"/>
                  <a:gd name="T73" fmla="*/ 18 h 26"/>
                  <a:gd name="T74" fmla="*/ 12 w 14"/>
                  <a:gd name="T75" fmla="*/ 20 h 26"/>
                  <a:gd name="T76" fmla="*/ 12 w 14"/>
                  <a:gd name="T77" fmla="*/ 22 h 26"/>
                  <a:gd name="T78" fmla="*/ 12 w 14"/>
                  <a:gd name="T79" fmla="*/ 24 h 26"/>
                  <a:gd name="T80" fmla="*/ 10 w 14"/>
                  <a:gd name="T81" fmla="*/ 24 h 26"/>
                  <a:gd name="T82" fmla="*/ 10 w 14"/>
                  <a:gd name="T83" fmla="*/ 24 h 26"/>
                  <a:gd name="T84" fmla="*/ 10 w 14"/>
                  <a:gd name="T85" fmla="*/ 24 h 26"/>
                  <a:gd name="T86" fmla="*/ 8 w 14"/>
                  <a:gd name="T87" fmla="*/ 26 h 26"/>
                  <a:gd name="T88" fmla="*/ 8 w 14"/>
                  <a:gd name="T89" fmla="*/ 26 h 26"/>
                  <a:gd name="T90" fmla="*/ 8 w 14"/>
                  <a:gd name="T91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" h="26">
                    <a:moveTo>
                      <a:pt x="8" y="26"/>
                    </a:moveTo>
                    <a:lnTo>
                      <a:pt x="8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18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4"/>
                    </a:lnTo>
                    <a:lnTo>
                      <a:pt x="12" y="6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8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50" name="Freeform 546">
                <a:extLst>
                  <a:ext uri="{FF2B5EF4-FFF2-40B4-BE49-F238E27FC236}">
                    <a16:creationId xmlns:a16="http://schemas.microsoft.com/office/drawing/2014/main" id="{04D96AD6-CE66-4298-98F5-278FAC0B9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5153" y="2406817"/>
                <a:ext cx="212725" cy="104775"/>
              </a:xfrm>
              <a:custGeom>
                <a:avLst/>
                <a:gdLst>
                  <a:gd name="T0" fmla="*/ 46 w 134"/>
                  <a:gd name="T1" fmla="*/ 22 h 66"/>
                  <a:gd name="T2" fmla="*/ 42 w 134"/>
                  <a:gd name="T3" fmla="*/ 26 h 66"/>
                  <a:gd name="T4" fmla="*/ 38 w 134"/>
                  <a:gd name="T5" fmla="*/ 32 h 66"/>
                  <a:gd name="T6" fmla="*/ 34 w 134"/>
                  <a:gd name="T7" fmla="*/ 34 h 66"/>
                  <a:gd name="T8" fmla="*/ 30 w 134"/>
                  <a:gd name="T9" fmla="*/ 36 h 66"/>
                  <a:gd name="T10" fmla="*/ 20 w 134"/>
                  <a:gd name="T11" fmla="*/ 34 h 66"/>
                  <a:gd name="T12" fmla="*/ 12 w 134"/>
                  <a:gd name="T13" fmla="*/ 34 h 66"/>
                  <a:gd name="T14" fmla="*/ 8 w 134"/>
                  <a:gd name="T15" fmla="*/ 34 h 66"/>
                  <a:gd name="T16" fmla="*/ 6 w 134"/>
                  <a:gd name="T17" fmla="*/ 36 h 66"/>
                  <a:gd name="T18" fmla="*/ 4 w 134"/>
                  <a:gd name="T19" fmla="*/ 40 h 66"/>
                  <a:gd name="T20" fmla="*/ 2 w 134"/>
                  <a:gd name="T21" fmla="*/ 50 h 66"/>
                  <a:gd name="T22" fmla="*/ 0 w 134"/>
                  <a:gd name="T23" fmla="*/ 54 h 66"/>
                  <a:gd name="T24" fmla="*/ 2 w 134"/>
                  <a:gd name="T25" fmla="*/ 58 h 66"/>
                  <a:gd name="T26" fmla="*/ 6 w 134"/>
                  <a:gd name="T27" fmla="*/ 60 h 66"/>
                  <a:gd name="T28" fmla="*/ 12 w 134"/>
                  <a:gd name="T29" fmla="*/ 62 h 66"/>
                  <a:gd name="T30" fmla="*/ 20 w 134"/>
                  <a:gd name="T31" fmla="*/ 64 h 66"/>
                  <a:gd name="T32" fmla="*/ 32 w 134"/>
                  <a:gd name="T33" fmla="*/ 66 h 66"/>
                  <a:gd name="T34" fmla="*/ 42 w 134"/>
                  <a:gd name="T35" fmla="*/ 64 h 66"/>
                  <a:gd name="T36" fmla="*/ 58 w 134"/>
                  <a:gd name="T37" fmla="*/ 60 h 66"/>
                  <a:gd name="T38" fmla="*/ 68 w 134"/>
                  <a:gd name="T39" fmla="*/ 56 h 66"/>
                  <a:gd name="T40" fmla="*/ 80 w 134"/>
                  <a:gd name="T41" fmla="*/ 52 h 66"/>
                  <a:gd name="T42" fmla="*/ 98 w 134"/>
                  <a:gd name="T43" fmla="*/ 48 h 66"/>
                  <a:gd name="T44" fmla="*/ 108 w 134"/>
                  <a:gd name="T45" fmla="*/ 48 h 66"/>
                  <a:gd name="T46" fmla="*/ 112 w 134"/>
                  <a:gd name="T47" fmla="*/ 48 h 66"/>
                  <a:gd name="T48" fmla="*/ 122 w 134"/>
                  <a:gd name="T49" fmla="*/ 54 h 66"/>
                  <a:gd name="T50" fmla="*/ 128 w 134"/>
                  <a:gd name="T51" fmla="*/ 56 h 66"/>
                  <a:gd name="T52" fmla="*/ 132 w 134"/>
                  <a:gd name="T53" fmla="*/ 56 h 66"/>
                  <a:gd name="T54" fmla="*/ 134 w 134"/>
                  <a:gd name="T55" fmla="*/ 56 h 66"/>
                  <a:gd name="T56" fmla="*/ 134 w 134"/>
                  <a:gd name="T57" fmla="*/ 54 h 66"/>
                  <a:gd name="T58" fmla="*/ 134 w 134"/>
                  <a:gd name="T59" fmla="*/ 48 h 66"/>
                  <a:gd name="T60" fmla="*/ 132 w 134"/>
                  <a:gd name="T61" fmla="*/ 42 h 66"/>
                  <a:gd name="T62" fmla="*/ 128 w 134"/>
                  <a:gd name="T63" fmla="*/ 36 h 66"/>
                  <a:gd name="T64" fmla="*/ 122 w 134"/>
                  <a:gd name="T65" fmla="*/ 28 h 66"/>
                  <a:gd name="T66" fmla="*/ 118 w 134"/>
                  <a:gd name="T67" fmla="*/ 26 h 66"/>
                  <a:gd name="T68" fmla="*/ 110 w 134"/>
                  <a:gd name="T69" fmla="*/ 24 h 66"/>
                  <a:gd name="T70" fmla="*/ 98 w 134"/>
                  <a:gd name="T71" fmla="*/ 22 h 66"/>
                  <a:gd name="T72" fmla="*/ 94 w 134"/>
                  <a:gd name="T73" fmla="*/ 20 h 66"/>
                  <a:gd name="T74" fmla="*/ 92 w 134"/>
                  <a:gd name="T75" fmla="*/ 18 h 66"/>
                  <a:gd name="T76" fmla="*/ 90 w 134"/>
                  <a:gd name="T77" fmla="*/ 14 h 66"/>
                  <a:gd name="T78" fmla="*/ 90 w 134"/>
                  <a:gd name="T79" fmla="*/ 6 h 66"/>
                  <a:gd name="T80" fmla="*/ 88 w 134"/>
                  <a:gd name="T81" fmla="*/ 2 h 66"/>
                  <a:gd name="T82" fmla="*/ 86 w 134"/>
                  <a:gd name="T83" fmla="*/ 2 h 66"/>
                  <a:gd name="T84" fmla="*/ 82 w 134"/>
                  <a:gd name="T85" fmla="*/ 0 h 66"/>
                  <a:gd name="T86" fmla="*/ 74 w 134"/>
                  <a:gd name="T87" fmla="*/ 2 h 66"/>
                  <a:gd name="T88" fmla="*/ 68 w 134"/>
                  <a:gd name="T89" fmla="*/ 4 h 66"/>
                  <a:gd name="T90" fmla="*/ 64 w 134"/>
                  <a:gd name="T91" fmla="*/ 6 h 66"/>
                  <a:gd name="T92" fmla="*/ 64 w 134"/>
                  <a:gd name="T93" fmla="*/ 8 h 66"/>
                  <a:gd name="T94" fmla="*/ 64 w 134"/>
                  <a:gd name="T95" fmla="*/ 14 h 66"/>
                  <a:gd name="T96" fmla="*/ 64 w 134"/>
                  <a:gd name="T97" fmla="*/ 18 h 66"/>
                  <a:gd name="T98" fmla="*/ 62 w 134"/>
                  <a:gd name="T99" fmla="*/ 20 h 66"/>
                  <a:gd name="T100" fmla="*/ 60 w 134"/>
                  <a:gd name="T101" fmla="*/ 22 h 66"/>
                  <a:gd name="T102" fmla="*/ 50 w 134"/>
                  <a:gd name="T103" fmla="*/ 22 h 66"/>
                  <a:gd name="T104" fmla="*/ 48 w 134"/>
                  <a:gd name="T105" fmla="*/ 2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4" h="66">
                    <a:moveTo>
                      <a:pt x="48" y="22"/>
                    </a:moveTo>
                    <a:lnTo>
                      <a:pt x="48" y="22"/>
                    </a:lnTo>
                    <a:lnTo>
                      <a:pt x="46" y="22"/>
                    </a:lnTo>
                    <a:lnTo>
                      <a:pt x="46" y="24"/>
                    </a:lnTo>
                    <a:lnTo>
                      <a:pt x="44" y="24"/>
                    </a:lnTo>
                    <a:lnTo>
                      <a:pt x="42" y="26"/>
                    </a:lnTo>
                    <a:lnTo>
                      <a:pt x="42" y="28"/>
                    </a:lnTo>
                    <a:lnTo>
                      <a:pt x="40" y="30"/>
                    </a:lnTo>
                    <a:lnTo>
                      <a:pt x="38" y="32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4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28" y="36"/>
                    </a:lnTo>
                    <a:lnTo>
                      <a:pt x="24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14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50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2" y="58"/>
                    </a:lnTo>
                    <a:lnTo>
                      <a:pt x="4" y="58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8" y="62"/>
                    </a:lnTo>
                    <a:lnTo>
                      <a:pt x="10" y="62"/>
                    </a:lnTo>
                    <a:lnTo>
                      <a:pt x="12" y="62"/>
                    </a:lnTo>
                    <a:lnTo>
                      <a:pt x="14" y="64"/>
                    </a:lnTo>
                    <a:lnTo>
                      <a:pt x="16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2" y="66"/>
                    </a:lnTo>
                    <a:lnTo>
                      <a:pt x="34" y="64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6" y="64"/>
                    </a:lnTo>
                    <a:lnTo>
                      <a:pt x="52" y="62"/>
                    </a:lnTo>
                    <a:lnTo>
                      <a:pt x="58" y="60"/>
                    </a:lnTo>
                    <a:lnTo>
                      <a:pt x="60" y="60"/>
                    </a:lnTo>
                    <a:lnTo>
                      <a:pt x="62" y="58"/>
                    </a:lnTo>
                    <a:lnTo>
                      <a:pt x="68" y="56"/>
                    </a:lnTo>
                    <a:lnTo>
                      <a:pt x="76" y="54"/>
                    </a:lnTo>
                    <a:lnTo>
                      <a:pt x="78" y="54"/>
                    </a:lnTo>
                    <a:lnTo>
                      <a:pt x="80" y="52"/>
                    </a:lnTo>
                    <a:lnTo>
                      <a:pt x="86" y="50"/>
                    </a:lnTo>
                    <a:lnTo>
                      <a:pt x="94" y="50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6" y="48"/>
                    </a:lnTo>
                    <a:lnTo>
                      <a:pt x="108" y="48"/>
                    </a:lnTo>
                    <a:lnTo>
                      <a:pt x="110" y="48"/>
                    </a:lnTo>
                    <a:lnTo>
                      <a:pt x="110" y="48"/>
                    </a:lnTo>
                    <a:lnTo>
                      <a:pt x="112" y="48"/>
                    </a:lnTo>
                    <a:lnTo>
                      <a:pt x="114" y="50"/>
                    </a:lnTo>
                    <a:lnTo>
                      <a:pt x="118" y="52"/>
                    </a:lnTo>
                    <a:lnTo>
                      <a:pt x="122" y="54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8" y="56"/>
                    </a:lnTo>
                    <a:lnTo>
                      <a:pt x="130" y="56"/>
                    </a:lnTo>
                    <a:lnTo>
                      <a:pt x="132" y="56"/>
                    </a:lnTo>
                    <a:lnTo>
                      <a:pt x="132" y="56"/>
                    </a:lnTo>
                    <a:lnTo>
                      <a:pt x="132" y="56"/>
                    </a:lnTo>
                    <a:lnTo>
                      <a:pt x="132" y="56"/>
                    </a:lnTo>
                    <a:lnTo>
                      <a:pt x="134" y="56"/>
                    </a:lnTo>
                    <a:lnTo>
                      <a:pt x="134" y="54"/>
                    </a:lnTo>
                    <a:lnTo>
                      <a:pt x="134" y="54"/>
                    </a:lnTo>
                    <a:lnTo>
                      <a:pt x="134" y="54"/>
                    </a:lnTo>
                    <a:lnTo>
                      <a:pt x="134" y="52"/>
                    </a:lnTo>
                    <a:lnTo>
                      <a:pt x="134" y="50"/>
                    </a:lnTo>
                    <a:lnTo>
                      <a:pt x="134" y="48"/>
                    </a:lnTo>
                    <a:lnTo>
                      <a:pt x="134" y="46"/>
                    </a:lnTo>
                    <a:lnTo>
                      <a:pt x="132" y="46"/>
                    </a:lnTo>
                    <a:lnTo>
                      <a:pt x="132" y="42"/>
                    </a:lnTo>
                    <a:lnTo>
                      <a:pt x="130" y="40"/>
                    </a:lnTo>
                    <a:lnTo>
                      <a:pt x="130" y="38"/>
                    </a:lnTo>
                    <a:lnTo>
                      <a:pt x="128" y="36"/>
                    </a:lnTo>
                    <a:lnTo>
                      <a:pt x="126" y="32"/>
                    </a:lnTo>
                    <a:lnTo>
                      <a:pt x="124" y="30"/>
                    </a:lnTo>
                    <a:lnTo>
                      <a:pt x="122" y="28"/>
                    </a:lnTo>
                    <a:lnTo>
                      <a:pt x="120" y="28"/>
                    </a:lnTo>
                    <a:lnTo>
                      <a:pt x="120" y="26"/>
                    </a:lnTo>
                    <a:lnTo>
                      <a:pt x="118" y="26"/>
                    </a:lnTo>
                    <a:lnTo>
                      <a:pt x="116" y="26"/>
                    </a:lnTo>
                    <a:lnTo>
                      <a:pt x="114" y="24"/>
                    </a:lnTo>
                    <a:lnTo>
                      <a:pt x="110" y="24"/>
                    </a:lnTo>
                    <a:lnTo>
                      <a:pt x="106" y="24"/>
                    </a:lnTo>
                    <a:lnTo>
                      <a:pt x="102" y="24"/>
                    </a:lnTo>
                    <a:lnTo>
                      <a:pt x="98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4" y="20"/>
                    </a:lnTo>
                    <a:lnTo>
                      <a:pt x="92" y="20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2" y="16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90" y="8"/>
                    </a:lnTo>
                    <a:lnTo>
                      <a:pt x="90" y="6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88" y="2"/>
                    </a:lnTo>
                    <a:lnTo>
                      <a:pt x="88" y="2"/>
                    </a:lnTo>
                    <a:lnTo>
                      <a:pt x="86" y="2"/>
                    </a:lnTo>
                    <a:lnTo>
                      <a:pt x="86" y="2"/>
                    </a:lnTo>
                    <a:lnTo>
                      <a:pt x="84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0" y="0"/>
                    </a:lnTo>
                    <a:lnTo>
                      <a:pt x="76" y="0"/>
                    </a:lnTo>
                    <a:lnTo>
                      <a:pt x="74" y="2"/>
                    </a:lnTo>
                    <a:lnTo>
                      <a:pt x="70" y="2"/>
                    </a:lnTo>
                    <a:lnTo>
                      <a:pt x="68" y="2"/>
                    </a:lnTo>
                    <a:lnTo>
                      <a:pt x="68" y="4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2"/>
                    </a:lnTo>
                    <a:lnTo>
                      <a:pt x="64" y="14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0" y="20"/>
                    </a:lnTo>
                    <a:lnTo>
                      <a:pt x="60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48" y="22"/>
                    </a:lnTo>
                    <a:lnTo>
                      <a:pt x="48" y="2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51" name="Freeform 548">
                <a:extLst>
                  <a:ext uri="{FF2B5EF4-FFF2-40B4-BE49-F238E27FC236}">
                    <a16:creationId xmlns:a16="http://schemas.microsoft.com/office/drawing/2014/main" id="{4F98870D-336C-4D9D-B53C-DD2D78BD1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5003" y="2352842"/>
                <a:ext cx="69850" cy="50800"/>
              </a:xfrm>
              <a:custGeom>
                <a:avLst/>
                <a:gdLst>
                  <a:gd name="T0" fmla="*/ 26 w 44"/>
                  <a:gd name="T1" fmla="*/ 2 h 32"/>
                  <a:gd name="T2" fmla="*/ 22 w 44"/>
                  <a:gd name="T3" fmla="*/ 2 h 32"/>
                  <a:gd name="T4" fmla="*/ 16 w 44"/>
                  <a:gd name="T5" fmla="*/ 2 h 32"/>
                  <a:gd name="T6" fmla="*/ 12 w 44"/>
                  <a:gd name="T7" fmla="*/ 2 h 32"/>
                  <a:gd name="T8" fmla="*/ 10 w 44"/>
                  <a:gd name="T9" fmla="*/ 2 h 32"/>
                  <a:gd name="T10" fmla="*/ 8 w 44"/>
                  <a:gd name="T11" fmla="*/ 4 h 32"/>
                  <a:gd name="T12" fmla="*/ 6 w 44"/>
                  <a:gd name="T13" fmla="*/ 6 h 32"/>
                  <a:gd name="T14" fmla="*/ 4 w 44"/>
                  <a:gd name="T15" fmla="*/ 10 h 32"/>
                  <a:gd name="T16" fmla="*/ 2 w 44"/>
                  <a:gd name="T17" fmla="*/ 14 h 32"/>
                  <a:gd name="T18" fmla="*/ 0 w 44"/>
                  <a:gd name="T19" fmla="*/ 22 h 32"/>
                  <a:gd name="T20" fmla="*/ 0 w 44"/>
                  <a:gd name="T21" fmla="*/ 26 h 32"/>
                  <a:gd name="T22" fmla="*/ 0 w 44"/>
                  <a:gd name="T23" fmla="*/ 30 h 32"/>
                  <a:gd name="T24" fmla="*/ 0 w 44"/>
                  <a:gd name="T25" fmla="*/ 30 h 32"/>
                  <a:gd name="T26" fmla="*/ 2 w 44"/>
                  <a:gd name="T27" fmla="*/ 32 h 32"/>
                  <a:gd name="T28" fmla="*/ 4 w 44"/>
                  <a:gd name="T29" fmla="*/ 32 h 32"/>
                  <a:gd name="T30" fmla="*/ 6 w 44"/>
                  <a:gd name="T31" fmla="*/ 32 h 32"/>
                  <a:gd name="T32" fmla="*/ 8 w 44"/>
                  <a:gd name="T33" fmla="*/ 30 h 32"/>
                  <a:gd name="T34" fmla="*/ 16 w 44"/>
                  <a:gd name="T35" fmla="*/ 24 h 32"/>
                  <a:gd name="T36" fmla="*/ 18 w 44"/>
                  <a:gd name="T37" fmla="*/ 22 h 32"/>
                  <a:gd name="T38" fmla="*/ 20 w 44"/>
                  <a:gd name="T39" fmla="*/ 20 h 32"/>
                  <a:gd name="T40" fmla="*/ 24 w 44"/>
                  <a:gd name="T41" fmla="*/ 20 h 32"/>
                  <a:gd name="T42" fmla="*/ 32 w 44"/>
                  <a:gd name="T43" fmla="*/ 18 h 32"/>
                  <a:gd name="T44" fmla="*/ 36 w 44"/>
                  <a:gd name="T45" fmla="*/ 18 h 32"/>
                  <a:gd name="T46" fmla="*/ 38 w 44"/>
                  <a:gd name="T47" fmla="*/ 16 h 32"/>
                  <a:gd name="T48" fmla="*/ 40 w 44"/>
                  <a:gd name="T49" fmla="*/ 14 h 32"/>
                  <a:gd name="T50" fmla="*/ 42 w 44"/>
                  <a:gd name="T51" fmla="*/ 10 h 32"/>
                  <a:gd name="T52" fmla="*/ 44 w 44"/>
                  <a:gd name="T53" fmla="*/ 6 h 32"/>
                  <a:gd name="T54" fmla="*/ 44 w 44"/>
                  <a:gd name="T55" fmla="*/ 2 h 32"/>
                  <a:gd name="T56" fmla="*/ 42 w 44"/>
                  <a:gd name="T57" fmla="*/ 0 h 32"/>
                  <a:gd name="T58" fmla="*/ 42 w 44"/>
                  <a:gd name="T59" fmla="*/ 0 h 32"/>
                  <a:gd name="T60" fmla="*/ 40 w 44"/>
                  <a:gd name="T61" fmla="*/ 0 h 32"/>
                  <a:gd name="T62" fmla="*/ 38 w 44"/>
                  <a:gd name="T63" fmla="*/ 0 h 32"/>
                  <a:gd name="T64" fmla="*/ 30 w 44"/>
                  <a:gd name="T65" fmla="*/ 2 h 32"/>
                  <a:gd name="T66" fmla="*/ 26 w 44"/>
                  <a:gd name="T67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4" h="32">
                    <a:moveTo>
                      <a:pt x="26" y="2"/>
                    </a:moveTo>
                    <a:lnTo>
                      <a:pt x="26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10" y="28"/>
                    </a:lnTo>
                    <a:lnTo>
                      <a:pt x="16" y="2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20"/>
                    </a:lnTo>
                    <a:lnTo>
                      <a:pt x="24" y="20"/>
                    </a:lnTo>
                    <a:lnTo>
                      <a:pt x="30" y="20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8" y="18"/>
                    </a:lnTo>
                    <a:lnTo>
                      <a:pt x="38" y="16"/>
                    </a:lnTo>
                    <a:lnTo>
                      <a:pt x="40" y="16"/>
                    </a:lnTo>
                    <a:lnTo>
                      <a:pt x="40" y="14"/>
                    </a:lnTo>
                    <a:lnTo>
                      <a:pt x="42" y="12"/>
                    </a:lnTo>
                    <a:lnTo>
                      <a:pt x="42" y="10"/>
                    </a:lnTo>
                    <a:lnTo>
                      <a:pt x="42" y="8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2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52" name="Freeform 550">
                <a:extLst>
                  <a:ext uri="{FF2B5EF4-FFF2-40B4-BE49-F238E27FC236}">
                    <a16:creationId xmlns:a16="http://schemas.microsoft.com/office/drawing/2014/main" id="{1E232ACF-91F6-4458-A4CB-FF812F4189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1828" y="2298867"/>
                <a:ext cx="79375" cy="41275"/>
              </a:xfrm>
              <a:custGeom>
                <a:avLst/>
                <a:gdLst>
                  <a:gd name="T0" fmla="*/ 14 w 50"/>
                  <a:gd name="T1" fmla="*/ 8 h 26"/>
                  <a:gd name="T2" fmla="*/ 14 w 50"/>
                  <a:gd name="T3" fmla="*/ 8 h 26"/>
                  <a:gd name="T4" fmla="*/ 16 w 50"/>
                  <a:gd name="T5" fmla="*/ 6 h 26"/>
                  <a:gd name="T6" fmla="*/ 20 w 50"/>
                  <a:gd name="T7" fmla="*/ 4 h 26"/>
                  <a:gd name="T8" fmla="*/ 20 w 50"/>
                  <a:gd name="T9" fmla="*/ 2 h 26"/>
                  <a:gd name="T10" fmla="*/ 22 w 50"/>
                  <a:gd name="T11" fmla="*/ 2 h 26"/>
                  <a:gd name="T12" fmla="*/ 24 w 50"/>
                  <a:gd name="T13" fmla="*/ 0 h 26"/>
                  <a:gd name="T14" fmla="*/ 26 w 50"/>
                  <a:gd name="T15" fmla="*/ 0 h 26"/>
                  <a:gd name="T16" fmla="*/ 28 w 50"/>
                  <a:gd name="T17" fmla="*/ 0 h 26"/>
                  <a:gd name="T18" fmla="*/ 30 w 50"/>
                  <a:gd name="T19" fmla="*/ 0 h 26"/>
                  <a:gd name="T20" fmla="*/ 32 w 50"/>
                  <a:gd name="T21" fmla="*/ 0 h 26"/>
                  <a:gd name="T22" fmla="*/ 34 w 50"/>
                  <a:gd name="T23" fmla="*/ 0 h 26"/>
                  <a:gd name="T24" fmla="*/ 38 w 50"/>
                  <a:gd name="T25" fmla="*/ 0 h 26"/>
                  <a:gd name="T26" fmla="*/ 40 w 50"/>
                  <a:gd name="T27" fmla="*/ 0 h 26"/>
                  <a:gd name="T28" fmla="*/ 42 w 50"/>
                  <a:gd name="T29" fmla="*/ 2 h 26"/>
                  <a:gd name="T30" fmla="*/ 42 w 50"/>
                  <a:gd name="T31" fmla="*/ 2 h 26"/>
                  <a:gd name="T32" fmla="*/ 44 w 50"/>
                  <a:gd name="T33" fmla="*/ 4 h 26"/>
                  <a:gd name="T34" fmla="*/ 46 w 50"/>
                  <a:gd name="T35" fmla="*/ 4 h 26"/>
                  <a:gd name="T36" fmla="*/ 46 w 50"/>
                  <a:gd name="T37" fmla="*/ 6 h 26"/>
                  <a:gd name="T38" fmla="*/ 48 w 50"/>
                  <a:gd name="T39" fmla="*/ 8 h 26"/>
                  <a:gd name="T40" fmla="*/ 50 w 50"/>
                  <a:gd name="T41" fmla="*/ 10 h 26"/>
                  <a:gd name="T42" fmla="*/ 50 w 50"/>
                  <a:gd name="T43" fmla="*/ 12 h 26"/>
                  <a:gd name="T44" fmla="*/ 50 w 50"/>
                  <a:gd name="T45" fmla="*/ 12 h 26"/>
                  <a:gd name="T46" fmla="*/ 50 w 50"/>
                  <a:gd name="T47" fmla="*/ 14 h 26"/>
                  <a:gd name="T48" fmla="*/ 50 w 50"/>
                  <a:gd name="T49" fmla="*/ 14 h 26"/>
                  <a:gd name="T50" fmla="*/ 50 w 50"/>
                  <a:gd name="T51" fmla="*/ 14 h 26"/>
                  <a:gd name="T52" fmla="*/ 50 w 50"/>
                  <a:gd name="T53" fmla="*/ 16 h 26"/>
                  <a:gd name="T54" fmla="*/ 50 w 50"/>
                  <a:gd name="T55" fmla="*/ 16 h 26"/>
                  <a:gd name="T56" fmla="*/ 48 w 50"/>
                  <a:gd name="T57" fmla="*/ 18 h 26"/>
                  <a:gd name="T58" fmla="*/ 46 w 50"/>
                  <a:gd name="T59" fmla="*/ 18 h 26"/>
                  <a:gd name="T60" fmla="*/ 46 w 50"/>
                  <a:gd name="T61" fmla="*/ 18 h 26"/>
                  <a:gd name="T62" fmla="*/ 44 w 50"/>
                  <a:gd name="T63" fmla="*/ 20 h 26"/>
                  <a:gd name="T64" fmla="*/ 40 w 50"/>
                  <a:gd name="T65" fmla="*/ 20 h 26"/>
                  <a:gd name="T66" fmla="*/ 38 w 50"/>
                  <a:gd name="T67" fmla="*/ 20 h 26"/>
                  <a:gd name="T68" fmla="*/ 34 w 50"/>
                  <a:gd name="T69" fmla="*/ 20 h 26"/>
                  <a:gd name="T70" fmla="*/ 30 w 50"/>
                  <a:gd name="T71" fmla="*/ 22 h 26"/>
                  <a:gd name="T72" fmla="*/ 28 w 50"/>
                  <a:gd name="T73" fmla="*/ 22 h 26"/>
                  <a:gd name="T74" fmla="*/ 26 w 50"/>
                  <a:gd name="T75" fmla="*/ 22 h 26"/>
                  <a:gd name="T76" fmla="*/ 22 w 50"/>
                  <a:gd name="T77" fmla="*/ 24 h 26"/>
                  <a:gd name="T78" fmla="*/ 18 w 50"/>
                  <a:gd name="T79" fmla="*/ 24 h 26"/>
                  <a:gd name="T80" fmla="*/ 14 w 50"/>
                  <a:gd name="T81" fmla="*/ 26 h 26"/>
                  <a:gd name="T82" fmla="*/ 12 w 50"/>
                  <a:gd name="T83" fmla="*/ 26 h 26"/>
                  <a:gd name="T84" fmla="*/ 10 w 50"/>
                  <a:gd name="T85" fmla="*/ 26 h 26"/>
                  <a:gd name="T86" fmla="*/ 8 w 50"/>
                  <a:gd name="T87" fmla="*/ 26 h 26"/>
                  <a:gd name="T88" fmla="*/ 6 w 50"/>
                  <a:gd name="T89" fmla="*/ 26 h 26"/>
                  <a:gd name="T90" fmla="*/ 4 w 50"/>
                  <a:gd name="T91" fmla="*/ 26 h 26"/>
                  <a:gd name="T92" fmla="*/ 2 w 50"/>
                  <a:gd name="T93" fmla="*/ 26 h 26"/>
                  <a:gd name="T94" fmla="*/ 2 w 50"/>
                  <a:gd name="T95" fmla="*/ 26 h 26"/>
                  <a:gd name="T96" fmla="*/ 2 w 50"/>
                  <a:gd name="T97" fmla="*/ 26 h 26"/>
                  <a:gd name="T98" fmla="*/ 2 w 50"/>
                  <a:gd name="T99" fmla="*/ 26 h 26"/>
                  <a:gd name="T100" fmla="*/ 0 w 50"/>
                  <a:gd name="T101" fmla="*/ 24 h 26"/>
                  <a:gd name="T102" fmla="*/ 0 w 50"/>
                  <a:gd name="T103" fmla="*/ 24 h 26"/>
                  <a:gd name="T104" fmla="*/ 0 w 50"/>
                  <a:gd name="T105" fmla="*/ 22 h 26"/>
                  <a:gd name="T106" fmla="*/ 0 w 50"/>
                  <a:gd name="T107" fmla="*/ 22 h 26"/>
                  <a:gd name="T108" fmla="*/ 2 w 50"/>
                  <a:gd name="T109" fmla="*/ 20 h 26"/>
                  <a:gd name="T110" fmla="*/ 2 w 50"/>
                  <a:gd name="T111" fmla="*/ 20 h 26"/>
                  <a:gd name="T112" fmla="*/ 2 w 50"/>
                  <a:gd name="T113" fmla="*/ 18 h 26"/>
                  <a:gd name="T114" fmla="*/ 4 w 50"/>
                  <a:gd name="T115" fmla="*/ 16 h 26"/>
                  <a:gd name="T116" fmla="*/ 8 w 50"/>
                  <a:gd name="T117" fmla="*/ 14 h 26"/>
                  <a:gd name="T118" fmla="*/ 10 w 50"/>
                  <a:gd name="T119" fmla="*/ 10 h 26"/>
                  <a:gd name="T120" fmla="*/ 14 w 50"/>
                  <a:gd name="T121" fmla="*/ 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" h="26">
                    <a:moveTo>
                      <a:pt x="14" y="8"/>
                    </a:moveTo>
                    <a:lnTo>
                      <a:pt x="14" y="8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2"/>
                    </a:lnTo>
                    <a:lnTo>
                      <a:pt x="22" y="2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6"/>
                    </a:lnTo>
                    <a:lnTo>
                      <a:pt x="48" y="8"/>
                    </a:lnTo>
                    <a:lnTo>
                      <a:pt x="50" y="10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48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6" y="22"/>
                    </a:lnTo>
                    <a:lnTo>
                      <a:pt x="22" y="24"/>
                    </a:lnTo>
                    <a:lnTo>
                      <a:pt x="18" y="24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8"/>
                    </a:lnTo>
                    <a:lnTo>
                      <a:pt x="4" y="16"/>
                    </a:lnTo>
                    <a:lnTo>
                      <a:pt x="8" y="14"/>
                    </a:lnTo>
                    <a:lnTo>
                      <a:pt x="10" y="10"/>
                    </a:lnTo>
                    <a:lnTo>
                      <a:pt x="14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53" name="Freeform 552">
                <a:extLst>
                  <a:ext uri="{FF2B5EF4-FFF2-40B4-BE49-F238E27FC236}">
                    <a16:creationId xmlns:a16="http://schemas.microsoft.com/office/drawing/2014/main" id="{F0F4AA56-0B51-45EA-ADE1-198889AFBD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0578" y="2298867"/>
                <a:ext cx="107950" cy="73025"/>
              </a:xfrm>
              <a:custGeom>
                <a:avLst/>
                <a:gdLst>
                  <a:gd name="T0" fmla="*/ 12 w 68"/>
                  <a:gd name="T1" fmla="*/ 0 h 46"/>
                  <a:gd name="T2" fmla="*/ 14 w 68"/>
                  <a:gd name="T3" fmla="*/ 0 h 46"/>
                  <a:gd name="T4" fmla="*/ 18 w 68"/>
                  <a:gd name="T5" fmla="*/ 0 h 46"/>
                  <a:gd name="T6" fmla="*/ 26 w 68"/>
                  <a:gd name="T7" fmla="*/ 2 h 46"/>
                  <a:gd name="T8" fmla="*/ 34 w 68"/>
                  <a:gd name="T9" fmla="*/ 4 h 46"/>
                  <a:gd name="T10" fmla="*/ 42 w 68"/>
                  <a:gd name="T11" fmla="*/ 6 h 46"/>
                  <a:gd name="T12" fmla="*/ 46 w 68"/>
                  <a:gd name="T13" fmla="*/ 6 h 46"/>
                  <a:gd name="T14" fmla="*/ 48 w 68"/>
                  <a:gd name="T15" fmla="*/ 8 h 46"/>
                  <a:gd name="T16" fmla="*/ 54 w 68"/>
                  <a:gd name="T17" fmla="*/ 14 h 46"/>
                  <a:gd name="T18" fmla="*/ 58 w 68"/>
                  <a:gd name="T19" fmla="*/ 18 h 46"/>
                  <a:gd name="T20" fmla="*/ 62 w 68"/>
                  <a:gd name="T21" fmla="*/ 24 h 46"/>
                  <a:gd name="T22" fmla="*/ 64 w 68"/>
                  <a:gd name="T23" fmla="*/ 28 h 46"/>
                  <a:gd name="T24" fmla="*/ 66 w 68"/>
                  <a:gd name="T25" fmla="*/ 32 h 46"/>
                  <a:gd name="T26" fmla="*/ 68 w 68"/>
                  <a:gd name="T27" fmla="*/ 36 h 46"/>
                  <a:gd name="T28" fmla="*/ 68 w 68"/>
                  <a:gd name="T29" fmla="*/ 38 h 46"/>
                  <a:gd name="T30" fmla="*/ 68 w 68"/>
                  <a:gd name="T31" fmla="*/ 40 h 46"/>
                  <a:gd name="T32" fmla="*/ 66 w 68"/>
                  <a:gd name="T33" fmla="*/ 42 h 46"/>
                  <a:gd name="T34" fmla="*/ 62 w 68"/>
                  <a:gd name="T35" fmla="*/ 44 h 46"/>
                  <a:gd name="T36" fmla="*/ 58 w 68"/>
                  <a:gd name="T37" fmla="*/ 46 h 46"/>
                  <a:gd name="T38" fmla="*/ 54 w 68"/>
                  <a:gd name="T39" fmla="*/ 46 h 46"/>
                  <a:gd name="T40" fmla="*/ 48 w 68"/>
                  <a:gd name="T41" fmla="*/ 46 h 46"/>
                  <a:gd name="T42" fmla="*/ 44 w 68"/>
                  <a:gd name="T43" fmla="*/ 46 h 46"/>
                  <a:gd name="T44" fmla="*/ 40 w 68"/>
                  <a:gd name="T45" fmla="*/ 46 h 46"/>
                  <a:gd name="T46" fmla="*/ 36 w 68"/>
                  <a:gd name="T47" fmla="*/ 46 h 46"/>
                  <a:gd name="T48" fmla="*/ 36 w 68"/>
                  <a:gd name="T49" fmla="*/ 44 h 46"/>
                  <a:gd name="T50" fmla="*/ 34 w 68"/>
                  <a:gd name="T51" fmla="*/ 42 h 46"/>
                  <a:gd name="T52" fmla="*/ 34 w 68"/>
                  <a:gd name="T53" fmla="*/ 38 h 46"/>
                  <a:gd name="T54" fmla="*/ 32 w 68"/>
                  <a:gd name="T55" fmla="*/ 34 h 46"/>
                  <a:gd name="T56" fmla="*/ 30 w 68"/>
                  <a:gd name="T57" fmla="*/ 32 h 46"/>
                  <a:gd name="T58" fmla="*/ 30 w 68"/>
                  <a:gd name="T59" fmla="*/ 30 h 46"/>
                  <a:gd name="T60" fmla="*/ 28 w 68"/>
                  <a:gd name="T61" fmla="*/ 30 h 46"/>
                  <a:gd name="T62" fmla="*/ 26 w 68"/>
                  <a:gd name="T63" fmla="*/ 30 h 46"/>
                  <a:gd name="T64" fmla="*/ 20 w 68"/>
                  <a:gd name="T65" fmla="*/ 28 h 46"/>
                  <a:gd name="T66" fmla="*/ 16 w 68"/>
                  <a:gd name="T67" fmla="*/ 28 h 46"/>
                  <a:gd name="T68" fmla="*/ 12 w 68"/>
                  <a:gd name="T69" fmla="*/ 28 h 46"/>
                  <a:gd name="T70" fmla="*/ 10 w 68"/>
                  <a:gd name="T71" fmla="*/ 26 h 46"/>
                  <a:gd name="T72" fmla="*/ 6 w 68"/>
                  <a:gd name="T73" fmla="*/ 22 h 46"/>
                  <a:gd name="T74" fmla="*/ 2 w 68"/>
                  <a:gd name="T75" fmla="*/ 18 h 46"/>
                  <a:gd name="T76" fmla="*/ 0 w 68"/>
                  <a:gd name="T77" fmla="*/ 14 h 46"/>
                  <a:gd name="T78" fmla="*/ 0 w 68"/>
                  <a:gd name="T79" fmla="*/ 12 h 46"/>
                  <a:gd name="T80" fmla="*/ 0 w 68"/>
                  <a:gd name="T81" fmla="*/ 10 h 46"/>
                  <a:gd name="T82" fmla="*/ 0 w 68"/>
                  <a:gd name="T83" fmla="*/ 8 h 46"/>
                  <a:gd name="T84" fmla="*/ 0 w 68"/>
                  <a:gd name="T85" fmla="*/ 6 h 46"/>
                  <a:gd name="T86" fmla="*/ 4 w 68"/>
                  <a:gd name="T87" fmla="*/ 4 h 46"/>
                  <a:gd name="T88" fmla="*/ 8 w 68"/>
                  <a:gd name="T89" fmla="*/ 2 h 46"/>
                  <a:gd name="T90" fmla="*/ 12 w 68"/>
                  <a:gd name="T91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8" h="4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6" y="6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12"/>
                    </a:lnTo>
                    <a:lnTo>
                      <a:pt x="54" y="14"/>
                    </a:lnTo>
                    <a:lnTo>
                      <a:pt x="56" y="16"/>
                    </a:lnTo>
                    <a:lnTo>
                      <a:pt x="58" y="18"/>
                    </a:lnTo>
                    <a:lnTo>
                      <a:pt x="60" y="20"/>
                    </a:lnTo>
                    <a:lnTo>
                      <a:pt x="62" y="24"/>
                    </a:lnTo>
                    <a:lnTo>
                      <a:pt x="62" y="26"/>
                    </a:lnTo>
                    <a:lnTo>
                      <a:pt x="64" y="28"/>
                    </a:lnTo>
                    <a:lnTo>
                      <a:pt x="66" y="30"/>
                    </a:lnTo>
                    <a:lnTo>
                      <a:pt x="66" y="32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6" y="42"/>
                    </a:lnTo>
                    <a:lnTo>
                      <a:pt x="66" y="42"/>
                    </a:lnTo>
                    <a:lnTo>
                      <a:pt x="64" y="44"/>
                    </a:lnTo>
                    <a:lnTo>
                      <a:pt x="62" y="44"/>
                    </a:lnTo>
                    <a:lnTo>
                      <a:pt x="60" y="46"/>
                    </a:lnTo>
                    <a:lnTo>
                      <a:pt x="58" y="46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48" y="46"/>
                    </a:lnTo>
                    <a:lnTo>
                      <a:pt x="46" y="46"/>
                    </a:lnTo>
                    <a:lnTo>
                      <a:pt x="44" y="46"/>
                    </a:lnTo>
                    <a:lnTo>
                      <a:pt x="42" y="46"/>
                    </a:lnTo>
                    <a:lnTo>
                      <a:pt x="40" y="46"/>
                    </a:lnTo>
                    <a:lnTo>
                      <a:pt x="38" y="46"/>
                    </a:lnTo>
                    <a:lnTo>
                      <a:pt x="36" y="46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4" y="42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2" y="36"/>
                    </a:lnTo>
                    <a:lnTo>
                      <a:pt x="32" y="34"/>
                    </a:lnTo>
                    <a:lnTo>
                      <a:pt x="32" y="32"/>
                    </a:lnTo>
                    <a:lnTo>
                      <a:pt x="30" y="32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0" y="26"/>
                    </a:lnTo>
                    <a:lnTo>
                      <a:pt x="8" y="24"/>
                    </a:lnTo>
                    <a:lnTo>
                      <a:pt x="6" y="22"/>
                    </a:lnTo>
                    <a:lnTo>
                      <a:pt x="4" y="20"/>
                    </a:lnTo>
                    <a:lnTo>
                      <a:pt x="2" y="18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54" name="Freeform 554">
                <a:extLst>
                  <a:ext uri="{FF2B5EF4-FFF2-40B4-BE49-F238E27FC236}">
                    <a16:creationId xmlns:a16="http://schemas.microsoft.com/office/drawing/2014/main" id="{67A3CB61-A96D-4420-B865-C4E69F383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7403" y="2517942"/>
                <a:ext cx="104775" cy="114300"/>
              </a:xfrm>
              <a:custGeom>
                <a:avLst/>
                <a:gdLst>
                  <a:gd name="T0" fmla="*/ 22 w 66"/>
                  <a:gd name="T1" fmla="*/ 8 h 72"/>
                  <a:gd name="T2" fmla="*/ 24 w 66"/>
                  <a:gd name="T3" fmla="*/ 10 h 72"/>
                  <a:gd name="T4" fmla="*/ 26 w 66"/>
                  <a:gd name="T5" fmla="*/ 20 h 72"/>
                  <a:gd name="T6" fmla="*/ 28 w 66"/>
                  <a:gd name="T7" fmla="*/ 22 h 72"/>
                  <a:gd name="T8" fmla="*/ 28 w 66"/>
                  <a:gd name="T9" fmla="*/ 32 h 72"/>
                  <a:gd name="T10" fmla="*/ 28 w 66"/>
                  <a:gd name="T11" fmla="*/ 38 h 72"/>
                  <a:gd name="T12" fmla="*/ 26 w 66"/>
                  <a:gd name="T13" fmla="*/ 40 h 72"/>
                  <a:gd name="T14" fmla="*/ 24 w 66"/>
                  <a:gd name="T15" fmla="*/ 40 h 72"/>
                  <a:gd name="T16" fmla="*/ 22 w 66"/>
                  <a:gd name="T17" fmla="*/ 40 h 72"/>
                  <a:gd name="T18" fmla="*/ 18 w 66"/>
                  <a:gd name="T19" fmla="*/ 38 h 72"/>
                  <a:gd name="T20" fmla="*/ 10 w 66"/>
                  <a:gd name="T21" fmla="*/ 30 h 72"/>
                  <a:gd name="T22" fmla="*/ 6 w 66"/>
                  <a:gd name="T23" fmla="*/ 28 h 72"/>
                  <a:gd name="T24" fmla="*/ 4 w 66"/>
                  <a:gd name="T25" fmla="*/ 28 h 72"/>
                  <a:gd name="T26" fmla="*/ 2 w 66"/>
                  <a:gd name="T27" fmla="*/ 28 h 72"/>
                  <a:gd name="T28" fmla="*/ 0 w 66"/>
                  <a:gd name="T29" fmla="*/ 32 h 72"/>
                  <a:gd name="T30" fmla="*/ 0 w 66"/>
                  <a:gd name="T31" fmla="*/ 40 h 72"/>
                  <a:gd name="T32" fmla="*/ 0 w 66"/>
                  <a:gd name="T33" fmla="*/ 44 h 72"/>
                  <a:gd name="T34" fmla="*/ 4 w 66"/>
                  <a:gd name="T35" fmla="*/ 46 h 72"/>
                  <a:gd name="T36" fmla="*/ 16 w 66"/>
                  <a:gd name="T37" fmla="*/ 52 h 72"/>
                  <a:gd name="T38" fmla="*/ 20 w 66"/>
                  <a:gd name="T39" fmla="*/ 56 h 72"/>
                  <a:gd name="T40" fmla="*/ 26 w 66"/>
                  <a:gd name="T41" fmla="*/ 62 h 72"/>
                  <a:gd name="T42" fmla="*/ 30 w 66"/>
                  <a:gd name="T43" fmla="*/ 68 h 72"/>
                  <a:gd name="T44" fmla="*/ 32 w 66"/>
                  <a:gd name="T45" fmla="*/ 70 h 72"/>
                  <a:gd name="T46" fmla="*/ 42 w 66"/>
                  <a:gd name="T47" fmla="*/ 72 h 72"/>
                  <a:gd name="T48" fmla="*/ 50 w 66"/>
                  <a:gd name="T49" fmla="*/ 72 h 72"/>
                  <a:gd name="T50" fmla="*/ 54 w 66"/>
                  <a:gd name="T51" fmla="*/ 70 h 72"/>
                  <a:gd name="T52" fmla="*/ 56 w 66"/>
                  <a:gd name="T53" fmla="*/ 68 h 72"/>
                  <a:gd name="T54" fmla="*/ 60 w 66"/>
                  <a:gd name="T55" fmla="*/ 64 h 72"/>
                  <a:gd name="T56" fmla="*/ 64 w 66"/>
                  <a:gd name="T57" fmla="*/ 54 h 72"/>
                  <a:gd name="T58" fmla="*/ 66 w 66"/>
                  <a:gd name="T59" fmla="*/ 48 h 72"/>
                  <a:gd name="T60" fmla="*/ 66 w 66"/>
                  <a:gd name="T61" fmla="*/ 46 h 72"/>
                  <a:gd name="T62" fmla="*/ 62 w 66"/>
                  <a:gd name="T63" fmla="*/ 40 h 72"/>
                  <a:gd name="T64" fmla="*/ 58 w 66"/>
                  <a:gd name="T65" fmla="*/ 32 h 72"/>
                  <a:gd name="T66" fmla="*/ 58 w 66"/>
                  <a:gd name="T67" fmla="*/ 28 h 72"/>
                  <a:gd name="T68" fmla="*/ 60 w 66"/>
                  <a:gd name="T69" fmla="*/ 20 h 72"/>
                  <a:gd name="T70" fmla="*/ 62 w 66"/>
                  <a:gd name="T71" fmla="*/ 10 h 72"/>
                  <a:gd name="T72" fmla="*/ 62 w 66"/>
                  <a:gd name="T73" fmla="*/ 4 h 72"/>
                  <a:gd name="T74" fmla="*/ 60 w 66"/>
                  <a:gd name="T75" fmla="*/ 2 h 72"/>
                  <a:gd name="T76" fmla="*/ 58 w 66"/>
                  <a:gd name="T77" fmla="*/ 0 h 72"/>
                  <a:gd name="T78" fmla="*/ 50 w 66"/>
                  <a:gd name="T79" fmla="*/ 0 h 72"/>
                  <a:gd name="T80" fmla="*/ 42 w 66"/>
                  <a:gd name="T81" fmla="*/ 0 h 72"/>
                  <a:gd name="T82" fmla="*/ 32 w 66"/>
                  <a:gd name="T83" fmla="*/ 2 h 72"/>
                  <a:gd name="T84" fmla="*/ 26 w 66"/>
                  <a:gd name="T85" fmla="*/ 4 h 72"/>
                  <a:gd name="T86" fmla="*/ 24 w 66"/>
                  <a:gd name="T87" fmla="*/ 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6" h="72">
                    <a:moveTo>
                      <a:pt x="24" y="8"/>
                    </a:moveTo>
                    <a:lnTo>
                      <a:pt x="24" y="8"/>
                    </a:lnTo>
                    <a:lnTo>
                      <a:pt x="22" y="8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4" y="10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6" y="20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8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0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34"/>
                    </a:lnTo>
                    <a:lnTo>
                      <a:pt x="12" y="32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4" y="46"/>
                    </a:lnTo>
                    <a:lnTo>
                      <a:pt x="6" y="48"/>
                    </a:lnTo>
                    <a:lnTo>
                      <a:pt x="10" y="50"/>
                    </a:lnTo>
                    <a:lnTo>
                      <a:pt x="16" y="52"/>
                    </a:lnTo>
                    <a:lnTo>
                      <a:pt x="18" y="54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2" y="56"/>
                    </a:lnTo>
                    <a:lnTo>
                      <a:pt x="24" y="58"/>
                    </a:lnTo>
                    <a:lnTo>
                      <a:pt x="26" y="62"/>
                    </a:lnTo>
                    <a:lnTo>
                      <a:pt x="26" y="64"/>
                    </a:lnTo>
                    <a:lnTo>
                      <a:pt x="28" y="66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2" y="70"/>
                    </a:lnTo>
                    <a:lnTo>
                      <a:pt x="36" y="70"/>
                    </a:lnTo>
                    <a:lnTo>
                      <a:pt x="38" y="72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50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58" y="68"/>
                    </a:lnTo>
                    <a:lnTo>
                      <a:pt x="58" y="6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4" y="58"/>
                    </a:lnTo>
                    <a:lnTo>
                      <a:pt x="64" y="54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48"/>
                    </a:lnTo>
                    <a:lnTo>
                      <a:pt x="66" y="48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4" y="44"/>
                    </a:lnTo>
                    <a:lnTo>
                      <a:pt x="64" y="42"/>
                    </a:lnTo>
                    <a:lnTo>
                      <a:pt x="62" y="40"/>
                    </a:lnTo>
                    <a:lnTo>
                      <a:pt x="60" y="34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28"/>
                    </a:lnTo>
                    <a:lnTo>
                      <a:pt x="58" y="26"/>
                    </a:lnTo>
                    <a:lnTo>
                      <a:pt x="58" y="24"/>
                    </a:lnTo>
                    <a:lnTo>
                      <a:pt x="60" y="20"/>
                    </a:lnTo>
                    <a:lnTo>
                      <a:pt x="60" y="16"/>
                    </a:lnTo>
                    <a:lnTo>
                      <a:pt x="62" y="12"/>
                    </a:lnTo>
                    <a:lnTo>
                      <a:pt x="62" y="10"/>
                    </a:lnTo>
                    <a:lnTo>
                      <a:pt x="62" y="8"/>
                    </a:lnTo>
                    <a:lnTo>
                      <a:pt x="62" y="6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48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2" y="2"/>
                    </a:lnTo>
                    <a:lnTo>
                      <a:pt x="30" y="2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55" name="Freeform 556">
                <a:extLst>
                  <a:ext uri="{FF2B5EF4-FFF2-40B4-BE49-F238E27FC236}">
                    <a16:creationId xmlns:a16="http://schemas.microsoft.com/office/drawing/2014/main" id="{3593ED1E-F281-48BB-A53C-8E32E2B67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628" y="2679867"/>
                <a:ext cx="66675" cy="53975"/>
              </a:xfrm>
              <a:custGeom>
                <a:avLst/>
                <a:gdLst>
                  <a:gd name="T0" fmla="*/ 22 w 42"/>
                  <a:gd name="T1" fmla="*/ 0 h 34"/>
                  <a:gd name="T2" fmla="*/ 22 w 42"/>
                  <a:gd name="T3" fmla="*/ 0 h 34"/>
                  <a:gd name="T4" fmla="*/ 20 w 42"/>
                  <a:gd name="T5" fmla="*/ 0 h 34"/>
                  <a:gd name="T6" fmla="*/ 20 w 42"/>
                  <a:gd name="T7" fmla="*/ 2 h 34"/>
                  <a:gd name="T8" fmla="*/ 18 w 42"/>
                  <a:gd name="T9" fmla="*/ 2 h 34"/>
                  <a:gd name="T10" fmla="*/ 18 w 42"/>
                  <a:gd name="T11" fmla="*/ 2 h 34"/>
                  <a:gd name="T12" fmla="*/ 16 w 42"/>
                  <a:gd name="T13" fmla="*/ 4 h 34"/>
                  <a:gd name="T14" fmla="*/ 14 w 42"/>
                  <a:gd name="T15" fmla="*/ 4 h 34"/>
                  <a:gd name="T16" fmla="*/ 12 w 42"/>
                  <a:gd name="T17" fmla="*/ 6 h 34"/>
                  <a:gd name="T18" fmla="*/ 10 w 42"/>
                  <a:gd name="T19" fmla="*/ 8 h 34"/>
                  <a:gd name="T20" fmla="*/ 8 w 42"/>
                  <a:gd name="T21" fmla="*/ 10 h 34"/>
                  <a:gd name="T22" fmla="*/ 6 w 42"/>
                  <a:gd name="T23" fmla="*/ 12 h 34"/>
                  <a:gd name="T24" fmla="*/ 6 w 42"/>
                  <a:gd name="T25" fmla="*/ 12 h 34"/>
                  <a:gd name="T26" fmla="*/ 4 w 42"/>
                  <a:gd name="T27" fmla="*/ 16 h 34"/>
                  <a:gd name="T28" fmla="*/ 2 w 42"/>
                  <a:gd name="T29" fmla="*/ 18 h 34"/>
                  <a:gd name="T30" fmla="*/ 2 w 42"/>
                  <a:gd name="T31" fmla="*/ 20 h 34"/>
                  <a:gd name="T32" fmla="*/ 0 w 42"/>
                  <a:gd name="T33" fmla="*/ 22 h 34"/>
                  <a:gd name="T34" fmla="*/ 0 w 42"/>
                  <a:gd name="T35" fmla="*/ 24 h 34"/>
                  <a:gd name="T36" fmla="*/ 0 w 42"/>
                  <a:gd name="T37" fmla="*/ 26 h 34"/>
                  <a:gd name="T38" fmla="*/ 0 w 42"/>
                  <a:gd name="T39" fmla="*/ 26 h 34"/>
                  <a:gd name="T40" fmla="*/ 0 w 42"/>
                  <a:gd name="T41" fmla="*/ 28 h 34"/>
                  <a:gd name="T42" fmla="*/ 0 w 42"/>
                  <a:gd name="T43" fmla="*/ 28 h 34"/>
                  <a:gd name="T44" fmla="*/ 2 w 42"/>
                  <a:gd name="T45" fmla="*/ 30 h 34"/>
                  <a:gd name="T46" fmla="*/ 2 w 42"/>
                  <a:gd name="T47" fmla="*/ 30 h 34"/>
                  <a:gd name="T48" fmla="*/ 4 w 42"/>
                  <a:gd name="T49" fmla="*/ 32 h 34"/>
                  <a:gd name="T50" fmla="*/ 4 w 42"/>
                  <a:gd name="T51" fmla="*/ 32 h 34"/>
                  <a:gd name="T52" fmla="*/ 6 w 42"/>
                  <a:gd name="T53" fmla="*/ 32 h 34"/>
                  <a:gd name="T54" fmla="*/ 8 w 42"/>
                  <a:gd name="T55" fmla="*/ 32 h 34"/>
                  <a:gd name="T56" fmla="*/ 10 w 42"/>
                  <a:gd name="T57" fmla="*/ 32 h 34"/>
                  <a:gd name="T58" fmla="*/ 12 w 42"/>
                  <a:gd name="T59" fmla="*/ 34 h 34"/>
                  <a:gd name="T60" fmla="*/ 14 w 42"/>
                  <a:gd name="T61" fmla="*/ 34 h 34"/>
                  <a:gd name="T62" fmla="*/ 18 w 42"/>
                  <a:gd name="T63" fmla="*/ 34 h 34"/>
                  <a:gd name="T64" fmla="*/ 20 w 42"/>
                  <a:gd name="T65" fmla="*/ 32 h 34"/>
                  <a:gd name="T66" fmla="*/ 24 w 42"/>
                  <a:gd name="T67" fmla="*/ 32 h 34"/>
                  <a:gd name="T68" fmla="*/ 26 w 42"/>
                  <a:gd name="T69" fmla="*/ 32 h 34"/>
                  <a:gd name="T70" fmla="*/ 28 w 42"/>
                  <a:gd name="T71" fmla="*/ 32 h 34"/>
                  <a:gd name="T72" fmla="*/ 32 w 42"/>
                  <a:gd name="T73" fmla="*/ 30 h 34"/>
                  <a:gd name="T74" fmla="*/ 34 w 42"/>
                  <a:gd name="T75" fmla="*/ 30 h 34"/>
                  <a:gd name="T76" fmla="*/ 36 w 42"/>
                  <a:gd name="T77" fmla="*/ 28 h 34"/>
                  <a:gd name="T78" fmla="*/ 38 w 42"/>
                  <a:gd name="T79" fmla="*/ 26 h 34"/>
                  <a:gd name="T80" fmla="*/ 40 w 42"/>
                  <a:gd name="T81" fmla="*/ 26 h 34"/>
                  <a:gd name="T82" fmla="*/ 40 w 42"/>
                  <a:gd name="T83" fmla="*/ 26 h 34"/>
                  <a:gd name="T84" fmla="*/ 42 w 42"/>
                  <a:gd name="T85" fmla="*/ 24 h 34"/>
                  <a:gd name="T86" fmla="*/ 42 w 42"/>
                  <a:gd name="T87" fmla="*/ 24 h 34"/>
                  <a:gd name="T88" fmla="*/ 42 w 42"/>
                  <a:gd name="T89" fmla="*/ 22 h 34"/>
                  <a:gd name="T90" fmla="*/ 42 w 42"/>
                  <a:gd name="T91" fmla="*/ 22 h 34"/>
                  <a:gd name="T92" fmla="*/ 42 w 42"/>
                  <a:gd name="T93" fmla="*/ 20 h 34"/>
                  <a:gd name="T94" fmla="*/ 42 w 42"/>
                  <a:gd name="T95" fmla="*/ 18 h 34"/>
                  <a:gd name="T96" fmla="*/ 42 w 42"/>
                  <a:gd name="T97" fmla="*/ 18 h 34"/>
                  <a:gd name="T98" fmla="*/ 40 w 42"/>
                  <a:gd name="T99" fmla="*/ 16 h 34"/>
                  <a:gd name="T100" fmla="*/ 40 w 42"/>
                  <a:gd name="T101" fmla="*/ 14 h 34"/>
                  <a:gd name="T102" fmla="*/ 38 w 42"/>
                  <a:gd name="T103" fmla="*/ 12 h 34"/>
                  <a:gd name="T104" fmla="*/ 36 w 42"/>
                  <a:gd name="T105" fmla="*/ 10 h 34"/>
                  <a:gd name="T106" fmla="*/ 36 w 42"/>
                  <a:gd name="T107" fmla="*/ 8 h 34"/>
                  <a:gd name="T108" fmla="*/ 34 w 42"/>
                  <a:gd name="T109" fmla="*/ 8 h 34"/>
                  <a:gd name="T110" fmla="*/ 32 w 42"/>
                  <a:gd name="T111" fmla="*/ 6 h 34"/>
                  <a:gd name="T112" fmla="*/ 30 w 42"/>
                  <a:gd name="T113" fmla="*/ 4 h 34"/>
                  <a:gd name="T114" fmla="*/ 28 w 42"/>
                  <a:gd name="T115" fmla="*/ 4 h 34"/>
                  <a:gd name="T116" fmla="*/ 26 w 42"/>
                  <a:gd name="T117" fmla="*/ 2 h 34"/>
                  <a:gd name="T118" fmla="*/ 24 w 42"/>
                  <a:gd name="T119" fmla="*/ 2 h 34"/>
                  <a:gd name="T120" fmla="*/ 24 w 42"/>
                  <a:gd name="T121" fmla="*/ 2 h 34"/>
                  <a:gd name="T122" fmla="*/ 22 w 42"/>
                  <a:gd name="T12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2" h="34">
                    <a:moveTo>
                      <a:pt x="22" y="0"/>
                    </a:moveTo>
                    <a:lnTo>
                      <a:pt x="22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8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8" y="32"/>
                    </a:lnTo>
                    <a:lnTo>
                      <a:pt x="10" y="32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0" y="32"/>
                    </a:lnTo>
                    <a:lnTo>
                      <a:pt x="24" y="32"/>
                    </a:lnTo>
                    <a:lnTo>
                      <a:pt x="26" y="32"/>
                    </a:lnTo>
                    <a:lnTo>
                      <a:pt x="28" y="32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36" y="28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6"/>
                    </a:lnTo>
                    <a:lnTo>
                      <a:pt x="40" y="14"/>
                    </a:lnTo>
                    <a:lnTo>
                      <a:pt x="38" y="12"/>
                    </a:lnTo>
                    <a:lnTo>
                      <a:pt x="36" y="10"/>
                    </a:lnTo>
                    <a:lnTo>
                      <a:pt x="36" y="8"/>
                    </a:lnTo>
                    <a:lnTo>
                      <a:pt x="34" y="8"/>
                    </a:lnTo>
                    <a:lnTo>
                      <a:pt x="32" y="6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56" name="Freeform 558">
                <a:extLst>
                  <a:ext uri="{FF2B5EF4-FFF2-40B4-BE49-F238E27FC236}">
                    <a16:creationId xmlns:a16="http://schemas.microsoft.com/office/drawing/2014/main" id="{934C9E94-986C-4B32-B7DD-CF824EF94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0753" y="2517942"/>
                <a:ext cx="111125" cy="85725"/>
              </a:xfrm>
              <a:custGeom>
                <a:avLst/>
                <a:gdLst>
                  <a:gd name="T0" fmla="*/ 2 w 70"/>
                  <a:gd name="T1" fmla="*/ 52 h 54"/>
                  <a:gd name="T2" fmla="*/ 2 w 70"/>
                  <a:gd name="T3" fmla="*/ 50 h 54"/>
                  <a:gd name="T4" fmla="*/ 0 w 70"/>
                  <a:gd name="T5" fmla="*/ 48 h 54"/>
                  <a:gd name="T6" fmla="*/ 0 w 70"/>
                  <a:gd name="T7" fmla="*/ 46 h 54"/>
                  <a:gd name="T8" fmla="*/ 2 w 70"/>
                  <a:gd name="T9" fmla="*/ 38 h 54"/>
                  <a:gd name="T10" fmla="*/ 4 w 70"/>
                  <a:gd name="T11" fmla="*/ 30 h 54"/>
                  <a:gd name="T12" fmla="*/ 6 w 70"/>
                  <a:gd name="T13" fmla="*/ 22 h 54"/>
                  <a:gd name="T14" fmla="*/ 8 w 70"/>
                  <a:gd name="T15" fmla="*/ 18 h 54"/>
                  <a:gd name="T16" fmla="*/ 12 w 70"/>
                  <a:gd name="T17" fmla="*/ 12 h 54"/>
                  <a:gd name="T18" fmla="*/ 12 w 70"/>
                  <a:gd name="T19" fmla="*/ 10 h 54"/>
                  <a:gd name="T20" fmla="*/ 14 w 70"/>
                  <a:gd name="T21" fmla="*/ 8 h 54"/>
                  <a:gd name="T22" fmla="*/ 20 w 70"/>
                  <a:gd name="T23" fmla="*/ 6 h 54"/>
                  <a:gd name="T24" fmla="*/ 26 w 70"/>
                  <a:gd name="T25" fmla="*/ 2 h 54"/>
                  <a:gd name="T26" fmla="*/ 32 w 70"/>
                  <a:gd name="T27" fmla="*/ 2 h 54"/>
                  <a:gd name="T28" fmla="*/ 38 w 70"/>
                  <a:gd name="T29" fmla="*/ 0 h 54"/>
                  <a:gd name="T30" fmla="*/ 42 w 70"/>
                  <a:gd name="T31" fmla="*/ 0 h 54"/>
                  <a:gd name="T32" fmla="*/ 50 w 70"/>
                  <a:gd name="T33" fmla="*/ 2 h 54"/>
                  <a:gd name="T34" fmla="*/ 56 w 70"/>
                  <a:gd name="T35" fmla="*/ 4 h 54"/>
                  <a:gd name="T36" fmla="*/ 62 w 70"/>
                  <a:gd name="T37" fmla="*/ 4 h 54"/>
                  <a:gd name="T38" fmla="*/ 66 w 70"/>
                  <a:gd name="T39" fmla="*/ 6 h 54"/>
                  <a:gd name="T40" fmla="*/ 70 w 70"/>
                  <a:gd name="T41" fmla="*/ 6 h 54"/>
                  <a:gd name="T42" fmla="*/ 70 w 70"/>
                  <a:gd name="T43" fmla="*/ 8 h 54"/>
                  <a:gd name="T44" fmla="*/ 70 w 70"/>
                  <a:gd name="T45" fmla="*/ 8 h 54"/>
                  <a:gd name="T46" fmla="*/ 70 w 70"/>
                  <a:gd name="T47" fmla="*/ 10 h 54"/>
                  <a:gd name="T48" fmla="*/ 68 w 70"/>
                  <a:gd name="T49" fmla="*/ 12 h 54"/>
                  <a:gd name="T50" fmla="*/ 66 w 70"/>
                  <a:gd name="T51" fmla="*/ 16 h 54"/>
                  <a:gd name="T52" fmla="*/ 62 w 70"/>
                  <a:gd name="T53" fmla="*/ 20 h 54"/>
                  <a:gd name="T54" fmla="*/ 58 w 70"/>
                  <a:gd name="T55" fmla="*/ 22 h 54"/>
                  <a:gd name="T56" fmla="*/ 50 w 70"/>
                  <a:gd name="T57" fmla="*/ 28 h 54"/>
                  <a:gd name="T58" fmla="*/ 46 w 70"/>
                  <a:gd name="T59" fmla="*/ 34 h 54"/>
                  <a:gd name="T60" fmla="*/ 40 w 70"/>
                  <a:gd name="T61" fmla="*/ 36 h 54"/>
                  <a:gd name="T62" fmla="*/ 38 w 70"/>
                  <a:gd name="T63" fmla="*/ 38 h 54"/>
                  <a:gd name="T64" fmla="*/ 36 w 70"/>
                  <a:gd name="T65" fmla="*/ 38 h 54"/>
                  <a:gd name="T66" fmla="*/ 30 w 70"/>
                  <a:gd name="T67" fmla="*/ 38 h 54"/>
                  <a:gd name="T68" fmla="*/ 26 w 70"/>
                  <a:gd name="T69" fmla="*/ 36 h 54"/>
                  <a:gd name="T70" fmla="*/ 24 w 70"/>
                  <a:gd name="T71" fmla="*/ 38 h 54"/>
                  <a:gd name="T72" fmla="*/ 22 w 70"/>
                  <a:gd name="T73" fmla="*/ 38 h 54"/>
                  <a:gd name="T74" fmla="*/ 22 w 70"/>
                  <a:gd name="T75" fmla="*/ 38 h 54"/>
                  <a:gd name="T76" fmla="*/ 20 w 70"/>
                  <a:gd name="T77" fmla="*/ 40 h 54"/>
                  <a:gd name="T78" fmla="*/ 20 w 70"/>
                  <a:gd name="T79" fmla="*/ 46 h 54"/>
                  <a:gd name="T80" fmla="*/ 18 w 70"/>
                  <a:gd name="T81" fmla="*/ 50 h 54"/>
                  <a:gd name="T82" fmla="*/ 18 w 70"/>
                  <a:gd name="T83" fmla="*/ 52 h 54"/>
                  <a:gd name="T84" fmla="*/ 18 w 70"/>
                  <a:gd name="T85" fmla="*/ 52 h 54"/>
                  <a:gd name="T86" fmla="*/ 16 w 70"/>
                  <a:gd name="T87" fmla="*/ 54 h 54"/>
                  <a:gd name="T88" fmla="*/ 12 w 70"/>
                  <a:gd name="T89" fmla="*/ 54 h 54"/>
                  <a:gd name="T90" fmla="*/ 8 w 70"/>
                  <a:gd name="T91" fmla="*/ 54 h 54"/>
                  <a:gd name="T92" fmla="*/ 4 w 70"/>
                  <a:gd name="T93" fmla="*/ 54 h 54"/>
                  <a:gd name="T94" fmla="*/ 2 w 70"/>
                  <a:gd name="T95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0" h="54">
                    <a:moveTo>
                      <a:pt x="2" y="52"/>
                    </a:moveTo>
                    <a:lnTo>
                      <a:pt x="2" y="52"/>
                    </a:lnTo>
                    <a:lnTo>
                      <a:pt x="2" y="52"/>
                    </a:lnTo>
                    <a:lnTo>
                      <a:pt x="2" y="50"/>
                    </a:lnTo>
                    <a:lnTo>
                      <a:pt x="0" y="50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2" y="42"/>
                    </a:lnTo>
                    <a:lnTo>
                      <a:pt x="2" y="38"/>
                    </a:lnTo>
                    <a:lnTo>
                      <a:pt x="4" y="36"/>
                    </a:lnTo>
                    <a:lnTo>
                      <a:pt x="4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8" y="20"/>
                    </a:lnTo>
                    <a:lnTo>
                      <a:pt x="8" y="18"/>
                    </a:lnTo>
                    <a:lnTo>
                      <a:pt x="10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2" y="2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6" y="2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4" y="4"/>
                    </a:lnTo>
                    <a:lnTo>
                      <a:pt x="66" y="6"/>
                    </a:lnTo>
                    <a:lnTo>
                      <a:pt x="68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0"/>
                    </a:lnTo>
                    <a:lnTo>
                      <a:pt x="70" y="10"/>
                    </a:lnTo>
                    <a:lnTo>
                      <a:pt x="70" y="12"/>
                    </a:lnTo>
                    <a:lnTo>
                      <a:pt x="68" y="12"/>
                    </a:lnTo>
                    <a:lnTo>
                      <a:pt x="68" y="14"/>
                    </a:lnTo>
                    <a:lnTo>
                      <a:pt x="66" y="16"/>
                    </a:lnTo>
                    <a:lnTo>
                      <a:pt x="64" y="18"/>
                    </a:lnTo>
                    <a:lnTo>
                      <a:pt x="62" y="20"/>
                    </a:lnTo>
                    <a:lnTo>
                      <a:pt x="60" y="22"/>
                    </a:lnTo>
                    <a:lnTo>
                      <a:pt x="58" y="22"/>
                    </a:lnTo>
                    <a:lnTo>
                      <a:pt x="54" y="26"/>
                    </a:lnTo>
                    <a:lnTo>
                      <a:pt x="50" y="28"/>
                    </a:lnTo>
                    <a:lnTo>
                      <a:pt x="48" y="32"/>
                    </a:lnTo>
                    <a:lnTo>
                      <a:pt x="46" y="34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28" y="36"/>
                    </a:lnTo>
                    <a:lnTo>
                      <a:pt x="26" y="36"/>
                    </a:lnTo>
                    <a:lnTo>
                      <a:pt x="24" y="36"/>
                    </a:lnTo>
                    <a:lnTo>
                      <a:pt x="24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2"/>
                    </a:lnTo>
                    <a:lnTo>
                      <a:pt x="20" y="46"/>
                    </a:lnTo>
                    <a:lnTo>
                      <a:pt x="20" y="48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4" y="54"/>
                    </a:lnTo>
                    <a:lnTo>
                      <a:pt x="12" y="54"/>
                    </a:lnTo>
                    <a:lnTo>
                      <a:pt x="10" y="54"/>
                    </a:lnTo>
                    <a:lnTo>
                      <a:pt x="8" y="54"/>
                    </a:lnTo>
                    <a:lnTo>
                      <a:pt x="6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2" y="54"/>
                    </a:lnTo>
                    <a:lnTo>
                      <a:pt x="2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57" name="Freeform 560">
                <a:extLst>
                  <a:ext uri="{FF2B5EF4-FFF2-40B4-BE49-F238E27FC236}">
                    <a16:creationId xmlns:a16="http://schemas.microsoft.com/office/drawing/2014/main" id="{B62D4A2A-676C-4D71-8C55-4CCAE4649C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8228" y="2521117"/>
                <a:ext cx="517525" cy="473075"/>
              </a:xfrm>
              <a:custGeom>
                <a:avLst/>
                <a:gdLst>
                  <a:gd name="T0" fmla="*/ 38 w 326"/>
                  <a:gd name="T1" fmla="*/ 2 h 298"/>
                  <a:gd name="T2" fmla="*/ 16 w 326"/>
                  <a:gd name="T3" fmla="*/ 16 h 298"/>
                  <a:gd name="T4" fmla="*/ 0 w 326"/>
                  <a:gd name="T5" fmla="*/ 50 h 298"/>
                  <a:gd name="T6" fmla="*/ 6 w 326"/>
                  <a:gd name="T7" fmla="*/ 72 h 298"/>
                  <a:gd name="T8" fmla="*/ 26 w 326"/>
                  <a:gd name="T9" fmla="*/ 80 h 298"/>
                  <a:gd name="T10" fmla="*/ 18 w 326"/>
                  <a:gd name="T11" fmla="*/ 88 h 298"/>
                  <a:gd name="T12" fmla="*/ 20 w 326"/>
                  <a:gd name="T13" fmla="*/ 100 h 298"/>
                  <a:gd name="T14" fmla="*/ 38 w 326"/>
                  <a:gd name="T15" fmla="*/ 100 h 298"/>
                  <a:gd name="T16" fmla="*/ 72 w 326"/>
                  <a:gd name="T17" fmla="*/ 94 h 298"/>
                  <a:gd name="T18" fmla="*/ 96 w 326"/>
                  <a:gd name="T19" fmla="*/ 108 h 298"/>
                  <a:gd name="T20" fmla="*/ 116 w 326"/>
                  <a:gd name="T21" fmla="*/ 96 h 298"/>
                  <a:gd name="T22" fmla="*/ 132 w 326"/>
                  <a:gd name="T23" fmla="*/ 98 h 298"/>
                  <a:gd name="T24" fmla="*/ 150 w 326"/>
                  <a:gd name="T25" fmla="*/ 116 h 298"/>
                  <a:gd name="T26" fmla="*/ 148 w 326"/>
                  <a:gd name="T27" fmla="*/ 134 h 298"/>
                  <a:gd name="T28" fmla="*/ 160 w 326"/>
                  <a:gd name="T29" fmla="*/ 138 h 298"/>
                  <a:gd name="T30" fmla="*/ 182 w 326"/>
                  <a:gd name="T31" fmla="*/ 142 h 298"/>
                  <a:gd name="T32" fmla="*/ 192 w 326"/>
                  <a:gd name="T33" fmla="*/ 166 h 298"/>
                  <a:gd name="T34" fmla="*/ 182 w 326"/>
                  <a:gd name="T35" fmla="*/ 190 h 298"/>
                  <a:gd name="T36" fmla="*/ 152 w 326"/>
                  <a:gd name="T37" fmla="*/ 210 h 298"/>
                  <a:gd name="T38" fmla="*/ 118 w 326"/>
                  <a:gd name="T39" fmla="*/ 218 h 298"/>
                  <a:gd name="T40" fmla="*/ 108 w 326"/>
                  <a:gd name="T41" fmla="*/ 232 h 298"/>
                  <a:gd name="T42" fmla="*/ 122 w 326"/>
                  <a:gd name="T43" fmla="*/ 248 h 298"/>
                  <a:gd name="T44" fmla="*/ 138 w 326"/>
                  <a:gd name="T45" fmla="*/ 248 h 298"/>
                  <a:gd name="T46" fmla="*/ 164 w 326"/>
                  <a:gd name="T47" fmla="*/ 240 h 298"/>
                  <a:gd name="T48" fmla="*/ 196 w 326"/>
                  <a:gd name="T49" fmla="*/ 268 h 298"/>
                  <a:gd name="T50" fmla="*/ 234 w 326"/>
                  <a:gd name="T51" fmla="*/ 294 h 298"/>
                  <a:gd name="T52" fmla="*/ 250 w 326"/>
                  <a:gd name="T53" fmla="*/ 296 h 298"/>
                  <a:gd name="T54" fmla="*/ 248 w 326"/>
                  <a:gd name="T55" fmla="*/ 284 h 298"/>
                  <a:gd name="T56" fmla="*/ 232 w 326"/>
                  <a:gd name="T57" fmla="*/ 258 h 298"/>
                  <a:gd name="T58" fmla="*/ 240 w 326"/>
                  <a:gd name="T59" fmla="*/ 256 h 298"/>
                  <a:gd name="T60" fmla="*/ 264 w 326"/>
                  <a:gd name="T61" fmla="*/ 278 h 298"/>
                  <a:gd name="T62" fmla="*/ 274 w 326"/>
                  <a:gd name="T63" fmla="*/ 270 h 298"/>
                  <a:gd name="T64" fmla="*/ 278 w 326"/>
                  <a:gd name="T65" fmla="*/ 236 h 298"/>
                  <a:gd name="T66" fmla="*/ 268 w 326"/>
                  <a:gd name="T67" fmla="*/ 220 h 298"/>
                  <a:gd name="T68" fmla="*/ 246 w 326"/>
                  <a:gd name="T69" fmla="*/ 218 h 298"/>
                  <a:gd name="T70" fmla="*/ 244 w 326"/>
                  <a:gd name="T71" fmla="*/ 198 h 298"/>
                  <a:gd name="T72" fmla="*/ 252 w 326"/>
                  <a:gd name="T73" fmla="*/ 184 h 298"/>
                  <a:gd name="T74" fmla="*/ 268 w 326"/>
                  <a:gd name="T75" fmla="*/ 188 h 298"/>
                  <a:gd name="T76" fmla="*/ 292 w 326"/>
                  <a:gd name="T77" fmla="*/ 220 h 298"/>
                  <a:gd name="T78" fmla="*/ 304 w 326"/>
                  <a:gd name="T79" fmla="*/ 224 h 298"/>
                  <a:gd name="T80" fmla="*/ 316 w 326"/>
                  <a:gd name="T81" fmla="*/ 200 h 298"/>
                  <a:gd name="T82" fmla="*/ 326 w 326"/>
                  <a:gd name="T83" fmla="*/ 182 h 298"/>
                  <a:gd name="T84" fmla="*/ 308 w 326"/>
                  <a:gd name="T85" fmla="*/ 168 h 298"/>
                  <a:gd name="T86" fmla="*/ 276 w 326"/>
                  <a:gd name="T87" fmla="*/ 158 h 298"/>
                  <a:gd name="T88" fmla="*/ 256 w 326"/>
                  <a:gd name="T89" fmla="*/ 136 h 298"/>
                  <a:gd name="T90" fmla="*/ 260 w 326"/>
                  <a:gd name="T91" fmla="*/ 120 h 298"/>
                  <a:gd name="T92" fmla="*/ 268 w 326"/>
                  <a:gd name="T93" fmla="*/ 106 h 298"/>
                  <a:gd name="T94" fmla="*/ 250 w 326"/>
                  <a:gd name="T95" fmla="*/ 84 h 298"/>
                  <a:gd name="T96" fmla="*/ 200 w 326"/>
                  <a:gd name="T97" fmla="*/ 64 h 298"/>
                  <a:gd name="T98" fmla="*/ 182 w 326"/>
                  <a:gd name="T99" fmla="*/ 40 h 298"/>
                  <a:gd name="T100" fmla="*/ 166 w 326"/>
                  <a:gd name="T101" fmla="*/ 24 h 298"/>
                  <a:gd name="T102" fmla="*/ 132 w 326"/>
                  <a:gd name="T103" fmla="*/ 26 h 298"/>
                  <a:gd name="T104" fmla="*/ 112 w 326"/>
                  <a:gd name="T105" fmla="*/ 42 h 298"/>
                  <a:gd name="T106" fmla="*/ 104 w 326"/>
                  <a:gd name="T107" fmla="*/ 50 h 298"/>
                  <a:gd name="T108" fmla="*/ 106 w 326"/>
                  <a:gd name="T109" fmla="*/ 34 h 298"/>
                  <a:gd name="T110" fmla="*/ 114 w 326"/>
                  <a:gd name="T111" fmla="*/ 6 h 298"/>
                  <a:gd name="T112" fmla="*/ 96 w 326"/>
                  <a:gd name="T113" fmla="*/ 0 h 298"/>
                  <a:gd name="T114" fmla="*/ 74 w 326"/>
                  <a:gd name="T115" fmla="*/ 4 h 298"/>
                  <a:gd name="T116" fmla="*/ 60 w 326"/>
                  <a:gd name="T117" fmla="*/ 28 h 298"/>
                  <a:gd name="T118" fmla="*/ 56 w 326"/>
                  <a:gd name="T119" fmla="*/ 44 h 298"/>
                  <a:gd name="T120" fmla="*/ 40 w 326"/>
                  <a:gd name="T121" fmla="*/ 40 h 298"/>
                  <a:gd name="T122" fmla="*/ 46 w 326"/>
                  <a:gd name="T123" fmla="*/ 20 h 298"/>
                  <a:gd name="T124" fmla="*/ 50 w 326"/>
                  <a:gd name="T125" fmla="*/ 2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26" h="298">
                    <a:moveTo>
                      <a:pt x="50" y="2"/>
                    </a:moveTo>
                    <a:lnTo>
                      <a:pt x="50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4" y="4"/>
                    </a:lnTo>
                    <a:lnTo>
                      <a:pt x="32" y="4"/>
                    </a:lnTo>
                    <a:lnTo>
                      <a:pt x="30" y="6"/>
                    </a:lnTo>
                    <a:lnTo>
                      <a:pt x="26" y="8"/>
                    </a:lnTo>
                    <a:lnTo>
                      <a:pt x="22" y="10"/>
                    </a:lnTo>
                    <a:lnTo>
                      <a:pt x="20" y="12"/>
                    </a:lnTo>
                    <a:lnTo>
                      <a:pt x="18" y="14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8" y="26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0" y="50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2" y="64"/>
                    </a:lnTo>
                    <a:lnTo>
                      <a:pt x="2" y="66"/>
                    </a:lnTo>
                    <a:lnTo>
                      <a:pt x="2" y="68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6" y="72"/>
                    </a:lnTo>
                    <a:lnTo>
                      <a:pt x="8" y="74"/>
                    </a:lnTo>
                    <a:lnTo>
                      <a:pt x="10" y="74"/>
                    </a:lnTo>
                    <a:lnTo>
                      <a:pt x="12" y="74"/>
                    </a:lnTo>
                    <a:lnTo>
                      <a:pt x="16" y="76"/>
                    </a:lnTo>
                    <a:lnTo>
                      <a:pt x="20" y="76"/>
                    </a:lnTo>
                    <a:lnTo>
                      <a:pt x="22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6" y="78"/>
                    </a:lnTo>
                    <a:lnTo>
                      <a:pt x="26" y="80"/>
                    </a:lnTo>
                    <a:lnTo>
                      <a:pt x="26" y="80"/>
                    </a:lnTo>
                    <a:lnTo>
                      <a:pt x="26" y="80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4"/>
                    </a:lnTo>
                    <a:lnTo>
                      <a:pt x="24" y="84"/>
                    </a:lnTo>
                    <a:lnTo>
                      <a:pt x="22" y="86"/>
                    </a:lnTo>
                    <a:lnTo>
                      <a:pt x="20" y="88"/>
                    </a:lnTo>
                    <a:lnTo>
                      <a:pt x="18" y="88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2"/>
                    </a:lnTo>
                    <a:lnTo>
                      <a:pt x="16" y="94"/>
                    </a:lnTo>
                    <a:lnTo>
                      <a:pt x="18" y="94"/>
                    </a:lnTo>
                    <a:lnTo>
                      <a:pt x="18" y="96"/>
                    </a:lnTo>
                    <a:lnTo>
                      <a:pt x="18" y="98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4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30" y="102"/>
                    </a:lnTo>
                    <a:lnTo>
                      <a:pt x="32" y="102"/>
                    </a:lnTo>
                    <a:lnTo>
                      <a:pt x="36" y="102"/>
                    </a:lnTo>
                    <a:lnTo>
                      <a:pt x="38" y="100"/>
                    </a:lnTo>
                    <a:lnTo>
                      <a:pt x="46" y="98"/>
                    </a:lnTo>
                    <a:lnTo>
                      <a:pt x="52" y="96"/>
                    </a:lnTo>
                    <a:lnTo>
                      <a:pt x="56" y="96"/>
                    </a:lnTo>
                    <a:lnTo>
                      <a:pt x="58" y="94"/>
                    </a:lnTo>
                    <a:lnTo>
                      <a:pt x="62" y="94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4"/>
                    </a:lnTo>
                    <a:lnTo>
                      <a:pt x="70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4" y="96"/>
                    </a:lnTo>
                    <a:lnTo>
                      <a:pt x="76" y="96"/>
                    </a:lnTo>
                    <a:lnTo>
                      <a:pt x="80" y="100"/>
                    </a:lnTo>
                    <a:lnTo>
                      <a:pt x="84" y="102"/>
                    </a:lnTo>
                    <a:lnTo>
                      <a:pt x="88" y="104"/>
                    </a:lnTo>
                    <a:lnTo>
                      <a:pt x="90" y="106"/>
                    </a:lnTo>
                    <a:lnTo>
                      <a:pt x="92" y="106"/>
                    </a:lnTo>
                    <a:lnTo>
                      <a:pt x="94" y="108"/>
                    </a:lnTo>
                    <a:lnTo>
                      <a:pt x="96" y="108"/>
                    </a:lnTo>
                    <a:lnTo>
                      <a:pt x="98" y="108"/>
                    </a:lnTo>
                    <a:lnTo>
                      <a:pt x="100" y="108"/>
                    </a:lnTo>
                    <a:lnTo>
                      <a:pt x="102" y="108"/>
                    </a:lnTo>
                    <a:lnTo>
                      <a:pt x="102" y="108"/>
                    </a:lnTo>
                    <a:lnTo>
                      <a:pt x="104" y="108"/>
                    </a:lnTo>
                    <a:lnTo>
                      <a:pt x="106" y="106"/>
                    </a:lnTo>
                    <a:lnTo>
                      <a:pt x="108" y="104"/>
                    </a:lnTo>
                    <a:lnTo>
                      <a:pt x="112" y="100"/>
                    </a:lnTo>
                    <a:lnTo>
                      <a:pt x="114" y="98"/>
                    </a:lnTo>
                    <a:lnTo>
                      <a:pt x="116" y="96"/>
                    </a:lnTo>
                    <a:lnTo>
                      <a:pt x="118" y="96"/>
                    </a:lnTo>
                    <a:lnTo>
                      <a:pt x="118" y="94"/>
                    </a:lnTo>
                    <a:lnTo>
                      <a:pt x="120" y="94"/>
                    </a:lnTo>
                    <a:lnTo>
                      <a:pt x="122" y="94"/>
                    </a:lnTo>
                    <a:lnTo>
                      <a:pt x="122" y="94"/>
                    </a:lnTo>
                    <a:lnTo>
                      <a:pt x="124" y="94"/>
                    </a:lnTo>
                    <a:lnTo>
                      <a:pt x="126" y="94"/>
                    </a:lnTo>
                    <a:lnTo>
                      <a:pt x="128" y="96"/>
                    </a:lnTo>
                    <a:lnTo>
                      <a:pt x="130" y="96"/>
                    </a:lnTo>
                    <a:lnTo>
                      <a:pt x="132" y="98"/>
                    </a:lnTo>
                    <a:lnTo>
                      <a:pt x="134" y="100"/>
                    </a:lnTo>
                    <a:lnTo>
                      <a:pt x="136" y="102"/>
                    </a:lnTo>
                    <a:lnTo>
                      <a:pt x="138" y="102"/>
                    </a:lnTo>
                    <a:lnTo>
                      <a:pt x="140" y="106"/>
                    </a:lnTo>
                    <a:lnTo>
                      <a:pt x="142" y="108"/>
                    </a:lnTo>
                    <a:lnTo>
                      <a:pt x="144" y="110"/>
                    </a:lnTo>
                    <a:lnTo>
                      <a:pt x="146" y="112"/>
                    </a:lnTo>
                    <a:lnTo>
                      <a:pt x="148" y="114"/>
                    </a:lnTo>
                    <a:lnTo>
                      <a:pt x="148" y="116"/>
                    </a:lnTo>
                    <a:lnTo>
                      <a:pt x="150" y="116"/>
                    </a:lnTo>
                    <a:lnTo>
                      <a:pt x="150" y="118"/>
                    </a:lnTo>
                    <a:lnTo>
                      <a:pt x="150" y="120"/>
                    </a:lnTo>
                    <a:lnTo>
                      <a:pt x="150" y="120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48" y="128"/>
                    </a:lnTo>
                    <a:lnTo>
                      <a:pt x="148" y="130"/>
                    </a:lnTo>
                    <a:lnTo>
                      <a:pt x="148" y="132"/>
                    </a:lnTo>
                    <a:lnTo>
                      <a:pt x="148" y="134"/>
                    </a:lnTo>
                    <a:lnTo>
                      <a:pt x="148" y="134"/>
                    </a:lnTo>
                    <a:lnTo>
                      <a:pt x="148" y="136"/>
                    </a:lnTo>
                    <a:lnTo>
                      <a:pt x="148" y="136"/>
                    </a:lnTo>
                    <a:lnTo>
                      <a:pt x="148" y="138"/>
                    </a:lnTo>
                    <a:lnTo>
                      <a:pt x="150" y="138"/>
                    </a:lnTo>
                    <a:lnTo>
                      <a:pt x="152" y="138"/>
                    </a:lnTo>
                    <a:lnTo>
                      <a:pt x="152" y="138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4" y="136"/>
                    </a:lnTo>
                    <a:lnTo>
                      <a:pt x="166" y="136"/>
                    </a:lnTo>
                    <a:lnTo>
                      <a:pt x="168" y="136"/>
                    </a:lnTo>
                    <a:lnTo>
                      <a:pt x="170" y="136"/>
                    </a:lnTo>
                    <a:lnTo>
                      <a:pt x="172" y="136"/>
                    </a:lnTo>
                    <a:lnTo>
                      <a:pt x="172" y="136"/>
                    </a:lnTo>
                    <a:lnTo>
                      <a:pt x="174" y="138"/>
                    </a:lnTo>
                    <a:lnTo>
                      <a:pt x="178" y="138"/>
                    </a:lnTo>
                    <a:lnTo>
                      <a:pt x="180" y="140"/>
                    </a:lnTo>
                    <a:lnTo>
                      <a:pt x="182" y="142"/>
                    </a:lnTo>
                    <a:lnTo>
                      <a:pt x="184" y="144"/>
                    </a:lnTo>
                    <a:lnTo>
                      <a:pt x="186" y="146"/>
                    </a:lnTo>
                    <a:lnTo>
                      <a:pt x="186" y="148"/>
                    </a:lnTo>
                    <a:lnTo>
                      <a:pt x="188" y="150"/>
                    </a:lnTo>
                    <a:lnTo>
                      <a:pt x="188" y="150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8"/>
                    </a:lnTo>
                    <a:lnTo>
                      <a:pt x="192" y="162"/>
                    </a:lnTo>
                    <a:lnTo>
                      <a:pt x="192" y="166"/>
                    </a:lnTo>
                    <a:lnTo>
                      <a:pt x="192" y="170"/>
                    </a:lnTo>
                    <a:lnTo>
                      <a:pt x="192" y="174"/>
                    </a:lnTo>
                    <a:lnTo>
                      <a:pt x="190" y="176"/>
                    </a:lnTo>
                    <a:lnTo>
                      <a:pt x="190" y="176"/>
                    </a:lnTo>
                    <a:lnTo>
                      <a:pt x="190" y="178"/>
                    </a:lnTo>
                    <a:lnTo>
                      <a:pt x="188" y="180"/>
                    </a:lnTo>
                    <a:lnTo>
                      <a:pt x="188" y="182"/>
                    </a:lnTo>
                    <a:lnTo>
                      <a:pt x="186" y="184"/>
                    </a:lnTo>
                    <a:lnTo>
                      <a:pt x="184" y="188"/>
                    </a:lnTo>
                    <a:lnTo>
                      <a:pt x="182" y="190"/>
                    </a:lnTo>
                    <a:lnTo>
                      <a:pt x="178" y="194"/>
                    </a:lnTo>
                    <a:lnTo>
                      <a:pt x="174" y="198"/>
                    </a:lnTo>
                    <a:lnTo>
                      <a:pt x="170" y="202"/>
                    </a:lnTo>
                    <a:lnTo>
                      <a:pt x="166" y="204"/>
                    </a:lnTo>
                    <a:lnTo>
                      <a:pt x="164" y="206"/>
                    </a:lnTo>
                    <a:lnTo>
                      <a:pt x="162" y="208"/>
                    </a:lnTo>
                    <a:lnTo>
                      <a:pt x="160" y="208"/>
                    </a:lnTo>
                    <a:lnTo>
                      <a:pt x="158" y="210"/>
                    </a:lnTo>
                    <a:lnTo>
                      <a:pt x="156" y="210"/>
                    </a:lnTo>
                    <a:lnTo>
                      <a:pt x="152" y="210"/>
                    </a:lnTo>
                    <a:lnTo>
                      <a:pt x="150" y="210"/>
                    </a:lnTo>
                    <a:lnTo>
                      <a:pt x="146" y="212"/>
                    </a:lnTo>
                    <a:lnTo>
                      <a:pt x="140" y="212"/>
                    </a:lnTo>
                    <a:lnTo>
                      <a:pt x="134" y="212"/>
                    </a:lnTo>
                    <a:lnTo>
                      <a:pt x="130" y="214"/>
                    </a:lnTo>
                    <a:lnTo>
                      <a:pt x="128" y="214"/>
                    </a:lnTo>
                    <a:lnTo>
                      <a:pt x="124" y="214"/>
                    </a:lnTo>
                    <a:lnTo>
                      <a:pt x="122" y="216"/>
                    </a:lnTo>
                    <a:lnTo>
                      <a:pt x="120" y="216"/>
                    </a:lnTo>
                    <a:lnTo>
                      <a:pt x="118" y="218"/>
                    </a:lnTo>
                    <a:lnTo>
                      <a:pt x="116" y="218"/>
                    </a:lnTo>
                    <a:lnTo>
                      <a:pt x="114" y="220"/>
                    </a:lnTo>
                    <a:lnTo>
                      <a:pt x="112" y="222"/>
                    </a:lnTo>
                    <a:lnTo>
                      <a:pt x="110" y="224"/>
                    </a:lnTo>
                    <a:lnTo>
                      <a:pt x="110" y="226"/>
                    </a:lnTo>
                    <a:lnTo>
                      <a:pt x="108" y="228"/>
                    </a:lnTo>
                    <a:lnTo>
                      <a:pt x="108" y="230"/>
                    </a:lnTo>
                    <a:lnTo>
                      <a:pt x="108" y="230"/>
                    </a:lnTo>
                    <a:lnTo>
                      <a:pt x="108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8" y="234"/>
                    </a:lnTo>
                    <a:lnTo>
                      <a:pt x="108" y="236"/>
                    </a:lnTo>
                    <a:lnTo>
                      <a:pt x="110" y="238"/>
                    </a:lnTo>
                    <a:lnTo>
                      <a:pt x="110" y="238"/>
                    </a:lnTo>
                    <a:lnTo>
                      <a:pt x="112" y="240"/>
                    </a:lnTo>
                    <a:lnTo>
                      <a:pt x="114" y="242"/>
                    </a:lnTo>
                    <a:lnTo>
                      <a:pt x="116" y="246"/>
                    </a:lnTo>
                    <a:lnTo>
                      <a:pt x="120" y="248"/>
                    </a:lnTo>
                    <a:lnTo>
                      <a:pt x="122" y="248"/>
                    </a:lnTo>
                    <a:lnTo>
                      <a:pt x="122" y="248"/>
                    </a:lnTo>
                    <a:lnTo>
                      <a:pt x="124" y="250"/>
                    </a:lnTo>
                    <a:lnTo>
                      <a:pt x="126" y="250"/>
                    </a:lnTo>
                    <a:lnTo>
                      <a:pt x="126" y="250"/>
                    </a:lnTo>
                    <a:lnTo>
                      <a:pt x="126" y="250"/>
                    </a:lnTo>
                    <a:lnTo>
                      <a:pt x="128" y="250"/>
                    </a:lnTo>
                    <a:lnTo>
                      <a:pt x="132" y="250"/>
                    </a:lnTo>
                    <a:lnTo>
                      <a:pt x="134" y="250"/>
                    </a:lnTo>
                    <a:lnTo>
                      <a:pt x="136" y="248"/>
                    </a:lnTo>
                    <a:lnTo>
                      <a:pt x="138" y="248"/>
                    </a:lnTo>
                    <a:lnTo>
                      <a:pt x="144" y="246"/>
                    </a:lnTo>
                    <a:lnTo>
                      <a:pt x="150" y="242"/>
                    </a:lnTo>
                    <a:lnTo>
                      <a:pt x="152" y="242"/>
                    </a:lnTo>
                    <a:lnTo>
                      <a:pt x="154" y="240"/>
                    </a:lnTo>
                    <a:lnTo>
                      <a:pt x="156" y="240"/>
                    </a:lnTo>
                    <a:lnTo>
                      <a:pt x="158" y="240"/>
                    </a:lnTo>
                    <a:lnTo>
                      <a:pt x="160" y="240"/>
                    </a:lnTo>
                    <a:lnTo>
                      <a:pt x="162" y="240"/>
                    </a:lnTo>
                    <a:lnTo>
                      <a:pt x="162" y="240"/>
                    </a:lnTo>
                    <a:lnTo>
                      <a:pt x="164" y="240"/>
                    </a:lnTo>
                    <a:lnTo>
                      <a:pt x="166" y="240"/>
                    </a:lnTo>
                    <a:lnTo>
                      <a:pt x="168" y="242"/>
                    </a:lnTo>
                    <a:lnTo>
                      <a:pt x="170" y="244"/>
                    </a:lnTo>
                    <a:lnTo>
                      <a:pt x="172" y="244"/>
                    </a:lnTo>
                    <a:lnTo>
                      <a:pt x="174" y="246"/>
                    </a:lnTo>
                    <a:lnTo>
                      <a:pt x="178" y="248"/>
                    </a:lnTo>
                    <a:lnTo>
                      <a:pt x="182" y="254"/>
                    </a:lnTo>
                    <a:lnTo>
                      <a:pt x="192" y="264"/>
                    </a:lnTo>
                    <a:lnTo>
                      <a:pt x="194" y="266"/>
                    </a:lnTo>
                    <a:lnTo>
                      <a:pt x="196" y="268"/>
                    </a:lnTo>
                    <a:lnTo>
                      <a:pt x="198" y="268"/>
                    </a:lnTo>
                    <a:lnTo>
                      <a:pt x="200" y="270"/>
                    </a:lnTo>
                    <a:lnTo>
                      <a:pt x="204" y="272"/>
                    </a:lnTo>
                    <a:lnTo>
                      <a:pt x="206" y="274"/>
                    </a:lnTo>
                    <a:lnTo>
                      <a:pt x="212" y="278"/>
                    </a:lnTo>
                    <a:lnTo>
                      <a:pt x="220" y="284"/>
                    </a:lnTo>
                    <a:lnTo>
                      <a:pt x="222" y="286"/>
                    </a:lnTo>
                    <a:lnTo>
                      <a:pt x="226" y="290"/>
                    </a:lnTo>
                    <a:lnTo>
                      <a:pt x="230" y="292"/>
                    </a:lnTo>
                    <a:lnTo>
                      <a:pt x="234" y="294"/>
                    </a:lnTo>
                    <a:lnTo>
                      <a:pt x="238" y="296"/>
                    </a:lnTo>
                    <a:lnTo>
                      <a:pt x="238" y="296"/>
                    </a:lnTo>
                    <a:lnTo>
                      <a:pt x="240" y="296"/>
                    </a:lnTo>
                    <a:lnTo>
                      <a:pt x="242" y="298"/>
                    </a:lnTo>
                    <a:lnTo>
                      <a:pt x="244" y="298"/>
                    </a:lnTo>
                    <a:lnTo>
                      <a:pt x="246" y="298"/>
                    </a:lnTo>
                    <a:lnTo>
                      <a:pt x="246" y="298"/>
                    </a:lnTo>
                    <a:lnTo>
                      <a:pt x="248" y="298"/>
                    </a:lnTo>
                    <a:lnTo>
                      <a:pt x="248" y="298"/>
                    </a:lnTo>
                    <a:lnTo>
                      <a:pt x="250" y="296"/>
                    </a:lnTo>
                    <a:lnTo>
                      <a:pt x="252" y="296"/>
                    </a:lnTo>
                    <a:lnTo>
                      <a:pt x="252" y="294"/>
                    </a:lnTo>
                    <a:lnTo>
                      <a:pt x="252" y="294"/>
                    </a:lnTo>
                    <a:lnTo>
                      <a:pt x="252" y="292"/>
                    </a:lnTo>
                    <a:lnTo>
                      <a:pt x="252" y="292"/>
                    </a:lnTo>
                    <a:lnTo>
                      <a:pt x="252" y="290"/>
                    </a:lnTo>
                    <a:lnTo>
                      <a:pt x="252" y="290"/>
                    </a:lnTo>
                    <a:lnTo>
                      <a:pt x="252" y="288"/>
                    </a:lnTo>
                    <a:lnTo>
                      <a:pt x="250" y="286"/>
                    </a:lnTo>
                    <a:lnTo>
                      <a:pt x="248" y="284"/>
                    </a:lnTo>
                    <a:lnTo>
                      <a:pt x="246" y="282"/>
                    </a:lnTo>
                    <a:lnTo>
                      <a:pt x="242" y="276"/>
                    </a:lnTo>
                    <a:lnTo>
                      <a:pt x="238" y="270"/>
                    </a:lnTo>
                    <a:lnTo>
                      <a:pt x="236" y="266"/>
                    </a:lnTo>
                    <a:lnTo>
                      <a:pt x="234" y="264"/>
                    </a:lnTo>
                    <a:lnTo>
                      <a:pt x="234" y="262"/>
                    </a:lnTo>
                    <a:lnTo>
                      <a:pt x="232" y="260"/>
                    </a:lnTo>
                    <a:lnTo>
                      <a:pt x="232" y="260"/>
                    </a:lnTo>
                    <a:lnTo>
                      <a:pt x="232" y="258"/>
                    </a:lnTo>
                    <a:lnTo>
                      <a:pt x="232" y="258"/>
                    </a:lnTo>
                    <a:lnTo>
                      <a:pt x="232" y="256"/>
                    </a:lnTo>
                    <a:lnTo>
                      <a:pt x="232" y="256"/>
                    </a:lnTo>
                    <a:lnTo>
                      <a:pt x="234" y="256"/>
                    </a:lnTo>
                    <a:lnTo>
                      <a:pt x="234" y="254"/>
                    </a:lnTo>
                    <a:lnTo>
                      <a:pt x="234" y="254"/>
                    </a:lnTo>
                    <a:lnTo>
                      <a:pt x="236" y="254"/>
                    </a:lnTo>
                    <a:lnTo>
                      <a:pt x="236" y="254"/>
                    </a:lnTo>
                    <a:lnTo>
                      <a:pt x="238" y="254"/>
                    </a:lnTo>
                    <a:lnTo>
                      <a:pt x="238" y="254"/>
                    </a:lnTo>
                    <a:lnTo>
                      <a:pt x="240" y="256"/>
                    </a:lnTo>
                    <a:lnTo>
                      <a:pt x="240" y="256"/>
                    </a:lnTo>
                    <a:lnTo>
                      <a:pt x="244" y="258"/>
                    </a:lnTo>
                    <a:lnTo>
                      <a:pt x="246" y="260"/>
                    </a:lnTo>
                    <a:lnTo>
                      <a:pt x="250" y="266"/>
                    </a:lnTo>
                    <a:lnTo>
                      <a:pt x="256" y="270"/>
                    </a:lnTo>
                    <a:lnTo>
                      <a:pt x="258" y="272"/>
                    </a:lnTo>
                    <a:lnTo>
                      <a:pt x="260" y="274"/>
                    </a:lnTo>
                    <a:lnTo>
                      <a:pt x="262" y="276"/>
                    </a:lnTo>
                    <a:lnTo>
                      <a:pt x="264" y="276"/>
                    </a:lnTo>
                    <a:lnTo>
                      <a:pt x="264" y="278"/>
                    </a:lnTo>
                    <a:lnTo>
                      <a:pt x="266" y="278"/>
                    </a:lnTo>
                    <a:lnTo>
                      <a:pt x="266" y="278"/>
                    </a:lnTo>
                    <a:lnTo>
                      <a:pt x="268" y="278"/>
                    </a:lnTo>
                    <a:lnTo>
                      <a:pt x="268" y="278"/>
                    </a:lnTo>
                    <a:lnTo>
                      <a:pt x="270" y="278"/>
                    </a:lnTo>
                    <a:lnTo>
                      <a:pt x="270" y="276"/>
                    </a:lnTo>
                    <a:lnTo>
                      <a:pt x="272" y="276"/>
                    </a:lnTo>
                    <a:lnTo>
                      <a:pt x="272" y="274"/>
                    </a:lnTo>
                    <a:lnTo>
                      <a:pt x="274" y="272"/>
                    </a:lnTo>
                    <a:lnTo>
                      <a:pt x="274" y="270"/>
                    </a:lnTo>
                    <a:lnTo>
                      <a:pt x="276" y="268"/>
                    </a:lnTo>
                    <a:lnTo>
                      <a:pt x="276" y="266"/>
                    </a:lnTo>
                    <a:lnTo>
                      <a:pt x="278" y="264"/>
                    </a:lnTo>
                    <a:lnTo>
                      <a:pt x="278" y="260"/>
                    </a:lnTo>
                    <a:lnTo>
                      <a:pt x="278" y="256"/>
                    </a:lnTo>
                    <a:lnTo>
                      <a:pt x="278" y="252"/>
                    </a:lnTo>
                    <a:lnTo>
                      <a:pt x="278" y="250"/>
                    </a:lnTo>
                    <a:lnTo>
                      <a:pt x="278" y="246"/>
                    </a:lnTo>
                    <a:lnTo>
                      <a:pt x="278" y="240"/>
                    </a:lnTo>
                    <a:lnTo>
                      <a:pt x="278" y="236"/>
                    </a:lnTo>
                    <a:lnTo>
                      <a:pt x="276" y="232"/>
                    </a:lnTo>
                    <a:lnTo>
                      <a:pt x="276" y="230"/>
                    </a:lnTo>
                    <a:lnTo>
                      <a:pt x="274" y="228"/>
                    </a:lnTo>
                    <a:lnTo>
                      <a:pt x="274" y="226"/>
                    </a:lnTo>
                    <a:lnTo>
                      <a:pt x="274" y="224"/>
                    </a:lnTo>
                    <a:lnTo>
                      <a:pt x="272" y="224"/>
                    </a:lnTo>
                    <a:lnTo>
                      <a:pt x="272" y="222"/>
                    </a:lnTo>
                    <a:lnTo>
                      <a:pt x="270" y="222"/>
                    </a:lnTo>
                    <a:lnTo>
                      <a:pt x="268" y="220"/>
                    </a:lnTo>
                    <a:lnTo>
                      <a:pt x="268" y="220"/>
                    </a:lnTo>
                    <a:lnTo>
                      <a:pt x="266" y="220"/>
                    </a:lnTo>
                    <a:lnTo>
                      <a:pt x="262" y="220"/>
                    </a:lnTo>
                    <a:lnTo>
                      <a:pt x="258" y="220"/>
                    </a:lnTo>
                    <a:lnTo>
                      <a:pt x="254" y="220"/>
                    </a:lnTo>
                    <a:lnTo>
                      <a:pt x="252" y="220"/>
                    </a:lnTo>
                    <a:lnTo>
                      <a:pt x="250" y="220"/>
                    </a:lnTo>
                    <a:lnTo>
                      <a:pt x="250" y="220"/>
                    </a:lnTo>
                    <a:lnTo>
                      <a:pt x="248" y="218"/>
                    </a:lnTo>
                    <a:lnTo>
                      <a:pt x="246" y="218"/>
                    </a:lnTo>
                    <a:lnTo>
                      <a:pt x="246" y="218"/>
                    </a:lnTo>
                    <a:lnTo>
                      <a:pt x="246" y="216"/>
                    </a:lnTo>
                    <a:lnTo>
                      <a:pt x="244" y="214"/>
                    </a:lnTo>
                    <a:lnTo>
                      <a:pt x="244" y="212"/>
                    </a:lnTo>
                    <a:lnTo>
                      <a:pt x="244" y="210"/>
                    </a:lnTo>
                    <a:lnTo>
                      <a:pt x="244" y="208"/>
                    </a:lnTo>
                    <a:lnTo>
                      <a:pt x="244" y="206"/>
                    </a:lnTo>
                    <a:lnTo>
                      <a:pt x="244" y="204"/>
                    </a:lnTo>
                    <a:lnTo>
                      <a:pt x="244" y="202"/>
                    </a:lnTo>
                    <a:lnTo>
                      <a:pt x="244" y="200"/>
                    </a:lnTo>
                    <a:lnTo>
                      <a:pt x="244" y="198"/>
                    </a:lnTo>
                    <a:lnTo>
                      <a:pt x="244" y="196"/>
                    </a:lnTo>
                    <a:lnTo>
                      <a:pt x="246" y="194"/>
                    </a:lnTo>
                    <a:lnTo>
                      <a:pt x="246" y="192"/>
                    </a:lnTo>
                    <a:lnTo>
                      <a:pt x="246" y="190"/>
                    </a:lnTo>
                    <a:lnTo>
                      <a:pt x="248" y="188"/>
                    </a:lnTo>
                    <a:lnTo>
                      <a:pt x="248" y="186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52" y="184"/>
                    </a:lnTo>
                    <a:lnTo>
                      <a:pt x="254" y="184"/>
                    </a:lnTo>
                    <a:lnTo>
                      <a:pt x="256" y="184"/>
                    </a:lnTo>
                    <a:lnTo>
                      <a:pt x="258" y="184"/>
                    </a:lnTo>
                    <a:lnTo>
                      <a:pt x="260" y="184"/>
                    </a:lnTo>
                    <a:lnTo>
                      <a:pt x="262" y="184"/>
                    </a:lnTo>
                    <a:lnTo>
                      <a:pt x="262" y="184"/>
                    </a:lnTo>
                    <a:lnTo>
                      <a:pt x="264" y="186"/>
                    </a:lnTo>
                    <a:lnTo>
                      <a:pt x="264" y="186"/>
                    </a:lnTo>
                    <a:lnTo>
                      <a:pt x="266" y="188"/>
                    </a:lnTo>
                    <a:lnTo>
                      <a:pt x="268" y="188"/>
                    </a:lnTo>
                    <a:lnTo>
                      <a:pt x="268" y="190"/>
                    </a:lnTo>
                    <a:lnTo>
                      <a:pt x="272" y="192"/>
                    </a:lnTo>
                    <a:lnTo>
                      <a:pt x="274" y="196"/>
                    </a:lnTo>
                    <a:lnTo>
                      <a:pt x="276" y="200"/>
                    </a:lnTo>
                    <a:lnTo>
                      <a:pt x="282" y="206"/>
                    </a:lnTo>
                    <a:lnTo>
                      <a:pt x="284" y="210"/>
                    </a:lnTo>
                    <a:lnTo>
                      <a:pt x="286" y="214"/>
                    </a:lnTo>
                    <a:lnTo>
                      <a:pt x="288" y="216"/>
                    </a:lnTo>
                    <a:lnTo>
                      <a:pt x="292" y="220"/>
                    </a:lnTo>
                    <a:lnTo>
                      <a:pt x="292" y="220"/>
                    </a:lnTo>
                    <a:lnTo>
                      <a:pt x="294" y="222"/>
                    </a:lnTo>
                    <a:lnTo>
                      <a:pt x="294" y="222"/>
                    </a:lnTo>
                    <a:lnTo>
                      <a:pt x="296" y="224"/>
                    </a:lnTo>
                    <a:lnTo>
                      <a:pt x="298" y="224"/>
                    </a:lnTo>
                    <a:lnTo>
                      <a:pt x="298" y="224"/>
                    </a:lnTo>
                    <a:lnTo>
                      <a:pt x="300" y="224"/>
                    </a:lnTo>
                    <a:lnTo>
                      <a:pt x="302" y="224"/>
                    </a:lnTo>
                    <a:lnTo>
                      <a:pt x="302" y="224"/>
                    </a:lnTo>
                    <a:lnTo>
                      <a:pt x="302" y="224"/>
                    </a:lnTo>
                    <a:lnTo>
                      <a:pt x="304" y="224"/>
                    </a:lnTo>
                    <a:lnTo>
                      <a:pt x="306" y="222"/>
                    </a:lnTo>
                    <a:lnTo>
                      <a:pt x="306" y="222"/>
                    </a:lnTo>
                    <a:lnTo>
                      <a:pt x="308" y="220"/>
                    </a:lnTo>
                    <a:lnTo>
                      <a:pt x="308" y="218"/>
                    </a:lnTo>
                    <a:lnTo>
                      <a:pt x="310" y="216"/>
                    </a:lnTo>
                    <a:lnTo>
                      <a:pt x="310" y="214"/>
                    </a:lnTo>
                    <a:lnTo>
                      <a:pt x="312" y="210"/>
                    </a:lnTo>
                    <a:lnTo>
                      <a:pt x="314" y="206"/>
                    </a:lnTo>
                    <a:lnTo>
                      <a:pt x="316" y="202"/>
                    </a:lnTo>
                    <a:lnTo>
                      <a:pt x="316" y="200"/>
                    </a:lnTo>
                    <a:lnTo>
                      <a:pt x="316" y="200"/>
                    </a:lnTo>
                    <a:lnTo>
                      <a:pt x="318" y="198"/>
                    </a:lnTo>
                    <a:lnTo>
                      <a:pt x="320" y="196"/>
                    </a:lnTo>
                    <a:lnTo>
                      <a:pt x="322" y="190"/>
                    </a:lnTo>
                    <a:lnTo>
                      <a:pt x="324" y="188"/>
                    </a:lnTo>
                    <a:lnTo>
                      <a:pt x="326" y="186"/>
                    </a:lnTo>
                    <a:lnTo>
                      <a:pt x="326" y="184"/>
                    </a:lnTo>
                    <a:lnTo>
                      <a:pt x="326" y="184"/>
                    </a:lnTo>
                    <a:lnTo>
                      <a:pt x="326" y="182"/>
                    </a:lnTo>
                    <a:lnTo>
                      <a:pt x="326" y="182"/>
                    </a:lnTo>
                    <a:lnTo>
                      <a:pt x="326" y="180"/>
                    </a:lnTo>
                    <a:lnTo>
                      <a:pt x="326" y="180"/>
                    </a:lnTo>
                    <a:lnTo>
                      <a:pt x="324" y="178"/>
                    </a:lnTo>
                    <a:lnTo>
                      <a:pt x="322" y="176"/>
                    </a:lnTo>
                    <a:lnTo>
                      <a:pt x="322" y="176"/>
                    </a:lnTo>
                    <a:lnTo>
                      <a:pt x="320" y="174"/>
                    </a:lnTo>
                    <a:lnTo>
                      <a:pt x="318" y="172"/>
                    </a:lnTo>
                    <a:lnTo>
                      <a:pt x="316" y="172"/>
                    </a:lnTo>
                    <a:lnTo>
                      <a:pt x="312" y="170"/>
                    </a:lnTo>
                    <a:lnTo>
                      <a:pt x="308" y="168"/>
                    </a:lnTo>
                    <a:lnTo>
                      <a:pt x="302" y="164"/>
                    </a:lnTo>
                    <a:lnTo>
                      <a:pt x="300" y="164"/>
                    </a:lnTo>
                    <a:lnTo>
                      <a:pt x="298" y="164"/>
                    </a:lnTo>
                    <a:lnTo>
                      <a:pt x="296" y="162"/>
                    </a:lnTo>
                    <a:lnTo>
                      <a:pt x="292" y="162"/>
                    </a:lnTo>
                    <a:lnTo>
                      <a:pt x="288" y="160"/>
                    </a:lnTo>
                    <a:lnTo>
                      <a:pt x="284" y="160"/>
                    </a:lnTo>
                    <a:lnTo>
                      <a:pt x="280" y="160"/>
                    </a:lnTo>
                    <a:lnTo>
                      <a:pt x="278" y="158"/>
                    </a:lnTo>
                    <a:lnTo>
                      <a:pt x="276" y="158"/>
                    </a:lnTo>
                    <a:lnTo>
                      <a:pt x="274" y="158"/>
                    </a:lnTo>
                    <a:lnTo>
                      <a:pt x="274" y="156"/>
                    </a:lnTo>
                    <a:lnTo>
                      <a:pt x="270" y="154"/>
                    </a:lnTo>
                    <a:lnTo>
                      <a:pt x="268" y="152"/>
                    </a:lnTo>
                    <a:lnTo>
                      <a:pt x="264" y="148"/>
                    </a:lnTo>
                    <a:lnTo>
                      <a:pt x="260" y="144"/>
                    </a:lnTo>
                    <a:lnTo>
                      <a:pt x="260" y="142"/>
                    </a:lnTo>
                    <a:lnTo>
                      <a:pt x="258" y="140"/>
                    </a:lnTo>
                    <a:lnTo>
                      <a:pt x="256" y="138"/>
                    </a:lnTo>
                    <a:lnTo>
                      <a:pt x="256" y="136"/>
                    </a:lnTo>
                    <a:lnTo>
                      <a:pt x="254" y="134"/>
                    </a:lnTo>
                    <a:lnTo>
                      <a:pt x="254" y="132"/>
                    </a:lnTo>
                    <a:lnTo>
                      <a:pt x="254" y="130"/>
                    </a:lnTo>
                    <a:lnTo>
                      <a:pt x="254" y="128"/>
                    </a:lnTo>
                    <a:lnTo>
                      <a:pt x="254" y="128"/>
                    </a:lnTo>
                    <a:lnTo>
                      <a:pt x="254" y="126"/>
                    </a:lnTo>
                    <a:lnTo>
                      <a:pt x="256" y="126"/>
                    </a:lnTo>
                    <a:lnTo>
                      <a:pt x="256" y="124"/>
                    </a:lnTo>
                    <a:lnTo>
                      <a:pt x="258" y="122"/>
                    </a:lnTo>
                    <a:lnTo>
                      <a:pt x="260" y="120"/>
                    </a:lnTo>
                    <a:lnTo>
                      <a:pt x="264" y="118"/>
                    </a:lnTo>
                    <a:lnTo>
                      <a:pt x="266" y="116"/>
                    </a:lnTo>
                    <a:lnTo>
                      <a:pt x="268" y="114"/>
                    </a:lnTo>
                    <a:lnTo>
                      <a:pt x="268" y="114"/>
                    </a:lnTo>
                    <a:lnTo>
                      <a:pt x="268" y="112"/>
                    </a:lnTo>
                    <a:lnTo>
                      <a:pt x="268" y="112"/>
                    </a:lnTo>
                    <a:lnTo>
                      <a:pt x="268" y="110"/>
                    </a:lnTo>
                    <a:lnTo>
                      <a:pt x="268" y="108"/>
                    </a:lnTo>
                    <a:lnTo>
                      <a:pt x="268" y="108"/>
                    </a:lnTo>
                    <a:lnTo>
                      <a:pt x="268" y="106"/>
                    </a:lnTo>
                    <a:lnTo>
                      <a:pt x="266" y="104"/>
                    </a:lnTo>
                    <a:lnTo>
                      <a:pt x="266" y="102"/>
                    </a:lnTo>
                    <a:lnTo>
                      <a:pt x="264" y="100"/>
                    </a:lnTo>
                    <a:lnTo>
                      <a:pt x="262" y="96"/>
                    </a:lnTo>
                    <a:lnTo>
                      <a:pt x="260" y="92"/>
                    </a:lnTo>
                    <a:lnTo>
                      <a:pt x="258" y="90"/>
                    </a:lnTo>
                    <a:lnTo>
                      <a:pt x="256" y="88"/>
                    </a:lnTo>
                    <a:lnTo>
                      <a:pt x="254" y="88"/>
                    </a:lnTo>
                    <a:lnTo>
                      <a:pt x="252" y="86"/>
                    </a:lnTo>
                    <a:lnTo>
                      <a:pt x="250" y="84"/>
                    </a:lnTo>
                    <a:lnTo>
                      <a:pt x="248" y="84"/>
                    </a:lnTo>
                    <a:lnTo>
                      <a:pt x="246" y="82"/>
                    </a:lnTo>
                    <a:lnTo>
                      <a:pt x="242" y="80"/>
                    </a:lnTo>
                    <a:lnTo>
                      <a:pt x="236" y="78"/>
                    </a:lnTo>
                    <a:lnTo>
                      <a:pt x="226" y="74"/>
                    </a:lnTo>
                    <a:lnTo>
                      <a:pt x="220" y="72"/>
                    </a:lnTo>
                    <a:lnTo>
                      <a:pt x="216" y="70"/>
                    </a:lnTo>
                    <a:lnTo>
                      <a:pt x="210" y="68"/>
                    </a:lnTo>
                    <a:lnTo>
                      <a:pt x="202" y="66"/>
                    </a:lnTo>
                    <a:lnTo>
                      <a:pt x="200" y="64"/>
                    </a:lnTo>
                    <a:lnTo>
                      <a:pt x="196" y="62"/>
                    </a:lnTo>
                    <a:lnTo>
                      <a:pt x="192" y="60"/>
                    </a:lnTo>
                    <a:lnTo>
                      <a:pt x="192" y="58"/>
                    </a:lnTo>
                    <a:lnTo>
                      <a:pt x="190" y="58"/>
                    </a:lnTo>
                    <a:lnTo>
                      <a:pt x="190" y="56"/>
                    </a:lnTo>
                    <a:lnTo>
                      <a:pt x="188" y="56"/>
                    </a:lnTo>
                    <a:lnTo>
                      <a:pt x="186" y="52"/>
                    </a:lnTo>
                    <a:lnTo>
                      <a:pt x="186" y="50"/>
                    </a:lnTo>
                    <a:lnTo>
                      <a:pt x="184" y="46"/>
                    </a:lnTo>
                    <a:lnTo>
                      <a:pt x="182" y="40"/>
                    </a:lnTo>
                    <a:lnTo>
                      <a:pt x="178" y="36"/>
                    </a:lnTo>
                    <a:lnTo>
                      <a:pt x="178" y="34"/>
                    </a:lnTo>
                    <a:lnTo>
                      <a:pt x="176" y="32"/>
                    </a:lnTo>
                    <a:lnTo>
                      <a:pt x="174" y="30"/>
                    </a:lnTo>
                    <a:lnTo>
                      <a:pt x="174" y="28"/>
                    </a:lnTo>
                    <a:lnTo>
                      <a:pt x="172" y="26"/>
                    </a:lnTo>
                    <a:lnTo>
                      <a:pt x="172" y="26"/>
                    </a:lnTo>
                    <a:lnTo>
                      <a:pt x="170" y="26"/>
                    </a:lnTo>
                    <a:lnTo>
                      <a:pt x="168" y="24"/>
                    </a:lnTo>
                    <a:lnTo>
                      <a:pt x="166" y="24"/>
                    </a:lnTo>
                    <a:lnTo>
                      <a:pt x="162" y="24"/>
                    </a:lnTo>
                    <a:lnTo>
                      <a:pt x="160" y="22"/>
                    </a:lnTo>
                    <a:lnTo>
                      <a:pt x="156" y="22"/>
                    </a:lnTo>
                    <a:lnTo>
                      <a:pt x="152" y="22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28" y="28"/>
                    </a:lnTo>
                    <a:lnTo>
                      <a:pt x="124" y="28"/>
                    </a:lnTo>
                    <a:lnTo>
                      <a:pt x="122" y="30"/>
                    </a:lnTo>
                    <a:lnTo>
                      <a:pt x="120" y="30"/>
                    </a:lnTo>
                    <a:lnTo>
                      <a:pt x="120" y="32"/>
                    </a:lnTo>
                    <a:lnTo>
                      <a:pt x="118" y="32"/>
                    </a:lnTo>
                    <a:lnTo>
                      <a:pt x="118" y="34"/>
                    </a:lnTo>
                    <a:lnTo>
                      <a:pt x="116" y="36"/>
                    </a:lnTo>
                    <a:lnTo>
                      <a:pt x="114" y="38"/>
                    </a:lnTo>
                    <a:lnTo>
                      <a:pt x="112" y="42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48"/>
                    </a:lnTo>
                    <a:lnTo>
                      <a:pt x="108" y="50"/>
                    </a:lnTo>
                    <a:lnTo>
                      <a:pt x="106" y="50"/>
                    </a:lnTo>
                    <a:lnTo>
                      <a:pt x="106" y="50"/>
                    </a:lnTo>
                    <a:lnTo>
                      <a:pt x="106" y="50"/>
                    </a:lnTo>
                    <a:lnTo>
                      <a:pt x="106" y="50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02" y="48"/>
                    </a:lnTo>
                    <a:lnTo>
                      <a:pt x="102" y="48"/>
                    </a:lnTo>
                    <a:lnTo>
                      <a:pt x="102" y="46"/>
                    </a:lnTo>
                    <a:lnTo>
                      <a:pt x="102" y="46"/>
                    </a:lnTo>
                    <a:lnTo>
                      <a:pt x="102" y="44"/>
                    </a:lnTo>
                    <a:lnTo>
                      <a:pt x="102" y="42"/>
                    </a:lnTo>
                    <a:lnTo>
                      <a:pt x="104" y="40"/>
                    </a:lnTo>
                    <a:lnTo>
                      <a:pt x="104" y="36"/>
                    </a:lnTo>
                    <a:lnTo>
                      <a:pt x="106" y="34"/>
                    </a:lnTo>
                    <a:lnTo>
                      <a:pt x="108" y="30"/>
                    </a:lnTo>
                    <a:lnTo>
                      <a:pt x="110" y="22"/>
                    </a:lnTo>
                    <a:lnTo>
                      <a:pt x="112" y="18"/>
                    </a:lnTo>
                    <a:lnTo>
                      <a:pt x="112" y="16"/>
                    </a:lnTo>
                    <a:lnTo>
                      <a:pt x="114" y="12"/>
                    </a:lnTo>
                    <a:lnTo>
                      <a:pt x="114" y="10"/>
                    </a:lnTo>
                    <a:lnTo>
                      <a:pt x="114" y="10"/>
                    </a:lnTo>
                    <a:lnTo>
                      <a:pt x="114" y="8"/>
                    </a:lnTo>
                    <a:lnTo>
                      <a:pt x="114" y="8"/>
                    </a:lnTo>
                    <a:lnTo>
                      <a:pt x="114" y="6"/>
                    </a:lnTo>
                    <a:lnTo>
                      <a:pt x="112" y="6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0" y="2"/>
                    </a:lnTo>
                    <a:lnTo>
                      <a:pt x="108" y="2"/>
                    </a:lnTo>
                    <a:lnTo>
                      <a:pt x="106" y="2"/>
                    </a:lnTo>
                    <a:lnTo>
                      <a:pt x="104" y="0"/>
                    </a:lnTo>
                    <a:lnTo>
                      <a:pt x="100" y="0"/>
                    </a:lnTo>
                    <a:lnTo>
                      <a:pt x="98" y="0"/>
                    </a:lnTo>
                    <a:lnTo>
                      <a:pt x="96" y="0"/>
                    </a:lnTo>
                    <a:lnTo>
                      <a:pt x="94" y="0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86" y="0"/>
                    </a:lnTo>
                    <a:lnTo>
                      <a:pt x="82" y="0"/>
                    </a:lnTo>
                    <a:lnTo>
                      <a:pt x="80" y="2"/>
                    </a:lnTo>
                    <a:lnTo>
                      <a:pt x="78" y="2"/>
                    </a:lnTo>
                    <a:lnTo>
                      <a:pt x="78" y="2"/>
                    </a:lnTo>
                    <a:lnTo>
                      <a:pt x="76" y="4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2" y="6"/>
                    </a:lnTo>
                    <a:lnTo>
                      <a:pt x="70" y="10"/>
                    </a:lnTo>
                    <a:lnTo>
                      <a:pt x="66" y="12"/>
                    </a:lnTo>
                    <a:lnTo>
                      <a:pt x="64" y="16"/>
                    </a:lnTo>
                    <a:lnTo>
                      <a:pt x="62" y="20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8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48" y="44"/>
                    </a:lnTo>
                    <a:lnTo>
                      <a:pt x="46" y="44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0" y="40"/>
                    </a:lnTo>
                    <a:lnTo>
                      <a:pt x="38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2" y="26"/>
                    </a:lnTo>
                    <a:lnTo>
                      <a:pt x="46" y="20"/>
                    </a:lnTo>
                    <a:lnTo>
                      <a:pt x="48" y="16"/>
                    </a:lnTo>
                    <a:lnTo>
                      <a:pt x="50" y="12"/>
                    </a:lnTo>
                    <a:lnTo>
                      <a:pt x="50" y="10"/>
                    </a:lnTo>
                    <a:lnTo>
                      <a:pt x="50" y="8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58" name="Freeform 562">
                <a:extLst>
                  <a:ext uri="{FF2B5EF4-FFF2-40B4-BE49-F238E27FC236}">
                    <a16:creationId xmlns:a16="http://schemas.microsoft.com/office/drawing/2014/main" id="{C8CF4DC9-BB61-412D-9289-F9E258D93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5078" y="2768767"/>
                <a:ext cx="38100" cy="47625"/>
              </a:xfrm>
              <a:custGeom>
                <a:avLst/>
                <a:gdLst>
                  <a:gd name="T0" fmla="*/ 2 w 24"/>
                  <a:gd name="T1" fmla="*/ 30 h 30"/>
                  <a:gd name="T2" fmla="*/ 2 w 24"/>
                  <a:gd name="T3" fmla="*/ 30 h 30"/>
                  <a:gd name="T4" fmla="*/ 0 w 24"/>
                  <a:gd name="T5" fmla="*/ 30 h 30"/>
                  <a:gd name="T6" fmla="*/ 0 w 24"/>
                  <a:gd name="T7" fmla="*/ 30 h 30"/>
                  <a:gd name="T8" fmla="*/ 0 w 24"/>
                  <a:gd name="T9" fmla="*/ 28 h 30"/>
                  <a:gd name="T10" fmla="*/ 0 w 24"/>
                  <a:gd name="T11" fmla="*/ 28 h 30"/>
                  <a:gd name="T12" fmla="*/ 0 w 24"/>
                  <a:gd name="T13" fmla="*/ 28 h 30"/>
                  <a:gd name="T14" fmla="*/ 0 w 24"/>
                  <a:gd name="T15" fmla="*/ 26 h 30"/>
                  <a:gd name="T16" fmla="*/ 0 w 24"/>
                  <a:gd name="T17" fmla="*/ 24 h 30"/>
                  <a:gd name="T18" fmla="*/ 2 w 24"/>
                  <a:gd name="T19" fmla="*/ 18 h 30"/>
                  <a:gd name="T20" fmla="*/ 2 w 24"/>
                  <a:gd name="T21" fmla="*/ 16 h 30"/>
                  <a:gd name="T22" fmla="*/ 2 w 24"/>
                  <a:gd name="T23" fmla="*/ 14 h 30"/>
                  <a:gd name="T24" fmla="*/ 2 w 24"/>
                  <a:gd name="T25" fmla="*/ 12 h 30"/>
                  <a:gd name="T26" fmla="*/ 4 w 24"/>
                  <a:gd name="T27" fmla="*/ 12 h 30"/>
                  <a:gd name="T28" fmla="*/ 4 w 24"/>
                  <a:gd name="T29" fmla="*/ 10 h 30"/>
                  <a:gd name="T30" fmla="*/ 4 w 24"/>
                  <a:gd name="T31" fmla="*/ 8 h 30"/>
                  <a:gd name="T32" fmla="*/ 4 w 24"/>
                  <a:gd name="T33" fmla="*/ 8 h 30"/>
                  <a:gd name="T34" fmla="*/ 4 w 24"/>
                  <a:gd name="T35" fmla="*/ 6 h 30"/>
                  <a:gd name="T36" fmla="*/ 4 w 24"/>
                  <a:gd name="T37" fmla="*/ 6 h 30"/>
                  <a:gd name="T38" fmla="*/ 6 w 24"/>
                  <a:gd name="T39" fmla="*/ 4 h 30"/>
                  <a:gd name="T40" fmla="*/ 6 w 24"/>
                  <a:gd name="T41" fmla="*/ 4 h 30"/>
                  <a:gd name="T42" fmla="*/ 6 w 24"/>
                  <a:gd name="T43" fmla="*/ 2 h 30"/>
                  <a:gd name="T44" fmla="*/ 8 w 24"/>
                  <a:gd name="T45" fmla="*/ 2 h 30"/>
                  <a:gd name="T46" fmla="*/ 8 w 24"/>
                  <a:gd name="T47" fmla="*/ 2 h 30"/>
                  <a:gd name="T48" fmla="*/ 10 w 24"/>
                  <a:gd name="T49" fmla="*/ 2 h 30"/>
                  <a:gd name="T50" fmla="*/ 10 w 24"/>
                  <a:gd name="T51" fmla="*/ 0 h 30"/>
                  <a:gd name="T52" fmla="*/ 12 w 24"/>
                  <a:gd name="T53" fmla="*/ 0 h 30"/>
                  <a:gd name="T54" fmla="*/ 12 w 24"/>
                  <a:gd name="T55" fmla="*/ 0 h 30"/>
                  <a:gd name="T56" fmla="*/ 14 w 24"/>
                  <a:gd name="T57" fmla="*/ 0 h 30"/>
                  <a:gd name="T58" fmla="*/ 14 w 24"/>
                  <a:gd name="T59" fmla="*/ 0 h 30"/>
                  <a:gd name="T60" fmla="*/ 16 w 24"/>
                  <a:gd name="T61" fmla="*/ 0 h 30"/>
                  <a:gd name="T62" fmla="*/ 16 w 24"/>
                  <a:gd name="T63" fmla="*/ 0 h 30"/>
                  <a:gd name="T64" fmla="*/ 18 w 24"/>
                  <a:gd name="T65" fmla="*/ 2 h 30"/>
                  <a:gd name="T66" fmla="*/ 18 w 24"/>
                  <a:gd name="T67" fmla="*/ 2 h 30"/>
                  <a:gd name="T68" fmla="*/ 20 w 24"/>
                  <a:gd name="T69" fmla="*/ 2 h 30"/>
                  <a:gd name="T70" fmla="*/ 20 w 24"/>
                  <a:gd name="T71" fmla="*/ 2 h 30"/>
                  <a:gd name="T72" fmla="*/ 20 w 24"/>
                  <a:gd name="T73" fmla="*/ 4 h 30"/>
                  <a:gd name="T74" fmla="*/ 22 w 24"/>
                  <a:gd name="T75" fmla="*/ 4 h 30"/>
                  <a:gd name="T76" fmla="*/ 22 w 24"/>
                  <a:gd name="T77" fmla="*/ 6 h 30"/>
                  <a:gd name="T78" fmla="*/ 22 w 24"/>
                  <a:gd name="T79" fmla="*/ 6 h 30"/>
                  <a:gd name="T80" fmla="*/ 22 w 24"/>
                  <a:gd name="T81" fmla="*/ 8 h 30"/>
                  <a:gd name="T82" fmla="*/ 24 w 24"/>
                  <a:gd name="T83" fmla="*/ 8 h 30"/>
                  <a:gd name="T84" fmla="*/ 24 w 24"/>
                  <a:gd name="T85" fmla="*/ 10 h 30"/>
                  <a:gd name="T86" fmla="*/ 24 w 24"/>
                  <a:gd name="T87" fmla="*/ 12 h 30"/>
                  <a:gd name="T88" fmla="*/ 24 w 24"/>
                  <a:gd name="T89" fmla="*/ 12 h 30"/>
                  <a:gd name="T90" fmla="*/ 24 w 24"/>
                  <a:gd name="T91" fmla="*/ 14 h 30"/>
                  <a:gd name="T92" fmla="*/ 24 w 24"/>
                  <a:gd name="T93" fmla="*/ 16 h 30"/>
                  <a:gd name="T94" fmla="*/ 22 w 24"/>
                  <a:gd name="T95" fmla="*/ 16 h 30"/>
                  <a:gd name="T96" fmla="*/ 20 w 24"/>
                  <a:gd name="T97" fmla="*/ 18 h 30"/>
                  <a:gd name="T98" fmla="*/ 20 w 24"/>
                  <a:gd name="T99" fmla="*/ 20 h 30"/>
                  <a:gd name="T100" fmla="*/ 18 w 24"/>
                  <a:gd name="T101" fmla="*/ 20 h 30"/>
                  <a:gd name="T102" fmla="*/ 16 w 24"/>
                  <a:gd name="T103" fmla="*/ 22 h 30"/>
                  <a:gd name="T104" fmla="*/ 14 w 24"/>
                  <a:gd name="T105" fmla="*/ 24 h 30"/>
                  <a:gd name="T106" fmla="*/ 12 w 24"/>
                  <a:gd name="T107" fmla="*/ 24 h 30"/>
                  <a:gd name="T108" fmla="*/ 12 w 24"/>
                  <a:gd name="T109" fmla="*/ 26 h 30"/>
                  <a:gd name="T110" fmla="*/ 10 w 24"/>
                  <a:gd name="T111" fmla="*/ 28 h 30"/>
                  <a:gd name="T112" fmla="*/ 8 w 24"/>
                  <a:gd name="T113" fmla="*/ 28 h 30"/>
                  <a:gd name="T114" fmla="*/ 6 w 24"/>
                  <a:gd name="T115" fmla="*/ 28 h 30"/>
                  <a:gd name="T116" fmla="*/ 4 w 24"/>
                  <a:gd name="T117" fmla="*/ 30 h 30"/>
                  <a:gd name="T118" fmla="*/ 2 w 24"/>
                  <a:gd name="T119" fmla="*/ 30 h 30"/>
                  <a:gd name="T120" fmla="*/ 2 w 24"/>
                  <a:gd name="T121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" h="30">
                    <a:moveTo>
                      <a:pt x="2" y="30"/>
                    </a:move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2" y="18"/>
                    </a:lnTo>
                    <a:lnTo>
                      <a:pt x="2" y="16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6"/>
                    </a:lnTo>
                    <a:lnTo>
                      <a:pt x="22" y="16"/>
                    </a:lnTo>
                    <a:lnTo>
                      <a:pt x="20" y="18"/>
                    </a:lnTo>
                    <a:lnTo>
                      <a:pt x="20" y="20"/>
                    </a:lnTo>
                    <a:lnTo>
                      <a:pt x="18" y="20"/>
                    </a:lnTo>
                    <a:lnTo>
                      <a:pt x="16" y="22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0" y="28"/>
                    </a:lnTo>
                    <a:lnTo>
                      <a:pt x="8" y="28"/>
                    </a:lnTo>
                    <a:lnTo>
                      <a:pt x="6" y="28"/>
                    </a:lnTo>
                    <a:lnTo>
                      <a:pt x="4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59" name="Freeform 564">
                <a:extLst>
                  <a:ext uri="{FF2B5EF4-FFF2-40B4-BE49-F238E27FC236}">
                    <a16:creationId xmlns:a16="http://schemas.microsoft.com/office/drawing/2014/main" id="{0EF67458-8944-40DA-AB09-DB863779C6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678" y="2702092"/>
                <a:ext cx="22225" cy="44450"/>
              </a:xfrm>
              <a:custGeom>
                <a:avLst/>
                <a:gdLst>
                  <a:gd name="T0" fmla="*/ 6 w 14"/>
                  <a:gd name="T1" fmla="*/ 28 h 28"/>
                  <a:gd name="T2" fmla="*/ 6 w 14"/>
                  <a:gd name="T3" fmla="*/ 28 h 28"/>
                  <a:gd name="T4" fmla="*/ 6 w 14"/>
                  <a:gd name="T5" fmla="*/ 28 h 28"/>
                  <a:gd name="T6" fmla="*/ 6 w 14"/>
                  <a:gd name="T7" fmla="*/ 28 h 28"/>
                  <a:gd name="T8" fmla="*/ 4 w 14"/>
                  <a:gd name="T9" fmla="*/ 28 h 28"/>
                  <a:gd name="T10" fmla="*/ 4 w 14"/>
                  <a:gd name="T11" fmla="*/ 28 h 28"/>
                  <a:gd name="T12" fmla="*/ 4 w 14"/>
                  <a:gd name="T13" fmla="*/ 28 h 28"/>
                  <a:gd name="T14" fmla="*/ 2 w 14"/>
                  <a:gd name="T15" fmla="*/ 26 h 28"/>
                  <a:gd name="T16" fmla="*/ 2 w 14"/>
                  <a:gd name="T17" fmla="*/ 24 h 28"/>
                  <a:gd name="T18" fmla="*/ 0 w 14"/>
                  <a:gd name="T19" fmla="*/ 22 h 28"/>
                  <a:gd name="T20" fmla="*/ 0 w 14"/>
                  <a:gd name="T21" fmla="*/ 20 h 28"/>
                  <a:gd name="T22" fmla="*/ 0 w 14"/>
                  <a:gd name="T23" fmla="*/ 18 h 28"/>
                  <a:gd name="T24" fmla="*/ 0 w 14"/>
                  <a:gd name="T25" fmla="*/ 14 h 28"/>
                  <a:gd name="T26" fmla="*/ 0 w 14"/>
                  <a:gd name="T27" fmla="*/ 12 h 28"/>
                  <a:gd name="T28" fmla="*/ 0 w 14"/>
                  <a:gd name="T29" fmla="*/ 8 h 28"/>
                  <a:gd name="T30" fmla="*/ 0 w 14"/>
                  <a:gd name="T31" fmla="*/ 6 h 28"/>
                  <a:gd name="T32" fmla="*/ 2 w 14"/>
                  <a:gd name="T33" fmla="*/ 4 h 28"/>
                  <a:gd name="T34" fmla="*/ 2 w 14"/>
                  <a:gd name="T35" fmla="*/ 2 h 28"/>
                  <a:gd name="T36" fmla="*/ 4 w 14"/>
                  <a:gd name="T37" fmla="*/ 2 h 28"/>
                  <a:gd name="T38" fmla="*/ 4 w 14"/>
                  <a:gd name="T39" fmla="*/ 2 h 28"/>
                  <a:gd name="T40" fmla="*/ 4 w 14"/>
                  <a:gd name="T41" fmla="*/ 0 h 28"/>
                  <a:gd name="T42" fmla="*/ 6 w 14"/>
                  <a:gd name="T43" fmla="*/ 0 h 28"/>
                  <a:gd name="T44" fmla="*/ 6 w 14"/>
                  <a:gd name="T45" fmla="*/ 0 h 28"/>
                  <a:gd name="T46" fmla="*/ 6 w 14"/>
                  <a:gd name="T47" fmla="*/ 0 h 28"/>
                  <a:gd name="T48" fmla="*/ 8 w 14"/>
                  <a:gd name="T49" fmla="*/ 0 h 28"/>
                  <a:gd name="T50" fmla="*/ 8 w 14"/>
                  <a:gd name="T51" fmla="*/ 0 h 28"/>
                  <a:gd name="T52" fmla="*/ 8 w 14"/>
                  <a:gd name="T53" fmla="*/ 0 h 28"/>
                  <a:gd name="T54" fmla="*/ 10 w 14"/>
                  <a:gd name="T55" fmla="*/ 2 h 28"/>
                  <a:gd name="T56" fmla="*/ 10 w 14"/>
                  <a:gd name="T57" fmla="*/ 2 h 28"/>
                  <a:gd name="T58" fmla="*/ 10 w 14"/>
                  <a:gd name="T59" fmla="*/ 2 h 28"/>
                  <a:gd name="T60" fmla="*/ 12 w 14"/>
                  <a:gd name="T61" fmla="*/ 4 h 28"/>
                  <a:gd name="T62" fmla="*/ 12 w 14"/>
                  <a:gd name="T63" fmla="*/ 6 h 28"/>
                  <a:gd name="T64" fmla="*/ 14 w 14"/>
                  <a:gd name="T65" fmla="*/ 8 h 28"/>
                  <a:gd name="T66" fmla="*/ 14 w 14"/>
                  <a:gd name="T67" fmla="*/ 12 h 28"/>
                  <a:gd name="T68" fmla="*/ 14 w 14"/>
                  <a:gd name="T69" fmla="*/ 14 h 28"/>
                  <a:gd name="T70" fmla="*/ 14 w 14"/>
                  <a:gd name="T71" fmla="*/ 18 h 28"/>
                  <a:gd name="T72" fmla="*/ 14 w 14"/>
                  <a:gd name="T73" fmla="*/ 20 h 28"/>
                  <a:gd name="T74" fmla="*/ 12 w 14"/>
                  <a:gd name="T75" fmla="*/ 22 h 28"/>
                  <a:gd name="T76" fmla="*/ 12 w 14"/>
                  <a:gd name="T77" fmla="*/ 24 h 28"/>
                  <a:gd name="T78" fmla="*/ 10 w 14"/>
                  <a:gd name="T79" fmla="*/ 26 h 28"/>
                  <a:gd name="T80" fmla="*/ 10 w 14"/>
                  <a:gd name="T81" fmla="*/ 28 h 28"/>
                  <a:gd name="T82" fmla="*/ 10 w 14"/>
                  <a:gd name="T83" fmla="*/ 28 h 28"/>
                  <a:gd name="T84" fmla="*/ 8 w 14"/>
                  <a:gd name="T85" fmla="*/ 28 h 28"/>
                  <a:gd name="T86" fmla="*/ 8 w 14"/>
                  <a:gd name="T87" fmla="*/ 28 h 28"/>
                  <a:gd name="T88" fmla="*/ 8 w 14"/>
                  <a:gd name="T89" fmla="*/ 28 h 28"/>
                  <a:gd name="T90" fmla="*/ 6 w 14"/>
                  <a:gd name="T9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" h="28">
                    <a:moveTo>
                      <a:pt x="6" y="28"/>
                    </a:moveTo>
                    <a:lnTo>
                      <a:pt x="6" y="28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2" y="4"/>
                    </a:lnTo>
                    <a:lnTo>
                      <a:pt x="12" y="6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20"/>
                    </a:lnTo>
                    <a:lnTo>
                      <a:pt x="12" y="22"/>
                    </a:lnTo>
                    <a:lnTo>
                      <a:pt x="12" y="24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6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60" name="Freeform 566">
                <a:extLst>
                  <a:ext uri="{FF2B5EF4-FFF2-40B4-BE49-F238E27FC236}">
                    <a16:creationId xmlns:a16="http://schemas.microsoft.com/office/drawing/2014/main" id="{A5E0A8C2-927A-4F85-BEDE-9B79049F8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1878" y="2873542"/>
                <a:ext cx="92075" cy="79375"/>
              </a:xfrm>
              <a:custGeom>
                <a:avLst/>
                <a:gdLst>
                  <a:gd name="T0" fmla="*/ 26 w 58"/>
                  <a:gd name="T1" fmla="*/ 0 h 50"/>
                  <a:gd name="T2" fmla="*/ 32 w 58"/>
                  <a:gd name="T3" fmla="*/ 0 h 50"/>
                  <a:gd name="T4" fmla="*/ 38 w 58"/>
                  <a:gd name="T5" fmla="*/ 2 h 50"/>
                  <a:gd name="T6" fmla="*/ 46 w 58"/>
                  <a:gd name="T7" fmla="*/ 4 h 50"/>
                  <a:gd name="T8" fmla="*/ 50 w 58"/>
                  <a:gd name="T9" fmla="*/ 6 h 50"/>
                  <a:gd name="T10" fmla="*/ 52 w 58"/>
                  <a:gd name="T11" fmla="*/ 10 h 50"/>
                  <a:gd name="T12" fmla="*/ 56 w 58"/>
                  <a:gd name="T13" fmla="*/ 12 h 50"/>
                  <a:gd name="T14" fmla="*/ 58 w 58"/>
                  <a:gd name="T15" fmla="*/ 16 h 50"/>
                  <a:gd name="T16" fmla="*/ 58 w 58"/>
                  <a:gd name="T17" fmla="*/ 20 h 50"/>
                  <a:gd name="T18" fmla="*/ 58 w 58"/>
                  <a:gd name="T19" fmla="*/ 22 h 50"/>
                  <a:gd name="T20" fmla="*/ 58 w 58"/>
                  <a:gd name="T21" fmla="*/ 24 h 50"/>
                  <a:gd name="T22" fmla="*/ 56 w 58"/>
                  <a:gd name="T23" fmla="*/ 24 h 50"/>
                  <a:gd name="T24" fmla="*/ 54 w 58"/>
                  <a:gd name="T25" fmla="*/ 26 h 50"/>
                  <a:gd name="T26" fmla="*/ 50 w 58"/>
                  <a:gd name="T27" fmla="*/ 28 h 50"/>
                  <a:gd name="T28" fmla="*/ 40 w 58"/>
                  <a:gd name="T29" fmla="*/ 30 h 50"/>
                  <a:gd name="T30" fmla="*/ 38 w 58"/>
                  <a:gd name="T31" fmla="*/ 30 h 50"/>
                  <a:gd name="T32" fmla="*/ 36 w 58"/>
                  <a:gd name="T33" fmla="*/ 32 h 50"/>
                  <a:gd name="T34" fmla="*/ 32 w 58"/>
                  <a:gd name="T35" fmla="*/ 34 h 50"/>
                  <a:gd name="T36" fmla="*/ 24 w 58"/>
                  <a:gd name="T37" fmla="*/ 44 h 50"/>
                  <a:gd name="T38" fmla="*/ 22 w 58"/>
                  <a:gd name="T39" fmla="*/ 48 h 50"/>
                  <a:gd name="T40" fmla="*/ 18 w 58"/>
                  <a:gd name="T41" fmla="*/ 50 h 50"/>
                  <a:gd name="T42" fmla="*/ 16 w 58"/>
                  <a:gd name="T43" fmla="*/ 50 h 50"/>
                  <a:gd name="T44" fmla="*/ 14 w 58"/>
                  <a:gd name="T45" fmla="*/ 50 h 50"/>
                  <a:gd name="T46" fmla="*/ 12 w 58"/>
                  <a:gd name="T47" fmla="*/ 48 h 50"/>
                  <a:gd name="T48" fmla="*/ 10 w 58"/>
                  <a:gd name="T49" fmla="*/ 46 h 50"/>
                  <a:gd name="T50" fmla="*/ 6 w 58"/>
                  <a:gd name="T51" fmla="*/ 44 h 50"/>
                  <a:gd name="T52" fmla="*/ 4 w 58"/>
                  <a:gd name="T53" fmla="*/ 38 h 50"/>
                  <a:gd name="T54" fmla="*/ 0 w 58"/>
                  <a:gd name="T55" fmla="*/ 32 h 50"/>
                  <a:gd name="T56" fmla="*/ 0 w 58"/>
                  <a:gd name="T57" fmla="*/ 28 h 50"/>
                  <a:gd name="T58" fmla="*/ 0 w 58"/>
                  <a:gd name="T59" fmla="*/ 22 h 50"/>
                  <a:gd name="T60" fmla="*/ 0 w 58"/>
                  <a:gd name="T61" fmla="*/ 16 h 50"/>
                  <a:gd name="T62" fmla="*/ 2 w 58"/>
                  <a:gd name="T63" fmla="*/ 12 h 50"/>
                  <a:gd name="T64" fmla="*/ 2 w 58"/>
                  <a:gd name="T65" fmla="*/ 10 h 50"/>
                  <a:gd name="T66" fmla="*/ 4 w 58"/>
                  <a:gd name="T67" fmla="*/ 8 h 50"/>
                  <a:gd name="T68" fmla="*/ 6 w 58"/>
                  <a:gd name="T69" fmla="*/ 6 h 50"/>
                  <a:gd name="T70" fmla="*/ 14 w 58"/>
                  <a:gd name="T71" fmla="*/ 4 h 50"/>
                  <a:gd name="T72" fmla="*/ 20 w 58"/>
                  <a:gd name="T73" fmla="*/ 2 h 50"/>
                  <a:gd name="T74" fmla="*/ 26 w 58"/>
                  <a:gd name="T7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8" h="50">
                    <a:moveTo>
                      <a:pt x="26" y="0"/>
                    </a:moveTo>
                    <a:lnTo>
                      <a:pt x="26" y="0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50" y="8"/>
                    </a:lnTo>
                    <a:lnTo>
                      <a:pt x="52" y="10"/>
                    </a:lnTo>
                    <a:lnTo>
                      <a:pt x="54" y="10"/>
                    </a:lnTo>
                    <a:lnTo>
                      <a:pt x="56" y="12"/>
                    </a:lnTo>
                    <a:lnTo>
                      <a:pt x="56" y="14"/>
                    </a:lnTo>
                    <a:lnTo>
                      <a:pt x="58" y="16"/>
                    </a:lnTo>
                    <a:lnTo>
                      <a:pt x="58" y="18"/>
                    </a:lnTo>
                    <a:lnTo>
                      <a:pt x="58" y="20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6" y="24"/>
                    </a:lnTo>
                    <a:lnTo>
                      <a:pt x="56" y="26"/>
                    </a:lnTo>
                    <a:lnTo>
                      <a:pt x="54" y="26"/>
                    </a:lnTo>
                    <a:lnTo>
                      <a:pt x="52" y="26"/>
                    </a:lnTo>
                    <a:lnTo>
                      <a:pt x="50" y="28"/>
                    </a:lnTo>
                    <a:lnTo>
                      <a:pt x="42" y="28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8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4" y="34"/>
                    </a:lnTo>
                    <a:lnTo>
                      <a:pt x="32" y="34"/>
                    </a:lnTo>
                    <a:lnTo>
                      <a:pt x="28" y="42"/>
                    </a:lnTo>
                    <a:lnTo>
                      <a:pt x="24" y="44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0" y="48"/>
                    </a:lnTo>
                    <a:lnTo>
                      <a:pt x="18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4" y="50"/>
                    </a:lnTo>
                    <a:lnTo>
                      <a:pt x="12" y="50"/>
                    </a:lnTo>
                    <a:lnTo>
                      <a:pt x="12" y="48"/>
                    </a:lnTo>
                    <a:lnTo>
                      <a:pt x="10" y="48"/>
                    </a:lnTo>
                    <a:lnTo>
                      <a:pt x="10" y="46"/>
                    </a:lnTo>
                    <a:lnTo>
                      <a:pt x="8" y="44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4" y="38"/>
                    </a:lnTo>
                    <a:lnTo>
                      <a:pt x="2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61" name="Freeform 571">
                <a:extLst>
                  <a:ext uri="{FF2B5EF4-FFF2-40B4-BE49-F238E27FC236}">
                    <a16:creationId xmlns:a16="http://schemas.microsoft.com/office/drawing/2014/main" id="{AAB7F58B-82A0-435E-A301-4D84BC88F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3753" y="2409992"/>
                <a:ext cx="114300" cy="73025"/>
              </a:xfrm>
              <a:custGeom>
                <a:avLst/>
                <a:gdLst>
                  <a:gd name="T0" fmla="*/ 30 w 72"/>
                  <a:gd name="T1" fmla="*/ 18 h 46"/>
                  <a:gd name="T2" fmla="*/ 30 w 72"/>
                  <a:gd name="T3" fmla="*/ 16 h 46"/>
                  <a:gd name="T4" fmla="*/ 32 w 72"/>
                  <a:gd name="T5" fmla="*/ 14 h 46"/>
                  <a:gd name="T6" fmla="*/ 34 w 72"/>
                  <a:gd name="T7" fmla="*/ 12 h 46"/>
                  <a:gd name="T8" fmla="*/ 38 w 72"/>
                  <a:gd name="T9" fmla="*/ 10 h 46"/>
                  <a:gd name="T10" fmla="*/ 44 w 72"/>
                  <a:gd name="T11" fmla="*/ 6 h 46"/>
                  <a:gd name="T12" fmla="*/ 50 w 72"/>
                  <a:gd name="T13" fmla="*/ 4 h 46"/>
                  <a:gd name="T14" fmla="*/ 54 w 72"/>
                  <a:gd name="T15" fmla="*/ 4 h 46"/>
                  <a:gd name="T16" fmla="*/ 60 w 72"/>
                  <a:gd name="T17" fmla="*/ 4 h 46"/>
                  <a:gd name="T18" fmla="*/ 64 w 72"/>
                  <a:gd name="T19" fmla="*/ 4 h 46"/>
                  <a:gd name="T20" fmla="*/ 68 w 72"/>
                  <a:gd name="T21" fmla="*/ 6 h 46"/>
                  <a:gd name="T22" fmla="*/ 70 w 72"/>
                  <a:gd name="T23" fmla="*/ 6 h 46"/>
                  <a:gd name="T24" fmla="*/ 70 w 72"/>
                  <a:gd name="T25" fmla="*/ 8 h 46"/>
                  <a:gd name="T26" fmla="*/ 72 w 72"/>
                  <a:gd name="T27" fmla="*/ 12 h 46"/>
                  <a:gd name="T28" fmla="*/ 72 w 72"/>
                  <a:gd name="T29" fmla="*/ 16 h 46"/>
                  <a:gd name="T30" fmla="*/ 72 w 72"/>
                  <a:gd name="T31" fmla="*/ 20 h 46"/>
                  <a:gd name="T32" fmla="*/ 72 w 72"/>
                  <a:gd name="T33" fmla="*/ 24 h 46"/>
                  <a:gd name="T34" fmla="*/ 72 w 72"/>
                  <a:gd name="T35" fmla="*/ 30 h 46"/>
                  <a:gd name="T36" fmla="*/ 70 w 72"/>
                  <a:gd name="T37" fmla="*/ 34 h 46"/>
                  <a:gd name="T38" fmla="*/ 68 w 72"/>
                  <a:gd name="T39" fmla="*/ 36 h 46"/>
                  <a:gd name="T40" fmla="*/ 66 w 72"/>
                  <a:gd name="T41" fmla="*/ 40 h 46"/>
                  <a:gd name="T42" fmla="*/ 62 w 72"/>
                  <a:gd name="T43" fmla="*/ 42 h 46"/>
                  <a:gd name="T44" fmla="*/ 56 w 72"/>
                  <a:gd name="T45" fmla="*/ 44 h 46"/>
                  <a:gd name="T46" fmla="*/ 50 w 72"/>
                  <a:gd name="T47" fmla="*/ 46 h 46"/>
                  <a:gd name="T48" fmla="*/ 44 w 72"/>
                  <a:gd name="T49" fmla="*/ 46 h 46"/>
                  <a:gd name="T50" fmla="*/ 38 w 72"/>
                  <a:gd name="T51" fmla="*/ 46 h 46"/>
                  <a:gd name="T52" fmla="*/ 32 w 72"/>
                  <a:gd name="T53" fmla="*/ 46 h 46"/>
                  <a:gd name="T54" fmla="*/ 26 w 72"/>
                  <a:gd name="T55" fmla="*/ 46 h 46"/>
                  <a:gd name="T56" fmla="*/ 24 w 72"/>
                  <a:gd name="T57" fmla="*/ 44 h 46"/>
                  <a:gd name="T58" fmla="*/ 22 w 72"/>
                  <a:gd name="T59" fmla="*/ 44 h 46"/>
                  <a:gd name="T60" fmla="*/ 20 w 72"/>
                  <a:gd name="T61" fmla="*/ 40 h 46"/>
                  <a:gd name="T62" fmla="*/ 14 w 72"/>
                  <a:gd name="T63" fmla="*/ 34 h 46"/>
                  <a:gd name="T64" fmla="*/ 10 w 72"/>
                  <a:gd name="T65" fmla="*/ 28 h 46"/>
                  <a:gd name="T66" fmla="*/ 6 w 72"/>
                  <a:gd name="T67" fmla="*/ 24 h 46"/>
                  <a:gd name="T68" fmla="*/ 2 w 72"/>
                  <a:gd name="T69" fmla="*/ 18 h 46"/>
                  <a:gd name="T70" fmla="*/ 0 w 72"/>
                  <a:gd name="T71" fmla="*/ 14 h 46"/>
                  <a:gd name="T72" fmla="*/ 0 w 72"/>
                  <a:gd name="T73" fmla="*/ 12 h 46"/>
                  <a:gd name="T74" fmla="*/ 0 w 72"/>
                  <a:gd name="T75" fmla="*/ 10 h 46"/>
                  <a:gd name="T76" fmla="*/ 0 w 72"/>
                  <a:gd name="T77" fmla="*/ 8 h 46"/>
                  <a:gd name="T78" fmla="*/ 2 w 72"/>
                  <a:gd name="T79" fmla="*/ 6 h 46"/>
                  <a:gd name="T80" fmla="*/ 6 w 72"/>
                  <a:gd name="T81" fmla="*/ 2 h 46"/>
                  <a:gd name="T82" fmla="*/ 8 w 72"/>
                  <a:gd name="T83" fmla="*/ 0 h 46"/>
                  <a:gd name="T84" fmla="*/ 8 w 72"/>
                  <a:gd name="T85" fmla="*/ 0 h 46"/>
                  <a:gd name="T86" fmla="*/ 10 w 72"/>
                  <a:gd name="T87" fmla="*/ 0 h 46"/>
                  <a:gd name="T88" fmla="*/ 12 w 72"/>
                  <a:gd name="T89" fmla="*/ 0 h 46"/>
                  <a:gd name="T90" fmla="*/ 14 w 72"/>
                  <a:gd name="T91" fmla="*/ 2 h 46"/>
                  <a:gd name="T92" fmla="*/ 18 w 72"/>
                  <a:gd name="T93" fmla="*/ 6 h 46"/>
                  <a:gd name="T94" fmla="*/ 22 w 72"/>
                  <a:gd name="T95" fmla="*/ 10 h 46"/>
                  <a:gd name="T96" fmla="*/ 22 w 72"/>
                  <a:gd name="T97" fmla="*/ 12 h 46"/>
                  <a:gd name="T98" fmla="*/ 22 w 72"/>
                  <a:gd name="T99" fmla="*/ 1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2" h="46">
                    <a:moveTo>
                      <a:pt x="30" y="18"/>
                    </a:move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0"/>
                    </a:lnTo>
                    <a:lnTo>
                      <a:pt x="38" y="10"/>
                    </a:lnTo>
                    <a:lnTo>
                      <a:pt x="40" y="8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0" y="6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2" y="10"/>
                    </a:lnTo>
                    <a:lnTo>
                      <a:pt x="72" y="12"/>
                    </a:lnTo>
                    <a:lnTo>
                      <a:pt x="72" y="14"/>
                    </a:lnTo>
                    <a:lnTo>
                      <a:pt x="72" y="16"/>
                    </a:lnTo>
                    <a:lnTo>
                      <a:pt x="72" y="18"/>
                    </a:lnTo>
                    <a:lnTo>
                      <a:pt x="72" y="20"/>
                    </a:lnTo>
                    <a:lnTo>
                      <a:pt x="72" y="22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0" y="32"/>
                    </a:lnTo>
                    <a:lnTo>
                      <a:pt x="70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38"/>
                    </a:lnTo>
                    <a:lnTo>
                      <a:pt x="66" y="40"/>
                    </a:lnTo>
                    <a:lnTo>
                      <a:pt x="64" y="40"/>
                    </a:lnTo>
                    <a:lnTo>
                      <a:pt x="62" y="42"/>
                    </a:lnTo>
                    <a:lnTo>
                      <a:pt x="58" y="42"/>
                    </a:lnTo>
                    <a:lnTo>
                      <a:pt x="56" y="44"/>
                    </a:lnTo>
                    <a:lnTo>
                      <a:pt x="54" y="44"/>
                    </a:lnTo>
                    <a:lnTo>
                      <a:pt x="50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2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0" y="40"/>
                    </a:lnTo>
                    <a:lnTo>
                      <a:pt x="18" y="38"/>
                    </a:lnTo>
                    <a:lnTo>
                      <a:pt x="14" y="34"/>
                    </a:lnTo>
                    <a:lnTo>
                      <a:pt x="12" y="30"/>
                    </a:lnTo>
                    <a:lnTo>
                      <a:pt x="10" y="28"/>
                    </a:lnTo>
                    <a:lnTo>
                      <a:pt x="8" y="26"/>
                    </a:lnTo>
                    <a:lnTo>
                      <a:pt x="6" y="24"/>
                    </a:lnTo>
                    <a:lnTo>
                      <a:pt x="4" y="20"/>
                    </a:lnTo>
                    <a:lnTo>
                      <a:pt x="2" y="18"/>
                    </a:lnTo>
                    <a:lnTo>
                      <a:pt x="2" y="16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6" y="4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2" y="10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2" y="14"/>
                    </a:lnTo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62" name="Freeform 573">
                <a:extLst>
                  <a:ext uri="{FF2B5EF4-FFF2-40B4-BE49-F238E27FC236}">
                    <a16:creationId xmlns:a16="http://schemas.microsoft.com/office/drawing/2014/main" id="{AFF528CF-5D88-45CD-9D89-8AE770537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3453" y="2308392"/>
                <a:ext cx="60325" cy="63500"/>
              </a:xfrm>
              <a:custGeom>
                <a:avLst/>
                <a:gdLst>
                  <a:gd name="T0" fmla="*/ 2 w 38"/>
                  <a:gd name="T1" fmla="*/ 8 h 40"/>
                  <a:gd name="T2" fmla="*/ 2 w 38"/>
                  <a:gd name="T3" fmla="*/ 8 h 40"/>
                  <a:gd name="T4" fmla="*/ 2 w 38"/>
                  <a:gd name="T5" fmla="*/ 10 h 40"/>
                  <a:gd name="T6" fmla="*/ 2 w 38"/>
                  <a:gd name="T7" fmla="*/ 10 h 40"/>
                  <a:gd name="T8" fmla="*/ 0 w 38"/>
                  <a:gd name="T9" fmla="*/ 12 h 40"/>
                  <a:gd name="T10" fmla="*/ 0 w 38"/>
                  <a:gd name="T11" fmla="*/ 14 h 40"/>
                  <a:gd name="T12" fmla="*/ 0 w 38"/>
                  <a:gd name="T13" fmla="*/ 18 h 40"/>
                  <a:gd name="T14" fmla="*/ 0 w 38"/>
                  <a:gd name="T15" fmla="*/ 20 h 40"/>
                  <a:gd name="T16" fmla="*/ 2 w 38"/>
                  <a:gd name="T17" fmla="*/ 22 h 40"/>
                  <a:gd name="T18" fmla="*/ 2 w 38"/>
                  <a:gd name="T19" fmla="*/ 24 h 40"/>
                  <a:gd name="T20" fmla="*/ 2 w 38"/>
                  <a:gd name="T21" fmla="*/ 26 h 40"/>
                  <a:gd name="T22" fmla="*/ 4 w 38"/>
                  <a:gd name="T23" fmla="*/ 28 h 40"/>
                  <a:gd name="T24" fmla="*/ 4 w 38"/>
                  <a:gd name="T25" fmla="*/ 30 h 40"/>
                  <a:gd name="T26" fmla="*/ 6 w 38"/>
                  <a:gd name="T27" fmla="*/ 32 h 40"/>
                  <a:gd name="T28" fmla="*/ 8 w 38"/>
                  <a:gd name="T29" fmla="*/ 34 h 40"/>
                  <a:gd name="T30" fmla="*/ 10 w 38"/>
                  <a:gd name="T31" fmla="*/ 36 h 40"/>
                  <a:gd name="T32" fmla="*/ 12 w 38"/>
                  <a:gd name="T33" fmla="*/ 38 h 40"/>
                  <a:gd name="T34" fmla="*/ 14 w 38"/>
                  <a:gd name="T35" fmla="*/ 38 h 40"/>
                  <a:gd name="T36" fmla="*/ 14 w 38"/>
                  <a:gd name="T37" fmla="*/ 38 h 40"/>
                  <a:gd name="T38" fmla="*/ 14 w 38"/>
                  <a:gd name="T39" fmla="*/ 40 h 40"/>
                  <a:gd name="T40" fmla="*/ 16 w 38"/>
                  <a:gd name="T41" fmla="*/ 40 h 40"/>
                  <a:gd name="T42" fmla="*/ 18 w 38"/>
                  <a:gd name="T43" fmla="*/ 40 h 40"/>
                  <a:gd name="T44" fmla="*/ 20 w 38"/>
                  <a:gd name="T45" fmla="*/ 40 h 40"/>
                  <a:gd name="T46" fmla="*/ 22 w 38"/>
                  <a:gd name="T47" fmla="*/ 40 h 40"/>
                  <a:gd name="T48" fmla="*/ 24 w 38"/>
                  <a:gd name="T49" fmla="*/ 38 h 40"/>
                  <a:gd name="T50" fmla="*/ 26 w 38"/>
                  <a:gd name="T51" fmla="*/ 38 h 40"/>
                  <a:gd name="T52" fmla="*/ 28 w 38"/>
                  <a:gd name="T53" fmla="*/ 38 h 40"/>
                  <a:gd name="T54" fmla="*/ 30 w 38"/>
                  <a:gd name="T55" fmla="*/ 36 h 40"/>
                  <a:gd name="T56" fmla="*/ 30 w 38"/>
                  <a:gd name="T57" fmla="*/ 36 h 40"/>
                  <a:gd name="T58" fmla="*/ 30 w 38"/>
                  <a:gd name="T59" fmla="*/ 36 h 40"/>
                  <a:gd name="T60" fmla="*/ 32 w 38"/>
                  <a:gd name="T61" fmla="*/ 34 h 40"/>
                  <a:gd name="T62" fmla="*/ 34 w 38"/>
                  <a:gd name="T63" fmla="*/ 30 h 40"/>
                  <a:gd name="T64" fmla="*/ 34 w 38"/>
                  <a:gd name="T65" fmla="*/ 28 h 40"/>
                  <a:gd name="T66" fmla="*/ 36 w 38"/>
                  <a:gd name="T67" fmla="*/ 26 h 40"/>
                  <a:gd name="T68" fmla="*/ 36 w 38"/>
                  <a:gd name="T69" fmla="*/ 24 h 40"/>
                  <a:gd name="T70" fmla="*/ 36 w 38"/>
                  <a:gd name="T71" fmla="*/ 20 h 40"/>
                  <a:gd name="T72" fmla="*/ 38 w 38"/>
                  <a:gd name="T73" fmla="*/ 20 h 40"/>
                  <a:gd name="T74" fmla="*/ 36 w 38"/>
                  <a:gd name="T75" fmla="*/ 18 h 40"/>
                  <a:gd name="T76" fmla="*/ 36 w 38"/>
                  <a:gd name="T77" fmla="*/ 18 h 40"/>
                  <a:gd name="T78" fmla="*/ 36 w 38"/>
                  <a:gd name="T79" fmla="*/ 16 h 40"/>
                  <a:gd name="T80" fmla="*/ 36 w 38"/>
                  <a:gd name="T81" fmla="*/ 14 h 40"/>
                  <a:gd name="T82" fmla="*/ 34 w 38"/>
                  <a:gd name="T83" fmla="*/ 12 h 40"/>
                  <a:gd name="T84" fmla="*/ 32 w 38"/>
                  <a:gd name="T85" fmla="*/ 8 h 40"/>
                  <a:gd name="T86" fmla="*/ 30 w 38"/>
                  <a:gd name="T87" fmla="*/ 6 h 40"/>
                  <a:gd name="T88" fmla="*/ 28 w 38"/>
                  <a:gd name="T89" fmla="*/ 4 h 40"/>
                  <a:gd name="T90" fmla="*/ 28 w 38"/>
                  <a:gd name="T91" fmla="*/ 2 h 40"/>
                  <a:gd name="T92" fmla="*/ 26 w 38"/>
                  <a:gd name="T93" fmla="*/ 2 h 40"/>
                  <a:gd name="T94" fmla="*/ 26 w 38"/>
                  <a:gd name="T95" fmla="*/ 2 h 40"/>
                  <a:gd name="T96" fmla="*/ 24 w 38"/>
                  <a:gd name="T97" fmla="*/ 0 h 40"/>
                  <a:gd name="T98" fmla="*/ 24 w 38"/>
                  <a:gd name="T99" fmla="*/ 0 h 40"/>
                  <a:gd name="T100" fmla="*/ 22 w 38"/>
                  <a:gd name="T101" fmla="*/ 0 h 40"/>
                  <a:gd name="T102" fmla="*/ 20 w 38"/>
                  <a:gd name="T103" fmla="*/ 0 h 40"/>
                  <a:gd name="T104" fmla="*/ 20 w 38"/>
                  <a:gd name="T105" fmla="*/ 0 h 40"/>
                  <a:gd name="T106" fmla="*/ 18 w 38"/>
                  <a:gd name="T107" fmla="*/ 0 h 40"/>
                  <a:gd name="T108" fmla="*/ 16 w 38"/>
                  <a:gd name="T109" fmla="*/ 2 h 40"/>
                  <a:gd name="T110" fmla="*/ 12 w 38"/>
                  <a:gd name="T111" fmla="*/ 2 h 40"/>
                  <a:gd name="T112" fmla="*/ 10 w 38"/>
                  <a:gd name="T113" fmla="*/ 4 h 40"/>
                  <a:gd name="T114" fmla="*/ 8 w 38"/>
                  <a:gd name="T115" fmla="*/ 4 h 40"/>
                  <a:gd name="T116" fmla="*/ 6 w 38"/>
                  <a:gd name="T117" fmla="*/ 4 h 40"/>
                  <a:gd name="T118" fmla="*/ 6 w 38"/>
                  <a:gd name="T119" fmla="*/ 6 h 40"/>
                  <a:gd name="T120" fmla="*/ 4 w 38"/>
                  <a:gd name="T121" fmla="*/ 6 h 40"/>
                  <a:gd name="T122" fmla="*/ 2 w 38"/>
                  <a:gd name="T123" fmla="*/ 8 h 40"/>
                  <a:gd name="T124" fmla="*/ 2 w 38"/>
                  <a:gd name="T125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8" h="40">
                    <a:moveTo>
                      <a:pt x="2" y="8"/>
                    </a:move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0" y="36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6" y="40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8" y="38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6" y="26"/>
                    </a:lnTo>
                    <a:lnTo>
                      <a:pt x="36" y="24"/>
                    </a:lnTo>
                    <a:lnTo>
                      <a:pt x="36" y="20"/>
                    </a:lnTo>
                    <a:lnTo>
                      <a:pt x="38" y="20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4" y="12"/>
                    </a:lnTo>
                    <a:lnTo>
                      <a:pt x="32" y="8"/>
                    </a:lnTo>
                    <a:lnTo>
                      <a:pt x="30" y="6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63" name="Freeform 575">
                <a:extLst>
                  <a:ext uri="{FF2B5EF4-FFF2-40B4-BE49-F238E27FC236}">
                    <a16:creationId xmlns:a16="http://schemas.microsoft.com/office/drawing/2014/main" id="{EC7C1DE8-785C-4C31-92FD-1227C4D19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0753" y="2248067"/>
                <a:ext cx="44450" cy="38100"/>
              </a:xfrm>
              <a:custGeom>
                <a:avLst/>
                <a:gdLst>
                  <a:gd name="T0" fmla="*/ 4 w 28"/>
                  <a:gd name="T1" fmla="*/ 0 h 24"/>
                  <a:gd name="T2" fmla="*/ 4 w 28"/>
                  <a:gd name="T3" fmla="*/ 0 h 24"/>
                  <a:gd name="T4" fmla="*/ 4 w 28"/>
                  <a:gd name="T5" fmla="*/ 2 h 24"/>
                  <a:gd name="T6" fmla="*/ 4 w 28"/>
                  <a:gd name="T7" fmla="*/ 2 h 24"/>
                  <a:gd name="T8" fmla="*/ 2 w 28"/>
                  <a:gd name="T9" fmla="*/ 4 h 24"/>
                  <a:gd name="T10" fmla="*/ 2 w 28"/>
                  <a:gd name="T11" fmla="*/ 4 h 24"/>
                  <a:gd name="T12" fmla="*/ 2 w 28"/>
                  <a:gd name="T13" fmla="*/ 6 h 24"/>
                  <a:gd name="T14" fmla="*/ 2 w 28"/>
                  <a:gd name="T15" fmla="*/ 8 h 24"/>
                  <a:gd name="T16" fmla="*/ 0 w 28"/>
                  <a:gd name="T17" fmla="*/ 10 h 24"/>
                  <a:gd name="T18" fmla="*/ 0 w 28"/>
                  <a:gd name="T19" fmla="*/ 14 h 24"/>
                  <a:gd name="T20" fmla="*/ 0 w 28"/>
                  <a:gd name="T21" fmla="*/ 16 h 24"/>
                  <a:gd name="T22" fmla="*/ 0 w 28"/>
                  <a:gd name="T23" fmla="*/ 16 h 24"/>
                  <a:gd name="T24" fmla="*/ 0 w 28"/>
                  <a:gd name="T25" fmla="*/ 18 h 24"/>
                  <a:gd name="T26" fmla="*/ 2 w 28"/>
                  <a:gd name="T27" fmla="*/ 20 h 24"/>
                  <a:gd name="T28" fmla="*/ 2 w 28"/>
                  <a:gd name="T29" fmla="*/ 20 h 24"/>
                  <a:gd name="T30" fmla="*/ 2 w 28"/>
                  <a:gd name="T31" fmla="*/ 22 h 24"/>
                  <a:gd name="T32" fmla="*/ 4 w 28"/>
                  <a:gd name="T33" fmla="*/ 22 h 24"/>
                  <a:gd name="T34" fmla="*/ 4 w 28"/>
                  <a:gd name="T35" fmla="*/ 22 h 24"/>
                  <a:gd name="T36" fmla="*/ 6 w 28"/>
                  <a:gd name="T37" fmla="*/ 22 h 24"/>
                  <a:gd name="T38" fmla="*/ 6 w 28"/>
                  <a:gd name="T39" fmla="*/ 24 h 24"/>
                  <a:gd name="T40" fmla="*/ 8 w 28"/>
                  <a:gd name="T41" fmla="*/ 24 h 24"/>
                  <a:gd name="T42" fmla="*/ 8 w 28"/>
                  <a:gd name="T43" fmla="*/ 24 h 24"/>
                  <a:gd name="T44" fmla="*/ 12 w 28"/>
                  <a:gd name="T45" fmla="*/ 24 h 24"/>
                  <a:gd name="T46" fmla="*/ 14 w 28"/>
                  <a:gd name="T47" fmla="*/ 24 h 24"/>
                  <a:gd name="T48" fmla="*/ 18 w 28"/>
                  <a:gd name="T49" fmla="*/ 22 h 24"/>
                  <a:gd name="T50" fmla="*/ 20 w 28"/>
                  <a:gd name="T51" fmla="*/ 22 h 24"/>
                  <a:gd name="T52" fmla="*/ 20 w 28"/>
                  <a:gd name="T53" fmla="*/ 22 h 24"/>
                  <a:gd name="T54" fmla="*/ 22 w 28"/>
                  <a:gd name="T55" fmla="*/ 22 h 24"/>
                  <a:gd name="T56" fmla="*/ 22 w 28"/>
                  <a:gd name="T57" fmla="*/ 22 h 24"/>
                  <a:gd name="T58" fmla="*/ 22 w 28"/>
                  <a:gd name="T59" fmla="*/ 20 h 24"/>
                  <a:gd name="T60" fmla="*/ 24 w 28"/>
                  <a:gd name="T61" fmla="*/ 20 h 24"/>
                  <a:gd name="T62" fmla="*/ 24 w 28"/>
                  <a:gd name="T63" fmla="*/ 18 h 24"/>
                  <a:gd name="T64" fmla="*/ 26 w 28"/>
                  <a:gd name="T65" fmla="*/ 16 h 24"/>
                  <a:gd name="T66" fmla="*/ 26 w 28"/>
                  <a:gd name="T67" fmla="*/ 14 h 24"/>
                  <a:gd name="T68" fmla="*/ 28 w 28"/>
                  <a:gd name="T69" fmla="*/ 12 h 24"/>
                  <a:gd name="T70" fmla="*/ 28 w 28"/>
                  <a:gd name="T71" fmla="*/ 10 h 24"/>
                  <a:gd name="T72" fmla="*/ 28 w 28"/>
                  <a:gd name="T73" fmla="*/ 8 h 24"/>
                  <a:gd name="T74" fmla="*/ 28 w 28"/>
                  <a:gd name="T75" fmla="*/ 8 h 24"/>
                  <a:gd name="T76" fmla="*/ 28 w 28"/>
                  <a:gd name="T77" fmla="*/ 6 h 24"/>
                  <a:gd name="T78" fmla="*/ 26 w 28"/>
                  <a:gd name="T79" fmla="*/ 6 h 24"/>
                  <a:gd name="T80" fmla="*/ 26 w 28"/>
                  <a:gd name="T81" fmla="*/ 4 h 24"/>
                  <a:gd name="T82" fmla="*/ 26 w 28"/>
                  <a:gd name="T83" fmla="*/ 4 h 24"/>
                  <a:gd name="T84" fmla="*/ 24 w 28"/>
                  <a:gd name="T85" fmla="*/ 4 h 24"/>
                  <a:gd name="T86" fmla="*/ 24 w 28"/>
                  <a:gd name="T87" fmla="*/ 2 h 24"/>
                  <a:gd name="T88" fmla="*/ 22 w 28"/>
                  <a:gd name="T89" fmla="*/ 2 h 24"/>
                  <a:gd name="T90" fmla="*/ 20 w 28"/>
                  <a:gd name="T91" fmla="*/ 2 h 24"/>
                  <a:gd name="T92" fmla="*/ 18 w 28"/>
                  <a:gd name="T93" fmla="*/ 0 h 24"/>
                  <a:gd name="T94" fmla="*/ 16 w 28"/>
                  <a:gd name="T95" fmla="*/ 0 h 24"/>
                  <a:gd name="T96" fmla="*/ 14 w 28"/>
                  <a:gd name="T97" fmla="*/ 0 h 24"/>
                  <a:gd name="T98" fmla="*/ 14 w 28"/>
                  <a:gd name="T99" fmla="*/ 0 h 24"/>
                  <a:gd name="T100" fmla="*/ 12 w 28"/>
                  <a:gd name="T101" fmla="*/ 0 h 24"/>
                  <a:gd name="T102" fmla="*/ 10 w 28"/>
                  <a:gd name="T103" fmla="*/ 0 h 24"/>
                  <a:gd name="T104" fmla="*/ 8 w 28"/>
                  <a:gd name="T105" fmla="*/ 0 h 24"/>
                  <a:gd name="T106" fmla="*/ 6 w 28"/>
                  <a:gd name="T107" fmla="*/ 0 h 24"/>
                  <a:gd name="T108" fmla="*/ 6 w 28"/>
                  <a:gd name="T109" fmla="*/ 0 h 24"/>
                  <a:gd name="T110" fmla="*/ 4 w 28"/>
                  <a:gd name="T1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" h="24">
                    <a:moveTo>
                      <a:pt x="4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8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4" y="20"/>
                    </a:lnTo>
                    <a:lnTo>
                      <a:pt x="24" y="18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8" y="12"/>
                    </a:lnTo>
                    <a:lnTo>
                      <a:pt x="28" y="10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6"/>
                    </a:lnTo>
                    <a:lnTo>
                      <a:pt x="26" y="6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64" name="Freeform 577">
                <a:extLst>
                  <a:ext uri="{FF2B5EF4-FFF2-40B4-BE49-F238E27FC236}">
                    <a16:creationId xmlns:a16="http://schemas.microsoft.com/office/drawing/2014/main" id="{4D6D1FFE-F4B5-433A-832E-788D7823EC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6478" y="2197267"/>
                <a:ext cx="136525" cy="142875"/>
              </a:xfrm>
              <a:custGeom>
                <a:avLst/>
                <a:gdLst>
                  <a:gd name="T0" fmla="*/ 30 w 86"/>
                  <a:gd name="T1" fmla="*/ 0 h 90"/>
                  <a:gd name="T2" fmla="*/ 28 w 86"/>
                  <a:gd name="T3" fmla="*/ 2 h 90"/>
                  <a:gd name="T4" fmla="*/ 26 w 86"/>
                  <a:gd name="T5" fmla="*/ 4 h 90"/>
                  <a:gd name="T6" fmla="*/ 24 w 86"/>
                  <a:gd name="T7" fmla="*/ 6 h 90"/>
                  <a:gd name="T8" fmla="*/ 20 w 86"/>
                  <a:gd name="T9" fmla="*/ 14 h 90"/>
                  <a:gd name="T10" fmla="*/ 16 w 86"/>
                  <a:gd name="T11" fmla="*/ 18 h 90"/>
                  <a:gd name="T12" fmla="*/ 12 w 86"/>
                  <a:gd name="T13" fmla="*/ 22 h 90"/>
                  <a:gd name="T14" fmla="*/ 6 w 86"/>
                  <a:gd name="T15" fmla="*/ 30 h 90"/>
                  <a:gd name="T16" fmla="*/ 4 w 86"/>
                  <a:gd name="T17" fmla="*/ 32 h 90"/>
                  <a:gd name="T18" fmla="*/ 2 w 86"/>
                  <a:gd name="T19" fmla="*/ 34 h 90"/>
                  <a:gd name="T20" fmla="*/ 0 w 86"/>
                  <a:gd name="T21" fmla="*/ 38 h 90"/>
                  <a:gd name="T22" fmla="*/ 0 w 86"/>
                  <a:gd name="T23" fmla="*/ 44 h 90"/>
                  <a:gd name="T24" fmla="*/ 2 w 86"/>
                  <a:gd name="T25" fmla="*/ 50 h 90"/>
                  <a:gd name="T26" fmla="*/ 2 w 86"/>
                  <a:gd name="T27" fmla="*/ 54 h 90"/>
                  <a:gd name="T28" fmla="*/ 4 w 86"/>
                  <a:gd name="T29" fmla="*/ 56 h 90"/>
                  <a:gd name="T30" fmla="*/ 4 w 86"/>
                  <a:gd name="T31" fmla="*/ 56 h 90"/>
                  <a:gd name="T32" fmla="*/ 6 w 86"/>
                  <a:gd name="T33" fmla="*/ 56 h 90"/>
                  <a:gd name="T34" fmla="*/ 10 w 86"/>
                  <a:gd name="T35" fmla="*/ 56 h 90"/>
                  <a:gd name="T36" fmla="*/ 16 w 86"/>
                  <a:gd name="T37" fmla="*/ 56 h 90"/>
                  <a:gd name="T38" fmla="*/ 20 w 86"/>
                  <a:gd name="T39" fmla="*/ 54 h 90"/>
                  <a:gd name="T40" fmla="*/ 22 w 86"/>
                  <a:gd name="T41" fmla="*/ 56 h 90"/>
                  <a:gd name="T42" fmla="*/ 22 w 86"/>
                  <a:gd name="T43" fmla="*/ 56 h 90"/>
                  <a:gd name="T44" fmla="*/ 22 w 86"/>
                  <a:gd name="T45" fmla="*/ 58 h 90"/>
                  <a:gd name="T46" fmla="*/ 22 w 86"/>
                  <a:gd name="T47" fmla="*/ 60 h 90"/>
                  <a:gd name="T48" fmla="*/ 20 w 86"/>
                  <a:gd name="T49" fmla="*/ 66 h 90"/>
                  <a:gd name="T50" fmla="*/ 20 w 86"/>
                  <a:gd name="T51" fmla="*/ 68 h 90"/>
                  <a:gd name="T52" fmla="*/ 20 w 86"/>
                  <a:gd name="T53" fmla="*/ 70 h 90"/>
                  <a:gd name="T54" fmla="*/ 20 w 86"/>
                  <a:gd name="T55" fmla="*/ 74 h 90"/>
                  <a:gd name="T56" fmla="*/ 22 w 86"/>
                  <a:gd name="T57" fmla="*/ 78 h 90"/>
                  <a:gd name="T58" fmla="*/ 24 w 86"/>
                  <a:gd name="T59" fmla="*/ 82 h 90"/>
                  <a:gd name="T60" fmla="*/ 24 w 86"/>
                  <a:gd name="T61" fmla="*/ 84 h 90"/>
                  <a:gd name="T62" fmla="*/ 28 w 86"/>
                  <a:gd name="T63" fmla="*/ 86 h 90"/>
                  <a:gd name="T64" fmla="*/ 34 w 86"/>
                  <a:gd name="T65" fmla="*/ 88 h 90"/>
                  <a:gd name="T66" fmla="*/ 40 w 86"/>
                  <a:gd name="T67" fmla="*/ 90 h 90"/>
                  <a:gd name="T68" fmla="*/ 46 w 86"/>
                  <a:gd name="T69" fmla="*/ 90 h 90"/>
                  <a:gd name="T70" fmla="*/ 52 w 86"/>
                  <a:gd name="T71" fmla="*/ 90 h 90"/>
                  <a:gd name="T72" fmla="*/ 60 w 86"/>
                  <a:gd name="T73" fmla="*/ 90 h 90"/>
                  <a:gd name="T74" fmla="*/ 64 w 86"/>
                  <a:gd name="T75" fmla="*/ 90 h 90"/>
                  <a:gd name="T76" fmla="*/ 70 w 86"/>
                  <a:gd name="T77" fmla="*/ 88 h 90"/>
                  <a:gd name="T78" fmla="*/ 72 w 86"/>
                  <a:gd name="T79" fmla="*/ 88 h 90"/>
                  <a:gd name="T80" fmla="*/ 74 w 86"/>
                  <a:gd name="T81" fmla="*/ 86 h 90"/>
                  <a:gd name="T82" fmla="*/ 76 w 86"/>
                  <a:gd name="T83" fmla="*/ 80 h 90"/>
                  <a:gd name="T84" fmla="*/ 80 w 86"/>
                  <a:gd name="T85" fmla="*/ 76 h 90"/>
                  <a:gd name="T86" fmla="*/ 82 w 86"/>
                  <a:gd name="T87" fmla="*/ 70 h 90"/>
                  <a:gd name="T88" fmla="*/ 84 w 86"/>
                  <a:gd name="T89" fmla="*/ 64 h 90"/>
                  <a:gd name="T90" fmla="*/ 84 w 86"/>
                  <a:gd name="T91" fmla="*/ 58 h 90"/>
                  <a:gd name="T92" fmla="*/ 86 w 86"/>
                  <a:gd name="T93" fmla="*/ 50 h 90"/>
                  <a:gd name="T94" fmla="*/ 84 w 86"/>
                  <a:gd name="T95" fmla="*/ 44 h 90"/>
                  <a:gd name="T96" fmla="*/ 84 w 86"/>
                  <a:gd name="T97" fmla="*/ 42 h 90"/>
                  <a:gd name="T98" fmla="*/ 82 w 86"/>
                  <a:gd name="T99" fmla="*/ 38 h 90"/>
                  <a:gd name="T100" fmla="*/ 78 w 86"/>
                  <a:gd name="T101" fmla="*/ 32 h 90"/>
                  <a:gd name="T102" fmla="*/ 72 w 86"/>
                  <a:gd name="T103" fmla="*/ 26 h 90"/>
                  <a:gd name="T104" fmla="*/ 66 w 86"/>
                  <a:gd name="T105" fmla="*/ 20 h 90"/>
                  <a:gd name="T106" fmla="*/ 60 w 86"/>
                  <a:gd name="T107" fmla="*/ 14 h 90"/>
                  <a:gd name="T108" fmla="*/ 48 w 86"/>
                  <a:gd name="T109" fmla="*/ 8 h 90"/>
                  <a:gd name="T110" fmla="*/ 44 w 86"/>
                  <a:gd name="T111" fmla="*/ 4 h 90"/>
                  <a:gd name="T112" fmla="*/ 38 w 86"/>
                  <a:gd name="T113" fmla="*/ 2 h 90"/>
                  <a:gd name="T114" fmla="*/ 34 w 86"/>
                  <a:gd name="T115" fmla="*/ 0 h 90"/>
                  <a:gd name="T116" fmla="*/ 30 w 86"/>
                  <a:gd name="T11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6" h="90">
                    <a:moveTo>
                      <a:pt x="30" y="0"/>
                    </a:moveTo>
                    <a:lnTo>
                      <a:pt x="30" y="0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2" y="8"/>
                    </a:lnTo>
                    <a:lnTo>
                      <a:pt x="20" y="14"/>
                    </a:lnTo>
                    <a:lnTo>
                      <a:pt x="18" y="16"/>
                    </a:lnTo>
                    <a:lnTo>
                      <a:pt x="16" y="18"/>
                    </a:lnTo>
                    <a:lnTo>
                      <a:pt x="14" y="20"/>
                    </a:lnTo>
                    <a:lnTo>
                      <a:pt x="12" y="22"/>
                    </a:lnTo>
                    <a:lnTo>
                      <a:pt x="8" y="26"/>
                    </a:lnTo>
                    <a:lnTo>
                      <a:pt x="6" y="30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2" y="50"/>
                    </a:lnTo>
                    <a:lnTo>
                      <a:pt x="2" y="52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8" y="54"/>
                    </a:lnTo>
                    <a:lnTo>
                      <a:pt x="20" y="54"/>
                    </a:lnTo>
                    <a:lnTo>
                      <a:pt x="20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8"/>
                    </a:lnTo>
                    <a:lnTo>
                      <a:pt x="22" y="58"/>
                    </a:lnTo>
                    <a:lnTo>
                      <a:pt x="22" y="60"/>
                    </a:lnTo>
                    <a:lnTo>
                      <a:pt x="22" y="62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70"/>
                    </a:lnTo>
                    <a:lnTo>
                      <a:pt x="20" y="72"/>
                    </a:lnTo>
                    <a:lnTo>
                      <a:pt x="20" y="74"/>
                    </a:lnTo>
                    <a:lnTo>
                      <a:pt x="20" y="76"/>
                    </a:lnTo>
                    <a:lnTo>
                      <a:pt x="22" y="78"/>
                    </a:lnTo>
                    <a:lnTo>
                      <a:pt x="22" y="80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4" y="84"/>
                    </a:lnTo>
                    <a:lnTo>
                      <a:pt x="26" y="84"/>
                    </a:lnTo>
                    <a:lnTo>
                      <a:pt x="28" y="86"/>
                    </a:lnTo>
                    <a:lnTo>
                      <a:pt x="30" y="86"/>
                    </a:lnTo>
                    <a:lnTo>
                      <a:pt x="34" y="88"/>
                    </a:lnTo>
                    <a:lnTo>
                      <a:pt x="36" y="88"/>
                    </a:lnTo>
                    <a:lnTo>
                      <a:pt x="40" y="90"/>
                    </a:lnTo>
                    <a:lnTo>
                      <a:pt x="42" y="90"/>
                    </a:lnTo>
                    <a:lnTo>
                      <a:pt x="46" y="90"/>
                    </a:lnTo>
                    <a:lnTo>
                      <a:pt x="50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2" y="90"/>
                    </a:lnTo>
                    <a:lnTo>
                      <a:pt x="64" y="90"/>
                    </a:lnTo>
                    <a:lnTo>
                      <a:pt x="68" y="90"/>
                    </a:lnTo>
                    <a:lnTo>
                      <a:pt x="70" y="88"/>
                    </a:lnTo>
                    <a:lnTo>
                      <a:pt x="70" y="88"/>
                    </a:lnTo>
                    <a:lnTo>
                      <a:pt x="72" y="88"/>
                    </a:lnTo>
                    <a:lnTo>
                      <a:pt x="72" y="86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78" y="78"/>
                    </a:lnTo>
                    <a:lnTo>
                      <a:pt x="80" y="76"/>
                    </a:lnTo>
                    <a:lnTo>
                      <a:pt x="82" y="74"/>
                    </a:lnTo>
                    <a:lnTo>
                      <a:pt x="82" y="70"/>
                    </a:lnTo>
                    <a:lnTo>
                      <a:pt x="84" y="68"/>
                    </a:lnTo>
                    <a:lnTo>
                      <a:pt x="84" y="64"/>
                    </a:lnTo>
                    <a:lnTo>
                      <a:pt x="84" y="60"/>
                    </a:lnTo>
                    <a:lnTo>
                      <a:pt x="84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86" y="46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2"/>
                    </a:lnTo>
                    <a:lnTo>
                      <a:pt x="84" y="40"/>
                    </a:lnTo>
                    <a:lnTo>
                      <a:pt x="82" y="38"/>
                    </a:lnTo>
                    <a:lnTo>
                      <a:pt x="80" y="34"/>
                    </a:lnTo>
                    <a:lnTo>
                      <a:pt x="78" y="32"/>
                    </a:lnTo>
                    <a:lnTo>
                      <a:pt x="74" y="28"/>
                    </a:lnTo>
                    <a:lnTo>
                      <a:pt x="72" y="26"/>
                    </a:lnTo>
                    <a:lnTo>
                      <a:pt x="70" y="22"/>
                    </a:lnTo>
                    <a:lnTo>
                      <a:pt x="66" y="20"/>
                    </a:lnTo>
                    <a:lnTo>
                      <a:pt x="64" y="18"/>
                    </a:lnTo>
                    <a:lnTo>
                      <a:pt x="60" y="14"/>
                    </a:lnTo>
                    <a:lnTo>
                      <a:pt x="54" y="10"/>
                    </a:lnTo>
                    <a:lnTo>
                      <a:pt x="48" y="8"/>
                    </a:lnTo>
                    <a:lnTo>
                      <a:pt x="46" y="6"/>
                    </a:lnTo>
                    <a:lnTo>
                      <a:pt x="44" y="4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65" name="Freeform 579">
                <a:extLst>
                  <a:ext uri="{FF2B5EF4-FFF2-40B4-BE49-F238E27FC236}">
                    <a16:creationId xmlns:a16="http://schemas.microsoft.com/office/drawing/2014/main" id="{899A800F-6B0A-419C-A0AE-8358EE9BD1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5853" y="2114717"/>
                <a:ext cx="561975" cy="323850"/>
              </a:xfrm>
              <a:custGeom>
                <a:avLst/>
                <a:gdLst>
                  <a:gd name="T0" fmla="*/ 32 w 354"/>
                  <a:gd name="T1" fmla="*/ 50 h 204"/>
                  <a:gd name="T2" fmla="*/ 48 w 354"/>
                  <a:gd name="T3" fmla="*/ 70 h 204"/>
                  <a:gd name="T4" fmla="*/ 84 w 354"/>
                  <a:gd name="T5" fmla="*/ 82 h 204"/>
                  <a:gd name="T6" fmla="*/ 108 w 354"/>
                  <a:gd name="T7" fmla="*/ 72 h 204"/>
                  <a:gd name="T8" fmla="*/ 144 w 354"/>
                  <a:gd name="T9" fmla="*/ 62 h 204"/>
                  <a:gd name="T10" fmla="*/ 150 w 354"/>
                  <a:gd name="T11" fmla="*/ 62 h 204"/>
                  <a:gd name="T12" fmla="*/ 148 w 354"/>
                  <a:gd name="T13" fmla="*/ 78 h 204"/>
                  <a:gd name="T14" fmla="*/ 118 w 354"/>
                  <a:gd name="T15" fmla="*/ 84 h 204"/>
                  <a:gd name="T16" fmla="*/ 98 w 354"/>
                  <a:gd name="T17" fmla="*/ 92 h 204"/>
                  <a:gd name="T18" fmla="*/ 98 w 354"/>
                  <a:gd name="T19" fmla="*/ 98 h 204"/>
                  <a:gd name="T20" fmla="*/ 112 w 354"/>
                  <a:gd name="T21" fmla="*/ 102 h 204"/>
                  <a:gd name="T22" fmla="*/ 110 w 354"/>
                  <a:gd name="T23" fmla="*/ 106 h 204"/>
                  <a:gd name="T24" fmla="*/ 84 w 354"/>
                  <a:gd name="T25" fmla="*/ 104 h 204"/>
                  <a:gd name="T26" fmla="*/ 68 w 354"/>
                  <a:gd name="T27" fmla="*/ 92 h 204"/>
                  <a:gd name="T28" fmla="*/ 62 w 354"/>
                  <a:gd name="T29" fmla="*/ 98 h 204"/>
                  <a:gd name="T30" fmla="*/ 66 w 354"/>
                  <a:gd name="T31" fmla="*/ 116 h 204"/>
                  <a:gd name="T32" fmla="*/ 76 w 354"/>
                  <a:gd name="T33" fmla="*/ 130 h 204"/>
                  <a:gd name="T34" fmla="*/ 60 w 354"/>
                  <a:gd name="T35" fmla="*/ 142 h 204"/>
                  <a:gd name="T36" fmla="*/ 32 w 354"/>
                  <a:gd name="T37" fmla="*/ 162 h 204"/>
                  <a:gd name="T38" fmla="*/ 24 w 354"/>
                  <a:gd name="T39" fmla="*/ 176 h 204"/>
                  <a:gd name="T40" fmla="*/ 6 w 354"/>
                  <a:gd name="T41" fmla="*/ 170 h 204"/>
                  <a:gd name="T42" fmla="*/ 0 w 354"/>
                  <a:gd name="T43" fmla="*/ 172 h 204"/>
                  <a:gd name="T44" fmla="*/ 8 w 354"/>
                  <a:gd name="T45" fmla="*/ 188 h 204"/>
                  <a:gd name="T46" fmla="*/ 28 w 354"/>
                  <a:gd name="T47" fmla="*/ 198 h 204"/>
                  <a:gd name="T48" fmla="*/ 82 w 354"/>
                  <a:gd name="T49" fmla="*/ 204 h 204"/>
                  <a:gd name="T50" fmla="*/ 122 w 354"/>
                  <a:gd name="T51" fmla="*/ 196 h 204"/>
                  <a:gd name="T52" fmla="*/ 140 w 354"/>
                  <a:gd name="T53" fmla="*/ 180 h 204"/>
                  <a:gd name="T54" fmla="*/ 136 w 354"/>
                  <a:gd name="T55" fmla="*/ 170 h 204"/>
                  <a:gd name="T56" fmla="*/ 126 w 354"/>
                  <a:gd name="T57" fmla="*/ 156 h 204"/>
                  <a:gd name="T58" fmla="*/ 140 w 354"/>
                  <a:gd name="T59" fmla="*/ 150 h 204"/>
                  <a:gd name="T60" fmla="*/ 162 w 354"/>
                  <a:gd name="T61" fmla="*/ 144 h 204"/>
                  <a:gd name="T62" fmla="*/ 186 w 354"/>
                  <a:gd name="T63" fmla="*/ 118 h 204"/>
                  <a:gd name="T64" fmla="*/ 204 w 354"/>
                  <a:gd name="T65" fmla="*/ 98 h 204"/>
                  <a:gd name="T66" fmla="*/ 222 w 354"/>
                  <a:gd name="T67" fmla="*/ 98 h 204"/>
                  <a:gd name="T68" fmla="*/ 246 w 354"/>
                  <a:gd name="T69" fmla="*/ 100 h 204"/>
                  <a:gd name="T70" fmla="*/ 280 w 354"/>
                  <a:gd name="T71" fmla="*/ 76 h 204"/>
                  <a:gd name="T72" fmla="*/ 290 w 354"/>
                  <a:gd name="T73" fmla="*/ 58 h 204"/>
                  <a:gd name="T74" fmla="*/ 280 w 354"/>
                  <a:gd name="T75" fmla="*/ 44 h 204"/>
                  <a:gd name="T76" fmla="*/ 284 w 354"/>
                  <a:gd name="T77" fmla="*/ 38 h 204"/>
                  <a:gd name="T78" fmla="*/ 320 w 354"/>
                  <a:gd name="T79" fmla="*/ 36 h 204"/>
                  <a:gd name="T80" fmla="*/ 348 w 354"/>
                  <a:gd name="T81" fmla="*/ 28 h 204"/>
                  <a:gd name="T82" fmla="*/ 354 w 354"/>
                  <a:gd name="T83" fmla="*/ 20 h 204"/>
                  <a:gd name="T84" fmla="*/ 340 w 354"/>
                  <a:gd name="T85" fmla="*/ 6 h 204"/>
                  <a:gd name="T86" fmla="*/ 310 w 354"/>
                  <a:gd name="T87" fmla="*/ 4 h 204"/>
                  <a:gd name="T88" fmla="*/ 252 w 354"/>
                  <a:gd name="T89" fmla="*/ 0 h 204"/>
                  <a:gd name="T90" fmla="*/ 226 w 354"/>
                  <a:gd name="T91" fmla="*/ 4 h 204"/>
                  <a:gd name="T92" fmla="*/ 208 w 354"/>
                  <a:gd name="T93" fmla="*/ 22 h 204"/>
                  <a:gd name="T94" fmla="*/ 198 w 354"/>
                  <a:gd name="T95" fmla="*/ 16 h 204"/>
                  <a:gd name="T96" fmla="*/ 184 w 354"/>
                  <a:gd name="T97" fmla="*/ 2 h 204"/>
                  <a:gd name="T98" fmla="*/ 182 w 354"/>
                  <a:gd name="T99" fmla="*/ 10 h 204"/>
                  <a:gd name="T100" fmla="*/ 172 w 354"/>
                  <a:gd name="T101" fmla="*/ 14 h 204"/>
                  <a:gd name="T102" fmla="*/ 140 w 354"/>
                  <a:gd name="T103" fmla="*/ 8 h 204"/>
                  <a:gd name="T104" fmla="*/ 126 w 354"/>
                  <a:gd name="T105" fmla="*/ 24 h 204"/>
                  <a:gd name="T106" fmla="*/ 108 w 354"/>
                  <a:gd name="T107" fmla="*/ 34 h 204"/>
                  <a:gd name="T108" fmla="*/ 94 w 354"/>
                  <a:gd name="T109" fmla="*/ 28 h 204"/>
                  <a:gd name="T110" fmla="*/ 86 w 354"/>
                  <a:gd name="T111" fmla="*/ 18 h 204"/>
                  <a:gd name="T112" fmla="*/ 66 w 354"/>
                  <a:gd name="T113" fmla="*/ 24 h 204"/>
                  <a:gd name="T114" fmla="*/ 60 w 354"/>
                  <a:gd name="T115" fmla="*/ 34 h 204"/>
                  <a:gd name="T116" fmla="*/ 42 w 354"/>
                  <a:gd name="T117" fmla="*/ 36 h 204"/>
                  <a:gd name="T118" fmla="*/ 28 w 354"/>
                  <a:gd name="T119" fmla="*/ 4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54" h="204">
                    <a:moveTo>
                      <a:pt x="28" y="40"/>
                    </a:moveTo>
                    <a:lnTo>
                      <a:pt x="28" y="40"/>
                    </a:lnTo>
                    <a:lnTo>
                      <a:pt x="28" y="40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4"/>
                    </a:lnTo>
                    <a:lnTo>
                      <a:pt x="28" y="46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2" y="52"/>
                    </a:lnTo>
                    <a:lnTo>
                      <a:pt x="34" y="54"/>
                    </a:lnTo>
                    <a:lnTo>
                      <a:pt x="38" y="58"/>
                    </a:lnTo>
                    <a:lnTo>
                      <a:pt x="40" y="62"/>
                    </a:lnTo>
                    <a:lnTo>
                      <a:pt x="42" y="64"/>
                    </a:lnTo>
                    <a:lnTo>
                      <a:pt x="44" y="66"/>
                    </a:lnTo>
                    <a:lnTo>
                      <a:pt x="46" y="68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50" y="72"/>
                    </a:lnTo>
                    <a:lnTo>
                      <a:pt x="54" y="72"/>
                    </a:lnTo>
                    <a:lnTo>
                      <a:pt x="60" y="74"/>
                    </a:lnTo>
                    <a:lnTo>
                      <a:pt x="66" y="76"/>
                    </a:lnTo>
                    <a:lnTo>
                      <a:pt x="72" y="80"/>
                    </a:lnTo>
                    <a:lnTo>
                      <a:pt x="76" y="80"/>
                    </a:lnTo>
                    <a:lnTo>
                      <a:pt x="80" y="82"/>
                    </a:lnTo>
                    <a:lnTo>
                      <a:pt x="82" y="82"/>
                    </a:lnTo>
                    <a:lnTo>
                      <a:pt x="84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8" y="82"/>
                    </a:lnTo>
                    <a:lnTo>
                      <a:pt x="90" y="82"/>
                    </a:lnTo>
                    <a:lnTo>
                      <a:pt x="94" y="80"/>
                    </a:lnTo>
                    <a:lnTo>
                      <a:pt x="96" y="78"/>
                    </a:lnTo>
                    <a:lnTo>
                      <a:pt x="102" y="74"/>
                    </a:lnTo>
                    <a:lnTo>
                      <a:pt x="106" y="74"/>
                    </a:lnTo>
                    <a:lnTo>
                      <a:pt x="108" y="72"/>
                    </a:lnTo>
                    <a:lnTo>
                      <a:pt x="112" y="72"/>
                    </a:lnTo>
                    <a:lnTo>
                      <a:pt x="114" y="70"/>
                    </a:lnTo>
                    <a:lnTo>
                      <a:pt x="124" y="68"/>
                    </a:lnTo>
                    <a:lnTo>
                      <a:pt x="132" y="66"/>
                    </a:lnTo>
                    <a:lnTo>
                      <a:pt x="136" y="66"/>
                    </a:lnTo>
                    <a:lnTo>
                      <a:pt x="138" y="64"/>
                    </a:lnTo>
                    <a:lnTo>
                      <a:pt x="140" y="64"/>
                    </a:lnTo>
                    <a:lnTo>
                      <a:pt x="140" y="64"/>
                    </a:lnTo>
                    <a:lnTo>
                      <a:pt x="144" y="62"/>
                    </a:lnTo>
                    <a:lnTo>
                      <a:pt x="144" y="60"/>
                    </a:lnTo>
                    <a:lnTo>
                      <a:pt x="146" y="60"/>
                    </a:lnTo>
                    <a:lnTo>
                      <a:pt x="146" y="60"/>
                    </a:lnTo>
                    <a:lnTo>
                      <a:pt x="148" y="60"/>
                    </a:lnTo>
                    <a:lnTo>
                      <a:pt x="148" y="60"/>
                    </a:lnTo>
                    <a:lnTo>
                      <a:pt x="148" y="60"/>
                    </a:lnTo>
                    <a:lnTo>
                      <a:pt x="148" y="60"/>
                    </a:lnTo>
                    <a:lnTo>
                      <a:pt x="150" y="60"/>
                    </a:lnTo>
                    <a:lnTo>
                      <a:pt x="150" y="62"/>
                    </a:lnTo>
                    <a:lnTo>
                      <a:pt x="150" y="62"/>
                    </a:lnTo>
                    <a:lnTo>
                      <a:pt x="150" y="64"/>
                    </a:lnTo>
                    <a:lnTo>
                      <a:pt x="150" y="66"/>
                    </a:lnTo>
                    <a:lnTo>
                      <a:pt x="150" y="68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6"/>
                    </a:lnTo>
                    <a:lnTo>
                      <a:pt x="148" y="76"/>
                    </a:lnTo>
                    <a:lnTo>
                      <a:pt x="148" y="78"/>
                    </a:lnTo>
                    <a:lnTo>
                      <a:pt x="148" y="78"/>
                    </a:lnTo>
                    <a:lnTo>
                      <a:pt x="146" y="80"/>
                    </a:lnTo>
                    <a:lnTo>
                      <a:pt x="144" y="80"/>
                    </a:lnTo>
                    <a:lnTo>
                      <a:pt x="142" y="80"/>
                    </a:lnTo>
                    <a:lnTo>
                      <a:pt x="140" y="82"/>
                    </a:lnTo>
                    <a:lnTo>
                      <a:pt x="138" y="82"/>
                    </a:lnTo>
                    <a:lnTo>
                      <a:pt x="132" y="82"/>
                    </a:lnTo>
                    <a:lnTo>
                      <a:pt x="124" y="84"/>
                    </a:lnTo>
                    <a:lnTo>
                      <a:pt x="118" y="84"/>
                    </a:lnTo>
                    <a:lnTo>
                      <a:pt x="118" y="84"/>
                    </a:lnTo>
                    <a:lnTo>
                      <a:pt x="116" y="84"/>
                    </a:lnTo>
                    <a:lnTo>
                      <a:pt x="114" y="86"/>
                    </a:lnTo>
                    <a:lnTo>
                      <a:pt x="110" y="86"/>
                    </a:lnTo>
                    <a:lnTo>
                      <a:pt x="106" y="88"/>
                    </a:lnTo>
                    <a:lnTo>
                      <a:pt x="104" y="88"/>
                    </a:lnTo>
                    <a:lnTo>
                      <a:pt x="100" y="90"/>
                    </a:lnTo>
                    <a:lnTo>
                      <a:pt x="98" y="90"/>
                    </a:lnTo>
                    <a:lnTo>
                      <a:pt x="98" y="92"/>
                    </a:lnTo>
                    <a:lnTo>
                      <a:pt x="96" y="92"/>
                    </a:lnTo>
                    <a:lnTo>
                      <a:pt x="96" y="92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6"/>
                    </a:lnTo>
                    <a:lnTo>
                      <a:pt x="96" y="96"/>
                    </a:lnTo>
                    <a:lnTo>
                      <a:pt x="96" y="96"/>
                    </a:lnTo>
                    <a:lnTo>
                      <a:pt x="98" y="98"/>
                    </a:lnTo>
                    <a:lnTo>
                      <a:pt x="98" y="98"/>
                    </a:lnTo>
                    <a:lnTo>
                      <a:pt x="100" y="98"/>
                    </a:lnTo>
                    <a:lnTo>
                      <a:pt x="102" y="98"/>
                    </a:lnTo>
                    <a:lnTo>
                      <a:pt x="104" y="98"/>
                    </a:lnTo>
                    <a:lnTo>
                      <a:pt x="108" y="100"/>
                    </a:lnTo>
                    <a:lnTo>
                      <a:pt x="110" y="100"/>
                    </a:lnTo>
                    <a:lnTo>
                      <a:pt x="110" y="100"/>
                    </a:lnTo>
                    <a:lnTo>
                      <a:pt x="112" y="100"/>
                    </a:lnTo>
                    <a:lnTo>
                      <a:pt x="112" y="102"/>
                    </a:lnTo>
                    <a:lnTo>
                      <a:pt x="112" y="102"/>
                    </a:lnTo>
                    <a:lnTo>
                      <a:pt x="114" y="102"/>
                    </a:lnTo>
                    <a:lnTo>
                      <a:pt x="114" y="102"/>
                    </a:lnTo>
                    <a:lnTo>
                      <a:pt x="114" y="102"/>
                    </a:lnTo>
                    <a:lnTo>
                      <a:pt x="112" y="104"/>
                    </a:lnTo>
                    <a:lnTo>
                      <a:pt x="112" y="104"/>
                    </a:lnTo>
                    <a:lnTo>
                      <a:pt x="112" y="104"/>
                    </a:lnTo>
                    <a:lnTo>
                      <a:pt x="112" y="104"/>
                    </a:lnTo>
                    <a:lnTo>
                      <a:pt x="110" y="106"/>
                    </a:lnTo>
                    <a:lnTo>
                      <a:pt x="110" y="106"/>
                    </a:lnTo>
                    <a:lnTo>
                      <a:pt x="108" y="106"/>
                    </a:lnTo>
                    <a:lnTo>
                      <a:pt x="106" y="106"/>
                    </a:lnTo>
                    <a:lnTo>
                      <a:pt x="104" y="106"/>
                    </a:lnTo>
                    <a:lnTo>
                      <a:pt x="102" y="106"/>
                    </a:lnTo>
                    <a:lnTo>
                      <a:pt x="98" y="106"/>
                    </a:lnTo>
                    <a:lnTo>
                      <a:pt x="96" y="106"/>
                    </a:lnTo>
                    <a:lnTo>
                      <a:pt x="94" y="106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0" y="102"/>
                    </a:lnTo>
                    <a:lnTo>
                      <a:pt x="80" y="102"/>
                    </a:lnTo>
                    <a:lnTo>
                      <a:pt x="78" y="102"/>
                    </a:lnTo>
                    <a:lnTo>
                      <a:pt x="76" y="100"/>
                    </a:lnTo>
                    <a:lnTo>
                      <a:pt x="72" y="96"/>
                    </a:lnTo>
                    <a:lnTo>
                      <a:pt x="70" y="94"/>
                    </a:lnTo>
                    <a:lnTo>
                      <a:pt x="70" y="94"/>
                    </a:lnTo>
                    <a:lnTo>
                      <a:pt x="68" y="94"/>
                    </a:lnTo>
                    <a:lnTo>
                      <a:pt x="68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4" y="92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2" y="96"/>
                    </a:lnTo>
                    <a:lnTo>
                      <a:pt x="62" y="98"/>
                    </a:lnTo>
                    <a:lnTo>
                      <a:pt x="62" y="98"/>
                    </a:lnTo>
                    <a:lnTo>
                      <a:pt x="62" y="102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2" y="110"/>
                    </a:lnTo>
                    <a:lnTo>
                      <a:pt x="62" y="112"/>
                    </a:lnTo>
                    <a:lnTo>
                      <a:pt x="62" y="114"/>
                    </a:lnTo>
                    <a:lnTo>
                      <a:pt x="64" y="114"/>
                    </a:lnTo>
                    <a:lnTo>
                      <a:pt x="64" y="116"/>
                    </a:lnTo>
                    <a:lnTo>
                      <a:pt x="66" y="116"/>
                    </a:lnTo>
                    <a:lnTo>
                      <a:pt x="68" y="120"/>
                    </a:lnTo>
                    <a:lnTo>
                      <a:pt x="70" y="122"/>
                    </a:lnTo>
                    <a:lnTo>
                      <a:pt x="72" y="124"/>
                    </a:lnTo>
                    <a:lnTo>
                      <a:pt x="72" y="124"/>
                    </a:lnTo>
                    <a:lnTo>
                      <a:pt x="74" y="126"/>
                    </a:lnTo>
                    <a:lnTo>
                      <a:pt x="74" y="126"/>
                    </a:lnTo>
                    <a:lnTo>
                      <a:pt x="74" y="128"/>
                    </a:lnTo>
                    <a:lnTo>
                      <a:pt x="76" y="130"/>
                    </a:lnTo>
                    <a:lnTo>
                      <a:pt x="76" y="130"/>
                    </a:lnTo>
                    <a:lnTo>
                      <a:pt x="76" y="132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74" y="134"/>
                    </a:lnTo>
                    <a:lnTo>
                      <a:pt x="72" y="136"/>
                    </a:lnTo>
                    <a:lnTo>
                      <a:pt x="68" y="138"/>
                    </a:lnTo>
                    <a:lnTo>
                      <a:pt x="64" y="140"/>
                    </a:lnTo>
                    <a:lnTo>
                      <a:pt x="62" y="142"/>
                    </a:lnTo>
                    <a:lnTo>
                      <a:pt x="60" y="142"/>
                    </a:lnTo>
                    <a:lnTo>
                      <a:pt x="54" y="148"/>
                    </a:lnTo>
                    <a:lnTo>
                      <a:pt x="50" y="150"/>
                    </a:lnTo>
                    <a:lnTo>
                      <a:pt x="48" y="152"/>
                    </a:lnTo>
                    <a:lnTo>
                      <a:pt x="46" y="154"/>
                    </a:lnTo>
                    <a:lnTo>
                      <a:pt x="44" y="156"/>
                    </a:lnTo>
                    <a:lnTo>
                      <a:pt x="40" y="158"/>
                    </a:lnTo>
                    <a:lnTo>
                      <a:pt x="36" y="160"/>
                    </a:lnTo>
                    <a:lnTo>
                      <a:pt x="34" y="162"/>
                    </a:lnTo>
                    <a:lnTo>
                      <a:pt x="32" y="162"/>
                    </a:lnTo>
                    <a:lnTo>
                      <a:pt x="32" y="164"/>
                    </a:lnTo>
                    <a:lnTo>
                      <a:pt x="30" y="166"/>
                    </a:lnTo>
                    <a:lnTo>
                      <a:pt x="30" y="170"/>
                    </a:lnTo>
                    <a:lnTo>
                      <a:pt x="28" y="172"/>
                    </a:lnTo>
                    <a:lnTo>
                      <a:pt x="28" y="174"/>
                    </a:lnTo>
                    <a:lnTo>
                      <a:pt x="26" y="174"/>
                    </a:lnTo>
                    <a:lnTo>
                      <a:pt x="26" y="176"/>
                    </a:lnTo>
                    <a:lnTo>
                      <a:pt x="24" y="176"/>
                    </a:lnTo>
                    <a:lnTo>
                      <a:pt x="24" y="176"/>
                    </a:lnTo>
                    <a:lnTo>
                      <a:pt x="24" y="176"/>
                    </a:lnTo>
                    <a:lnTo>
                      <a:pt x="22" y="176"/>
                    </a:lnTo>
                    <a:lnTo>
                      <a:pt x="20" y="176"/>
                    </a:lnTo>
                    <a:lnTo>
                      <a:pt x="18" y="176"/>
                    </a:lnTo>
                    <a:lnTo>
                      <a:pt x="18" y="174"/>
                    </a:lnTo>
                    <a:lnTo>
                      <a:pt x="16" y="174"/>
                    </a:lnTo>
                    <a:lnTo>
                      <a:pt x="12" y="172"/>
                    </a:lnTo>
                    <a:lnTo>
                      <a:pt x="8" y="170"/>
                    </a:lnTo>
                    <a:lnTo>
                      <a:pt x="6" y="170"/>
                    </a:lnTo>
                    <a:lnTo>
                      <a:pt x="4" y="170"/>
                    </a:lnTo>
                    <a:lnTo>
                      <a:pt x="2" y="170"/>
                    </a:lnTo>
                    <a:lnTo>
                      <a:pt x="2" y="170"/>
                    </a:lnTo>
                    <a:lnTo>
                      <a:pt x="2" y="170"/>
                    </a:lnTo>
                    <a:lnTo>
                      <a:pt x="0" y="170"/>
                    </a:lnTo>
                    <a:lnTo>
                      <a:pt x="0" y="170"/>
                    </a:lnTo>
                    <a:lnTo>
                      <a:pt x="0" y="170"/>
                    </a:lnTo>
                    <a:lnTo>
                      <a:pt x="0" y="170"/>
                    </a:lnTo>
                    <a:lnTo>
                      <a:pt x="0" y="172"/>
                    </a:lnTo>
                    <a:lnTo>
                      <a:pt x="0" y="172"/>
                    </a:lnTo>
                    <a:lnTo>
                      <a:pt x="0" y="174"/>
                    </a:lnTo>
                    <a:lnTo>
                      <a:pt x="0" y="176"/>
                    </a:lnTo>
                    <a:lnTo>
                      <a:pt x="0" y="178"/>
                    </a:lnTo>
                    <a:lnTo>
                      <a:pt x="0" y="180"/>
                    </a:lnTo>
                    <a:lnTo>
                      <a:pt x="2" y="180"/>
                    </a:lnTo>
                    <a:lnTo>
                      <a:pt x="2" y="182"/>
                    </a:lnTo>
                    <a:lnTo>
                      <a:pt x="6" y="186"/>
                    </a:lnTo>
                    <a:lnTo>
                      <a:pt x="8" y="188"/>
                    </a:lnTo>
                    <a:lnTo>
                      <a:pt x="10" y="192"/>
                    </a:lnTo>
                    <a:lnTo>
                      <a:pt x="12" y="192"/>
                    </a:lnTo>
                    <a:lnTo>
                      <a:pt x="12" y="194"/>
                    </a:lnTo>
                    <a:lnTo>
                      <a:pt x="14" y="194"/>
                    </a:lnTo>
                    <a:lnTo>
                      <a:pt x="16" y="194"/>
                    </a:lnTo>
                    <a:lnTo>
                      <a:pt x="18" y="196"/>
                    </a:lnTo>
                    <a:lnTo>
                      <a:pt x="18" y="196"/>
                    </a:lnTo>
                    <a:lnTo>
                      <a:pt x="22" y="198"/>
                    </a:lnTo>
                    <a:lnTo>
                      <a:pt x="28" y="198"/>
                    </a:lnTo>
                    <a:lnTo>
                      <a:pt x="32" y="200"/>
                    </a:lnTo>
                    <a:lnTo>
                      <a:pt x="36" y="200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66" y="204"/>
                    </a:lnTo>
                    <a:lnTo>
                      <a:pt x="76" y="204"/>
                    </a:lnTo>
                    <a:lnTo>
                      <a:pt x="82" y="204"/>
                    </a:lnTo>
                    <a:lnTo>
                      <a:pt x="88" y="204"/>
                    </a:lnTo>
                    <a:lnTo>
                      <a:pt x="92" y="202"/>
                    </a:lnTo>
                    <a:lnTo>
                      <a:pt x="98" y="202"/>
                    </a:lnTo>
                    <a:lnTo>
                      <a:pt x="104" y="202"/>
                    </a:lnTo>
                    <a:lnTo>
                      <a:pt x="110" y="200"/>
                    </a:lnTo>
                    <a:lnTo>
                      <a:pt x="114" y="198"/>
                    </a:lnTo>
                    <a:lnTo>
                      <a:pt x="116" y="198"/>
                    </a:lnTo>
                    <a:lnTo>
                      <a:pt x="120" y="198"/>
                    </a:lnTo>
                    <a:lnTo>
                      <a:pt x="122" y="196"/>
                    </a:lnTo>
                    <a:lnTo>
                      <a:pt x="124" y="196"/>
                    </a:lnTo>
                    <a:lnTo>
                      <a:pt x="126" y="194"/>
                    </a:lnTo>
                    <a:lnTo>
                      <a:pt x="128" y="192"/>
                    </a:lnTo>
                    <a:lnTo>
                      <a:pt x="132" y="190"/>
                    </a:lnTo>
                    <a:lnTo>
                      <a:pt x="134" y="186"/>
                    </a:lnTo>
                    <a:lnTo>
                      <a:pt x="136" y="184"/>
                    </a:lnTo>
                    <a:lnTo>
                      <a:pt x="138" y="182"/>
                    </a:lnTo>
                    <a:lnTo>
                      <a:pt x="138" y="180"/>
                    </a:lnTo>
                    <a:lnTo>
                      <a:pt x="140" y="180"/>
                    </a:lnTo>
                    <a:lnTo>
                      <a:pt x="140" y="178"/>
                    </a:lnTo>
                    <a:lnTo>
                      <a:pt x="140" y="176"/>
                    </a:lnTo>
                    <a:lnTo>
                      <a:pt x="140" y="176"/>
                    </a:lnTo>
                    <a:lnTo>
                      <a:pt x="140" y="174"/>
                    </a:lnTo>
                    <a:lnTo>
                      <a:pt x="140" y="174"/>
                    </a:lnTo>
                    <a:lnTo>
                      <a:pt x="140" y="174"/>
                    </a:lnTo>
                    <a:lnTo>
                      <a:pt x="140" y="172"/>
                    </a:lnTo>
                    <a:lnTo>
                      <a:pt x="138" y="170"/>
                    </a:lnTo>
                    <a:lnTo>
                      <a:pt x="136" y="170"/>
                    </a:lnTo>
                    <a:lnTo>
                      <a:pt x="136" y="168"/>
                    </a:lnTo>
                    <a:lnTo>
                      <a:pt x="132" y="166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0"/>
                    </a:lnTo>
                    <a:lnTo>
                      <a:pt x="126" y="158"/>
                    </a:lnTo>
                    <a:lnTo>
                      <a:pt x="126" y="158"/>
                    </a:lnTo>
                    <a:lnTo>
                      <a:pt x="126" y="156"/>
                    </a:lnTo>
                    <a:lnTo>
                      <a:pt x="126" y="156"/>
                    </a:lnTo>
                    <a:lnTo>
                      <a:pt x="126" y="156"/>
                    </a:lnTo>
                    <a:lnTo>
                      <a:pt x="126" y="154"/>
                    </a:lnTo>
                    <a:lnTo>
                      <a:pt x="126" y="154"/>
                    </a:lnTo>
                    <a:lnTo>
                      <a:pt x="128" y="154"/>
                    </a:lnTo>
                    <a:lnTo>
                      <a:pt x="128" y="154"/>
                    </a:lnTo>
                    <a:lnTo>
                      <a:pt x="130" y="152"/>
                    </a:lnTo>
                    <a:lnTo>
                      <a:pt x="132" y="152"/>
                    </a:lnTo>
                    <a:lnTo>
                      <a:pt x="136" y="152"/>
                    </a:lnTo>
                    <a:lnTo>
                      <a:pt x="140" y="150"/>
                    </a:lnTo>
                    <a:lnTo>
                      <a:pt x="140" y="150"/>
                    </a:lnTo>
                    <a:lnTo>
                      <a:pt x="144" y="150"/>
                    </a:lnTo>
                    <a:lnTo>
                      <a:pt x="150" y="148"/>
                    </a:lnTo>
                    <a:lnTo>
                      <a:pt x="152" y="148"/>
                    </a:lnTo>
                    <a:lnTo>
                      <a:pt x="154" y="146"/>
                    </a:lnTo>
                    <a:lnTo>
                      <a:pt x="156" y="146"/>
                    </a:lnTo>
                    <a:lnTo>
                      <a:pt x="158" y="146"/>
                    </a:lnTo>
                    <a:lnTo>
                      <a:pt x="160" y="144"/>
                    </a:lnTo>
                    <a:lnTo>
                      <a:pt x="162" y="144"/>
                    </a:lnTo>
                    <a:lnTo>
                      <a:pt x="164" y="140"/>
                    </a:lnTo>
                    <a:lnTo>
                      <a:pt x="168" y="138"/>
                    </a:lnTo>
                    <a:lnTo>
                      <a:pt x="172" y="134"/>
                    </a:lnTo>
                    <a:lnTo>
                      <a:pt x="176" y="130"/>
                    </a:lnTo>
                    <a:lnTo>
                      <a:pt x="178" y="126"/>
                    </a:lnTo>
                    <a:lnTo>
                      <a:pt x="182" y="124"/>
                    </a:lnTo>
                    <a:lnTo>
                      <a:pt x="184" y="120"/>
                    </a:lnTo>
                    <a:lnTo>
                      <a:pt x="184" y="118"/>
                    </a:lnTo>
                    <a:lnTo>
                      <a:pt x="186" y="118"/>
                    </a:lnTo>
                    <a:lnTo>
                      <a:pt x="188" y="114"/>
                    </a:lnTo>
                    <a:lnTo>
                      <a:pt x="190" y="110"/>
                    </a:lnTo>
                    <a:lnTo>
                      <a:pt x="190" y="108"/>
                    </a:lnTo>
                    <a:lnTo>
                      <a:pt x="192" y="108"/>
                    </a:lnTo>
                    <a:lnTo>
                      <a:pt x="192" y="106"/>
                    </a:lnTo>
                    <a:lnTo>
                      <a:pt x="196" y="104"/>
                    </a:lnTo>
                    <a:lnTo>
                      <a:pt x="198" y="102"/>
                    </a:lnTo>
                    <a:lnTo>
                      <a:pt x="200" y="100"/>
                    </a:lnTo>
                    <a:lnTo>
                      <a:pt x="204" y="98"/>
                    </a:lnTo>
                    <a:lnTo>
                      <a:pt x="206" y="96"/>
                    </a:lnTo>
                    <a:lnTo>
                      <a:pt x="208" y="96"/>
                    </a:lnTo>
                    <a:lnTo>
                      <a:pt x="210" y="96"/>
                    </a:lnTo>
                    <a:lnTo>
                      <a:pt x="212" y="94"/>
                    </a:lnTo>
                    <a:lnTo>
                      <a:pt x="212" y="94"/>
                    </a:lnTo>
                    <a:lnTo>
                      <a:pt x="214" y="94"/>
                    </a:lnTo>
                    <a:lnTo>
                      <a:pt x="216" y="96"/>
                    </a:lnTo>
                    <a:lnTo>
                      <a:pt x="218" y="96"/>
                    </a:lnTo>
                    <a:lnTo>
                      <a:pt x="222" y="98"/>
                    </a:lnTo>
                    <a:lnTo>
                      <a:pt x="226" y="98"/>
                    </a:lnTo>
                    <a:lnTo>
                      <a:pt x="230" y="100"/>
                    </a:lnTo>
                    <a:lnTo>
                      <a:pt x="232" y="102"/>
                    </a:lnTo>
                    <a:lnTo>
                      <a:pt x="234" y="102"/>
                    </a:lnTo>
                    <a:lnTo>
                      <a:pt x="236" y="102"/>
                    </a:lnTo>
                    <a:lnTo>
                      <a:pt x="238" y="102"/>
                    </a:lnTo>
                    <a:lnTo>
                      <a:pt x="238" y="102"/>
                    </a:lnTo>
                    <a:lnTo>
                      <a:pt x="242" y="102"/>
                    </a:lnTo>
                    <a:lnTo>
                      <a:pt x="246" y="100"/>
                    </a:lnTo>
                    <a:lnTo>
                      <a:pt x="250" y="98"/>
                    </a:lnTo>
                    <a:lnTo>
                      <a:pt x="254" y="96"/>
                    </a:lnTo>
                    <a:lnTo>
                      <a:pt x="258" y="94"/>
                    </a:lnTo>
                    <a:lnTo>
                      <a:pt x="262" y="92"/>
                    </a:lnTo>
                    <a:lnTo>
                      <a:pt x="266" y="88"/>
                    </a:lnTo>
                    <a:lnTo>
                      <a:pt x="270" y="86"/>
                    </a:lnTo>
                    <a:lnTo>
                      <a:pt x="272" y="82"/>
                    </a:lnTo>
                    <a:lnTo>
                      <a:pt x="276" y="80"/>
                    </a:lnTo>
                    <a:lnTo>
                      <a:pt x="280" y="76"/>
                    </a:lnTo>
                    <a:lnTo>
                      <a:pt x="282" y="72"/>
                    </a:lnTo>
                    <a:lnTo>
                      <a:pt x="286" y="70"/>
                    </a:lnTo>
                    <a:lnTo>
                      <a:pt x="286" y="68"/>
                    </a:lnTo>
                    <a:lnTo>
                      <a:pt x="286" y="66"/>
                    </a:lnTo>
                    <a:lnTo>
                      <a:pt x="288" y="64"/>
                    </a:lnTo>
                    <a:lnTo>
                      <a:pt x="288" y="62"/>
                    </a:lnTo>
                    <a:lnTo>
                      <a:pt x="288" y="62"/>
                    </a:lnTo>
                    <a:lnTo>
                      <a:pt x="290" y="60"/>
                    </a:lnTo>
                    <a:lnTo>
                      <a:pt x="290" y="58"/>
                    </a:lnTo>
                    <a:lnTo>
                      <a:pt x="290" y="58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6" y="54"/>
                    </a:lnTo>
                    <a:lnTo>
                      <a:pt x="284" y="50"/>
                    </a:lnTo>
                    <a:lnTo>
                      <a:pt x="282" y="48"/>
                    </a:lnTo>
                    <a:lnTo>
                      <a:pt x="280" y="48"/>
                    </a:lnTo>
                    <a:lnTo>
                      <a:pt x="280" y="46"/>
                    </a:lnTo>
                    <a:lnTo>
                      <a:pt x="280" y="44"/>
                    </a:lnTo>
                    <a:lnTo>
                      <a:pt x="280" y="44"/>
                    </a:lnTo>
                    <a:lnTo>
                      <a:pt x="280" y="44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80" y="40"/>
                    </a:lnTo>
                    <a:lnTo>
                      <a:pt x="282" y="40"/>
                    </a:lnTo>
                    <a:lnTo>
                      <a:pt x="282" y="38"/>
                    </a:lnTo>
                    <a:lnTo>
                      <a:pt x="284" y="38"/>
                    </a:lnTo>
                    <a:lnTo>
                      <a:pt x="284" y="38"/>
                    </a:lnTo>
                    <a:lnTo>
                      <a:pt x="286" y="38"/>
                    </a:lnTo>
                    <a:lnTo>
                      <a:pt x="290" y="36"/>
                    </a:lnTo>
                    <a:lnTo>
                      <a:pt x="292" y="36"/>
                    </a:lnTo>
                    <a:lnTo>
                      <a:pt x="296" y="36"/>
                    </a:lnTo>
                    <a:lnTo>
                      <a:pt x="300" y="36"/>
                    </a:lnTo>
                    <a:lnTo>
                      <a:pt x="306" y="36"/>
                    </a:lnTo>
                    <a:lnTo>
                      <a:pt x="314" y="36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2" y="36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2"/>
                    </a:lnTo>
                    <a:lnTo>
                      <a:pt x="338" y="32"/>
                    </a:lnTo>
                    <a:lnTo>
                      <a:pt x="342" y="30"/>
                    </a:lnTo>
                    <a:lnTo>
                      <a:pt x="344" y="30"/>
                    </a:lnTo>
                    <a:lnTo>
                      <a:pt x="346" y="28"/>
                    </a:lnTo>
                    <a:lnTo>
                      <a:pt x="348" y="28"/>
                    </a:lnTo>
                    <a:lnTo>
                      <a:pt x="350" y="26"/>
                    </a:lnTo>
                    <a:lnTo>
                      <a:pt x="352" y="26"/>
                    </a:lnTo>
                    <a:lnTo>
                      <a:pt x="354" y="24"/>
                    </a:lnTo>
                    <a:lnTo>
                      <a:pt x="354" y="24"/>
                    </a:lnTo>
                    <a:lnTo>
                      <a:pt x="354" y="24"/>
                    </a:lnTo>
                    <a:lnTo>
                      <a:pt x="354" y="22"/>
                    </a:lnTo>
                    <a:lnTo>
                      <a:pt x="354" y="22"/>
                    </a:lnTo>
                    <a:lnTo>
                      <a:pt x="354" y="20"/>
                    </a:lnTo>
                    <a:lnTo>
                      <a:pt x="354" y="20"/>
                    </a:lnTo>
                    <a:lnTo>
                      <a:pt x="354" y="18"/>
                    </a:lnTo>
                    <a:lnTo>
                      <a:pt x="354" y="16"/>
                    </a:lnTo>
                    <a:lnTo>
                      <a:pt x="352" y="16"/>
                    </a:lnTo>
                    <a:lnTo>
                      <a:pt x="352" y="14"/>
                    </a:lnTo>
                    <a:lnTo>
                      <a:pt x="350" y="14"/>
                    </a:lnTo>
                    <a:lnTo>
                      <a:pt x="348" y="12"/>
                    </a:lnTo>
                    <a:lnTo>
                      <a:pt x="346" y="10"/>
                    </a:lnTo>
                    <a:lnTo>
                      <a:pt x="342" y="8"/>
                    </a:lnTo>
                    <a:lnTo>
                      <a:pt x="340" y="6"/>
                    </a:lnTo>
                    <a:lnTo>
                      <a:pt x="338" y="4"/>
                    </a:lnTo>
                    <a:lnTo>
                      <a:pt x="336" y="4"/>
                    </a:lnTo>
                    <a:lnTo>
                      <a:pt x="334" y="4"/>
                    </a:lnTo>
                    <a:lnTo>
                      <a:pt x="332" y="4"/>
                    </a:lnTo>
                    <a:lnTo>
                      <a:pt x="330" y="4"/>
                    </a:lnTo>
                    <a:lnTo>
                      <a:pt x="326" y="4"/>
                    </a:lnTo>
                    <a:lnTo>
                      <a:pt x="322" y="4"/>
                    </a:lnTo>
                    <a:lnTo>
                      <a:pt x="314" y="4"/>
                    </a:lnTo>
                    <a:lnTo>
                      <a:pt x="310" y="4"/>
                    </a:lnTo>
                    <a:lnTo>
                      <a:pt x="306" y="4"/>
                    </a:lnTo>
                    <a:lnTo>
                      <a:pt x="304" y="4"/>
                    </a:lnTo>
                    <a:lnTo>
                      <a:pt x="298" y="4"/>
                    </a:lnTo>
                    <a:lnTo>
                      <a:pt x="290" y="4"/>
                    </a:lnTo>
                    <a:lnTo>
                      <a:pt x="280" y="2"/>
                    </a:lnTo>
                    <a:lnTo>
                      <a:pt x="268" y="0"/>
                    </a:lnTo>
                    <a:lnTo>
                      <a:pt x="264" y="0"/>
                    </a:lnTo>
                    <a:lnTo>
                      <a:pt x="258" y="0"/>
                    </a:lnTo>
                    <a:lnTo>
                      <a:pt x="252" y="0"/>
                    </a:lnTo>
                    <a:lnTo>
                      <a:pt x="248" y="0"/>
                    </a:lnTo>
                    <a:lnTo>
                      <a:pt x="244" y="0"/>
                    </a:lnTo>
                    <a:lnTo>
                      <a:pt x="238" y="0"/>
                    </a:lnTo>
                    <a:lnTo>
                      <a:pt x="236" y="0"/>
                    </a:lnTo>
                    <a:lnTo>
                      <a:pt x="234" y="2"/>
                    </a:lnTo>
                    <a:lnTo>
                      <a:pt x="232" y="2"/>
                    </a:lnTo>
                    <a:lnTo>
                      <a:pt x="230" y="2"/>
                    </a:lnTo>
                    <a:lnTo>
                      <a:pt x="228" y="4"/>
                    </a:lnTo>
                    <a:lnTo>
                      <a:pt x="226" y="4"/>
                    </a:lnTo>
                    <a:lnTo>
                      <a:pt x="226" y="6"/>
                    </a:lnTo>
                    <a:lnTo>
                      <a:pt x="222" y="10"/>
                    </a:lnTo>
                    <a:lnTo>
                      <a:pt x="220" y="12"/>
                    </a:lnTo>
                    <a:lnTo>
                      <a:pt x="216" y="16"/>
                    </a:lnTo>
                    <a:lnTo>
                      <a:pt x="214" y="18"/>
                    </a:lnTo>
                    <a:lnTo>
                      <a:pt x="212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08" y="22"/>
                    </a:lnTo>
                    <a:lnTo>
                      <a:pt x="208" y="22"/>
                    </a:lnTo>
                    <a:lnTo>
                      <a:pt x="206" y="22"/>
                    </a:lnTo>
                    <a:lnTo>
                      <a:pt x="206" y="22"/>
                    </a:lnTo>
                    <a:lnTo>
                      <a:pt x="204" y="22"/>
                    </a:lnTo>
                    <a:lnTo>
                      <a:pt x="204" y="22"/>
                    </a:lnTo>
                    <a:lnTo>
                      <a:pt x="202" y="20"/>
                    </a:lnTo>
                    <a:lnTo>
                      <a:pt x="200" y="18"/>
                    </a:lnTo>
                    <a:lnTo>
                      <a:pt x="198" y="16"/>
                    </a:lnTo>
                    <a:lnTo>
                      <a:pt x="198" y="16"/>
                    </a:lnTo>
                    <a:lnTo>
                      <a:pt x="194" y="12"/>
                    </a:lnTo>
                    <a:lnTo>
                      <a:pt x="192" y="8"/>
                    </a:lnTo>
                    <a:lnTo>
                      <a:pt x="190" y="6"/>
                    </a:lnTo>
                    <a:lnTo>
                      <a:pt x="190" y="4"/>
                    </a:lnTo>
                    <a:lnTo>
                      <a:pt x="188" y="2"/>
                    </a:lnTo>
                    <a:lnTo>
                      <a:pt x="186" y="2"/>
                    </a:lnTo>
                    <a:lnTo>
                      <a:pt x="186" y="2"/>
                    </a:lnTo>
                    <a:lnTo>
                      <a:pt x="184" y="2"/>
                    </a:lnTo>
                    <a:lnTo>
                      <a:pt x="184" y="2"/>
                    </a:lnTo>
                    <a:lnTo>
                      <a:pt x="184" y="2"/>
                    </a:lnTo>
                    <a:lnTo>
                      <a:pt x="184" y="2"/>
                    </a:lnTo>
                    <a:lnTo>
                      <a:pt x="182" y="2"/>
                    </a:lnTo>
                    <a:lnTo>
                      <a:pt x="182" y="2"/>
                    </a:lnTo>
                    <a:lnTo>
                      <a:pt x="182" y="4"/>
                    </a:lnTo>
                    <a:lnTo>
                      <a:pt x="182" y="4"/>
                    </a:lnTo>
                    <a:lnTo>
                      <a:pt x="182" y="6"/>
                    </a:lnTo>
                    <a:lnTo>
                      <a:pt x="182" y="8"/>
                    </a:lnTo>
                    <a:lnTo>
                      <a:pt x="182" y="10"/>
                    </a:lnTo>
                    <a:lnTo>
                      <a:pt x="182" y="12"/>
                    </a:lnTo>
                    <a:lnTo>
                      <a:pt x="182" y="12"/>
                    </a:lnTo>
                    <a:lnTo>
                      <a:pt x="180" y="12"/>
                    </a:lnTo>
                    <a:lnTo>
                      <a:pt x="180" y="12"/>
                    </a:lnTo>
                    <a:lnTo>
                      <a:pt x="180" y="12"/>
                    </a:lnTo>
                    <a:lnTo>
                      <a:pt x="178" y="14"/>
                    </a:lnTo>
                    <a:lnTo>
                      <a:pt x="178" y="14"/>
                    </a:lnTo>
                    <a:lnTo>
                      <a:pt x="174" y="14"/>
                    </a:lnTo>
                    <a:lnTo>
                      <a:pt x="172" y="14"/>
                    </a:lnTo>
                    <a:lnTo>
                      <a:pt x="170" y="14"/>
                    </a:lnTo>
                    <a:lnTo>
                      <a:pt x="166" y="12"/>
                    </a:lnTo>
                    <a:lnTo>
                      <a:pt x="160" y="12"/>
                    </a:lnTo>
                    <a:lnTo>
                      <a:pt x="154" y="10"/>
                    </a:lnTo>
                    <a:lnTo>
                      <a:pt x="150" y="10"/>
                    </a:lnTo>
                    <a:lnTo>
                      <a:pt x="148" y="10"/>
                    </a:lnTo>
                    <a:lnTo>
                      <a:pt x="146" y="8"/>
                    </a:lnTo>
                    <a:lnTo>
                      <a:pt x="142" y="8"/>
                    </a:lnTo>
                    <a:lnTo>
                      <a:pt x="140" y="8"/>
                    </a:lnTo>
                    <a:lnTo>
                      <a:pt x="140" y="10"/>
                    </a:lnTo>
                    <a:lnTo>
                      <a:pt x="138" y="10"/>
                    </a:lnTo>
                    <a:lnTo>
                      <a:pt x="136" y="10"/>
                    </a:lnTo>
                    <a:lnTo>
                      <a:pt x="136" y="12"/>
                    </a:lnTo>
                    <a:lnTo>
                      <a:pt x="134" y="12"/>
                    </a:lnTo>
                    <a:lnTo>
                      <a:pt x="134" y="14"/>
                    </a:lnTo>
                    <a:lnTo>
                      <a:pt x="130" y="16"/>
                    </a:lnTo>
                    <a:lnTo>
                      <a:pt x="128" y="20"/>
                    </a:lnTo>
                    <a:lnTo>
                      <a:pt x="126" y="24"/>
                    </a:lnTo>
                    <a:lnTo>
                      <a:pt x="124" y="28"/>
                    </a:lnTo>
                    <a:lnTo>
                      <a:pt x="122" y="28"/>
                    </a:lnTo>
                    <a:lnTo>
                      <a:pt x="120" y="30"/>
                    </a:lnTo>
                    <a:lnTo>
                      <a:pt x="120" y="32"/>
                    </a:lnTo>
                    <a:lnTo>
                      <a:pt x="118" y="32"/>
                    </a:lnTo>
                    <a:lnTo>
                      <a:pt x="116" y="32"/>
                    </a:lnTo>
                    <a:lnTo>
                      <a:pt x="114" y="34"/>
                    </a:lnTo>
                    <a:lnTo>
                      <a:pt x="110" y="34"/>
                    </a:lnTo>
                    <a:lnTo>
                      <a:pt x="108" y="34"/>
                    </a:lnTo>
                    <a:lnTo>
                      <a:pt x="106" y="34"/>
                    </a:lnTo>
                    <a:lnTo>
                      <a:pt x="102" y="34"/>
                    </a:lnTo>
                    <a:lnTo>
                      <a:pt x="100" y="32"/>
                    </a:lnTo>
                    <a:lnTo>
                      <a:pt x="98" y="32"/>
                    </a:lnTo>
                    <a:lnTo>
                      <a:pt x="98" y="32"/>
                    </a:lnTo>
                    <a:lnTo>
                      <a:pt x="98" y="32"/>
                    </a:lnTo>
                    <a:lnTo>
                      <a:pt x="96" y="32"/>
                    </a:lnTo>
                    <a:lnTo>
                      <a:pt x="96" y="30"/>
                    </a:lnTo>
                    <a:lnTo>
                      <a:pt x="94" y="28"/>
                    </a:lnTo>
                    <a:lnTo>
                      <a:pt x="94" y="26"/>
                    </a:lnTo>
                    <a:lnTo>
                      <a:pt x="92" y="24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6" y="20"/>
                    </a:lnTo>
                    <a:lnTo>
                      <a:pt x="86" y="18"/>
                    </a:lnTo>
                    <a:lnTo>
                      <a:pt x="84" y="18"/>
                    </a:lnTo>
                    <a:lnTo>
                      <a:pt x="82" y="18"/>
                    </a:lnTo>
                    <a:lnTo>
                      <a:pt x="80" y="20"/>
                    </a:lnTo>
                    <a:lnTo>
                      <a:pt x="76" y="20"/>
                    </a:lnTo>
                    <a:lnTo>
                      <a:pt x="72" y="20"/>
                    </a:lnTo>
                    <a:lnTo>
                      <a:pt x="70" y="22"/>
                    </a:lnTo>
                    <a:lnTo>
                      <a:pt x="68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4" y="24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8"/>
                    </a:lnTo>
                    <a:lnTo>
                      <a:pt x="62" y="30"/>
                    </a:lnTo>
                    <a:lnTo>
                      <a:pt x="62" y="32"/>
                    </a:lnTo>
                    <a:lnTo>
                      <a:pt x="62" y="32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4" y="36"/>
                    </a:lnTo>
                    <a:lnTo>
                      <a:pt x="52" y="36"/>
                    </a:lnTo>
                    <a:lnTo>
                      <a:pt x="50" y="36"/>
                    </a:lnTo>
                    <a:lnTo>
                      <a:pt x="48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4" y="36"/>
                    </a:lnTo>
                    <a:lnTo>
                      <a:pt x="32" y="36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66" name="Freeform 581">
                <a:extLst>
                  <a:ext uri="{FF2B5EF4-FFF2-40B4-BE49-F238E27FC236}">
                    <a16:creationId xmlns:a16="http://schemas.microsoft.com/office/drawing/2014/main" id="{C681D2AA-D65D-43C6-A7EE-8BF448690C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7428" y="2387767"/>
                <a:ext cx="260350" cy="120650"/>
              </a:xfrm>
              <a:custGeom>
                <a:avLst/>
                <a:gdLst>
                  <a:gd name="T0" fmla="*/ 18 w 164"/>
                  <a:gd name="T1" fmla="*/ 2 h 76"/>
                  <a:gd name="T2" fmla="*/ 8 w 164"/>
                  <a:gd name="T3" fmla="*/ 8 h 76"/>
                  <a:gd name="T4" fmla="*/ 4 w 164"/>
                  <a:gd name="T5" fmla="*/ 12 h 76"/>
                  <a:gd name="T6" fmla="*/ 2 w 164"/>
                  <a:gd name="T7" fmla="*/ 16 h 76"/>
                  <a:gd name="T8" fmla="*/ 0 w 164"/>
                  <a:gd name="T9" fmla="*/ 20 h 76"/>
                  <a:gd name="T10" fmla="*/ 2 w 164"/>
                  <a:gd name="T11" fmla="*/ 24 h 76"/>
                  <a:gd name="T12" fmla="*/ 6 w 164"/>
                  <a:gd name="T13" fmla="*/ 28 h 76"/>
                  <a:gd name="T14" fmla="*/ 12 w 164"/>
                  <a:gd name="T15" fmla="*/ 34 h 76"/>
                  <a:gd name="T16" fmla="*/ 24 w 164"/>
                  <a:gd name="T17" fmla="*/ 50 h 76"/>
                  <a:gd name="T18" fmla="*/ 32 w 164"/>
                  <a:gd name="T19" fmla="*/ 60 h 76"/>
                  <a:gd name="T20" fmla="*/ 38 w 164"/>
                  <a:gd name="T21" fmla="*/ 64 h 76"/>
                  <a:gd name="T22" fmla="*/ 46 w 164"/>
                  <a:gd name="T23" fmla="*/ 68 h 76"/>
                  <a:gd name="T24" fmla="*/ 56 w 164"/>
                  <a:gd name="T25" fmla="*/ 70 h 76"/>
                  <a:gd name="T26" fmla="*/ 66 w 164"/>
                  <a:gd name="T27" fmla="*/ 72 h 76"/>
                  <a:gd name="T28" fmla="*/ 78 w 164"/>
                  <a:gd name="T29" fmla="*/ 70 h 76"/>
                  <a:gd name="T30" fmla="*/ 100 w 164"/>
                  <a:gd name="T31" fmla="*/ 66 h 76"/>
                  <a:gd name="T32" fmla="*/ 116 w 164"/>
                  <a:gd name="T33" fmla="*/ 64 h 76"/>
                  <a:gd name="T34" fmla="*/ 126 w 164"/>
                  <a:gd name="T35" fmla="*/ 64 h 76"/>
                  <a:gd name="T36" fmla="*/ 132 w 164"/>
                  <a:gd name="T37" fmla="*/ 66 h 76"/>
                  <a:gd name="T38" fmla="*/ 146 w 164"/>
                  <a:gd name="T39" fmla="*/ 74 h 76"/>
                  <a:gd name="T40" fmla="*/ 154 w 164"/>
                  <a:gd name="T41" fmla="*/ 76 h 76"/>
                  <a:gd name="T42" fmla="*/ 158 w 164"/>
                  <a:gd name="T43" fmla="*/ 76 h 76"/>
                  <a:gd name="T44" fmla="*/ 160 w 164"/>
                  <a:gd name="T45" fmla="*/ 74 h 76"/>
                  <a:gd name="T46" fmla="*/ 162 w 164"/>
                  <a:gd name="T47" fmla="*/ 72 h 76"/>
                  <a:gd name="T48" fmla="*/ 164 w 164"/>
                  <a:gd name="T49" fmla="*/ 66 h 76"/>
                  <a:gd name="T50" fmla="*/ 162 w 164"/>
                  <a:gd name="T51" fmla="*/ 60 h 76"/>
                  <a:gd name="T52" fmla="*/ 160 w 164"/>
                  <a:gd name="T53" fmla="*/ 54 h 76"/>
                  <a:gd name="T54" fmla="*/ 158 w 164"/>
                  <a:gd name="T55" fmla="*/ 48 h 76"/>
                  <a:gd name="T56" fmla="*/ 156 w 164"/>
                  <a:gd name="T57" fmla="*/ 46 h 76"/>
                  <a:gd name="T58" fmla="*/ 152 w 164"/>
                  <a:gd name="T59" fmla="*/ 44 h 76"/>
                  <a:gd name="T60" fmla="*/ 146 w 164"/>
                  <a:gd name="T61" fmla="*/ 42 h 76"/>
                  <a:gd name="T62" fmla="*/ 134 w 164"/>
                  <a:gd name="T63" fmla="*/ 42 h 76"/>
                  <a:gd name="T64" fmla="*/ 116 w 164"/>
                  <a:gd name="T65" fmla="*/ 44 h 76"/>
                  <a:gd name="T66" fmla="*/ 106 w 164"/>
                  <a:gd name="T67" fmla="*/ 44 h 76"/>
                  <a:gd name="T68" fmla="*/ 86 w 164"/>
                  <a:gd name="T69" fmla="*/ 42 h 76"/>
                  <a:gd name="T70" fmla="*/ 72 w 164"/>
                  <a:gd name="T71" fmla="*/ 38 h 76"/>
                  <a:gd name="T72" fmla="*/ 62 w 164"/>
                  <a:gd name="T73" fmla="*/ 36 h 76"/>
                  <a:gd name="T74" fmla="*/ 56 w 164"/>
                  <a:gd name="T75" fmla="*/ 32 h 76"/>
                  <a:gd name="T76" fmla="*/ 54 w 164"/>
                  <a:gd name="T77" fmla="*/ 30 h 76"/>
                  <a:gd name="T78" fmla="*/ 52 w 164"/>
                  <a:gd name="T79" fmla="*/ 24 h 76"/>
                  <a:gd name="T80" fmla="*/ 52 w 164"/>
                  <a:gd name="T81" fmla="*/ 14 h 76"/>
                  <a:gd name="T82" fmla="*/ 50 w 164"/>
                  <a:gd name="T83" fmla="*/ 8 h 76"/>
                  <a:gd name="T84" fmla="*/ 48 w 164"/>
                  <a:gd name="T85" fmla="*/ 4 h 76"/>
                  <a:gd name="T86" fmla="*/ 44 w 164"/>
                  <a:gd name="T87" fmla="*/ 2 h 76"/>
                  <a:gd name="T88" fmla="*/ 38 w 164"/>
                  <a:gd name="T89" fmla="*/ 0 h 76"/>
                  <a:gd name="T90" fmla="*/ 26 w 164"/>
                  <a:gd name="T91" fmla="*/ 0 h 76"/>
                  <a:gd name="T92" fmla="*/ 20 w 164"/>
                  <a:gd name="T93" fmla="*/ 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4" h="76">
                    <a:moveTo>
                      <a:pt x="20" y="2"/>
                    </a:moveTo>
                    <a:lnTo>
                      <a:pt x="20" y="2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8" y="30"/>
                    </a:lnTo>
                    <a:lnTo>
                      <a:pt x="10" y="32"/>
                    </a:lnTo>
                    <a:lnTo>
                      <a:pt x="12" y="34"/>
                    </a:lnTo>
                    <a:lnTo>
                      <a:pt x="12" y="36"/>
                    </a:lnTo>
                    <a:lnTo>
                      <a:pt x="18" y="42"/>
                    </a:lnTo>
                    <a:lnTo>
                      <a:pt x="24" y="50"/>
                    </a:lnTo>
                    <a:lnTo>
                      <a:pt x="26" y="54"/>
                    </a:lnTo>
                    <a:lnTo>
                      <a:pt x="30" y="56"/>
                    </a:lnTo>
                    <a:lnTo>
                      <a:pt x="32" y="60"/>
                    </a:lnTo>
                    <a:lnTo>
                      <a:pt x="34" y="60"/>
                    </a:lnTo>
                    <a:lnTo>
                      <a:pt x="36" y="62"/>
                    </a:lnTo>
                    <a:lnTo>
                      <a:pt x="38" y="64"/>
                    </a:lnTo>
                    <a:lnTo>
                      <a:pt x="40" y="64"/>
                    </a:lnTo>
                    <a:lnTo>
                      <a:pt x="44" y="66"/>
                    </a:lnTo>
                    <a:lnTo>
                      <a:pt x="46" y="68"/>
                    </a:lnTo>
                    <a:lnTo>
                      <a:pt x="50" y="70"/>
                    </a:lnTo>
                    <a:lnTo>
                      <a:pt x="52" y="70"/>
                    </a:lnTo>
                    <a:lnTo>
                      <a:pt x="56" y="70"/>
                    </a:lnTo>
                    <a:lnTo>
                      <a:pt x="58" y="72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8" y="72"/>
                    </a:lnTo>
                    <a:lnTo>
                      <a:pt x="74" y="72"/>
                    </a:lnTo>
                    <a:lnTo>
                      <a:pt x="78" y="70"/>
                    </a:lnTo>
                    <a:lnTo>
                      <a:pt x="82" y="70"/>
                    </a:lnTo>
                    <a:lnTo>
                      <a:pt x="90" y="68"/>
                    </a:lnTo>
                    <a:lnTo>
                      <a:pt x="100" y="66"/>
                    </a:lnTo>
                    <a:lnTo>
                      <a:pt x="108" y="66"/>
                    </a:lnTo>
                    <a:lnTo>
                      <a:pt x="112" y="64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4" y="64"/>
                    </a:lnTo>
                    <a:lnTo>
                      <a:pt x="126" y="64"/>
                    </a:lnTo>
                    <a:lnTo>
                      <a:pt x="128" y="66"/>
                    </a:lnTo>
                    <a:lnTo>
                      <a:pt x="130" y="66"/>
                    </a:lnTo>
                    <a:lnTo>
                      <a:pt x="132" y="66"/>
                    </a:lnTo>
                    <a:lnTo>
                      <a:pt x="138" y="70"/>
                    </a:lnTo>
                    <a:lnTo>
                      <a:pt x="144" y="72"/>
                    </a:lnTo>
                    <a:lnTo>
                      <a:pt x="146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4" y="76"/>
                    </a:lnTo>
                    <a:lnTo>
                      <a:pt x="156" y="76"/>
                    </a:lnTo>
                    <a:lnTo>
                      <a:pt x="156" y="76"/>
                    </a:lnTo>
                    <a:lnTo>
                      <a:pt x="158" y="76"/>
                    </a:lnTo>
                    <a:lnTo>
                      <a:pt x="158" y="76"/>
                    </a:lnTo>
                    <a:lnTo>
                      <a:pt x="160" y="74"/>
                    </a:lnTo>
                    <a:lnTo>
                      <a:pt x="160" y="74"/>
                    </a:lnTo>
                    <a:lnTo>
                      <a:pt x="162" y="74"/>
                    </a:lnTo>
                    <a:lnTo>
                      <a:pt x="162" y="74"/>
                    </a:lnTo>
                    <a:lnTo>
                      <a:pt x="162" y="72"/>
                    </a:lnTo>
                    <a:lnTo>
                      <a:pt x="164" y="70"/>
                    </a:lnTo>
                    <a:lnTo>
                      <a:pt x="164" y="68"/>
                    </a:lnTo>
                    <a:lnTo>
                      <a:pt x="164" y="66"/>
                    </a:lnTo>
                    <a:lnTo>
                      <a:pt x="164" y="64"/>
                    </a:lnTo>
                    <a:lnTo>
                      <a:pt x="164" y="62"/>
                    </a:lnTo>
                    <a:lnTo>
                      <a:pt x="162" y="60"/>
                    </a:lnTo>
                    <a:lnTo>
                      <a:pt x="162" y="58"/>
                    </a:lnTo>
                    <a:lnTo>
                      <a:pt x="162" y="56"/>
                    </a:lnTo>
                    <a:lnTo>
                      <a:pt x="160" y="54"/>
                    </a:lnTo>
                    <a:lnTo>
                      <a:pt x="160" y="52"/>
                    </a:lnTo>
                    <a:lnTo>
                      <a:pt x="160" y="50"/>
                    </a:lnTo>
                    <a:lnTo>
                      <a:pt x="158" y="48"/>
                    </a:lnTo>
                    <a:lnTo>
                      <a:pt x="158" y="48"/>
                    </a:lnTo>
                    <a:lnTo>
                      <a:pt x="156" y="46"/>
                    </a:lnTo>
                    <a:lnTo>
                      <a:pt x="156" y="46"/>
                    </a:lnTo>
                    <a:lnTo>
                      <a:pt x="154" y="46"/>
                    </a:lnTo>
                    <a:lnTo>
                      <a:pt x="152" y="44"/>
                    </a:lnTo>
                    <a:lnTo>
                      <a:pt x="152" y="44"/>
                    </a:lnTo>
                    <a:lnTo>
                      <a:pt x="150" y="44"/>
                    </a:lnTo>
                    <a:lnTo>
                      <a:pt x="148" y="44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38" y="42"/>
                    </a:lnTo>
                    <a:lnTo>
                      <a:pt x="134" y="42"/>
                    </a:lnTo>
                    <a:lnTo>
                      <a:pt x="132" y="42"/>
                    </a:lnTo>
                    <a:lnTo>
                      <a:pt x="124" y="44"/>
                    </a:lnTo>
                    <a:lnTo>
                      <a:pt x="116" y="44"/>
                    </a:lnTo>
                    <a:lnTo>
                      <a:pt x="112" y="44"/>
                    </a:lnTo>
                    <a:lnTo>
                      <a:pt x="110" y="44"/>
                    </a:lnTo>
                    <a:lnTo>
                      <a:pt x="106" y="44"/>
                    </a:lnTo>
                    <a:lnTo>
                      <a:pt x="104" y="44"/>
                    </a:lnTo>
                    <a:lnTo>
                      <a:pt x="92" y="42"/>
                    </a:lnTo>
                    <a:lnTo>
                      <a:pt x="86" y="42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2" y="38"/>
                    </a:lnTo>
                    <a:lnTo>
                      <a:pt x="68" y="38"/>
                    </a:lnTo>
                    <a:lnTo>
                      <a:pt x="66" y="36"/>
                    </a:lnTo>
                    <a:lnTo>
                      <a:pt x="62" y="36"/>
                    </a:lnTo>
                    <a:lnTo>
                      <a:pt x="60" y="34"/>
                    </a:lnTo>
                    <a:lnTo>
                      <a:pt x="58" y="34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4" y="28"/>
                    </a:lnTo>
                    <a:lnTo>
                      <a:pt x="54" y="26"/>
                    </a:lnTo>
                    <a:lnTo>
                      <a:pt x="52" y="24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4"/>
                    </a:lnTo>
                    <a:lnTo>
                      <a:pt x="52" y="12"/>
                    </a:lnTo>
                    <a:lnTo>
                      <a:pt x="50" y="10"/>
                    </a:lnTo>
                    <a:lnTo>
                      <a:pt x="50" y="8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2"/>
                    </a:lnTo>
                    <a:lnTo>
                      <a:pt x="20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  <p:sp>
            <p:nvSpPr>
              <p:cNvPr id="1967" name="Freeform 583">
                <a:extLst>
                  <a:ext uri="{FF2B5EF4-FFF2-40B4-BE49-F238E27FC236}">
                    <a16:creationId xmlns:a16="http://schemas.microsoft.com/office/drawing/2014/main" id="{C719AED1-7F77-4AD4-AF90-4D93D00D16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3453" y="2457617"/>
                <a:ext cx="53975" cy="34925"/>
              </a:xfrm>
              <a:custGeom>
                <a:avLst/>
                <a:gdLst>
                  <a:gd name="T0" fmla="*/ 12 w 34"/>
                  <a:gd name="T1" fmla="*/ 0 h 22"/>
                  <a:gd name="T2" fmla="*/ 12 w 34"/>
                  <a:gd name="T3" fmla="*/ 0 h 22"/>
                  <a:gd name="T4" fmla="*/ 10 w 34"/>
                  <a:gd name="T5" fmla="*/ 2 h 22"/>
                  <a:gd name="T6" fmla="*/ 8 w 34"/>
                  <a:gd name="T7" fmla="*/ 2 h 22"/>
                  <a:gd name="T8" fmla="*/ 6 w 34"/>
                  <a:gd name="T9" fmla="*/ 4 h 22"/>
                  <a:gd name="T10" fmla="*/ 4 w 34"/>
                  <a:gd name="T11" fmla="*/ 6 h 22"/>
                  <a:gd name="T12" fmla="*/ 2 w 34"/>
                  <a:gd name="T13" fmla="*/ 8 h 22"/>
                  <a:gd name="T14" fmla="*/ 2 w 34"/>
                  <a:gd name="T15" fmla="*/ 10 h 22"/>
                  <a:gd name="T16" fmla="*/ 0 w 34"/>
                  <a:gd name="T17" fmla="*/ 10 h 22"/>
                  <a:gd name="T18" fmla="*/ 0 w 34"/>
                  <a:gd name="T19" fmla="*/ 12 h 22"/>
                  <a:gd name="T20" fmla="*/ 0 w 34"/>
                  <a:gd name="T21" fmla="*/ 12 h 22"/>
                  <a:gd name="T22" fmla="*/ 0 w 34"/>
                  <a:gd name="T23" fmla="*/ 14 h 22"/>
                  <a:gd name="T24" fmla="*/ 0 w 34"/>
                  <a:gd name="T25" fmla="*/ 14 h 22"/>
                  <a:gd name="T26" fmla="*/ 0 w 34"/>
                  <a:gd name="T27" fmla="*/ 16 h 22"/>
                  <a:gd name="T28" fmla="*/ 0 w 34"/>
                  <a:gd name="T29" fmla="*/ 16 h 22"/>
                  <a:gd name="T30" fmla="*/ 2 w 34"/>
                  <a:gd name="T31" fmla="*/ 18 h 22"/>
                  <a:gd name="T32" fmla="*/ 2 w 34"/>
                  <a:gd name="T33" fmla="*/ 18 h 22"/>
                  <a:gd name="T34" fmla="*/ 4 w 34"/>
                  <a:gd name="T35" fmla="*/ 18 h 22"/>
                  <a:gd name="T36" fmla="*/ 4 w 34"/>
                  <a:gd name="T37" fmla="*/ 20 h 22"/>
                  <a:gd name="T38" fmla="*/ 8 w 34"/>
                  <a:gd name="T39" fmla="*/ 20 h 22"/>
                  <a:gd name="T40" fmla="*/ 10 w 34"/>
                  <a:gd name="T41" fmla="*/ 22 h 22"/>
                  <a:gd name="T42" fmla="*/ 12 w 34"/>
                  <a:gd name="T43" fmla="*/ 22 h 22"/>
                  <a:gd name="T44" fmla="*/ 16 w 34"/>
                  <a:gd name="T45" fmla="*/ 22 h 22"/>
                  <a:gd name="T46" fmla="*/ 18 w 34"/>
                  <a:gd name="T47" fmla="*/ 22 h 22"/>
                  <a:gd name="T48" fmla="*/ 20 w 34"/>
                  <a:gd name="T49" fmla="*/ 22 h 22"/>
                  <a:gd name="T50" fmla="*/ 22 w 34"/>
                  <a:gd name="T51" fmla="*/ 22 h 22"/>
                  <a:gd name="T52" fmla="*/ 24 w 34"/>
                  <a:gd name="T53" fmla="*/ 20 h 22"/>
                  <a:gd name="T54" fmla="*/ 26 w 34"/>
                  <a:gd name="T55" fmla="*/ 20 h 22"/>
                  <a:gd name="T56" fmla="*/ 28 w 34"/>
                  <a:gd name="T57" fmla="*/ 18 h 22"/>
                  <a:gd name="T58" fmla="*/ 30 w 34"/>
                  <a:gd name="T59" fmla="*/ 18 h 22"/>
                  <a:gd name="T60" fmla="*/ 32 w 34"/>
                  <a:gd name="T61" fmla="*/ 16 h 22"/>
                  <a:gd name="T62" fmla="*/ 32 w 34"/>
                  <a:gd name="T63" fmla="*/ 16 h 22"/>
                  <a:gd name="T64" fmla="*/ 32 w 34"/>
                  <a:gd name="T65" fmla="*/ 14 h 22"/>
                  <a:gd name="T66" fmla="*/ 32 w 34"/>
                  <a:gd name="T67" fmla="*/ 14 h 22"/>
                  <a:gd name="T68" fmla="*/ 34 w 34"/>
                  <a:gd name="T69" fmla="*/ 12 h 22"/>
                  <a:gd name="T70" fmla="*/ 32 w 34"/>
                  <a:gd name="T71" fmla="*/ 10 h 22"/>
                  <a:gd name="T72" fmla="*/ 32 w 34"/>
                  <a:gd name="T73" fmla="*/ 8 h 22"/>
                  <a:gd name="T74" fmla="*/ 32 w 34"/>
                  <a:gd name="T75" fmla="*/ 6 h 22"/>
                  <a:gd name="T76" fmla="*/ 32 w 34"/>
                  <a:gd name="T77" fmla="*/ 6 h 22"/>
                  <a:gd name="T78" fmla="*/ 30 w 34"/>
                  <a:gd name="T79" fmla="*/ 4 h 22"/>
                  <a:gd name="T80" fmla="*/ 30 w 34"/>
                  <a:gd name="T81" fmla="*/ 2 h 22"/>
                  <a:gd name="T82" fmla="*/ 30 w 34"/>
                  <a:gd name="T83" fmla="*/ 2 h 22"/>
                  <a:gd name="T84" fmla="*/ 28 w 34"/>
                  <a:gd name="T85" fmla="*/ 2 h 22"/>
                  <a:gd name="T86" fmla="*/ 26 w 34"/>
                  <a:gd name="T87" fmla="*/ 0 h 22"/>
                  <a:gd name="T88" fmla="*/ 24 w 34"/>
                  <a:gd name="T89" fmla="*/ 0 h 22"/>
                  <a:gd name="T90" fmla="*/ 22 w 34"/>
                  <a:gd name="T91" fmla="*/ 0 h 22"/>
                  <a:gd name="T92" fmla="*/ 18 w 34"/>
                  <a:gd name="T93" fmla="*/ 0 h 22"/>
                  <a:gd name="T94" fmla="*/ 16 w 34"/>
                  <a:gd name="T95" fmla="*/ 0 h 22"/>
                  <a:gd name="T96" fmla="*/ 14 w 34"/>
                  <a:gd name="T97" fmla="*/ 0 h 22"/>
                  <a:gd name="T98" fmla="*/ 12 w 34"/>
                  <a:gd name="T9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22">
                    <a:moveTo>
                      <a:pt x="12" y="0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8" y="20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8" y="18"/>
                    </a:lnTo>
                    <a:lnTo>
                      <a:pt x="30" y="18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4" y="12"/>
                    </a:lnTo>
                    <a:lnTo>
                      <a:pt x="32" y="10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4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54">
                  <a:defRPr/>
                </a:pPr>
                <a:endParaRPr lang="en-GB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思源黑体 CN Light" panose="020B0300000000000000" pitchFamily="34" charset="-122"/>
                  <a:ea typeface="思源黑体 CN Light" panose="020B0300000000000000" pitchFamily="34" charset="-122"/>
                </a:endParaRPr>
              </a:p>
            </p:txBody>
          </p:sp>
        </p:grpSp>
        <p:sp>
          <p:nvSpPr>
            <p:cNvPr id="1545" name="文本框 1544">
              <a:extLst>
                <a:ext uri="{FF2B5EF4-FFF2-40B4-BE49-F238E27FC236}">
                  <a16:creationId xmlns:a16="http://schemas.microsoft.com/office/drawing/2014/main" id="{57B5EFA7-7553-4D03-83BD-DC7B0C8BA8BF}"/>
                </a:ext>
              </a:extLst>
            </p:cNvPr>
            <p:cNvSpPr txBox="1"/>
            <p:nvPr/>
          </p:nvSpPr>
          <p:spPr>
            <a:xfrm>
              <a:off x="6085683" y="3649791"/>
              <a:ext cx="66550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洛杉矶</a:t>
              </a:r>
            </a:p>
          </p:txBody>
        </p:sp>
        <p:sp>
          <p:nvSpPr>
            <p:cNvPr id="1546" name="文本框 1545">
              <a:extLst>
                <a:ext uri="{FF2B5EF4-FFF2-40B4-BE49-F238E27FC236}">
                  <a16:creationId xmlns:a16="http://schemas.microsoft.com/office/drawing/2014/main" id="{306A39B3-5931-4EC4-A309-E4CBB730D548}"/>
                </a:ext>
              </a:extLst>
            </p:cNvPr>
            <p:cNvSpPr txBox="1"/>
            <p:nvPr/>
          </p:nvSpPr>
          <p:spPr>
            <a:xfrm>
              <a:off x="6278971" y="4071205"/>
              <a:ext cx="811260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77777">
                      <a:lumMod val="50000"/>
                    </a:srgbClr>
                  </a:solidFill>
                  <a:latin typeface="微软雅黑"/>
                </a:rPr>
                <a:t>墨西哥城</a:t>
              </a:r>
            </a:p>
          </p:txBody>
        </p:sp>
        <p:sp>
          <p:nvSpPr>
            <p:cNvPr id="1547" name="文本框 1546">
              <a:extLst>
                <a:ext uri="{FF2B5EF4-FFF2-40B4-BE49-F238E27FC236}">
                  <a16:creationId xmlns:a16="http://schemas.microsoft.com/office/drawing/2014/main" id="{28157CE0-3D17-42B0-8B11-E805DBF9F5FD}"/>
                </a:ext>
              </a:extLst>
            </p:cNvPr>
            <p:cNvSpPr txBox="1"/>
            <p:nvPr/>
          </p:nvSpPr>
          <p:spPr>
            <a:xfrm>
              <a:off x="4562313" y="3382973"/>
              <a:ext cx="4989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东京</a:t>
              </a:r>
            </a:p>
          </p:txBody>
        </p:sp>
        <p:sp>
          <p:nvSpPr>
            <p:cNvPr id="1548" name="文本框 1547">
              <a:extLst>
                <a:ext uri="{FF2B5EF4-FFF2-40B4-BE49-F238E27FC236}">
                  <a16:creationId xmlns:a16="http://schemas.microsoft.com/office/drawing/2014/main" id="{5A1B8614-356A-4DAF-BA31-84D342E87A5E}"/>
                </a:ext>
              </a:extLst>
            </p:cNvPr>
            <p:cNvSpPr txBox="1"/>
            <p:nvPr/>
          </p:nvSpPr>
          <p:spPr>
            <a:xfrm>
              <a:off x="3830809" y="3397008"/>
              <a:ext cx="4989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000000"/>
                  </a:solidFill>
                  <a:latin typeface="微软雅黑"/>
                </a:rPr>
                <a:t>北京</a:t>
              </a:r>
            </a:p>
          </p:txBody>
        </p:sp>
        <p:sp>
          <p:nvSpPr>
            <p:cNvPr id="1549" name="文本框 1548">
              <a:extLst>
                <a:ext uri="{FF2B5EF4-FFF2-40B4-BE49-F238E27FC236}">
                  <a16:creationId xmlns:a16="http://schemas.microsoft.com/office/drawing/2014/main" id="{4B2B8BA3-3DF5-4CEF-B3B0-F4CE411BC515}"/>
                </a:ext>
              </a:extLst>
            </p:cNvPr>
            <p:cNvSpPr txBox="1"/>
            <p:nvPr/>
          </p:nvSpPr>
          <p:spPr>
            <a:xfrm>
              <a:off x="3922798" y="3590433"/>
              <a:ext cx="4989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000000"/>
                  </a:solidFill>
                  <a:latin typeface="微软雅黑"/>
                </a:rPr>
                <a:t>上海</a:t>
              </a:r>
            </a:p>
          </p:txBody>
        </p:sp>
        <p:sp>
          <p:nvSpPr>
            <p:cNvPr id="1550" name="文本框 1549">
              <a:extLst>
                <a:ext uri="{FF2B5EF4-FFF2-40B4-BE49-F238E27FC236}">
                  <a16:creationId xmlns:a16="http://schemas.microsoft.com/office/drawing/2014/main" id="{E9DDC55A-C579-423F-BD91-923D4864A8A2}"/>
                </a:ext>
              </a:extLst>
            </p:cNvPr>
            <p:cNvSpPr txBox="1"/>
            <p:nvPr/>
          </p:nvSpPr>
          <p:spPr>
            <a:xfrm>
              <a:off x="3756424" y="3812571"/>
              <a:ext cx="49912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000000"/>
                  </a:solidFill>
                  <a:latin typeface="微软雅黑"/>
                </a:rPr>
                <a:t>广州</a:t>
              </a:r>
            </a:p>
          </p:txBody>
        </p:sp>
        <p:sp>
          <p:nvSpPr>
            <p:cNvPr id="1551" name="文本框 1550">
              <a:extLst>
                <a:ext uri="{FF2B5EF4-FFF2-40B4-BE49-F238E27FC236}">
                  <a16:creationId xmlns:a16="http://schemas.microsoft.com/office/drawing/2014/main" id="{834E4928-3297-4032-9614-75AF4698665D}"/>
                </a:ext>
              </a:extLst>
            </p:cNvPr>
            <p:cNvSpPr txBox="1"/>
            <p:nvPr/>
          </p:nvSpPr>
          <p:spPr>
            <a:xfrm>
              <a:off x="2331236" y="2688275"/>
              <a:ext cx="73012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莫斯科</a:t>
              </a:r>
            </a:p>
          </p:txBody>
        </p:sp>
        <p:sp>
          <p:nvSpPr>
            <p:cNvPr id="1552" name="文本框 1551">
              <a:extLst>
                <a:ext uri="{FF2B5EF4-FFF2-40B4-BE49-F238E27FC236}">
                  <a16:creationId xmlns:a16="http://schemas.microsoft.com/office/drawing/2014/main" id="{BB9C763D-9045-4BEF-94F9-73E47852A381}"/>
                </a:ext>
              </a:extLst>
            </p:cNvPr>
            <p:cNvSpPr txBox="1"/>
            <p:nvPr/>
          </p:nvSpPr>
          <p:spPr>
            <a:xfrm>
              <a:off x="5669743" y="2372004"/>
              <a:ext cx="748689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77777">
                      <a:lumMod val="50000"/>
                    </a:srgbClr>
                  </a:solidFill>
                  <a:latin typeface="微软雅黑"/>
                </a:rPr>
                <a:t>安克雷奇</a:t>
              </a:r>
            </a:p>
          </p:txBody>
        </p:sp>
        <p:sp>
          <p:nvSpPr>
            <p:cNvPr id="1553" name="文本框 1552">
              <a:extLst>
                <a:ext uri="{FF2B5EF4-FFF2-40B4-BE49-F238E27FC236}">
                  <a16:creationId xmlns:a16="http://schemas.microsoft.com/office/drawing/2014/main" id="{7CED2E71-4089-4745-A9DD-75544CA2A08A}"/>
                </a:ext>
              </a:extLst>
            </p:cNvPr>
            <p:cNvSpPr txBox="1"/>
            <p:nvPr/>
          </p:nvSpPr>
          <p:spPr>
            <a:xfrm>
              <a:off x="4920887" y="5355282"/>
              <a:ext cx="831879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墨尔本</a:t>
              </a:r>
            </a:p>
          </p:txBody>
        </p:sp>
        <p:sp>
          <p:nvSpPr>
            <p:cNvPr id="1554" name="文本框 1553">
              <a:extLst>
                <a:ext uri="{FF2B5EF4-FFF2-40B4-BE49-F238E27FC236}">
                  <a16:creationId xmlns:a16="http://schemas.microsoft.com/office/drawing/2014/main" id="{ADF8510D-B98A-4456-9009-CC5E861A99A7}"/>
                </a:ext>
              </a:extLst>
            </p:cNvPr>
            <p:cNvSpPr txBox="1"/>
            <p:nvPr/>
          </p:nvSpPr>
          <p:spPr>
            <a:xfrm>
              <a:off x="3506861" y="3812571"/>
              <a:ext cx="4989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000000"/>
                  </a:solidFill>
                  <a:latin typeface="微软雅黑"/>
                </a:rPr>
                <a:t>成都</a:t>
              </a:r>
            </a:p>
          </p:txBody>
        </p:sp>
        <p:sp>
          <p:nvSpPr>
            <p:cNvPr id="1555" name="文本框 1554">
              <a:extLst>
                <a:ext uri="{FF2B5EF4-FFF2-40B4-BE49-F238E27FC236}">
                  <a16:creationId xmlns:a16="http://schemas.microsoft.com/office/drawing/2014/main" id="{860BF2E9-1D2F-43F8-A4F0-3EF784AAF843}"/>
                </a:ext>
              </a:extLst>
            </p:cNvPr>
            <p:cNvSpPr txBox="1"/>
            <p:nvPr/>
          </p:nvSpPr>
          <p:spPr>
            <a:xfrm>
              <a:off x="8025916" y="5192504"/>
              <a:ext cx="695197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圣保罗</a:t>
              </a:r>
            </a:p>
          </p:txBody>
        </p:sp>
        <p:sp>
          <p:nvSpPr>
            <p:cNvPr id="1556" name="Freeform 41">
              <a:extLst>
                <a:ext uri="{FF2B5EF4-FFF2-40B4-BE49-F238E27FC236}">
                  <a16:creationId xmlns:a16="http://schemas.microsoft.com/office/drawing/2014/main" id="{5C5F6EEA-A754-4DC3-A1EA-EE375D896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9146" y="3971658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57" name="文本框 1556">
              <a:extLst>
                <a:ext uri="{FF2B5EF4-FFF2-40B4-BE49-F238E27FC236}">
                  <a16:creationId xmlns:a16="http://schemas.microsoft.com/office/drawing/2014/main" id="{34210AB9-C2CB-46DC-BE33-B29E7BBD8EEC}"/>
                </a:ext>
              </a:extLst>
            </p:cNvPr>
            <p:cNvSpPr txBox="1"/>
            <p:nvPr/>
          </p:nvSpPr>
          <p:spPr>
            <a:xfrm>
              <a:off x="2119582" y="3783068"/>
              <a:ext cx="4989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77777">
                      <a:lumMod val="50000"/>
                    </a:srgbClr>
                  </a:solidFill>
                  <a:latin typeface="微软雅黑"/>
                </a:rPr>
                <a:t>多哈</a:t>
              </a:r>
            </a:p>
          </p:txBody>
        </p:sp>
        <p:sp>
          <p:nvSpPr>
            <p:cNvPr id="1558" name="Freeform 41">
              <a:extLst>
                <a:ext uri="{FF2B5EF4-FFF2-40B4-BE49-F238E27FC236}">
                  <a16:creationId xmlns:a16="http://schemas.microsoft.com/office/drawing/2014/main" id="{EE5E9EFB-DBA9-480C-9031-77A3F2EBB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0456" y="3939360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2318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54"/>
              <a:endParaRPr lang="zh-CN" altLang="en-US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59" name="文本框 1558">
              <a:extLst>
                <a:ext uri="{FF2B5EF4-FFF2-40B4-BE49-F238E27FC236}">
                  <a16:creationId xmlns:a16="http://schemas.microsoft.com/office/drawing/2014/main" id="{D6F991B4-BFE8-4DF9-8DBA-4CA0D3F4E58F}"/>
                </a:ext>
              </a:extLst>
            </p:cNvPr>
            <p:cNvSpPr txBox="1"/>
            <p:nvPr/>
          </p:nvSpPr>
          <p:spPr>
            <a:xfrm>
              <a:off x="2399430" y="3971659"/>
              <a:ext cx="66550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迪拜</a:t>
              </a:r>
            </a:p>
          </p:txBody>
        </p:sp>
        <p:sp>
          <p:nvSpPr>
            <p:cNvPr id="1560" name="Freeform 41">
              <a:extLst>
                <a:ext uri="{FF2B5EF4-FFF2-40B4-BE49-F238E27FC236}">
                  <a16:creationId xmlns:a16="http://schemas.microsoft.com/office/drawing/2014/main" id="{B31A2C1B-B4C8-45D1-BF77-22DA1801D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704" y="3320541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61" name="文本框 1560">
              <a:extLst>
                <a:ext uri="{FF2B5EF4-FFF2-40B4-BE49-F238E27FC236}">
                  <a16:creationId xmlns:a16="http://schemas.microsoft.com/office/drawing/2014/main" id="{B954146B-8137-4FBD-BFF3-A08EDA3F5A02}"/>
                </a:ext>
              </a:extLst>
            </p:cNvPr>
            <p:cNvSpPr txBox="1"/>
            <p:nvPr/>
          </p:nvSpPr>
          <p:spPr>
            <a:xfrm>
              <a:off x="835416" y="3231327"/>
              <a:ext cx="372776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3C3C3C"/>
                  </a:solidFill>
                  <a:latin typeface="微软雅黑"/>
                </a:rPr>
                <a:t>巴黎</a:t>
              </a:r>
            </a:p>
          </p:txBody>
        </p:sp>
        <p:sp>
          <p:nvSpPr>
            <p:cNvPr id="1562" name="Freeform 41">
              <a:extLst>
                <a:ext uri="{FF2B5EF4-FFF2-40B4-BE49-F238E27FC236}">
                  <a16:creationId xmlns:a16="http://schemas.microsoft.com/office/drawing/2014/main" id="{44921CE3-DD4A-4F90-8F52-A945B2195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5057" y="3090789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63" name="文本框 1562">
              <a:extLst>
                <a:ext uri="{FF2B5EF4-FFF2-40B4-BE49-F238E27FC236}">
                  <a16:creationId xmlns:a16="http://schemas.microsoft.com/office/drawing/2014/main" id="{7E3C79C1-B039-4B94-B025-291ADC9230A1}"/>
                </a:ext>
              </a:extLst>
            </p:cNvPr>
            <p:cNvSpPr txBox="1"/>
            <p:nvPr/>
          </p:nvSpPr>
          <p:spPr>
            <a:xfrm>
              <a:off x="678474" y="3004479"/>
              <a:ext cx="49912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3C3C3C"/>
                  </a:solidFill>
                  <a:latin typeface="微软雅黑"/>
                </a:rPr>
                <a:t>伦敦</a:t>
              </a:r>
            </a:p>
          </p:txBody>
        </p:sp>
        <p:sp>
          <p:nvSpPr>
            <p:cNvPr id="1564" name="Freeform 41">
              <a:extLst>
                <a:ext uri="{FF2B5EF4-FFF2-40B4-BE49-F238E27FC236}">
                  <a16:creationId xmlns:a16="http://schemas.microsoft.com/office/drawing/2014/main" id="{7B6208BE-B80F-4E70-8B01-E31F906EA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5818" y="3157762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2318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54"/>
              <a:endParaRPr lang="zh-CN" altLang="en-US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65" name="文本框 1564">
              <a:extLst>
                <a:ext uri="{FF2B5EF4-FFF2-40B4-BE49-F238E27FC236}">
                  <a16:creationId xmlns:a16="http://schemas.microsoft.com/office/drawing/2014/main" id="{AE13D33D-91C2-4FFA-B7ED-04ADC0540CF0}"/>
                </a:ext>
              </a:extLst>
            </p:cNvPr>
            <p:cNvSpPr txBox="1"/>
            <p:nvPr/>
          </p:nvSpPr>
          <p:spPr>
            <a:xfrm>
              <a:off x="1142810" y="3108671"/>
              <a:ext cx="748689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汉堡</a:t>
              </a:r>
            </a:p>
          </p:txBody>
        </p:sp>
        <p:sp>
          <p:nvSpPr>
            <p:cNvPr id="1566" name="Freeform 41">
              <a:extLst>
                <a:ext uri="{FF2B5EF4-FFF2-40B4-BE49-F238E27FC236}">
                  <a16:creationId xmlns:a16="http://schemas.microsoft.com/office/drawing/2014/main" id="{772DDE7A-4795-475B-A67C-9F161AF9F3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878" y="3406237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2318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54"/>
              <a:endParaRPr lang="zh-CN" altLang="en-US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67" name="文本框 1566">
              <a:extLst>
                <a:ext uri="{FF2B5EF4-FFF2-40B4-BE49-F238E27FC236}">
                  <a16:creationId xmlns:a16="http://schemas.microsoft.com/office/drawing/2014/main" id="{DC3CC690-39AB-481E-929E-A1DA8F4914BE}"/>
                </a:ext>
              </a:extLst>
            </p:cNvPr>
            <p:cNvSpPr txBox="1"/>
            <p:nvPr/>
          </p:nvSpPr>
          <p:spPr>
            <a:xfrm>
              <a:off x="1370893" y="3396324"/>
              <a:ext cx="64693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77777">
                      <a:lumMod val="50000"/>
                    </a:srgbClr>
                  </a:solidFill>
                  <a:latin typeface="微软雅黑"/>
                </a:rPr>
                <a:t>罗马</a:t>
              </a:r>
            </a:p>
          </p:txBody>
        </p:sp>
        <p:sp>
          <p:nvSpPr>
            <p:cNvPr id="1568" name="Freeform 41">
              <a:extLst>
                <a:ext uri="{FF2B5EF4-FFF2-40B4-BE49-F238E27FC236}">
                  <a16:creationId xmlns:a16="http://schemas.microsoft.com/office/drawing/2014/main" id="{45E78766-F7E9-44F8-BA7D-498AA786A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644" y="3082176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69" name="文本框 1568">
              <a:extLst>
                <a:ext uri="{FF2B5EF4-FFF2-40B4-BE49-F238E27FC236}">
                  <a16:creationId xmlns:a16="http://schemas.microsoft.com/office/drawing/2014/main" id="{8236C859-4D2A-4B94-A40D-705B24677A0C}"/>
                </a:ext>
              </a:extLst>
            </p:cNvPr>
            <p:cNvSpPr txBox="1"/>
            <p:nvPr/>
          </p:nvSpPr>
          <p:spPr>
            <a:xfrm>
              <a:off x="1510354" y="2822543"/>
              <a:ext cx="64693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3C3C3C"/>
                  </a:solidFill>
                  <a:latin typeface="微软雅黑"/>
                </a:rPr>
                <a:t>华沙</a:t>
              </a:r>
            </a:p>
          </p:txBody>
        </p:sp>
        <p:sp>
          <p:nvSpPr>
            <p:cNvPr id="1570" name="Freeform 41">
              <a:extLst>
                <a:ext uri="{FF2B5EF4-FFF2-40B4-BE49-F238E27FC236}">
                  <a16:creationId xmlns:a16="http://schemas.microsoft.com/office/drawing/2014/main" id="{783FB189-B8C2-400A-B9DA-B0EED94939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517" y="3483321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71" name="文本框 1570">
              <a:extLst>
                <a:ext uri="{FF2B5EF4-FFF2-40B4-BE49-F238E27FC236}">
                  <a16:creationId xmlns:a16="http://schemas.microsoft.com/office/drawing/2014/main" id="{21748F1A-3CB7-4BA3-8BCC-5291FF6BD49A}"/>
                </a:ext>
              </a:extLst>
            </p:cNvPr>
            <p:cNvSpPr txBox="1"/>
            <p:nvPr/>
          </p:nvSpPr>
          <p:spPr>
            <a:xfrm>
              <a:off x="634249" y="3438833"/>
              <a:ext cx="491057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3C3C3C"/>
                  </a:solidFill>
                  <a:latin typeface="微软雅黑"/>
                </a:rPr>
                <a:t>马德里</a:t>
              </a:r>
            </a:p>
          </p:txBody>
        </p:sp>
        <p:sp>
          <p:nvSpPr>
            <p:cNvPr id="1572" name="任意多边形: 形状 750">
              <a:extLst>
                <a:ext uri="{FF2B5EF4-FFF2-40B4-BE49-F238E27FC236}">
                  <a16:creationId xmlns:a16="http://schemas.microsoft.com/office/drawing/2014/main" id="{A5856719-347C-4AEE-9D3A-F69A17F17243}"/>
                </a:ext>
              </a:extLst>
            </p:cNvPr>
            <p:cNvSpPr/>
            <p:nvPr/>
          </p:nvSpPr>
          <p:spPr>
            <a:xfrm rot="468204">
              <a:off x="5969204" y="2961663"/>
              <a:ext cx="534215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573" name="任意多边形: 形状 755">
              <a:extLst>
                <a:ext uri="{FF2B5EF4-FFF2-40B4-BE49-F238E27FC236}">
                  <a16:creationId xmlns:a16="http://schemas.microsoft.com/office/drawing/2014/main" id="{F1912DA8-8F11-41D6-A54E-A8DD497ADD6E}"/>
                </a:ext>
              </a:extLst>
            </p:cNvPr>
            <p:cNvSpPr/>
            <p:nvPr/>
          </p:nvSpPr>
          <p:spPr>
            <a:xfrm rot="20721899">
              <a:off x="6378420" y="3734864"/>
              <a:ext cx="1381671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32296 w 739140"/>
                <a:gd name="connsiteY1" fmla="*/ 31723 h 1249680"/>
                <a:gd name="connsiteX2" fmla="*/ 739140 w 739140"/>
                <a:gd name="connsiteY2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55908" y="46883"/>
                    <a:pt x="47114" y="291"/>
                    <a:pt x="32296" y="31723"/>
                  </a:cubicBezTo>
                  <a:cubicBezTo>
                    <a:pt x="364866" y="200004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574" name="任意多边形: 形状 756">
              <a:extLst>
                <a:ext uri="{FF2B5EF4-FFF2-40B4-BE49-F238E27FC236}">
                  <a16:creationId xmlns:a16="http://schemas.microsoft.com/office/drawing/2014/main" id="{1871B443-5191-4FE1-BDB4-A37463A9063E}"/>
                </a:ext>
              </a:extLst>
            </p:cNvPr>
            <p:cNvSpPr/>
            <p:nvPr/>
          </p:nvSpPr>
          <p:spPr>
            <a:xfrm rot="514284">
              <a:off x="5927739" y="3205833"/>
              <a:ext cx="868843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32296 w 739140"/>
                <a:gd name="connsiteY1" fmla="*/ 31723 h 1249680"/>
                <a:gd name="connsiteX2" fmla="*/ 739140 w 739140"/>
                <a:gd name="connsiteY2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55908" y="46883"/>
                    <a:pt x="47114" y="291"/>
                    <a:pt x="32296" y="31723"/>
                  </a:cubicBezTo>
                  <a:cubicBezTo>
                    <a:pt x="364866" y="200004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575" name="任意多边形: 形状 782">
              <a:extLst>
                <a:ext uri="{FF2B5EF4-FFF2-40B4-BE49-F238E27FC236}">
                  <a16:creationId xmlns:a16="http://schemas.microsoft.com/office/drawing/2014/main" id="{28F8003D-B56B-4D56-9F8A-6984D213996D}"/>
                </a:ext>
              </a:extLst>
            </p:cNvPr>
            <p:cNvSpPr/>
            <p:nvPr/>
          </p:nvSpPr>
          <p:spPr>
            <a:xfrm>
              <a:off x="3722777" y="3976827"/>
              <a:ext cx="86661" cy="310806"/>
            </a:xfrm>
            <a:custGeom>
              <a:avLst/>
              <a:gdLst>
                <a:gd name="connsiteX0" fmla="*/ 16594 w 75014"/>
                <a:gd name="connsiteY0" fmla="*/ 0 h 492760"/>
                <a:gd name="connsiteX1" fmla="*/ 19134 w 75014"/>
                <a:gd name="connsiteY1" fmla="*/ 73660 h 492760"/>
                <a:gd name="connsiteX2" fmla="*/ 49614 w 75014"/>
                <a:gd name="connsiteY2" fmla="*/ 104140 h 492760"/>
                <a:gd name="connsiteX3" fmla="*/ 1354 w 75014"/>
                <a:gd name="connsiteY3" fmla="*/ 149860 h 492760"/>
                <a:gd name="connsiteX4" fmla="*/ 14054 w 75014"/>
                <a:gd name="connsiteY4" fmla="*/ 203200 h 492760"/>
                <a:gd name="connsiteX5" fmla="*/ 21674 w 75014"/>
                <a:gd name="connsiteY5" fmla="*/ 259080 h 492760"/>
                <a:gd name="connsiteX6" fmla="*/ 3894 w 75014"/>
                <a:gd name="connsiteY6" fmla="*/ 335280 h 492760"/>
                <a:gd name="connsiteX7" fmla="*/ 34374 w 75014"/>
                <a:gd name="connsiteY7" fmla="*/ 398780 h 492760"/>
                <a:gd name="connsiteX8" fmla="*/ 54694 w 75014"/>
                <a:gd name="connsiteY8" fmla="*/ 454660 h 492760"/>
                <a:gd name="connsiteX9" fmla="*/ 75014 w 75014"/>
                <a:gd name="connsiteY9" fmla="*/ 492760 h 492760"/>
                <a:gd name="connsiteX10" fmla="*/ 75014 w 75014"/>
                <a:gd name="connsiteY10" fmla="*/ 492760 h 49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5014" h="492760">
                  <a:moveTo>
                    <a:pt x="16594" y="0"/>
                  </a:moveTo>
                  <a:cubicBezTo>
                    <a:pt x="15112" y="28151"/>
                    <a:pt x="13631" y="56303"/>
                    <a:pt x="19134" y="73660"/>
                  </a:cubicBezTo>
                  <a:cubicBezTo>
                    <a:pt x="24637" y="91017"/>
                    <a:pt x="52577" y="91440"/>
                    <a:pt x="49614" y="104140"/>
                  </a:cubicBezTo>
                  <a:cubicBezTo>
                    <a:pt x="46651" y="116840"/>
                    <a:pt x="7281" y="133350"/>
                    <a:pt x="1354" y="149860"/>
                  </a:cubicBezTo>
                  <a:cubicBezTo>
                    <a:pt x="-4573" y="166370"/>
                    <a:pt x="10667" y="184997"/>
                    <a:pt x="14054" y="203200"/>
                  </a:cubicBezTo>
                  <a:cubicBezTo>
                    <a:pt x="17441" y="221403"/>
                    <a:pt x="23367" y="237067"/>
                    <a:pt x="21674" y="259080"/>
                  </a:cubicBezTo>
                  <a:cubicBezTo>
                    <a:pt x="19981" y="281093"/>
                    <a:pt x="1777" y="311997"/>
                    <a:pt x="3894" y="335280"/>
                  </a:cubicBezTo>
                  <a:cubicBezTo>
                    <a:pt x="6011" y="358563"/>
                    <a:pt x="25907" y="378883"/>
                    <a:pt x="34374" y="398780"/>
                  </a:cubicBezTo>
                  <a:cubicBezTo>
                    <a:pt x="42841" y="418677"/>
                    <a:pt x="47921" y="438997"/>
                    <a:pt x="54694" y="454660"/>
                  </a:cubicBezTo>
                  <a:cubicBezTo>
                    <a:pt x="61467" y="470323"/>
                    <a:pt x="75014" y="492760"/>
                    <a:pt x="75014" y="492760"/>
                  </a:cubicBezTo>
                  <a:lnTo>
                    <a:pt x="75014" y="492760"/>
                  </a:lnTo>
                </a:path>
              </a:pathLst>
            </a:custGeom>
            <a:noFill/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576" name="星形: 五角 794">
              <a:extLst>
                <a:ext uri="{FF2B5EF4-FFF2-40B4-BE49-F238E27FC236}">
                  <a16:creationId xmlns:a16="http://schemas.microsoft.com/office/drawing/2014/main" id="{C2A63EE0-DCFA-47BC-A961-99E783D634DC}"/>
                </a:ext>
              </a:extLst>
            </p:cNvPr>
            <p:cNvSpPr/>
            <p:nvPr/>
          </p:nvSpPr>
          <p:spPr>
            <a:xfrm>
              <a:off x="2565806" y="3890269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77" name="文本框 1576">
              <a:extLst>
                <a:ext uri="{FF2B5EF4-FFF2-40B4-BE49-F238E27FC236}">
                  <a16:creationId xmlns:a16="http://schemas.microsoft.com/office/drawing/2014/main" id="{2F9F1658-8193-4DC2-A35A-ABD8270FA709}"/>
                </a:ext>
              </a:extLst>
            </p:cNvPr>
            <p:cNvSpPr txBox="1"/>
            <p:nvPr/>
          </p:nvSpPr>
          <p:spPr>
            <a:xfrm>
              <a:off x="1900304" y="5518062"/>
              <a:ext cx="66550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德班</a:t>
              </a:r>
            </a:p>
          </p:txBody>
        </p:sp>
        <p:sp>
          <p:nvSpPr>
            <p:cNvPr id="1578" name="文本框 1577">
              <a:extLst>
                <a:ext uri="{FF2B5EF4-FFF2-40B4-BE49-F238E27FC236}">
                  <a16:creationId xmlns:a16="http://schemas.microsoft.com/office/drawing/2014/main" id="{5DE956E1-6643-404A-AEB0-7049F394DA92}"/>
                </a:ext>
              </a:extLst>
            </p:cNvPr>
            <p:cNvSpPr txBox="1"/>
            <p:nvPr/>
          </p:nvSpPr>
          <p:spPr>
            <a:xfrm>
              <a:off x="4172362" y="3890269"/>
              <a:ext cx="4989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台北</a:t>
              </a:r>
            </a:p>
          </p:txBody>
        </p:sp>
        <p:sp>
          <p:nvSpPr>
            <p:cNvPr id="1579" name="文本框 1578">
              <a:extLst>
                <a:ext uri="{FF2B5EF4-FFF2-40B4-BE49-F238E27FC236}">
                  <a16:creationId xmlns:a16="http://schemas.microsoft.com/office/drawing/2014/main" id="{B7FB75CC-EFC3-4CDC-9B78-74C59BA31D76}"/>
                </a:ext>
              </a:extLst>
            </p:cNvPr>
            <p:cNvSpPr txBox="1"/>
            <p:nvPr/>
          </p:nvSpPr>
          <p:spPr>
            <a:xfrm>
              <a:off x="3841786" y="4069226"/>
              <a:ext cx="4989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香港</a:t>
              </a:r>
            </a:p>
          </p:txBody>
        </p:sp>
        <p:sp>
          <p:nvSpPr>
            <p:cNvPr id="1580" name="星形: 五角 805">
              <a:extLst>
                <a:ext uri="{FF2B5EF4-FFF2-40B4-BE49-F238E27FC236}">
                  <a16:creationId xmlns:a16="http://schemas.microsoft.com/office/drawing/2014/main" id="{47162426-7D31-4B04-99ED-A47E77412CC9}"/>
                </a:ext>
              </a:extLst>
            </p:cNvPr>
            <p:cNvSpPr/>
            <p:nvPr/>
          </p:nvSpPr>
          <p:spPr>
            <a:xfrm>
              <a:off x="4312750" y="3608128"/>
              <a:ext cx="58114" cy="56858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81" name="文本框 1580">
              <a:extLst>
                <a:ext uri="{FF2B5EF4-FFF2-40B4-BE49-F238E27FC236}">
                  <a16:creationId xmlns:a16="http://schemas.microsoft.com/office/drawing/2014/main" id="{C15242F9-048A-4A55-B638-455A19595AD7}"/>
                </a:ext>
              </a:extLst>
            </p:cNvPr>
            <p:cNvSpPr txBox="1"/>
            <p:nvPr/>
          </p:nvSpPr>
          <p:spPr>
            <a:xfrm>
              <a:off x="4169053" y="3371044"/>
              <a:ext cx="4989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仁川</a:t>
              </a:r>
            </a:p>
          </p:txBody>
        </p:sp>
        <p:sp>
          <p:nvSpPr>
            <p:cNvPr id="1582" name="星形: 五角 807">
              <a:extLst>
                <a:ext uri="{FF2B5EF4-FFF2-40B4-BE49-F238E27FC236}">
                  <a16:creationId xmlns:a16="http://schemas.microsoft.com/office/drawing/2014/main" id="{CCAD7527-62FA-45FB-B2E4-54BD208C5051}"/>
                </a:ext>
              </a:extLst>
            </p:cNvPr>
            <p:cNvSpPr/>
            <p:nvPr/>
          </p:nvSpPr>
          <p:spPr>
            <a:xfrm>
              <a:off x="4632296" y="3582278"/>
              <a:ext cx="58114" cy="56858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83" name="文本框 1582">
              <a:extLst>
                <a:ext uri="{FF2B5EF4-FFF2-40B4-BE49-F238E27FC236}">
                  <a16:creationId xmlns:a16="http://schemas.microsoft.com/office/drawing/2014/main" id="{8FB6CD32-FA98-493D-A58A-790FF60DE93C}"/>
                </a:ext>
              </a:extLst>
            </p:cNvPr>
            <p:cNvSpPr txBox="1"/>
            <p:nvPr/>
          </p:nvSpPr>
          <p:spPr>
            <a:xfrm>
              <a:off x="3423673" y="4106728"/>
              <a:ext cx="4989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曼谷</a:t>
              </a:r>
            </a:p>
          </p:txBody>
        </p:sp>
        <p:sp>
          <p:nvSpPr>
            <p:cNvPr id="1584" name="星形: 五角 813">
              <a:extLst>
                <a:ext uri="{FF2B5EF4-FFF2-40B4-BE49-F238E27FC236}">
                  <a16:creationId xmlns:a16="http://schemas.microsoft.com/office/drawing/2014/main" id="{4C62E492-874B-4834-9AB3-C04C3E5CEE9C}"/>
                </a:ext>
              </a:extLst>
            </p:cNvPr>
            <p:cNvSpPr/>
            <p:nvPr/>
          </p:nvSpPr>
          <p:spPr>
            <a:xfrm>
              <a:off x="1423185" y="3104998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85" name="星形: 五角 818">
              <a:extLst>
                <a:ext uri="{FF2B5EF4-FFF2-40B4-BE49-F238E27FC236}">
                  <a16:creationId xmlns:a16="http://schemas.microsoft.com/office/drawing/2014/main" id="{FFD24E88-47B3-44F6-B17E-2C69CD0F141A}"/>
                </a:ext>
              </a:extLst>
            </p:cNvPr>
            <p:cNvSpPr/>
            <p:nvPr/>
          </p:nvSpPr>
          <p:spPr>
            <a:xfrm>
              <a:off x="4811877" y="5396624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86" name="星形: 五角 823">
              <a:extLst>
                <a:ext uri="{FF2B5EF4-FFF2-40B4-BE49-F238E27FC236}">
                  <a16:creationId xmlns:a16="http://schemas.microsoft.com/office/drawing/2014/main" id="{1DEECC99-BB87-426C-8E43-A533BDE9EFF0}"/>
                </a:ext>
              </a:extLst>
            </p:cNvPr>
            <p:cNvSpPr/>
            <p:nvPr/>
          </p:nvSpPr>
          <p:spPr>
            <a:xfrm>
              <a:off x="4282381" y="3586520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87" name="星形: 五角 824">
              <a:extLst>
                <a:ext uri="{FF2B5EF4-FFF2-40B4-BE49-F238E27FC236}">
                  <a16:creationId xmlns:a16="http://schemas.microsoft.com/office/drawing/2014/main" id="{8BAE3227-74C1-4EAE-BB7B-1CD6735AE6D1}"/>
                </a:ext>
              </a:extLst>
            </p:cNvPr>
            <p:cNvSpPr/>
            <p:nvPr/>
          </p:nvSpPr>
          <p:spPr>
            <a:xfrm>
              <a:off x="4597525" y="3548393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grpSp>
          <p:nvGrpSpPr>
            <p:cNvPr id="1588" name="组合 1587">
              <a:extLst>
                <a:ext uri="{FF2B5EF4-FFF2-40B4-BE49-F238E27FC236}">
                  <a16:creationId xmlns:a16="http://schemas.microsoft.com/office/drawing/2014/main" id="{5D9350EE-275B-4B40-84CC-74FC8660B7B4}"/>
                </a:ext>
              </a:extLst>
            </p:cNvPr>
            <p:cNvGrpSpPr/>
            <p:nvPr/>
          </p:nvGrpSpPr>
          <p:grpSpPr>
            <a:xfrm>
              <a:off x="3756424" y="3803957"/>
              <a:ext cx="83178" cy="81381"/>
              <a:chOff x="4787790" y="2787540"/>
              <a:chExt cx="72000" cy="72000"/>
            </a:xfrm>
          </p:grpSpPr>
          <p:sp>
            <p:nvSpPr>
              <p:cNvPr id="1736" name="Freeform 41">
                <a:extLst>
                  <a:ext uri="{FF2B5EF4-FFF2-40B4-BE49-F238E27FC236}">
                    <a16:creationId xmlns:a16="http://schemas.microsoft.com/office/drawing/2014/main" id="{93FD20EC-77F4-4FF7-A109-E53F6689F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5790" y="2805540"/>
                <a:ext cx="36000" cy="36000"/>
              </a:xfrm>
              <a:custGeom>
                <a:avLst/>
                <a:gdLst>
                  <a:gd name="T0" fmla="*/ 60483750 w 50"/>
                  <a:gd name="T1" fmla="*/ 0 h 52"/>
                  <a:gd name="T2" fmla="*/ 60483750 w 50"/>
                  <a:gd name="T3" fmla="*/ 0 h 52"/>
                  <a:gd name="T4" fmla="*/ 85685313 w 50"/>
                  <a:gd name="T5" fmla="*/ 5040313 h 52"/>
                  <a:gd name="T6" fmla="*/ 105846563 w 50"/>
                  <a:gd name="T7" fmla="*/ 20161250 h 52"/>
                  <a:gd name="T8" fmla="*/ 120967500 w 50"/>
                  <a:gd name="T9" fmla="*/ 40322500 h 52"/>
                  <a:gd name="T10" fmla="*/ 126007813 w 50"/>
                  <a:gd name="T11" fmla="*/ 65524063 h 52"/>
                  <a:gd name="T12" fmla="*/ 126007813 w 50"/>
                  <a:gd name="T13" fmla="*/ 65524063 h 52"/>
                  <a:gd name="T14" fmla="*/ 120967500 w 50"/>
                  <a:gd name="T15" fmla="*/ 90725625 h 52"/>
                  <a:gd name="T16" fmla="*/ 105846563 w 50"/>
                  <a:gd name="T17" fmla="*/ 110886875 h 52"/>
                  <a:gd name="T18" fmla="*/ 85685313 w 50"/>
                  <a:gd name="T19" fmla="*/ 126007813 h 52"/>
                  <a:gd name="T20" fmla="*/ 60483750 w 50"/>
                  <a:gd name="T21" fmla="*/ 131048125 h 52"/>
                  <a:gd name="T22" fmla="*/ 60483750 w 50"/>
                  <a:gd name="T23" fmla="*/ 131048125 h 52"/>
                  <a:gd name="T24" fmla="*/ 35282188 w 50"/>
                  <a:gd name="T25" fmla="*/ 126007813 h 52"/>
                  <a:gd name="T26" fmla="*/ 15120938 w 50"/>
                  <a:gd name="T27" fmla="*/ 110886875 h 52"/>
                  <a:gd name="T28" fmla="*/ 5040313 w 50"/>
                  <a:gd name="T29" fmla="*/ 90725625 h 52"/>
                  <a:gd name="T30" fmla="*/ 0 w 50"/>
                  <a:gd name="T31" fmla="*/ 65524063 h 52"/>
                  <a:gd name="T32" fmla="*/ 0 w 50"/>
                  <a:gd name="T33" fmla="*/ 65524063 h 52"/>
                  <a:gd name="T34" fmla="*/ 5040313 w 50"/>
                  <a:gd name="T35" fmla="*/ 40322500 h 52"/>
                  <a:gd name="T36" fmla="*/ 15120938 w 50"/>
                  <a:gd name="T37" fmla="*/ 20161250 h 52"/>
                  <a:gd name="T38" fmla="*/ 35282188 w 50"/>
                  <a:gd name="T39" fmla="*/ 5040313 h 52"/>
                  <a:gd name="T40" fmla="*/ 60483750 w 50"/>
                  <a:gd name="T41" fmla="*/ 0 h 52"/>
                  <a:gd name="T42" fmla="*/ 60483750 w 50"/>
                  <a:gd name="T43" fmla="*/ 0 h 5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50" h="52">
                    <a:moveTo>
                      <a:pt x="24" y="0"/>
                    </a:moveTo>
                    <a:lnTo>
                      <a:pt x="24" y="0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8" y="16"/>
                    </a:lnTo>
                    <a:lnTo>
                      <a:pt x="50" y="26"/>
                    </a:lnTo>
                    <a:lnTo>
                      <a:pt x="48" y="36"/>
                    </a:lnTo>
                    <a:lnTo>
                      <a:pt x="42" y="44"/>
                    </a:lnTo>
                    <a:lnTo>
                      <a:pt x="34" y="50"/>
                    </a:lnTo>
                    <a:lnTo>
                      <a:pt x="24" y="52"/>
                    </a:lnTo>
                    <a:lnTo>
                      <a:pt x="14" y="50"/>
                    </a:lnTo>
                    <a:lnTo>
                      <a:pt x="6" y="44"/>
                    </a:lnTo>
                    <a:lnTo>
                      <a:pt x="2" y="36"/>
                    </a:lnTo>
                    <a:lnTo>
                      <a:pt x="0" y="26"/>
                    </a:lnTo>
                    <a:lnTo>
                      <a:pt x="2" y="16"/>
                    </a:lnTo>
                    <a:lnTo>
                      <a:pt x="6" y="8"/>
                    </a:lnTo>
                    <a:lnTo>
                      <a:pt x="14" y="2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354">
                  <a:defRPr/>
                </a:pPr>
                <a:endParaRPr lang="zh-CN" altLang="en-US" kern="0">
                  <a:solidFill>
                    <a:srgbClr val="000000"/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738" name="椭圆 1737">
                <a:extLst>
                  <a:ext uri="{FF2B5EF4-FFF2-40B4-BE49-F238E27FC236}">
                    <a16:creationId xmlns:a16="http://schemas.microsoft.com/office/drawing/2014/main" id="{BEA810A5-3C0C-483E-8138-79B80B744330}"/>
                  </a:ext>
                </a:extLst>
              </p:cNvPr>
              <p:cNvSpPr/>
              <p:nvPr/>
            </p:nvSpPr>
            <p:spPr>
              <a:xfrm>
                <a:off x="4787790" y="2787540"/>
                <a:ext cx="72000" cy="72000"/>
              </a:xfrm>
              <a:prstGeom prst="ellipse">
                <a:avLst/>
              </a:prstGeom>
              <a:noFill/>
              <a:ln>
                <a:solidFill>
                  <a:sysClr val="window" lastClr="FFFFFF"/>
                </a:solidFill>
              </a:ln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54">
                  <a:defRPr/>
                </a:pPr>
                <a:endParaRPr lang="zh-CN" altLang="en-US" sz="1200" b="1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</p:grpSp>
        <p:grpSp>
          <p:nvGrpSpPr>
            <p:cNvPr id="1589" name="组合 1588">
              <a:extLst>
                <a:ext uri="{FF2B5EF4-FFF2-40B4-BE49-F238E27FC236}">
                  <a16:creationId xmlns:a16="http://schemas.microsoft.com/office/drawing/2014/main" id="{C45D1D92-E6F6-4619-AC3A-50DA98445838}"/>
                </a:ext>
              </a:extLst>
            </p:cNvPr>
            <p:cNvGrpSpPr/>
            <p:nvPr/>
          </p:nvGrpSpPr>
          <p:grpSpPr>
            <a:xfrm>
              <a:off x="3937472" y="3965733"/>
              <a:ext cx="83178" cy="81381"/>
              <a:chOff x="4787790" y="2787540"/>
              <a:chExt cx="72000" cy="72000"/>
            </a:xfrm>
          </p:grpSpPr>
          <p:sp>
            <p:nvSpPr>
              <p:cNvPr id="1734" name="Freeform 41">
                <a:extLst>
                  <a:ext uri="{FF2B5EF4-FFF2-40B4-BE49-F238E27FC236}">
                    <a16:creationId xmlns:a16="http://schemas.microsoft.com/office/drawing/2014/main" id="{5BFDF359-F85D-47BC-9255-E3C903272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5790" y="2805540"/>
                <a:ext cx="36000" cy="36000"/>
              </a:xfrm>
              <a:custGeom>
                <a:avLst/>
                <a:gdLst>
                  <a:gd name="T0" fmla="*/ 60483750 w 50"/>
                  <a:gd name="T1" fmla="*/ 0 h 52"/>
                  <a:gd name="T2" fmla="*/ 60483750 w 50"/>
                  <a:gd name="T3" fmla="*/ 0 h 52"/>
                  <a:gd name="T4" fmla="*/ 85685313 w 50"/>
                  <a:gd name="T5" fmla="*/ 5040313 h 52"/>
                  <a:gd name="T6" fmla="*/ 105846563 w 50"/>
                  <a:gd name="T7" fmla="*/ 20161250 h 52"/>
                  <a:gd name="T8" fmla="*/ 120967500 w 50"/>
                  <a:gd name="T9" fmla="*/ 40322500 h 52"/>
                  <a:gd name="T10" fmla="*/ 126007813 w 50"/>
                  <a:gd name="T11" fmla="*/ 65524063 h 52"/>
                  <a:gd name="T12" fmla="*/ 126007813 w 50"/>
                  <a:gd name="T13" fmla="*/ 65524063 h 52"/>
                  <a:gd name="T14" fmla="*/ 120967500 w 50"/>
                  <a:gd name="T15" fmla="*/ 90725625 h 52"/>
                  <a:gd name="T16" fmla="*/ 105846563 w 50"/>
                  <a:gd name="T17" fmla="*/ 110886875 h 52"/>
                  <a:gd name="T18" fmla="*/ 85685313 w 50"/>
                  <a:gd name="T19" fmla="*/ 126007813 h 52"/>
                  <a:gd name="T20" fmla="*/ 60483750 w 50"/>
                  <a:gd name="T21" fmla="*/ 131048125 h 52"/>
                  <a:gd name="T22" fmla="*/ 60483750 w 50"/>
                  <a:gd name="T23" fmla="*/ 131048125 h 52"/>
                  <a:gd name="T24" fmla="*/ 35282188 w 50"/>
                  <a:gd name="T25" fmla="*/ 126007813 h 52"/>
                  <a:gd name="T26" fmla="*/ 15120938 w 50"/>
                  <a:gd name="T27" fmla="*/ 110886875 h 52"/>
                  <a:gd name="T28" fmla="*/ 5040313 w 50"/>
                  <a:gd name="T29" fmla="*/ 90725625 h 52"/>
                  <a:gd name="T30" fmla="*/ 0 w 50"/>
                  <a:gd name="T31" fmla="*/ 65524063 h 52"/>
                  <a:gd name="T32" fmla="*/ 0 w 50"/>
                  <a:gd name="T33" fmla="*/ 65524063 h 52"/>
                  <a:gd name="T34" fmla="*/ 5040313 w 50"/>
                  <a:gd name="T35" fmla="*/ 40322500 h 52"/>
                  <a:gd name="T36" fmla="*/ 15120938 w 50"/>
                  <a:gd name="T37" fmla="*/ 20161250 h 52"/>
                  <a:gd name="T38" fmla="*/ 35282188 w 50"/>
                  <a:gd name="T39" fmla="*/ 5040313 h 52"/>
                  <a:gd name="T40" fmla="*/ 60483750 w 50"/>
                  <a:gd name="T41" fmla="*/ 0 h 52"/>
                  <a:gd name="T42" fmla="*/ 60483750 w 50"/>
                  <a:gd name="T43" fmla="*/ 0 h 5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50" h="52">
                    <a:moveTo>
                      <a:pt x="24" y="0"/>
                    </a:moveTo>
                    <a:lnTo>
                      <a:pt x="24" y="0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8" y="16"/>
                    </a:lnTo>
                    <a:lnTo>
                      <a:pt x="50" y="26"/>
                    </a:lnTo>
                    <a:lnTo>
                      <a:pt x="48" y="36"/>
                    </a:lnTo>
                    <a:lnTo>
                      <a:pt x="42" y="44"/>
                    </a:lnTo>
                    <a:lnTo>
                      <a:pt x="34" y="50"/>
                    </a:lnTo>
                    <a:lnTo>
                      <a:pt x="24" y="52"/>
                    </a:lnTo>
                    <a:lnTo>
                      <a:pt x="14" y="50"/>
                    </a:lnTo>
                    <a:lnTo>
                      <a:pt x="6" y="44"/>
                    </a:lnTo>
                    <a:lnTo>
                      <a:pt x="2" y="36"/>
                    </a:lnTo>
                    <a:lnTo>
                      <a:pt x="0" y="26"/>
                    </a:lnTo>
                    <a:lnTo>
                      <a:pt x="2" y="16"/>
                    </a:lnTo>
                    <a:lnTo>
                      <a:pt x="6" y="8"/>
                    </a:lnTo>
                    <a:lnTo>
                      <a:pt x="14" y="2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354">
                  <a:defRPr/>
                </a:pPr>
                <a:endParaRPr lang="zh-CN" altLang="en-US" kern="0">
                  <a:solidFill>
                    <a:srgbClr val="000000"/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735" name="椭圆 1734">
                <a:extLst>
                  <a:ext uri="{FF2B5EF4-FFF2-40B4-BE49-F238E27FC236}">
                    <a16:creationId xmlns:a16="http://schemas.microsoft.com/office/drawing/2014/main" id="{6FE078A6-2942-4379-9E44-CFC2F43D04B8}"/>
                  </a:ext>
                </a:extLst>
              </p:cNvPr>
              <p:cNvSpPr/>
              <p:nvPr/>
            </p:nvSpPr>
            <p:spPr>
              <a:xfrm>
                <a:off x="4787790" y="2787540"/>
                <a:ext cx="72000" cy="72000"/>
              </a:xfrm>
              <a:prstGeom prst="ellipse">
                <a:avLst/>
              </a:prstGeom>
              <a:noFill/>
              <a:ln>
                <a:solidFill>
                  <a:sysClr val="window" lastClr="FFFFFF"/>
                </a:solidFill>
              </a:ln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54">
                  <a:defRPr/>
                </a:pPr>
                <a:endParaRPr lang="zh-CN" altLang="en-US" sz="1200" b="1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</p:grpSp>
        <p:grpSp>
          <p:nvGrpSpPr>
            <p:cNvPr id="1590" name="组合 1589">
              <a:extLst>
                <a:ext uri="{FF2B5EF4-FFF2-40B4-BE49-F238E27FC236}">
                  <a16:creationId xmlns:a16="http://schemas.microsoft.com/office/drawing/2014/main" id="{296548DD-5689-43C9-BCCA-89C3CE4EFF1C}"/>
                </a:ext>
              </a:extLst>
            </p:cNvPr>
            <p:cNvGrpSpPr/>
            <p:nvPr/>
          </p:nvGrpSpPr>
          <p:grpSpPr>
            <a:xfrm>
              <a:off x="4103847" y="3751276"/>
              <a:ext cx="83178" cy="81381"/>
              <a:chOff x="4787790" y="2787540"/>
              <a:chExt cx="72000" cy="72000"/>
            </a:xfrm>
          </p:grpSpPr>
          <p:sp>
            <p:nvSpPr>
              <p:cNvPr id="1732" name="Freeform 41">
                <a:extLst>
                  <a:ext uri="{FF2B5EF4-FFF2-40B4-BE49-F238E27FC236}">
                    <a16:creationId xmlns:a16="http://schemas.microsoft.com/office/drawing/2014/main" id="{36A2B2CD-0B37-4DB4-B284-E1ADF122FA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5790" y="2805540"/>
                <a:ext cx="36000" cy="36000"/>
              </a:xfrm>
              <a:custGeom>
                <a:avLst/>
                <a:gdLst>
                  <a:gd name="T0" fmla="*/ 60483750 w 50"/>
                  <a:gd name="T1" fmla="*/ 0 h 52"/>
                  <a:gd name="T2" fmla="*/ 60483750 w 50"/>
                  <a:gd name="T3" fmla="*/ 0 h 52"/>
                  <a:gd name="T4" fmla="*/ 85685313 w 50"/>
                  <a:gd name="T5" fmla="*/ 5040313 h 52"/>
                  <a:gd name="T6" fmla="*/ 105846563 w 50"/>
                  <a:gd name="T7" fmla="*/ 20161250 h 52"/>
                  <a:gd name="T8" fmla="*/ 120967500 w 50"/>
                  <a:gd name="T9" fmla="*/ 40322500 h 52"/>
                  <a:gd name="T10" fmla="*/ 126007813 w 50"/>
                  <a:gd name="T11" fmla="*/ 65524063 h 52"/>
                  <a:gd name="T12" fmla="*/ 126007813 w 50"/>
                  <a:gd name="T13" fmla="*/ 65524063 h 52"/>
                  <a:gd name="T14" fmla="*/ 120967500 w 50"/>
                  <a:gd name="T15" fmla="*/ 90725625 h 52"/>
                  <a:gd name="T16" fmla="*/ 105846563 w 50"/>
                  <a:gd name="T17" fmla="*/ 110886875 h 52"/>
                  <a:gd name="T18" fmla="*/ 85685313 w 50"/>
                  <a:gd name="T19" fmla="*/ 126007813 h 52"/>
                  <a:gd name="T20" fmla="*/ 60483750 w 50"/>
                  <a:gd name="T21" fmla="*/ 131048125 h 52"/>
                  <a:gd name="T22" fmla="*/ 60483750 w 50"/>
                  <a:gd name="T23" fmla="*/ 131048125 h 52"/>
                  <a:gd name="T24" fmla="*/ 35282188 w 50"/>
                  <a:gd name="T25" fmla="*/ 126007813 h 52"/>
                  <a:gd name="T26" fmla="*/ 15120938 w 50"/>
                  <a:gd name="T27" fmla="*/ 110886875 h 52"/>
                  <a:gd name="T28" fmla="*/ 5040313 w 50"/>
                  <a:gd name="T29" fmla="*/ 90725625 h 52"/>
                  <a:gd name="T30" fmla="*/ 0 w 50"/>
                  <a:gd name="T31" fmla="*/ 65524063 h 52"/>
                  <a:gd name="T32" fmla="*/ 0 w 50"/>
                  <a:gd name="T33" fmla="*/ 65524063 h 52"/>
                  <a:gd name="T34" fmla="*/ 5040313 w 50"/>
                  <a:gd name="T35" fmla="*/ 40322500 h 52"/>
                  <a:gd name="T36" fmla="*/ 15120938 w 50"/>
                  <a:gd name="T37" fmla="*/ 20161250 h 52"/>
                  <a:gd name="T38" fmla="*/ 35282188 w 50"/>
                  <a:gd name="T39" fmla="*/ 5040313 h 52"/>
                  <a:gd name="T40" fmla="*/ 60483750 w 50"/>
                  <a:gd name="T41" fmla="*/ 0 h 52"/>
                  <a:gd name="T42" fmla="*/ 60483750 w 50"/>
                  <a:gd name="T43" fmla="*/ 0 h 5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50" h="52">
                    <a:moveTo>
                      <a:pt x="24" y="0"/>
                    </a:moveTo>
                    <a:lnTo>
                      <a:pt x="24" y="0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8" y="16"/>
                    </a:lnTo>
                    <a:lnTo>
                      <a:pt x="50" y="26"/>
                    </a:lnTo>
                    <a:lnTo>
                      <a:pt x="48" y="36"/>
                    </a:lnTo>
                    <a:lnTo>
                      <a:pt x="42" y="44"/>
                    </a:lnTo>
                    <a:lnTo>
                      <a:pt x="34" y="50"/>
                    </a:lnTo>
                    <a:lnTo>
                      <a:pt x="24" y="52"/>
                    </a:lnTo>
                    <a:lnTo>
                      <a:pt x="14" y="50"/>
                    </a:lnTo>
                    <a:lnTo>
                      <a:pt x="6" y="44"/>
                    </a:lnTo>
                    <a:lnTo>
                      <a:pt x="2" y="36"/>
                    </a:lnTo>
                    <a:lnTo>
                      <a:pt x="0" y="26"/>
                    </a:lnTo>
                    <a:lnTo>
                      <a:pt x="2" y="16"/>
                    </a:lnTo>
                    <a:lnTo>
                      <a:pt x="6" y="8"/>
                    </a:lnTo>
                    <a:lnTo>
                      <a:pt x="14" y="2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914354">
                  <a:defRPr/>
                </a:pPr>
                <a:endParaRPr lang="zh-CN" altLang="en-US" kern="0">
                  <a:solidFill>
                    <a:srgbClr val="000000"/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733" name="椭圆 1732">
                <a:extLst>
                  <a:ext uri="{FF2B5EF4-FFF2-40B4-BE49-F238E27FC236}">
                    <a16:creationId xmlns:a16="http://schemas.microsoft.com/office/drawing/2014/main" id="{1D1CEBF7-5D0A-4AD1-ADE5-1711FFB62209}"/>
                  </a:ext>
                </a:extLst>
              </p:cNvPr>
              <p:cNvSpPr/>
              <p:nvPr/>
            </p:nvSpPr>
            <p:spPr>
              <a:xfrm>
                <a:off x="4787790" y="2787540"/>
                <a:ext cx="72000" cy="72000"/>
              </a:xfrm>
              <a:prstGeom prst="ellipse">
                <a:avLst/>
              </a:prstGeom>
              <a:noFill/>
              <a:ln>
                <a:solidFill>
                  <a:sysClr val="window" lastClr="FFFFFF"/>
                </a:solidFill>
              </a:ln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54">
                  <a:defRPr/>
                </a:pPr>
                <a:endParaRPr lang="zh-CN" altLang="en-US" sz="1200" b="1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</p:grpSp>
        <p:grpSp>
          <p:nvGrpSpPr>
            <p:cNvPr id="1591" name="组合 1590">
              <a:extLst>
                <a:ext uri="{FF2B5EF4-FFF2-40B4-BE49-F238E27FC236}">
                  <a16:creationId xmlns:a16="http://schemas.microsoft.com/office/drawing/2014/main" id="{E3C9FF35-9D21-47C2-97EE-145E67D5800E}"/>
                </a:ext>
              </a:extLst>
            </p:cNvPr>
            <p:cNvGrpSpPr/>
            <p:nvPr/>
          </p:nvGrpSpPr>
          <p:grpSpPr>
            <a:xfrm>
              <a:off x="4005987" y="3567896"/>
              <a:ext cx="83178" cy="81381"/>
              <a:chOff x="4787790" y="2787540"/>
              <a:chExt cx="72000" cy="72000"/>
            </a:xfrm>
          </p:grpSpPr>
          <p:sp>
            <p:nvSpPr>
              <p:cNvPr id="1730" name="Freeform 41">
                <a:extLst>
                  <a:ext uri="{FF2B5EF4-FFF2-40B4-BE49-F238E27FC236}">
                    <a16:creationId xmlns:a16="http://schemas.microsoft.com/office/drawing/2014/main" id="{0F97E925-608C-4EE6-AF1E-42F440F0CF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5790" y="2805540"/>
                <a:ext cx="36000" cy="36000"/>
              </a:xfrm>
              <a:custGeom>
                <a:avLst/>
                <a:gdLst>
                  <a:gd name="T0" fmla="*/ 60483750 w 50"/>
                  <a:gd name="T1" fmla="*/ 0 h 52"/>
                  <a:gd name="T2" fmla="*/ 60483750 w 50"/>
                  <a:gd name="T3" fmla="*/ 0 h 52"/>
                  <a:gd name="T4" fmla="*/ 85685313 w 50"/>
                  <a:gd name="T5" fmla="*/ 5040313 h 52"/>
                  <a:gd name="T6" fmla="*/ 105846563 w 50"/>
                  <a:gd name="T7" fmla="*/ 20161250 h 52"/>
                  <a:gd name="T8" fmla="*/ 120967500 w 50"/>
                  <a:gd name="T9" fmla="*/ 40322500 h 52"/>
                  <a:gd name="T10" fmla="*/ 126007813 w 50"/>
                  <a:gd name="T11" fmla="*/ 65524063 h 52"/>
                  <a:gd name="T12" fmla="*/ 126007813 w 50"/>
                  <a:gd name="T13" fmla="*/ 65524063 h 52"/>
                  <a:gd name="T14" fmla="*/ 120967500 w 50"/>
                  <a:gd name="T15" fmla="*/ 90725625 h 52"/>
                  <a:gd name="T16" fmla="*/ 105846563 w 50"/>
                  <a:gd name="T17" fmla="*/ 110886875 h 52"/>
                  <a:gd name="T18" fmla="*/ 85685313 w 50"/>
                  <a:gd name="T19" fmla="*/ 126007813 h 52"/>
                  <a:gd name="T20" fmla="*/ 60483750 w 50"/>
                  <a:gd name="T21" fmla="*/ 131048125 h 52"/>
                  <a:gd name="T22" fmla="*/ 60483750 w 50"/>
                  <a:gd name="T23" fmla="*/ 131048125 h 52"/>
                  <a:gd name="T24" fmla="*/ 35282188 w 50"/>
                  <a:gd name="T25" fmla="*/ 126007813 h 52"/>
                  <a:gd name="T26" fmla="*/ 15120938 w 50"/>
                  <a:gd name="T27" fmla="*/ 110886875 h 52"/>
                  <a:gd name="T28" fmla="*/ 5040313 w 50"/>
                  <a:gd name="T29" fmla="*/ 90725625 h 52"/>
                  <a:gd name="T30" fmla="*/ 0 w 50"/>
                  <a:gd name="T31" fmla="*/ 65524063 h 52"/>
                  <a:gd name="T32" fmla="*/ 0 w 50"/>
                  <a:gd name="T33" fmla="*/ 65524063 h 52"/>
                  <a:gd name="T34" fmla="*/ 5040313 w 50"/>
                  <a:gd name="T35" fmla="*/ 40322500 h 52"/>
                  <a:gd name="T36" fmla="*/ 15120938 w 50"/>
                  <a:gd name="T37" fmla="*/ 20161250 h 52"/>
                  <a:gd name="T38" fmla="*/ 35282188 w 50"/>
                  <a:gd name="T39" fmla="*/ 5040313 h 52"/>
                  <a:gd name="T40" fmla="*/ 60483750 w 50"/>
                  <a:gd name="T41" fmla="*/ 0 h 52"/>
                  <a:gd name="T42" fmla="*/ 60483750 w 50"/>
                  <a:gd name="T43" fmla="*/ 0 h 5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50" h="52">
                    <a:moveTo>
                      <a:pt x="24" y="0"/>
                    </a:moveTo>
                    <a:lnTo>
                      <a:pt x="24" y="0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8" y="16"/>
                    </a:lnTo>
                    <a:lnTo>
                      <a:pt x="50" y="26"/>
                    </a:lnTo>
                    <a:lnTo>
                      <a:pt x="48" y="36"/>
                    </a:lnTo>
                    <a:lnTo>
                      <a:pt x="42" y="44"/>
                    </a:lnTo>
                    <a:lnTo>
                      <a:pt x="34" y="50"/>
                    </a:lnTo>
                    <a:lnTo>
                      <a:pt x="24" y="52"/>
                    </a:lnTo>
                    <a:lnTo>
                      <a:pt x="14" y="50"/>
                    </a:lnTo>
                    <a:lnTo>
                      <a:pt x="6" y="44"/>
                    </a:lnTo>
                    <a:lnTo>
                      <a:pt x="2" y="36"/>
                    </a:lnTo>
                    <a:lnTo>
                      <a:pt x="0" y="26"/>
                    </a:lnTo>
                    <a:lnTo>
                      <a:pt x="2" y="16"/>
                    </a:lnTo>
                    <a:lnTo>
                      <a:pt x="6" y="8"/>
                    </a:lnTo>
                    <a:lnTo>
                      <a:pt x="14" y="2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9525">
                <a:solidFill>
                  <a:sysClr val="window" lastClr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914354">
                  <a:defRPr/>
                </a:pPr>
                <a:endParaRPr lang="zh-CN" altLang="en-US" kern="0">
                  <a:solidFill>
                    <a:srgbClr val="000000"/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731" name="椭圆 1730">
                <a:extLst>
                  <a:ext uri="{FF2B5EF4-FFF2-40B4-BE49-F238E27FC236}">
                    <a16:creationId xmlns:a16="http://schemas.microsoft.com/office/drawing/2014/main" id="{E310689B-4E98-418C-810F-05C3F8F48755}"/>
                  </a:ext>
                </a:extLst>
              </p:cNvPr>
              <p:cNvSpPr/>
              <p:nvPr/>
            </p:nvSpPr>
            <p:spPr>
              <a:xfrm>
                <a:off x="4787790" y="2787540"/>
                <a:ext cx="72000" cy="72000"/>
              </a:xfrm>
              <a:prstGeom prst="ellipse">
                <a:avLst/>
              </a:prstGeom>
              <a:noFill/>
              <a:ln>
                <a:solidFill>
                  <a:sysClr val="window" lastClr="FFFFFF"/>
                </a:solidFill>
              </a:ln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54">
                  <a:defRPr/>
                </a:pPr>
                <a:endParaRPr lang="zh-CN" altLang="en-US" sz="1200" b="1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</p:grpSp>
        <p:grpSp>
          <p:nvGrpSpPr>
            <p:cNvPr id="1592" name="组合 1591">
              <a:extLst>
                <a:ext uri="{FF2B5EF4-FFF2-40B4-BE49-F238E27FC236}">
                  <a16:creationId xmlns:a16="http://schemas.microsoft.com/office/drawing/2014/main" id="{890B15AF-596F-4BEA-9FC4-50AE9C28E6D9}"/>
                </a:ext>
              </a:extLst>
            </p:cNvPr>
            <p:cNvGrpSpPr/>
            <p:nvPr/>
          </p:nvGrpSpPr>
          <p:grpSpPr>
            <a:xfrm>
              <a:off x="3830809" y="3609805"/>
              <a:ext cx="83178" cy="81381"/>
              <a:chOff x="4787790" y="2787540"/>
              <a:chExt cx="72000" cy="72000"/>
            </a:xfrm>
          </p:grpSpPr>
          <p:sp>
            <p:nvSpPr>
              <p:cNvPr id="1728" name="Freeform 41">
                <a:extLst>
                  <a:ext uri="{FF2B5EF4-FFF2-40B4-BE49-F238E27FC236}">
                    <a16:creationId xmlns:a16="http://schemas.microsoft.com/office/drawing/2014/main" id="{73C12165-B899-4D26-B4E6-6C35A906D6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5790" y="2805540"/>
                <a:ext cx="36000" cy="36000"/>
              </a:xfrm>
              <a:custGeom>
                <a:avLst/>
                <a:gdLst>
                  <a:gd name="T0" fmla="*/ 60483750 w 50"/>
                  <a:gd name="T1" fmla="*/ 0 h 52"/>
                  <a:gd name="T2" fmla="*/ 60483750 w 50"/>
                  <a:gd name="T3" fmla="*/ 0 h 52"/>
                  <a:gd name="T4" fmla="*/ 85685313 w 50"/>
                  <a:gd name="T5" fmla="*/ 5040313 h 52"/>
                  <a:gd name="T6" fmla="*/ 105846563 w 50"/>
                  <a:gd name="T7" fmla="*/ 20161250 h 52"/>
                  <a:gd name="T8" fmla="*/ 120967500 w 50"/>
                  <a:gd name="T9" fmla="*/ 40322500 h 52"/>
                  <a:gd name="T10" fmla="*/ 126007813 w 50"/>
                  <a:gd name="T11" fmla="*/ 65524063 h 52"/>
                  <a:gd name="T12" fmla="*/ 126007813 w 50"/>
                  <a:gd name="T13" fmla="*/ 65524063 h 52"/>
                  <a:gd name="T14" fmla="*/ 120967500 w 50"/>
                  <a:gd name="T15" fmla="*/ 90725625 h 52"/>
                  <a:gd name="T16" fmla="*/ 105846563 w 50"/>
                  <a:gd name="T17" fmla="*/ 110886875 h 52"/>
                  <a:gd name="T18" fmla="*/ 85685313 w 50"/>
                  <a:gd name="T19" fmla="*/ 126007813 h 52"/>
                  <a:gd name="T20" fmla="*/ 60483750 w 50"/>
                  <a:gd name="T21" fmla="*/ 131048125 h 52"/>
                  <a:gd name="T22" fmla="*/ 60483750 w 50"/>
                  <a:gd name="T23" fmla="*/ 131048125 h 52"/>
                  <a:gd name="T24" fmla="*/ 35282188 w 50"/>
                  <a:gd name="T25" fmla="*/ 126007813 h 52"/>
                  <a:gd name="T26" fmla="*/ 15120938 w 50"/>
                  <a:gd name="T27" fmla="*/ 110886875 h 52"/>
                  <a:gd name="T28" fmla="*/ 5040313 w 50"/>
                  <a:gd name="T29" fmla="*/ 90725625 h 52"/>
                  <a:gd name="T30" fmla="*/ 0 w 50"/>
                  <a:gd name="T31" fmla="*/ 65524063 h 52"/>
                  <a:gd name="T32" fmla="*/ 0 w 50"/>
                  <a:gd name="T33" fmla="*/ 65524063 h 52"/>
                  <a:gd name="T34" fmla="*/ 5040313 w 50"/>
                  <a:gd name="T35" fmla="*/ 40322500 h 52"/>
                  <a:gd name="T36" fmla="*/ 15120938 w 50"/>
                  <a:gd name="T37" fmla="*/ 20161250 h 52"/>
                  <a:gd name="T38" fmla="*/ 35282188 w 50"/>
                  <a:gd name="T39" fmla="*/ 5040313 h 52"/>
                  <a:gd name="T40" fmla="*/ 60483750 w 50"/>
                  <a:gd name="T41" fmla="*/ 0 h 52"/>
                  <a:gd name="T42" fmla="*/ 60483750 w 50"/>
                  <a:gd name="T43" fmla="*/ 0 h 5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50" h="52">
                    <a:moveTo>
                      <a:pt x="24" y="0"/>
                    </a:moveTo>
                    <a:lnTo>
                      <a:pt x="24" y="0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8" y="16"/>
                    </a:lnTo>
                    <a:lnTo>
                      <a:pt x="50" y="26"/>
                    </a:lnTo>
                    <a:lnTo>
                      <a:pt x="48" y="36"/>
                    </a:lnTo>
                    <a:lnTo>
                      <a:pt x="42" y="44"/>
                    </a:lnTo>
                    <a:lnTo>
                      <a:pt x="34" y="50"/>
                    </a:lnTo>
                    <a:lnTo>
                      <a:pt x="24" y="52"/>
                    </a:lnTo>
                    <a:lnTo>
                      <a:pt x="14" y="50"/>
                    </a:lnTo>
                    <a:lnTo>
                      <a:pt x="6" y="44"/>
                    </a:lnTo>
                    <a:lnTo>
                      <a:pt x="2" y="36"/>
                    </a:lnTo>
                    <a:lnTo>
                      <a:pt x="0" y="26"/>
                    </a:lnTo>
                    <a:lnTo>
                      <a:pt x="2" y="16"/>
                    </a:lnTo>
                    <a:lnTo>
                      <a:pt x="6" y="8"/>
                    </a:lnTo>
                    <a:lnTo>
                      <a:pt x="14" y="2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354">
                  <a:defRPr/>
                </a:pPr>
                <a:endParaRPr lang="zh-CN" altLang="en-US" kern="0">
                  <a:solidFill>
                    <a:srgbClr val="000000"/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729" name="椭圆 1728">
                <a:extLst>
                  <a:ext uri="{FF2B5EF4-FFF2-40B4-BE49-F238E27FC236}">
                    <a16:creationId xmlns:a16="http://schemas.microsoft.com/office/drawing/2014/main" id="{E5841571-380B-45A4-BCF5-A75C27241B55}"/>
                  </a:ext>
                </a:extLst>
              </p:cNvPr>
              <p:cNvSpPr/>
              <p:nvPr/>
            </p:nvSpPr>
            <p:spPr>
              <a:xfrm>
                <a:off x="4787790" y="2787540"/>
                <a:ext cx="72000" cy="72000"/>
              </a:xfrm>
              <a:prstGeom prst="ellipse">
                <a:avLst/>
              </a:prstGeom>
              <a:noFill/>
              <a:ln>
                <a:solidFill>
                  <a:sysClr val="window" lastClr="FFFFFF"/>
                </a:solidFill>
              </a:ln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54">
                  <a:defRPr/>
                </a:pPr>
                <a:endParaRPr lang="zh-CN" altLang="en-US" sz="1200" b="1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</p:grpSp>
        <p:sp>
          <p:nvSpPr>
            <p:cNvPr id="1593" name="星形: 五角 848">
              <a:extLst>
                <a:ext uri="{FF2B5EF4-FFF2-40B4-BE49-F238E27FC236}">
                  <a16:creationId xmlns:a16="http://schemas.microsoft.com/office/drawing/2014/main" id="{7D83E4FF-7DE7-4462-9760-A419E81417D5}"/>
                </a:ext>
              </a:extLst>
            </p:cNvPr>
            <p:cNvSpPr/>
            <p:nvPr/>
          </p:nvSpPr>
          <p:spPr>
            <a:xfrm>
              <a:off x="3740419" y="4080227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94" name="星形: 五角 849">
              <a:extLst>
                <a:ext uri="{FF2B5EF4-FFF2-40B4-BE49-F238E27FC236}">
                  <a16:creationId xmlns:a16="http://schemas.microsoft.com/office/drawing/2014/main" id="{E48BE472-E83F-43A6-8F1F-0C3BE5575441}"/>
                </a:ext>
              </a:extLst>
            </p:cNvPr>
            <p:cNvSpPr/>
            <p:nvPr/>
          </p:nvSpPr>
          <p:spPr>
            <a:xfrm>
              <a:off x="1331134" y="3041283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95" name="文本框 1594">
              <a:extLst>
                <a:ext uri="{FF2B5EF4-FFF2-40B4-BE49-F238E27FC236}">
                  <a16:creationId xmlns:a16="http://schemas.microsoft.com/office/drawing/2014/main" id="{C6A8DD07-8E32-4E59-9ECB-D7D0C0EED8E4}"/>
                </a:ext>
              </a:extLst>
            </p:cNvPr>
            <p:cNvSpPr txBox="1"/>
            <p:nvPr/>
          </p:nvSpPr>
          <p:spPr>
            <a:xfrm>
              <a:off x="844854" y="2835893"/>
              <a:ext cx="679724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阿姆斯特丹</a:t>
              </a:r>
            </a:p>
          </p:txBody>
        </p:sp>
        <p:sp>
          <p:nvSpPr>
            <p:cNvPr id="1596" name="星形: 五角 816">
              <a:extLst>
                <a:ext uri="{FF2B5EF4-FFF2-40B4-BE49-F238E27FC236}">
                  <a16:creationId xmlns:a16="http://schemas.microsoft.com/office/drawing/2014/main" id="{C33AE323-1AA9-4FD1-98D8-AD84680BF34C}"/>
                </a:ext>
              </a:extLst>
            </p:cNvPr>
            <p:cNvSpPr/>
            <p:nvPr/>
          </p:nvSpPr>
          <p:spPr>
            <a:xfrm>
              <a:off x="1908307" y="5442428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97" name="星形: 五角 817">
              <a:extLst>
                <a:ext uri="{FF2B5EF4-FFF2-40B4-BE49-F238E27FC236}">
                  <a16:creationId xmlns:a16="http://schemas.microsoft.com/office/drawing/2014/main" id="{1933AFC8-1622-4675-8765-1ECB08F99C2C}"/>
                </a:ext>
              </a:extLst>
            </p:cNvPr>
            <p:cNvSpPr/>
            <p:nvPr/>
          </p:nvSpPr>
          <p:spPr>
            <a:xfrm>
              <a:off x="6378359" y="3559000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98" name="星形: 五角 848">
              <a:extLst>
                <a:ext uri="{FF2B5EF4-FFF2-40B4-BE49-F238E27FC236}">
                  <a16:creationId xmlns:a16="http://schemas.microsoft.com/office/drawing/2014/main" id="{7D83E4FF-7DE7-4462-9760-A419E81417D5}"/>
                </a:ext>
              </a:extLst>
            </p:cNvPr>
            <p:cNvSpPr/>
            <p:nvPr/>
          </p:nvSpPr>
          <p:spPr>
            <a:xfrm>
              <a:off x="3778434" y="4540594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599" name="文本框 1598">
              <a:extLst>
                <a:ext uri="{FF2B5EF4-FFF2-40B4-BE49-F238E27FC236}">
                  <a16:creationId xmlns:a16="http://schemas.microsoft.com/office/drawing/2014/main" id="{8FB6CD32-FA98-493D-A58A-790FF60DE93C}"/>
                </a:ext>
              </a:extLst>
            </p:cNvPr>
            <p:cNvSpPr txBox="1"/>
            <p:nvPr/>
          </p:nvSpPr>
          <p:spPr>
            <a:xfrm>
              <a:off x="3763945" y="4519213"/>
              <a:ext cx="548836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新加坡</a:t>
              </a:r>
            </a:p>
          </p:txBody>
        </p:sp>
        <p:sp>
          <p:nvSpPr>
            <p:cNvPr id="1600" name="文本框 1599">
              <a:extLst>
                <a:ext uri="{FF2B5EF4-FFF2-40B4-BE49-F238E27FC236}">
                  <a16:creationId xmlns:a16="http://schemas.microsoft.com/office/drawing/2014/main" id="{54C9E66B-04FC-4D0D-B00E-3D135E9C2EBA}"/>
                </a:ext>
              </a:extLst>
            </p:cNvPr>
            <p:cNvSpPr txBox="1"/>
            <p:nvPr/>
          </p:nvSpPr>
          <p:spPr>
            <a:xfrm>
              <a:off x="3012926" y="4075736"/>
              <a:ext cx="49894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孟买</a:t>
              </a:r>
            </a:p>
          </p:txBody>
        </p:sp>
        <p:sp>
          <p:nvSpPr>
            <p:cNvPr id="1601" name="星形: 五角 825">
              <a:extLst>
                <a:ext uri="{FF2B5EF4-FFF2-40B4-BE49-F238E27FC236}">
                  <a16:creationId xmlns:a16="http://schemas.microsoft.com/office/drawing/2014/main" id="{3718D450-A96D-4675-A48D-F59516DCAEDB}"/>
                </a:ext>
              </a:extLst>
            </p:cNvPr>
            <p:cNvSpPr/>
            <p:nvPr/>
          </p:nvSpPr>
          <p:spPr>
            <a:xfrm>
              <a:off x="3174110" y="4041080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02" name="星形: 五角 825">
              <a:extLst>
                <a:ext uri="{FF2B5EF4-FFF2-40B4-BE49-F238E27FC236}">
                  <a16:creationId xmlns:a16="http://schemas.microsoft.com/office/drawing/2014/main" id="{3718D450-A96D-4675-A48D-F59516DCAEDB}"/>
                </a:ext>
              </a:extLst>
            </p:cNvPr>
            <p:cNvSpPr/>
            <p:nvPr/>
          </p:nvSpPr>
          <p:spPr>
            <a:xfrm>
              <a:off x="3900472" y="4755184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03" name="文本框 1602">
              <a:extLst>
                <a:ext uri="{FF2B5EF4-FFF2-40B4-BE49-F238E27FC236}">
                  <a16:creationId xmlns:a16="http://schemas.microsoft.com/office/drawing/2014/main" id="{8FB6CD32-FA98-493D-A58A-790FF60DE93C}"/>
                </a:ext>
              </a:extLst>
            </p:cNvPr>
            <p:cNvSpPr txBox="1"/>
            <p:nvPr/>
          </p:nvSpPr>
          <p:spPr>
            <a:xfrm>
              <a:off x="3927736" y="4696884"/>
              <a:ext cx="548836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雅加达</a:t>
              </a:r>
            </a:p>
          </p:txBody>
        </p:sp>
        <p:sp>
          <p:nvSpPr>
            <p:cNvPr id="1604" name="星形: 五角 819">
              <a:extLst>
                <a:ext uri="{FF2B5EF4-FFF2-40B4-BE49-F238E27FC236}">
                  <a16:creationId xmlns:a16="http://schemas.microsoft.com/office/drawing/2014/main" id="{A0DB7658-338A-4992-AD17-3E465D46E896}"/>
                </a:ext>
              </a:extLst>
            </p:cNvPr>
            <p:cNvSpPr/>
            <p:nvPr/>
          </p:nvSpPr>
          <p:spPr>
            <a:xfrm>
              <a:off x="7289838" y="3500725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05" name="文本框 1604">
              <a:extLst>
                <a:ext uri="{FF2B5EF4-FFF2-40B4-BE49-F238E27FC236}">
                  <a16:creationId xmlns:a16="http://schemas.microsoft.com/office/drawing/2014/main" id="{57B5EFA7-7553-4D03-83BD-DC7B0C8BA8BF}"/>
                </a:ext>
              </a:extLst>
            </p:cNvPr>
            <p:cNvSpPr txBox="1"/>
            <p:nvPr/>
          </p:nvSpPr>
          <p:spPr>
            <a:xfrm>
              <a:off x="7344503" y="3461800"/>
              <a:ext cx="66550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纽约</a:t>
              </a:r>
            </a:p>
          </p:txBody>
        </p:sp>
        <p:sp>
          <p:nvSpPr>
            <p:cNvPr id="1606" name="文本框 1605">
              <a:extLst>
                <a:ext uri="{FF2B5EF4-FFF2-40B4-BE49-F238E27FC236}">
                  <a16:creationId xmlns:a16="http://schemas.microsoft.com/office/drawing/2014/main" id="{7CED2E71-4089-4745-A9DD-75544CA2A08A}"/>
                </a:ext>
              </a:extLst>
            </p:cNvPr>
            <p:cNvSpPr txBox="1"/>
            <p:nvPr/>
          </p:nvSpPr>
          <p:spPr>
            <a:xfrm>
              <a:off x="5429663" y="5777972"/>
              <a:ext cx="831879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奥克兰</a:t>
              </a:r>
            </a:p>
          </p:txBody>
        </p:sp>
        <p:sp>
          <p:nvSpPr>
            <p:cNvPr id="1607" name="星形: 五角 818">
              <a:extLst>
                <a:ext uri="{FF2B5EF4-FFF2-40B4-BE49-F238E27FC236}">
                  <a16:creationId xmlns:a16="http://schemas.microsoft.com/office/drawing/2014/main" id="{FFD24E88-47B3-44F6-B17E-2C69CD0F141A}"/>
                </a:ext>
              </a:extLst>
            </p:cNvPr>
            <p:cNvSpPr/>
            <p:nvPr/>
          </p:nvSpPr>
          <p:spPr>
            <a:xfrm>
              <a:off x="5436450" y="5759053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08" name="星形: 五角 814">
              <a:extLst>
                <a:ext uri="{FF2B5EF4-FFF2-40B4-BE49-F238E27FC236}">
                  <a16:creationId xmlns:a16="http://schemas.microsoft.com/office/drawing/2014/main" id="{297E8160-3ABE-4BA6-AD74-2DF25C83733D}"/>
                </a:ext>
              </a:extLst>
            </p:cNvPr>
            <p:cNvSpPr/>
            <p:nvPr/>
          </p:nvSpPr>
          <p:spPr>
            <a:xfrm>
              <a:off x="2312991" y="2811772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09" name="星形: 五角 848">
              <a:extLst>
                <a:ext uri="{FF2B5EF4-FFF2-40B4-BE49-F238E27FC236}">
                  <a16:creationId xmlns:a16="http://schemas.microsoft.com/office/drawing/2014/main" id="{7D83E4FF-7DE7-4462-9760-A419E81417D5}"/>
                </a:ext>
              </a:extLst>
            </p:cNvPr>
            <p:cNvSpPr/>
            <p:nvPr/>
          </p:nvSpPr>
          <p:spPr>
            <a:xfrm>
              <a:off x="4172363" y="3943948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10" name="星形: 五角 848">
              <a:extLst>
                <a:ext uri="{FF2B5EF4-FFF2-40B4-BE49-F238E27FC236}">
                  <a16:creationId xmlns:a16="http://schemas.microsoft.com/office/drawing/2014/main" id="{7D83E4FF-7DE7-4462-9760-A419E81417D5}"/>
                </a:ext>
              </a:extLst>
            </p:cNvPr>
            <p:cNvSpPr/>
            <p:nvPr/>
          </p:nvSpPr>
          <p:spPr>
            <a:xfrm>
              <a:off x="3956676" y="4016725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11" name="星形: 五角 816">
              <a:extLst>
                <a:ext uri="{FF2B5EF4-FFF2-40B4-BE49-F238E27FC236}">
                  <a16:creationId xmlns:a16="http://schemas.microsoft.com/office/drawing/2014/main" id="{C33AE323-1AA9-4FD1-98D8-AD84680BF34C}"/>
                </a:ext>
              </a:extLst>
            </p:cNvPr>
            <p:cNvSpPr/>
            <p:nvPr/>
          </p:nvSpPr>
          <p:spPr>
            <a:xfrm>
              <a:off x="2275314" y="4376735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12" name="文本框 1611">
              <a:extLst>
                <a:ext uri="{FF2B5EF4-FFF2-40B4-BE49-F238E27FC236}">
                  <a16:creationId xmlns:a16="http://schemas.microsoft.com/office/drawing/2014/main" id="{2F9F1658-8193-4DC2-A35A-ABD8270FA709}"/>
                </a:ext>
              </a:extLst>
            </p:cNvPr>
            <p:cNvSpPr txBox="1"/>
            <p:nvPr/>
          </p:nvSpPr>
          <p:spPr>
            <a:xfrm>
              <a:off x="2317361" y="4351721"/>
              <a:ext cx="66550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吉布提</a:t>
              </a:r>
            </a:p>
          </p:txBody>
        </p:sp>
        <p:sp>
          <p:nvSpPr>
            <p:cNvPr id="1613" name="任意多边形: 形状 739">
              <a:extLst>
                <a:ext uri="{FF2B5EF4-FFF2-40B4-BE49-F238E27FC236}">
                  <a16:creationId xmlns:a16="http://schemas.microsoft.com/office/drawing/2014/main" id="{2D2F0911-5706-4744-970D-B5AAD7DE99E3}"/>
                </a:ext>
              </a:extLst>
            </p:cNvPr>
            <p:cNvSpPr/>
            <p:nvPr/>
          </p:nvSpPr>
          <p:spPr>
            <a:xfrm rot="20737054">
              <a:off x="6078973" y="2957244"/>
              <a:ext cx="1137991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32296 w 739140"/>
                <a:gd name="connsiteY1" fmla="*/ 31723 h 1249680"/>
                <a:gd name="connsiteX2" fmla="*/ 739140 w 739140"/>
                <a:gd name="connsiteY2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55908" y="46883"/>
                    <a:pt x="47114" y="291"/>
                    <a:pt x="32296" y="31723"/>
                  </a:cubicBezTo>
                  <a:cubicBezTo>
                    <a:pt x="364866" y="200004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614" name="Freeform 41">
              <a:extLst>
                <a:ext uri="{FF2B5EF4-FFF2-40B4-BE49-F238E27FC236}">
                  <a16:creationId xmlns:a16="http://schemas.microsoft.com/office/drawing/2014/main" id="{B31A2C1B-B4C8-45D1-BF77-22DA1801D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1102" y="3256944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15" name="文本框 1614">
              <a:extLst>
                <a:ext uri="{FF2B5EF4-FFF2-40B4-BE49-F238E27FC236}">
                  <a16:creationId xmlns:a16="http://schemas.microsoft.com/office/drawing/2014/main" id="{B954146B-8137-4FBD-BFF3-A08EDA3F5A02}"/>
                </a:ext>
              </a:extLst>
            </p:cNvPr>
            <p:cNvSpPr txBox="1"/>
            <p:nvPr/>
          </p:nvSpPr>
          <p:spPr>
            <a:xfrm>
              <a:off x="1422142" y="3232649"/>
              <a:ext cx="59250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77777">
                      <a:lumMod val="50000"/>
                    </a:srgbClr>
                  </a:solidFill>
                  <a:latin typeface="微软雅黑"/>
                </a:rPr>
                <a:t>法兰克福</a:t>
              </a:r>
            </a:p>
          </p:txBody>
        </p:sp>
        <p:sp>
          <p:nvSpPr>
            <p:cNvPr id="1616" name="Freeform 41">
              <a:extLst>
                <a:ext uri="{FF2B5EF4-FFF2-40B4-BE49-F238E27FC236}">
                  <a16:creationId xmlns:a16="http://schemas.microsoft.com/office/drawing/2014/main" id="{44921CE3-DD4A-4F90-8F52-A945B2195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2407" y="3055839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18" name="文本框 1617">
              <a:extLst>
                <a:ext uri="{FF2B5EF4-FFF2-40B4-BE49-F238E27FC236}">
                  <a16:creationId xmlns:a16="http://schemas.microsoft.com/office/drawing/2014/main" id="{306A39B3-5931-4EC4-A309-E4CBB730D548}"/>
                </a:ext>
              </a:extLst>
            </p:cNvPr>
            <p:cNvSpPr txBox="1"/>
            <p:nvPr/>
          </p:nvSpPr>
          <p:spPr>
            <a:xfrm>
              <a:off x="7816453" y="5576274"/>
              <a:ext cx="811260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77777">
                      <a:lumMod val="50000"/>
                    </a:srgbClr>
                  </a:solidFill>
                  <a:latin typeface="微软雅黑"/>
                </a:rPr>
                <a:t>蒙得维的亚</a:t>
              </a:r>
            </a:p>
          </p:txBody>
        </p:sp>
        <p:sp>
          <p:nvSpPr>
            <p:cNvPr id="1620" name="任意多边形: 形状 755">
              <a:extLst>
                <a:ext uri="{FF2B5EF4-FFF2-40B4-BE49-F238E27FC236}">
                  <a16:creationId xmlns:a16="http://schemas.microsoft.com/office/drawing/2014/main" id="{F1912DA8-8F11-41D6-A54E-A8DD497ADD6E}"/>
                </a:ext>
              </a:extLst>
            </p:cNvPr>
            <p:cNvSpPr/>
            <p:nvPr/>
          </p:nvSpPr>
          <p:spPr>
            <a:xfrm rot="4541275">
              <a:off x="7835903" y="5215322"/>
              <a:ext cx="351064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32296 w 739140"/>
                <a:gd name="connsiteY1" fmla="*/ 31723 h 1249680"/>
                <a:gd name="connsiteX2" fmla="*/ 739140 w 739140"/>
                <a:gd name="connsiteY2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55908" y="46883"/>
                    <a:pt x="47114" y="291"/>
                    <a:pt x="32296" y="31723"/>
                  </a:cubicBezTo>
                  <a:cubicBezTo>
                    <a:pt x="364866" y="200004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630" name="星形: 五角 819">
              <a:extLst>
                <a:ext uri="{FF2B5EF4-FFF2-40B4-BE49-F238E27FC236}">
                  <a16:creationId xmlns:a16="http://schemas.microsoft.com/office/drawing/2014/main" id="{A0DB7658-338A-4992-AD17-3E465D46E896}"/>
                </a:ext>
              </a:extLst>
            </p:cNvPr>
            <p:cNvSpPr/>
            <p:nvPr/>
          </p:nvSpPr>
          <p:spPr>
            <a:xfrm>
              <a:off x="8056200" y="5084846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31" name="Freeform 41">
              <a:extLst>
                <a:ext uri="{FF2B5EF4-FFF2-40B4-BE49-F238E27FC236}">
                  <a16:creationId xmlns:a16="http://schemas.microsoft.com/office/drawing/2014/main" id="{5C5F6EEA-A754-4DC3-A1EA-EE375D896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022" y="4528537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2318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54"/>
              <a:endParaRPr lang="zh-CN" altLang="en-US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32" name="文本框 1631">
              <a:extLst>
                <a:ext uri="{FF2B5EF4-FFF2-40B4-BE49-F238E27FC236}">
                  <a16:creationId xmlns:a16="http://schemas.microsoft.com/office/drawing/2014/main" id="{34210AB9-C2CB-46DC-BE33-B29E7BBD8EEC}"/>
                </a:ext>
              </a:extLst>
            </p:cNvPr>
            <p:cNvSpPr txBox="1"/>
            <p:nvPr/>
          </p:nvSpPr>
          <p:spPr>
            <a:xfrm>
              <a:off x="3748710" y="4402574"/>
              <a:ext cx="548836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77777">
                      <a:lumMod val="50000"/>
                    </a:srgbClr>
                  </a:solidFill>
                  <a:latin typeface="微软雅黑"/>
                </a:rPr>
                <a:t>吉隆坡</a:t>
              </a:r>
            </a:p>
          </p:txBody>
        </p:sp>
        <p:sp>
          <p:nvSpPr>
            <p:cNvPr id="1633" name="Freeform 41">
              <a:extLst>
                <a:ext uri="{FF2B5EF4-FFF2-40B4-BE49-F238E27FC236}">
                  <a16:creationId xmlns:a16="http://schemas.microsoft.com/office/drawing/2014/main" id="{45E78766-F7E9-44F8-BA7D-498AA786A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9458" y="2781028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34" name="文本框 1633">
              <a:extLst>
                <a:ext uri="{FF2B5EF4-FFF2-40B4-BE49-F238E27FC236}">
                  <a16:creationId xmlns:a16="http://schemas.microsoft.com/office/drawing/2014/main" id="{7E3C79C1-B039-4B94-B025-291ADC9230A1}"/>
                </a:ext>
              </a:extLst>
            </p:cNvPr>
            <p:cNvSpPr txBox="1"/>
            <p:nvPr/>
          </p:nvSpPr>
          <p:spPr>
            <a:xfrm>
              <a:off x="1936261" y="2641713"/>
              <a:ext cx="664337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77777">
                      <a:lumMod val="50000"/>
                    </a:srgbClr>
                  </a:solidFill>
                  <a:latin typeface="微软雅黑"/>
                </a:rPr>
                <a:t>圣彼得堡</a:t>
              </a:r>
            </a:p>
          </p:txBody>
        </p:sp>
        <p:sp>
          <p:nvSpPr>
            <p:cNvPr id="1635" name="星形: 五角 851">
              <a:extLst>
                <a:ext uri="{FF2B5EF4-FFF2-40B4-BE49-F238E27FC236}">
                  <a16:creationId xmlns:a16="http://schemas.microsoft.com/office/drawing/2014/main" id="{061C84D8-5327-4E63-857F-F5DA59D0FFB8}"/>
                </a:ext>
              </a:extLst>
            </p:cNvPr>
            <p:cNvSpPr/>
            <p:nvPr/>
          </p:nvSpPr>
          <p:spPr>
            <a:xfrm>
              <a:off x="3075724" y="3350071"/>
              <a:ext cx="114893" cy="112409"/>
            </a:xfrm>
            <a:prstGeom prst="star5">
              <a:avLst/>
            </a:prstGeom>
            <a:solidFill>
              <a:srgbClr val="6E6568"/>
            </a:solidFill>
          </p:spPr>
          <p:txBody>
            <a:bodyPr wrap="square" lIns="0" rIns="0" rtlCol="0" anchor="ctr">
              <a:noAutofit/>
            </a:bodyPr>
            <a:lstStyle/>
            <a:p>
              <a:pPr algn="ctr" defTabSz="914354"/>
              <a:endParaRPr lang="zh-CN" altLang="en-US" sz="1200" b="1" dirty="0">
                <a:solidFill>
                  <a:srgbClr val="000000">
                    <a:lumMod val="95000"/>
                    <a:lumOff val="5000"/>
                  </a:srgb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36" name="Freeform 41">
              <a:extLst>
                <a:ext uri="{FF2B5EF4-FFF2-40B4-BE49-F238E27FC236}">
                  <a16:creationId xmlns:a16="http://schemas.microsoft.com/office/drawing/2014/main" id="{45E78766-F7E9-44F8-BA7D-498AA786A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7041" y="3015149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37" name="文本框 1636">
              <a:extLst>
                <a:ext uri="{FF2B5EF4-FFF2-40B4-BE49-F238E27FC236}">
                  <a16:creationId xmlns:a16="http://schemas.microsoft.com/office/drawing/2014/main" id="{7E3C79C1-B039-4B94-B025-291ADC9230A1}"/>
                </a:ext>
              </a:extLst>
            </p:cNvPr>
            <p:cNvSpPr txBox="1"/>
            <p:nvPr/>
          </p:nvSpPr>
          <p:spPr>
            <a:xfrm>
              <a:off x="2011297" y="2900123"/>
              <a:ext cx="494307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77777">
                      <a:lumMod val="50000"/>
                    </a:srgbClr>
                  </a:solidFill>
                  <a:latin typeface="微软雅黑"/>
                </a:rPr>
                <a:t>明斯克</a:t>
              </a:r>
            </a:p>
          </p:txBody>
        </p:sp>
        <p:sp>
          <p:nvSpPr>
            <p:cNvPr id="1638" name="文本框 1637">
              <a:extLst>
                <a:ext uri="{FF2B5EF4-FFF2-40B4-BE49-F238E27FC236}">
                  <a16:creationId xmlns:a16="http://schemas.microsoft.com/office/drawing/2014/main" id="{3CF4784E-A973-47D4-8C89-7BF1BC2645B5}"/>
                </a:ext>
              </a:extLst>
            </p:cNvPr>
            <p:cNvSpPr txBox="1"/>
            <p:nvPr/>
          </p:nvSpPr>
          <p:spPr>
            <a:xfrm>
              <a:off x="2530614" y="3384557"/>
              <a:ext cx="1089173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霍尔果斯</a:t>
              </a:r>
              <a:r>
                <a:rPr lang="en-US" altLang="zh-CN" sz="700" dirty="0">
                  <a:solidFill>
                    <a:srgbClr val="6E6568"/>
                  </a:solidFill>
                  <a:latin typeface="微软雅黑"/>
                </a:rPr>
                <a:t>-</a:t>
              </a:r>
              <a:r>
                <a:rPr lang="zh-CN" altLang="en-US" sz="700" dirty="0">
                  <a:solidFill>
                    <a:srgbClr val="6E6568"/>
                  </a:solidFill>
                  <a:latin typeface="微软雅黑"/>
                </a:rPr>
                <a:t>东方之门</a:t>
              </a:r>
            </a:p>
          </p:txBody>
        </p:sp>
        <p:sp>
          <p:nvSpPr>
            <p:cNvPr id="1639" name="Freeform 41">
              <a:extLst>
                <a:ext uri="{FF2B5EF4-FFF2-40B4-BE49-F238E27FC236}">
                  <a16:creationId xmlns:a16="http://schemas.microsoft.com/office/drawing/2014/main" id="{44921CE3-DD4A-4F90-8F52-A945B2195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734" y="3346666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40" name="文本框 1639">
              <a:extLst>
                <a:ext uri="{FF2B5EF4-FFF2-40B4-BE49-F238E27FC236}">
                  <a16:creationId xmlns:a16="http://schemas.microsoft.com/office/drawing/2014/main" id="{7E3C79C1-B039-4B94-B025-291ADC9230A1}"/>
                </a:ext>
              </a:extLst>
            </p:cNvPr>
            <p:cNvSpPr txBox="1"/>
            <p:nvPr/>
          </p:nvSpPr>
          <p:spPr>
            <a:xfrm>
              <a:off x="2463449" y="3286560"/>
              <a:ext cx="545301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777777">
                      <a:lumMod val="50000"/>
                    </a:srgbClr>
                  </a:solidFill>
                  <a:latin typeface="微软雅黑"/>
                </a:rPr>
                <a:t>阿拉木图</a:t>
              </a:r>
            </a:p>
          </p:txBody>
        </p:sp>
        <p:grpSp>
          <p:nvGrpSpPr>
            <p:cNvPr id="1641" name="组合 1640">
              <a:extLst>
                <a:ext uri="{FF2B5EF4-FFF2-40B4-BE49-F238E27FC236}">
                  <a16:creationId xmlns:a16="http://schemas.microsoft.com/office/drawing/2014/main" id="{E3C9FF35-9D21-47C2-97EE-145E67D5800E}"/>
                </a:ext>
              </a:extLst>
            </p:cNvPr>
            <p:cNvGrpSpPr/>
            <p:nvPr/>
          </p:nvGrpSpPr>
          <p:grpSpPr>
            <a:xfrm>
              <a:off x="3955812" y="3772450"/>
              <a:ext cx="83178" cy="81381"/>
              <a:chOff x="4787790" y="2787540"/>
              <a:chExt cx="72000" cy="72000"/>
            </a:xfrm>
          </p:grpSpPr>
          <p:sp>
            <p:nvSpPr>
              <p:cNvPr id="1726" name="Freeform 41">
                <a:extLst>
                  <a:ext uri="{FF2B5EF4-FFF2-40B4-BE49-F238E27FC236}">
                    <a16:creationId xmlns:a16="http://schemas.microsoft.com/office/drawing/2014/main" id="{0F97E925-608C-4EE6-AF1E-42F440F0CF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5790" y="2805540"/>
                <a:ext cx="36000" cy="36000"/>
              </a:xfrm>
              <a:custGeom>
                <a:avLst/>
                <a:gdLst>
                  <a:gd name="T0" fmla="*/ 60483750 w 50"/>
                  <a:gd name="T1" fmla="*/ 0 h 52"/>
                  <a:gd name="T2" fmla="*/ 60483750 w 50"/>
                  <a:gd name="T3" fmla="*/ 0 h 52"/>
                  <a:gd name="T4" fmla="*/ 85685313 w 50"/>
                  <a:gd name="T5" fmla="*/ 5040313 h 52"/>
                  <a:gd name="T6" fmla="*/ 105846563 w 50"/>
                  <a:gd name="T7" fmla="*/ 20161250 h 52"/>
                  <a:gd name="T8" fmla="*/ 120967500 w 50"/>
                  <a:gd name="T9" fmla="*/ 40322500 h 52"/>
                  <a:gd name="T10" fmla="*/ 126007813 w 50"/>
                  <a:gd name="T11" fmla="*/ 65524063 h 52"/>
                  <a:gd name="T12" fmla="*/ 126007813 w 50"/>
                  <a:gd name="T13" fmla="*/ 65524063 h 52"/>
                  <a:gd name="T14" fmla="*/ 120967500 w 50"/>
                  <a:gd name="T15" fmla="*/ 90725625 h 52"/>
                  <a:gd name="T16" fmla="*/ 105846563 w 50"/>
                  <a:gd name="T17" fmla="*/ 110886875 h 52"/>
                  <a:gd name="T18" fmla="*/ 85685313 w 50"/>
                  <a:gd name="T19" fmla="*/ 126007813 h 52"/>
                  <a:gd name="T20" fmla="*/ 60483750 w 50"/>
                  <a:gd name="T21" fmla="*/ 131048125 h 52"/>
                  <a:gd name="T22" fmla="*/ 60483750 w 50"/>
                  <a:gd name="T23" fmla="*/ 131048125 h 52"/>
                  <a:gd name="T24" fmla="*/ 35282188 w 50"/>
                  <a:gd name="T25" fmla="*/ 126007813 h 52"/>
                  <a:gd name="T26" fmla="*/ 15120938 w 50"/>
                  <a:gd name="T27" fmla="*/ 110886875 h 52"/>
                  <a:gd name="T28" fmla="*/ 5040313 w 50"/>
                  <a:gd name="T29" fmla="*/ 90725625 h 52"/>
                  <a:gd name="T30" fmla="*/ 0 w 50"/>
                  <a:gd name="T31" fmla="*/ 65524063 h 52"/>
                  <a:gd name="T32" fmla="*/ 0 w 50"/>
                  <a:gd name="T33" fmla="*/ 65524063 h 52"/>
                  <a:gd name="T34" fmla="*/ 5040313 w 50"/>
                  <a:gd name="T35" fmla="*/ 40322500 h 52"/>
                  <a:gd name="T36" fmla="*/ 15120938 w 50"/>
                  <a:gd name="T37" fmla="*/ 20161250 h 52"/>
                  <a:gd name="T38" fmla="*/ 35282188 w 50"/>
                  <a:gd name="T39" fmla="*/ 5040313 h 52"/>
                  <a:gd name="T40" fmla="*/ 60483750 w 50"/>
                  <a:gd name="T41" fmla="*/ 0 h 52"/>
                  <a:gd name="T42" fmla="*/ 60483750 w 50"/>
                  <a:gd name="T43" fmla="*/ 0 h 5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50" h="52">
                    <a:moveTo>
                      <a:pt x="24" y="0"/>
                    </a:moveTo>
                    <a:lnTo>
                      <a:pt x="24" y="0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8" y="16"/>
                    </a:lnTo>
                    <a:lnTo>
                      <a:pt x="50" y="26"/>
                    </a:lnTo>
                    <a:lnTo>
                      <a:pt x="48" y="36"/>
                    </a:lnTo>
                    <a:lnTo>
                      <a:pt x="42" y="44"/>
                    </a:lnTo>
                    <a:lnTo>
                      <a:pt x="34" y="50"/>
                    </a:lnTo>
                    <a:lnTo>
                      <a:pt x="24" y="52"/>
                    </a:lnTo>
                    <a:lnTo>
                      <a:pt x="14" y="50"/>
                    </a:lnTo>
                    <a:lnTo>
                      <a:pt x="6" y="44"/>
                    </a:lnTo>
                    <a:lnTo>
                      <a:pt x="2" y="36"/>
                    </a:lnTo>
                    <a:lnTo>
                      <a:pt x="0" y="26"/>
                    </a:lnTo>
                    <a:lnTo>
                      <a:pt x="2" y="16"/>
                    </a:lnTo>
                    <a:lnTo>
                      <a:pt x="6" y="8"/>
                    </a:lnTo>
                    <a:lnTo>
                      <a:pt x="14" y="2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354">
                  <a:defRPr/>
                </a:pPr>
                <a:endParaRPr lang="zh-CN" altLang="en-US" kern="0">
                  <a:solidFill>
                    <a:srgbClr val="000000"/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727" name="椭圆 1726">
                <a:extLst>
                  <a:ext uri="{FF2B5EF4-FFF2-40B4-BE49-F238E27FC236}">
                    <a16:creationId xmlns:a16="http://schemas.microsoft.com/office/drawing/2014/main" id="{E310689B-4E98-418C-810F-05C3F8F48755}"/>
                  </a:ext>
                </a:extLst>
              </p:cNvPr>
              <p:cNvSpPr/>
              <p:nvPr/>
            </p:nvSpPr>
            <p:spPr>
              <a:xfrm>
                <a:off x="4787790" y="2787540"/>
                <a:ext cx="72000" cy="72000"/>
              </a:xfrm>
              <a:prstGeom prst="ellipse">
                <a:avLst/>
              </a:prstGeom>
              <a:noFill/>
              <a:ln>
                <a:solidFill>
                  <a:sysClr val="window" lastClr="FFFFFF"/>
                </a:solidFill>
              </a:ln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54">
                  <a:defRPr/>
                </a:pPr>
                <a:endParaRPr lang="zh-CN" altLang="en-US" sz="1200" b="1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</p:grpSp>
        <p:grpSp>
          <p:nvGrpSpPr>
            <p:cNvPr id="1642" name="组合 1641">
              <a:extLst>
                <a:ext uri="{FF2B5EF4-FFF2-40B4-BE49-F238E27FC236}">
                  <a16:creationId xmlns:a16="http://schemas.microsoft.com/office/drawing/2014/main" id="{E3C9FF35-9D21-47C2-97EE-145E67D5800E}"/>
                </a:ext>
              </a:extLst>
            </p:cNvPr>
            <p:cNvGrpSpPr/>
            <p:nvPr/>
          </p:nvGrpSpPr>
          <p:grpSpPr>
            <a:xfrm>
              <a:off x="4161369" y="3314363"/>
              <a:ext cx="83178" cy="81381"/>
              <a:chOff x="4787790" y="2787540"/>
              <a:chExt cx="72000" cy="72000"/>
            </a:xfrm>
          </p:grpSpPr>
          <p:sp>
            <p:nvSpPr>
              <p:cNvPr id="1724" name="Freeform 41">
                <a:extLst>
                  <a:ext uri="{FF2B5EF4-FFF2-40B4-BE49-F238E27FC236}">
                    <a16:creationId xmlns:a16="http://schemas.microsoft.com/office/drawing/2014/main" id="{0F97E925-608C-4EE6-AF1E-42F440F0CF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5790" y="2805540"/>
                <a:ext cx="36000" cy="36000"/>
              </a:xfrm>
              <a:custGeom>
                <a:avLst/>
                <a:gdLst>
                  <a:gd name="T0" fmla="*/ 60483750 w 50"/>
                  <a:gd name="T1" fmla="*/ 0 h 52"/>
                  <a:gd name="T2" fmla="*/ 60483750 w 50"/>
                  <a:gd name="T3" fmla="*/ 0 h 52"/>
                  <a:gd name="T4" fmla="*/ 85685313 w 50"/>
                  <a:gd name="T5" fmla="*/ 5040313 h 52"/>
                  <a:gd name="T6" fmla="*/ 105846563 w 50"/>
                  <a:gd name="T7" fmla="*/ 20161250 h 52"/>
                  <a:gd name="T8" fmla="*/ 120967500 w 50"/>
                  <a:gd name="T9" fmla="*/ 40322500 h 52"/>
                  <a:gd name="T10" fmla="*/ 126007813 w 50"/>
                  <a:gd name="T11" fmla="*/ 65524063 h 52"/>
                  <a:gd name="T12" fmla="*/ 126007813 w 50"/>
                  <a:gd name="T13" fmla="*/ 65524063 h 52"/>
                  <a:gd name="T14" fmla="*/ 120967500 w 50"/>
                  <a:gd name="T15" fmla="*/ 90725625 h 52"/>
                  <a:gd name="T16" fmla="*/ 105846563 w 50"/>
                  <a:gd name="T17" fmla="*/ 110886875 h 52"/>
                  <a:gd name="T18" fmla="*/ 85685313 w 50"/>
                  <a:gd name="T19" fmla="*/ 126007813 h 52"/>
                  <a:gd name="T20" fmla="*/ 60483750 w 50"/>
                  <a:gd name="T21" fmla="*/ 131048125 h 52"/>
                  <a:gd name="T22" fmla="*/ 60483750 w 50"/>
                  <a:gd name="T23" fmla="*/ 131048125 h 52"/>
                  <a:gd name="T24" fmla="*/ 35282188 w 50"/>
                  <a:gd name="T25" fmla="*/ 126007813 h 52"/>
                  <a:gd name="T26" fmla="*/ 15120938 w 50"/>
                  <a:gd name="T27" fmla="*/ 110886875 h 52"/>
                  <a:gd name="T28" fmla="*/ 5040313 w 50"/>
                  <a:gd name="T29" fmla="*/ 90725625 h 52"/>
                  <a:gd name="T30" fmla="*/ 0 w 50"/>
                  <a:gd name="T31" fmla="*/ 65524063 h 52"/>
                  <a:gd name="T32" fmla="*/ 0 w 50"/>
                  <a:gd name="T33" fmla="*/ 65524063 h 52"/>
                  <a:gd name="T34" fmla="*/ 5040313 w 50"/>
                  <a:gd name="T35" fmla="*/ 40322500 h 52"/>
                  <a:gd name="T36" fmla="*/ 15120938 w 50"/>
                  <a:gd name="T37" fmla="*/ 20161250 h 52"/>
                  <a:gd name="T38" fmla="*/ 35282188 w 50"/>
                  <a:gd name="T39" fmla="*/ 5040313 h 52"/>
                  <a:gd name="T40" fmla="*/ 60483750 w 50"/>
                  <a:gd name="T41" fmla="*/ 0 h 52"/>
                  <a:gd name="T42" fmla="*/ 60483750 w 50"/>
                  <a:gd name="T43" fmla="*/ 0 h 5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50" h="52">
                    <a:moveTo>
                      <a:pt x="24" y="0"/>
                    </a:moveTo>
                    <a:lnTo>
                      <a:pt x="24" y="0"/>
                    </a:lnTo>
                    <a:lnTo>
                      <a:pt x="34" y="2"/>
                    </a:lnTo>
                    <a:lnTo>
                      <a:pt x="42" y="8"/>
                    </a:lnTo>
                    <a:lnTo>
                      <a:pt x="48" y="16"/>
                    </a:lnTo>
                    <a:lnTo>
                      <a:pt x="50" y="26"/>
                    </a:lnTo>
                    <a:lnTo>
                      <a:pt x="48" y="36"/>
                    </a:lnTo>
                    <a:lnTo>
                      <a:pt x="42" y="44"/>
                    </a:lnTo>
                    <a:lnTo>
                      <a:pt x="34" y="50"/>
                    </a:lnTo>
                    <a:lnTo>
                      <a:pt x="24" y="52"/>
                    </a:lnTo>
                    <a:lnTo>
                      <a:pt x="14" y="50"/>
                    </a:lnTo>
                    <a:lnTo>
                      <a:pt x="6" y="44"/>
                    </a:lnTo>
                    <a:lnTo>
                      <a:pt x="2" y="36"/>
                    </a:lnTo>
                    <a:lnTo>
                      <a:pt x="0" y="26"/>
                    </a:lnTo>
                    <a:lnTo>
                      <a:pt x="2" y="16"/>
                    </a:lnTo>
                    <a:lnTo>
                      <a:pt x="6" y="8"/>
                    </a:lnTo>
                    <a:lnTo>
                      <a:pt x="14" y="2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4354">
                  <a:defRPr/>
                </a:pPr>
                <a:endParaRPr lang="zh-CN" altLang="en-US" kern="0">
                  <a:solidFill>
                    <a:srgbClr val="000000"/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  <p:sp>
            <p:nvSpPr>
              <p:cNvPr id="1725" name="椭圆 1724">
                <a:extLst>
                  <a:ext uri="{FF2B5EF4-FFF2-40B4-BE49-F238E27FC236}">
                    <a16:creationId xmlns:a16="http://schemas.microsoft.com/office/drawing/2014/main" id="{E310689B-4E98-418C-810F-05C3F8F48755}"/>
                  </a:ext>
                </a:extLst>
              </p:cNvPr>
              <p:cNvSpPr/>
              <p:nvPr/>
            </p:nvSpPr>
            <p:spPr>
              <a:xfrm>
                <a:off x="4787790" y="2787540"/>
                <a:ext cx="72000" cy="72000"/>
              </a:xfrm>
              <a:prstGeom prst="ellipse">
                <a:avLst/>
              </a:prstGeom>
              <a:noFill/>
              <a:ln>
                <a:solidFill>
                  <a:sysClr val="window" lastClr="FFFFFF"/>
                </a:solidFill>
              </a:ln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54">
                  <a:defRPr/>
                </a:pPr>
                <a:endParaRPr lang="zh-CN" altLang="en-US" sz="1200" b="1" kern="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Calibri" panose="020F0502020204030204"/>
                  <a:ea typeface="微软雅黑 Light" panose="020B0502040204020203" pitchFamily="34" charset="-122"/>
                </a:endParaRPr>
              </a:p>
            </p:txBody>
          </p:sp>
        </p:grpSp>
        <p:sp>
          <p:nvSpPr>
            <p:cNvPr id="1643" name="文本框 1642">
              <a:extLst>
                <a:ext uri="{FF2B5EF4-FFF2-40B4-BE49-F238E27FC236}">
                  <a16:creationId xmlns:a16="http://schemas.microsoft.com/office/drawing/2014/main" id="{8865DDAB-55BB-4F37-91B2-9BBB06233C0C}"/>
                </a:ext>
              </a:extLst>
            </p:cNvPr>
            <p:cNvSpPr txBox="1"/>
            <p:nvPr/>
          </p:nvSpPr>
          <p:spPr>
            <a:xfrm>
              <a:off x="3994982" y="3130052"/>
              <a:ext cx="49912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000000"/>
                  </a:solidFill>
                  <a:latin typeface="微软雅黑"/>
                </a:rPr>
                <a:t>沈阳</a:t>
              </a:r>
            </a:p>
          </p:txBody>
        </p:sp>
        <p:sp>
          <p:nvSpPr>
            <p:cNvPr id="1644" name="文本框 1643">
              <a:extLst>
                <a:ext uri="{FF2B5EF4-FFF2-40B4-BE49-F238E27FC236}">
                  <a16:creationId xmlns:a16="http://schemas.microsoft.com/office/drawing/2014/main" id="{8865DDAB-55BB-4F37-91B2-9BBB06233C0C}"/>
                </a:ext>
              </a:extLst>
            </p:cNvPr>
            <p:cNvSpPr txBox="1"/>
            <p:nvPr/>
          </p:nvSpPr>
          <p:spPr>
            <a:xfrm>
              <a:off x="3495857" y="3515468"/>
              <a:ext cx="33359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000000"/>
                  </a:solidFill>
                  <a:latin typeface="微软雅黑"/>
                </a:rPr>
                <a:t>西安</a:t>
              </a:r>
            </a:p>
          </p:txBody>
        </p:sp>
        <p:sp>
          <p:nvSpPr>
            <p:cNvPr id="1645" name="Freeform 41">
              <a:extLst>
                <a:ext uri="{FF2B5EF4-FFF2-40B4-BE49-F238E27FC236}">
                  <a16:creationId xmlns:a16="http://schemas.microsoft.com/office/drawing/2014/main" id="{C6520979-7EC0-4EA1-8E73-A90D5255C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6505" y="2649063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46" name="Freeform 41">
              <a:extLst>
                <a:ext uri="{FF2B5EF4-FFF2-40B4-BE49-F238E27FC236}">
                  <a16:creationId xmlns:a16="http://schemas.microsoft.com/office/drawing/2014/main" id="{A8234961-884C-4C34-BCC8-016210311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3828" y="4021790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srgbClr val="000000"/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47" name="Freeform 41">
              <a:extLst>
                <a:ext uri="{FF2B5EF4-FFF2-40B4-BE49-F238E27FC236}">
                  <a16:creationId xmlns:a16="http://schemas.microsoft.com/office/drawing/2014/main" id="{A8234961-884C-4C34-BCC8-016210311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9011" y="5580354"/>
              <a:ext cx="41589" cy="40690"/>
            </a:xfrm>
            <a:custGeom>
              <a:avLst/>
              <a:gdLst>
                <a:gd name="T0" fmla="*/ 60483750 w 50"/>
                <a:gd name="T1" fmla="*/ 0 h 52"/>
                <a:gd name="T2" fmla="*/ 60483750 w 50"/>
                <a:gd name="T3" fmla="*/ 0 h 52"/>
                <a:gd name="T4" fmla="*/ 85685313 w 50"/>
                <a:gd name="T5" fmla="*/ 5040313 h 52"/>
                <a:gd name="T6" fmla="*/ 105846563 w 50"/>
                <a:gd name="T7" fmla="*/ 20161250 h 52"/>
                <a:gd name="T8" fmla="*/ 120967500 w 50"/>
                <a:gd name="T9" fmla="*/ 40322500 h 52"/>
                <a:gd name="T10" fmla="*/ 126007813 w 50"/>
                <a:gd name="T11" fmla="*/ 65524063 h 52"/>
                <a:gd name="T12" fmla="*/ 126007813 w 50"/>
                <a:gd name="T13" fmla="*/ 65524063 h 52"/>
                <a:gd name="T14" fmla="*/ 120967500 w 50"/>
                <a:gd name="T15" fmla="*/ 90725625 h 52"/>
                <a:gd name="T16" fmla="*/ 105846563 w 50"/>
                <a:gd name="T17" fmla="*/ 110886875 h 52"/>
                <a:gd name="T18" fmla="*/ 85685313 w 50"/>
                <a:gd name="T19" fmla="*/ 126007813 h 52"/>
                <a:gd name="T20" fmla="*/ 60483750 w 50"/>
                <a:gd name="T21" fmla="*/ 131048125 h 52"/>
                <a:gd name="T22" fmla="*/ 60483750 w 50"/>
                <a:gd name="T23" fmla="*/ 131048125 h 52"/>
                <a:gd name="T24" fmla="*/ 35282188 w 50"/>
                <a:gd name="T25" fmla="*/ 126007813 h 52"/>
                <a:gd name="T26" fmla="*/ 15120938 w 50"/>
                <a:gd name="T27" fmla="*/ 110886875 h 52"/>
                <a:gd name="T28" fmla="*/ 5040313 w 50"/>
                <a:gd name="T29" fmla="*/ 90725625 h 52"/>
                <a:gd name="T30" fmla="*/ 0 w 50"/>
                <a:gd name="T31" fmla="*/ 65524063 h 52"/>
                <a:gd name="T32" fmla="*/ 0 w 50"/>
                <a:gd name="T33" fmla="*/ 65524063 h 52"/>
                <a:gd name="T34" fmla="*/ 5040313 w 50"/>
                <a:gd name="T35" fmla="*/ 40322500 h 52"/>
                <a:gd name="T36" fmla="*/ 15120938 w 50"/>
                <a:gd name="T37" fmla="*/ 20161250 h 52"/>
                <a:gd name="T38" fmla="*/ 35282188 w 50"/>
                <a:gd name="T39" fmla="*/ 5040313 h 52"/>
                <a:gd name="T40" fmla="*/ 60483750 w 50"/>
                <a:gd name="T41" fmla="*/ 0 h 52"/>
                <a:gd name="T42" fmla="*/ 60483750 w 50"/>
                <a:gd name="T43" fmla="*/ 0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0" h="52">
                  <a:moveTo>
                    <a:pt x="24" y="0"/>
                  </a:move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48" y="36"/>
                  </a:lnTo>
                  <a:lnTo>
                    <a:pt x="42" y="44"/>
                  </a:lnTo>
                  <a:lnTo>
                    <a:pt x="34" y="50"/>
                  </a:lnTo>
                  <a:lnTo>
                    <a:pt x="24" y="52"/>
                  </a:lnTo>
                  <a:lnTo>
                    <a:pt x="14" y="50"/>
                  </a:lnTo>
                  <a:lnTo>
                    <a:pt x="6" y="44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354">
                <a:defRPr/>
              </a:pPr>
              <a:endParaRPr lang="zh-CN" altLang="en-US" kern="0">
                <a:solidFill>
                  <a:prstClr val="white">
                    <a:lumMod val="95000"/>
                  </a:prstClr>
                </a:solidFill>
                <a:latin typeface="Calibri" panose="020F0502020204030204"/>
                <a:ea typeface="微软雅黑 Light" panose="020B0502040204020203" pitchFamily="34" charset="-122"/>
              </a:endParaRPr>
            </a:p>
          </p:txBody>
        </p:sp>
        <p:sp>
          <p:nvSpPr>
            <p:cNvPr id="1649" name="PA-任意多边形: 形状 767">
              <a:extLst>
                <a:ext uri="{FF2B5EF4-FFF2-40B4-BE49-F238E27FC236}">
                  <a16:creationId xmlns:a16="http://schemas.microsoft.com/office/drawing/2014/main" id="{A163D6F8-8A89-4E2C-A9AF-BFE43E68E252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 rot="18722315">
              <a:off x="2934176" y="3125024"/>
              <a:ext cx="379912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660" name="PA-任意多边形: 形状 759">
              <a:extLst>
                <a:ext uri="{FF2B5EF4-FFF2-40B4-BE49-F238E27FC236}">
                  <a16:creationId xmlns:a16="http://schemas.microsoft.com/office/drawing/2014/main" id="{C5855449-AF8A-487D-B060-08C638CFC156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 rot="18583473">
              <a:off x="1942378" y="3170029"/>
              <a:ext cx="1186289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699" name="任意多边形: 形状 758">
              <a:extLst>
                <a:ext uri="{FF2B5EF4-FFF2-40B4-BE49-F238E27FC236}">
                  <a16:creationId xmlns:a16="http://schemas.microsoft.com/office/drawing/2014/main" id="{825605C7-4BFD-4D58-BD40-F22F10799E24}"/>
                </a:ext>
              </a:extLst>
            </p:cNvPr>
            <p:cNvSpPr/>
            <p:nvPr/>
          </p:nvSpPr>
          <p:spPr>
            <a:xfrm rot="18583473">
              <a:off x="2148822" y="3262465"/>
              <a:ext cx="1106147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700" name="任意多边形: 形状 760">
              <a:extLst>
                <a:ext uri="{FF2B5EF4-FFF2-40B4-BE49-F238E27FC236}">
                  <a16:creationId xmlns:a16="http://schemas.microsoft.com/office/drawing/2014/main" id="{977195EB-9DCF-433D-A63C-4D90F067F6A1}"/>
                </a:ext>
              </a:extLst>
            </p:cNvPr>
            <p:cNvSpPr/>
            <p:nvPr/>
          </p:nvSpPr>
          <p:spPr>
            <a:xfrm rot="18583473">
              <a:off x="1819246" y="3427289"/>
              <a:ext cx="1515739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701" name="任意多边形: 形状 757">
              <a:extLst>
                <a:ext uri="{FF2B5EF4-FFF2-40B4-BE49-F238E27FC236}">
                  <a16:creationId xmlns:a16="http://schemas.microsoft.com/office/drawing/2014/main" id="{852CB6A6-4EBF-4423-9CC4-BEA7C228DCEA}"/>
                </a:ext>
              </a:extLst>
            </p:cNvPr>
            <p:cNvSpPr/>
            <p:nvPr/>
          </p:nvSpPr>
          <p:spPr>
            <a:xfrm rot="18583473">
              <a:off x="2136602" y="3400039"/>
              <a:ext cx="1206135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702" name="任意多边形: 形状 764">
              <a:extLst>
                <a:ext uri="{FF2B5EF4-FFF2-40B4-BE49-F238E27FC236}">
                  <a16:creationId xmlns:a16="http://schemas.microsoft.com/office/drawing/2014/main" id="{ACE8FBE9-B5CD-4705-93F2-9D4541BB1C85}"/>
                </a:ext>
              </a:extLst>
            </p:cNvPr>
            <p:cNvSpPr/>
            <p:nvPr/>
          </p:nvSpPr>
          <p:spPr>
            <a:xfrm rot="17980650">
              <a:off x="2724742" y="3734865"/>
              <a:ext cx="786185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703" name="任意多边形: 形状 765">
              <a:extLst>
                <a:ext uri="{FF2B5EF4-FFF2-40B4-BE49-F238E27FC236}">
                  <a16:creationId xmlns:a16="http://schemas.microsoft.com/office/drawing/2014/main" id="{ED0C84D7-3EFD-42FC-9841-56BD8921C2F8}"/>
                </a:ext>
              </a:extLst>
            </p:cNvPr>
            <p:cNvSpPr/>
            <p:nvPr/>
          </p:nvSpPr>
          <p:spPr>
            <a:xfrm rot="17980650">
              <a:off x="2860036" y="3721275"/>
              <a:ext cx="681975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704" name="任意多边形: 形状 799">
              <a:extLst>
                <a:ext uri="{FF2B5EF4-FFF2-40B4-BE49-F238E27FC236}">
                  <a16:creationId xmlns:a16="http://schemas.microsoft.com/office/drawing/2014/main" id="{964D6DD0-44E7-4F44-8276-C030CFB97AEB}"/>
                </a:ext>
              </a:extLst>
            </p:cNvPr>
            <p:cNvSpPr/>
            <p:nvPr/>
          </p:nvSpPr>
          <p:spPr>
            <a:xfrm rot="17980650">
              <a:off x="1683543" y="4508068"/>
              <a:ext cx="2316561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705" name="任意多边形: 形状 799">
              <a:extLst>
                <a:ext uri="{FF2B5EF4-FFF2-40B4-BE49-F238E27FC236}">
                  <a16:creationId xmlns:a16="http://schemas.microsoft.com/office/drawing/2014/main" id="{964D6DD0-44E7-4F44-8276-C030CFB97AEB}"/>
                </a:ext>
              </a:extLst>
            </p:cNvPr>
            <p:cNvSpPr/>
            <p:nvPr/>
          </p:nvSpPr>
          <p:spPr>
            <a:xfrm rot="18819463">
              <a:off x="2317430" y="3988348"/>
              <a:ext cx="1483312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706" name="PA-任意多边形: 形状 739">
              <a:extLst>
                <a:ext uri="{FF2B5EF4-FFF2-40B4-BE49-F238E27FC236}">
                  <a16:creationId xmlns:a16="http://schemas.microsoft.com/office/drawing/2014/main" id="{2D2F0911-5706-4744-970D-B5AAD7DE99E3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 rot="17483525">
              <a:off x="4193704" y="3002108"/>
              <a:ext cx="1591715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32296 w 739140"/>
                <a:gd name="connsiteY1" fmla="*/ 31723 h 1249680"/>
                <a:gd name="connsiteX2" fmla="*/ 739140 w 739140"/>
                <a:gd name="connsiteY2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55908" y="46883"/>
                    <a:pt x="47114" y="291"/>
                    <a:pt x="32296" y="31723"/>
                  </a:cubicBezTo>
                  <a:cubicBezTo>
                    <a:pt x="364866" y="200004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707" name="任意多边形: 形状 740">
              <a:extLst>
                <a:ext uri="{FF2B5EF4-FFF2-40B4-BE49-F238E27FC236}">
                  <a16:creationId xmlns:a16="http://schemas.microsoft.com/office/drawing/2014/main" id="{B0403C1E-D1A4-4399-9325-B77CFFABFDB4}"/>
                </a:ext>
              </a:extLst>
            </p:cNvPr>
            <p:cNvSpPr/>
            <p:nvPr/>
          </p:nvSpPr>
          <p:spPr>
            <a:xfrm rot="17483525">
              <a:off x="4213342" y="3445385"/>
              <a:ext cx="221431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274096 w 739140"/>
                <a:gd name="connsiteY1" fmla="*/ 196334 h 1249680"/>
                <a:gd name="connsiteX2" fmla="*/ 739140 w 739140"/>
                <a:gd name="connsiteY2" fmla="*/ 1249680 h 1249680"/>
                <a:gd name="connsiteX0" fmla="*/ 0 w 739140"/>
                <a:gd name="connsiteY0" fmla="*/ 0 h 1249680"/>
                <a:gd name="connsiteX1" fmla="*/ 32296 w 739140"/>
                <a:gd name="connsiteY1" fmla="*/ 31723 h 1249680"/>
                <a:gd name="connsiteX2" fmla="*/ 739140 w 739140"/>
                <a:gd name="connsiteY2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55908" y="46883"/>
                    <a:pt x="47114" y="291"/>
                    <a:pt x="32296" y="31723"/>
                  </a:cubicBezTo>
                  <a:cubicBezTo>
                    <a:pt x="364866" y="200004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708" name="任意多边形: 形状 796">
              <a:extLst>
                <a:ext uri="{FF2B5EF4-FFF2-40B4-BE49-F238E27FC236}">
                  <a16:creationId xmlns:a16="http://schemas.microsoft.com/office/drawing/2014/main" id="{0D8B3E4C-A6A1-486C-BF7E-2934EBF387EA}"/>
                </a:ext>
              </a:extLst>
            </p:cNvPr>
            <p:cNvSpPr/>
            <p:nvPr/>
          </p:nvSpPr>
          <p:spPr>
            <a:xfrm rot="19210164">
              <a:off x="4401480" y="3569171"/>
              <a:ext cx="1813968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1870"/>
                <a:gd name="connsiteY0" fmla="*/ 0 h 1217577"/>
                <a:gd name="connsiteX1" fmla="*/ 731870 w 731870"/>
                <a:gd name="connsiteY1" fmla="*/ 1217577 h 1217577"/>
                <a:gd name="connsiteX0" fmla="*/ 0 w 731870"/>
                <a:gd name="connsiteY0" fmla="*/ 0 h 1217577"/>
                <a:gd name="connsiteX1" fmla="*/ 731870 w 731870"/>
                <a:gd name="connsiteY1" fmla="*/ 1217577 h 1217577"/>
                <a:gd name="connsiteX0" fmla="*/ 0 w 731870"/>
                <a:gd name="connsiteY0" fmla="*/ 0 h 1217577"/>
                <a:gd name="connsiteX1" fmla="*/ 731870 w 731870"/>
                <a:gd name="connsiteY1" fmla="*/ 1217577 h 1217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870" h="1217577">
                  <a:moveTo>
                    <a:pt x="0" y="0"/>
                  </a:moveTo>
                  <a:cubicBezTo>
                    <a:pt x="668020" y="449580"/>
                    <a:pt x="729015" y="1196184"/>
                    <a:pt x="731870" y="1217577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709" name="任意多边形: 形状 738">
              <a:extLst>
                <a:ext uri="{FF2B5EF4-FFF2-40B4-BE49-F238E27FC236}">
                  <a16:creationId xmlns:a16="http://schemas.microsoft.com/office/drawing/2014/main" id="{62947C1E-7030-4B4F-B258-6A8745F8A849}"/>
                </a:ext>
              </a:extLst>
            </p:cNvPr>
            <p:cNvSpPr/>
            <p:nvPr/>
          </p:nvSpPr>
          <p:spPr>
            <a:xfrm>
              <a:off x="4032448" y="4037118"/>
              <a:ext cx="853897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sp>
          <p:nvSpPr>
            <p:cNvPr id="1710" name="任意多边形: 形状 796">
              <a:extLst>
                <a:ext uri="{FF2B5EF4-FFF2-40B4-BE49-F238E27FC236}">
                  <a16:creationId xmlns:a16="http://schemas.microsoft.com/office/drawing/2014/main" id="{0D8B3E4C-A6A1-486C-BF7E-2934EBF387EA}"/>
                </a:ext>
              </a:extLst>
            </p:cNvPr>
            <p:cNvSpPr/>
            <p:nvPr/>
          </p:nvSpPr>
          <p:spPr>
            <a:xfrm>
              <a:off x="4179670" y="3824245"/>
              <a:ext cx="1352004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1870"/>
                <a:gd name="connsiteY0" fmla="*/ 0 h 1217577"/>
                <a:gd name="connsiteX1" fmla="*/ 731870 w 731870"/>
                <a:gd name="connsiteY1" fmla="*/ 1217577 h 1217577"/>
                <a:gd name="connsiteX0" fmla="*/ 0 w 731870"/>
                <a:gd name="connsiteY0" fmla="*/ 0 h 1217577"/>
                <a:gd name="connsiteX1" fmla="*/ 731870 w 731870"/>
                <a:gd name="connsiteY1" fmla="*/ 1217577 h 1217577"/>
                <a:gd name="connsiteX0" fmla="*/ 0 w 731870"/>
                <a:gd name="connsiteY0" fmla="*/ 0 h 1217577"/>
                <a:gd name="connsiteX1" fmla="*/ 731870 w 731870"/>
                <a:gd name="connsiteY1" fmla="*/ 1217577 h 1217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870" h="1217577">
                  <a:moveTo>
                    <a:pt x="0" y="0"/>
                  </a:moveTo>
                  <a:cubicBezTo>
                    <a:pt x="668020" y="449580"/>
                    <a:pt x="729015" y="1196184"/>
                    <a:pt x="731870" y="1217577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cxnSp>
          <p:nvCxnSpPr>
            <p:cNvPr id="1711" name="PA-直接连接符 15">
              <a:extLst>
                <a:ext uri="{FF2B5EF4-FFF2-40B4-BE49-F238E27FC236}">
                  <a16:creationId xmlns:a16="http://schemas.microsoft.com/office/drawing/2014/main" id="{9977DCD7-3CE5-43F0-87CD-270D1E1644D4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 bwMode="auto">
            <a:xfrm flipH="1">
              <a:off x="3829029" y="4046589"/>
              <a:ext cx="140017" cy="546198"/>
            </a:xfrm>
            <a:prstGeom prst="line">
              <a:avLst/>
            </a:prstGeom>
            <a:noFill/>
            <a:ln>
              <a:solidFill>
                <a:srgbClr val="6E6568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12" name="任意多边形: 形状 766">
              <a:extLst>
                <a:ext uri="{FF2B5EF4-FFF2-40B4-BE49-F238E27FC236}">
                  <a16:creationId xmlns:a16="http://schemas.microsoft.com/office/drawing/2014/main" id="{82EBA70D-9E68-45D0-B90D-5413A1B9730A}"/>
                </a:ext>
              </a:extLst>
            </p:cNvPr>
            <p:cNvSpPr/>
            <p:nvPr/>
          </p:nvSpPr>
          <p:spPr>
            <a:xfrm rot="17980650">
              <a:off x="3337098" y="3792705"/>
              <a:ext cx="453925" cy="310806"/>
            </a:xfrm>
            <a:custGeom>
              <a:avLst/>
              <a:gdLst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792480"/>
                <a:gd name="connsiteY0" fmla="*/ 0 h 1280160"/>
                <a:gd name="connsiteX1" fmla="*/ 792480 w 792480"/>
                <a:gd name="connsiteY1" fmla="*/ 1280160 h 1280160"/>
                <a:gd name="connsiteX0" fmla="*/ 0 w 563880"/>
                <a:gd name="connsiteY0" fmla="*/ 0 h 1211580"/>
                <a:gd name="connsiteX1" fmla="*/ 563880 w 563880"/>
                <a:gd name="connsiteY1" fmla="*/ 1211580 h 12115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  <a:gd name="connsiteX0" fmla="*/ 0 w 739140"/>
                <a:gd name="connsiteY0" fmla="*/ 0 h 1249680"/>
                <a:gd name="connsiteX1" fmla="*/ 739140 w 739140"/>
                <a:gd name="connsiteY1" fmla="*/ 1249680 h 1249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9140" h="1249680">
                  <a:moveTo>
                    <a:pt x="0" y="0"/>
                  </a:moveTo>
                  <a:cubicBezTo>
                    <a:pt x="668020" y="449580"/>
                    <a:pt x="688340" y="815340"/>
                    <a:pt x="739140" y="1249680"/>
                  </a:cubicBezTo>
                </a:path>
              </a:pathLst>
            </a:custGeom>
            <a:noFill/>
            <a:ln>
              <a:solidFill>
                <a:srgbClr val="6E6568"/>
              </a:solidFill>
            </a:ln>
          </p:spPr>
          <p:txBody>
            <a:bodyPr vert="horz" wrap="square" lIns="79200" tIns="39600" rIns="79200" bIns="396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01648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500">
                <a:solidFill>
                  <a:srgbClr val="FFFFFF"/>
                </a:solidFill>
                <a:latin typeface="FrutigerNext LT Regular" pitchFamily="34" charset="0"/>
                <a:ea typeface="MS PGothic" pitchFamily="34" charset="-128"/>
              </a:endParaRPr>
            </a:p>
          </p:txBody>
        </p:sp>
        <p:cxnSp>
          <p:nvCxnSpPr>
            <p:cNvPr id="1713" name="直接连接符 1712">
              <a:extLst>
                <a:ext uri="{FF2B5EF4-FFF2-40B4-BE49-F238E27FC236}">
                  <a16:creationId xmlns:a16="http://schemas.microsoft.com/office/drawing/2014/main" id="{974546AA-9838-4008-B68F-510968CFC82C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4032902" y="3971658"/>
              <a:ext cx="196661" cy="39147"/>
            </a:xfrm>
            <a:prstGeom prst="line">
              <a:avLst/>
            </a:prstGeom>
            <a:noFill/>
            <a:ln>
              <a:solidFill>
                <a:srgbClr val="6E6568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14" name="直接连接符 1713">
              <a:extLst>
                <a:ext uri="{FF2B5EF4-FFF2-40B4-BE49-F238E27FC236}">
                  <a16:creationId xmlns:a16="http://schemas.microsoft.com/office/drawing/2014/main" id="{C70A57B0-45B4-4999-B9B5-911B6C58E2CB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3776674" y="4053048"/>
              <a:ext cx="120136" cy="76658"/>
            </a:xfrm>
            <a:prstGeom prst="line">
              <a:avLst/>
            </a:prstGeom>
            <a:noFill/>
            <a:ln>
              <a:solidFill>
                <a:srgbClr val="6E6568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15" name="文本框 1714">
              <a:extLst>
                <a:ext uri="{FF2B5EF4-FFF2-40B4-BE49-F238E27FC236}">
                  <a16:creationId xmlns:a16="http://schemas.microsoft.com/office/drawing/2014/main" id="{8865DDAB-55BB-4F37-91B2-9BBB06233C0C}"/>
                </a:ext>
              </a:extLst>
            </p:cNvPr>
            <p:cNvSpPr txBox="1"/>
            <p:nvPr/>
          </p:nvSpPr>
          <p:spPr>
            <a:xfrm>
              <a:off x="3719958" y="3646867"/>
              <a:ext cx="499125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54"/>
              <a:r>
                <a:rPr lang="zh-CN" altLang="en-US" sz="700" dirty="0">
                  <a:solidFill>
                    <a:srgbClr val="000000"/>
                  </a:solidFill>
                  <a:latin typeface="微软雅黑"/>
                </a:rPr>
                <a:t>武汉</a:t>
              </a:r>
            </a:p>
          </p:txBody>
        </p:sp>
      </p:grpSp>
      <p:sp>
        <p:nvSpPr>
          <p:cNvPr id="470" name="矩形 469">
            <a:extLst>
              <a:ext uri="{FF2B5EF4-FFF2-40B4-BE49-F238E27FC236}">
                <a16:creationId xmlns:a16="http://schemas.microsoft.com/office/drawing/2014/main" id="{DC0D1740-2E73-40DE-88DF-501423745399}"/>
              </a:ext>
            </a:extLst>
          </p:cNvPr>
          <p:cNvSpPr/>
          <p:nvPr/>
        </p:nvSpPr>
        <p:spPr>
          <a:xfrm>
            <a:off x="719404" y="991681"/>
            <a:ext cx="11144285" cy="723275"/>
          </a:xfrm>
          <a:prstGeom prst="rect">
            <a:avLst/>
          </a:prstGeom>
        </p:spPr>
        <p:txBody>
          <a:bodyPr wrap="square" lIns="0" tIns="45718" rIns="91436" bIns="45718">
            <a:noAutofit/>
          </a:bodyPr>
          <a:lstStyle/>
          <a:p>
            <a:pPr marL="285737" indent="-285737" defTabSz="685766">
              <a:spcBef>
                <a:spcPts val="1200"/>
              </a:spcBef>
              <a:buFont typeface="微软雅黑" panose="020B0503020204020204" pitchFamily="34" charset="-122"/>
              <a:buChar char="-"/>
            </a:pPr>
            <a:r>
              <a:rPr lang="en-US" altLang="zh-CN" dirty="0">
                <a:solidFill>
                  <a:srgbClr val="777777"/>
                </a:solidFill>
                <a:latin typeface="微软雅黑"/>
              </a:rPr>
              <a:t>8</a:t>
            </a:r>
            <a:r>
              <a:rPr lang="zh-CN" altLang="en-US" dirty="0">
                <a:solidFill>
                  <a:srgbClr val="777777"/>
                </a:solidFill>
                <a:latin typeface="微软雅黑"/>
              </a:rPr>
              <a:t>大中国枢纽，</a:t>
            </a:r>
            <a:r>
              <a:rPr lang="en-US" altLang="zh-CN" dirty="0">
                <a:solidFill>
                  <a:srgbClr val="777777"/>
                </a:solidFill>
                <a:latin typeface="微软雅黑"/>
              </a:rPr>
              <a:t>30</a:t>
            </a:r>
            <a:r>
              <a:rPr lang="zh-CN" altLang="en-US" dirty="0">
                <a:solidFill>
                  <a:srgbClr val="777777"/>
                </a:solidFill>
                <a:latin typeface="微软雅黑"/>
              </a:rPr>
              <a:t>大全球供应链节点，多式联运，实现</a:t>
            </a:r>
            <a:r>
              <a:rPr lang="en-US" altLang="zh-CN" dirty="0">
                <a:solidFill>
                  <a:srgbClr val="777777"/>
                </a:solidFill>
                <a:latin typeface="微软雅黑"/>
              </a:rPr>
              <a:t>48</a:t>
            </a:r>
            <a:r>
              <a:rPr lang="zh-CN" altLang="en-US" dirty="0">
                <a:solidFill>
                  <a:srgbClr val="777777"/>
                </a:solidFill>
                <a:latin typeface="微软雅黑"/>
              </a:rPr>
              <a:t>小时中国通达全球，</a:t>
            </a:r>
            <a:r>
              <a:rPr lang="en-US" altLang="zh-CN" dirty="0">
                <a:solidFill>
                  <a:srgbClr val="777777"/>
                </a:solidFill>
                <a:latin typeface="微软雅黑"/>
              </a:rPr>
              <a:t>48</a:t>
            </a:r>
            <a:r>
              <a:rPr lang="zh-CN" altLang="en-US" dirty="0">
                <a:solidFill>
                  <a:srgbClr val="777777"/>
                </a:solidFill>
                <a:latin typeface="微软雅黑"/>
              </a:rPr>
              <a:t>小时各国本地交付</a:t>
            </a:r>
          </a:p>
          <a:p>
            <a:pPr marL="285737" indent="-285737" defTabSz="685766">
              <a:spcBef>
                <a:spcPts val="1200"/>
              </a:spcBef>
              <a:buFont typeface="微软雅黑" panose="020B0503020204020204" pitchFamily="34" charset="-122"/>
              <a:buChar char="-"/>
            </a:pPr>
            <a:r>
              <a:rPr lang="zh-CN" altLang="en-US" dirty="0">
                <a:solidFill>
                  <a:srgbClr val="777777"/>
                </a:solidFill>
                <a:latin typeface="微软雅黑"/>
              </a:rPr>
              <a:t>将重点布局东南亚、美国和欧洲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79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6960096" y="6464929"/>
            <a:ext cx="4512501" cy="336000"/>
          </a:xfrm>
        </p:spPr>
        <p:txBody>
          <a:bodyPr anchor="ctr"/>
          <a:lstStyle/>
          <a:p>
            <a:r>
              <a:rPr lang="zh-CN" altLang="en-US" sz="1100" i="1" dirty="0"/>
              <a:t>京东物流网络情况：截止</a:t>
            </a:r>
            <a:r>
              <a:rPr lang="en-US" altLang="zh-CN" sz="1100" i="1" dirty="0"/>
              <a:t>2018</a:t>
            </a:r>
            <a:r>
              <a:rPr lang="zh-CN" altLang="en-US" sz="1100" i="1" dirty="0"/>
              <a:t>年</a:t>
            </a:r>
            <a:r>
              <a:rPr lang="en-US" altLang="zh-CN" sz="1100" i="1" dirty="0"/>
              <a:t>6</a:t>
            </a:r>
            <a:r>
              <a:rPr lang="zh-CN" altLang="en-US" sz="1100" i="1" dirty="0"/>
              <a:t>月数据</a:t>
            </a:r>
          </a:p>
        </p:txBody>
      </p:sp>
      <p:sp>
        <p:nvSpPr>
          <p:cNvPr id="488" name="矩形 30"/>
          <p:cNvSpPr/>
          <p:nvPr/>
        </p:nvSpPr>
        <p:spPr>
          <a:xfrm>
            <a:off x="9029476" y="1594722"/>
            <a:ext cx="2793285" cy="2802183"/>
          </a:xfrm>
          <a:prstGeom prst="rect">
            <a:avLst/>
          </a:prstGeom>
          <a:solidFill>
            <a:srgbClr val="F2F2F2">
              <a:alpha val="38824"/>
            </a:srgbClr>
          </a:solidFill>
        </p:spPr>
        <p:txBody>
          <a:bodyPr wrap="square" lIns="0" tIns="143992" rIns="0" bIns="45718" rtlCol="0" anchor="t">
            <a:no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DA0B1C"/>
                </a:solidFill>
                <a:latin typeface="微软雅黑" panose="020B0503020204020204" pitchFamily="34" charset="-122"/>
              </a:rPr>
              <a:t>已布局</a:t>
            </a:r>
          </a:p>
        </p:txBody>
      </p:sp>
      <p:grpSp>
        <p:nvGrpSpPr>
          <p:cNvPr id="12" name="组合 11"/>
          <p:cNvGrpSpPr/>
          <p:nvPr/>
        </p:nvGrpSpPr>
        <p:grpSpPr>
          <a:xfrm>
            <a:off x="9125861" y="1946035"/>
            <a:ext cx="2618867" cy="495679"/>
            <a:chOff x="9125860" y="1686720"/>
            <a:chExt cx="2618867" cy="495679"/>
          </a:xfrm>
        </p:grpSpPr>
        <p:grpSp>
          <p:nvGrpSpPr>
            <p:cNvPr id="8" name="组合 7"/>
            <p:cNvGrpSpPr/>
            <p:nvPr/>
          </p:nvGrpSpPr>
          <p:grpSpPr>
            <a:xfrm>
              <a:off x="9125860" y="1776159"/>
              <a:ext cx="319524" cy="316800"/>
              <a:chOff x="10568536" y="2717850"/>
              <a:chExt cx="386624" cy="383328"/>
            </a:xfrm>
          </p:grpSpPr>
          <p:sp>
            <p:nvSpPr>
              <p:cNvPr id="433" name="Rectangle 22"/>
              <p:cNvSpPr/>
              <p:nvPr/>
            </p:nvSpPr>
            <p:spPr>
              <a:xfrm>
                <a:off x="10568536" y="2717850"/>
                <a:ext cx="383328" cy="383328"/>
              </a:xfrm>
              <a:prstGeom prst="rect">
                <a:avLst/>
              </a:prstGeom>
              <a:solidFill>
                <a:srgbClr val="DA0B1C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4"/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431" name="图片 1764"/>
              <p:cNvPicPr>
                <a:picLocks noChangeAspect="1"/>
              </p:cNvPicPr>
              <p:nvPr/>
            </p:nvPicPr>
            <p:blipFill>
              <a:blip r:embed="rId7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586207" y="2719560"/>
                <a:ext cx="368953" cy="368954"/>
              </a:xfrm>
              <a:prstGeom prst="rect">
                <a:avLst/>
              </a:prstGeom>
            </p:spPr>
          </p:pic>
        </p:grpSp>
        <p:sp>
          <p:nvSpPr>
            <p:cNvPr id="17" name="矩形 16"/>
            <p:cNvSpPr/>
            <p:nvPr/>
          </p:nvSpPr>
          <p:spPr>
            <a:xfrm>
              <a:off x="9548727" y="1686720"/>
              <a:ext cx="2196000" cy="495679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defTabSz="914354"/>
              <a:r>
                <a:rPr lang="zh-CN" altLang="en-US" sz="1100" dirty="0">
                  <a:solidFill>
                    <a:srgbClr val="777777"/>
                  </a:solidFill>
                </a:rPr>
                <a:t>海外仓已开通</a:t>
              </a:r>
              <a:r>
                <a:rPr lang="en-US" altLang="zh-CN" sz="1100" dirty="0">
                  <a:solidFill>
                    <a:srgbClr val="DA0B1C"/>
                  </a:solidFill>
                </a:rPr>
                <a:t>63</a:t>
              </a:r>
              <a:r>
                <a:rPr lang="zh-CN" altLang="en-US" sz="1100" dirty="0">
                  <a:solidFill>
                    <a:srgbClr val="777777"/>
                  </a:solidFill>
                </a:rPr>
                <a:t>个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9126544" y="2494727"/>
            <a:ext cx="2617505" cy="756000"/>
            <a:chOff x="9126541" y="2321851"/>
            <a:chExt cx="2617505" cy="756000"/>
          </a:xfrm>
        </p:grpSpPr>
        <p:grpSp>
          <p:nvGrpSpPr>
            <p:cNvPr id="10" name="组合 9"/>
            <p:cNvGrpSpPr/>
            <p:nvPr/>
          </p:nvGrpSpPr>
          <p:grpSpPr>
            <a:xfrm>
              <a:off x="9126541" y="2541451"/>
              <a:ext cx="316800" cy="316800"/>
              <a:chOff x="10566292" y="2787705"/>
              <a:chExt cx="316800" cy="316800"/>
            </a:xfrm>
          </p:grpSpPr>
          <p:sp>
            <p:nvSpPr>
              <p:cNvPr id="438" name="Rectangle 22"/>
              <p:cNvSpPr/>
              <p:nvPr/>
            </p:nvSpPr>
            <p:spPr>
              <a:xfrm>
                <a:off x="10566292" y="2787705"/>
                <a:ext cx="316800" cy="316800"/>
              </a:xfrm>
              <a:prstGeom prst="rect">
                <a:avLst/>
              </a:prstGeom>
              <a:solidFill>
                <a:srgbClr val="DA0B1C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4"/>
                <a:endParaRPr lang="en-US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9" name="组合 8"/>
              <p:cNvGrpSpPr/>
              <p:nvPr/>
            </p:nvGrpSpPr>
            <p:grpSpPr>
              <a:xfrm>
                <a:off x="10586040" y="2792346"/>
                <a:ext cx="286695" cy="309913"/>
                <a:chOff x="10586040" y="2792346"/>
                <a:chExt cx="286695" cy="309913"/>
              </a:xfrm>
            </p:grpSpPr>
            <p:pic>
              <p:nvPicPr>
                <p:cNvPr id="429" name="Picture 4" descr="C:\Users\liangce\Downloads\飞机 (3).png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586040" y="2792346"/>
                  <a:ext cx="177481" cy="1968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30" name="Picture 2" descr="C:\Users\liangce\Downloads\火车.png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668521" y="2872419"/>
                  <a:ext cx="204214" cy="2298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480" name="矩形 479"/>
            <p:cNvSpPr/>
            <p:nvPr/>
          </p:nvSpPr>
          <p:spPr>
            <a:xfrm>
              <a:off x="9548046" y="2321851"/>
              <a:ext cx="2196000" cy="756000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defTabSz="914354"/>
              <a:r>
                <a:rPr lang="zh-CN" altLang="en-US" sz="1100" dirty="0">
                  <a:solidFill>
                    <a:srgbClr val="777777"/>
                  </a:solidFill>
                </a:rPr>
                <a:t>近</a:t>
              </a:r>
              <a:r>
                <a:rPr lang="zh-CN" altLang="en-US" sz="1100" dirty="0">
                  <a:solidFill>
                    <a:srgbClr val="DA0B1C"/>
                  </a:solidFill>
                </a:rPr>
                <a:t>千条</a:t>
              </a:r>
              <a:r>
                <a:rPr lang="zh-CN" altLang="en-US" sz="1100" dirty="0">
                  <a:solidFill>
                    <a:srgbClr val="777777"/>
                  </a:solidFill>
                </a:rPr>
                <a:t>国际运输线路：</a:t>
              </a:r>
              <a:r>
                <a:rPr lang="zh-CN" altLang="en-US" sz="1100" dirty="0">
                  <a:solidFill>
                    <a:srgbClr val="DA0B1C"/>
                  </a:solidFill>
                </a:rPr>
                <a:t>中欧专列</a:t>
              </a:r>
              <a:r>
                <a:rPr lang="zh-CN" altLang="en-US" sz="1100" dirty="0">
                  <a:solidFill>
                    <a:srgbClr val="777777"/>
                  </a:solidFill>
                </a:rPr>
                <a:t>，</a:t>
              </a:r>
              <a:r>
                <a:rPr lang="zh-CN" altLang="en-US" sz="1100" dirty="0">
                  <a:solidFill>
                    <a:srgbClr val="DA0B1C"/>
                  </a:solidFill>
                </a:rPr>
                <a:t>跨境卡车</a:t>
              </a:r>
              <a:r>
                <a:rPr lang="zh-CN" altLang="en-US" sz="1100" dirty="0">
                  <a:solidFill>
                    <a:srgbClr val="777777"/>
                  </a:solidFill>
                </a:rPr>
                <a:t>，中国</a:t>
              </a:r>
              <a:r>
                <a:rPr lang="zh-CN" altLang="en-US" sz="1100" dirty="0">
                  <a:solidFill>
                    <a:srgbClr val="DA0B1C"/>
                  </a:solidFill>
                </a:rPr>
                <a:t>四大航战略合作</a:t>
              </a: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9126544" y="3303743"/>
            <a:ext cx="2617505" cy="495679"/>
            <a:chOff x="9126541" y="3217303"/>
            <a:chExt cx="2617505" cy="495679"/>
          </a:xfrm>
        </p:grpSpPr>
        <p:grpSp>
          <p:nvGrpSpPr>
            <p:cNvPr id="14" name="组合 13"/>
            <p:cNvGrpSpPr/>
            <p:nvPr/>
          </p:nvGrpSpPr>
          <p:grpSpPr>
            <a:xfrm>
              <a:off x="9126541" y="3306742"/>
              <a:ext cx="316800" cy="316800"/>
              <a:chOff x="9379860" y="3574620"/>
              <a:chExt cx="316800" cy="316800"/>
            </a:xfrm>
          </p:grpSpPr>
          <p:sp>
            <p:nvSpPr>
              <p:cNvPr id="469" name="Rectangle 22"/>
              <p:cNvSpPr/>
              <p:nvPr/>
            </p:nvSpPr>
            <p:spPr>
              <a:xfrm>
                <a:off x="9379860" y="3574620"/>
                <a:ext cx="316800" cy="316800"/>
              </a:xfrm>
              <a:prstGeom prst="rect">
                <a:avLst/>
              </a:prstGeom>
              <a:solidFill>
                <a:srgbClr val="DA0B1C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4"/>
                <a:endParaRPr lang="en-US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3" name="组合 12"/>
              <p:cNvGrpSpPr/>
              <p:nvPr/>
            </p:nvGrpSpPr>
            <p:grpSpPr>
              <a:xfrm>
                <a:off x="9452017" y="3615618"/>
                <a:ext cx="172486" cy="234805"/>
                <a:chOff x="9699626" y="235743"/>
                <a:chExt cx="492126" cy="669927"/>
              </a:xfrm>
              <a:solidFill>
                <a:schemeClr val="bg1"/>
              </a:solidFill>
            </p:grpSpPr>
            <p:sp>
              <p:nvSpPr>
                <p:cNvPr id="472" name="Shape 3806"/>
                <p:cNvSpPr/>
                <p:nvPr/>
              </p:nvSpPr>
              <p:spPr>
                <a:xfrm>
                  <a:off x="9699626" y="418306"/>
                  <a:ext cx="481014" cy="48736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6966" y="1942"/>
                      </a:moveTo>
                      <a:cubicBezTo>
                        <a:pt x="16416" y="2253"/>
                        <a:pt x="15788" y="2409"/>
                        <a:pt x="15081" y="2409"/>
                      </a:cubicBezTo>
                      <a:cubicBezTo>
                        <a:pt x="15081" y="2409"/>
                        <a:pt x="15002" y="2409"/>
                        <a:pt x="15002" y="2409"/>
                      </a:cubicBezTo>
                      <a:cubicBezTo>
                        <a:pt x="16180" y="3030"/>
                        <a:pt x="17201" y="3885"/>
                        <a:pt x="18065" y="4895"/>
                      </a:cubicBezTo>
                      <a:cubicBezTo>
                        <a:pt x="17044" y="5128"/>
                        <a:pt x="16102" y="5283"/>
                        <a:pt x="15081" y="5439"/>
                      </a:cubicBezTo>
                      <a:cubicBezTo>
                        <a:pt x="14767" y="4118"/>
                        <a:pt x="14295" y="3030"/>
                        <a:pt x="13745" y="2176"/>
                      </a:cubicBezTo>
                      <a:cubicBezTo>
                        <a:pt x="12724" y="1787"/>
                        <a:pt x="11939" y="1010"/>
                        <a:pt x="11625" y="0"/>
                      </a:cubicBezTo>
                      <a:cubicBezTo>
                        <a:pt x="11311" y="0"/>
                        <a:pt x="11075" y="0"/>
                        <a:pt x="10839" y="0"/>
                      </a:cubicBezTo>
                      <a:cubicBezTo>
                        <a:pt x="4870" y="0"/>
                        <a:pt x="0" y="4817"/>
                        <a:pt x="0" y="10800"/>
                      </a:cubicBezTo>
                      <a:cubicBezTo>
                        <a:pt x="0" y="16783"/>
                        <a:pt x="4870" y="21600"/>
                        <a:pt x="10839" y="21600"/>
                      </a:cubicBezTo>
                      <a:cubicBezTo>
                        <a:pt x="16809" y="21600"/>
                        <a:pt x="21600" y="16783"/>
                        <a:pt x="21600" y="10800"/>
                      </a:cubicBezTo>
                      <a:cubicBezTo>
                        <a:pt x="21600" y="7148"/>
                        <a:pt x="19793" y="3885"/>
                        <a:pt x="16966" y="1942"/>
                      </a:cubicBezTo>
                      <a:close/>
                      <a:moveTo>
                        <a:pt x="10839" y="1709"/>
                      </a:moveTo>
                      <a:cubicBezTo>
                        <a:pt x="11860" y="1709"/>
                        <a:pt x="12960" y="3186"/>
                        <a:pt x="13667" y="5594"/>
                      </a:cubicBezTo>
                      <a:cubicBezTo>
                        <a:pt x="11782" y="5750"/>
                        <a:pt x="9897" y="5750"/>
                        <a:pt x="8012" y="5594"/>
                      </a:cubicBezTo>
                      <a:cubicBezTo>
                        <a:pt x="8719" y="3186"/>
                        <a:pt x="9818" y="1709"/>
                        <a:pt x="10839" y="1709"/>
                      </a:cubicBezTo>
                      <a:close/>
                      <a:moveTo>
                        <a:pt x="8169" y="1787"/>
                      </a:moveTo>
                      <a:cubicBezTo>
                        <a:pt x="7540" y="2719"/>
                        <a:pt x="6991" y="3963"/>
                        <a:pt x="6519" y="5439"/>
                      </a:cubicBezTo>
                      <a:cubicBezTo>
                        <a:pt x="5577" y="5283"/>
                        <a:pt x="4556" y="5128"/>
                        <a:pt x="3613" y="4895"/>
                      </a:cubicBezTo>
                      <a:cubicBezTo>
                        <a:pt x="4791" y="3419"/>
                        <a:pt x="6362" y="2331"/>
                        <a:pt x="8169" y="1787"/>
                      </a:cubicBezTo>
                      <a:close/>
                      <a:moveTo>
                        <a:pt x="2749" y="6138"/>
                      </a:moveTo>
                      <a:cubicBezTo>
                        <a:pt x="3927" y="6449"/>
                        <a:pt x="5027" y="6682"/>
                        <a:pt x="6205" y="6837"/>
                      </a:cubicBezTo>
                      <a:cubicBezTo>
                        <a:pt x="6048" y="7847"/>
                        <a:pt x="5969" y="8935"/>
                        <a:pt x="5891" y="10101"/>
                      </a:cubicBezTo>
                      <a:cubicBezTo>
                        <a:pt x="1492" y="10101"/>
                        <a:pt x="1492" y="10101"/>
                        <a:pt x="1492" y="10101"/>
                      </a:cubicBezTo>
                      <a:cubicBezTo>
                        <a:pt x="1649" y="8624"/>
                        <a:pt x="2042" y="7304"/>
                        <a:pt x="2749" y="6138"/>
                      </a:cubicBezTo>
                      <a:close/>
                      <a:moveTo>
                        <a:pt x="2749" y="15462"/>
                      </a:moveTo>
                      <a:cubicBezTo>
                        <a:pt x="2042" y="14296"/>
                        <a:pt x="1649" y="12976"/>
                        <a:pt x="1492" y="11499"/>
                      </a:cubicBezTo>
                      <a:cubicBezTo>
                        <a:pt x="5891" y="11499"/>
                        <a:pt x="5891" y="11499"/>
                        <a:pt x="5891" y="11499"/>
                      </a:cubicBezTo>
                      <a:cubicBezTo>
                        <a:pt x="5969" y="12665"/>
                        <a:pt x="6048" y="13753"/>
                        <a:pt x="6205" y="14763"/>
                      </a:cubicBezTo>
                      <a:cubicBezTo>
                        <a:pt x="5027" y="14918"/>
                        <a:pt x="3927" y="15151"/>
                        <a:pt x="2749" y="15462"/>
                      </a:cubicBezTo>
                      <a:close/>
                      <a:moveTo>
                        <a:pt x="3613" y="16705"/>
                      </a:moveTo>
                      <a:cubicBezTo>
                        <a:pt x="4556" y="16550"/>
                        <a:pt x="5577" y="16317"/>
                        <a:pt x="6519" y="16161"/>
                      </a:cubicBezTo>
                      <a:cubicBezTo>
                        <a:pt x="6991" y="17637"/>
                        <a:pt x="7540" y="18881"/>
                        <a:pt x="8169" y="19813"/>
                      </a:cubicBezTo>
                      <a:cubicBezTo>
                        <a:pt x="6362" y="19269"/>
                        <a:pt x="4791" y="18181"/>
                        <a:pt x="3613" y="16705"/>
                      </a:cubicBezTo>
                      <a:close/>
                      <a:moveTo>
                        <a:pt x="10839" y="19891"/>
                      </a:moveTo>
                      <a:cubicBezTo>
                        <a:pt x="9818" y="19891"/>
                        <a:pt x="8719" y="18414"/>
                        <a:pt x="8012" y="16006"/>
                      </a:cubicBezTo>
                      <a:cubicBezTo>
                        <a:pt x="9897" y="15850"/>
                        <a:pt x="11782" y="15850"/>
                        <a:pt x="13667" y="16006"/>
                      </a:cubicBezTo>
                      <a:cubicBezTo>
                        <a:pt x="12960" y="18414"/>
                        <a:pt x="11860" y="19891"/>
                        <a:pt x="10839" y="19891"/>
                      </a:cubicBezTo>
                      <a:close/>
                      <a:moveTo>
                        <a:pt x="13431" y="19813"/>
                      </a:moveTo>
                      <a:cubicBezTo>
                        <a:pt x="14138" y="18881"/>
                        <a:pt x="14688" y="17637"/>
                        <a:pt x="15081" y="16161"/>
                      </a:cubicBezTo>
                      <a:cubicBezTo>
                        <a:pt x="16102" y="16317"/>
                        <a:pt x="17044" y="16550"/>
                        <a:pt x="18065" y="16705"/>
                      </a:cubicBezTo>
                      <a:cubicBezTo>
                        <a:pt x="16887" y="18181"/>
                        <a:pt x="15316" y="19269"/>
                        <a:pt x="13431" y="19813"/>
                      </a:cubicBezTo>
                      <a:close/>
                      <a:moveTo>
                        <a:pt x="18929" y="15462"/>
                      </a:moveTo>
                      <a:cubicBezTo>
                        <a:pt x="17751" y="15151"/>
                        <a:pt x="16573" y="14918"/>
                        <a:pt x="15395" y="14763"/>
                      </a:cubicBezTo>
                      <a:cubicBezTo>
                        <a:pt x="15552" y="13908"/>
                        <a:pt x="15631" y="13053"/>
                        <a:pt x="15709" y="12121"/>
                      </a:cubicBezTo>
                      <a:cubicBezTo>
                        <a:pt x="15473" y="12199"/>
                        <a:pt x="15238" y="12276"/>
                        <a:pt x="15002" y="12276"/>
                      </a:cubicBezTo>
                      <a:cubicBezTo>
                        <a:pt x="14767" y="12276"/>
                        <a:pt x="14452" y="12199"/>
                        <a:pt x="14217" y="12043"/>
                      </a:cubicBezTo>
                      <a:cubicBezTo>
                        <a:pt x="14217" y="12976"/>
                        <a:pt x="14138" y="13830"/>
                        <a:pt x="13981" y="14607"/>
                      </a:cubicBezTo>
                      <a:cubicBezTo>
                        <a:pt x="11860" y="14374"/>
                        <a:pt x="9818" y="14374"/>
                        <a:pt x="7697" y="14607"/>
                      </a:cubicBezTo>
                      <a:cubicBezTo>
                        <a:pt x="7540" y="13675"/>
                        <a:pt x="7383" y="12665"/>
                        <a:pt x="7383" y="11499"/>
                      </a:cubicBezTo>
                      <a:cubicBezTo>
                        <a:pt x="13667" y="11499"/>
                        <a:pt x="13667" y="11499"/>
                        <a:pt x="13667" y="11499"/>
                      </a:cubicBezTo>
                      <a:cubicBezTo>
                        <a:pt x="13510" y="11266"/>
                        <a:pt x="13353" y="10955"/>
                        <a:pt x="13353" y="10645"/>
                      </a:cubicBezTo>
                      <a:cubicBezTo>
                        <a:pt x="13353" y="10412"/>
                        <a:pt x="13431" y="10256"/>
                        <a:pt x="13510" y="10101"/>
                      </a:cubicBezTo>
                      <a:cubicBezTo>
                        <a:pt x="7383" y="10101"/>
                        <a:pt x="7383" y="10101"/>
                        <a:pt x="7383" y="10101"/>
                      </a:cubicBezTo>
                      <a:cubicBezTo>
                        <a:pt x="7383" y="8935"/>
                        <a:pt x="7540" y="7925"/>
                        <a:pt x="7697" y="6993"/>
                      </a:cubicBezTo>
                      <a:cubicBezTo>
                        <a:pt x="8719" y="7071"/>
                        <a:pt x="9818" y="7148"/>
                        <a:pt x="10839" y="7148"/>
                      </a:cubicBezTo>
                      <a:cubicBezTo>
                        <a:pt x="11860" y="7148"/>
                        <a:pt x="12881" y="7071"/>
                        <a:pt x="13981" y="6993"/>
                      </a:cubicBezTo>
                      <a:cubicBezTo>
                        <a:pt x="14060" y="7692"/>
                        <a:pt x="14217" y="8391"/>
                        <a:pt x="14217" y="9168"/>
                      </a:cubicBezTo>
                      <a:cubicBezTo>
                        <a:pt x="14452" y="9091"/>
                        <a:pt x="14767" y="9013"/>
                        <a:pt x="15002" y="9013"/>
                      </a:cubicBezTo>
                      <a:cubicBezTo>
                        <a:pt x="15238" y="9013"/>
                        <a:pt x="15473" y="9091"/>
                        <a:pt x="15709" y="9168"/>
                      </a:cubicBezTo>
                      <a:cubicBezTo>
                        <a:pt x="15631" y="8314"/>
                        <a:pt x="15552" y="7537"/>
                        <a:pt x="15395" y="6837"/>
                      </a:cubicBezTo>
                      <a:cubicBezTo>
                        <a:pt x="16573" y="6682"/>
                        <a:pt x="17751" y="6449"/>
                        <a:pt x="18929" y="6138"/>
                      </a:cubicBezTo>
                      <a:cubicBezTo>
                        <a:pt x="19636" y="7304"/>
                        <a:pt x="20029" y="8624"/>
                        <a:pt x="20108" y="10101"/>
                      </a:cubicBezTo>
                      <a:cubicBezTo>
                        <a:pt x="16573" y="10101"/>
                        <a:pt x="16573" y="10101"/>
                        <a:pt x="16573" y="10101"/>
                      </a:cubicBezTo>
                      <a:cubicBezTo>
                        <a:pt x="16652" y="10256"/>
                        <a:pt x="16652" y="10412"/>
                        <a:pt x="16652" y="10645"/>
                      </a:cubicBezTo>
                      <a:cubicBezTo>
                        <a:pt x="16652" y="10955"/>
                        <a:pt x="16573" y="11266"/>
                        <a:pt x="16416" y="11499"/>
                      </a:cubicBezTo>
                      <a:cubicBezTo>
                        <a:pt x="20108" y="11499"/>
                        <a:pt x="20108" y="11499"/>
                        <a:pt x="20108" y="11499"/>
                      </a:cubicBezTo>
                      <a:cubicBezTo>
                        <a:pt x="20029" y="12976"/>
                        <a:pt x="19636" y="14296"/>
                        <a:pt x="18929" y="1546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defTabSz="914354"/>
                  <a:endParaRPr>
                    <a:solidFill>
                      <a:srgbClr val="777777"/>
                    </a:solidFill>
                  </a:endParaRPr>
                </a:p>
              </p:txBody>
            </p:sp>
            <p:sp>
              <p:nvSpPr>
                <p:cNvPr id="473" name="Shape 3807"/>
                <p:cNvSpPr/>
                <p:nvPr/>
              </p:nvSpPr>
              <p:spPr>
                <a:xfrm>
                  <a:off x="9877426" y="235743"/>
                  <a:ext cx="314326" cy="39528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cubicBezTo>
                        <a:pt x="4800" y="0"/>
                        <a:pt x="0" y="3823"/>
                        <a:pt x="0" y="8506"/>
                      </a:cubicBezTo>
                      <a:cubicBezTo>
                        <a:pt x="0" y="13285"/>
                        <a:pt x="10800" y="21600"/>
                        <a:pt x="10800" y="21600"/>
                      </a:cubicBezTo>
                      <a:cubicBezTo>
                        <a:pt x="10800" y="21600"/>
                        <a:pt x="21600" y="13285"/>
                        <a:pt x="21600" y="8506"/>
                      </a:cubicBezTo>
                      <a:cubicBezTo>
                        <a:pt x="21600" y="3823"/>
                        <a:pt x="16680" y="0"/>
                        <a:pt x="10800" y="0"/>
                      </a:cubicBezTo>
                      <a:close/>
                      <a:moveTo>
                        <a:pt x="10800" y="12998"/>
                      </a:moveTo>
                      <a:cubicBezTo>
                        <a:pt x="7680" y="12998"/>
                        <a:pt x="5160" y="10991"/>
                        <a:pt x="5160" y="8506"/>
                      </a:cubicBezTo>
                      <a:cubicBezTo>
                        <a:pt x="5160" y="6021"/>
                        <a:pt x="7680" y="4014"/>
                        <a:pt x="10800" y="4014"/>
                      </a:cubicBezTo>
                      <a:cubicBezTo>
                        <a:pt x="13920" y="4014"/>
                        <a:pt x="16440" y="6021"/>
                        <a:pt x="16440" y="8506"/>
                      </a:cubicBezTo>
                      <a:cubicBezTo>
                        <a:pt x="16440" y="10991"/>
                        <a:pt x="13920" y="12998"/>
                        <a:pt x="10800" y="1299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0" tIns="0" rIns="0" bIns="0" numCol="1" anchor="t">
                  <a:noAutofit/>
                </a:bodyPr>
                <a:lstStyle/>
                <a:p>
                  <a:pPr defTabSz="914354"/>
                  <a:endParaRPr>
                    <a:solidFill>
                      <a:srgbClr val="777777"/>
                    </a:solidFill>
                  </a:endParaRPr>
                </a:p>
              </p:txBody>
            </p:sp>
          </p:grpSp>
        </p:grpSp>
        <p:sp>
          <p:nvSpPr>
            <p:cNvPr id="481" name="矩形 480"/>
            <p:cNvSpPr/>
            <p:nvPr/>
          </p:nvSpPr>
          <p:spPr>
            <a:xfrm>
              <a:off x="9548046" y="3217303"/>
              <a:ext cx="2196000" cy="495679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defTabSz="914354"/>
              <a:r>
                <a:rPr lang="zh-CN" altLang="en-US" sz="1100" dirty="0">
                  <a:solidFill>
                    <a:srgbClr val="777777"/>
                  </a:solidFill>
                </a:rPr>
                <a:t>印尼、泰国已搭建本地仓配</a:t>
              </a:r>
              <a:endParaRPr lang="zh-CN" altLang="en-US" sz="1100" dirty="0">
                <a:solidFill>
                  <a:srgbClr val="DA0B1C"/>
                </a:solidFill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9126544" y="3852438"/>
            <a:ext cx="2617505" cy="495679"/>
            <a:chOff x="9126541" y="3852435"/>
            <a:chExt cx="2617505" cy="495679"/>
          </a:xfrm>
        </p:grpSpPr>
        <p:grpSp>
          <p:nvGrpSpPr>
            <p:cNvPr id="11" name="组合 10"/>
            <p:cNvGrpSpPr/>
            <p:nvPr/>
          </p:nvGrpSpPr>
          <p:grpSpPr>
            <a:xfrm>
              <a:off x="9126541" y="3941874"/>
              <a:ext cx="316800" cy="316800"/>
              <a:chOff x="10553210" y="4008270"/>
              <a:chExt cx="316800" cy="316800"/>
            </a:xfrm>
          </p:grpSpPr>
          <p:sp>
            <p:nvSpPr>
              <p:cNvPr id="446" name="Rectangle 22"/>
              <p:cNvSpPr/>
              <p:nvPr/>
            </p:nvSpPr>
            <p:spPr>
              <a:xfrm>
                <a:off x="10553210" y="4008270"/>
                <a:ext cx="316800" cy="316800"/>
              </a:xfrm>
              <a:prstGeom prst="rect">
                <a:avLst/>
              </a:prstGeom>
              <a:solidFill>
                <a:srgbClr val="DA0B1C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4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32" name="Freeform 54"/>
              <p:cNvSpPr>
                <a:spLocks noEditPoints="1"/>
              </p:cNvSpPr>
              <p:nvPr/>
            </p:nvSpPr>
            <p:spPr bwMode="auto">
              <a:xfrm>
                <a:off x="10588137" y="4044193"/>
                <a:ext cx="246946" cy="244955"/>
              </a:xfrm>
              <a:custGeom>
                <a:avLst/>
                <a:gdLst>
                  <a:gd name="T0" fmla="*/ 55 w 249"/>
                  <a:gd name="T1" fmla="*/ 226 h 247"/>
                  <a:gd name="T2" fmla="*/ 3 w 249"/>
                  <a:gd name="T3" fmla="*/ 148 h 247"/>
                  <a:gd name="T4" fmla="*/ 3 w 249"/>
                  <a:gd name="T5" fmla="*/ 101 h 247"/>
                  <a:gd name="T6" fmla="*/ 37 w 249"/>
                  <a:gd name="T7" fmla="*/ 36 h 247"/>
                  <a:gd name="T8" fmla="*/ 113 w 249"/>
                  <a:gd name="T9" fmla="*/ 0 h 247"/>
                  <a:gd name="T10" fmla="*/ 194 w 249"/>
                  <a:gd name="T11" fmla="*/ 21 h 247"/>
                  <a:gd name="T12" fmla="*/ 246 w 249"/>
                  <a:gd name="T13" fmla="*/ 99 h 247"/>
                  <a:gd name="T14" fmla="*/ 233 w 249"/>
                  <a:gd name="T15" fmla="*/ 182 h 247"/>
                  <a:gd name="T16" fmla="*/ 162 w 249"/>
                  <a:gd name="T17" fmla="*/ 242 h 247"/>
                  <a:gd name="T18" fmla="*/ 190 w 249"/>
                  <a:gd name="T19" fmla="*/ 93 h 247"/>
                  <a:gd name="T20" fmla="*/ 215 w 249"/>
                  <a:gd name="T21" fmla="*/ 60 h 247"/>
                  <a:gd name="T22" fmla="*/ 175 w 249"/>
                  <a:gd name="T23" fmla="*/ 65 h 247"/>
                  <a:gd name="T24" fmla="*/ 160 w 249"/>
                  <a:gd name="T25" fmla="*/ 25 h 247"/>
                  <a:gd name="T26" fmla="*/ 123 w 249"/>
                  <a:gd name="T27" fmla="*/ 56 h 247"/>
                  <a:gd name="T28" fmla="*/ 103 w 249"/>
                  <a:gd name="T29" fmla="*/ 58 h 247"/>
                  <a:gd name="T30" fmla="*/ 74 w 249"/>
                  <a:gd name="T31" fmla="*/ 70 h 247"/>
                  <a:gd name="T32" fmla="*/ 47 w 249"/>
                  <a:gd name="T33" fmla="*/ 129 h 247"/>
                  <a:gd name="T34" fmla="*/ 77 w 249"/>
                  <a:gd name="T35" fmla="*/ 135 h 247"/>
                  <a:gd name="T36" fmla="*/ 132 w 249"/>
                  <a:gd name="T37" fmla="*/ 113 h 247"/>
                  <a:gd name="T38" fmla="*/ 90 w 249"/>
                  <a:gd name="T39" fmla="*/ 149 h 247"/>
                  <a:gd name="T40" fmla="*/ 150 w 249"/>
                  <a:gd name="T41" fmla="*/ 125 h 247"/>
                  <a:gd name="T42" fmla="*/ 178 w 249"/>
                  <a:gd name="T43" fmla="*/ 156 h 247"/>
                  <a:gd name="T44" fmla="*/ 182 w 249"/>
                  <a:gd name="T45" fmla="*/ 113 h 247"/>
                  <a:gd name="T46" fmla="*/ 204 w 249"/>
                  <a:gd name="T47" fmla="*/ 160 h 247"/>
                  <a:gd name="T48" fmla="*/ 230 w 249"/>
                  <a:gd name="T49" fmla="*/ 95 h 247"/>
                  <a:gd name="T50" fmla="*/ 34 w 249"/>
                  <a:gd name="T51" fmla="*/ 139 h 247"/>
                  <a:gd name="T52" fmla="*/ 37 w 249"/>
                  <a:gd name="T53" fmla="*/ 190 h 247"/>
                  <a:gd name="T54" fmla="*/ 56 w 249"/>
                  <a:gd name="T55" fmla="*/ 147 h 247"/>
                  <a:gd name="T56" fmla="*/ 154 w 249"/>
                  <a:gd name="T57" fmla="*/ 230 h 247"/>
                  <a:gd name="T58" fmla="*/ 178 w 249"/>
                  <a:gd name="T59" fmla="*/ 179 h 247"/>
                  <a:gd name="T60" fmla="*/ 149 w 249"/>
                  <a:gd name="T61" fmla="*/ 208 h 247"/>
                  <a:gd name="T62" fmla="*/ 207 w 249"/>
                  <a:gd name="T63" fmla="*/ 168 h 247"/>
                  <a:gd name="T64" fmla="*/ 197 w 249"/>
                  <a:gd name="T65" fmla="*/ 183 h 247"/>
                  <a:gd name="T66" fmla="*/ 228 w 249"/>
                  <a:gd name="T67" fmla="*/ 164 h 247"/>
                  <a:gd name="T68" fmla="*/ 143 w 249"/>
                  <a:gd name="T69" fmla="*/ 225 h 247"/>
                  <a:gd name="T70" fmla="*/ 139 w 249"/>
                  <a:gd name="T71" fmla="*/ 208 h 247"/>
                  <a:gd name="T72" fmla="*/ 85 w 249"/>
                  <a:gd name="T73" fmla="*/ 162 h 247"/>
                  <a:gd name="T74" fmla="*/ 54 w 249"/>
                  <a:gd name="T75" fmla="*/ 181 h 247"/>
                  <a:gd name="T76" fmla="*/ 102 w 249"/>
                  <a:gd name="T77" fmla="*/ 231 h 247"/>
                  <a:gd name="T78" fmla="*/ 25 w 249"/>
                  <a:gd name="T79" fmla="*/ 135 h 247"/>
                  <a:gd name="T80" fmla="*/ 16 w 249"/>
                  <a:gd name="T81" fmla="*/ 140 h 247"/>
                  <a:gd name="T82" fmla="*/ 32 w 249"/>
                  <a:gd name="T83" fmla="*/ 112 h 247"/>
                  <a:gd name="T84" fmla="*/ 81 w 249"/>
                  <a:gd name="T85" fmla="*/ 52 h 247"/>
                  <a:gd name="T86" fmla="*/ 47 w 249"/>
                  <a:gd name="T87" fmla="*/ 45 h 247"/>
                  <a:gd name="T88" fmla="*/ 15 w 249"/>
                  <a:gd name="T89" fmla="*/ 112 h 247"/>
                  <a:gd name="T90" fmla="*/ 98 w 249"/>
                  <a:gd name="T91" fmla="*/ 35 h 247"/>
                  <a:gd name="T92" fmla="*/ 142 w 249"/>
                  <a:gd name="T93" fmla="*/ 14 h 247"/>
                  <a:gd name="T94" fmla="*/ 156 w 249"/>
                  <a:gd name="T95" fmla="*/ 116 h 247"/>
                  <a:gd name="T96" fmla="*/ 134 w 249"/>
                  <a:gd name="T97" fmla="*/ 97 h 247"/>
                  <a:gd name="T98" fmla="*/ 147 w 249"/>
                  <a:gd name="T99" fmla="*/ 71 h 247"/>
                  <a:gd name="T100" fmla="*/ 176 w 249"/>
                  <a:gd name="T101" fmla="*/ 79 h 247"/>
                  <a:gd name="T102" fmla="*/ 173 w 249"/>
                  <a:gd name="T103" fmla="*/ 109 h 247"/>
                  <a:gd name="T104" fmla="*/ 151 w 249"/>
                  <a:gd name="T105" fmla="*/ 79 h 247"/>
                  <a:gd name="T106" fmla="*/ 156 w 249"/>
                  <a:gd name="T107" fmla="*/ 108 h 247"/>
                  <a:gd name="T108" fmla="*/ 168 w 249"/>
                  <a:gd name="T109" fmla="*/ 82 h 247"/>
                  <a:gd name="T110" fmla="*/ 150 w 249"/>
                  <a:gd name="T111" fmla="*/ 95 h 247"/>
                  <a:gd name="T112" fmla="*/ 160 w 249"/>
                  <a:gd name="T113" fmla="*/ 84 h 247"/>
                  <a:gd name="T114" fmla="*/ 156 w 249"/>
                  <a:gd name="T115" fmla="*/ 99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49" h="247">
                    <a:moveTo>
                      <a:pt x="125" y="247"/>
                    </a:moveTo>
                    <a:lnTo>
                      <a:pt x="125" y="247"/>
                    </a:lnTo>
                    <a:lnTo>
                      <a:pt x="112" y="247"/>
                    </a:lnTo>
                    <a:lnTo>
                      <a:pt x="99" y="244"/>
                    </a:lnTo>
                    <a:lnTo>
                      <a:pt x="87" y="242"/>
                    </a:lnTo>
                    <a:lnTo>
                      <a:pt x="76" y="238"/>
                    </a:lnTo>
                    <a:lnTo>
                      <a:pt x="65" y="233"/>
                    </a:lnTo>
                    <a:lnTo>
                      <a:pt x="55" y="226"/>
                    </a:lnTo>
                    <a:lnTo>
                      <a:pt x="46" y="218"/>
                    </a:lnTo>
                    <a:lnTo>
                      <a:pt x="37" y="210"/>
                    </a:lnTo>
                    <a:lnTo>
                      <a:pt x="29" y="201"/>
                    </a:lnTo>
                    <a:lnTo>
                      <a:pt x="22" y="192"/>
                    </a:lnTo>
                    <a:lnTo>
                      <a:pt x="16" y="182"/>
                    </a:lnTo>
                    <a:lnTo>
                      <a:pt x="11" y="171"/>
                    </a:lnTo>
                    <a:lnTo>
                      <a:pt x="7" y="160"/>
                    </a:lnTo>
                    <a:lnTo>
                      <a:pt x="3" y="148"/>
                    </a:lnTo>
                    <a:lnTo>
                      <a:pt x="2" y="136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2" y="113"/>
                    </a:lnTo>
                    <a:lnTo>
                      <a:pt x="3" y="104"/>
                    </a:lnTo>
                    <a:lnTo>
                      <a:pt x="3" y="101"/>
                    </a:lnTo>
                    <a:lnTo>
                      <a:pt x="3" y="101"/>
                    </a:lnTo>
                    <a:lnTo>
                      <a:pt x="3" y="101"/>
                    </a:lnTo>
                    <a:lnTo>
                      <a:pt x="3" y="101"/>
                    </a:lnTo>
                    <a:lnTo>
                      <a:pt x="6" y="91"/>
                    </a:lnTo>
                    <a:lnTo>
                      <a:pt x="8" y="80"/>
                    </a:lnTo>
                    <a:lnTo>
                      <a:pt x="12" y="70"/>
                    </a:lnTo>
                    <a:lnTo>
                      <a:pt x="17" y="61"/>
                    </a:lnTo>
                    <a:lnTo>
                      <a:pt x="24" y="52"/>
                    </a:lnTo>
                    <a:lnTo>
                      <a:pt x="30" y="44"/>
                    </a:lnTo>
                    <a:lnTo>
                      <a:pt x="37" y="36"/>
                    </a:lnTo>
                    <a:lnTo>
                      <a:pt x="45" y="28"/>
                    </a:lnTo>
                    <a:lnTo>
                      <a:pt x="54" y="22"/>
                    </a:lnTo>
                    <a:lnTo>
                      <a:pt x="61" y="17"/>
                    </a:lnTo>
                    <a:lnTo>
                      <a:pt x="72" y="12"/>
                    </a:lnTo>
                    <a:lnTo>
                      <a:pt x="81" y="8"/>
                    </a:lnTo>
                    <a:lnTo>
                      <a:pt x="91" y="4"/>
                    </a:lnTo>
                    <a:lnTo>
                      <a:pt x="102" y="1"/>
                    </a:lnTo>
                    <a:lnTo>
                      <a:pt x="113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37" y="0"/>
                    </a:lnTo>
                    <a:lnTo>
                      <a:pt x="150" y="2"/>
                    </a:lnTo>
                    <a:lnTo>
                      <a:pt x="162" y="5"/>
                    </a:lnTo>
                    <a:lnTo>
                      <a:pt x="173" y="9"/>
                    </a:lnTo>
                    <a:lnTo>
                      <a:pt x="184" y="14"/>
                    </a:lnTo>
                    <a:lnTo>
                      <a:pt x="194" y="21"/>
                    </a:lnTo>
                    <a:lnTo>
                      <a:pt x="203" y="27"/>
                    </a:lnTo>
                    <a:lnTo>
                      <a:pt x="212" y="36"/>
                    </a:lnTo>
                    <a:lnTo>
                      <a:pt x="220" y="44"/>
                    </a:lnTo>
                    <a:lnTo>
                      <a:pt x="228" y="54"/>
                    </a:lnTo>
                    <a:lnTo>
                      <a:pt x="233" y="64"/>
                    </a:lnTo>
                    <a:lnTo>
                      <a:pt x="238" y="75"/>
                    </a:lnTo>
                    <a:lnTo>
                      <a:pt x="243" y="87"/>
                    </a:lnTo>
                    <a:lnTo>
                      <a:pt x="246" y="99"/>
                    </a:lnTo>
                    <a:lnTo>
                      <a:pt x="247" y="110"/>
                    </a:lnTo>
                    <a:lnTo>
                      <a:pt x="249" y="123"/>
                    </a:lnTo>
                    <a:lnTo>
                      <a:pt x="249" y="123"/>
                    </a:lnTo>
                    <a:lnTo>
                      <a:pt x="247" y="136"/>
                    </a:lnTo>
                    <a:lnTo>
                      <a:pt x="246" y="148"/>
                    </a:lnTo>
                    <a:lnTo>
                      <a:pt x="243" y="160"/>
                    </a:lnTo>
                    <a:lnTo>
                      <a:pt x="238" y="171"/>
                    </a:lnTo>
                    <a:lnTo>
                      <a:pt x="233" y="182"/>
                    </a:lnTo>
                    <a:lnTo>
                      <a:pt x="228" y="192"/>
                    </a:lnTo>
                    <a:lnTo>
                      <a:pt x="220" y="201"/>
                    </a:lnTo>
                    <a:lnTo>
                      <a:pt x="212" y="210"/>
                    </a:lnTo>
                    <a:lnTo>
                      <a:pt x="203" y="218"/>
                    </a:lnTo>
                    <a:lnTo>
                      <a:pt x="194" y="226"/>
                    </a:lnTo>
                    <a:lnTo>
                      <a:pt x="184" y="233"/>
                    </a:lnTo>
                    <a:lnTo>
                      <a:pt x="173" y="238"/>
                    </a:lnTo>
                    <a:lnTo>
                      <a:pt x="162" y="242"/>
                    </a:lnTo>
                    <a:lnTo>
                      <a:pt x="150" y="244"/>
                    </a:lnTo>
                    <a:lnTo>
                      <a:pt x="137" y="247"/>
                    </a:lnTo>
                    <a:lnTo>
                      <a:pt x="125" y="247"/>
                    </a:lnTo>
                    <a:lnTo>
                      <a:pt x="125" y="247"/>
                    </a:lnTo>
                    <a:close/>
                    <a:moveTo>
                      <a:pt x="189" y="97"/>
                    </a:moveTo>
                    <a:lnTo>
                      <a:pt x="189" y="97"/>
                    </a:lnTo>
                    <a:lnTo>
                      <a:pt x="190" y="93"/>
                    </a:lnTo>
                    <a:lnTo>
                      <a:pt x="190" y="93"/>
                    </a:lnTo>
                    <a:lnTo>
                      <a:pt x="189" y="87"/>
                    </a:lnTo>
                    <a:lnTo>
                      <a:pt x="189" y="87"/>
                    </a:lnTo>
                    <a:lnTo>
                      <a:pt x="208" y="86"/>
                    </a:lnTo>
                    <a:lnTo>
                      <a:pt x="228" y="86"/>
                    </a:lnTo>
                    <a:lnTo>
                      <a:pt x="228" y="86"/>
                    </a:lnTo>
                    <a:lnTo>
                      <a:pt x="224" y="77"/>
                    </a:lnTo>
                    <a:lnTo>
                      <a:pt x="220" y="67"/>
                    </a:lnTo>
                    <a:lnTo>
                      <a:pt x="215" y="60"/>
                    </a:lnTo>
                    <a:lnTo>
                      <a:pt x="208" y="52"/>
                    </a:lnTo>
                    <a:lnTo>
                      <a:pt x="208" y="52"/>
                    </a:lnTo>
                    <a:lnTo>
                      <a:pt x="197" y="58"/>
                    </a:lnTo>
                    <a:lnTo>
                      <a:pt x="189" y="65"/>
                    </a:lnTo>
                    <a:lnTo>
                      <a:pt x="181" y="71"/>
                    </a:lnTo>
                    <a:lnTo>
                      <a:pt x="181" y="71"/>
                    </a:lnTo>
                    <a:lnTo>
                      <a:pt x="175" y="65"/>
                    </a:lnTo>
                    <a:lnTo>
                      <a:pt x="175" y="65"/>
                    </a:lnTo>
                    <a:lnTo>
                      <a:pt x="189" y="52"/>
                    </a:lnTo>
                    <a:lnTo>
                      <a:pt x="201" y="44"/>
                    </a:lnTo>
                    <a:lnTo>
                      <a:pt x="201" y="44"/>
                    </a:lnTo>
                    <a:lnTo>
                      <a:pt x="186" y="32"/>
                    </a:lnTo>
                    <a:lnTo>
                      <a:pt x="178" y="27"/>
                    </a:lnTo>
                    <a:lnTo>
                      <a:pt x="171" y="23"/>
                    </a:lnTo>
                    <a:lnTo>
                      <a:pt x="171" y="23"/>
                    </a:lnTo>
                    <a:lnTo>
                      <a:pt x="160" y="25"/>
                    </a:lnTo>
                    <a:lnTo>
                      <a:pt x="145" y="28"/>
                    </a:lnTo>
                    <a:lnTo>
                      <a:pt x="126" y="34"/>
                    </a:lnTo>
                    <a:lnTo>
                      <a:pt x="117" y="39"/>
                    </a:lnTo>
                    <a:lnTo>
                      <a:pt x="107" y="44"/>
                    </a:lnTo>
                    <a:lnTo>
                      <a:pt x="107" y="44"/>
                    </a:lnTo>
                    <a:lnTo>
                      <a:pt x="107" y="48"/>
                    </a:lnTo>
                    <a:lnTo>
                      <a:pt x="107" y="48"/>
                    </a:lnTo>
                    <a:lnTo>
                      <a:pt x="123" y="56"/>
                    </a:lnTo>
                    <a:lnTo>
                      <a:pt x="138" y="66"/>
                    </a:lnTo>
                    <a:lnTo>
                      <a:pt x="138" y="66"/>
                    </a:lnTo>
                    <a:lnTo>
                      <a:pt x="133" y="71"/>
                    </a:lnTo>
                    <a:lnTo>
                      <a:pt x="133" y="71"/>
                    </a:lnTo>
                    <a:lnTo>
                      <a:pt x="120" y="64"/>
                    </a:lnTo>
                    <a:lnTo>
                      <a:pt x="106" y="56"/>
                    </a:lnTo>
                    <a:lnTo>
                      <a:pt x="106" y="56"/>
                    </a:lnTo>
                    <a:lnTo>
                      <a:pt x="103" y="58"/>
                    </a:lnTo>
                    <a:lnTo>
                      <a:pt x="100" y="60"/>
                    </a:lnTo>
                    <a:lnTo>
                      <a:pt x="98" y="61"/>
                    </a:lnTo>
                    <a:lnTo>
                      <a:pt x="94" y="61"/>
                    </a:lnTo>
                    <a:lnTo>
                      <a:pt x="94" y="61"/>
                    </a:lnTo>
                    <a:lnTo>
                      <a:pt x="90" y="61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74" y="70"/>
                    </a:lnTo>
                    <a:lnTo>
                      <a:pt x="63" y="83"/>
                    </a:lnTo>
                    <a:lnTo>
                      <a:pt x="52" y="97"/>
                    </a:lnTo>
                    <a:lnTo>
                      <a:pt x="43" y="116"/>
                    </a:lnTo>
                    <a:lnTo>
                      <a:pt x="43" y="116"/>
                    </a:lnTo>
                    <a:lnTo>
                      <a:pt x="46" y="119"/>
                    </a:lnTo>
                    <a:lnTo>
                      <a:pt x="47" y="125"/>
                    </a:lnTo>
                    <a:lnTo>
                      <a:pt x="47" y="125"/>
                    </a:lnTo>
                    <a:lnTo>
                      <a:pt x="47" y="129"/>
                    </a:lnTo>
                    <a:lnTo>
                      <a:pt x="46" y="131"/>
                    </a:lnTo>
                    <a:lnTo>
                      <a:pt x="46" y="131"/>
                    </a:lnTo>
                    <a:lnTo>
                      <a:pt x="61" y="139"/>
                    </a:lnTo>
                    <a:lnTo>
                      <a:pt x="61" y="139"/>
                    </a:lnTo>
                    <a:lnTo>
                      <a:pt x="67" y="135"/>
                    </a:lnTo>
                    <a:lnTo>
                      <a:pt x="73" y="134"/>
                    </a:lnTo>
                    <a:lnTo>
                      <a:pt x="73" y="134"/>
                    </a:lnTo>
                    <a:lnTo>
                      <a:pt x="77" y="135"/>
                    </a:lnTo>
                    <a:lnTo>
                      <a:pt x="77" y="135"/>
                    </a:lnTo>
                    <a:lnTo>
                      <a:pt x="87" y="126"/>
                    </a:lnTo>
                    <a:lnTo>
                      <a:pt x="99" y="118"/>
                    </a:lnTo>
                    <a:lnTo>
                      <a:pt x="112" y="110"/>
                    </a:lnTo>
                    <a:lnTo>
                      <a:pt x="126" y="103"/>
                    </a:lnTo>
                    <a:lnTo>
                      <a:pt x="126" y="103"/>
                    </a:lnTo>
                    <a:lnTo>
                      <a:pt x="128" y="108"/>
                    </a:lnTo>
                    <a:lnTo>
                      <a:pt x="132" y="113"/>
                    </a:lnTo>
                    <a:lnTo>
                      <a:pt x="132" y="113"/>
                    </a:lnTo>
                    <a:lnTo>
                      <a:pt x="120" y="118"/>
                    </a:lnTo>
                    <a:lnTo>
                      <a:pt x="108" y="125"/>
                    </a:lnTo>
                    <a:lnTo>
                      <a:pt x="97" y="132"/>
                    </a:lnTo>
                    <a:lnTo>
                      <a:pt x="86" y="140"/>
                    </a:lnTo>
                    <a:lnTo>
                      <a:pt x="86" y="140"/>
                    </a:lnTo>
                    <a:lnTo>
                      <a:pt x="89" y="144"/>
                    </a:lnTo>
                    <a:lnTo>
                      <a:pt x="90" y="149"/>
                    </a:lnTo>
                    <a:lnTo>
                      <a:pt x="90" y="149"/>
                    </a:lnTo>
                    <a:lnTo>
                      <a:pt x="111" y="156"/>
                    </a:lnTo>
                    <a:lnTo>
                      <a:pt x="134" y="160"/>
                    </a:lnTo>
                    <a:lnTo>
                      <a:pt x="134" y="160"/>
                    </a:lnTo>
                    <a:lnTo>
                      <a:pt x="137" y="140"/>
                    </a:lnTo>
                    <a:lnTo>
                      <a:pt x="141" y="121"/>
                    </a:lnTo>
                    <a:lnTo>
                      <a:pt x="141" y="121"/>
                    </a:lnTo>
                    <a:lnTo>
                      <a:pt x="150" y="125"/>
                    </a:lnTo>
                    <a:lnTo>
                      <a:pt x="150" y="125"/>
                    </a:lnTo>
                    <a:lnTo>
                      <a:pt x="146" y="142"/>
                    </a:lnTo>
                    <a:lnTo>
                      <a:pt x="143" y="161"/>
                    </a:lnTo>
                    <a:lnTo>
                      <a:pt x="143" y="161"/>
                    </a:lnTo>
                    <a:lnTo>
                      <a:pt x="159" y="162"/>
                    </a:lnTo>
                    <a:lnTo>
                      <a:pt x="175" y="162"/>
                    </a:lnTo>
                    <a:lnTo>
                      <a:pt x="175" y="162"/>
                    </a:lnTo>
                    <a:lnTo>
                      <a:pt x="178" y="156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0" y="136"/>
                    </a:lnTo>
                    <a:lnTo>
                      <a:pt x="175" y="121"/>
                    </a:lnTo>
                    <a:lnTo>
                      <a:pt x="175" y="121"/>
                    </a:lnTo>
                    <a:lnTo>
                      <a:pt x="178" y="117"/>
                    </a:lnTo>
                    <a:lnTo>
                      <a:pt x="182" y="113"/>
                    </a:lnTo>
                    <a:lnTo>
                      <a:pt x="182" y="113"/>
                    </a:lnTo>
                    <a:lnTo>
                      <a:pt x="186" y="122"/>
                    </a:lnTo>
                    <a:lnTo>
                      <a:pt x="190" y="131"/>
                    </a:lnTo>
                    <a:lnTo>
                      <a:pt x="193" y="142"/>
                    </a:lnTo>
                    <a:lnTo>
                      <a:pt x="195" y="152"/>
                    </a:lnTo>
                    <a:lnTo>
                      <a:pt x="195" y="152"/>
                    </a:lnTo>
                    <a:lnTo>
                      <a:pt x="201" y="155"/>
                    </a:lnTo>
                    <a:lnTo>
                      <a:pt x="204" y="160"/>
                    </a:lnTo>
                    <a:lnTo>
                      <a:pt x="204" y="160"/>
                    </a:lnTo>
                    <a:lnTo>
                      <a:pt x="230" y="155"/>
                    </a:lnTo>
                    <a:lnTo>
                      <a:pt x="230" y="155"/>
                    </a:lnTo>
                    <a:lnTo>
                      <a:pt x="234" y="139"/>
                    </a:lnTo>
                    <a:lnTo>
                      <a:pt x="236" y="123"/>
                    </a:lnTo>
                    <a:lnTo>
                      <a:pt x="236" y="123"/>
                    </a:lnTo>
                    <a:lnTo>
                      <a:pt x="234" y="109"/>
                    </a:lnTo>
                    <a:lnTo>
                      <a:pt x="230" y="95"/>
                    </a:lnTo>
                    <a:lnTo>
                      <a:pt x="230" y="95"/>
                    </a:lnTo>
                    <a:lnTo>
                      <a:pt x="215" y="95"/>
                    </a:lnTo>
                    <a:lnTo>
                      <a:pt x="189" y="97"/>
                    </a:lnTo>
                    <a:lnTo>
                      <a:pt x="189" y="97"/>
                    </a:lnTo>
                    <a:close/>
                    <a:moveTo>
                      <a:pt x="56" y="147"/>
                    </a:moveTo>
                    <a:lnTo>
                      <a:pt x="56" y="147"/>
                    </a:lnTo>
                    <a:lnTo>
                      <a:pt x="39" y="138"/>
                    </a:lnTo>
                    <a:lnTo>
                      <a:pt x="39" y="138"/>
                    </a:lnTo>
                    <a:lnTo>
                      <a:pt x="34" y="139"/>
                    </a:lnTo>
                    <a:lnTo>
                      <a:pt x="34" y="139"/>
                    </a:lnTo>
                    <a:lnTo>
                      <a:pt x="34" y="139"/>
                    </a:lnTo>
                    <a:lnTo>
                      <a:pt x="34" y="139"/>
                    </a:lnTo>
                    <a:lnTo>
                      <a:pt x="30" y="156"/>
                    </a:lnTo>
                    <a:lnTo>
                      <a:pt x="26" y="174"/>
                    </a:lnTo>
                    <a:lnTo>
                      <a:pt x="26" y="174"/>
                    </a:lnTo>
                    <a:lnTo>
                      <a:pt x="32" y="182"/>
                    </a:lnTo>
                    <a:lnTo>
                      <a:pt x="37" y="190"/>
                    </a:lnTo>
                    <a:lnTo>
                      <a:pt x="37" y="190"/>
                    </a:lnTo>
                    <a:lnTo>
                      <a:pt x="43" y="177"/>
                    </a:lnTo>
                    <a:lnTo>
                      <a:pt x="50" y="166"/>
                    </a:lnTo>
                    <a:lnTo>
                      <a:pt x="58" y="156"/>
                    </a:lnTo>
                    <a:lnTo>
                      <a:pt x="58" y="156"/>
                    </a:lnTo>
                    <a:lnTo>
                      <a:pt x="56" y="151"/>
                    </a:lnTo>
                    <a:lnTo>
                      <a:pt x="56" y="151"/>
                    </a:lnTo>
                    <a:lnTo>
                      <a:pt x="56" y="147"/>
                    </a:lnTo>
                    <a:lnTo>
                      <a:pt x="56" y="147"/>
                    </a:lnTo>
                    <a:close/>
                    <a:moveTo>
                      <a:pt x="155" y="216"/>
                    </a:moveTo>
                    <a:lnTo>
                      <a:pt x="155" y="216"/>
                    </a:lnTo>
                    <a:lnTo>
                      <a:pt x="154" y="220"/>
                    </a:lnTo>
                    <a:lnTo>
                      <a:pt x="151" y="223"/>
                    </a:lnTo>
                    <a:lnTo>
                      <a:pt x="151" y="223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68" y="225"/>
                    </a:lnTo>
                    <a:lnTo>
                      <a:pt x="181" y="218"/>
                    </a:lnTo>
                    <a:lnTo>
                      <a:pt x="181" y="218"/>
                    </a:lnTo>
                    <a:lnTo>
                      <a:pt x="185" y="204"/>
                    </a:lnTo>
                    <a:lnTo>
                      <a:pt x="186" y="184"/>
                    </a:lnTo>
                    <a:lnTo>
                      <a:pt x="186" y="184"/>
                    </a:lnTo>
                    <a:lnTo>
                      <a:pt x="182" y="182"/>
                    </a:lnTo>
                    <a:lnTo>
                      <a:pt x="178" y="179"/>
                    </a:lnTo>
                    <a:lnTo>
                      <a:pt x="176" y="175"/>
                    </a:lnTo>
                    <a:lnTo>
                      <a:pt x="175" y="171"/>
                    </a:lnTo>
                    <a:lnTo>
                      <a:pt x="175" y="171"/>
                    </a:lnTo>
                    <a:lnTo>
                      <a:pt x="159" y="171"/>
                    </a:lnTo>
                    <a:lnTo>
                      <a:pt x="143" y="170"/>
                    </a:lnTo>
                    <a:lnTo>
                      <a:pt x="143" y="170"/>
                    </a:lnTo>
                    <a:lnTo>
                      <a:pt x="145" y="188"/>
                    </a:lnTo>
                    <a:lnTo>
                      <a:pt x="149" y="208"/>
                    </a:lnTo>
                    <a:lnTo>
                      <a:pt x="149" y="208"/>
                    </a:lnTo>
                    <a:lnTo>
                      <a:pt x="152" y="210"/>
                    </a:lnTo>
                    <a:lnTo>
                      <a:pt x="154" y="213"/>
                    </a:lnTo>
                    <a:lnTo>
                      <a:pt x="155" y="216"/>
                    </a:lnTo>
                    <a:lnTo>
                      <a:pt x="155" y="216"/>
                    </a:lnTo>
                    <a:close/>
                    <a:moveTo>
                      <a:pt x="228" y="164"/>
                    </a:moveTo>
                    <a:lnTo>
                      <a:pt x="228" y="164"/>
                    </a:lnTo>
                    <a:lnTo>
                      <a:pt x="207" y="168"/>
                    </a:lnTo>
                    <a:lnTo>
                      <a:pt x="207" y="168"/>
                    </a:lnTo>
                    <a:lnTo>
                      <a:pt x="207" y="168"/>
                    </a:lnTo>
                    <a:lnTo>
                      <a:pt x="207" y="168"/>
                    </a:lnTo>
                    <a:lnTo>
                      <a:pt x="207" y="173"/>
                    </a:lnTo>
                    <a:lnTo>
                      <a:pt x="204" y="178"/>
                    </a:lnTo>
                    <a:lnTo>
                      <a:pt x="201" y="181"/>
                    </a:lnTo>
                    <a:lnTo>
                      <a:pt x="197" y="183"/>
                    </a:lnTo>
                    <a:lnTo>
                      <a:pt x="197" y="183"/>
                    </a:lnTo>
                    <a:lnTo>
                      <a:pt x="194" y="197"/>
                    </a:lnTo>
                    <a:lnTo>
                      <a:pt x="191" y="210"/>
                    </a:lnTo>
                    <a:lnTo>
                      <a:pt x="191" y="210"/>
                    </a:lnTo>
                    <a:lnTo>
                      <a:pt x="203" y="201"/>
                    </a:lnTo>
                    <a:lnTo>
                      <a:pt x="212" y="190"/>
                    </a:lnTo>
                    <a:lnTo>
                      <a:pt x="221" y="177"/>
                    </a:lnTo>
                    <a:lnTo>
                      <a:pt x="228" y="164"/>
                    </a:lnTo>
                    <a:lnTo>
                      <a:pt x="228" y="164"/>
                    </a:lnTo>
                    <a:close/>
                    <a:moveTo>
                      <a:pt x="125" y="234"/>
                    </a:moveTo>
                    <a:lnTo>
                      <a:pt x="125" y="234"/>
                    </a:lnTo>
                    <a:lnTo>
                      <a:pt x="136" y="233"/>
                    </a:lnTo>
                    <a:lnTo>
                      <a:pt x="146" y="231"/>
                    </a:lnTo>
                    <a:lnTo>
                      <a:pt x="146" y="231"/>
                    </a:lnTo>
                    <a:lnTo>
                      <a:pt x="143" y="225"/>
                    </a:lnTo>
                    <a:lnTo>
                      <a:pt x="143" y="225"/>
                    </a:lnTo>
                    <a:lnTo>
                      <a:pt x="143" y="225"/>
                    </a:lnTo>
                    <a:lnTo>
                      <a:pt x="143" y="225"/>
                    </a:lnTo>
                    <a:lnTo>
                      <a:pt x="139" y="225"/>
                    </a:lnTo>
                    <a:lnTo>
                      <a:pt x="137" y="222"/>
                    </a:lnTo>
                    <a:lnTo>
                      <a:pt x="136" y="220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6" y="212"/>
                    </a:lnTo>
                    <a:lnTo>
                      <a:pt x="139" y="208"/>
                    </a:lnTo>
                    <a:lnTo>
                      <a:pt x="139" y="208"/>
                    </a:lnTo>
                    <a:lnTo>
                      <a:pt x="136" y="188"/>
                    </a:lnTo>
                    <a:lnTo>
                      <a:pt x="134" y="170"/>
                    </a:lnTo>
                    <a:lnTo>
                      <a:pt x="134" y="170"/>
                    </a:lnTo>
                    <a:lnTo>
                      <a:pt x="110" y="165"/>
                    </a:lnTo>
                    <a:lnTo>
                      <a:pt x="87" y="160"/>
                    </a:lnTo>
                    <a:lnTo>
                      <a:pt x="87" y="160"/>
                    </a:lnTo>
                    <a:lnTo>
                      <a:pt x="85" y="162"/>
                    </a:lnTo>
                    <a:lnTo>
                      <a:pt x="81" y="165"/>
                    </a:lnTo>
                    <a:lnTo>
                      <a:pt x="77" y="166"/>
                    </a:lnTo>
                    <a:lnTo>
                      <a:pt x="73" y="168"/>
                    </a:lnTo>
                    <a:lnTo>
                      <a:pt x="73" y="168"/>
                    </a:lnTo>
                    <a:lnTo>
                      <a:pt x="68" y="166"/>
                    </a:lnTo>
                    <a:lnTo>
                      <a:pt x="63" y="165"/>
                    </a:lnTo>
                    <a:lnTo>
                      <a:pt x="63" y="165"/>
                    </a:lnTo>
                    <a:lnTo>
                      <a:pt x="54" y="181"/>
                    </a:lnTo>
                    <a:lnTo>
                      <a:pt x="45" y="200"/>
                    </a:lnTo>
                    <a:lnTo>
                      <a:pt x="45" y="200"/>
                    </a:lnTo>
                    <a:lnTo>
                      <a:pt x="52" y="207"/>
                    </a:lnTo>
                    <a:lnTo>
                      <a:pt x="61" y="213"/>
                    </a:lnTo>
                    <a:lnTo>
                      <a:pt x="71" y="220"/>
                    </a:lnTo>
                    <a:lnTo>
                      <a:pt x="81" y="225"/>
                    </a:lnTo>
                    <a:lnTo>
                      <a:pt x="91" y="229"/>
                    </a:lnTo>
                    <a:lnTo>
                      <a:pt x="102" y="231"/>
                    </a:lnTo>
                    <a:lnTo>
                      <a:pt x="113" y="233"/>
                    </a:lnTo>
                    <a:lnTo>
                      <a:pt x="125" y="234"/>
                    </a:lnTo>
                    <a:lnTo>
                      <a:pt x="125" y="234"/>
                    </a:lnTo>
                    <a:close/>
                    <a:moveTo>
                      <a:pt x="20" y="157"/>
                    </a:moveTo>
                    <a:lnTo>
                      <a:pt x="20" y="157"/>
                    </a:lnTo>
                    <a:lnTo>
                      <a:pt x="22" y="147"/>
                    </a:lnTo>
                    <a:lnTo>
                      <a:pt x="25" y="135"/>
                    </a:lnTo>
                    <a:lnTo>
                      <a:pt x="25" y="135"/>
                    </a:lnTo>
                    <a:lnTo>
                      <a:pt x="22" y="131"/>
                    </a:lnTo>
                    <a:lnTo>
                      <a:pt x="21" y="126"/>
                    </a:lnTo>
                    <a:lnTo>
                      <a:pt x="21" y="126"/>
                    </a:lnTo>
                    <a:lnTo>
                      <a:pt x="15" y="119"/>
                    </a:lnTo>
                    <a:lnTo>
                      <a:pt x="15" y="119"/>
                    </a:lnTo>
                    <a:lnTo>
                      <a:pt x="15" y="123"/>
                    </a:lnTo>
                    <a:lnTo>
                      <a:pt x="15" y="123"/>
                    </a:lnTo>
                    <a:lnTo>
                      <a:pt x="16" y="140"/>
                    </a:lnTo>
                    <a:lnTo>
                      <a:pt x="20" y="157"/>
                    </a:lnTo>
                    <a:lnTo>
                      <a:pt x="20" y="157"/>
                    </a:lnTo>
                    <a:close/>
                    <a:moveTo>
                      <a:pt x="15" y="112"/>
                    </a:moveTo>
                    <a:lnTo>
                      <a:pt x="15" y="112"/>
                    </a:lnTo>
                    <a:lnTo>
                      <a:pt x="24" y="117"/>
                    </a:lnTo>
                    <a:lnTo>
                      <a:pt x="24" y="117"/>
                    </a:lnTo>
                    <a:lnTo>
                      <a:pt x="28" y="113"/>
                    </a:lnTo>
                    <a:lnTo>
                      <a:pt x="32" y="112"/>
                    </a:lnTo>
                    <a:lnTo>
                      <a:pt x="34" y="112"/>
                    </a:lnTo>
                    <a:lnTo>
                      <a:pt x="34" y="112"/>
                    </a:lnTo>
                    <a:lnTo>
                      <a:pt x="34" y="112"/>
                    </a:lnTo>
                    <a:lnTo>
                      <a:pt x="34" y="112"/>
                    </a:lnTo>
                    <a:lnTo>
                      <a:pt x="43" y="96"/>
                    </a:lnTo>
                    <a:lnTo>
                      <a:pt x="54" y="80"/>
                    </a:lnTo>
                    <a:lnTo>
                      <a:pt x="65" y="66"/>
                    </a:lnTo>
                    <a:lnTo>
                      <a:pt x="81" y="52"/>
                    </a:lnTo>
                    <a:lnTo>
                      <a:pt x="81" y="52"/>
                    </a:lnTo>
                    <a:lnTo>
                      <a:pt x="81" y="48"/>
                    </a:lnTo>
                    <a:lnTo>
                      <a:pt x="81" y="48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55" y="38"/>
                    </a:lnTo>
                    <a:lnTo>
                      <a:pt x="55" y="38"/>
                    </a:lnTo>
                    <a:lnTo>
                      <a:pt x="47" y="45"/>
                    </a:lnTo>
                    <a:lnTo>
                      <a:pt x="39" y="53"/>
                    </a:lnTo>
                    <a:lnTo>
                      <a:pt x="33" y="61"/>
                    </a:lnTo>
                    <a:lnTo>
                      <a:pt x="28" y="70"/>
                    </a:lnTo>
                    <a:lnTo>
                      <a:pt x="22" y="79"/>
                    </a:lnTo>
                    <a:lnTo>
                      <a:pt x="20" y="90"/>
                    </a:lnTo>
                    <a:lnTo>
                      <a:pt x="16" y="100"/>
                    </a:lnTo>
                    <a:lnTo>
                      <a:pt x="15" y="112"/>
                    </a:lnTo>
                    <a:lnTo>
                      <a:pt x="15" y="112"/>
                    </a:lnTo>
                    <a:close/>
                    <a:moveTo>
                      <a:pt x="64" y="31"/>
                    </a:moveTo>
                    <a:lnTo>
                      <a:pt x="64" y="31"/>
                    </a:lnTo>
                    <a:lnTo>
                      <a:pt x="86" y="38"/>
                    </a:lnTo>
                    <a:lnTo>
                      <a:pt x="86" y="38"/>
                    </a:lnTo>
                    <a:lnTo>
                      <a:pt x="90" y="36"/>
                    </a:lnTo>
                    <a:lnTo>
                      <a:pt x="94" y="35"/>
                    </a:lnTo>
                    <a:lnTo>
                      <a:pt x="94" y="35"/>
                    </a:lnTo>
                    <a:lnTo>
                      <a:pt x="98" y="35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15" y="31"/>
                    </a:lnTo>
                    <a:lnTo>
                      <a:pt x="128" y="26"/>
                    </a:lnTo>
                    <a:lnTo>
                      <a:pt x="142" y="21"/>
                    </a:lnTo>
                    <a:lnTo>
                      <a:pt x="158" y="18"/>
                    </a:lnTo>
                    <a:lnTo>
                      <a:pt x="158" y="18"/>
                    </a:lnTo>
                    <a:lnTo>
                      <a:pt x="142" y="14"/>
                    </a:lnTo>
                    <a:lnTo>
                      <a:pt x="125" y="13"/>
                    </a:lnTo>
                    <a:lnTo>
                      <a:pt x="125" y="13"/>
                    </a:lnTo>
                    <a:lnTo>
                      <a:pt x="108" y="14"/>
                    </a:lnTo>
                    <a:lnTo>
                      <a:pt x="93" y="18"/>
                    </a:lnTo>
                    <a:lnTo>
                      <a:pt x="77" y="23"/>
                    </a:lnTo>
                    <a:lnTo>
                      <a:pt x="64" y="31"/>
                    </a:lnTo>
                    <a:lnTo>
                      <a:pt x="64" y="31"/>
                    </a:lnTo>
                    <a:close/>
                    <a:moveTo>
                      <a:pt x="156" y="116"/>
                    </a:moveTo>
                    <a:lnTo>
                      <a:pt x="156" y="116"/>
                    </a:lnTo>
                    <a:lnTo>
                      <a:pt x="152" y="116"/>
                    </a:lnTo>
                    <a:lnTo>
                      <a:pt x="147" y="114"/>
                    </a:lnTo>
                    <a:lnTo>
                      <a:pt x="143" y="112"/>
                    </a:lnTo>
                    <a:lnTo>
                      <a:pt x="141" y="109"/>
                    </a:lnTo>
                    <a:lnTo>
                      <a:pt x="138" y="105"/>
                    </a:lnTo>
                    <a:lnTo>
                      <a:pt x="136" y="101"/>
                    </a:lnTo>
                    <a:lnTo>
                      <a:pt x="134" y="97"/>
                    </a:lnTo>
                    <a:lnTo>
                      <a:pt x="133" y="92"/>
                    </a:lnTo>
                    <a:lnTo>
                      <a:pt x="133" y="92"/>
                    </a:lnTo>
                    <a:lnTo>
                      <a:pt x="134" y="88"/>
                    </a:lnTo>
                    <a:lnTo>
                      <a:pt x="136" y="83"/>
                    </a:lnTo>
                    <a:lnTo>
                      <a:pt x="138" y="79"/>
                    </a:lnTo>
                    <a:lnTo>
                      <a:pt x="141" y="77"/>
                    </a:lnTo>
                    <a:lnTo>
                      <a:pt x="143" y="74"/>
                    </a:lnTo>
                    <a:lnTo>
                      <a:pt x="147" y="71"/>
                    </a:lnTo>
                    <a:lnTo>
                      <a:pt x="152" y="70"/>
                    </a:lnTo>
                    <a:lnTo>
                      <a:pt x="156" y="70"/>
                    </a:lnTo>
                    <a:lnTo>
                      <a:pt x="156" y="70"/>
                    </a:lnTo>
                    <a:lnTo>
                      <a:pt x="162" y="70"/>
                    </a:lnTo>
                    <a:lnTo>
                      <a:pt x="165" y="71"/>
                    </a:lnTo>
                    <a:lnTo>
                      <a:pt x="169" y="74"/>
                    </a:lnTo>
                    <a:lnTo>
                      <a:pt x="173" y="77"/>
                    </a:lnTo>
                    <a:lnTo>
                      <a:pt x="176" y="79"/>
                    </a:lnTo>
                    <a:lnTo>
                      <a:pt x="178" y="83"/>
                    </a:lnTo>
                    <a:lnTo>
                      <a:pt x="180" y="88"/>
                    </a:lnTo>
                    <a:lnTo>
                      <a:pt x="180" y="92"/>
                    </a:lnTo>
                    <a:lnTo>
                      <a:pt x="180" y="92"/>
                    </a:lnTo>
                    <a:lnTo>
                      <a:pt x="180" y="97"/>
                    </a:lnTo>
                    <a:lnTo>
                      <a:pt x="178" y="101"/>
                    </a:lnTo>
                    <a:lnTo>
                      <a:pt x="176" y="105"/>
                    </a:lnTo>
                    <a:lnTo>
                      <a:pt x="173" y="109"/>
                    </a:lnTo>
                    <a:lnTo>
                      <a:pt x="169" y="112"/>
                    </a:lnTo>
                    <a:lnTo>
                      <a:pt x="165" y="114"/>
                    </a:lnTo>
                    <a:lnTo>
                      <a:pt x="162" y="116"/>
                    </a:lnTo>
                    <a:lnTo>
                      <a:pt x="156" y="116"/>
                    </a:lnTo>
                    <a:lnTo>
                      <a:pt x="156" y="116"/>
                    </a:lnTo>
                    <a:close/>
                    <a:moveTo>
                      <a:pt x="156" y="78"/>
                    </a:moveTo>
                    <a:lnTo>
                      <a:pt x="156" y="78"/>
                    </a:lnTo>
                    <a:lnTo>
                      <a:pt x="151" y="79"/>
                    </a:lnTo>
                    <a:lnTo>
                      <a:pt x="146" y="82"/>
                    </a:lnTo>
                    <a:lnTo>
                      <a:pt x="143" y="87"/>
                    </a:lnTo>
                    <a:lnTo>
                      <a:pt x="142" y="92"/>
                    </a:lnTo>
                    <a:lnTo>
                      <a:pt x="142" y="92"/>
                    </a:lnTo>
                    <a:lnTo>
                      <a:pt x="143" y="99"/>
                    </a:lnTo>
                    <a:lnTo>
                      <a:pt x="146" y="104"/>
                    </a:lnTo>
                    <a:lnTo>
                      <a:pt x="151" y="106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3" y="106"/>
                    </a:lnTo>
                    <a:lnTo>
                      <a:pt x="168" y="104"/>
                    </a:lnTo>
                    <a:lnTo>
                      <a:pt x="171" y="99"/>
                    </a:lnTo>
                    <a:lnTo>
                      <a:pt x="172" y="92"/>
                    </a:lnTo>
                    <a:lnTo>
                      <a:pt x="172" y="92"/>
                    </a:lnTo>
                    <a:lnTo>
                      <a:pt x="171" y="87"/>
                    </a:lnTo>
                    <a:lnTo>
                      <a:pt x="168" y="82"/>
                    </a:lnTo>
                    <a:lnTo>
                      <a:pt x="163" y="79"/>
                    </a:lnTo>
                    <a:lnTo>
                      <a:pt x="156" y="78"/>
                    </a:lnTo>
                    <a:lnTo>
                      <a:pt x="156" y="78"/>
                    </a:lnTo>
                    <a:close/>
                    <a:moveTo>
                      <a:pt x="156" y="99"/>
                    </a:moveTo>
                    <a:lnTo>
                      <a:pt x="156" y="99"/>
                    </a:lnTo>
                    <a:lnTo>
                      <a:pt x="154" y="99"/>
                    </a:lnTo>
                    <a:lnTo>
                      <a:pt x="151" y="97"/>
                    </a:lnTo>
                    <a:lnTo>
                      <a:pt x="150" y="95"/>
                    </a:lnTo>
                    <a:lnTo>
                      <a:pt x="150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1" y="86"/>
                    </a:lnTo>
                    <a:lnTo>
                      <a:pt x="154" y="84"/>
                    </a:lnTo>
                    <a:lnTo>
                      <a:pt x="156" y="84"/>
                    </a:lnTo>
                    <a:lnTo>
                      <a:pt x="156" y="84"/>
                    </a:lnTo>
                    <a:lnTo>
                      <a:pt x="160" y="84"/>
                    </a:lnTo>
                    <a:lnTo>
                      <a:pt x="162" y="86"/>
                    </a:lnTo>
                    <a:lnTo>
                      <a:pt x="164" y="88"/>
                    </a:lnTo>
                    <a:lnTo>
                      <a:pt x="164" y="92"/>
                    </a:lnTo>
                    <a:lnTo>
                      <a:pt x="164" y="92"/>
                    </a:lnTo>
                    <a:lnTo>
                      <a:pt x="164" y="95"/>
                    </a:lnTo>
                    <a:lnTo>
                      <a:pt x="162" y="97"/>
                    </a:lnTo>
                    <a:lnTo>
                      <a:pt x="160" y="99"/>
                    </a:lnTo>
                    <a:lnTo>
                      <a:pt x="156" y="99"/>
                    </a:lnTo>
                    <a:lnTo>
                      <a:pt x="156" y="99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54"/>
                <a:endParaRPr lang="zh-CN" alt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482" name="矩形 481"/>
            <p:cNvSpPr/>
            <p:nvPr/>
          </p:nvSpPr>
          <p:spPr>
            <a:xfrm>
              <a:off x="9548046" y="3852435"/>
              <a:ext cx="2196000" cy="495679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defTabSz="914354"/>
              <a:r>
                <a:rPr lang="zh-CN" altLang="en-US" sz="1100" dirty="0">
                  <a:solidFill>
                    <a:srgbClr val="777777"/>
                  </a:solidFill>
                </a:rPr>
                <a:t>跨境网络覆盖</a:t>
              </a:r>
              <a:r>
                <a:rPr lang="en-US" altLang="zh-CN" sz="1100" dirty="0">
                  <a:solidFill>
                    <a:srgbClr val="DA0B1C"/>
                  </a:solidFill>
                </a:rPr>
                <a:t>224</a:t>
              </a:r>
              <a:r>
                <a:rPr lang="zh-CN" altLang="en-US" sz="1100" dirty="0">
                  <a:solidFill>
                    <a:srgbClr val="DA0B1C"/>
                  </a:solidFill>
                </a:rPr>
                <a:t>个</a:t>
              </a:r>
              <a:r>
                <a:rPr lang="zh-CN" altLang="en-US" sz="1100" dirty="0">
                  <a:solidFill>
                    <a:srgbClr val="777777"/>
                  </a:solidFill>
                </a:rPr>
                <a:t>国家和地区</a:t>
              </a:r>
            </a:p>
          </p:txBody>
        </p:sp>
      </p:grpSp>
      <p:sp>
        <p:nvSpPr>
          <p:cNvPr id="489" name="矩形 37"/>
          <p:cNvSpPr/>
          <p:nvPr/>
        </p:nvSpPr>
        <p:spPr>
          <a:xfrm>
            <a:off x="9029160" y="4528905"/>
            <a:ext cx="2793600" cy="1884707"/>
          </a:xfrm>
          <a:prstGeom prst="rect">
            <a:avLst/>
          </a:prstGeom>
          <a:solidFill>
            <a:srgbClr val="F2F2F2">
              <a:alpha val="38824"/>
            </a:srgbClr>
          </a:solidFill>
        </p:spPr>
        <p:txBody>
          <a:bodyPr wrap="square" lIns="0" tIns="143992" rIns="0" bIns="45718" rtlCol="0" anchor="t">
            <a:no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600" dirty="0">
                <a:solidFill>
                  <a:srgbClr val="DA0B1C"/>
                </a:solidFill>
                <a:latin typeface="微软雅黑" panose="020B0503020204020204" pitchFamily="34" charset="-122"/>
              </a:rPr>
              <a:t>规划建设中</a:t>
            </a:r>
          </a:p>
        </p:txBody>
      </p:sp>
      <p:sp>
        <p:nvSpPr>
          <p:cNvPr id="491" name="Rectangle 22"/>
          <p:cNvSpPr/>
          <p:nvPr/>
        </p:nvSpPr>
        <p:spPr>
          <a:xfrm>
            <a:off x="9126541" y="5523761"/>
            <a:ext cx="316800" cy="316800"/>
          </a:xfrm>
          <a:prstGeom prst="rect">
            <a:avLst/>
          </a:prstGeom>
          <a:solidFill>
            <a:srgbClr val="DA0B1C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rtlCol="0" anchor="ctr"/>
          <a:lstStyle/>
          <a:p>
            <a:pPr algn="ctr" defTabSz="914354"/>
            <a:r>
              <a:rPr lang="en-US" altLang="zh-CN" sz="900" b="1" dirty="0">
                <a:solidFill>
                  <a:srgbClr val="FFFFFF"/>
                </a:solidFill>
              </a:rPr>
              <a:t>W&amp;D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493" name="矩形 492"/>
          <p:cNvSpPr/>
          <p:nvPr/>
        </p:nvSpPr>
        <p:spPr>
          <a:xfrm>
            <a:off x="9548047" y="5001863"/>
            <a:ext cx="2196000" cy="1360599"/>
          </a:xfrm>
          <a:prstGeom prst="rect">
            <a:avLst/>
          </a:prstGeom>
        </p:spPr>
        <p:txBody>
          <a:bodyPr wrap="square" lIns="91436" tIns="45718" rIns="91436" bIns="45718" anchor="ctr">
            <a:noAutofit/>
          </a:bodyPr>
          <a:lstStyle/>
          <a:p>
            <a:pPr defTabSz="914354">
              <a:spcBef>
                <a:spcPts val="600"/>
              </a:spcBef>
            </a:pPr>
            <a:r>
              <a:rPr lang="zh-CN" altLang="en-US" sz="1100" dirty="0">
                <a:solidFill>
                  <a:srgbClr val="777777"/>
                </a:solidFill>
              </a:rPr>
              <a:t>在重点布局国家和地区，投建本地仓配基础设施</a:t>
            </a:r>
            <a:endParaRPr lang="en-US" altLang="zh-CN" sz="1100" dirty="0">
              <a:solidFill>
                <a:srgbClr val="777777"/>
              </a:solidFill>
            </a:endParaRPr>
          </a:p>
          <a:p>
            <a:pPr marL="268275" indent="-85721" defTabSz="91435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DA0B1C"/>
                </a:solidFill>
              </a:rPr>
              <a:t>印尼、泰国、越南、马来西亚、哈萨克斯坦</a:t>
            </a:r>
            <a:endParaRPr lang="en-US" altLang="zh-CN" sz="1100" dirty="0">
              <a:solidFill>
                <a:srgbClr val="DA0B1C"/>
              </a:solidFill>
            </a:endParaRPr>
          </a:p>
          <a:p>
            <a:pPr marL="268275" indent="-85721" defTabSz="91435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rgbClr val="DA0B1C"/>
                </a:solidFill>
              </a:rPr>
              <a:t>美国、欧洲</a:t>
            </a:r>
          </a:p>
        </p:txBody>
      </p:sp>
    </p:spTree>
    <p:extLst>
      <p:ext uri="{BB962C8B-B14F-4D97-AF65-F5344CB8AC3E}">
        <p14:creationId xmlns:p14="http://schemas.microsoft.com/office/powerpoint/2010/main" val="476522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719404" y="35201"/>
            <a:ext cx="9025003" cy="8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5718" rIns="91436" bIns="45718" anchor="ctr" anchorCtr="0">
            <a:noAutofit/>
          </a:bodyPr>
          <a:lstStyle/>
          <a:p>
            <a:r>
              <a:rPr lang="zh-CN" altLang="en-US" dirty="0" smtClean="0">
                <a:solidFill>
                  <a:srgbClr val="DA0B1C"/>
                </a:solidFill>
                <a:latin typeface="微软雅黑" panose="020B0503020204020204" pitchFamily="34" charset="-122"/>
                <a:sym typeface="楷体" panose="02010609060101010101" pitchFamily="49" charset="-122"/>
              </a:rPr>
              <a:t>共建全球</a:t>
            </a:r>
            <a:r>
              <a:rPr lang="zh-CN" altLang="en-US" dirty="0">
                <a:solidFill>
                  <a:srgbClr val="DA0B1C"/>
                </a:solidFill>
                <a:latin typeface="微软雅黑" panose="020B0503020204020204" pitchFamily="34" charset="-122"/>
                <a:sym typeface="楷体" panose="02010609060101010101" pitchFamily="49" charset="-122"/>
              </a:rPr>
              <a:t>商业社会可持续发展共生生态</a:t>
            </a:r>
          </a:p>
        </p:txBody>
      </p:sp>
      <p:grpSp>
        <p:nvGrpSpPr>
          <p:cNvPr id="16" name="组合 15"/>
          <p:cNvGrpSpPr/>
          <p:nvPr/>
        </p:nvGrpSpPr>
        <p:grpSpPr>
          <a:xfrm>
            <a:off x="884451" y="1233509"/>
            <a:ext cx="3116663" cy="4902702"/>
            <a:chOff x="469921" y="1233509"/>
            <a:chExt cx="3116663" cy="4902700"/>
          </a:xfrm>
        </p:grpSpPr>
        <p:grpSp>
          <p:nvGrpSpPr>
            <p:cNvPr id="10" name="组合 9"/>
            <p:cNvGrpSpPr/>
            <p:nvPr/>
          </p:nvGrpSpPr>
          <p:grpSpPr>
            <a:xfrm>
              <a:off x="469921" y="1760328"/>
              <a:ext cx="3110468" cy="4375881"/>
              <a:chOff x="469921" y="1649115"/>
              <a:chExt cx="3110468" cy="4375881"/>
            </a:xfrm>
          </p:grpSpPr>
          <p:grpSp>
            <p:nvGrpSpPr>
              <p:cNvPr id="7" name="组合 6"/>
              <p:cNvGrpSpPr/>
              <p:nvPr/>
            </p:nvGrpSpPr>
            <p:grpSpPr>
              <a:xfrm>
                <a:off x="1510706" y="3778621"/>
                <a:ext cx="1055175" cy="570206"/>
                <a:chOff x="4867065" y="1604432"/>
                <a:chExt cx="2488049" cy="1344515"/>
              </a:xfrm>
            </p:grpSpPr>
            <p:sp>
              <p:nvSpPr>
                <p:cNvPr id="55" name="椭圆 54"/>
                <p:cNvSpPr/>
                <p:nvPr/>
              </p:nvSpPr>
              <p:spPr>
                <a:xfrm>
                  <a:off x="4867065" y="1604432"/>
                  <a:ext cx="2488049" cy="1344515"/>
                </a:xfrm>
                <a:prstGeom prst="ellipse">
                  <a:avLst/>
                </a:prstGeom>
                <a:solidFill>
                  <a:srgbClr val="13AE67"/>
                </a:solidFill>
                <a:ln w="38100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5500" b="1" dirty="0">
                    <a:solidFill>
                      <a:prstClr val="white"/>
                    </a:solidFill>
                    <a:latin typeface="微软雅黑" panose="020B0503020204020204" pitchFamily="34" charset="-122"/>
                  </a:endParaRPr>
                </a:p>
              </p:txBody>
            </p:sp>
            <p:pic>
              <p:nvPicPr>
                <p:cNvPr id="54" name="图片 53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87051" y="1868337"/>
                  <a:ext cx="2013432" cy="676572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sp>
            <p:nvSpPr>
              <p:cNvPr id="60" name="等腰三角形 59"/>
              <p:cNvSpPr/>
              <p:nvPr/>
            </p:nvSpPr>
            <p:spPr>
              <a:xfrm>
                <a:off x="979331" y="3050281"/>
                <a:ext cx="2117927" cy="1550482"/>
              </a:xfrm>
              <a:prstGeom prst="triangle">
                <a:avLst/>
              </a:prstGeom>
              <a:noFill/>
              <a:ln w="12700" cap="flat" cmpd="sng" algn="ctr">
                <a:solidFill>
                  <a:srgbClr val="13AE67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54">
                  <a:defRPr/>
                </a:pPr>
                <a:endParaRPr lang="zh-CN" altLang="en-US" sz="1100" kern="0">
                  <a:solidFill>
                    <a:srgbClr val="777777"/>
                  </a:solidFill>
                  <a:latin typeface="Calibri"/>
                  <a:ea typeface="宋体" panose="02010600030101010101" pitchFamily="2" charset="-122"/>
                </a:endParaRPr>
              </a:p>
            </p:txBody>
          </p:sp>
          <p:sp>
            <p:nvSpPr>
              <p:cNvPr id="61" name="椭圆 60"/>
              <p:cNvSpPr/>
              <p:nvPr/>
            </p:nvSpPr>
            <p:spPr>
              <a:xfrm>
                <a:off x="1691303" y="2744720"/>
                <a:ext cx="693977" cy="693978"/>
              </a:xfrm>
              <a:prstGeom prst="ellipse">
                <a:avLst/>
              </a:prstGeom>
              <a:solidFill>
                <a:srgbClr val="13AE67"/>
              </a:solidFill>
              <a:ln w="12700">
                <a:solidFill>
                  <a:sysClr val="window" lastClr="FFFFFF"/>
                </a:solidFill>
              </a:ln>
            </p:spPr>
            <p:txBody>
              <a:bodyPr wrap="square" lIns="0" rIns="0" rtlCol="0" anchor="ctr">
                <a:noAutofit/>
              </a:bodyPr>
              <a:lstStyle/>
              <a:p>
                <a:pPr algn="ctr" defTabSz="914354">
                  <a:defRPr/>
                </a:pPr>
                <a:endParaRPr lang="zh-CN" altLang="en-US" sz="800" kern="0" dirty="0">
                  <a:solidFill>
                    <a:srgbClr val="777777"/>
                  </a:solidFill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  <p:sp>
            <p:nvSpPr>
              <p:cNvPr id="62" name="Shape 3739"/>
              <p:cNvSpPr/>
              <p:nvPr/>
            </p:nvSpPr>
            <p:spPr>
              <a:xfrm>
                <a:off x="1892663" y="2946077"/>
                <a:ext cx="291260" cy="29126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4812" y="0"/>
                      <a:pt x="0" y="4812"/>
                      <a:pt x="0" y="10800"/>
                    </a:cubicBezTo>
                    <a:cubicBezTo>
                      <a:pt x="0" y="16788"/>
                      <a:pt x="4812" y="21600"/>
                      <a:pt x="10800" y="21600"/>
                    </a:cubicBezTo>
                    <a:cubicBezTo>
                      <a:pt x="16788" y="21600"/>
                      <a:pt x="21600" y="16788"/>
                      <a:pt x="21600" y="10800"/>
                    </a:cubicBezTo>
                    <a:cubicBezTo>
                      <a:pt x="21600" y="4812"/>
                      <a:pt x="16788" y="0"/>
                      <a:pt x="10800" y="0"/>
                    </a:cubicBezTo>
                    <a:close/>
                    <a:moveTo>
                      <a:pt x="20103" y="14008"/>
                    </a:moveTo>
                    <a:cubicBezTo>
                      <a:pt x="20103" y="14008"/>
                      <a:pt x="20103" y="14008"/>
                      <a:pt x="20103" y="14115"/>
                    </a:cubicBezTo>
                    <a:cubicBezTo>
                      <a:pt x="20103" y="14115"/>
                      <a:pt x="20103" y="14115"/>
                      <a:pt x="20103" y="14115"/>
                    </a:cubicBezTo>
                    <a:cubicBezTo>
                      <a:pt x="19782" y="14863"/>
                      <a:pt x="19461" y="15505"/>
                      <a:pt x="19141" y="16147"/>
                    </a:cubicBezTo>
                    <a:cubicBezTo>
                      <a:pt x="19034" y="16147"/>
                      <a:pt x="18927" y="16253"/>
                      <a:pt x="18927" y="16253"/>
                    </a:cubicBezTo>
                    <a:cubicBezTo>
                      <a:pt x="18713" y="16253"/>
                      <a:pt x="18606" y="16360"/>
                      <a:pt x="18499" y="16467"/>
                    </a:cubicBezTo>
                    <a:cubicBezTo>
                      <a:pt x="18392" y="16467"/>
                      <a:pt x="18392" y="16360"/>
                      <a:pt x="18285" y="16360"/>
                    </a:cubicBezTo>
                    <a:cubicBezTo>
                      <a:pt x="18178" y="16147"/>
                      <a:pt x="18285" y="16147"/>
                      <a:pt x="18285" y="15933"/>
                    </a:cubicBezTo>
                    <a:cubicBezTo>
                      <a:pt x="18285" y="15826"/>
                      <a:pt x="18285" y="15719"/>
                      <a:pt x="18178" y="15719"/>
                    </a:cubicBezTo>
                    <a:cubicBezTo>
                      <a:pt x="18285" y="15505"/>
                      <a:pt x="18178" y="15291"/>
                      <a:pt x="18178" y="15184"/>
                    </a:cubicBezTo>
                    <a:cubicBezTo>
                      <a:pt x="18178" y="15077"/>
                      <a:pt x="18392" y="15077"/>
                      <a:pt x="18392" y="15077"/>
                    </a:cubicBezTo>
                    <a:cubicBezTo>
                      <a:pt x="18499" y="14970"/>
                      <a:pt x="18499" y="14756"/>
                      <a:pt x="18606" y="14650"/>
                    </a:cubicBezTo>
                    <a:cubicBezTo>
                      <a:pt x="18606" y="14543"/>
                      <a:pt x="18606" y="14650"/>
                      <a:pt x="18713" y="14650"/>
                    </a:cubicBezTo>
                    <a:cubicBezTo>
                      <a:pt x="18820" y="14650"/>
                      <a:pt x="18713" y="14543"/>
                      <a:pt x="18820" y="14436"/>
                    </a:cubicBezTo>
                    <a:cubicBezTo>
                      <a:pt x="18927" y="14436"/>
                      <a:pt x="18927" y="14329"/>
                      <a:pt x="19034" y="14436"/>
                    </a:cubicBezTo>
                    <a:cubicBezTo>
                      <a:pt x="19141" y="14436"/>
                      <a:pt x="19141" y="14222"/>
                      <a:pt x="19141" y="14115"/>
                    </a:cubicBezTo>
                    <a:cubicBezTo>
                      <a:pt x="19248" y="14115"/>
                      <a:pt x="19354" y="14008"/>
                      <a:pt x="19461" y="14008"/>
                    </a:cubicBezTo>
                    <a:cubicBezTo>
                      <a:pt x="19568" y="14008"/>
                      <a:pt x="19568" y="13794"/>
                      <a:pt x="19568" y="13794"/>
                    </a:cubicBezTo>
                    <a:cubicBezTo>
                      <a:pt x="19782" y="13901"/>
                      <a:pt x="19996" y="13794"/>
                      <a:pt x="20210" y="13901"/>
                    </a:cubicBezTo>
                    <a:cubicBezTo>
                      <a:pt x="20210" y="13901"/>
                      <a:pt x="20103" y="14008"/>
                      <a:pt x="20103" y="14008"/>
                    </a:cubicBezTo>
                    <a:close/>
                    <a:moveTo>
                      <a:pt x="3208" y="4491"/>
                    </a:moveTo>
                    <a:cubicBezTo>
                      <a:pt x="3208" y="4491"/>
                      <a:pt x="3208" y="4491"/>
                      <a:pt x="3315" y="4491"/>
                    </a:cubicBezTo>
                    <a:cubicBezTo>
                      <a:pt x="3422" y="4491"/>
                      <a:pt x="3422" y="4384"/>
                      <a:pt x="3529" y="4384"/>
                    </a:cubicBezTo>
                    <a:cubicBezTo>
                      <a:pt x="3529" y="4491"/>
                      <a:pt x="3636" y="4491"/>
                      <a:pt x="3636" y="4598"/>
                    </a:cubicBezTo>
                    <a:cubicBezTo>
                      <a:pt x="3743" y="4491"/>
                      <a:pt x="3743" y="4170"/>
                      <a:pt x="3636" y="4170"/>
                    </a:cubicBezTo>
                    <a:cubicBezTo>
                      <a:pt x="3636" y="4063"/>
                      <a:pt x="3636" y="4063"/>
                      <a:pt x="3636" y="3956"/>
                    </a:cubicBezTo>
                    <a:cubicBezTo>
                      <a:pt x="3850" y="3850"/>
                      <a:pt x="3850" y="4063"/>
                      <a:pt x="3956" y="4063"/>
                    </a:cubicBezTo>
                    <a:cubicBezTo>
                      <a:pt x="3956" y="4170"/>
                      <a:pt x="4063" y="4277"/>
                      <a:pt x="4170" y="4384"/>
                    </a:cubicBezTo>
                    <a:cubicBezTo>
                      <a:pt x="4277" y="4491"/>
                      <a:pt x="4063" y="4491"/>
                      <a:pt x="4170" y="4598"/>
                    </a:cubicBezTo>
                    <a:cubicBezTo>
                      <a:pt x="4277" y="4491"/>
                      <a:pt x="4277" y="4491"/>
                      <a:pt x="4277" y="4384"/>
                    </a:cubicBezTo>
                    <a:cubicBezTo>
                      <a:pt x="4384" y="4277"/>
                      <a:pt x="4170" y="4277"/>
                      <a:pt x="4170" y="4277"/>
                    </a:cubicBezTo>
                    <a:cubicBezTo>
                      <a:pt x="3956" y="4063"/>
                      <a:pt x="4170" y="3743"/>
                      <a:pt x="4277" y="3529"/>
                    </a:cubicBezTo>
                    <a:cubicBezTo>
                      <a:pt x="4384" y="3529"/>
                      <a:pt x="4491" y="3636"/>
                      <a:pt x="4491" y="3850"/>
                    </a:cubicBezTo>
                    <a:cubicBezTo>
                      <a:pt x="4491" y="3636"/>
                      <a:pt x="4812" y="3636"/>
                      <a:pt x="4812" y="3850"/>
                    </a:cubicBezTo>
                    <a:cubicBezTo>
                      <a:pt x="4919" y="3850"/>
                      <a:pt x="4919" y="3743"/>
                      <a:pt x="5133" y="3850"/>
                    </a:cubicBezTo>
                    <a:cubicBezTo>
                      <a:pt x="5133" y="3850"/>
                      <a:pt x="5240" y="3850"/>
                      <a:pt x="5240" y="3956"/>
                    </a:cubicBezTo>
                    <a:cubicBezTo>
                      <a:pt x="5240" y="3956"/>
                      <a:pt x="5347" y="3956"/>
                      <a:pt x="5453" y="3956"/>
                    </a:cubicBezTo>
                    <a:cubicBezTo>
                      <a:pt x="5453" y="4170"/>
                      <a:pt x="5560" y="4170"/>
                      <a:pt x="5667" y="4277"/>
                    </a:cubicBezTo>
                    <a:cubicBezTo>
                      <a:pt x="5560" y="4384"/>
                      <a:pt x="5560" y="4384"/>
                      <a:pt x="5560" y="4384"/>
                    </a:cubicBezTo>
                    <a:cubicBezTo>
                      <a:pt x="5667" y="4491"/>
                      <a:pt x="5667" y="4491"/>
                      <a:pt x="5774" y="4491"/>
                    </a:cubicBezTo>
                    <a:cubicBezTo>
                      <a:pt x="5881" y="4598"/>
                      <a:pt x="5774" y="4705"/>
                      <a:pt x="5881" y="4705"/>
                    </a:cubicBezTo>
                    <a:cubicBezTo>
                      <a:pt x="5881" y="4705"/>
                      <a:pt x="5881" y="4812"/>
                      <a:pt x="5881" y="4919"/>
                    </a:cubicBezTo>
                    <a:cubicBezTo>
                      <a:pt x="5774" y="4812"/>
                      <a:pt x="5774" y="4919"/>
                      <a:pt x="5774" y="5026"/>
                    </a:cubicBezTo>
                    <a:cubicBezTo>
                      <a:pt x="5667" y="5026"/>
                      <a:pt x="5667" y="4919"/>
                      <a:pt x="5560" y="4919"/>
                    </a:cubicBezTo>
                    <a:cubicBezTo>
                      <a:pt x="5560" y="5026"/>
                      <a:pt x="5560" y="5026"/>
                      <a:pt x="5667" y="5133"/>
                    </a:cubicBezTo>
                    <a:cubicBezTo>
                      <a:pt x="5667" y="5347"/>
                      <a:pt x="5560" y="5347"/>
                      <a:pt x="5560" y="5560"/>
                    </a:cubicBezTo>
                    <a:cubicBezTo>
                      <a:pt x="5347" y="5560"/>
                      <a:pt x="5240" y="5240"/>
                      <a:pt x="5026" y="5133"/>
                    </a:cubicBezTo>
                    <a:cubicBezTo>
                      <a:pt x="4919" y="5133"/>
                      <a:pt x="4705" y="5133"/>
                      <a:pt x="4705" y="5026"/>
                    </a:cubicBezTo>
                    <a:cubicBezTo>
                      <a:pt x="4705" y="4812"/>
                      <a:pt x="5133" y="4919"/>
                      <a:pt x="5133" y="4598"/>
                    </a:cubicBezTo>
                    <a:cubicBezTo>
                      <a:pt x="5133" y="4491"/>
                      <a:pt x="4919" y="4491"/>
                      <a:pt x="5026" y="4384"/>
                    </a:cubicBezTo>
                    <a:cubicBezTo>
                      <a:pt x="4919" y="4384"/>
                      <a:pt x="4812" y="4277"/>
                      <a:pt x="4705" y="4384"/>
                    </a:cubicBezTo>
                    <a:cubicBezTo>
                      <a:pt x="4705" y="4277"/>
                      <a:pt x="4598" y="4277"/>
                      <a:pt x="4384" y="4277"/>
                    </a:cubicBezTo>
                    <a:cubicBezTo>
                      <a:pt x="4491" y="4277"/>
                      <a:pt x="4598" y="4277"/>
                      <a:pt x="4598" y="4384"/>
                    </a:cubicBezTo>
                    <a:cubicBezTo>
                      <a:pt x="4598" y="4491"/>
                      <a:pt x="4598" y="4598"/>
                      <a:pt x="4598" y="4812"/>
                    </a:cubicBezTo>
                    <a:cubicBezTo>
                      <a:pt x="4384" y="4812"/>
                      <a:pt x="4277" y="4919"/>
                      <a:pt x="4063" y="4919"/>
                    </a:cubicBezTo>
                    <a:cubicBezTo>
                      <a:pt x="4063" y="5026"/>
                      <a:pt x="4063" y="5026"/>
                      <a:pt x="4063" y="5026"/>
                    </a:cubicBezTo>
                    <a:cubicBezTo>
                      <a:pt x="3956" y="5133"/>
                      <a:pt x="3850" y="5240"/>
                      <a:pt x="3850" y="5347"/>
                    </a:cubicBezTo>
                    <a:cubicBezTo>
                      <a:pt x="3743" y="5453"/>
                      <a:pt x="3636" y="5560"/>
                      <a:pt x="3529" y="5667"/>
                    </a:cubicBezTo>
                    <a:cubicBezTo>
                      <a:pt x="3529" y="5667"/>
                      <a:pt x="3529" y="5774"/>
                      <a:pt x="3422" y="5774"/>
                    </a:cubicBezTo>
                    <a:cubicBezTo>
                      <a:pt x="3422" y="5881"/>
                      <a:pt x="3636" y="5881"/>
                      <a:pt x="3529" y="6095"/>
                    </a:cubicBezTo>
                    <a:cubicBezTo>
                      <a:pt x="3743" y="6095"/>
                      <a:pt x="3850" y="6202"/>
                      <a:pt x="3956" y="6309"/>
                    </a:cubicBezTo>
                    <a:cubicBezTo>
                      <a:pt x="4063" y="6309"/>
                      <a:pt x="4063" y="6202"/>
                      <a:pt x="4063" y="6309"/>
                    </a:cubicBezTo>
                    <a:cubicBezTo>
                      <a:pt x="4170" y="6309"/>
                      <a:pt x="4170" y="6202"/>
                      <a:pt x="4170" y="6309"/>
                    </a:cubicBezTo>
                    <a:cubicBezTo>
                      <a:pt x="4277" y="6416"/>
                      <a:pt x="4277" y="6630"/>
                      <a:pt x="4277" y="6737"/>
                    </a:cubicBezTo>
                    <a:cubicBezTo>
                      <a:pt x="4384" y="6630"/>
                      <a:pt x="4384" y="6416"/>
                      <a:pt x="4491" y="6309"/>
                    </a:cubicBezTo>
                    <a:cubicBezTo>
                      <a:pt x="4491" y="6309"/>
                      <a:pt x="4384" y="6309"/>
                      <a:pt x="4384" y="6202"/>
                    </a:cubicBezTo>
                    <a:cubicBezTo>
                      <a:pt x="4384" y="6095"/>
                      <a:pt x="4491" y="6202"/>
                      <a:pt x="4598" y="6202"/>
                    </a:cubicBezTo>
                    <a:cubicBezTo>
                      <a:pt x="4491" y="5988"/>
                      <a:pt x="4598" y="5774"/>
                      <a:pt x="4598" y="5347"/>
                    </a:cubicBezTo>
                    <a:cubicBezTo>
                      <a:pt x="4705" y="5347"/>
                      <a:pt x="4705" y="5240"/>
                      <a:pt x="4812" y="5347"/>
                    </a:cubicBezTo>
                    <a:cubicBezTo>
                      <a:pt x="4812" y="5347"/>
                      <a:pt x="4812" y="5453"/>
                      <a:pt x="4919" y="5347"/>
                    </a:cubicBezTo>
                    <a:cubicBezTo>
                      <a:pt x="5026" y="5347"/>
                      <a:pt x="5026" y="5560"/>
                      <a:pt x="5240" y="5453"/>
                    </a:cubicBezTo>
                    <a:cubicBezTo>
                      <a:pt x="5240" y="5560"/>
                      <a:pt x="5240" y="5774"/>
                      <a:pt x="5240" y="5881"/>
                    </a:cubicBezTo>
                    <a:cubicBezTo>
                      <a:pt x="5240" y="5988"/>
                      <a:pt x="5347" y="5881"/>
                      <a:pt x="5453" y="5881"/>
                    </a:cubicBezTo>
                    <a:cubicBezTo>
                      <a:pt x="5560" y="5881"/>
                      <a:pt x="5453" y="5774"/>
                      <a:pt x="5453" y="5667"/>
                    </a:cubicBezTo>
                    <a:cubicBezTo>
                      <a:pt x="5667" y="5667"/>
                      <a:pt x="5667" y="5988"/>
                      <a:pt x="5774" y="6095"/>
                    </a:cubicBezTo>
                    <a:cubicBezTo>
                      <a:pt x="5774" y="6202"/>
                      <a:pt x="5774" y="6202"/>
                      <a:pt x="5667" y="6202"/>
                    </a:cubicBezTo>
                    <a:cubicBezTo>
                      <a:pt x="5774" y="6416"/>
                      <a:pt x="5881" y="6416"/>
                      <a:pt x="5881" y="6630"/>
                    </a:cubicBezTo>
                    <a:cubicBezTo>
                      <a:pt x="5988" y="6630"/>
                      <a:pt x="5988" y="6523"/>
                      <a:pt x="6095" y="6630"/>
                    </a:cubicBezTo>
                    <a:cubicBezTo>
                      <a:pt x="6095" y="6844"/>
                      <a:pt x="6095" y="6844"/>
                      <a:pt x="6095" y="7057"/>
                    </a:cubicBezTo>
                    <a:cubicBezTo>
                      <a:pt x="6095" y="7164"/>
                      <a:pt x="6095" y="7271"/>
                      <a:pt x="6202" y="7271"/>
                    </a:cubicBezTo>
                    <a:cubicBezTo>
                      <a:pt x="6202" y="7378"/>
                      <a:pt x="6202" y="7485"/>
                      <a:pt x="6202" y="7592"/>
                    </a:cubicBezTo>
                    <a:cubicBezTo>
                      <a:pt x="6095" y="7592"/>
                      <a:pt x="6095" y="7485"/>
                      <a:pt x="5988" y="7592"/>
                    </a:cubicBezTo>
                    <a:cubicBezTo>
                      <a:pt x="5988" y="7592"/>
                      <a:pt x="5988" y="7485"/>
                      <a:pt x="5988" y="7485"/>
                    </a:cubicBezTo>
                    <a:cubicBezTo>
                      <a:pt x="5881" y="7378"/>
                      <a:pt x="5881" y="7485"/>
                      <a:pt x="5667" y="7485"/>
                    </a:cubicBezTo>
                    <a:cubicBezTo>
                      <a:pt x="5774" y="7271"/>
                      <a:pt x="5988" y="7164"/>
                      <a:pt x="5988" y="6950"/>
                    </a:cubicBezTo>
                    <a:cubicBezTo>
                      <a:pt x="5881" y="6844"/>
                      <a:pt x="5667" y="7164"/>
                      <a:pt x="5560" y="7057"/>
                    </a:cubicBezTo>
                    <a:cubicBezTo>
                      <a:pt x="5560" y="7164"/>
                      <a:pt x="5560" y="7164"/>
                      <a:pt x="5560" y="7271"/>
                    </a:cubicBezTo>
                    <a:cubicBezTo>
                      <a:pt x="5560" y="7271"/>
                      <a:pt x="5453" y="7271"/>
                      <a:pt x="5347" y="7378"/>
                    </a:cubicBezTo>
                    <a:cubicBezTo>
                      <a:pt x="5347" y="7592"/>
                      <a:pt x="5560" y="7485"/>
                      <a:pt x="5667" y="7592"/>
                    </a:cubicBezTo>
                    <a:cubicBezTo>
                      <a:pt x="5560" y="7699"/>
                      <a:pt x="5347" y="7806"/>
                      <a:pt x="5240" y="7806"/>
                    </a:cubicBezTo>
                    <a:cubicBezTo>
                      <a:pt x="5240" y="7699"/>
                      <a:pt x="5347" y="7806"/>
                      <a:pt x="5347" y="7699"/>
                    </a:cubicBezTo>
                    <a:cubicBezTo>
                      <a:pt x="5133" y="7699"/>
                      <a:pt x="5026" y="7806"/>
                      <a:pt x="4812" y="7913"/>
                    </a:cubicBezTo>
                    <a:cubicBezTo>
                      <a:pt x="4812" y="8020"/>
                      <a:pt x="4919" y="8020"/>
                      <a:pt x="4919" y="8127"/>
                    </a:cubicBezTo>
                    <a:cubicBezTo>
                      <a:pt x="4812" y="8127"/>
                      <a:pt x="4705" y="8234"/>
                      <a:pt x="4598" y="8234"/>
                    </a:cubicBezTo>
                    <a:cubicBezTo>
                      <a:pt x="4598" y="8554"/>
                      <a:pt x="4491" y="8448"/>
                      <a:pt x="4491" y="8661"/>
                    </a:cubicBezTo>
                    <a:cubicBezTo>
                      <a:pt x="4491" y="8768"/>
                      <a:pt x="4491" y="8768"/>
                      <a:pt x="4384" y="8768"/>
                    </a:cubicBezTo>
                    <a:cubicBezTo>
                      <a:pt x="4384" y="8875"/>
                      <a:pt x="4384" y="8875"/>
                      <a:pt x="4384" y="8982"/>
                    </a:cubicBezTo>
                    <a:cubicBezTo>
                      <a:pt x="4170" y="8982"/>
                      <a:pt x="3956" y="9196"/>
                      <a:pt x="3956" y="9410"/>
                    </a:cubicBezTo>
                    <a:cubicBezTo>
                      <a:pt x="3956" y="9517"/>
                      <a:pt x="3956" y="9624"/>
                      <a:pt x="4063" y="9624"/>
                    </a:cubicBezTo>
                    <a:cubicBezTo>
                      <a:pt x="3956" y="9731"/>
                      <a:pt x="3956" y="9838"/>
                      <a:pt x="4063" y="10051"/>
                    </a:cubicBezTo>
                    <a:cubicBezTo>
                      <a:pt x="3850" y="10051"/>
                      <a:pt x="3743" y="9945"/>
                      <a:pt x="3850" y="9624"/>
                    </a:cubicBezTo>
                    <a:cubicBezTo>
                      <a:pt x="3743" y="9517"/>
                      <a:pt x="3529" y="9517"/>
                      <a:pt x="3422" y="9517"/>
                    </a:cubicBezTo>
                    <a:cubicBezTo>
                      <a:pt x="3315" y="9517"/>
                      <a:pt x="3422" y="9624"/>
                      <a:pt x="3422" y="9624"/>
                    </a:cubicBezTo>
                    <a:cubicBezTo>
                      <a:pt x="3208" y="9731"/>
                      <a:pt x="3208" y="9517"/>
                      <a:pt x="2994" y="9517"/>
                    </a:cubicBezTo>
                    <a:cubicBezTo>
                      <a:pt x="2887" y="9624"/>
                      <a:pt x="2780" y="9731"/>
                      <a:pt x="2673" y="9731"/>
                    </a:cubicBezTo>
                    <a:cubicBezTo>
                      <a:pt x="2780" y="10051"/>
                      <a:pt x="2459" y="10693"/>
                      <a:pt x="2994" y="10693"/>
                    </a:cubicBezTo>
                    <a:cubicBezTo>
                      <a:pt x="2994" y="10693"/>
                      <a:pt x="2994" y="10479"/>
                      <a:pt x="3101" y="10372"/>
                    </a:cubicBezTo>
                    <a:cubicBezTo>
                      <a:pt x="3208" y="10372"/>
                      <a:pt x="3208" y="10372"/>
                      <a:pt x="3422" y="10372"/>
                    </a:cubicBezTo>
                    <a:cubicBezTo>
                      <a:pt x="3422" y="10586"/>
                      <a:pt x="3315" y="10693"/>
                      <a:pt x="3315" y="10907"/>
                    </a:cubicBezTo>
                    <a:cubicBezTo>
                      <a:pt x="3422" y="10907"/>
                      <a:pt x="3636" y="10907"/>
                      <a:pt x="3743" y="11014"/>
                    </a:cubicBezTo>
                    <a:cubicBezTo>
                      <a:pt x="3743" y="11228"/>
                      <a:pt x="3636" y="11442"/>
                      <a:pt x="3743" y="11655"/>
                    </a:cubicBezTo>
                    <a:cubicBezTo>
                      <a:pt x="3850" y="11655"/>
                      <a:pt x="3850" y="11549"/>
                      <a:pt x="3956" y="11442"/>
                    </a:cubicBezTo>
                    <a:cubicBezTo>
                      <a:pt x="4063" y="11549"/>
                      <a:pt x="4063" y="11549"/>
                      <a:pt x="4063" y="11655"/>
                    </a:cubicBezTo>
                    <a:cubicBezTo>
                      <a:pt x="4170" y="11549"/>
                      <a:pt x="4277" y="11549"/>
                      <a:pt x="4277" y="11335"/>
                    </a:cubicBezTo>
                    <a:cubicBezTo>
                      <a:pt x="4384" y="11335"/>
                      <a:pt x="4491" y="11335"/>
                      <a:pt x="4491" y="11228"/>
                    </a:cubicBezTo>
                    <a:cubicBezTo>
                      <a:pt x="4598" y="11228"/>
                      <a:pt x="4598" y="11335"/>
                      <a:pt x="4705" y="11335"/>
                    </a:cubicBezTo>
                    <a:cubicBezTo>
                      <a:pt x="4705" y="11335"/>
                      <a:pt x="4705" y="11228"/>
                      <a:pt x="4812" y="11228"/>
                    </a:cubicBezTo>
                    <a:cubicBezTo>
                      <a:pt x="4812" y="11442"/>
                      <a:pt x="5026" y="11442"/>
                      <a:pt x="5026" y="11549"/>
                    </a:cubicBezTo>
                    <a:cubicBezTo>
                      <a:pt x="5026" y="11549"/>
                      <a:pt x="5133" y="11549"/>
                      <a:pt x="5133" y="11442"/>
                    </a:cubicBezTo>
                    <a:cubicBezTo>
                      <a:pt x="5240" y="11549"/>
                      <a:pt x="5453" y="11655"/>
                      <a:pt x="5560" y="11762"/>
                    </a:cubicBezTo>
                    <a:cubicBezTo>
                      <a:pt x="5560" y="11869"/>
                      <a:pt x="5667" y="11976"/>
                      <a:pt x="5774" y="12083"/>
                    </a:cubicBezTo>
                    <a:cubicBezTo>
                      <a:pt x="6095" y="11869"/>
                      <a:pt x="6309" y="12404"/>
                      <a:pt x="6202" y="12618"/>
                    </a:cubicBezTo>
                    <a:cubicBezTo>
                      <a:pt x="6202" y="12725"/>
                      <a:pt x="6309" y="12618"/>
                      <a:pt x="6416" y="12618"/>
                    </a:cubicBezTo>
                    <a:cubicBezTo>
                      <a:pt x="6416" y="12832"/>
                      <a:pt x="6630" y="12725"/>
                      <a:pt x="6630" y="12832"/>
                    </a:cubicBezTo>
                    <a:cubicBezTo>
                      <a:pt x="6737" y="12832"/>
                      <a:pt x="6844" y="12832"/>
                      <a:pt x="6950" y="12832"/>
                    </a:cubicBezTo>
                    <a:cubicBezTo>
                      <a:pt x="7057" y="12939"/>
                      <a:pt x="7164" y="12939"/>
                      <a:pt x="7164" y="13046"/>
                    </a:cubicBezTo>
                    <a:cubicBezTo>
                      <a:pt x="7271" y="13046"/>
                      <a:pt x="7271" y="12939"/>
                      <a:pt x="7378" y="13046"/>
                    </a:cubicBezTo>
                    <a:cubicBezTo>
                      <a:pt x="7378" y="13152"/>
                      <a:pt x="7485" y="13259"/>
                      <a:pt x="7485" y="13366"/>
                    </a:cubicBezTo>
                    <a:cubicBezTo>
                      <a:pt x="7485" y="13473"/>
                      <a:pt x="7378" y="13473"/>
                      <a:pt x="7378" y="13580"/>
                    </a:cubicBezTo>
                    <a:cubicBezTo>
                      <a:pt x="7271" y="13687"/>
                      <a:pt x="7378" y="13794"/>
                      <a:pt x="7271" y="13794"/>
                    </a:cubicBezTo>
                    <a:cubicBezTo>
                      <a:pt x="7271" y="13901"/>
                      <a:pt x="7164" y="14008"/>
                      <a:pt x="7164" y="14115"/>
                    </a:cubicBezTo>
                    <a:cubicBezTo>
                      <a:pt x="7164" y="14115"/>
                      <a:pt x="7164" y="14115"/>
                      <a:pt x="7057" y="14115"/>
                    </a:cubicBezTo>
                    <a:cubicBezTo>
                      <a:pt x="7057" y="14222"/>
                      <a:pt x="7057" y="14329"/>
                      <a:pt x="7057" y="14329"/>
                    </a:cubicBezTo>
                    <a:cubicBezTo>
                      <a:pt x="7164" y="14650"/>
                      <a:pt x="6950" y="14863"/>
                      <a:pt x="6950" y="15077"/>
                    </a:cubicBezTo>
                    <a:cubicBezTo>
                      <a:pt x="6844" y="15184"/>
                      <a:pt x="6844" y="15184"/>
                      <a:pt x="6630" y="15184"/>
                    </a:cubicBezTo>
                    <a:cubicBezTo>
                      <a:pt x="6630" y="15291"/>
                      <a:pt x="6523" y="15398"/>
                      <a:pt x="6523" y="15398"/>
                    </a:cubicBezTo>
                    <a:cubicBezTo>
                      <a:pt x="6523" y="15505"/>
                      <a:pt x="6523" y="15612"/>
                      <a:pt x="6523" y="15719"/>
                    </a:cubicBezTo>
                    <a:cubicBezTo>
                      <a:pt x="6416" y="15826"/>
                      <a:pt x="6309" y="15826"/>
                      <a:pt x="6309" y="16040"/>
                    </a:cubicBezTo>
                    <a:cubicBezTo>
                      <a:pt x="6202" y="16040"/>
                      <a:pt x="6202" y="16147"/>
                      <a:pt x="6095" y="16253"/>
                    </a:cubicBezTo>
                    <a:cubicBezTo>
                      <a:pt x="6095" y="16253"/>
                      <a:pt x="6095" y="16253"/>
                      <a:pt x="6095" y="16360"/>
                    </a:cubicBezTo>
                    <a:cubicBezTo>
                      <a:pt x="5988" y="16360"/>
                      <a:pt x="5881" y="16360"/>
                      <a:pt x="5774" y="16360"/>
                    </a:cubicBezTo>
                    <a:cubicBezTo>
                      <a:pt x="5881" y="16467"/>
                      <a:pt x="5881" y="16574"/>
                      <a:pt x="5881" y="16681"/>
                    </a:cubicBezTo>
                    <a:cubicBezTo>
                      <a:pt x="5774" y="16788"/>
                      <a:pt x="5667" y="16895"/>
                      <a:pt x="5560" y="16895"/>
                    </a:cubicBezTo>
                    <a:cubicBezTo>
                      <a:pt x="5453" y="17002"/>
                      <a:pt x="5453" y="17216"/>
                      <a:pt x="5240" y="17109"/>
                    </a:cubicBezTo>
                    <a:cubicBezTo>
                      <a:pt x="5453" y="17216"/>
                      <a:pt x="5347" y="17537"/>
                      <a:pt x="5240" y="17644"/>
                    </a:cubicBezTo>
                    <a:cubicBezTo>
                      <a:pt x="5240" y="17857"/>
                      <a:pt x="5347" y="17750"/>
                      <a:pt x="5347" y="17857"/>
                    </a:cubicBezTo>
                    <a:cubicBezTo>
                      <a:pt x="5347" y="17964"/>
                      <a:pt x="5347" y="18071"/>
                      <a:pt x="5240" y="18071"/>
                    </a:cubicBezTo>
                    <a:cubicBezTo>
                      <a:pt x="5240" y="18178"/>
                      <a:pt x="5133" y="18285"/>
                      <a:pt x="5133" y="18392"/>
                    </a:cubicBezTo>
                    <a:cubicBezTo>
                      <a:pt x="5133" y="18499"/>
                      <a:pt x="5240" y="18499"/>
                      <a:pt x="5240" y="18606"/>
                    </a:cubicBezTo>
                    <a:cubicBezTo>
                      <a:pt x="5240" y="18713"/>
                      <a:pt x="5347" y="18713"/>
                      <a:pt x="5453" y="18713"/>
                    </a:cubicBezTo>
                    <a:cubicBezTo>
                      <a:pt x="5347" y="18927"/>
                      <a:pt x="5133" y="18820"/>
                      <a:pt x="5026" y="18820"/>
                    </a:cubicBezTo>
                    <a:cubicBezTo>
                      <a:pt x="5026" y="18820"/>
                      <a:pt x="4919" y="18713"/>
                      <a:pt x="4919" y="18713"/>
                    </a:cubicBezTo>
                    <a:cubicBezTo>
                      <a:pt x="4919" y="18713"/>
                      <a:pt x="4812" y="18713"/>
                      <a:pt x="4812" y="18713"/>
                    </a:cubicBezTo>
                    <a:cubicBezTo>
                      <a:pt x="4812" y="18606"/>
                      <a:pt x="4812" y="18606"/>
                      <a:pt x="4812" y="18606"/>
                    </a:cubicBezTo>
                    <a:cubicBezTo>
                      <a:pt x="4705" y="18499"/>
                      <a:pt x="4705" y="18285"/>
                      <a:pt x="4598" y="18178"/>
                    </a:cubicBezTo>
                    <a:cubicBezTo>
                      <a:pt x="4705" y="17964"/>
                      <a:pt x="4598" y="17857"/>
                      <a:pt x="4598" y="17537"/>
                    </a:cubicBezTo>
                    <a:cubicBezTo>
                      <a:pt x="4598" y="17430"/>
                      <a:pt x="4491" y="17323"/>
                      <a:pt x="4598" y="17216"/>
                    </a:cubicBezTo>
                    <a:cubicBezTo>
                      <a:pt x="4598" y="17109"/>
                      <a:pt x="4491" y="17216"/>
                      <a:pt x="4491" y="17109"/>
                    </a:cubicBezTo>
                    <a:cubicBezTo>
                      <a:pt x="4598" y="17002"/>
                      <a:pt x="4705" y="17002"/>
                      <a:pt x="4705" y="16788"/>
                    </a:cubicBezTo>
                    <a:cubicBezTo>
                      <a:pt x="4705" y="16681"/>
                      <a:pt x="4598" y="16895"/>
                      <a:pt x="4491" y="16788"/>
                    </a:cubicBezTo>
                    <a:cubicBezTo>
                      <a:pt x="4598" y="16574"/>
                      <a:pt x="4491" y="16147"/>
                      <a:pt x="4705" y="15933"/>
                    </a:cubicBezTo>
                    <a:cubicBezTo>
                      <a:pt x="4705" y="15719"/>
                      <a:pt x="4598" y="15505"/>
                      <a:pt x="4705" y="15398"/>
                    </a:cubicBezTo>
                    <a:cubicBezTo>
                      <a:pt x="4705" y="15291"/>
                      <a:pt x="4705" y="15184"/>
                      <a:pt x="4598" y="15184"/>
                    </a:cubicBezTo>
                    <a:cubicBezTo>
                      <a:pt x="4705" y="15184"/>
                      <a:pt x="4705" y="15077"/>
                      <a:pt x="4705" y="14970"/>
                    </a:cubicBezTo>
                    <a:cubicBezTo>
                      <a:pt x="4705" y="14756"/>
                      <a:pt x="4598" y="14650"/>
                      <a:pt x="4491" y="14436"/>
                    </a:cubicBezTo>
                    <a:cubicBezTo>
                      <a:pt x="4384" y="14436"/>
                      <a:pt x="4277" y="14222"/>
                      <a:pt x="4170" y="14115"/>
                    </a:cubicBezTo>
                    <a:cubicBezTo>
                      <a:pt x="4170" y="14008"/>
                      <a:pt x="4170" y="14008"/>
                      <a:pt x="4170" y="13901"/>
                    </a:cubicBezTo>
                    <a:cubicBezTo>
                      <a:pt x="4063" y="13794"/>
                      <a:pt x="3850" y="13687"/>
                      <a:pt x="3850" y="13473"/>
                    </a:cubicBezTo>
                    <a:cubicBezTo>
                      <a:pt x="3956" y="13366"/>
                      <a:pt x="4063" y="13366"/>
                      <a:pt x="4063" y="13366"/>
                    </a:cubicBezTo>
                    <a:cubicBezTo>
                      <a:pt x="3956" y="13259"/>
                      <a:pt x="3850" y="13259"/>
                      <a:pt x="3850" y="13152"/>
                    </a:cubicBezTo>
                    <a:cubicBezTo>
                      <a:pt x="3956" y="13046"/>
                      <a:pt x="3743" y="12939"/>
                      <a:pt x="3850" y="12618"/>
                    </a:cubicBezTo>
                    <a:cubicBezTo>
                      <a:pt x="3850" y="12511"/>
                      <a:pt x="3956" y="12511"/>
                      <a:pt x="3956" y="12297"/>
                    </a:cubicBezTo>
                    <a:cubicBezTo>
                      <a:pt x="3956" y="12190"/>
                      <a:pt x="4063" y="12190"/>
                      <a:pt x="4063" y="12083"/>
                    </a:cubicBezTo>
                    <a:cubicBezTo>
                      <a:pt x="3956" y="11976"/>
                      <a:pt x="3956" y="11869"/>
                      <a:pt x="3956" y="11762"/>
                    </a:cubicBezTo>
                    <a:cubicBezTo>
                      <a:pt x="3850" y="11762"/>
                      <a:pt x="3850" y="11869"/>
                      <a:pt x="3850" y="11869"/>
                    </a:cubicBezTo>
                    <a:cubicBezTo>
                      <a:pt x="3636" y="11869"/>
                      <a:pt x="3636" y="11655"/>
                      <a:pt x="3422" y="11655"/>
                    </a:cubicBezTo>
                    <a:cubicBezTo>
                      <a:pt x="3422" y="11655"/>
                      <a:pt x="3422" y="11549"/>
                      <a:pt x="3422" y="11549"/>
                    </a:cubicBezTo>
                    <a:cubicBezTo>
                      <a:pt x="3422" y="11442"/>
                      <a:pt x="3315" y="11442"/>
                      <a:pt x="3315" y="11335"/>
                    </a:cubicBezTo>
                    <a:cubicBezTo>
                      <a:pt x="3208" y="11335"/>
                      <a:pt x="3101" y="11228"/>
                      <a:pt x="2994" y="11335"/>
                    </a:cubicBezTo>
                    <a:cubicBezTo>
                      <a:pt x="2994" y="11228"/>
                      <a:pt x="2887" y="11121"/>
                      <a:pt x="2887" y="11014"/>
                    </a:cubicBezTo>
                    <a:cubicBezTo>
                      <a:pt x="2566" y="11121"/>
                      <a:pt x="2352" y="10907"/>
                      <a:pt x="2139" y="10800"/>
                    </a:cubicBezTo>
                    <a:cubicBezTo>
                      <a:pt x="2032" y="10693"/>
                      <a:pt x="1925" y="10479"/>
                      <a:pt x="2032" y="10265"/>
                    </a:cubicBezTo>
                    <a:cubicBezTo>
                      <a:pt x="1925" y="10158"/>
                      <a:pt x="1818" y="10051"/>
                      <a:pt x="1711" y="9945"/>
                    </a:cubicBezTo>
                    <a:cubicBezTo>
                      <a:pt x="1711" y="9838"/>
                      <a:pt x="1711" y="9838"/>
                      <a:pt x="1604" y="9838"/>
                    </a:cubicBezTo>
                    <a:cubicBezTo>
                      <a:pt x="1604" y="10051"/>
                      <a:pt x="1711" y="10051"/>
                      <a:pt x="1711" y="10158"/>
                    </a:cubicBezTo>
                    <a:cubicBezTo>
                      <a:pt x="1604" y="10158"/>
                      <a:pt x="1604" y="10158"/>
                      <a:pt x="1497" y="10158"/>
                    </a:cubicBezTo>
                    <a:cubicBezTo>
                      <a:pt x="1497" y="9945"/>
                      <a:pt x="1390" y="9838"/>
                      <a:pt x="1283" y="9731"/>
                    </a:cubicBezTo>
                    <a:cubicBezTo>
                      <a:pt x="1283" y="9731"/>
                      <a:pt x="1283" y="9624"/>
                      <a:pt x="1283" y="9624"/>
                    </a:cubicBezTo>
                    <a:cubicBezTo>
                      <a:pt x="1176" y="9517"/>
                      <a:pt x="1176" y="9196"/>
                      <a:pt x="1176" y="9089"/>
                    </a:cubicBezTo>
                    <a:cubicBezTo>
                      <a:pt x="1069" y="9089"/>
                      <a:pt x="1069" y="9089"/>
                      <a:pt x="1069" y="8982"/>
                    </a:cubicBezTo>
                    <a:cubicBezTo>
                      <a:pt x="1390" y="7271"/>
                      <a:pt x="2139" y="5774"/>
                      <a:pt x="3208" y="4491"/>
                    </a:cubicBezTo>
                    <a:close/>
                    <a:moveTo>
                      <a:pt x="4384" y="3208"/>
                    </a:moveTo>
                    <a:cubicBezTo>
                      <a:pt x="4919" y="2780"/>
                      <a:pt x="5560" y="2352"/>
                      <a:pt x="6202" y="2032"/>
                    </a:cubicBezTo>
                    <a:cubicBezTo>
                      <a:pt x="6202" y="2032"/>
                      <a:pt x="6309" y="2032"/>
                      <a:pt x="6309" y="2139"/>
                    </a:cubicBezTo>
                    <a:cubicBezTo>
                      <a:pt x="6202" y="2352"/>
                      <a:pt x="5988" y="2246"/>
                      <a:pt x="5881" y="2246"/>
                    </a:cubicBezTo>
                    <a:cubicBezTo>
                      <a:pt x="5774" y="2352"/>
                      <a:pt x="5881" y="2352"/>
                      <a:pt x="5881" y="2459"/>
                    </a:cubicBezTo>
                    <a:cubicBezTo>
                      <a:pt x="5774" y="2459"/>
                      <a:pt x="5667" y="2566"/>
                      <a:pt x="5667" y="2673"/>
                    </a:cubicBezTo>
                    <a:cubicBezTo>
                      <a:pt x="5453" y="2566"/>
                      <a:pt x="5453" y="2780"/>
                      <a:pt x="5240" y="2780"/>
                    </a:cubicBezTo>
                    <a:cubicBezTo>
                      <a:pt x="5240" y="2994"/>
                      <a:pt x="5133" y="2994"/>
                      <a:pt x="5133" y="3208"/>
                    </a:cubicBezTo>
                    <a:cubicBezTo>
                      <a:pt x="5026" y="3208"/>
                      <a:pt x="4919" y="3208"/>
                      <a:pt x="4812" y="3208"/>
                    </a:cubicBezTo>
                    <a:cubicBezTo>
                      <a:pt x="4812" y="3315"/>
                      <a:pt x="5026" y="3208"/>
                      <a:pt x="5026" y="3315"/>
                    </a:cubicBezTo>
                    <a:cubicBezTo>
                      <a:pt x="5026" y="3422"/>
                      <a:pt x="4919" y="3422"/>
                      <a:pt x="4812" y="3422"/>
                    </a:cubicBezTo>
                    <a:cubicBezTo>
                      <a:pt x="4812" y="3743"/>
                      <a:pt x="4491" y="3529"/>
                      <a:pt x="4170" y="3529"/>
                    </a:cubicBezTo>
                    <a:cubicBezTo>
                      <a:pt x="4170" y="3529"/>
                      <a:pt x="4170" y="3422"/>
                      <a:pt x="4170" y="3422"/>
                    </a:cubicBezTo>
                    <a:cubicBezTo>
                      <a:pt x="4170" y="3422"/>
                      <a:pt x="4277" y="3422"/>
                      <a:pt x="4277" y="3315"/>
                    </a:cubicBezTo>
                    <a:cubicBezTo>
                      <a:pt x="4384" y="3422"/>
                      <a:pt x="4491" y="3422"/>
                      <a:pt x="4598" y="3422"/>
                    </a:cubicBezTo>
                    <a:cubicBezTo>
                      <a:pt x="4491" y="3315"/>
                      <a:pt x="4491" y="3208"/>
                      <a:pt x="4384" y="3208"/>
                    </a:cubicBezTo>
                    <a:close/>
                    <a:moveTo>
                      <a:pt x="19568" y="6202"/>
                    </a:moveTo>
                    <a:cubicBezTo>
                      <a:pt x="19461" y="6309"/>
                      <a:pt x="19461" y="6309"/>
                      <a:pt x="19461" y="6416"/>
                    </a:cubicBezTo>
                    <a:cubicBezTo>
                      <a:pt x="19461" y="6523"/>
                      <a:pt x="19568" y="6416"/>
                      <a:pt x="19675" y="6416"/>
                    </a:cubicBezTo>
                    <a:cubicBezTo>
                      <a:pt x="19675" y="6523"/>
                      <a:pt x="19782" y="6630"/>
                      <a:pt x="19782" y="6737"/>
                    </a:cubicBezTo>
                    <a:cubicBezTo>
                      <a:pt x="19782" y="6950"/>
                      <a:pt x="19889" y="7164"/>
                      <a:pt x="19889" y="7378"/>
                    </a:cubicBezTo>
                    <a:cubicBezTo>
                      <a:pt x="19675" y="7485"/>
                      <a:pt x="19675" y="7699"/>
                      <a:pt x="19568" y="7913"/>
                    </a:cubicBezTo>
                    <a:cubicBezTo>
                      <a:pt x="19461" y="7913"/>
                      <a:pt x="19354" y="8020"/>
                      <a:pt x="19354" y="8020"/>
                    </a:cubicBezTo>
                    <a:cubicBezTo>
                      <a:pt x="19248" y="8341"/>
                      <a:pt x="19461" y="8768"/>
                      <a:pt x="19248" y="8982"/>
                    </a:cubicBezTo>
                    <a:cubicBezTo>
                      <a:pt x="19141" y="8875"/>
                      <a:pt x="19034" y="8875"/>
                      <a:pt x="19034" y="8661"/>
                    </a:cubicBezTo>
                    <a:cubicBezTo>
                      <a:pt x="19034" y="8554"/>
                      <a:pt x="18927" y="8448"/>
                      <a:pt x="18820" y="8341"/>
                    </a:cubicBezTo>
                    <a:cubicBezTo>
                      <a:pt x="18606" y="8341"/>
                      <a:pt x="18927" y="8554"/>
                      <a:pt x="18820" y="8554"/>
                    </a:cubicBezTo>
                    <a:cubicBezTo>
                      <a:pt x="18820" y="8661"/>
                      <a:pt x="18713" y="8661"/>
                      <a:pt x="18713" y="8661"/>
                    </a:cubicBezTo>
                    <a:cubicBezTo>
                      <a:pt x="18713" y="8768"/>
                      <a:pt x="18606" y="8768"/>
                      <a:pt x="18606" y="8875"/>
                    </a:cubicBezTo>
                    <a:cubicBezTo>
                      <a:pt x="18606" y="8982"/>
                      <a:pt x="18713" y="8982"/>
                      <a:pt x="18820" y="9089"/>
                    </a:cubicBezTo>
                    <a:cubicBezTo>
                      <a:pt x="18820" y="9196"/>
                      <a:pt x="18820" y="9303"/>
                      <a:pt x="18927" y="9303"/>
                    </a:cubicBezTo>
                    <a:cubicBezTo>
                      <a:pt x="18820" y="9410"/>
                      <a:pt x="18820" y="9624"/>
                      <a:pt x="18820" y="9838"/>
                    </a:cubicBezTo>
                    <a:cubicBezTo>
                      <a:pt x="18713" y="9838"/>
                      <a:pt x="18713" y="9838"/>
                      <a:pt x="18713" y="9838"/>
                    </a:cubicBezTo>
                    <a:cubicBezTo>
                      <a:pt x="18606" y="10158"/>
                      <a:pt x="18499" y="10265"/>
                      <a:pt x="18392" y="10479"/>
                    </a:cubicBezTo>
                    <a:cubicBezTo>
                      <a:pt x="18178" y="10479"/>
                      <a:pt x="18071" y="10479"/>
                      <a:pt x="18071" y="10586"/>
                    </a:cubicBezTo>
                    <a:cubicBezTo>
                      <a:pt x="18071" y="10586"/>
                      <a:pt x="18178" y="10586"/>
                      <a:pt x="18178" y="10693"/>
                    </a:cubicBezTo>
                    <a:cubicBezTo>
                      <a:pt x="18071" y="10693"/>
                      <a:pt x="18071" y="10800"/>
                      <a:pt x="18071" y="10907"/>
                    </a:cubicBezTo>
                    <a:cubicBezTo>
                      <a:pt x="18071" y="11335"/>
                      <a:pt x="17964" y="11655"/>
                      <a:pt x="17644" y="11762"/>
                    </a:cubicBezTo>
                    <a:cubicBezTo>
                      <a:pt x="17644" y="11655"/>
                      <a:pt x="17644" y="11655"/>
                      <a:pt x="17644" y="11549"/>
                    </a:cubicBezTo>
                    <a:cubicBezTo>
                      <a:pt x="17537" y="11549"/>
                      <a:pt x="17430" y="11442"/>
                      <a:pt x="17323" y="11335"/>
                    </a:cubicBezTo>
                    <a:cubicBezTo>
                      <a:pt x="17216" y="11335"/>
                      <a:pt x="17323" y="11549"/>
                      <a:pt x="17323" y="11655"/>
                    </a:cubicBezTo>
                    <a:cubicBezTo>
                      <a:pt x="17323" y="11762"/>
                      <a:pt x="17430" y="11869"/>
                      <a:pt x="17537" y="11869"/>
                    </a:cubicBezTo>
                    <a:cubicBezTo>
                      <a:pt x="17537" y="12190"/>
                      <a:pt x="17750" y="12190"/>
                      <a:pt x="17644" y="12404"/>
                    </a:cubicBezTo>
                    <a:cubicBezTo>
                      <a:pt x="17537" y="12297"/>
                      <a:pt x="17323" y="12190"/>
                      <a:pt x="17216" y="11976"/>
                    </a:cubicBezTo>
                    <a:cubicBezTo>
                      <a:pt x="17216" y="11869"/>
                      <a:pt x="17109" y="11762"/>
                      <a:pt x="17109" y="11655"/>
                    </a:cubicBezTo>
                    <a:cubicBezTo>
                      <a:pt x="17109" y="11549"/>
                      <a:pt x="17216" y="11549"/>
                      <a:pt x="17216" y="11442"/>
                    </a:cubicBezTo>
                    <a:cubicBezTo>
                      <a:pt x="17216" y="11335"/>
                      <a:pt x="17109" y="11335"/>
                      <a:pt x="17002" y="11228"/>
                    </a:cubicBezTo>
                    <a:cubicBezTo>
                      <a:pt x="17109" y="11121"/>
                      <a:pt x="17002" y="11121"/>
                      <a:pt x="17109" y="11014"/>
                    </a:cubicBezTo>
                    <a:cubicBezTo>
                      <a:pt x="17002" y="10907"/>
                      <a:pt x="16788" y="11014"/>
                      <a:pt x="16788" y="10907"/>
                    </a:cubicBezTo>
                    <a:cubicBezTo>
                      <a:pt x="16681" y="10800"/>
                      <a:pt x="16788" y="10800"/>
                      <a:pt x="16788" y="10693"/>
                    </a:cubicBezTo>
                    <a:cubicBezTo>
                      <a:pt x="16681" y="10693"/>
                      <a:pt x="16681" y="10479"/>
                      <a:pt x="16574" y="10372"/>
                    </a:cubicBezTo>
                    <a:cubicBezTo>
                      <a:pt x="16467" y="10372"/>
                      <a:pt x="16360" y="10479"/>
                      <a:pt x="16253" y="10479"/>
                    </a:cubicBezTo>
                    <a:cubicBezTo>
                      <a:pt x="16253" y="10586"/>
                      <a:pt x="16147" y="10693"/>
                      <a:pt x="16147" y="10800"/>
                    </a:cubicBezTo>
                    <a:cubicBezTo>
                      <a:pt x="16040" y="10800"/>
                      <a:pt x="16040" y="11014"/>
                      <a:pt x="15933" y="10907"/>
                    </a:cubicBezTo>
                    <a:cubicBezTo>
                      <a:pt x="15933" y="11014"/>
                      <a:pt x="15933" y="11014"/>
                      <a:pt x="15933" y="11014"/>
                    </a:cubicBezTo>
                    <a:cubicBezTo>
                      <a:pt x="15933" y="11014"/>
                      <a:pt x="15826" y="11014"/>
                      <a:pt x="15826" y="11014"/>
                    </a:cubicBezTo>
                    <a:cubicBezTo>
                      <a:pt x="15826" y="11442"/>
                      <a:pt x="15719" y="11549"/>
                      <a:pt x="15719" y="11762"/>
                    </a:cubicBezTo>
                    <a:cubicBezTo>
                      <a:pt x="15612" y="11762"/>
                      <a:pt x="15505" y="11762"/>
                      <a:pt x="15398" y="11762"/>
                    </a:cubicBezTo>
                    <a:cubicBezTo>
                      <a:pt x="15398" y="11655"/>
                      <a:pt x="15398" y="11655"/>
                      <a:pt x="15398" y="11549"/>
                    </a:cubicBezTo>
                    <a:cubicBezTo>
                      <a:pt x="15398" y="11442"/>
                      <a:pt x="15398" y="11335"/>
                      <a:pt x="15291" y="11228"/>
                    </a:cubicBezTo>
                    <a:cubicBezTo>
                      <a:pt x="15184" y="11121"/>
                      <a:pt x="15184" y="10907"/>
                      <a:pt x="15077" y="10800"/>
                    </a:cubicBezTo>
                    <a:cubicBezTo>
                      <a:pt x="15077" y="10586"/>
                      <a:pt x="15077" y="10586"/>
                      <a:pt x="15077" y="10479"/>
                    </a:cubicBezTo>
                    <a:cubicBezTo>
                      <a:pt x="14970" y="10372"/>
                      <a:pt x="14863" y="10479"/>
                      <a:pt x="14863" y="10372"/>
                    </a:cubicBezTo>
                    <a:cubicBezTo>
                      <a:pt x="14863" y="10372"/>
                      <a:pt x="14863" y="10265"/>
                      <a:pt x="14970" y="10265"/>
                    </a:cubicBezTo>
                    <a:cubicBezTo>
                      <a:pt x="14756" y="10265"/>
                      <a:pt x="14756" y="10051"/>
                      <a:pt x="14543" y="10051"/>
                    </a:cubicBezTo>
                    <a:cubicBezTo>
                      <a:pt x="14436" y="10158"/>
                      <a:pt x="14436" y="10051"/>
                      <a:pt x="14436" y="10051"/>
                    </a:cubicBezTo>
                    <a:cubicBezTo>
                      <a:pt x="14222" y="10051"/>
                      <a:pt x="14222" y="10158"/>
                      <a:pt x="14115" y="10158"/>
                    </a:cubicBezTo>
                    <a:cubicBezTo>
                      <a:pt x="14115" y="10051"/>
                      <a:pt x="14008" y="10051"/>
                      <a:pt x="14008" y="9945"/>
                    </a:cubicBezTo>
                    <a:cubicBezTo>
                      <a:pt x="13687" y="9945"/>
                      <a:pt x="13687" y="9624"/>
                      <a:pt x="13580" y="9410"/>
                    </a:cubicBezTo>
                    <a:cubicBezTo>
                      <a:pt x="13473" y="9410"/>
                      <a:pt x="13473" y="9517"/>
                      <a:pt x="13366" y="9517"/>
                    </a:cubicBezTo>
                    <a:cubicBezTo>
                      <a:pt x="13473" y="9517"/>
                      <a:pt x="13473" y="9731"/>
                      <a:pt x="13580" y="9624"/>
                    </a:cubicBezTo>
                    <a:cubicBezTo>
                      <a:pt x="13580" y="9838"/>
                      <a:pt x="13687" y="9945"/>
                      <a:pt x="13687" y="10051"/>
                    </a:cubicBezTo>
                    <a:cubicBezTo>
                      <a:pt x="13794" y="9945"/>
                      <a:pt x="13794" y="9945"/>
                      <a:pt x="14008" y="9945"/>
                    </a:cubicBezTo>
                    <a:cubicBezTo>
                      <a:pt x="13901" y="10265"/>
                      <a:pt x="14115" y="10265"/>
                      <a:pt x="14115" y="10372"/>
                    </a:cubicBezTo>
                    <a:cubicBezTo>
                      <a:pt x="14115" y="10479"/>
                      <a:pt x="14008" y="10479"/>
                      <a:pt x="14115" y="10693"/>
                    </a:cubicBezTo>
                    <a:cubicBezTo>
                      <a:pt x="13901" y="10693"/>
                      <a:pt x="13901" y="10800"/>
                      <a:pt x="13687" y="10907"/>
                    </a:cubicBezTo>
                    <a:cubicBezTo>
                      <a:pt x="13687" y="10907"/>
                      <a:pt x="13687" y="11014"/>
                      <a:pt x="13687" y="11014"/>
                    </a:cubicBezTo>
                    <a:cubicBezTo>
                      <a:pt x="13366" y="11121"/>
                      <a:pt x="13259" y="11228"/>
                      <a:pt x="13046" y="11335"/>
                    </a:cubicBezTo>
                    <a:cubicBezTo>
                      <a:pt x="12832" y="11228"/>
                      <a:pt x="12832" y="10907"/>
                      <a:pt x="12725" y="10800"/>
                    </a:cubicBezTo>
                    <a:cubicBezTo>
                      <a:pt x="12618" y="10586"/>
                      <a:pt x="12511" y="10372"/>
                      <a:pt x="12404" y="10265"/>
                    </a:cubicBezTo>
                    <a:cubicBezTo>
                      <a:pt x="12404" y="10158"/>
                      <a:pt x="12404" y="9945"/>
                      <a:pt x="12297" y="9945"/>
                    </a:cubicBezTo>
                    <a:cubicBezTo>
                      <a:pt x="12190" y="9945"/>
                      <a:pt x="12297" y="10051"/>
                      <a:pt x="12297" y="10265"/>
                    </a:cubicBezTo>
                    <a:cubicBezTo>
                      <a:pt x="12297" y="10372"/>
                      <a:pt x="12404" y="10372"/>
                      <a:pt x="12511" y="10479"/>
                    </a:cubicBezTo>
                    <a:cubicBezTo>
                      <a:pt x="12404" y="10693"/>
                      <a:pt x="12618" y="10693"/>
                      <a:pt x="12618" y="10907"/>
                    </a:cubicBezTo>
                    <a:cubicBezTo>
                      <a:pt x="12725" y="11121"/>
                      <a:pt x="12939" y="11228"/>
                      <a:pt x="12939" y="11442"/>
                    </a:cubicBezTo>
                    <a:cubicBezTo>
                      <a:pt x="13046" y="11442"/>
                      <a:pt x="13152" y="11442"/>
                      <a:pt x="13152" y="11442"/>
                    </a:cubicBezTo>
                    <a:cubicBezTo>
                      <a:pt x="13366" y="11442"/>
                      <a:pt x="13366" y="11335"/>
                      <a:pt x="13473" y="11335"/>
                    </a:cubicBezTo>
                    <a:cubicBezTo>
                      <a:pt x="13580" y="11442"/>
                      <a:pt x="13473" y="11655"/>
                      <a:pt x="13473" y="11762"/>
                    </a:cubicBezTo>
                    <a:cubicBezTo>
                      <a:pt x="13366" y="11976"/>
                      <a:pt x="13152" y="12297"/>
                      <a:pt x="13046" y="12618"/>
                    </a:cubicBezTo>
                    <a:cubicBezTo>
                      <a:pt x="12939" y="12618"/>
                      <a:pt x="12939" y="12725"/>
                      <a:pt x="12832" y="12725"/>
                    </a:cubicBezTo>
                    <a:cubicBezTo>
                      <a:pt x="12725" y="12939"/>
                      <a:pt x="12725" y="13152"/>
                      <a:pt x="12618" y="13259"/>
                    </a:cubicBezTo>
                    <a:cubicBezTo>
                      <a:pt x="12725" y="13580"/>
                      <a:pt x="12725" y="14008"/>
                      <a:pt x="12618" y="14329"/>
                    </a:cubicBezTo>
                    <a:cubicBezTo>
                      <a:pt x="12404" y="14543"/>
                      <a:pt x="12297" y="14756"/>
                      <a:pt x="12190" y="15184"/>
                    </a:cubicBezTo>
                    <a:cubicBezTo>
                      <a:pt x="12083" y="15184"/>
                      <a:pt x="12083" y="15291"/>
                      <a:pt x="12083" y="15291"/>
                    </a:cubicBezTo>
                    <a:cubicBezTo>
                      <a:pt x="12083" y="15505"/>
                      <a:pt x="11976" y="15505"/>
                      <a:pt x="11976" y="15612"/>
                    </a:cubicBezTo>
                    <a:cubicBezTo>
                      <a:pt x="11869" y="15719"/>
                      <a:pt x="11762" y="15933"/>
                      <a:pt x="11762" y="16147"/>
                    </a:cubicBezTo>
                    <a:cubicBezTo>
                      <a:pt x="11442" y="16147"/>
                      <a:pt x="11228" y="16360"/>
                      <a:pt x="10907" y="16467"/>
                    </a:cubicBezTo>
                    <a:cubicBezTo>
                      <a:pt x="10800" y="16253"/>
                      <a:pt x="10800" y="15826"/>
                      <a:pt x="10693" y="15612"/>
                    </a:cubicBezTo>
                    <a:cubicBezTo>
                      <a:pt x="10693" y="15505"/>
                      <a:pt x="10693" y="15398"/>
                      <a:pt x="10693" y="15291"/>
                    </a:cubicBezTo>
                    <a:cubicBezTo>
                      <a:pt x="10586" y="15077"/>
                      <a:pt x="10479" y="14863"/>
                      <a:pt x="10372" y="14650"/>
                    </a:cubicBezTo>
                    <a:cubicBezTo>
                      <a:pt x="10479" y="14543"/>
                      <a:pt x="10372" y="14222"/>
                      <a:pt x="10479" y="14008"/>
                    </a:cubicBezTo>
                    <a:cubicBezTo>
                      <a:pt x="10479" y="13901"/>
                      <a:pt x="10479" y="13580"/>
                      <a:pt x="10372" y="13473"/>
                    </a:cubicBezTo>
                    <a:cubicBezTo>
                      <a:pt x="10372" y="13259"/>
                      <a:pt x="10265" y="13046"/>
                      <a:pt x="10158" y="12832"/>
                    </a:cubicBezTo>
                    <a:cubicBezTo>
                      <a:pt x="10158" y="12618"/>
                      <a:pt x="10265" y="12511"/>
                      <a:pt x="10265" y="12190"/>
                    </a:cubicBezTo>
                    <a:cubicBezTo>
                      <a:pt x="10158" y="12190"/>
                      <a:pt x="10051" y="12190"/>
                      <a:pt x="10051" y="12297"/>
                    </a:cubicBezTo>
                    <a:cubicBezTo>
                      <a:pt x="9945" y="12297"/>
                      <a:pt x="9838" y="12190"/>
                      <a:pt x="9731" y="12190"/>
                    </a:cubicBezTo>
                    <a:cubicBezTo>
                      <a:pt x="9624" y="12190"/>
                      <a:pt x="9731" y="12083"/>
                      <a:pt x="9624" y="12083"/>
                    </a:cubicBezTo>
                    <a:cubicBezTo>
                      <a:pt x="9517" y="11976"/>
                      <a:pt x="9517" y="12190"/>
                      <a:pt x="9410" y="12190"/>
                    </a:cubicBezTo>
                    <a:cubicBezTo>
                      <a:pt x="9303" y="12190"/>
                      <a:pt x="9089" y="12190"/>
                      <a:pt x="8982" y="12297"/>
                    </a:cubicBezTo>
                    <a:cubicBezTo>
                      <a:pt x="8768" y="12190"/>
                      <a:pt x="8661" y="12083"/>
                      <a:pt x="8554" y="11976"/>
                    </a:cubicBezTo>
                    <a:cubicBezTo>
                      <a:pt x="8448" y="11762"/>
                      <a:pt x="8341" y="11549"/>
                      <a:pt x="8234" y="11442"/>
                    </a:cubicBezTo>
                    <a:cubicBezTo>
                      <a:pt x="8234" y="11121"/>
                      <a:pt x="8234" y="10693"/>
                      <a:pt x="8234" y="10372"/>
                    </a:cubicBezTo>
                    <a:cubicBezTo>
                      <a:pt x="8341" y="10265"/>
                      <a:pt x="8448" y="10158"/>
                      <a:pt x="8448" y="9945"/>
                    </a:cubicBezTo>
                    <a:cubicBezTo>
                      <a:pt x="8448" y="9838"/>
                      <a:pt x="8661" y="9731"/>
                      <a:pt x="8661" y="9624"/>
                    </a:cubicBezTo>
                    <a:cubicBezTo>
                      <a:pt x="8768" y="9410"/>
                      <a:pt x="8768" y="9196"/>
                      <a:pt x="8875" y="8982"/>
                    </a:cubicBezTo>
                    <a:cubicBezTo>
                      <a:pt x="8875" y="8982"/>
                      <a:pt x="9089" y="8875"/>
                      <a:pt x="9089" y="8768"/>
                    </a:cubicBezTo>
                    <a:cubicBezTo>
                      <a:pt x="9196" y="8768"/>
                      <a:pt x="9196" y="8768"/>
                      <a:pt x="9303" y="8875"/>
                    </a:cubicBezTo>
                    <a:cubicBezTo>
                      <a:pt x="9410" y="8768"/>
                      <a:pt x="9624" y="8768"/>
                      <a:pt x="9945" y="8768"/>
                    </a:cubicBezTo>
                    <a:cubicBezTo>
                      <a:pt x="10051" y="8661"/>
                      <a:pt x="10158" y="8661"/>
                      <a:pt x="10372" y="8661"/>
                    </a:cubicBezTo>
                    <a:cubicBezTo>
                      <a:pt x="10479" y="8661"/>
                      <a:pt x="10479" y="8768"/>
                      <a:pt x="10372" y="8768"/>
                    </a:cubicBezTo>
                    <a:cubicBezTo>
                      <a:pt x="10372" y="8875"/>
                      <a:pt x="10479" y="8875"/>
                      <a:pt x="10479" y="8982"/>
                    </a:cubicBezTo>
                    <a:cubicBezTo>
                      <a:pt x="10586" y="9196"/>
                      <a:pt x="10907" y="9196"/>
                      <a:pt x="11014" y="9410"/>
                    </a:cubicBezTo>
                    <a:cubicBezTo>
                      <a:pt x="11121" y="9410"/>
                      <a:pt x="11121" y="9196"/>
                      <a:pt x="11228" y="9196"/>
                    </a:cubicBezTo>
                    <a:cubicBezTo>
                      <a:pt x="11549" y="9196"/>
                      <a:pt x="11762" y="9196"/>
                      <a:pt x="12083" y="9303"/>
                    </a:cubicBezTo>
                    <a:cubicBezTo>
                      <a:pt x="12190" y="9303"/>
                      <a:pt x="12083" y="9089"/>
                      <a:pt x="12190" y="8982"/>
                    </a:cubicBezTo>
                    <a:cubicBezTo>
                      <a:pt x="12190" y="8875"/>
                      <a:pt x="12190" y="8875"/>
                      <a:pt x="12190" y="8768"/>
                    </a:cubicBezTo>
                    <a:cubicBezTo>
                      <a:pt x="12083" y="8661"/>
                      <a:pt x="12190" y="8982"/>
                      <a:pt x="12083" y="8982"/>
                    </a:cubicBezTo>
                    <a:cubicBezTo>
                      <a:pt x="11869" y="8982"/>
                      <a:pt x="12083" y="8768"/>
                      <a:pt x="11976" y="8768"/>
                    </a:cubicBezTo>
                    <a:cubicBezTo>
                      <a:pt x="11869" y="8768"/>
                      <a:pt x="11655" y="8875"/>
                      <a:pt x="11549" y="8768"/>
                    </a:cubicBezTo>
                    <a:cubicBezTo>
                      <a:pt x="11549" y="8661"/>
                      <a:pt x="11549" y="8554"/>
                      <a:pt x="11442" y="8554"/>
                    </a:cubicBezTo>
                    <a:cubicBezTo>
                      <a:pt x="11442" y="8448"/>
                      <a:pt x="11442" y="8448"/>
                      <a:pt x="11442" y="8234"/>
                    </a:cubicBezTo>
                    <a:cubicBezTo>
                      <a:pt x="11442" y="8234"/>
                      <a:pt x="11442" y="8234"/>
                      <a:pt x="11335" y="8234"/>
                    </a:cubicBezTo>
                    <a:cubicBezTo>
                      <a:pt x="11335" y="8448"/>
                      <a:pt x="11442" y="8661"/>
                      <a:pt x="11335" y="8768"/>
                    </a:cubicBezTo>
                    <a:cubicBezTo>
                      <a:pt x="11442" y="8768"/>
                      <a:pt x="11549" y="8768"/>
                      <a:pt x="11549" y="8875"/>
                    </a:cubicBezTo>
                    <a:cubicBezTo>
                      <a:pt x="11442" y="8768"/>
                      <a:pt x="11335" y="8875"/>
                      <a:pt x="11335" y="8768"/>
                    </a:cubicBezTo>
                    <a:cubicBezTo>
                      <a:pt x="11335" y="8768"/>
                      <a:pt x="11335" y="8768"/>
                      <a:pt x="11335" y="8768"/>
                    </a:cubicBezTo>
                    <a:cubicBezTo>
                      <a:pt x="11228" y="8768"/>
                      <a:pt x="11121" y="8768"/>
                      <a:pt x="11121" y="8661"/>
                    </a:cubicBezTo>
                    <a:cubicBezTo>
                      <a:pt x="11121" y="8661"/>
                      <a:pt x="11121" y="8554"/>
                      <a:pt x="11121" y="8448"/>
                    </a:cubicBezTo>
                    <a:cubicBezTo>
                      <a:pt x="11121" y="8448"/>
                      <a:pt x="11121" y="8341"/>
                      <a:pt x="11014" y="8341"/>
                    </a:cubicBezTo>
                    <a:cubicBezTo>
                      <a:pt x="11014" y="8234"/>
                      <a:pt x="11014" y="8234"/>
                      <a:pt x="11014" y="8127"/>
                    </a:cubicBezTo>
                    <a:cubicBezTo>
                      <a:pt x="10907" y="8020"/>
                      <a:pt x="10693" y="7913"/>
                      <a:pt x="10586" y="7699"/>
                    </a:cubicBezTo>
                    <a:cubicBezTo>
                      <a:pt x="10479" y="8020"/>
                      <a:pt x="10907" y="8127"/>
                      <a:pt x="11014" y="8234"/>
                    </a:cubicBezTo>
                    <a:cubicBezTo>
                      <a:pt x="10907" y="8448"/>
                      <a:pt x="10907" y="8127"/>
                      <a:pt x="10800" y="8234"/>
                    </a:cubicBezTo>
                    <a:cubicBezTo>
                      <a:pt x="10800" y="8341"/>
                      <a:pt x="10907" y="8341"/>
                      <a:pt x="10907" y="8448"/>
                    </a:cubicBezTo>
                    <a:cubicBezTo>
                      <a:pt x="10800" y="8448"/>
                      <a:pt x="10693" y="8448"/>
                      <a:pt x="10693" y="8661"/>
                    </a:cubicBezTo>
                    <a:cubicBezTo>
                      <a:pt x="10693" y="8554"/>
                      <a:pt x="10586" y="8661"/>
                      <a:pt x="10586" y="8448"/>
                    </a:cubicBezTo>
                    <a:cubicBezTo>
                      <a:pt x="10693" y="8448"/>
                      <a:pt x="10693" y="8448"/>
                      <a:pt x="10693" y="8448"/>
                    </a:cubicBezTo>
                    <a:cubicBezTo>
                      <a:pt x="10693" y="8234"/>
                      <a:pt x="10586" y="8127"/>
                      <a:pt x="10479" y="8127"/>
                    </a:cubicBezTo>
                    <a:cubicBezTo>
                      <a:pt x="10372" y="8127"/>
                      <a:pt x="10372" y="8020"/>
                      <a:pt x="10372" y="8020"/>
                    </a:cubicBezTo>
                    <a:cubicBezTo>
                      <a:pt x="10265" y="8234"/>
                      <a:pt x="10479" y="8448"/>
                      <a:pt x="10265" y="8448"/>
                    </a:cubicBezTo>
                    <a:cubicBezTo>
                      <a:pt x="10158" y="8234"/>
                      <a:pt x="10158" y="8020"/>
                      <a:pt x="10265" y="7806"/>
                    </a:cubicBezTo>
                    <a:cubicBezTo>
                      <a:pt x="10051" y="7913"/>
                      <a:pt x="10051" y="8020"/>
                      <a:pt x="9945" y="7913"/>
                    </a:cubicBezTo>
                    <a:cubicBezTo>
                      <a:pt x="9731" y="7913"/>
                      <a:pt x="9731" y="8127"/>
                      <a:pt x="9624" y="8234"/>
                    </a:cubicBezTo>
                    <a:cubicBezTo>
                      <a:pt x="9624" y="8448"/>
                      <a:pt x="9517" y="8554"/>
                      <a:pt x="9410" y="8768"/>
                    </a:cubicBezTo>
                    <a:cubicBezTo>
                      <a:pt x="9303" y="8661"/>
                      <a:pt x="9303" y="8661"/>
                      <a:pt x="9196" y="8768"/>
                    </a:cubicBezTo>
                    <a:cubicBezTo>
                      <a:pt x="9089" y="8768"/>
                      <a:pt x="8982" y="8661"/>
                      <a:pt x="8875" y="8661"/>
                    </a:cubicBezTo>
                    <a:cubicBezTo>
                      <a:pt x="8875" y="8448"/>
                      <a:pt x="8875" y="8448"/>
                      <a:pt x="8768" y="8341"/>
                    </a:cubicBezTo>
                    <a:cubicBezTo>
                      <a:pt x="8982" y="8341"/>
                      <a:pt x="8875" y="8020"/>
                      <a:pt x="8875" y="7913"/>
                    </a:cubicBezTo>
                    <a:cubicBezTo>
                      <a:pt x="9089" y="7913"/>
                      <a:pt x="9196" y="7806"/>
                      <a:pt x="9410" y="7913"/>
                    </a:cubicBezTo>
                    <a:cubicBezTo>
                      <a:pt x="9410" y="7913"/>
                      <a:pt x="9410" y="7806"/>
                      <a:pt x="9517" y="7699"/>
                    </a:cubicBezTo>
                    <a:cubicBezTo>
                      <a:pt x="9517" y="7592"/>
                      <a:pt x="9303" y="7592"/>
                      <a:pt x="9303" y="7485"/>
                    </a:cubicBezTo>
                    <a:cubicBezTo>
                      <a:pt x="9196" y="7485"/>
                      <a:pt x="9196" y="7485"/>
                      <a:pt x="9089" y="7378"/>
                    </a:cubicBezTo>
                    <a:cubicBezTo>
                      <a:pt x="9089" y="7271"/>
                      <a:pt x="9196" y="7271"/>
                      <a:pt x="9303" y="7271"/>
                    </a:cubicBezTo>
                    <a:cubicBezTo>
                      <a:pt x="9410" y="7164"/>
                      <a:pt x="9410" y="7057"/>
                      <a:pt x="9517" y="7057"/>
                    </a:cubicBezTo>
                    <a:cubicBezTo>
                      <a:pt x="9517" y="7057"/>
                      <a:pt x="9624" y="7057"/>
                      <a:pt x="9517" y="7057"/>
                    </a:cubicBezTo>
                    <a:cubicBezTo>
                      <a:pt x="9410" y="6950"/>
                      <a:pt x="9196" y="7057"/>
                      <a:pt x="9089" y="7057"/>
                    </a:cubicBezTo>
                    <a:cubicBezTo>
                      <a:pt x="8982" y="6950"/>
                      <a:pt x="9196" y="6950"/>
                      <a:pt x="9196" y="6950"/>
                    </a:cubicBezTo>
                    <a:cubicBezTo>
                      <a:pt x="9196" y="6844"/>
                      <a:pt x="9089" y="6737"/>
                      <a:pt x="9089" y="6630"/>
                    </a:cubicBezTo>
                    <a:cubicBezTo>
                      <a:pt x="9196" y="6630"/>
                      <a:pt x="9303" y="6523"/>
                      <a:pt x="9303" y="6416"/>
                    </a:cubicBezTo>
                    <a:cubicBezTo>
                      <a:pt x="9303" y="6416"/>
                      <a:pt x="9196" y="6416"/>
                      <a:pt x="9089" y="6309"/>
                    </a:cubicBezTo>
                    <a:cubicBezTo>
                      <a:pt x="9089" y="6202"/>
                      <a:pt x="9196" y="6095"/>
                      <a:pt x="9196" y="5881"/>
                    </a:cubicBezTo>
                    <a:cubicBezTo>
                      <a:pt x="9303" y="5774"/>
                      <a:pt x="9303" y="5774"/>
                      <a:pt x="9410" y="5774"/>
                    </a:cubicBezTo>
                    <a:cubicBezTo>
                      <a:pt x="9410" y="5881"/>
                      <a:pt x="9410" y="5881"/>
                      <a:pt x="9303" y="5881"/>
                    </a:cubicBezTo>
                    <a:cubicBezTo>
                      <a:pt x="9410" y="5988"/>
                      <a:pt x="9410" y="5988"/>
                      <a:pt x="9517" y="6095"/>
                    </a:cubicBezTo>
                    <a:cubicBezTo>
                      <a:pt x="9303" y="6202"/>
                      <a:pt x="9624" y="6309"/>
                      <a:pt x="9517" y="6523"/>
                    </a:cubicBezTo>
                    <a:cubicBezTo>
                      <a:pt x="9624" y="6523"/>
                      <a:pt x="9624" y="6630"/>
                      <a:pt x="9731" y="6630"/>
                    </a:cubicBezTo>
                    <a:cubicBezTo>
                      <a:pt x="9624" y="6737"/>
                      <a:pt x="9624" y="6844"/>
                      <a:pt x="9517" y="7057"/>
                    </a:cubicBezTo>
                    <a:cubicBezTo>
                      <a:pt x="9731" y="7057"/>
                      <a:pt x="9624" y="6737"/>
                      <a:pt x="9838" y="6844"/>
                    </a:cubicBezTo>
                    <a:cubicBezTo>
                      <a:pt x="9731" y="6630"/>
                      <a:pt x="9838" y="6630"/>
                      <a:pt x="9838" y="6630"/>
                    </a:cubicBezTo>
                    <a:cubicBezTo>
                      <a:pt x="9945" y="6523"/>
                      <a:pt x="10051" y="6523"/>
                      <a:pt x="10158" y="6523"/>
                    </a:cubicBezTo>
                    <a:cubicBezTo>
                      <a:pt x="10158" y="6416"/>
                      <a:pt x="10158" y="6416"/>
                      <a:pt x="10051" y="6416"/>
                    </a:cubicBezTo>
                    <a:cubicBezTo>
                      <a:pt x="10051" y="6309"/>
                      <a:pt x="10158" y="6202"/>
                      <a:pt x="10265" y="6095"/>
                    </a:cubicBezTo>
                    <a:cubicBezTo>
                      <a:pt x="10158" y="6095"/>
                      <a:pt x="10051" y="6095"/>
                      <a:pt x="9945" y="5988"/>
                    </a:cubicBezTo>
                    <a:cubicBezTo>
                      <a:pt x="9945" y="5774"/>
                      <a:pt x="9945" y="5667"/>
                      <a:pt x="9945" y="5560"/>
                    </a:cubicBezTo>
                    <a:cubicBezTo>
                      <a:pt x="9945" y="5453"/>
                      <a:pt x="9945" y="5133"/>
                      <a:pt x="10158" y="5133"/>
                    </a:cubicBezTo>
                    <a:cubicBezTo>
                      <a:pt x="10158" y="5133"/>
                      <a:pt x="10158" y="5026"/>
                      <a:pt x="10158" y="5026"/>
                    </a:cubicBezTo>
                    <a:cubicBezTo>
                      <a:pt x="10265" y="5026"/>
                      <a:pt x="10265" y="5026"/>
                      <a:pt x="10265" y="5026"/>
                    </a:cubicBezTo>
                    <a:cubicBezTo>
                      <a:pt x="10372" y="4919"/>
                      <a:pt x="10479" y="4812"/>
                      <a:pt x="10479" y="4598"/>
                    </a:cubicBezTo>
                    <a:cubicBezTo>
                      <a:pt x="10586" y="4491"/>
                      <a:pt x="10800" y="4384"/>
                      <a:pt x="10907" y="4277"/>
                    </a:cubicBezTo>
                    <a:cubicBezTo>
                      <a:pt x="10907" y="4277"/>
                      <a:pt x="11014" y="4170"/>
                      <a:pt x="11014" y="4277"/>
                    </a:cubicBezTo>
                    <a:cubicBezTo>
                      <a:pt x="11121" y="4170"/>
                      <a:pt x="11121" y="4063"/>
                      <a:pt x="11228" y="3956"/>
                    </a:cubicBezTo>
                    <a:cubicBezTo>
                      <a:pt x="11335" y="3956"/>
                      <a:pt x="11442" y="3956"/>
                      <a:pt x="11549" y="3956"/>
                    </a:cubicBezTo>
                    <a:cubicBezTo>
                      <a:pt x="11655" y="4063"/>
                      <a:pt x="11655" y="4170"/>
                      <a:pt x="11762" y="4277"/>
                    </a:cubicBezTo>
                    <a:cubicBezTo>
                      <a:pt x="11869" y="4277"/>
                      <a:pt x="11976" y="4277"/>
                      <a:pt x="11976" y="4384"/>
                    </a:cubicBezTo>
                    <a:cubicBezTo>
                      <a:pt x="12190" y="4384"/>
                      <a:pt x="12511" y="4491"/>
                      <a:pt x="12404" y="4812"/>
                    </a:cubicBezTo>
                    <a:cubicBezTo>
                      <a:pt x="12618" y="4812"/>
                      <a:pt x="12618" y="4598"/>
                      <a:pt x="12618" y="4384"/>
                    </a:cubicBezTo>
                    <a:cubicBezTo>
                      <a:pt x="12618" y="4384"/>
                      <a:pt x="12725" y="4384"/>
                      <a:pt x="12725" y="4384"/>
                    </a:cubicBezTo>
                    <a:cubicBezTo>
                      <a:pt x="12725" y="4491"/>
                      <a:pt x="12725" y="4598"/>
                      <a:pt x="12725" y="4705"/>
                    </a:cubicBezTo>
                    <a:cubicBezTo>
                      <a:pt x="12939" y="4598"/>
                      <a:pt x="13046" y="4491"/>
                      <a:pt x="13152" y="4384"/>
                    </a:cubicBezTo>
                    <a:cubicBezTo>
                      <a:pt x="13366" y="4384"/>
                      <a:pt x="13473" y="4384"/>
                      <a:pt x="13687" y="4384"/>
                    </a:cubicBezTo>
                    <a:cubicBezTo>
                      <a:pt x="13687" y="4170"/>
                      <a:pt x="13473" y="4384"/>
                      <a:pt x="13580" y="4170"/>
                    </a:cubicBezTo>
                    <a:cubicBezTo>
                      <a:pt x="13794" y="4170"/>
                      <a:pt x="13794" y="4277"/>
                      <a:pt x="14008" y="4277"/>
                    </a:cubicBezTo>
                    <a:cubicBezTo>
                      <a:pt x="14115" y="4063"/>
                      <a:pt x="14222" y="3956"/>
                      <a:pt x="14329" y="3850"/>
                    </a:cubicBezTo>
                    <a:cubicBezTo>
                      <a:pt x="14436" y="3743"/>
                      <a:pt x="14436" y="3850"/>
                      <a:pt x="14543" y="3956"/>
                    </a:cubicBezTo>
                    <a:cubicBezTo>
                      <a:pt x="14650" y="3956"/>
                      <a:pt x="14543" y="3850"/>
                      <a:pt x="14650" y="3850"/>
                    </a:cubicBezTo>
                    <a:cubicBezTo>
                      <a:pt x="14650" y="3956"/>
                      <a:pt x="14650" y="4063"/>
                      <a:pt x="14756" y="4063"/>
                    </a:cubicBezTo>
                    <a:cubicBezTo>
                      <a:pt x="14756" y="4063"/>
                      <a:pt x="14756" y="3956"/>
                      <a:pt x="14756" y="3850"/>
                    </a:cubicBezTo>
                    <a:cubicBezTo>
                      <a:pt x="14970" y="3850"/>
                      <a:pt x="14970" y="3956"/>
                      <a:pt x="15077" y="3956"/>
                    </a:cubicBezTo>
                    <a:cubicBezTo>
                      <a:pt x="15184" y="3850"/>
                      <a:pt x="14970" y="3956"/>
                      <a:pt x="14970" y="3743"/>
                    </a:cubicBezTo>
                    <a:cubicBezTo>
                      <a:pt x="14970" y="3636"/>
                      <a:pt x="15077" y="3743"/>
                      <a:pt x="15184" y="3636"/>
                    </a:cubicBezTo>
                    <a:cubicBezTo>
                      <a:pt x="15184" y="3636"/>
                      <a:pt x="15184" y="3529"/>
                      <a:pt x="15291" y="3529"/>
                    </a:cubicBezTo>
                    <a:cubicBezTo>
                      <a:pt x="15398" y="3529"/>
                      <a:pt x="15398" y="3422"/>
                      <a:pt x="15398" y="3422"/>
                    </a:cubicBezTo>
                    <a:cubicBezTo>
                      <a:pt x="15612" y="3422"/>
                      <a:pt x="15719" y="3315"/>
                      <a:pt x="15826" y="3208"/>
                    </a:cubicBezTo>
                    <a:cubicBezTo>
                      <a:pt x="15933" y="3208"/>
                      <a:pt x="15933" y="3315"/>
                      <a:pt x="15933" y="3315"/>
                    </a:cubicBezTo>
                    <a:cubicBezTo>
                      <a:pt x="16147" y="3315"/>
                      <a:pt x="16040" y="3208"/>
                      <a:pt x="16253" y="3208"/>
                    </a:cubicBezTo>
                    <a:cubicBezTo>
                      <a:pt x="16253" y="3101"/>
                      <a:pt x="16253" y="2994"/>
                      <a:pt x="16360" y="2994"/>
                    </a:cubicBezTo>
                    <a:cubicBezTo>
                      <a:pt x="16467" y="2887"/>
                      <a:pt x="16467" y="3101"/>
                      <a:pt x="16467" y="3101"/>
                    </a:cubicBezTo>
                    <a:cubicBezTo>
                      <a:pt x="16681" y="3101"/>
                      <a:pt x="16788" y="3101"/>
                      <a:pt x="16895" y="3101"/>
                    </a:cubicBezTo>
                    <a:cubicBezTo>
                      <a:pt x="17002" y="3208"/>
                      <a:pt x="17002" y="3208"/>
                      <a:pt x="17109" y="3315"/>
                    </a:cubicBezTo>
                    <a:cubicBezTo>
                      <a:pt x="17109" y="3422"/>
                      <a:pt x="17002" y="3422"/>
                      <a:pt x="17002" y="3529"/>
                    </a:cubicBezTo>
                    <a:cubicBezTo>
                      <a:pt x="17216" y="3529"/>
                      <a:pt x="17216" y="3636"/>
                      <a:pt x="17323" y="3636"/>
                    </a:cubicBezTo>
                    <a:cubicBezTo>
                      <a:pt x="17323" y="3636"/>
                      <a:pt x="17430" y="3636"/>
                      <a:pt x="17430" y="3636"/>
                    </a:cubicBezTo>
                    <a:cubicBezTo>
                      <a:pt x="17537" y="3636"/>
                      <a:pt x="17644" y="3743"/>
                      <a:pt x="17750" y="3743"/>
                    </a:cubicBezTo>
                    <a:cubicBezTo>
                      <a:pt x="18392" y="4491"/>
                      <a:pt x="19034" y="5240"/>
                      <a:pt x="19568" y="6202"/>
                    </a:cubicBezTo>
                    <a:close/>
                    <a:moveTo>
                      <a:pt x="20210" y="8020"/>
                    </a:moveTo>
                    <a:cubicBezTo>
                      <a:pt x="20210" y="8020"/>
                      <a:pt x="20210" y="8020"/>
                      <a:pt x="20210" y="8020"/>
                    </a:cubicBezTo>
                    <a:cubicBezTo>
                      <a:pt x="20210" y="8020"/>
                      <a:pt x="20210" y="7913"/>
                      <a:pt x="20103" y="7913"/>
                    </a:cubicBezTo>
                    <a:cubicBezTo>
                      <a:pt x="19996" y="7913"/>
                      <a:pt x="19996" y="8127"/>
                      <a:pt x="19889" y="8020"/>
                    </a:cubicBezTo>
                    <a:cubicBezTo>
                      <a:pt x="19889" y="7806"/>
                      <a:pt x="19996" y="7699"/>
                      <a:pt x="19996" y="7592"/>
                    </a:cubicBezTo>
                    <a:cubicBezTo>
                      <a:pt x="19996" y="7592"/>
                      <a:pt x="20103" y="7592"/>
                      <a:pt x="20103" y="7592"/>
                    </a:cubicBezTo>
                    <a:cubicBezTo>
                      <a:pt x="20210" y="7699"/>
                      <a:pt x="20210" y="7806"/>
                      <a:pt x="20210" y="8020"/>
                    </a:cubicBezTo>
                    <a:close/>
                    <a:moveTo>
                      <a:pt x="19034" y="11442"/>
                    </a:moveTo>
                    <a:cubicBezTo>
                      <a:pt x="19141" y="11335"/>
                      <a:pt x="19141" y="11228"/>
                      <a:pt x="19248" y="11335"/>
                    </a:cubicBezTo>
                    <a:cubicBezTo>
                      <a:pt x="19248" y="11228"/>
                      <a:pt x="19248" y="11121"/>
                      <a:pt x="19354" y="11014"/>
                    </a:cubicBezTo>
                    <a:cubicBezTo>
                      <a:pt x="19354" y="11121"/>
                      <a:pt x="19461" y="11121"/>
                      <a:pt x="19461" y="11228"/>
                    </a:cubicBezTo>
                    <a:cubicBezTo>
                      <a:pt x="19461" y="11335"/>
                      <a:pt x="19675" y="11335"/>
                      <a:pt x="19568" y="11442"/>
                    </a:cubicBezTo>
                    <a:cubicBezTo>
                      <a:pt x="19461" y="11442"/>
                      <a:pt x="19354" y="11549"/>
                      <a:pt x="19354" y="11655"/>
                    </a:cubicBezTo>
                    <a:cubicBezTo>
                      <a:pt x="19248" y="11655"/>
                      <a:pt x="19248" y="11549"/>
                      <a:pt x="19248" y="11442"/>
                    </a:cubicBezTo>
                    <a:cubicBezTo>
                      <a:pt x="19141" y="11442"/>
                      <a:pt x="19141" y="11549"/>
                      <a:pt x="19034" y="11442"/>
                    </a:cubicBezTo>
                    <a:close/>
                    <a:moveTo>
                      <a:pt x="19141" y="13046"/>
                    </a:moveTo>
                    <a:cubicBezTo>
                      <a:pt x="19034" y="13152"/>
                      <a:pt x="19034" y="13046"/>
                      <a:pt x="19034" y="12939"/>
                    </a:cubicBezTo>
                    <a:cubicBezTo>
                      <a:pt x="18927" y="12939"/>
                      <a:pt x="18927" y="13046"/>
                      <a:pt x="18927" y="13152"/>
                    </a:cubicBezTo>
                    <a:cubicBezTo>
                      <a:pt x="18713" y="13046"/>
                      <a:pt x="18820" y="12618"/>
                      <a:pt x="18927" y="12404"/>
                    </a:cubicBezTo>
                    <a:cubicBezTo>
                      <a:pt x="19034" y="12511"/>
                      <a:pt x="19248" y="12511"/>
                      <a:pt x="19248" y="12618"/>
                    </a:cubicBezTo>
                    <a:cubicBezTo>
                      <a:pt x="19141" y="12725"/>
                      <a:pt x="19141" y="12725"/>
                      <a:pt x="19034" y="12618"/>
                    </a:cubicBezTo>
                    <a:cubicBezTo>
                      <a:pt x="19034" y="12832"/>
                      <a:pt x="19141" y="12832"/>
                      <a:pt x="19141" y="13046"/>
                    </a:cubicBezTo>
                    <a:close/>
                    <a:moveTo>
                      <a:pt x="18713" y="12618"/>
                    </a:moveTo>
                    <a:cubicBezTo>
                      <a:pt x="18606" y="12618"/>
                      <a:pt x="18713" y="12939"/>
                      <a:pt x="18606" y="12939"/>
                    </a:cubicBezTo>
                    <a:cubicBezTo>
                      <a:pt x="18606" y="13046"/>
                      <a:pt x="18606" y="12939"/>
                      <a:pt x="18606" y="13046"/>
                    </a:cubicBezTo>
                    <a:cubicBezTo>
                      <a:pt x="18606" y="13046"/>
                      <a:pt x="18499" y="13046"/>
                      <a:pt x="18606" y="13152"/>
                    </a:cubicBezTo>
                    <a:cubicBezTo>
                      <a:pt x="18392" y="13152"/>
                      <a:pt x="18392" y="12939"/>
                      <a:pt x="18178" y="13046"/>
                    </a:cubicBezTo>
                    <a:cubicBezTo>
                      <a:pt x="18178" y="12832"/>
                      <a:pt x="18071" y="12725"/>
                      <a:pt x="17964" y="12618"/>
                    </a:cubicBezTo>
                    <a:cubicBezTo>
                      <a:pt x="18071" y="12190"/>
                      <a:pt x="18499" y="12297"/>
                      <a:pt x="18499" y="11869"/>
                    </a:cubicBezTo>
                    <a:cubicBezTo>
                      <a:pt x="18713" y="11869"/>
                      <a:pt x="18713" y="11976"/>
                      <a:pt x="18820" y="12083"/>
                    </a:cubicBezTo>
                    <a:cubicBezTo>
                      <a:pt x="18820" y="12190"/>
                      <a:pt x="18820" y="12190"/>
                      <a:pt x="18713" y="12297"/>
                    </a:cubicBezTo>
                    <a:cubicBezTo>
                      <a:pt x="18820" y="12404"/>
                      <a:pt x="18713" y="12511"/>
                      <a:pt x="18713" y="12618"/>
                    </a:cubicBezTo>
                    <a:close/>
                    <a:moveTo>
                      <a:pt x="18606" y="13580"/>
                    </a:moveTo>
                    <a:cubicBezTo>
                      <a:pt x="18178" y="13580"/>
                      <a:pt x="18071" y="13366"/>
                      <a:pt x="17750" y="13366"/>
                    </a:cubicBezTo>
                    <a:cubicBezTo>
                      <a:pt x="17750" y="13259"/>
                      <a:pt x="17750" y="13259"/>
                      <a:pt x="17750" y="13152"/>
                    </a:cubicBezTo>
                    <a:cubicBezTo>
                      <a:pt x="17964" y="13259"/>
                      <a:pt x="18178" y="13259"/>
                      <a:pt x="18499" y="13259"/>
                    </a:cubicBezTo>
                    <a:cubicBezTo>
                      <a:pt x="18392" y="13473"/>
                      <a:pt x="18606" y="13366"/>
                      <a:pt x="18606" y="13580"/>
                    </a:cubicBezTo>
                    <a:close/>
                    <a:moveTo>
                      <a:pt x="18820" y="10372"/>
                    </a:moveTo>
                    <a:cubicBezTo>
                      <a:pt x="18820" y="10265"/>
                      <a:pt x="18713" y="10158"/>
                      <a:pt x="18713" y="10051"/>
                    </a:cubicBezTo>
                    <a:cubicBezTo>
                      <a:pt x="18713" y="10051"/>
                      <a:pt x="18820" y="9945"/>
                      <a:pt x="18927" y="9945"/>
                    </a:cubicBezTo>
                    <a:cubicBezTo>
                      <a:pt x="18927" y="10158"/>
                      <a:pt x="18927" y="10372"/>
                      <a:pt x="18820" y="10372"/>
                    </a:cubicBezTo>
                    <a:close/>
                    <a:moveTo>
                      <a:pt x="19141" y="10693"/>
                    </a:moveTo>
                    <a:cubicBezTo>
                      <a:pt x="19141" y="10800"/>
                      <a:pt x="19034" y="10907"/>
                      <a:pt x="19034" y="11014"/>
                    </a:cubicBezTo>
                    <a:cubicBezTo>
                      <a:pt x="18927" y="10907"/>
                      <a:pt x="18820" y="10800"/>
                      <a:pt x="18820" y="10800"/>
                    </a:cubicBezTo>
                    <a:cubicBezTo>
                      <a:pt x="18820" y="10586"/>
                      <a:pt x="19034" y="10479"/>
                      <a:pt x="19141" y="10693"/>
                    </a:cubicBezTo>
                    <a:close/>
                    <a:moveTo>
                      <a:pt x="19889" y="12511"/>
                    </a:moveTo>
                    <a:cubicBezTo>
                      <a:pt x="19889" y="12618"/>
                      <a:pt x="19675" y="12725"/>
                      <a:pt x="19568" y="12618"/>
                    </a:cubicBezTo>
                    <a:cubicBezTo>
                      <a:pt x="19568" y="12404"/>
                      <a:pt x="19782" y="12404"/>
                      <a:pt x="19889" y="12511"/>
                    </a:cubicBezTo>
                    <a:close/>
                    <a:moveTo>
                      <a:pt x="19782" y="9089"/>
                    </a:moveTo>
                    <a:cubicBezTo>
                      <a:pt x="19782" y="9089"/>
                      <a:pt x="19782" y="9089"/>
                      <a:pt x="19675" y="9089"/>
                    </a:cubicBezTo>
                    <a:cubicBezTo>
                      <a:pt x="19568" y="9089"/>
                      <a:pt x="19568" y="9196"/>
                      <a:pt x="19461" y="9303"/>
                    </a:cubicBezTo>
                    <a:cubicBezTo>
                      <a:pt x="19461" y="9303"/>
                      <a:pt x="19354" y="9196"/>
                      <a:pt x="19354" y="9089"/>
                    </a:cubicBezTo>
                    <a:cubicBezTo>
                      <a:pt x="19461" y="9089"/>
                      <a:pt x="19461" y="9089"/>
                      <a:pt x="19568" y="9089"/>
                    </a:cubicBezTo>
                    <a:cubicBezTo>
                      <a:pt x="19568" y="8982"/>
                      <a:pt x="19354" y="9089"/>
                      <a:pt x="19461" y="8982"/>
                    </a:cubicBezTo>
                    <a:cubicBezTo>
                      <a:pt x="19461" y="8768"/>
                      <a:pt x="19675" y="8875"/>
                      <a:pt x="19782" y="8768"/>
                    </a:cubicBezTo>
                    <a:cubicBezTo>
                      <a:pt x="19889" y="8661"/>
                      <a:pt x="19889" y="8661"/>
                      <a:pt x="19996" y="8554"/>
                    </a:cubicBezTo>
                    <a:cubicBezTo>
                      <a:pt x="19996" y="8554"/>
                      <a:pt x="19996" y="8448"/>
                      <a:pt x="20103" y="8448"/>
                    </a:cubicBezTo>
                    <a:cubicBezTo>
                      <a:pt x="19996" y="8234"/>
                      <a:pt x="20103" y="8234"/>
                      <a:pt x="19996" y="8020"/>
                    </a:cubicBezTo>
                    <a:cubicBezTo>
                      <a:pt x="20103" y="8020"/>
                      <a:pt x="20103" y="8020"/>
                      <a:pt x="20210" y="8020"/>
                    </a:cubicBezTo>
                    <a:cubicBezTo>
                      <a:pt x="20210" y="8341"/>
                      <a:pt x="20210" y="8554"/>
                      <a:pt x="20210" y="8768"/>
                    </a:cubicBezTo>
                    <a:cubicBezTo>
                      <a:pt x="20103" y="8982"/>
                      <a:pt x="19889" y="8982"/>
                      <a:pt x="19782" y="9089"/>
                    </a:cubicBezTo>
                    <a:close/>
                    <a:moveTo>
                      <a:pt x="19996" y="7057"/>
                    </a:moveTo>
                    <a:cubicBezTo>
                      <a:pt x="19996" y="7164"/>
                      <a:pt x="19996" y="7378"/>
                      <a:pt x="20103" y="7485"/>
                    </a:cubicBezTo>
                    <a:cubicBezTo>
                      <a:pt x="19996" y="7378"/>
                      <a:pt x="19996" y="7271"/>
                      <a:pt x="19996" y="7057"/>
                    </a:cubicBezTo>
                    <a:close/>
                    <a:moveTo>
                      <a:pt x="16895" y="12083"/>
                    </a:moveTo>
                    <a:cubicBezTo>
                      <a:pt x="17002" y="11976"/>
                      <a:pt x="17109" y="12190"/>
                      <a:pt x="17109" y="11976"/>
                    </a:cubicBezTo>
                    <a:cubicBezTo>
                      <a:pt x="17216" y="11976"/>
                      <a:pt x="17109" y="12083"/>
                      <a:pt x="17216" y="12083"/>
                    </a:cubicBezTo>
                    <a:cubicBezTo>
                      <a:pt x="17216" y="12190"/>
                      <a:pt x="17323" y="12297"/>
                      <a:pt x="17323" y="12297"/>
                    </a:cubicBezTo>
                    <a:cubicBezTo>
                      <a:pt x="17430" y="12404"/>
                      <a:pt x="17537" y="12511"/>
                      <a:pt x="17644" y="12618"/>
                    </a:cubicBezTo>
                    <a:cubicBezTo>
                      <a:pt x="17644" y="12832"/>
                      <a:pt x="17750" y="12939"/>
                      <a:pt x="17644" y="13152"/>
                    </a:cubicBezTo>
                    <a:cubicBezTo>
                      <a:pt x="17537" y="13152"/>
                      <a:pt x="17537" y="12939"/>
                      <a:pt x="17323" y="12939"/>
                    </a:cubicBezTo>
                    <a:cubicBezTo>
                      <a:pt x="17430" y="12404"/>
                      <a:pt x="16895" y="12511"/>
                      <a:pt x="16895" y="12083"/>
                    </a:cubicBezTo>
                    <a:close/>
                    <a:moveTo>
                      <a:pt x="15826" y="11549"/>
                    </a:moveTo>
                    <a:cubicBezTo>
                      <a:pt x="15933" y="11655"/>
                      <a:pt x="15933" y="11762"/>
                      <a:pt x="15933" y="11869"/>
                    </a:cubicBezTo>
                    <a:cubicBezTo>
                      <a:pt x="15933" y="11869"/>
                      <a:pt x="15933" y="11976"/>
                      <a:pt x="15826" y="11976"/>
                    </a:cubicBezTo>
                    <a:cubicBezTo>
                      <a:pt x="15719" y="11869"/>
                      <a:pt x="15826" y="11762"/>
                      <a:pt x="15826" y="11549"/>
                    </a:cubicBezTo>
                    <a:close/>
                    <a:moveTo>
                      <a:pt x="13366" y="14650"/>
                    </a:moveTo>
                    <a:cubicBezTo>
                      <a:pt x="13366" y="14756"/>
                      <a:pt x="13259" y="14756"/>
                      <a:pt x="13259" y="14756"/>
                    </a:cubicBezTo>
                    <a:cubicBezTo>
                      <a:pt x="13259" y="14863"/>
                      <a:pt x="13259" y="14863"/>
                      <a:pt x="13259" y="14970"/>
                    </a:cubicBezTo>
                    <a:cubicBezTo>
                      <a:pt x="13259" y="15184"/>
                      <a:pt x="13259" y="15184"/>
                      <a:pt x="13152" y="15398"/>
                    </a:cubicBezTo>
                    <a:cubicBezTo>
                      <a:pt x="13046" y="15398"/>
                      <a:pt x="13046" y="15398"/>
                      <a:pt x="12939" y="15398"/>
                    </a:cubicBezTo>
                    <a:cubicBezTo>
                      <a:pt x="12832" y="15291"/>
                      <a:pt x="12832" y="15184"/>
                      <a:pt x="12832" y="14970"/>
                    </a:cubicBezTo>
                    <a:cubicBezTo>
                      <a:pt x="12832" y="14863"/>
                      <a:pt x="12832" y="14863"/>
                      <a:pt x="12939" y="14756"/>
                    </a:cubicBezTo>
                    <a:cubicBezTo>
                      <a:pt x="12939" y="14650"/>
                      <a:pt x="12832" y="14650"/>
                      <a:pt x="12832" y="14436"/>
                    </a:cubicBezTo>
                    <a:cubicBezTo>
                      <a:pt x="12939" y="14329"/>
                      <a:pt x="13046" y="14222"/>
                      <a:pt x="13152" y="14222"/>
                    </a:cubicBezTo>
                    <a:cubicBezTo>
                      <a:pt x="13152" y="14008"/>
                      <a:pt x="13259" y="13901"/>
                      <a:pt x="13259" y="13794"/>
                    </a:cubicBezTo>
                    <a:cubicBezTo>
                      <a:pt x="13473" y="13794"/>
                      <a:pt x="13259" y="14115"/>
                      <a:pt x="13473" y="14115"/>
                    </a:cubicBezTo>
                    <a:cubicBezTo>
                      <a:pt x="13473" y="14329"/>
                      <a:pt x="13259" y="14543"/>
                      <a:pt x="13366" y="14650"/>
                    </a:cubicBezTo>
                    <a:close/>
                    <a:moveTo>
                      <a:pt x="5881" y="18178"/>
                    </a:moveTo>
                    <a:cubicBezTo>
                      <a:pt x="5881" y="18071"/>
                      <a:pt x="6095" y="18071"/>
                      <a:pt x="6095" y="18178"/>
                    </a:cubicBezTo>
                    <a:cubicBezTo>
                      <a:pt x="5988" y="18178"/>
                      <a:pt x="5988" y="18178"/>
                      <a:pt x="5881" y="18178"/>
                    </a:cubicBezTo>
                    <a:close/>
                    <a:moveTo>
                      <a:pt x="7164" y="5667"/>
                    </a:moveTo>
                    <a:cubicBezTo>
                      <a:pt x="7057" y="5667"/>
                      <a:pt x="7057" y="5774"/>
                      <a:pt x="7057" y="5774"/>
                    </a:cubicBezTo>
                    <a:cubicBezTo>
                      <a:pt x="6950" y="5774"/>
                      <a:pt x="6950" y="5667"/>
                      <a:pt x="6844" y="5667"/>
                    </a:cubicBezTo>
                    <a:cubicBezTo>
                      <a:pt x="6844" y="5667"/>
                      <a:pt x="6737" y="5667"/>
                      <a:pt x="6630" y="5667"/>
                    </a:cubicBezTo>
                    <a:cubicBezTo>
                      <a:pt x="6416" y="5347"/>
                      <a:pt x="6630" y="4919"/>
                      <a:pt x="6416" y="4812"/>
                    </a:cubicBezTo>
                    <a:cubicBezTo>
                      <a:pt x="6416" y="4705"/>
                      <a:pt x="6523" y="4598"/>
                      <a:pt x="6523" y="4598"/>
                    </a:cubicBezTo>
                    <a:cubicBezTo>
                      <a:pt x="6523" y="4491"/>
                      <a:pt x="6630" y="4491"/>
                      <a:pt x="6737" y="4384"/>
                    </a:cubicBezTo>
                    <a:cubicBezTo>
                      <a:pt x="6630" y="4277"/>
                      <a:pt x="6416" y="4277"/>
                      <a:pt x="6416" y="4063"/>
                    </a:cubicBezTo>
                    <a:cubicBezTo>
                      <a:pt x="6523" y="4063"/>
                      <a:pt x="6630" y="4170"/>
                      <a:pt x="6630" y="3956"/>
                    </a:cubicBezTo>
                    <a:cubicBezTo>
                      <a:pt x="6523" y="3850"/>
                      <a:pt x="6523" y="4063"/>
                      <a:pt x="6416" y="4063"/>
                    </a:cubicBezTo>
                    <a:cubicBezTo>
                      <a:pt x="6309" y="3956"/>
                      <a:pt x="6416" y="3850"/>
                      <a:pt x="6416" y="3743"/>
                    </a:cubicBezTo>
                    <a:cubicBezTo>
                      <a:pt x="6416" y="3636"/>
                      <a:pt x="6309" y="3636"/>
                      <a:pt x="6309" y="3422"/>
                    </a:cubicBezTo>
                    <a:cubicBezTo>
                      <a:pt x="6202" y="3422"/>
                      <a:pt x="6095" y="3422"/>
                      <a:pt x="5988" y="3315"/>
                    </a:cubicBezTo>
                    <a:cubicBezTo>
                      <a:pt x="5881" y="3315"/>
                      <a:pt x="5881" y="3422"/>
                      <a:pt x="5774" y="3422"/>
                    </a:cubicBezTo>
                    <a:cubicBezTo>
                      <a:pt x="5667" y="3315"/>
                      <a:pt x="5560" y="3315"/>
                      <a:pt x="5560" y="3101"/>
                    </a:cubicBezTo>
                    <a:cubicBezTo>
                      <a:pt x="5560" y="3101"/>
                      <a:pt x="5774" y="3101"/>
                      <a:pt x="5988" y="3101"/>
                    </a:cubicBezTo>
                    <a:cubicBezTo>
                      <a:pt x="5988" y="2887"/>
                      <a:pt x="5774" y="2994"/>
                      <a:pt x="5667" y="3101"/>
                    </a:cubicBezTo>
                    <a:cubicBezTo>
                      <a:pt x="5667" y="2994"/>
                      <a:pt x="5560" y="2994"/>
                      <a:pt x="5560" y="3101"/>
                    </a:cubicBezTo>
                    <a:cubicBezTo>
                      <a:pt x="5453" y="3101"/>
                      <a:pt x="5453" y="2994"/>
                      <a:pt x="5347" y="2994"/>
                    </a:cubicBezTo>
                    <a:cubicBezTo>
                      <a:pt x="5453" y="2887"/>
                      <a:pt x="5560" y="2780"/>
                      <a:pt x="5667" y="2887"/>
                    </a:cubicBezTo>
                    <a:cubicBezTo>
                      <a:pt x="5667" y="2780"/>
                      <a:pt x="5881" y="2780"/>
                      <a:pt x="5988" y="2673"/>
                    </a:cubicBezTo>
                    <a:cubicBezTo>
                      <a:pt x="5988" y="2566"/>
                      <a:pt x="5774" y="2673"/>
                      <a:pt x="5881" y="2566"/>
                    </a:cubicBezTo>
                    <a:cubicBezTo>
                      <a:pt x="6202" y="2459"/>
                      <a:pt x="6309" y="2246"/>
                      <a:pt x="6630" y="2139"/>
                    </a:cubicBezTo>
                    <a:cubicBezTo>
                      <a:pt x="6950" y="2246"/>
                      <a:pt x="7057" y="2139"/>
                      <a:pt x="7271" y="2246"/>
                    </a:cubicBezTo>
                    <a:cubicBezTo>
                      <a:pt x="7378" y="2246"/>
                      <a:pt x="7271" y="2032"/>
                      <a:pt x="7271" y="1925"/>
                    </a:cubicBezTo>
                    <a:cubicBezTo>
                      <a:pt x="7271" y="1818"/>
                      <a:pt x="7485" y="1925"/>
                      <a:pt x="7592" y="1818"/>
                    </a:cubicBezTo>
                    <a:cubicBezTo>
                      <a:pt x="7806" y="1818"/>
                      <a:pt x="8127" y="1925"/>
                      <a:pt x="8234" y="1818"/>
                    </a:cubicBezTo>
                    <a:cubicBezTo>
                      <a:pt x="8234" y="1818"/>
                      <a:pt x="8341" y="1818"/>
                      <a:pt x="8341" y="1818"/>
                    </a:cubicBezTo>
                    <a:cubicBezTo>
                      <a:pt x="8448" y="1818"/>
                      <a:pt x="8554" y="1818"/>
                      <a:pt x="8661" y="1818"/>
                    </a:cubicBezTo>
                    <a:cubicBezTo>
                      <a:pt x="8875" y="1818"/>
                      <a:pt x="8982" y="1818"/>
                      <a:pt x="9089" y="2032"/>
                    </a:cubicBezTo>
                    <a:cubicBezTo>
                      <a:pt x="9089" y="2139"/>
                      <a:pt x="8768" y="2032"/>
                      <a:pt x="8768" y="2246"/>
                    </a:cubicBezTo>
                    <a:cubicBezTo>
                      <a:pt x="8875" y="2352"/>
                      <a:pt x="8982" y="2139"/>
                      <a:pt x="9089" y="2139"/>
                    </a:cubicBezTo>
                    <a:cubicBezTo>
                      <a:pt x="9196" y="2139"/>
                      <a:pt x="9196" y="2246"/>
                      <a:pt x="9303" y="2246"/>
                    </a:cubicBezTo>
                    <a:cubicBezTo>
                      <a:pt x="9303" y="2352"/>
                      <a:pt x="9517" y="2246"/>
                      <a:pt x="9410" y="2459"/>
                    </a:cubicBezTo>
                    <a:cubicBezTo>
                      <a:pt x="9517" y="2566"/>
                      <a:pt x="9303" y="2459"/>
                      <a:pt x="9196" y="2459"/>
                    </a:cubicBezTo>
                    <a:cubicBezTo>
                      <a:pt x="9089" y="2459"/>
                      <a:pt x="9089" y="2673"/>
                      <a:pt x="8982" y="2566"/>
                    </a:cubicBezTo>
                    <a:cubicBezTo>
                      <a:pt x="8982" y="2673"/>
                      <a:pt x="9089" y="2673"/>
                      <a:pt x="8982" y="2887"/>
                    </a:cubicBezTo>
                    <a:cubicBezTo>
                      <a:pt x="8875" y="2780"/>
                      <a:pt x="8875" y="2887"/>
                      <a:pt x="8875" y="2887"/>
                    </a:cubicBezTo>
                    <a:cubicBezTo>
                      <a:pt x="8875" y="2994"/>
                      <a:pt x="9089" y="2994"/>
                      <a:pt x="9089" y="3101"/>
                    </a:cubicBezTo>
                    <a:cubicBezTo>
                      <a:pt x="8982" y="3101"/>
                      <a:pt x="8875" y="3101"/>
                      <a:pt x="8768" y="3208"/>
                    </a:cubicBezTo>
                    <a:cubicBezTo>
                      <a:pt x="8875" y="3422"/>
                      <a:pt x="8982" y="3743"/>
                      <a:pt x="8661" y="3850"/>
                    </a:cubicBezTo>
                    <a:cubicBezTo>
                      <a:pt x="8661" y="3850"/>
                      <a:pt x="8768" y="3850"/>
                      <a:pt x="8768" y="4063"/>
                    </a:cubicBezTo>
                    <a:cubicBezTo>
                      <a:pt x="8661" y="4063"/>
                      <a:pt x="8661" y="3956"/>
                      <a:pt x="8554" y="3956"/>
                    </a:cubicBezTo>
                    <a:cubicBezTo>
                      <a:pt x="8448" y="4063"/>
                      <a:pt x="8768" y="4063"/>
                      <a:pt x="8661" y="4170"/>
                    </a:cubicBezTo>
                    <a:cubicBezTo>
                      <a:pt x="8448" y="4170"/>
                      <a:pt x="8448" y="4063"/>
                      <a:pt x="8341" y="4063"/>
                    </a:cubicBezTo>
                    <a:cubicBezTo>
                      <a:pt x="8234" y="3956"/>
                      <a:pt x="8234" y="4063"/>
                      <a:pt x="8127" y="4063"/>
                    </a:cubicBezTo>
                    <a:cubicBezTo>
                      <a:pt x="8234" y="4170"/>
                      <a:pt x="8341" y="4277"/>
                      <a:pt x="8448" y="4170"/>
                    </a:cubicBezTo>
                    <a:cubicBezTo>
                      <a:pt x="8554" y="4277"/>
                      <a:pt x="8234" y="4384"/>
                      <a:pt x="8234" y="4491"/>
                    </a:cubicBezTo>
                    <a:cubicBezTo>
                      <a:pt x="8127" y="4491"/>
                      <a:pt x="8020" y="4705"/>
                      <a:pt x="7913" y="4705"/>
                    </a:cubicBezTo>
                    <a:cubicBezTo>
                      <a:pt x="7806" y="4812"/>
                      <a:pt x="7699" y="4812"/>
                      <a:pt x="7699" y="4919"/>
                    </a:cubicBezTo>
                    <a:cubicBezTo>
                      <a:pt x="7592" y="4812"/>
                      <a:pt x="7592" y="4919"/>
                      <a:pt x="7485" y="4919"/>
                    </a:cubicBezTo>
                    <a:cubicBezTo>
                      <a:pt x="7378" y="4919"/>
                      <a:pt x="7378" y="5026"/>
                      <a:pt x="7271" y="5026"/>
                    </a:cubicBezTo>
                    <a:cubicBezTo>
                      <a:pt x="7378" y="5347"/>
                      <a:pt x="7164" y="5347"/>
                      <a:pt x="7164" y="5667"/>
                    </a:cubicBezTo>
                    <a:close/>
                    <a:moveTo>
                      <a:pt x="10800" y="2673"/>
                    </a:moveTo>
                    <a:cubicBezTo>
                      <a:pt x="10907" y="2673"/>
                      <a:pt x="10907" y="2780"/>
                      <a:pt x="10907" y="2673"/>
                    </a:cubicBezTo>
                    <a:cubicBezTo>
                      <a:pt x="11014" y="2887"/>
                      <a:pt x="11228" y="2887"/>
                      <a:pt x="11228" y="3101"/>
                    </a:cubicBezTo>
                    <a:cubicBezTo>
                      <a:pt x="11014" y="3208"/>
                      <a:pt x="10907" y="3101"/>
                      <a:pt x="10907" y="2994"/>
                    </a:cubicBezTo>
                    <a:cubicBezTo>
                      <a:pt x="10800" y="3101"/>
                      <a:pt x="10800" y="3208"/>
                      <a:pt x="10800" y="3422"/>
                    </a:cubicBezTo>
                    <a:cubicBezTo>
                      <a:pt x="10693" y="3422"/>
                      <a:pt x="10586" y="3422"/>
                      <a:pt x="10586" y="3315"/>
                    </a:cubicBezTo>
                    <a:cubicBezTo>
                      <a:pt x="10479" y="3315"/>
                      <a:pt x="10372" y="3208"/>
                      <a:pt x="10372" y="3208"/>
                    </a:cubicBezTo>
                    <a:cubicBezTo>
                      <a:pt x="10372" y="2994"/>
                      <a:pt x="10479" y="2994"/>
                      <a:pt x="10479" y="2887"/>
                    </a:cubicBezTo>
                    <a:cubicBezTo>
                      <a:pt x="10372" y="2780"/>
                      <a:pt x="10372" y="2994"/>
                      <a:pt x="10265" y="2994"/>
                    </a:cubicBezTo>
                    <a:cubicBezTo>
                      <a:pt x="10158" y="2887"/>
                      <a:pt x="10265" y="2887"/>
                      <a:pt x="10265" y="2780"/>
                    </a:cubicBezTo>
                    <a:cubicBezTo>
                      <a:pt x="10158" y="2673"/>
                      <a:pt x="10051" y="2673"/>
                      <a:pt x="10051" y="2566"/>
                    </a:cubicBezTo>
                    <a:cubicBezTo>
                      <a:pt x="10051" y="2246"/>
                      <a:pt x="10372" y="2459"/>
                      <a:pt x="10479" y="2566"/>
                    </a:cubicBezTo>
                    <a:cubicBezTo>
                      <a:pt x="10586" y="2566"/>
                      <a:pt x="10372" y="2459"/>
                      <a:pt x="10479" y="2352"/>
                    </a:cubicBezTo>
                    <a:cubicBezTo>
                      <a:pt x="10586" y="2352"/>
                      <a:pt x="10693" y="2459"/>
                      <a:pt x="10693" y="2566"/>
                    </a:cubicBezTo>
                    <a:cubicBezTo>
                      <a:pt x="10693" y="2673"/>
                      <a:pt x="10693" y="2673"/>
                      <a:pt x="10800" y="2673"/>
                    </a:cubicBezTo>
                    <a:close/>
                    <a:moveTo>
                      <a:pt x="10800" y="2246"/>
                    </a:moveTo>
                    <a:cubicBezTo>
                      <a:pt x="11014" y="2352"/>
                      <a:pt x="11335" y="2352"/>
                      <a:pt x="11655" y="2352"/>
                    </a:cubicBezTo>
                    <a:cubicBezTo>
                      <a:pt x="11655" y="2566"/>
                      <a:pt x="11549" y="2459"/>
                      <a:pt x="11549" y="2566"/>
                    </a:cubicBezTo>
                    <a:cubicBezTo>
                      <a:pt x="11228" y="2673"/>
                      <a:pt x="11014" y="2566"/>
                      <a:pt x="10800" y="2459"/>
                    </a:cubicBezTo>
                    <a:cubicBezTo>
                      <a:pt x="10800" y="2459"/>
                      <a:pt x="10800" y="2352"/>
                      <a:pt x="10800" y="2246"/>
                    </a:cubicBezTo>
                    <a:close/>
                    <a:moveTo>
                      <a:pt x="9089" y="6737"/>
                    </a:moveTo>
                    <a:cubicBezTo>
                      <a:pt x="8982" y="6737"/>
                      <a:pt x="8875" y="6737"/>
                      <a:pt x="8768" y="6737"/>
                    </a:cubicBezTo>
                    <a:cubicBezTo>
                      <a:pt x="8768" y="6737"/>
                      <a:pt x="8768" y="6630"/>
                      <a:pt x="8768" y="6416"/>
                    </a:cubicBezTo>
                    <a:cubicBezTo>
                      <a:pt x="8875" y="6416"/>
                      <a:pt x="8875" y="6523"/>
                      <a:pt x="8875" y="6309"/>
                    </a:cubicBezTo>
                    <a:cubicBezTo>
                      <a:pt x="8982" y="6309"/>
                      <a:pt x="8982" y="6309"/>
                      <a:pt x="9089" y="6309"/>
                    </a:cubicBezTo>
                    <a:cubicBezTo>
                      <a:pt x="9089" y="6523"/>
                      <a:pt x="9089" y="6523"/>
                      <a:pt x="9089" y="6737"/>
                    </a:cubicBezTo>
                    <a:close/>
                    <a:moveTo>
                      <a:pt x="8875" y="5240"/>
                    </a:moveTo>
                    <a:cubicBezTo>
                      <a:pt x="8768" y="5240"/>
                      <a:pt x="8768" y="5026"/>
                      <a:pt x="8554" y="5026"/>
                    </a:cubicBezTo>
                    <a:cubicBezTo>
                      <a:pt x="8554" y="4919"/>
                      <a:pt x="8661" y="4919"/>
                      <a:pt x="8661" y="4812"/>
                    </a:cubicBezTo>
                    <a:cubicBezTo>
                      <a:pt x="8661" y="4812"/>
                      <a:pt x="8661" y="4919"/>
                      <a:pt x="8554" y="4919"/>
                    </a:cubicBezTo>
                    <a:cubicBezTo>
                      <a:pt x="8554" y="4705"/>
                      <a:pt x="8661" y="4812"/>
                      <a:pt x="8661" y="4598"/>
                    </a:cubicBezTo>
                    <a:cubicBezTo>
                      <a:pt x="8768" y="4598"/>
                      <a:pt x="8768" y="4705"/>
                      <a:pt x="8875" y="4812"/>
                    </a:cubicBezTo>
                    <a:cubicBezTo>
                      <a:pt x="8982" y="4705"/>
                      <a:pt x="9089" y="4812"/>
                      <a:pt x="9196" y="4705"/>
                    </a:cubicBezTo>
                    <a:cubicBezTo>
                      <a:pt x="9196" y="4919"/>
                      <a:pt x="9303" y="4919"/>
                      <a:pt x="9303" y="5133"/>
                    </a:cubicBezTo>
                    <a:cubicBezTo>
                      <a:pt x="9196" y="5133"/>
                      <a:pt x="9089" y="5133"/>
                      <a:pt x="9089" y="5240"/>
                    </a:cubicBezTo>
                    <a:cubicBezTo>
                      <a:pt x="9089" y="5240"/>
                      <a:pt x="8875" y="5133"/>
                      <a:pt x="8875" y="5240"/>
                    </a:cubicBezTo>
                    <a:close/>
                    <a:moveTo>
                      <a:pt x="13259" y="3422"/>
                    </a:moveTo>
                    <a:cubicBezTo>
                      <a:pt x="13473" y="3315"/>
                      <a:pt x="13687" y="3208"/>
                      <a:pt x="13901" y="3208"/>
                    </a:cubicBezTo>
                    <a:cubicBezTo>
                      <a:pt x="13901" y="3208"/>
                      <a:pt x="13901" y="3101"/>
                      <a:pt x="13901" y="3101"/>
                    </a:cubicBezTo>
                    <a:cubicBezTo>
                      <a:pt x="14008" y="3101"/>
                      <a:pt x="14008" y="3101"/>
                      <a:pt x="14115" y="3101"/>
                    </a:cubicBezTo>
                    <a:cubicBezTo>
                      <a:pt x="14115" y="3315"/>
                      <a:pt x="14008" y="3422"/>
                      <a:pt x="13794" y="3422"/>
                    </a:cubicBezTo>
                    <a:cubicBezTo>
                      <a:pt x="13580" y="3422"/>
                      <a:pt x="13473" y="3636"/>
                      <a:pt x="13259" y="3636"/>
                    </a:cubicBezTo>
                    <a:cubicBezTo>
                      <a:pt x="13259" y="3956"/>
                      <a:pt x="13366" y="3956"/>
                      <a:pt x="13473" y="4170"/>
                    </a:cubicBezTo>
                    <a:cubicBezTo>
                      <a:pt x="13366" y="4170"/>
                      <a:pt x="13366" y="4170"/>
                      <a:pt x="13366" y="4277"/>
                    </a:cubicBezTo>
                    <a:cubicBezTo>
                      <a:pt x="13259" y="4170"/>
                      <a:pt x="13152" y="4063"/>
                      <a:pt x="13046" y="4063"/>
                    </a:cubicBezTo>
                    <a:cubicBezTo>
                      <a:pt x="13046" y="3956"/>
                      <a:pt x="13046" y="3850"/>
                      <a:pt x="13152" y="3850"/>
                    </a:cubicBezTo>
                    <a:cubicBezTo>
                      <a:pt x="13152" y="3636"/>
                      <a:pt x="13259" y="3636"/>
                      <a:pt x="13259" y="3422"/>
                    </a:cubicBezTo>
                    <a:close/>
                    <a:moveTo>
                      <a:pt x="13259" y="2566"/>
                    </a:moveTo>
                    <a:cubicBezTo>
                      <a:pt x="13259" y="2352"/>
                      <a:pt x="13580" y="2246"/>
                      <a:pt x="13580" y="2566"/>
                    </a:cubicBezTo>
                    <a:cubicBezTo>
                      <a:pt x="13473" y="2459"/>
                      <a:pt x="13366" y="2673"/>
                      <a:pt x="13259" y="2566"/>
                    </a:cubicBezTo>
                    <a:close/>
                    <a:moveTo>
                      <a:pt x="15398" y="2566"/>
                    </a:moveTo>
                    <a:cubicBezTo>
                      <a:pt x="15612" y="2459"/>
                      <a:pt x="15933" y="2459"/>
                      <a:pt x="16040" y="2673"/>
                    </a:cubicBezTo>
                    <a:cubicBezTo>
                      <a:pt x="15933" y="2887"/>
                      <a:pt x="15719" y="2673"/>
                      <a:pt x="15398" y="2780"/>
                    </a:cubicBezTo>
                    <a:cubicBezTo>
                      <a:pt x="15398" y="2673"/>
                      <a:pt x="15398" y="2566"/>
                      <a:pt x="15398" y="2566"/>
                    </a:cubicBezTo>
                    <a:close/>
                    <a:moveTo>
                      <a:pt x="4598" y="5240"/>
                    </a:moveTo>
                    <a:cubicBezTo>
                      <a:pt x="4491" y="5453"/>
                      <a:pt x="4277" y="5026"/>
                      <a:pt x="4277" y="5347"/>
                    </a:cubicBezTo>
                    <a:cubicBezTo>
                      <a:pt x="4170" y="5347"/>
                      <a:pt x="4063" y="5347"/>
                      <a:pt x="4063" y="5240"/>
                    </a:cubicBezTo>
                    <a:cubicBezTo>
                      <a:pt x="4170" y="5240"/>
                      <a:pt x="4170" y="5026"/>
                      <a:pt x="4277" y="5026"/>
                    </a:cubicBezTo>
                    <a:cubicBezTo>
                      <a:pt x="4384" y="4919"/>
                      <a:pt x="4277" y="5026"/>
                      <a:pt x="4384" y="5026"/>
                    </a:cubicBezTo>
                    <a:cubicBezTo>
                      <a:pt x="4491" y="5133"/>
                      <a:pt x="4384" y="5240"/>
                      <a:pt x="4598" y="5240"/>
                    </a:cubicBezTo>
                    <a:close/>
                    <a:moveTo>
                      <a:pt x="5133" y="10693"/>
                    </a:moveTo>
                    <a:cubicBezTo>
                      <a:pt x="5133" y="10800"/>
                      <a:pt x="5026" y="10800"/>
                      <a:pt x="4919" y="10800"/>
                    </a:cubicBezTo>
                    <a:cubicBezTo>
                      <a:pt x="4919" y="10800"/>
                      <a:pt x="4919" y="10693"/>
                      <a:pt x="4919" y="10693"/>
                    </a:cubicBezTo>
                    <a:cubicBezTo>
                      <a:pt x="5026" y="10693"/>
                      <a:pt x="5026" y="10693"/>
                      <a:pt x="5133" y="10693"/>
                    </a:cubicBezTo>
                    <a:close/>
                    <a:moveTo>
                      <a:pt x="4170" y="10586"/>
                    </a:moveTo>
                    <a:cubicBezTo>
                      <a:pt x="4063" y="10586"/>
                      <a:pt x="4063" y="10372"/>
                      <a:pt x="3850" y="10372"/>
                    </a:cubicBezTo>
                    <a:cubicBezTo>
                      <a:pt x="3743" y="10265"/>
                      <a:pt x="3743" y="10372"/>
                      <a:pt x="3636" y="10372"/>
                    </a:cubicBezTo>
                    <a:cubicBezTo>
                      <a:pt x="3636" y="10265"/>
                      <a:pt x="3636" y="10265"/>
                      <a:pt x="3636" y="10265"/>
                    </a:cubicBezTo>
                    <a:cubicBezTo>
                      <a:pt x="3850" y="10265"/>
                      <a:pt x="3956" y="10265"/>
                      <a:pt x="4170" y="10265"/>
                    </a:cubicBezTo>
                    <a:cubicBezTo>
                      <a:pt x="4170" y="10372"/>
                      <a:pt x="4277" y="10372"/>
                      <a:pt x="4384" y="10372"/>
                    </a:cubicBezTo>
                    <a:cubicBezTo>
                      <a:pt x="4384" y="10479"/>
                      <a:pt x="4491" y="10372"/>
                      <a:pt x="4384" y="10479"/>
                    </a:cubicBezTo>
                    <a:cubicBezTo>
                      <a:pt x="4598" y="10586"/>
                      <a:pt x="4812" y="10479"/>
                      <a:pt x="4812" y="10800"/>
                    </a:cubicBezTo>
                    <a:cubicBezTo>
                      <a:pt x="4812" y="10800"/>
                      <a:pt x="4598" y="10693"/>
                      <a:pt x="4598" y="10800"/>
                    </a:cubicBezTo>
                    <a:cubicBezTo>
                      <a:pt x="4598" y="10800"/>
                      <a:pt x="4491" y="10693"/>
                      <a:pt x="4384" y="10800"/>
                    </a:cubicBezTo>
                    <a:cubicBezTo>
                      <a:pt x="4384" y="10693"/>
                      <a:pt x="4384" y="10586"/>
                      <a:pt x="4491" y="10586"/>
                    </a:cubicBezTo>
                    <a:cubicBezTo>
                      <a:pt x="4384" y="10479"/>
                      <a:pt x="4277" y="10586"/>
                      <a:pt x="4170" y="10586"/>
                    </a:cubicBezTo>
                    <a:close/>
                    <a:moveTo>
                      <a:pt x="4277" y="10800"/>
                    </a:moveTo>
                    <a:cubicBezTo>
                      <a:pt x="4170" y="10800"/>
                      <a:pt x="4170" y="10800"/>
                      <a:pt x="4063" y="10800"/>
                    </a:cubicBezTo>
                    <a:cubicBezTo>
                      <a:pt x="4063" y="10800"/>
                      <a:pt x="4063" y="10693"/>
                      <a:pt x="4063" y="10693"/>
                    </a:cubicBezTo>
                    <a:cubicBezTo>
                      <a:pt x="4170" y="10693"/>
                      <a:pt x="4277" y="10693"/>
                      <a:pt x="4277" y="10800"/>
                    </a:cubicBezTo>
                    <a:close/>
                    <a:moveTo>
                      <a:pt x="4063" y="10158"/>
                    </a:moveTo>
                    <a:cubicBezTo>
                      <a:pt x="4063" y="10051"/>
                      <a:pt x="4063" y="10051"/>
                      <a:pt x="4063" y="9945"/>
                    </a:cubicBezTo>
                    <a:cubicBezTo>
                      <a:pt x="4170" y="9945"/>
                      <a:pt x="4170" y="10051"/>
                      <a:pt x="4170" y="10158"/>
                    </a:cubicBezTo>
                    <a:cubicBezTo>
                      <a:pt x="4170" y="10158"/>
                      <a:pt x="4063" y="10158"/>
                      <a:pt x="4063" y="10158"/>
                    </a:cubicBezTo>
                    <a:close/>
                    <a:moveTo>
                      <a:pt x="4277" y="9945"/>
                    </a:moveTo>
                    <a:cubicBezTo>
                      <a:pt x="4277" y="9945"/>
                      <a:pt x="4384" y="9945"/>
                      <a:pt x="4384" y="9945"/>
                    </a:cubicBezTo>
                    <a:cubicBezTo>
                      <a:pt x="4384" y="10051"/>
                      <a:pt x="4491" y="10051"/>
                      <a:pt x="4384" y="10158"/>
                    </a:cubicBezTo>
                    <a:cubicBezTo>
                      <a:pt x="4277" y="10158"/>
                      <a:pt x="4277" y="10158"/>
                      <a:pt x="4277" y="9945"/>
                    </a:cubicBezTo>
                    <a:close/>
                    <a:moveTo>
                      <a:pt x="4491" y="10372"/>
                    </a:moveTo>
                    <a:cubicBezTo>
                      <a:pt x="4491" y="10265"/>
                      <a:pt x="4491" y="10158"/>
                      <a:pt x="4491" y="10158"/>
                    </a:cubicBezTo>
                    <a:cubicBezTo>
                      <a:pt x="4598" y="10158"/>
                      <a:pt x="4598" y="10158"/>
                      <a:pt x="4598" y="10265"/>
                    </a:cubicBezTo>
                    <a:cubicBezTo>
                      <a:pt x="4598" y="10265"/>
                      <a:pt x="4705" y="10265"/>
                      <a:pt x="4705" y="10372"/>
                    </a:cubicBezTo>
                    <a:cubicBezTo>
                      <a:pt x="4812" y="10479"/>
                      <a:pt x="4491" y="10479"/>
                      <a:pt x="4598" y="10265"/>
                    </a:cubicBezTo>
                    <a:cubicBezTo>
                      <a:pt x="4598" y="10265"/>
                      <a:pt x="4491" y="10372"/>
                      <a:pt x="4491" y="10372"/>
                    </a:cubicBezTo>
                    <a:close/>
                    <a:moveTo>
                      <a:pt x="20317" y="13473"/>
                    </a:moveTo>
                    <a:cubicBezTo>
                      <a:pt x="20317" y="13366"/>
                      <a:pt x="20317" y="13259"/>
                      <a:pt x="20317" y="13259"/>
                    </a:cubicBezTo>
                    <a:cubicBezTo>
                      <a:pt x="20210" y="13046"/>
                      <a:pt x="19996" y="12939"/>
                      <a:pt x="19889" y="12832"/>
                    </a:cubicBezTo>
                    <a:cubicBezTo>
                      <a:pt x="19782" y="12832"/>
                      <a:pt x="19675" y="12939"/>
                      <a:pt x="19675" y="12832"/>
                    </a:cubicBezTo>
                    <a:cubicBezTo>
                      <a:pt x="19675" y="12725"/>
                      <a:pt x="19782" y="12832"/>
                      <a:pt x="19782" y="12725"/>
                    </a:cubicBezTo>
                    <a:cubicBezTo>
                      <a:pt x="19889" y="12618"/>
                      <a:pt x="19889" y="12832"/>
                      <a:pt x="19889" y="12725"/>
                    </a:cubicBezTo>
                    <a:cubicBezTo>
                      <a:pt x="19996" y="12725"/>
                      <a:pt x="19996" y="12725"/>
                      <a:pt x="20103" y="12618"/>
                    </a:cubicBezTo>
                    <a:cubicBezTo>
                      <a:pt x="20103" y="12618"/>
                      <a:pt x="20210" y="12618"/>
                      <a:pt x="20317" y="12618"/>
                    </a:cubicBezTo>
                    <a:cubicBezTo>
                      <a:pt x="20424" y="12725"/>
                      <a:pt x="20424" y="12725"/>
                      <a:pt x="20424" y="12725"/>
                    </a:cubicBezTo>
                    <a:cubicBezTo>
                      <a:pt x="20424" y="13046"/>
                      <a:pt x="20317" y="13259"/>
                      <a:pt x="20317" y="13473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defTabSz="914354">
                  <a:defRPr/>
                </a:pPr>
                <a:endParaRPr sz="1100" kern="0">
                  <a:solidFill>
                    <a:srgbClr val="777777"/>
                  </a:solidFill>
                  <a:latin typeface="Helvetica"/>
                  <a:cs typeface="Helvetica"/>
                  <a:sym typeface="Helvetica"/>
                </a:endParaRPr>
              </a:p>
            </p:txBody>
          </p:sp>
          <p:grpSp>
            <p:nvGrpSpPr>
              <p:cNvPr id="13" name="组合 12"/>
              <p:cNvGrpSpPr/>
              <p:nvPr/>
            </p:nvGrpSpPr>
            <p:grpSpPr>
              <a:xfrm>
                <a:off x="636205" y="4178131"/>
                <a:ext cx="693977" cy="693978"/>
                <a:chOff x="853580" y="4019937"/>
                <a:chExt cx="839713" cy="839713"/>
              </a:xfrm>
            </p:grpSpPr>
            <p:sp>
              <p:nvSpPr>
                <p:cNvPr id="63" name="椭圆 62"/>
                <p:cNvSpPr/>
                <p:nvPr/>
              </p:nvSpPr>
              <p:spPr>
                <a:xfrm>
                  <a:off x="853580" y="4019937"/>
                  <a:ext cx="839713" cy="839713"/>
                </a:xfrm>
                <a:prstGeom prst="ellipse">
                  <a:avLst/>
                </a:prstGeom>
                <a:solidFill>
                  <a:srgbClr val="13AE67"/>
                </a:solidFill>
                <a:ln w="12700">
                  <a:solidFill>
                    <a:sysClr val="window" lastClr="FFFFFF"/>
                  </a:solidFill>
                </a:ln>
              </p:spPr>
              <p:txBody>
                <a:bodyPr wrap="square" lIns="0" rIns="0" rtlCol="0" anchor="ctr">
                  <a:noAutofit/>
                </a:bodyPr>
                <a:lstStyle/>
                <a:p>
                  <a:pPr algn="ctr" defTabSz="914354">
                    <a:defRPr/>
                  </a:pPr>
                  <a:endParaRPr lang="zh-CN" altLang="en-US" sz="800" kern="0" dirty="0">
                    <a:solidFill>
                      <a:srgbClr val="777777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endParaRPr>
                </a:p>
              </p:txBody>
            </p:sp>
            <p:grpSp>
              <p:nvGrpSpPr>
                <p:cNvPr id="64" name="组合 63"/>
                <p:cNvGrpSpPr/>
                <p:nvPr/>
              </p:nvGrpSpPr>
              <p:grpSpPr>
                <a:xfrm>
                  <a:off x="1106044" y="4241875"/>
                  <a:ext cx="334790" cy="395836"/>
                  <a:chOff x="7631947" y="5173708"/>
                  <a:chExt cx="445607" cy="526859"/>
                </a:xfrm>
              </p:grpSpPr>
              <p:sp>
                <p:nvSpPr>
                  <p:cNvPr id="79" name="Shape 3291"/>
                  <p:cNvSpPr/>
                  <p:nvPr/>
                </p:nvSpPr>
                <p:spPr>
                  <a:xfrm>
                    <a:off x="7930919" y="5569735"/>
                    <a:ext cx="146635" cy="116494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10537" y="12631"/>
                        </a:moveTo>
                        <a:cubicBezTo>
                          <a:pt x="9351" y="13180"/>
                          <a:pt x="8034" y="13729"/>
                          <a:pt x="6849" y="14095"/>
                        </a:cubicBezTo>
                        <a:cubicBezTo>
                          <a:pt x="5532" y="14461"/>
                          <a:pt x="4346" y="14827"/>
                          <a:pt x="3424" y="15010"/>
                        </a:cubicBezTo>
                        <a:cubicBezTo>
                          <a:pt x="2371" y="15193"/>
                          <a:pt x="1580" y="15376"/>
                          <a:pt x="922" y="15559"/>
                        </a:cubicBezTo>
                        <a:cubicBezTo>
                          <a:pt x="395" y="15559"/>
                          <a:pt x="0" y="15742"/>
                          <a:pt x="0" y="15742"/>
                        </a:cubicBezTo>
                        <a:cubicBezTo>
                          <a:pt x="659" y="21600"/>
                          <a:pt x="659" y="21600"/>
                          <a:pt x="659" y="21600"/>
                        </a:cubicBezTo>
                        <a:cubicBezTo>
                          <a:pt x="659" y="21600"/>
                          <a:pt x="922" y="21417"/>
                          <a:pt x="1580" y="21234"/>
                        </a:cubicBezTo>
                        <a:cubicBezTo>
                          <a:pt x="2239" y="21234"/>
                          <a:pt x="3161" y="20868"/>
                          <a:pt x="4215" y="20685"/>
                        </a:cubicBezTo>
                        <a:cubicBezTo>
                          <a:pt x="5268" y="20319"/>
                          <a:pt x="6454" y="19953"/>
                          <a:pt x="7771" y="19403"/>
                        </a:cubicBezTo>
                        <a:cubicBezTo>
                          <a:pt x="9088" y="18854"/>
                          <a:pt x="10537" y="18122"/>
                          <a:pt x="11854" y="17390"/>
                        </a:cubicBezTo>
                        <a:cubicBezTo>
                          <a:pt x="12512" y="16841"/>
                          <a:pt x="13171" y="16475"/>
                          <a:pt x="13829" y="16108"/>
                        </a:cubicBezTo>
                        <a:cubicBezTo>
                          <a:pt x="14488" y="15559"/>
                          <a:pt x="15146" y="15010"/>
                          <a:pt x="15805" y="14644"/>
                        </a:cubicBezTo>
                        <a:cubicBezTo>
                          <a:pt x="16463" y="13912"/>
                          <a:pt x="16990" y="13546"/>
                          <a:pt x="17517" y="12814"/>
                        </a:cubicBezTo>
                        <a:cubicBezTo>
                          <a:pt x="18044" y="12264"/>
                          <a:pt x="18571" y="11532"/>
                          <a:pt x="18966" y="10983"/>
                        </a:cubicBezTo>
                        <a:cubicBezTo>
                          <a:pt x="19361" y="10251"/>
                          <a:pt x="19756" y="9702"/>
                          <a:pt x="19888" y="8969"/>
                        </a:cubicBezTo>
                        <a:cubicBezTo>
                          <a:pt x="20283" y="8237"/>
                          <a:pt x="20415" y="7505"/>
                          <a:pt x="20546" y="6773"/>
                        </a:cubicBezTo>
                        <a:cubicBezTo>
                          <a:pt x="20546" y="6407"/>
                          <a:pt x="20546" y="6224"/>
                          <a:pt x="20546" y="6224"/>
                        </a:cubicBezTo>
                        <a:cubicBezTo>
                          <a:pt x="20546" y="6041"/>
                          <a:pt x="20546" y="6041"/>
                          <a:pt x="20546" y="6041"/>
                        </a:cubicBezTo>
                        <a:cubicBezTo>
                          <a:pt x="21600" y="6041"/>
                          <a:pt x="21600" y="6041"/>
                          <a:pt x="21600" y="6041"/>
                        </a:cubicBezTo>
                        <a:cubicBezTo>
                          <a:pt x="21600" y="6041"/>
                          <a:pt x="19229" y="2380"/>
                          <a:pt x="16068" y="0"/>
                        </a:cubicBezTo>
                        <a:cubicBezTo>
                          <a:pt x="16595" y="1831"/>
                          <a:pt x="16727" y="2380"/>
                          <a:pt x="16990" y="5492"/>
                        </a:cubicBezTo>
                        <a:cubicBezTo>
                          <a:pt x="17649" y="5675"/>
                          <a:pt x="17649" y="5675"/>
                          <a:pt x="17649" y="5675"/>
                        </a:cubicBezTo>
                        <a:cubicBezTo>
                          <a:pt x="17649" y="5675"/>
                          <a:pt x="17649" y="5675"/>
                          <a:pt x="17649" y="5675"/>
                        </a:cubicBezTo>
                        <a:cubicBezTo>
                          <a:pt x="17649" y="5858"/>
                          <a:pt x="17649" y="6041"/>
                          <a:pt x="17517" y="6224"/>
                        </a:cubicBezTo>
                        <a:cubicBezTo>
                          <a:pt x="17517" y="6224"/>
                          <a:pt x="17517" y="6407"/>
                          <a:pt x="17254" y="6956"/>
                        </a:cubicBezTo>
                        <a:cubicBezTo>
                          <a:pt x="17122" y="7322"/>
                          <a:pt x="16859" y="7688"/>
                          <a:pt x="16595" y="8054"/>
                        </a:cubicBezTo>
                        <a:cubicBezTo>
                          <a:pt x="16332" y="8420"/>
                          <a:pt x="15937" y="8969"/>
                          <a:pt x="15541" y="9336"/>
                        </a:cubicBezTo>
                        <a:cubicBezTo>
                          <a:pt x="15146" y="9702"/>
                          <a:pt x="14620" y="10068"/>
                          <a:pt x="14093" y="10617"/>
                        </a:cubicBezTo>
                        <a:cubicBezTo>
                          <a:pt x="13566" y="10983"/>
                          <a:pt x="13039" y="11349"/>
                          <a:pt x="12380" y="11715"/>
                        </a:cubicBezTo>
                        <a:cubicBezTo>
                          <a:pt x="11854" y="12081"/>
                          <a:pt x="11195" y="12264"/>
                          <a:pt x="10537" y="12631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80" name="Shape 3292"/>
                  <p:cNvSpPr/>
                  <p:nvPr/>
                </p:nvSpPr>
                <p:spPr>
                  <a:xfrm>
                    <a:off x="7702820" y="5637839"/>
                    <a:ext cx="192255" cy="62728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904" y="0"/>
                        </a:moveTo>
                        <a:cubicBezTo>
                          <a:pt x="0" y="8775"/>
                          <a:pt x="0" y="8775"/>
                          <a:pt x="0" y="8775"/>
                        </a:cubicBezTo>
                        <a:cubicBezTo>
                          <a:pt x="0" y="8775"/>
                          <a:pt x="201" y="9112"/>
                          <a:pt x="703" y="9450"/>
                        </a:cubicBezTo>
                        <a:cubicBezTo>
                          <a:pt x="1206" y="10125"/>
                          <a:pt x="1808" y="11138"/>
                          <a:pt x="2612" y="11813"/>
                        </a:cubicBezTo>
                        <a:cubicBezTo>
                          <a:pt x="3014" y="12150"/>
                          <a:pt x="3416" y="12825"/>
                          <a:pt x="3918" y="13163"/>
                        </a:cubicBezTo>
                        <a:cubicBezTo>
                          <a:pt x="4420" y="13500"/>
                          <a:pt x="4923" y="13838"/>
                          <a:pt x="5425" y="14175"/>
                        </a:cubicBezTo>
                        <a:cubicBezTo>
                          <a:pt x="5927" y="14513"/>
                          <a:pt x="6430" y="14850"/>
                          <a:pt x="6932" y="15188"/>
                        </a:cubicBezTo>
                        <a:cubicBezTo>
                          <a:pt x="7434" y="15863"/>
                          <a:pt x="8037" y="15863"/>
                          <a:pt x="8540" y="16200"/>
                        </a:cubicBezTo>
                        <a:cubicBezTo>
                          <a:pt x="9142" y="16538"/>
                          <a:pt x="9645" y="16875"/>
                          <a:pt x="10147" y="17213"/>
                        </a:cubicBezTo>
                        <a:cubicBezTo>
                          <a:pt x="10750" y="17213"/>
                          <a:pt x="11252" y="17550"/>
                          <a:pt x="11754" y="17550"/>
                        </a:cubicBezTo>
                        <a:cubicBezTo>
                          <a:pt x="12759" y="17888"/>
                          <a:pt x="13764" y="18225"/>
                          <a:pt x="14567" y="18225"/>
                        </a:cubicBezTo>
                        <a:cubicBezTo>
                          <a:pt x="15070" y="18563"/>
                          <a:pt x="15371" y="18563"/>
                          <a:pt x="15673" y="18563"/>
                        </a:cubicBezTo>
                        <a:cubicBezTo>
                          <a:pt x="15873" y="18563"/>
                          <a:pt x="15974" y="18563"/>
                          <a:pt x="16074" y="18563"/>
                        </a:cubicBezTo>
                        <a:cubicBezTo>
                          <a:pt x="15974" y="21600"/>
                          <a:pt x="15974" y="21600"/>
                          <a:pt x="15974" y="21600"/>
                        </a:cubicBezTo>
                        <a:cubicBezTo>
                          <a:pt x="21600" y="10125"/>
                          <a:pt x="21600" y="10125"/>
                          <a:pt x="21600" y="10125"/>
                        </a:cubicBezTo>
                        <a:cubicBezTo>
                          <a:pt x="16577" y="5737"/>
                          <a:pt x="16577" y="5737"/>
                          <a:pt x="16577" y="5737"/>
                        </a:cubicBezTo>
                        <a:cubicBezTo>
                          <a:pt x="16577" y="7425"/>
                          <a:pt x="16577" y="7425"/>
                          <a:pt x="16577" y="7425"/>
                        </a:cubicBezTo>
                        <a:cubicBezTo>
                          <a:pt x="16275" y="7425"/>
                          <a:pt x="16074" y="7425"/>
                          <a:pt x="15773" y="7425"/>
                        </a:cubicBezTo>
                        <a:cubicBezTo>
                          <a:pt x="15472" y="7087"/>
                          <a:pt x="15070" y="7425"/>
                          <a:pt x="14668" y="7087"/>
                        </a:cubicBezTo>
                        <a:cubicBezTo>
                          <a:pt x="13864" y="7087"/>
                          <a:pt x="13060" y="7087"/>
                          <a:pt x="12056" y="6750"/>
                        </a:cubicBezTo>
                        <a:cubicBezTo>
                          <a:pt x="11051" y="6412"/>
                          <a:pt x="10047" y="6075"/>
                          <a:pt x="9042" y="5737"/>
                        </a:cubicBezTo>
                        <a:cubicBezTo>
                          <a:pt x="8439" y="5737"/>
                          <a:pt x="7937" y="5400"/>
                          <a:pt x="7434" y="5062"/>
                        </a:cubicBezTo>
                        <a:cubicBezTo>
                          <a:pt x="6932" y="4725"/>
                          <a:pt x="6430" y="4725"/>
                          <a:pt x="6028" y="4387"/>
                        </a:cubicBezTo>
                        <a:cubicBezTo>
                          <a:pt x="5526" y="4050"/>
                          <a:pt x="5023" y="3712"/>
                          <a:pt x="4621" y="3375"/>
                        </a:cubicBezTo>
                        <a:cubicBezTo>
                          <a:pt x="4220" y="3037"/>
                          <a:pt x="3818" y="2700"/>
                          <a:pt x="3416" y="2362"/>
                        </a:cubicBezTo>
                        <a:cubicBezTo>
                          <a:pt x="2612" y="1687"/>
                          <a:pt x="2009" y="1012"/>
                          <a:pt x="1607" y="675"/>
                        </a:cubicBezTo>
                        <a:cubicBezTo>
                          <a:pt x="1206" y="337"/>
                          <a:pt x="904" y="0"/>
                          <a:pt x="904" y="0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81" name="Shape 3293"/>
                  <p:cNvSpPr/>
                  <p:nvPr/>
                </p:nvSpPr>
                <p:spPr>
                  <a:xfrm>
                    <a:off x="7770436" y="5518657"/>
                    <a:ext cx="11405" cy="14338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3600" y="1440"/>
                        </a:moveTo>
                        <a:cubicBezTo>
                          <a:pt x="0" y="21600"/>
                          <a:pt x="0" y="21600"/>
                          <a:pt x="0" y="21600"/>
                        </a:cubicBezTo>
                        <a:cubicBezTo>
                          <a:pt x="3600" y="21600"/>
                          <a:pt x="7200" y="20160"/>
                          <a:pt x="9000" y="20160"/>
                        </a:cubicBezTo>
                        <a:cubicBezTo>
                          <a:pt x="18000" y="18720"/>
                          <a:pt x="21600" y="18720"/>
                          <a:pt x="21600" y="18720"/>
                        </a:cubicBezTo>
                        <a:cubicBezTo>
                          <a:pt x="19800" y="0"/>
                          <a:pt x="19800" y="0"/>
                          <a:pt x="19800" y="0"/>
                        </a:cubicBezTo>
                        <a:cubicBezTo>
                          <a:pt x="19800" y="0"/>
                          <a:pt x="14400" y="0"/>
                          <a:pt x="5400" y="1440"/>
                        </a:cubicBezTo>
                        <a:cubicBezTo>
                          <a:pt x="5400" y="1440"/>
                          <a:pt x="3600" y="1440"/>
                          <a:pt x="3600" y="1440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82" name="Shape 3294"/>
                  <p:cNvSpPr/>
                  <p:nvPr/>
                </p:nvSpPr>
                <p:spPr>
                  <a:xfrm>
                    <a:off x="7989573" y="5530306"/>
                    <a:ext cx="20367" cy="21507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0" y="0"/>
                        </a:moveTo>
                        <a:cubicBezTo>
                          <a:pt x="0" y="1964"/>
                          <a:pt x="0" y="1964"/>
                          <a:pt x="0" y="1964"/>
                        </a:cubicBezTo>
                        <a:cubicBezTo>
                          <a:pt x="0" y="1964"/>
                          <a:pt x="0" y="1964"/>
                          <a:pt x="0" y="1964"/>
                        </a:cubicBezTo>
                        <a:cubicBezTo>
                          <a:pt x="0" y="2945"/>
                          <a:pt x="2945" y="8836"/>
                          <a:pt x="4909" y="14727"/>
                        </a:cubicBezTo>
                        <a:cubicBezTo>
                          <a:pt x="4909" y="15709"/>
                          <a:pt x="4909" y="16691"/>
                          <a:pt x="4909" y="17673"/>
                        </a:cubicBezTo>
                        <a:cubicBezTo>
                          <a:pt x="6873" y="18655"/>
                          <a:pt x="7855" y="18655"/>
                          <a:pt x="9818" y="19636"/>
                        </a:cubicBezTo>
                        <a:cubicBezTo>
                          <a:pt x="13745" y="20618"/>
                          <a:pt x="15709" y="21600"/>
                          <a:pt x="15709" y="21600"/>
                        </a:cubicBezTo>
                        <a:cubicBezTo>
                          <a:pt x="21600" y="5891"/>
                          <a:pt x="21600" y="5891"/>
                          <a:pt x="21600" y="5891"/>
                        </a:cubicBezTo>
                        <a:cubicBezTo>
                          <a:pt x="21600" y="5891"/>
                          <a:pt x="19636" y="4909"/>
                          <a:pt x="14727" y="3927"/>
                        </a:cubicBezTo>
                        <a:cubicBezTo>
                          <a:pt x="10800" y="2945"/>
                          <a:pt x="5891" y="982"/>
                          <a:pt x="0" y="0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83" name="Shape 3295"/>
                  <p:cNvSpPr/>
                  <p:nvPr/>
                </p:nvSpPr>
                <p:spPr>
                  <a:xfrm>
                    <a:off x="7759844" y="5272076"/>
                    <a:ext cx="32586" cy="35101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0636" extrusionOk="0">
                        <a:moveTo>
                          <a:pt x="21000" y="6625"/>
                        </a:moveTo>
                        <a:cubicBezTo>
                          <a:pt x="16800" y="3122"/>
                          <a:pt x="10800" y="-964"/>
                          <a:pt x="4800" y="204"/>
                        </a:cubicBezTo>
                        <a:cubicBezTo>
                          <a:pt x="4800" y="204"/>
                          <a:pt x="4200" y="787"/>
                          <a:pt x="3000" y="1371"/>
                        </a:cubicBezTo>
                        <a:cubicBezTo>
                          <a:pt x="2400" y="3122"/>
                          <a:pt x="2400" y="3122"/>
                          <a:pt x="2400" y="3122"/>
                        </a:cubicBezTo>
                        <a:cubicBezTo>
                          <a:pt x="0" y="20636"/>
                          <a:pt x="0" y="20636"/>
                          <a:pt x="0" y="20636"/>
                        </a:cubicBezTo>
                        <a:cubicBezTo>
                          <a:pt x="3600" y="15382"/>
                          <a:pt x="10800" y="10712"/>
                          <a:pt x="21600" y="7209"/>
                        </a:cubicBezTo>
                        <a:cubicBezTo>
                          <a:pt x="21600" y="7209"/>
                          <a:pt x="21000" y="7209"/>
                          <a:pt x="21000" y="6625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84" name="Shape 3296"/>
                  <p:cNvSpPr/>
                  <p:nvPr/>
                </p:nvSpPr>
                <p:spPr>
                  <a:xfrm>
                    <a:off x="7691972" y="5272228"/>
                    <a:ext cx="75205" cy="268832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441" h="21600" extrusionOk="0">
                        <a:moveTo>
                          <a:pt x="857" y="11077"/>
                        </a:moveTo>
                        <a:cubicBezTo>
                          <a:pt x="2382" y="11473"/>
                          <a:pt x="4161" y="11393"/>
                          <a:pt x="4923" y="11393"/>
                        </a:cubicBezTo>
                        <a:cubicBezTo>
                          <a:pt x="4923" y="11314"/>
                          <a:pt x="4923" y="11156"/>
                          <a:pt x="4923" y="10919"/>
                        </a:cubicBezTo>
                        <a:cubicBezTo>
                          <a:pt x="4669" y="9020"/>
                          <a:pt x="3907" y="3640"/>
                          <a:pt x="4415" y="3798"/>
                        </a:cubicBezTo>
                        <a:cubicBezTo>
                          <a:pt x="4415" y="3877"/>
                          <a:pt x="4669" y="3956"/>
                          <a:pt x="4923" y="3956"/>
                        </a:cubicBezTo>
                        <a:cubicBezTo>
                          <a:pt x="4923" y="3956"/>
                          <a:pt x="4923" y="3956"/>
                          <a:pt x="4923" y="3956"/>
                        </a:cubicBezTo>
                        <a:cubicBezTo>
                          <a:pt x="5432" y="7991"/>
                          <a:pt x="5432" y="7991"/>
                          <a:pt x="5432" y="7991"/>
                        </a:cubicBezTo>
                        <a:cubicBezTo>
                          <a:pt x="5686" y="9257"/>
                          <a:pt x="5940" y="10365"/>
                          <a:pt x="6194" y="11077"/>
                        </a:cubicBezTo>
                        <a:cubicBezTo>
                          <a:pt x="6194" y="11710"/>
                          <a:pt x="6448" y="12026"/>
                          <a:pt x="6448" y="12026"/>
                        </a:cubicBezTo>
                        <a:cubicBezTo>
                          <a:pt x="6448" y="12105"/>
                          <a:pt x="6448" y="12105"/>
                          <a:pt x="6448" y="12105"/>
                        </a:cubicBezTo>
                        <a:cubicBezTo>
                          <a:pt x="6702" y="12422"/>
                          <a:pt x="6956" y="12659"/>
                          <a:pt x="7465" y="12897"/>
                        </a:cubicBezTo>
                        <a:cubicBezTo>
                          <a:pt x="7719" y="13530"/>
                          <a:pt x="7719" y="13530"/>
                          <a:pt x="7719" y="13530"/>
                        </a:cubicBezTo>
                        <a:cubicBezTo>
                          <a:pt x="8481" y="14558"/>
                          <a:pt x="8481" y="14558"/>
                          <a:pt x="8481" y="14558"/>
                        </a:cubicBezTo>
                        <a:cubicBezTo>
                          <a:pt x="8989" y="15587"/>
                          <a:pt x="8989" y="15587"/>
                          <a:pt x="8989" y="15587"/>
                        </a:cubicBezTo>
                        <a:cubicBezTo>
                          <a:pt x="10260" y="15745"/>
                          <a:pt x="10260" y="15745"/>
                          <a:pt x="10260" y="15745"/>
                        </a:cubicBezTo>
                        <a:cubicBezTo>
                          <a:pt x="12293" y="20413"/>
                          <a:pt x="12293" y="20413"/>
                          <a:pt x="12293" y="20413"/>
                        </a:cubicBezTo>
                        <a:cubicBezTo>
                          <a:pt x="12801" y="21600"/>
                          <a:pt x="12801" y="21600"/>
                          <a:pt x="12801" y="21600"/>
                        </a:cubicBezTo>
                        <a:cubicBezTo>
                          <a:pt x="12801" y="21600"/>
                          <a:pt x="13563" y="21521"/>
                          <a:pt x="14326" y="21363"/>
                        </a:cubicBezTo>
                        <a:cubicBezTo>
                          <a:pt x="14834" y="21204"/>
                          <a:pt x="15088" y="20730"/>
                          <a:pt x="15088" y="20730"/>
                        </a:cubicBezTo>
                        <a:cubicBezTo>
                          <a:pt x="15342" y="19859"/>
                          <a:pt x="15342" y="19859"/>
                          <a:pt x="15342" y="19859"/>
                        </a:cubicBezTo>
                        <a:cubicBezTo>
                          <a:pt x="16105" y="17881"/>
                          <a:pt x="16105" y="17881"/>
                          <a:pt x="16105" y="17881"/>
                        </a:cubicBezTo>
                        <a:cubicBezTo>
                          <a:pt x="16613" y="20018"/>
                          <a:pt x="16613" y="20018"/>
                          <a:pt x="16613" y="20018"/>
                        </a:cubicBezTo>
                        <a:cubicBezTo>
                          <a:pt x="16867" y="20730"/>
                          <a:pt x="16867" y="20730"/>
                          <a:pt x="16867" y="20730"/>
                        </a:cubicBezTo>
                        <a:cubicBezTo>
                          <a:pt x="16867" y="20730"/>
                          <a:pt x="17121" y="21204"/>
                          <a:pt x="17629" y="21363"/>
                        </a:cubicBezTo>
                        <a:cubicBezTo>
                          <a:pt x="17883" y="21442"/>
                          <a:pt x="18137" y="21442"/>
                          <a:pt x="18392" y="21521"/>
                        </a:cubicBezTo>
                        <a:cubicBezTo>
                          <a:pt x="18646" y="21600"/>
                          <a:pt x="19154" y="21600"/>
                          <a:pt x="19154" y="21600"/>
                        </a:cubicBezTo>
                        <a:cubicBezTo>
                          <a:pt x="19662" y="20413"/>
                          <a:pt x="19662" y="20413"/>
                          <a:pt x="19662" y="20413"/>
                        </a:cubicBezTo>
                        <a:cubicBezTo>
                          <a:pt x="21441" y="16378"/>
                          <a:pt x="21441" y="16378"/>
                          <a:pt x="21441" y="16378"/>
                        </a:cubicBezTo>
                        <a:cubicBezTo>
                          <a:pt x="20170" y="16141"/>
                          <a:pt x="19408" y="15745"/>
                          <a:pt x="19154" y="15349"/>
                        </a:cubicBezTo>
                        <a:cubicBezTo>
                          <a:pt x="19154" y="15270"/>
                          <a:pt x="19154" y="15270"/>
                          <a:pt x="19154" y="15270"/>
                        </a:cubicBezTo>
                        <a:cubicBezTo>
                          <a:pt x="18137" y="13846"/>
                          <a:pt x="16359" y="6409"/>
                          <a:pt x="16867" y="4668"/>
                        </a:cubicBezTo>
                        <a:cubicBezTo>
                          <a:pt x="16867" y="4273"/>
                          <a:pt x="17121" y="3877"/>
                          <a:pt x="17883" y="3481"/>
                        </a:cubicBezTo>
                        <a:cubicBezTo>
                          <a:pt x="17121" y="1345"/>
                          <a:pt x="17121" y="1345"/>
                          <a:pt x="17121" y="1345"/>
                        </a:cubicBezTo>
                        <a:cubicBezTo>
                          <a:pt x="17629" y="1029"/>
                          <a:pt x="17629" y="1029"/>
                          <a:pt x="17629" y="1029"/>
                        </a:cubicBezTo>
                        <a:cubicBezTo>
                          <a:pt x="17121" y="791"/>
                          <a:pt x="17121" y="791"/>
                          <a:pt x="17121" y="791"/>
                        </a:cubicBezTo>
                        <a:cubicBezTo>
                          <a:pt x="16867" y="554"/>
                          <a:pt x="16867" y="554"/>
                          <a:pt x="16867" y="554"/>
                        </a:cubicBezTo>
                        <a:cubicBezTo>
                          <a:pt x="15596" y="554"/>
                          <a:pt x="15596" y="554"/>
                          <a:pt x="15596" y="554"/>
                        </a:cubicBezTo>
                        <a:cubicBezTo>
                          <a:pt x="15342" y="791"/>
                          <a:pt x="15342" y="791"/>
                          <a:pt x="15342" y="791"/>
                        </a:cubicBezTo>
                        <a:cubicBezTo>
                          <a:pt x="15088" y="1029"/>
                          <a:pt x="15088" y="1029"/>
                          <a:pt x="15088" y="1029"/>
                        </a:cubicBezTo>
                        <a:cubicBezTo>
                          <a:pt x="15342" y="1345"/>
                          <a:pt x="15342" y="1345"/>
                          <a:pt x="15342" y="1345"/>
                        </a:cubicBezTo>
                        <a:cubicBezTo>
                          <a:pt x="14326" y="4510"/>
                          <a:pt x="14326" y="4510"/>
                          <a:pt x="14326" y="4510"/>
                        </a:cubicBezTo>
                        <a:cubicBezTo>
                          <a:pt x="14326" y="4747"/>
                          <a:pt x="14326" y="4747"/>
                          <a:pt x="14326" y="4747"/>
                        </a:cubicBezTo>
                        <a:cubicBezTo>
                          <a:pt x="11530" y="554"/>
                          <a:pt x="11530" y="554"/>
                          <a:pt x="11530" y="554"/>
                        </a:cubicBezTo>
                        <a:cubicBezTo>
                          <a:pt x="11276" y="0"/>
                          <a:pt x="11276" y="0"/>
                          <a:pt x="11276" y="0"/>
                        </a:cubicBezTo>
                        <a:cubicBezTo>
                          <a:pt x="11022" y="0"/>
                          <a:pt x="10768" y="0"/>
                          <a:pt x="10768" y="0"/>
                        </a:cubicBezTo>
                        <a:cubicBezTo>
                          <a:pt x="8481" y="158"/>
                          <a:pt x="6194" y="396"/>
                          <a:pt x="4161" y="870"/>
                        </a:cubicBezTo>
                        <a:cubicBezTo>
                          <a:pt x="1874" y="1424"/>
                          <a:pt x="349" y="2136"/>
                          <a:pt x="95" y="3086"/>
                        </a:cubicBezTo>
                        <a:cubicBezTo>
                          <a:pt x="-159" y="3719"/>
                          <a:pt x="95" y="8782"/>
                          <a:pt x="857" y="10681"/>
                        </a:cubicBezTo>
                        <a:cubicBezTo>
                          <a:pt x="857" y="10840"/>
                          <a:pt x="857" y="10998"/>
                          <a:pt x="857" y="11077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85" name="Shape 3297"/>
                  <p:cNvSpPr/>
                  <p:nvPr/>
                </p:nvSpPr>
                <p:spPr>
                  <a:xfrm>
                    <a:off x="7696303" y="5417397"/>
                    <a:ext cx="13850" cy="17859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18716" extrusionOk="0">
                        <a:moveTo>
                          <a:pt x="17280" y="3086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1440" y="18514"/>
                          <a:pt x="8640" y="18514"/>
                        </a:cubicBezTo>
                        <a:cubicBezTo>
                          <a:pt x="12960" y="19543"/>
                          <a:pt x="14400" y="16457"/>
                          <a:pt x="14400" y="13371"/>
                        </a:cubicBezTo>
                        <a:cubicBezTo>
                          <a:pt x="14400" y="9257"/>
                          <a:pt x="17280" y="9257"/>
                          <a:pt x="17280" y="12343"/>
                        </a:cubicBezTo>
                        <a:cubicBezTo>
                          <a:pt x="17280" y="14400"/>
                          <a:pt x="21600" y="21600"/>
                          <a:pt x="21600" y="16457"/>
                        </a:cubicBezTo>
                        <a:cubicBezTo>
                          <a:pt x="21600" y="11314"/>
                          <a:pt x="20160" y="3086"/>
                          <a:pt x="17280" y="3086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86" name="Shape 3298"/>
                  <p:cNvSpPr/>
                  <p:nvPr/>
                </p:nvSpPr>
                <p:spPr>
                  <a:xfrm>
                    <a:off x="7704449" y="5181774"/>
                    <a:ext cx="90426" cy="91469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0415" extrusionOk="0">
                        <a:moveTo>
                          <a:pt x="4063" y="20066"/>
                        </a:moveTo>
                        <a:cubicBezTo>
                          <a:pt x="5774" y="19184"/>
                          <a:pt x="6202" y="18964"/>
                          <a:pt x="6202" y="18964"/>
                        </a:cubicBezTo>
                        <a:cubicBezTo>
                          <a:pt x="6202" y="18964"/>
                          <a:pt x="5560" y="16539"/>
                          <a:pt x="5347" y="13233"/>
                        </a:cubicBezTo>
                        <a:cubicBezTo>
                          <a:pt x="6202" y="15878"/>
                          <a:pt x="7271" y="18082"/>
                          <a:pt x="8768" y="19184"/>
                        </a:cubicBezTo>
                        <a:cubicBezTo>
                          <a:pt x="9410" y="19625"/>
                          <a:pt x="9838" y="19845"/>
                          <a:pt x="10479" y="19845"/>
                        </a:cubicBezTo>
                        <a:cubicBezTo>
                          <a:pt x="11335" y="19845"/>
                          <a:pt x="11976" y="19625"/>
                          <a:pt x="12832" y="18964"/>
                        </a:cubicBezTo>
                        <a:cubicBezTo>
                          <a:pt x="14329" y="17861"/>
                          <a:pt x="15398" y="15437"/>
                          <a:pt x="15826" y="12351"/>
                        </a:cubicBezTo>
                        <a:cubicBezTo>
                          <a:pt x="16040" y="16098"/>
                          <a:pt x="15398" y="18964"/>
                          <a:pt x="15398" y="18964"/>
                        </a:cubicBezTo>
                        <a:cubicBezTo>
                          <a:pt x="15398" y="18964"/>
                          <a:pt x="15826" y="19184"/>
                          <a:pt x="17537" y="20066"/>
                        </a:cubicBezTo>
                        <a:cubicBezTo>
                          <a:pt x="20745" y="21388"/>
                          <a:pt x="21600" y="18523"/>
                          <a:pt x="21600" y="18523"/>
                        </a:cubicBezTo>
                        <a:cubicBezTo>
                          <a:pt x="21600" y="18523"/>
                          <a:pt x="17964" y="19404"/>
                          <a:pt x="19034" y="13894"/>
                        </a:cubicBezTo>
                        <a:cubicBezTo>
                          <a:pt x="19461" y="11249"/>
                          <a:pt x="19461" y="8825"/>
                          <a:pt x="17750" y="4637"/>
                        </a:cubicBezTo>
                        <a:cubicBezTo>
                          <a:pt x="16040" y="890"/>
                          <a:pt x="12618" y="449"/>
                          <a:pt x="10479" y="670"/>
                        </a:cubicBezTo>
                        <a:cubicBezTo>
                          <a:pt x="10479" y="670"/>
                          <a:pt x="10479" y="670"/>
                          <a:pt x="10479" y="670"/>
                        </a:cubicBezTo>
                        <a:cubicBezTo>
                          <a:pt x="10907" y="449"/>
                          <a:pt x="11335" y="229"/>
                          <a:pt x="11976" y="8"/>
                        </a:cubicBezTo>
                        <a:cubicBezTo>
                          <a:pt x="11976" y="8"/>
                          <a:pt x="8768" y="-212"/>
                          <a:pt x="6202" y="1551"/>
                        </a:cubicBezTo>
                        <a:cubicBezTo>
                          <a:pt x="5774" y="1992"/>
                          <a:pt x="5347" y="2433"/>
                          <a:pt x="4919" y="2874"/>
                        </a:cubicBezTo>
                        <a:cubicBezTo>
                          <a:pt x="4705" y="3094"/>
                          <a:pt x="4705" y="3094"/>
                          <a:pt x="4491" y="3094"/>
                        </a:cubicBezTo>
                        <a:cubicBezTo>
                          <a:pt x="4491" y="3094"/>
                          <a:pt x="4491" y="3094"/>
                          <a:pt x="4705" y="3094"/>
                        </a:cubicBezTo>
                        <a:cubicBezTo>
                          <a:pt x="4277" y="3535"/>
                          <a:pt x="4063" y="3976"/>
                          <a:pt x="3850" y="4637"/>
                        </a:cubicBezTo>
                        <a:cubicBezTo>
                          <a:pt x="1925" y="8604"/>
                          <a:pt x="2139" y="11249"/>
                          <a:pt x="2566" y="13894"/>
                        </a:cubicBezTo>
                        <a:cubicBezTo>
                          <a:pt x="3422" y="19404"/>
                          <a:pt x="0" y="18523"/>
                          <a:pt x="0" y="18523"/>
                        </a:cubicBezTo>
                        <a:cubicBezTo>
                          <a:pt x="0" y="18523"/>
                          <a:pt x="642" y="21388"/>
                          <a:pt x="4063" y="20066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87" name="Shape 3299"/>
                  <p:cNvSpPr/>
                  <p:nvPr/>
                </p:nvSpPr>
                <p:spPr>
                  <a:xfrm>
                    <a:off x="7750756" y="5531202"/>
                    <a:ext cx="13150" cy="27411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19369" h="20022" extrusionOk="0">
                        <a:moveTo>
                          <a:pt x="5737" y="13680"/>
                        </a:moveTo>
                        <a:cubicBezTo>
                          <a:pt x="7087" y="15120"/>
                          <a:pt x="8437" y="18720"/>
                          <a:pt x="9787" y="18720"/>
                        </a:cubicBezTo>
                        <a:cubicBezTo>
                          <a:pt x="11137" y="19440"/>
                          <a:pt x="20587" y="21600"/>
                          <a:pt x="19237" y="18000"/>
                        </a:cubicBezTo>
                        <a:cubicBezTo>
                          <a:pt x="17887" y="15120"/>
                          <a:pt x="13837" y="10800"/>
                          <a:pt x="13837" y="10800"/>
                        </a:cubicBezTo>
                        <a:cubicBezTo>
                          <a:pt x="13837" y="10800"/>
                          <a:pt x="11137" y="10080"/>
                          <a:pt x="8437" y="7920"/>
                        </a:cubicBezTo>
                        <a:cubicBezTo>
                          <a:pt x="5737" y="6480"/>
                          <a:pt x="1687" y="4320"/>
                          <a:pt x="337" y="0"/>
                        </a:cubicBezTo>
                        <a:cubicBezTo>
                          <a:pt x="337" y="0"/>
                          <a:pt x="-1013" y="6480"/>
                          <a:pt x="1687" y="12960"/>
                        </a:cubicBezTo>
                        <a:cubicBezTo>
                          <a:pt x="4387" y="19440"/>
                          <a:pt x="3037" y="16560"/>
                          <a:pt x="3037" y="16560"/>
                        </a:cubicBezTo>
                        <a:cubicBezTo>
                          <a:pt x="5737" y="12240"/>
                          <a:pt x="5737" y="12240"/>
                          <a:pt x="5737" y="12240"/>
                        </a:cubicBezTo>
                        <a:cubicBezTo>
                          <a:pt x="5737" y="12240"/>
                          <a:pt x="5737" y="12960"/>
                          <a:pt x="5737" y="13680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88" name="Shape 3300"/>
                  <p:cNvSpPr/>
                  <p:nvPr/>
                </p:nvSpPr>
                <p:spPr>
                  <a:xfrm>
                    <a:off x="7732154" y="5531202"/>
                    <a:ext cx="13431" cy="27411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18742" h="20022" extrusionOk="0">
                        <a:moveTo>
                          <a:pt x="16641" y="12960"/>
                        </a:moveTo>
                        <a:cubicBezTo>
                          <a:pt x="20453" y="6480"/>
                          <a:pt x="17912" y="0"/>
                          <a:pt x="17912" y="0"/>
                        </a:cubicBezTo>
                        <a:cubicBezTo>
                          <a:pt x="14100" y="8640"/>
                          <a:pt x="5206" y="10800"/>
                          <a:pt x="5206" y="10800"/>
                        </a:cubicBezTo>
                        <a:cubicBezTo>
                          <a:pt x="5206" y="10800"/>
                          <a:pt x="1394" y="15120"/>
                          <a:pt x="124" y="18000"/>
                        </a:cubicBezTo>
                        <a:cubicBezTo>
                          <a:pt x="-1147" y="21600"/>
                          <a:pt x="7747" y="19440"/>
                          <a:pt x="9018" y="18720"/>
                        </a:cubicBezTo>
                        <a:cubicBezTo>
                          <a:pt x="10288" y="18720"/>
                          <a:pt x="12829" y="12240"/>
                          <a:pt x="12829" y="12240"/>
                        </a:cubicBezTo>
                        <a:cubicBezTo>
                          <a:pt x="15371" y="16560"/>
                          <a:pt x="15371" y="16560"/>
                          <a:pt x="15371" y="16560"/>
                        </a:cubicBezTo>
                        <a:cubicBezTo>
                          <a:pt x="15371" y="16560"/>
                          <a:pt x="14100" y="19440"/>
                          <a:pt x="16641" y="12960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89" name="Shape 3301"/>
                  <p:cNvSpPr/>
                  <p:nvPr/>
                </p:nvSpPr>
                <p:spPr>
                  <a:xfrm>
                    <a:off x="7920329" y="5264163"/>
                    <a:ext cx="37473" cy="41221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18000" y="3161"/>
                        </a:moveTo>
                        <a:cubicBezTo>
                          <a:pt x="17486" y="0"/>
                          <a:pt x="17486" y="0"/>
                          <a:pt x="17486" y="0"/>
                        </a:cubicBezTo>
                        <a:cubicBezTo>
                          <a:pt x="17486" y="0"/>
                          <a:pt x="16971" y="0"/>
                          <a:pt x="16457" y="0"/>
                        </a:cubicBezTo>
                        <a:cubicBezTo>
                          <a:pt x="11829" y="527"/>
                          <a:pt x="7200" y="2634"/>
                          <a:pt x="3600" y="5795"/>
                        </a:cubicBezTo>
                        <a:cubicBezTo>
                          <a:pt x="2057" y="6322"/>
                          <a:pt x="1029" y="7376"/>
                          <a:pt x="0" y="8429"/>
                        </a:cubicBezTo>
                        <a:cubicBezTo>
                          <a:pt x="8743" y="11590"/>
                          <a:pt x="16971" y="16859"/>
                          <a:pt x="21600" y="21600"/>
                        </a:cubicBezTo>
                        <a:lnTo>
                          <a:pt x="18000" y="3161"/>
                        </a:ln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90" name="Shape 3302"/>
                  <p:cNvSpPr/>
                  <p:nvPr/>
                </p:nvSpPr>
                <p:spPr>
                  <a:xfrm>
                    <a:off x="7949656" y="5263956"/>
                    <a:ext cx="73420" cy="269039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0932" h="21474" extrusionOk="0">
                        <a:moveTo>
                          <a:pt x="10419" y="31"/>
                        </a:moveTo>
                        <a:cubicBezTo>
                          <a:pt x="10419" y="31"/>
                          <a:pt x="10165" y="110"/>
                          <a:pt x="9911" y="188"/>
                        </a:cubicBezTo>
                        <a:cubicBezTo>
                          <a:pt x="9656" y="424"/>
                          <a:pt x="9656" y="424"/>
                          <a:pt x="9656" y="424"/>
                        </a:cubicBezTo>
                        <a:cubicBezTo>
                          <a:pt x="7369" y="4744"/>
                          <a:pt x="7369" y="4744"/>
                          <a:pt x="7369" y="4744"/>
                        </a:cubicBezTo>
                        <a:cubicBezTo>
                          <a:pt x="6353" y="1366"/>
                          <a:pt x="6353" y="1366"/>
                          <a:pt x="6353" y="1366"/>
                        </a:cubicBezTo>
                        <a:cubicBezTo>
                          <a:pt x="6607" y="974"/>
                          <a:pt x="6607" y="974"/>
                          <a:pt x="6607" y="974"/>
                        </a:cubicBezTo>
                        <a:cubicBezTo>
                          <a:pt x="6353" y="738"/>
                          <a:pt x="6353" y="738"/>
                          <a:pt x="6353" y="738"/>
                        </a:cubicBezTo>
                        <a:cubicBezTo>
                          <a:pt x="6099" y="581"/>
                          <a:pt x="6099" y="581"/>
                          <a:pt x="6099" y="581"/>
                        </a:cubicBezTo>
                        <a:cubicBezTo>
                          <a:pt x="4828" y="581"/>
                          <a:pt x="4828" y="581"/>
                          <a:pt x="4828" y="581"/>
                        </a:cubicBezTo>
                        <a:cubicBezTo>
                          <a:pt x="4574" y="738"/>
                          <a:pt x="4574" y="738"/>
                          <a:pt x="4574" y="738"/>
                        </a:cubicBezTo>
                        <a:cubicBezTo>
                          <a:pt x="4066" y="974"/>
                          <a:pt x="4066" y="974"/>
                          <a:pt x="4066" y="974"/>
                        </a:cubicBezTo>
                        <a:cubicBezTo>
                          <a:pt x="4320" y="1288"/>
                          <a:pt x="4320" y="1288"/>
                          <a:pt x="4320" y="1288"/>
                        </a:cubicBezTo>
                        <a:cubicBezTo>
                          <a:pt x="3558" y="3723"/>
                          <a:pt x="3558" y="3723"/>
                          <a:pt x="3558" y="3723"/>
                        </a:cubicBezTo>
                        <a:cubicBezTo>
                          <a:pt x="4320" y="3958"/>
                          <a:pt x="4574" y="4194"/>
                          <a:pt x="4828" y="4351"/>
                        </a:cubicBezTo>
                        <a:cubicBezTo>
                          <a:pt x="4828" y="4430"/>
                          <a:pt x="4828" y="4508"/>
                          <a:pt x="5082" y="4508"/>
                        </a:cubicBezTo>
                        <a:cubicBezTo>
                          <a:pt x="5591" y="5608"/>
                          <a:pt x="3304" y="12755"/>
                          <a:pt x="2287" y="15190"/>
                        </a:cubicBezTo>
                        <a:cubicBezTo>
                          <a:pt x="2287" y="15505"/>
                          <a:pt x="2033" y="15740"/>
                          <a:pt x="2033" y="15819"/>
                        </a:cubicBezTo>
                        <a:cubicBezTo>
                          <a:pt x="1779" y="16290"/>
                          <a:pt x="1016" y="16604"/>
                          <a:pt x="0" y="16840"/>
                        </a:cubicBezTo>
                        <a:cubicBezTo>
                          <a:pt x="1525" y="20296"/>
                          <a:pt x="1525" y="20296"/>
                          <a:pt x="1525" y="20296"/>
                        </a:cubicBezTo>
                        <a:cubicBezTo>
                          <a:pt x="2033" y="21474"/>
                          <a:pt x="2033" y="21474"/>
                          <a:pt x="2033" y="21474"/>
                        </a:cubicBezTo>
                        <a:cubicBezTo>
                          <a:pt x="2033" y="21474"/>
                          <a:pt x="2795" y="21395"/>
                          <a:pt x="3304" y="21160"/>
                        </a:cubicBezTo>
                        <a:cubicBezTo>
                          <a:pt x="3812" y="21003"/>
                          <a:pt x="4320" y="20531"/>
                          <a:pt x="4320" y="20531"/>
                        </a:cubicBezTo>
                        <a:cubicBezTo>
                          <a:pt x="4574" y="19746"/>
                          <a:pt x="4574" y="19746"/>
                          <a:pt x="4574" y="19746"/>
                        </a:cubicBezTo>
                        <a:cubicBezTo>
                          <a:pt x="5082" y="17782"/>
                          <a:pt x="5082" y="17782"/>
                          <a:pt x="5082" y="17782"/>
                        </a:cubicBezTo>
                        <a:cubicBezTo>
                          <a:pt x="5591" y="19825"/>
                          <a:pt x="5591" y="19825"/>
                          <a:pt x="5591" y="19825"/>
                        </a:cubicBezTo>
                        <a:cubicBezTo>
                          <a:pt x="5845" y="20531"/>
                          <a:pt x="5845" y="20531"/>
                          <a:pt x="5845" y="20531"/>
                        </a:cubicBezTo>
                        <a:cubicBezTo>
                          <a:pt x="5845" y="20531"/>
                          <a:pt x="6353" y="21003"/>
                          <a:pt x="6861" y="21160"/>
                        </a:cubicBezTo>
                        <a:cubicBezTo>
                          <a:pt x="7115" y="21238"/>
                          <a:pt x="7115" y="21317"/>
                          <a:pt x="7369" y="21317"/>
                        </a:cubicBezTo>
                        <a:cubicBezTo>
                          <a:pt x="7878" y="21395"/>
                          <a:pt x="8132" y="21474"/>
                          <a:pt x="8132" y="21474"/>
                        </a:cubicBezTo>
                        <a:cubicBezTo>
                          <a:pt x="8640" y="20296"/>
                          <a:pt x="8640" y="20296"/>
                          <a:pt x="8640" y="20296"/>
                        </a:cubicBezTo>
                        <a:cubicBezTo>
                          <a:pt x="10673" y="15583"/>
                          <a:pt x="10673" y="15583"/>
                          <a:pt x="10673" y="15583"/>
                        </a:cubicBezTo>
                        <a:cubicBezTo>
                          <a:pt x="11689" y="15505"/>
                          <a:pt x="11689" y="15505"/>
                          <a:pt x="11689" y="15505"/>
                        </a:cubicBezTo>
                        <a:cubicBezTo>
                          <a:pt x="12198" y="14405"/>
                          <a:pt x="12198" y="14405"/>
                          <a:pt x="12198" y="14405"/>
                        </a:cubicBezTo>
                        <a:cubicBezTo>
                          <a:pt x="12960" y="12834"/>
                          <a:pt x="12960" y="12834"/>
                          <a:pt x="12960" y="12834"/>
                        </a:cubicBezTo>
                        <a:cubicBezTo>
                          <a:pt x="12960" y="12677"/>
                          <a:pt x="12960" y="12677"/>
                          <a:pt x="12960" y="12677"/>
                        </a:cubicBezTo>
                        <a:cubicBezTo>
                          <a:pt x="13976" y="12441"/>
                          <a:pt x="13976" y="12363"/>
                          <a:pt x="14231" y="12049"/>
                        </a:cubicBezTo>
                        <a:cubicBezTo>
                          <a:pt x="14231" y="11970"/>
                          <a:pt x="14231" y="11970"/>
                          <a:pt x="14231" y="11970"/>
                        </a:cubicBezTo>
                        <a:cubicBezTo>
                          <a:pt x="14231" y="11970"/>
                          <a:pt x="14485" y="11420"/>
                          <a:pt x="14739" y="10478"/>
                        </a:cubicBezTo>
                        <a:cubicBezTo>
                          <a:pt x="14739" y="10163"/>
                          <a:pt x="14739" y="9692"/>
                          <a:pt x="14993" y="9299"/>
                        </a:cubicBezTo>
                        <a:cubicBezTo>
                          <a:pt x="15755" y="4115"/>
                          <a:pt x="15755" y="4115"/>
                          <a:pt x="15755" y="4115"/>
                        </a:cubicBezTo>
                        <a:cubicBezTo>
                          <a:pt x="15755" y="4037"/>
                          <a:pt x="15755" y="4037"/>
                          <a:pt x="15755" y="4037"/>
                        </a:cubicBezTo>
                        <a:cubicBezTo>
                          <a:pt x="16009" y="3958"/>
                          <a:pt x="16264" y="3801"/>
                          <a:pt x="16264" y="3723"/>
                        </a:cubicBezTo>
                        <a:cubicBezTo>
                          <a:pt x="16772" y="3487"/>
                          <a:pt x="16518" y="8514"/>
                          <a:pt x="16264" y="10321"/>
                        </a:cubicBezTo>
                        <a:cubicBezTo>
                          <a:pt x="16264" y="10478"/>
                          <a:pt x="16264" y="10713"/>
                          <a:pt x="16264" y="10792"/>
                        </a:cubicBezTo>
                        <a:cubicBezTo>
                          <a:pt x="17026" y="10949"/>
                          <a:pt x="18296" y="10792"/>
                          <a:pt x="19567" y="10556"/>
                        </a:cubicBezTo>
                        <a:cubicBezTo>
                          <a:pt x="19821" y="10399"/>
                          <a:pt x="19821" y="10242"/>
                          <a:pt x="19821" y="10085"/>
                        </a:cubicBezTo>
                        <a:cubicBezTo>
                          <a:pt x="20584" y="8043"/>
                          <a:pt x="21600" y="3094"/>
                          <a:pt x="20329" y="2073"/>
                        </a:cubicBezTo>
                        <a:cubicBezTo>
                          <a:pt x="20075" y="1916"/>
                          <a:pt x="19059" y="1366"/>
                          <a:pt x="17534" y="895"/>
                        </a:cubicBezTo>
                        <a:cubicBezTo>
                          <a:pt x="15501" y="345"/>
                          <a:pt x="12960" y="-126"/>
                          <a:pt x="10419" y="31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91" name="Shape 3303"/>
                  <p:cNvSpPr/>
                  <p:nvPr/>
                </p:nvSpPr>
                <p:spPr>
                  <a:xfrm>
                    <a:off x="8005006" y="5402163"/>
                    <a:ext cx="13894" cy="17859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0467" h="18716" extrusionOk="0">
                        <a:moveTo>
                          <a:pt x="4267" y="12343"/>
                        </a:moveTo>
                        <a:cubicBezTo>
                          <a:pt x="4267" y="9257"/>
                          <a:pt x="5617" y="9257"/>
                          <a:pt x="5617" y="13371"/>
                        </a:cubicBezTo>
                        <a:cubicBezTo>
                          <a:pt x="5617" y="16457"/>
                          <a:pt x="6967" y="19543"/>
                          <a:pt x="12367" y="18514"/>
                        </a:cubicBezTo>
                        <a:cubicBezTo>
                          <a:pt x="19117" y="18514"/>
                          <a:pt x="20467" y="0"/>
                          <a:pt x="20467" y="0"/>
                        </a:cubicBezTo>
                        <a:cubicBezTo>
                          <a:pt x="4267" y="3086"/>
                          <a:pt x="4267" y="3086"/>
                          <a:pt x="4267" y="3086"/>
                        </a:cubicBezTo>
                        <a:cubicBezTo>
                          <a:pt x="1567" y="3086"/>
                          <a:pt x="217" y="11314"/>
                          <a:pt x="217" y="16457"/>
                        </a:cubicBezTo>
                        <a:cubicBezTo>
                          <a:pt x="-1133" y="21600"/>
                          <a:pt x="4267" y="14400"/>
                          <a:pt x="4267" y="12343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92" name="Shape 3304"/>
                  <p:cNvSpPr/>
                  <p:nvPr/>
                </p:nvSpPr>
                <p:spPr>
                  <a:xfrm>
                    <a:off x="7923588" y="5173708"/>
                    <a:ext cx="90425" cy="90963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0302" extrusionOk="0">
                        <a:moveTo>
                          <a:pt x="4063" y="19845"/>
                        </a:moveTo>
                        <a:cubicBezTo>
                          <a:pt x="5774" y="19184"/>
                          <a:pt x="6202" y="18964"/>
                          <a:pt x="6202" y="18964"/>
                        </a:cubicBezTo>
                        <a:cubicBezTo>
                          <a:pt x="6202" y="18964"/>
                          <a:pt x="5774" y="16319"/>
                          <a:pt x="5560" y="13233"/>
                        </a:cubicBezTo>
                        <a:cubicBezTo>
                          <a:pt x="6202" y="15657"/>
                          <a:pt x="7485" y="18082"/>
                          <a:pt x="8982" y="18964"/>
                        </a:cubicBezTo>
                        <a:cubicBezTo>
                          <a:pt x="9410" y="19404"/>
                          <a:pt x="10051" y="19625"/>
                          <a:pt x="10693" y="19625"/>
                        </a:cubicBezTo>
                        <a:cubicBezTo>
                          <a:pt x="11335" y="19845"/>
                          <a:pt x="12190" y="19404"/>
                          <a:pt x="12832" y="18964"/>
                        </a:cubicBezTo>
                        <a:cubicBezTo>
                          <a:pt x="14329" y="17861"/>
                          <a:pt x="15398" y="15217"/>
                          <a:pt x="15826" y="12351"/>
                        </a:cubicBezTo>
                        <a:cubicBezTo>
                          <a:pt x="16040" y="15878"/>
                          <a:pt x="15398" y="18964"/>
                          <a:pt x="15398" y="18964"/>
                        </a:cubicBezTo>
                        <a:cubicBezTo>
                          <a:pt x="15398" y="18964"/>
                          <a:pt x="15826" y="19184"/>
                          <a:pt x="17537" y="19845"/>
                        </a:cubicBezTo>
                        <a:cubicBezTo>
                          <a:pt x="20958" y="21388"/>
                          <a:pt x="21600" y="18523"/>
                          <a:pt x="21600" y="18523"/>
                        </a:cubicBezTo>
                        <a:cubicBezTo>
                          <a:pt x="21600" y="18523"/>
                          <a:pt x="18178" y="19184"/>
                          <a:pt x="19034" y="13674"/>
                        </a:cubicBezTo>
                        <a:cubicBezTo>
                          <a:pt x="19461" y="11249"/>
                          <a:pt x="19675" y="8604"/>
                          <a:pt x="17750" y="4637"/>
                        </a:cubicBezTo>
                        <a:cubicBezTo>
                          <a:pt x="16253" y="890"/>
                          <a:pt x="12832" y="449"/>
                          <a:pt x="10693" y="670"/>
                        </a:cubicBezTo>
                        <a:cubicBezTo>
                          <a:pt x="10693" y="670"/>
                          <a:pt x="10693" y="670"/>
                          <a:pt x="10479" y="670"/>
                        </a:cubicBezTo>
                        <a:cubicBezTo>
                          <a:pt x="11121" y="449"/>
                          <a:pt x="11549" y="8"/>
                          <a:pt x="11976" y="8"/>
                        </a:cubicBezTo>
                        <a:cubicBezTo>
                          <a:pt x="11976" y="8"/>
                          <a:pt x="8982" y="-212"/>
                          <a:pt x="6416" y="1551"/>
                        </a:cubicBezTo>
                        <a:cubicBezTo>
                          <a:pt x="5988" y="1772"/>
                          <a:pt x="5347" y="2212"/>
                          <a:pt x="4919" y="2874"/>
                        </a:cubicBezTo>
                        <a:cubicBezTo>
                          <a:pt x="4919" y="2874"/>
                          <a:pt x="4705" y="3094"/>
                          <a:pt x="4491" y="3094"/>
                        </a:cubicBezTo>
                        <a:cubicBezTo>
                          <a:pt x="4491" y="3094"/>
                          <a:pt x="4705" y="3094"/>
                          <a:pt x="4705" y="3094"/>
                        </a:cubicBezTo>
                        <a:cubicBezTo>
                          <a:pt x="4491" y="3535"/>
                          <a:pt x="4063" y="3976"/>
                          <a:pt x="3850" y="4637"/>
                        </a:cubicBezTo>
                        <a:cubicBezTo>
                          <a:pt x="2139" y="8604"/>
                          <a:pt x="2139" y="11249"/>
                          <a:pt x="2566" y="13674"/>
                        </a:cubicBezTo>
                        <a:cubicBezTo>
                          <a:pt x="3636" y="19184"/>
                          <a:pt x="0" y="18523"/>
                          <a:pt x="0" y="18523"/>
                        </a:cubicBezTo>
                        <a:cubicBezTo>
                          <a:pt x="0" y="18523"/>
                          <a:pt x="855" y="21388"/>
                          <a:pt x="4063" y="19845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93" name="Shape 3305"/>
                  <p:cNvSpPr/>
                  <p:nvPr/>
                </p:nvSpPr>
                <p:spPr>
                  <a:xfrm>
                    <a:off x="7969972" y="5523137"/>
                    <a:ext cx="13892" cy="27087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19386" h="20403" extrusionOk="0">
                        <a:moveTo>
                          <a:pt x="6557" y="13407"/>
                        </a:moveTo>
                        <a:cubicBezTo>
                          <a:pt x="6557" y="15641"/>
                          <a:pt x="9098" y="18621"/>
                          <a:pt x="10368" y="19366"/>
                        </a:cubicBezTo>
                        <a:cubicBezTo>
                          <a:pt x="11639" y="20110"/>
                          <a:pt x="20533" y="21600"/>
                          <a:pt x="19262" y="18621"/>
                        </a:cubicBezTo>
                        <a:cubicBezTo>
                          <a:pt x="17992" y="14897"/>
                          <a:pt x="14180" y="10428"/>
                          <a:pt x="14180" y="10428"/>
                        </a:cubicBezTo>
                        <a:cubicBezTo>
                          <a:pt x="14180" y="10428"/>
                          <a:pt x="11639" y="10428"/>
                          <a:pt x="7827" y="8193"/>
                        </a:cubicBezTo>
                        <a:cubicBezTo>
                          <a:pt x="5286" y="6703"/>
                          <a:pt x="2745" y="3724"/>
                          <a:pt x="204" y="0"/>
                        </a:cubicBezTo>
                        <a:cubicBezTo>
                          <a:pt x="204" y="0"/>
                          <a:pt x="-1067" y="5959"/>
                          <a:pt x="2745" y="12662"/>
                        </a:cubicBezTo>
                        <a:cubicBezTo>
                          <a:pt x="5286" y="20110"/>
                          <a:pt x="4015" y="16386"/>
                          <a:pt x="4015" y="16386"/>
                        </a:cubicBezTo>
                        <a:cubicBezTo>
                          <a:pt x="6557" y="11917"/>
                          <a:pt x="6557" y="11917"/>
                          <a:pt x="6557" y="11917"/>
                        </a:cubicBezTo>
                        <a:cubicBezTo>
                          <a:pt x="6557" y="11917"/>
                          <a:pt x="6557" y="12662"/>
                          <a:pt x="6557" y="13407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94" name="Shape 3306"/>
                  <p:cNvSpPr/>
                  <p:nvPr/>
                </p:nvSpPr>
                <p:spPr>
                  <a:xfrm>
                    <a:off x="7951292" y="5523137"/>
                    <a:ext cx="13974" cy="27087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19500" h="20403" extrusionOk="0">
                        <a:moveTo>
                          <a:pt x="17912" y="12662"/>
                        </a:moveTo>
                        <a:cubicBezTo>
                          <a:pt x="20453" y="5959"/>
                          <a:pt x="19182" y="0"/>
                          <a:pt x="19182" y="0"/>
                        </a:cubicBezTo>
                        <a:cubicBezTo>
                          <a:pt x="14100" y="8938"/>
                          <a:pt x="5206" y="10428"/>
                          <a:pt x="5206" y="10428"/>
                        </a:cubicBezTo>
                        <a:cubicBezTo>
                          <a:pt x="5206" y="10428"/>
                          <a:pt x="2665" y="14897"/>
                          <a:pt x="124" y="18621"/>
                        </a:cubicBezTo>
                        <a:cubicBezTo>
                          <a:pt x="-1147" y="21600"/>
                          <a:pt x="7747" y="20110"/>
                          <a:pt x="10288" y="19366"/>
                        </a:cubicBezTo>
                        <a:cubicBezTo>
                          <a:pt x="11559" y="18621"/>
                          <a:pt x="14100" y="11917"/>
                          <a:pt x="14100" y="11917"/>
                        </a:cubicBezTo>
                        <a:cubicBezTo>
                          <a:pt x="15371" y="16386"/>
                          <a:pt x="15371" y="16386"/>
                          <a:pt x="15371" y="16386"/>
                        </a:cubicBezTo>
                        <a:cubicBezTo>
                          <a:pt x="15371" y="16386"/>
                          <a:pt x="14100" y="20110"/>
                          <a:pt x="17912" y="12662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95" name="Shape 3307"/>
                  <p:cNvSpPr/>
                  <p:nvPr/>
                </p:nvSpPr>
                <p:spPr>
                  <a:xfrm>
                    <a:off x="7919514" y="5470267"/>
                    <a:ext cx="21996" cy="21507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2592" y="19636"/>
                        </a:moveTo>
                        <a:cubicBezTo>
                          <a:pt x="3456" y="17673"/>
                          <a:pt x="4320" y="15709"/>
                          <a:pt x="4320" y="14727"/>
                        </a:cubicBezTo>
                        <a:cubicBezTo>
                          <a:pt x="4320" y="13745"/>
                          <a:pt x="4320" y="13745"/>
                          <a:pt x="4320" y="13745"/>
                        </a:cubicBezTo>
                        <a:cubicBezTo>
                          <a:pt x="4320" y="11782"/>
                          <a:pt x="6048" y="10800"/>
                          <a:pt x="6912" y="13745"/>
                        </a:cubicBezTo>
                        <a:cubicBezTo>
                          <a:pt x="6912" y="14727"/>
                          <a:pt x="6912" y="14727"/>
                          <a:pt x="6912" y="14727"/>
                        </a:cubicBezTo>
                        <a:cubicBezTo>
                          <a:pt x="6912" y="19636"/>
                          <a:pt x="8640" y="21600"/>
                          <a:pt x="12960" y="21600"/>
                        </a:cubicBezTo>
                        <a:cubicBezTo>
                          <a:pt x="16416" y="20618"/>
                          <a:pt x="18144" y="16691"/>
                          <a:pt x="19872" y="12764"/>
                        </a:cubicBezTo>
                        <a:cubicBezTo>
                          <a:pt x="19872" y="11782"/>
                          <a:pt x="19872" y="10800"/>
                          <a:pt x="19872" y="10800"/>
                        </a:cubicBezTo>
                        <a:cubicBezTo>
                          <a:pt x="21600" y="4909"/>
                          <a:pt x="21600" y="0"/>
                          <a:pt x="21600" y="0"/>
                        </a:cubicBezTo>
                        <a:cubicBezTo>
                          <a:pt x="5184" y="3927"/>
                          <a:pt x="5184" y="3927"/>
                          <a:pt x="5184" y="3927"/>
                        </a:cubicBezTo>
                        <a:cubicBezTo>
                          <a:pt x="1728" y="3927"/>
                          <a:pt x="864" y="12764"/>
                          <a:pt x="0" y="18655"/>
                        </a:cubicBezTo>
                        <a:cubicBezTo>
                          <a:pt x="0" y="21600"/>
                          <a:pt x="864" y="20618"/>
                          <a:pt x="2592" y="19636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96" name="Shape 3308"/>
                  <p:cNvSpPr/>
                  <p:nvPr/>
                </p:nvSpPr>
                <p:spPr>
                  <a:xfrm>
                    <a:off x="7775323" y="5470267"/>
                    <a:ext cx="21996" cy="21546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19974" extrusionOk="0">
                        <a:moveTo>
                          <a:pt x="14688" y="14400"/>
                        </a:moveTo>
                        <a:cubicBezTo>
                          <a:pt x="14688" y="13500"/>
                          <a:pt x="14688" y="13500"/>
                          <a:pt x="14688" y="12600"/>
                        </a:cubicBezTo>
                        <a:cubicBezTo>
                          <a:pt x="15552" y="10800"/>
                          <a:pt x="17280" y="10800"/>
                          <a:pt x="17280" y="13500"/>
                        </a:cubicBezTo>
                        <a:cubicBezTo>
                          <a:pt x="17280" y="13500"/>
                          <a:pt x="17280" y="13500"/>
                          <a:pt x="17280" y="13500"/>
                        </a:cubicBezTo>
                        <a:cubicBezTo>
                          <a:pt x="17280" y="14400"/>
                          <a:pt x="17280" y="14400"/>
                          <a:pt x="17280" y="15300"/>
                        </a:cubicBezTo>
                        <a:cubicBezTo>
                          <a:pt x="19008" y="18000"/>
                          <a:pt x="21600" y="21600"/>
                          <a:pt x="21600" y="17100"/>
                        </a:cubicBezTo>
                        <a:cubicBezTo>
                          <a:pt x="20736" y="11700"/>
                          <a:pt x="19872" y="3600"/>
                          <a:pt x="16416" y="360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0" y="5400"/>
                          <a:pt x="1728" y="9900"/>
                        </a:cubicBezTo>
                        <a:cubicBezTo>
                          <a:pt x="1728" y="10800"/>
                          <a:pt x="1728" y="10800"/>
                          <a:pt x="1728" y="11700"/>
                        </a:cubicBezTo>
                        <a:cubicBezTo>
                          <a:pt x="3456" y="15300"/>
                          <a:pt x="5184" y="19800"/>
                          <a:pt x="8640" y="19800"/>
                        </a:cubicBezTo>
                        <a:cubicBezTo>
                          <a:pt x="12960" y="20700"/>
                          <a:pt x="14688" y="18000"/>
                          <a:pt x="14688" y="14400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97" name="Shape 3309"/>
                  <p:cNvSpPr/>
                  <p:nvPr/>
                </p:nvSpPr>
                <p:spPr>
                  <a:xfrm>
                    <a:off x="7763771" y="5290119"/>
                    <a:ext cx="190027" cy="327110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260" h="21368" extrusionOk="0">
                        <a:moveTo>
                          <a:pt x="3551" y="11597"/>
                        </a:moveTo>
                        <a:cubicBezTo>
                          <a:pt x="3451" y="10504"/>
                          <a:pt x="2848" y="3561"/>
                          <a:pt x="3149" y="3754"/>
                        </a:cubicBezTo>
                        <a:cubicBezTo>
                          <a:pt x="3250" y="3818"/>
                          <a:pt x="3350" y="3882"/>
                          <a:pt x="3451" y="3947"/>
                        </a:cubicBezTo>
                        <a:cubicBezTo>
                          <a:pt x="3451" y="3947"/>
                          <a:pt x="3451" y="3947"/>
                          <a:pt x="3451" y="3947"/>
                        </a:cubicBezTo>
                        <a:cubicBezTo>
                          <a:pt x="3853" y="7804"/>
                          <a:pt x="3853" y="7804"/>
                          <a:pt x="3853" y="7804"/>
                        </a:cubicBezTo>
                        <a:cubicBezTo>
                          <a:pt x="4154" y="10118"/>
                          <a:pt x="4455" y="11854"/>
                          <a:pt x="4455" y="11854"/>
                        </a:cubicBezTo>
                        <a:cubicBezTo>
                          <a:pt x="4455" y="11918"/>
                          <a:pt x="4455" y="11918"/>
                          <a:pt x="4455" y="11918"/>
                        </a:cubicBezTo>
                        <a:cubicBezTo>
                          <a:pt x="4556" y="12175"/>
                          <a:pt x="4857" y="12497"/>
                          <a:pt x="5159" y="12689"/>
                        </a:cubicBezTo>
                        <a:cubicBezTo>
                          <a:pt x="6163" y="21368"/>
                          <a:pt x="6163" y="21368"/>
                          <a:pt x="6163" y="21368"/>
                        </a:cubicBezTo>
                        <a:cubicBezTo>
                          <a:pt x="8976" y="21368"/>
                          <a:pt x="8976" y="21368"/>
                          <a:pt x="8976" y="21368"/>
                        </a:cubicBezTo>
                        <a:cubicBezTo>
                          <a:pt x="10182" y="14618"/>
                          <a:pt x="10182" y="14618"/>
                          <a:pt x="10182" y="14618"/>
                        </a:cubicBezTo>
                        <a:cubicBezTo>
                          <a:pt x="10282" y="14618"/>
                          <a:pt x="10383" y="14618"/>
                          <a:pt x="10383" y="14618"/>
                        </a:cubicBezTo>
                        <a:cubicBezTo>
                          <a:pt x="10584" y="14618"/>
                          <a:pt x="10684" y="14618"/>
                          <a:pt x="10785" y="14554"/>
                        </a:cubicBezTo>
                        <a:cubicBezTo>
                          <a:pt x="12091" y="21368"/>
                          <a:pt x="12091" y="21368"/>
                          <a:pt x="12091" y="21368"/>
                        </a:cubicBezTo>
                        <a:cubicBezTo>
                          <a:pt x="14803" y="21368"/>
                          <a:pt x="14803" y="21368"/>
                          <a:pt x="14803" y="21368"/>
                        </a:cubicBezTo>
                        <a:cubicBezTo>
                          <a:pt x="15808" y="12818"/>
                          <a:pt x="15808" y="12818"/>
                          <a:pt x="15808" y="12818"/>
                        </a:cubicBezTo>
                        <a:cubicBezTo>
                          <a:pt x="16109" y="12561"/>
                          <a:pt x="16411" y="12239"/>
                          <a:pt x="16511" y="11918"/>
                        </a:cubicBezTo>
                        <a:cubicBezTo>
                          <a:pt x="16511" y="11854"/>
                          <a:pt x="16511" y="11854"/>
                          <a:pt x="16511" y="11854"/>
                        </a:cubicBezTo>
                        <a:cubicBezTo>
                          <a:pt x="16511" y="11854"/>
                          <a:pt x="16712" y="10761"/>
                          <a:pt x="16913" y="9218"/>
                        </a:cubicBezTo>
                        <a:cubicBezTo>
                          <a:pt x="17516" y="4075"/>
                          <a:pt x="17516" y="4075"/>
                          <a:pt x="17516" y="4075"/>
                        </a:cubicBezTo>
                        <a:cubicBezTo>
                          <a:pt x="17516" y="4075"/>
                          <a:pt x="17516" y="4011"/>
                          <a:pt x="17516" y="4011"/>
                        </a:cubicBezTo>
                        <a:cubicBezTo>
                          <a:pt x="17616" y="3882"/>
                          <a:pt x="17717" y="3818"/>
                          <a:pt x="17817" y="3754"/>
                        </a:cubicBezTo>
                        <a:cubicBezTo>
                          <a:pt x="18219" y="3432"/>
                          <a:pt x="18018" y="10504"/>
                          <a:pt x="17817" y="11532"/>
                        </a:cubicBezTo>
                        <a:cubicBezTo>
                          <a:pt x="18219" y="11661"/>
                          <a:pt x="19023" y="11532"/>
                          <a:pt x="20027" y="11339"/>
                        </a:cubicBezTo>
                        <a:cubicBezTo>
                          <a:pt x="20429" y="9797"/>
                          <a:pt x="21434" y="2661"/>
                          <a:pt x="21233" y="2018"/>
                        </a:cubicBezTo>
                        <a:cubicBezTo>
                          <a:pt x="21133" y="1568"/>
                          <a:pt x="17214" y="-232"/>
                          <a:pt x="14100" y="25"/>
                        </a:cubicBezTo>
                        <a:cubicBezTo>
                          <a:pt x="14100" y="25"/>
                          <a:pt x="13899" y="89"/>
                          <a:pt x="13698" y="218"/>
                        </a:cubicBezTo>
                        <a:cubicBezTo>
                          <a:pt x="12091" y="4718"/>
                          <a:pt x="12091" y="4718"/>
                          <a:pt x="12091" y="4718"/>
                        </a:cubicBezTo>
                        <a:cubicBezTo>
                          <a:pt x="11488" y="1375"/>
                          <a:pt x="11488" y="1375"/>
                          <a:pt x="11488" y="1375"/>
                        </a:cubicBezTo>
                        <a:cubicBezTo>
                          <a:pt x="11588" y="989"/>
                          <a:pt x="11588" y="989"/>
                          <a:pt x="11588" y="989"/>
                        </a:cubicBezTo>
                        <a:cubicBezTo>
                          <a:pt x="11287" y="604"/>
                          <a:pt x="11287" y="604"/>
                          <a:pt x="11287" y="604"/>
                        </a:cubicBezTo>
                        <a:cubicBezTo>
                          <a:pt x="10383" y="604"/>
                          <a:pt x="10383" y="604"/>
                          <a:pt x="10383" y="604"/>
                        </a:cubicBezTo>
                        <a:cubicBezTo>
                          <a:pt x="9981" y="989"/>
                          <a:pt x="9981" y="989"/>
                          <a:pt x="9981" y="989"/>
                        </a:cubicBezTo>
                        <a:cubicBezTo>
                          <a:pt x="10182" y="1311"/>
                          <a:pt x="10182" y="1311"/>
                          <a:pt x="10182" y="1311"/>
                        </a:cubicBezTo>
                        <a:cubicBezTo>
                          <a:pt x="9579" y="4461"/>
                          <a:pt x="9579" y="4461"/>
                          <a:pt x="9579" y="4461"/>
                        </a:cubicBezTo>
                        <a:cubicBezTo>
                          <a:pt x="9479" y="4654"/>
                          <a:pt x="9479" y="4654"/>
                          <a:pt x="9479" y="4654"/>
                        </a:cubicBezTo>
                        <a:cubicBezTo>
                          <a:pt x="7570" y="25"/>
                          <a:pt x="7570" y="25"/>
                          <a:pt x="7570" y="25"/>
                        </a:cubicBezTo>
                        <a:cubicBezTo>
                          <a:pt x="7469" y="25"/>
                          <a:pt x="7369" y="25"/>
                          <a:pt x="7268" y="25"/>
                        </a:cubicBezTo>
                        <a:cubicBezTo>
                          <a:pt x="4154" y="347"/>
                          <a:pt x="135" y="1054"/>
                          <a:pt x="35" y="2404"/>
                        </a:cubicBezTo>
                        <a:cubicBezTo>
                          <a:pt x="-166" y="3111"/>
                          <a:pt x="537" y="9732"/>
                          <a:pt x="1040" y="11275"/>
                        </a:cubicBezTo>
                        <a:cubicBezTo>
                          <a:pt x="1944" y="11661"/>
                          <a:pt x="3149" y="11597"/>
                          <a:pt x="3551" y="11597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98" name="Shape 3310"/>
                  <p:cNvSpPr/>
                  <p:nvPr/>
                </p:nvSpPr>
                <p:spPr>
                  <a:xfrm>
                    <a:off x="7816869" y="5173789"/>
                    <a:ext cx="85538" cy="117258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19097" extrusionOk="0">
                        <a:moveTo>
                          <a:pt x="909" y="7737"/>
                        </a:moveTo>
                        <a:cubicBezTo>
                          <a:pt x="455" y="7737"/>
                          <a:pt x="0" y="8697"/>
                          <a:pt x="0" y="10137"/>
                        </a:cubicBezTo>
                        <a:cubicBezTo>
                          <a:pt x="0" y="11417"/>
                          <a:pt x="455" y="12537"/>
                          <a:pt x="909" y="12537"/>
                        </a:cubicBezTo>
                        <a:cubicBezTo>
                          <a:pt x="1137" y="12537"/>
                          <a:pt x="1364" y="12377"/>
                          <a:pt x="1364" y="11897"/>
                        </a:cubicBezTo>
                        <a:cubicBezTo>
                          <a:pt x="2956" y="16057"/>
                          <a:pt x="7958" y="19097"/>
                          <a:pt x="10914" y="19097"/>
                        </a:cubicBezTo>
                        <a:cubicBezTo>
                          <a:pt x="14324" y="19097"/>
                          <a:pt x="19326" y="16217"/>
                          <a:pt x="20008" y="11737"/>
                        </a:cubicBezTo>
                        <a:cubicBezTo>
                          <a:pt x="20236" y="12217"/>
                          <a:pt x="20463" y="12377"/>
                          <a:pt x="20691" y="12377"/>
                        </a:cubicBezTo>
                        <a:cubicBezTo>
                          <a:pt x="21145" y="12377"/>
                          <a:pt x="21600" y="11417"/>
                          <a:pt x="21600" y="9977"/>
                        </a:cubicBezTo>
                        <a:cubicBezTo>
                          <a:pt x="21600" y="8697"/>
                          <a:pt x="21145" y="7577"/>
                          <a:pt x="20691" y="7577"/>
                        </a:cubicBezTo>
                        <a:cubicBezTo>
                          <a:pt x="20463" y="7577"/>
                          <a:pt x="20463" y="7577"/>
                          <a:pt x="20463" y="7737"/>
                        </a:cubicBezTo>
                        <a:cubicBezTo>
                          <a:pt x="20463" y="7097"/>
                          <a:pt x="20463" y="6297"/>
                          <a:pt x="20236" y="5657"/>
                        </a:cubicBezTo>
                        <a:cubicBezTo>
                          <a:pt x="18644" y="6457"/>
                          <a:pt x="15688" y="5337"/>
                          <a:pt x="12505" y="4217"/>
                        </a:cubicBezTo>
                        <a:cubicBezTo>
                          <a:pt x="12733" y="4217"/>
                          <a:pt x="13187" y="4377"/>
                          <a:pt x="13642" y="4537"/>
                        </a:cubicBezTo>
                        <a:cubicBezTo>
                          <a:pt x="19099" y="6457"/>
                          <a:pt x="21145" y="2777"/>
                          <a:pt x="21145" y="2777"/>
                        </a:cubicBezTo>
                        <a:cubicBezTo>
                          <a:pt x="21145" y="2777"/>
                          <a:pt x="14552" y="-2503"/>
                          <a:pt x="3638" y="1497"/>
                        </a:cubicBezTo>
                        <a:cubicBezTo>
                          <a:pt x="2728" y="1817"/>
                          <a:pt x="1364" y="2617"/>
                          <a:pt x="227" y="3097"/>
                        </a:cubicBezTo>
                        <a:cubicBezTo>
                          <a:pt x="227" y="3097"/>
                          <a:pt x="1137" y="3097"/>
                          <a:pt x="2728" y="3097"/>
                        </a:cubicBezTo>
                        <a:cubicBezTo>
                          <a:pt x="1364" y="3577"/>
                          <a:pt x="909" y="4537"/>
                          <a:pt x="1137" y="6457"/>
                        </a:cubicBezTo>
                        <a:cubicBezTo>
                          <a:pt x="909" y="6777"/>
                          <a:pt x="909" y="7257"/>
                          <a:pt x="909" y="7737"/>
                        </a:cubicBezTo>
                        <a:cubicBezTo>
                          <a:pt x="909" y="7737"/>
                          <a:pt x="909" y="7737"/>
                          <a:pt x="909" y="7737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99" name="Shape 3311"/>
                  <p:cNvSpPr/>
                  <p:nvPr/>
                </p:nvSpPr>
                <p:spPr>
                  <a:xfrm>
                    <a:off x="7806408" y="5621709"/>
                    <a:ext cx="34901" cy="17957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18145" h="20610" extrusionOk="0">
                        <a:moveTo>
                          <a:pt x="6656" y="0"/>
                        </a:moveTo>
                        <a:cubicBezTo>
                          <a:pt x="6656" y="0"/>
                          <a:pt x="6196" y="1137"/>
                          <a:pt x="5277" y="2274"/>
                        </a:cubicBezTo>
                        <a:cubicBezTo>
                          <a:pt x="2060" y="7958"/>
                          <a:pt x="-3455" y="19326"/>
                          <a:pt x="2979" y="20463"/>
                        </a:cubicBezTo>
                        <a:cubicBezTo>
                          <a:pt x="7575" y="21600"/>
                          <a:pt x="10792" y="15916"/>
                          <a:pt x="13549" y="11368"/>
                        </a:cubicBezTo>
                        <a:cubicBezTo>
                          <a:pt x="14928" y="9095"/>
                          <a:pt x="14468" y="11368"/>
                          <a:pt x="14928" y="11368"/>
                        </a:cubicBezTo>
                        <a:cubicBezTo>
                          <a:pt x="15388" y="11368"/>
                          <a:pt x="17226" y="11368"/>
                          <a:pt x="17685" y="11368"/>
                        </a:cubicBezTo>
                        <a:cubicBezTo>
                          <a:pt x="17685" y="6821"/>
                          <a:pt x="18145" y="4547"/>
                          <a:pt x="18145" y="3411"/>
                        </a:cubicBezTo>
                        <a:cubicBezTo>
                          <a:pt x="18145" y="1137"/>
                          <a:pt x="17685" y="1137"/>
                          <a:pt x="17685" y="1137"/>
                        </a:cubicBezTo>
                        <a:cubicBezTo>
                          <a:pt x="18145" y="0"/>
                          <a:pt x="18145" y="0"/>
                          <a:pt x="18145" y="0"/>
                        </a:cubicBezTo>
                        <a:lnTo>
                          <a:pt x="6656" y="0"/>
                        </a:ln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100" name="Shape 3312"/>
                  <p:cNvSpPr/>
                  <p:nvPr/>
                </p:nvSpPr>
                <p:spPr>
                  <a:xfrm>
                    <a:off x="7874709" y="5621709"/>
                    <a:ext cx="34676" cy="17957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18028" h="20610" extrusionOk="0">
                        <a:moveTo>
                          <a:pt x="460" y="11368"/>
                        </a:moveTo>
                        <a:cubicBezTo>
                          <a:pt x="919" y="11368"/>
                          <a:pt x="2298" y="11368"/>
                          <a:pt x="2757" y="11368"/>
                        </a:cubicBezTo>
                        <a:cubicBezTo>
                          <a:pt x="3217" y="11368"/>
                          <a:pt x="2757" y="9095"/>
                          <a:pt x="4136" y="11368"/>
                        </a:cubicBezTo>
                        <a:cubicBezTo>
                          <a:pt x="7353" y="15916"/>
                          <a:pt x="10111" y="21600"/>
                          <a:pt x="15166" y="20463"/>
                        </a:cubicBezTo>
                        <a:cubicBezTo>
                          <a:pt x="21600" y="19326"/>
                          <a:pt x="15626" y="7958"/>
                          <a:pt x="12409" y="2274"/>
                        </a:cubicBezTo>
                        <a:cubicBezTo>
                          <a:pt x="11949" y="1137"/>
                          <a:pt x="11030" y="0"/>
                          <a:pt x="11030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1137"/>
                          <a:pt x="0" y="1137"/>
                          <a:pt x="0" y="1137"/>
                        </a:cubicBezTo>
                        <a:cubicBezTo>
                          <a:pt x="0" y="1137"/>
                          <a:pt x="0" y="1137"/>
                          <a:pt x="0" y="3411"/>
                        </a:cubicBezTo>
                        <a:cubicBezTo>
                          <a:pt x="0" y="4547"/>
                          <a:pt x="0" y="6821"/>
                          <a:pt x="460" y="11368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101" name="Shape 3313"/>
                  <p:cNvSpPr/>
                  <p:nvPr/>
                </p:nvSpPr>
                <p:spPr>
                  <a:xfrm>
                    <a:off x="7631947" y="5530306"/>
                    <a:ext cx="93684" cy="101261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10903" y="21600"/>
                        </a:moveTo>
                        <a:cubicBezTo>
                          <a:pt x="9669" y="19083"/>
                          <a:pt x="9257" y="18245"/>
                          <a:pt x="8640" y="13841"/>
                        </a:cubicBezTo>
                        <a:cubicBezTo>
                          <a:pt x="7200" y="13841"/>
                          <a:pt x="7200" y="13841"/>
                          <a:pt x="7200" y="13841"/>
                        </a:cubicBezTo>
                        <a:cubicBezTo>
                          <a:pt x="7200" y="13631"/>
                          <a:pt x="7200" y="13631"/>
                          <a:pt x="7200" y="13631"/>
                        </a:cubicBezTo>
                        <a:cubicBezTo>
                          <a:pt x="7200" y="13421"/>
                          <a:pt x="7200" y="13212"/>
                          <a:pt x="7200" y="13212"/>
                        </a:cubicBezTo>
                        <a:cubicBezTo>
                          <a:pt x="7406" y="13002"/>
                          <a:pt x="7406" y="12792"/>
                          <a:pt x="7611" y="12163"/>
                        </a:cubicBezTo>
                        <a:cubicBezTo>
                          <a:pt x="7817" y="11744"/>
                          <a:pt x="8229" y="11324"/>
                          <a:pt x="8640" y="10695"/>
                        </a:cubicBezTo>
                        <a:cubicBezTo>
                          <a:pt x="9051" y="10276"/>
                          <a:pt x="9463" y="9647"/>
                          <a:pt x="10286" y="9017"/>
                        </a:cubicBezTo>
                        <a:cubicBezTo>
                          <a:pt x="10903" y="8598"/>
                          <a:pt x="11520" y="7969"/>
                          <a:pt x="12343" y="7550"/>
                        </a:cubicBezTo>
                        <a:cubicBezTo>
                          <a:pt x="13166" y="6920"/>
                          <a:pt x="13989" y="6501"/>
                          <a:pt x="15017" y="6082"/>
                        </a:cubicBezTo>
                        <a:cubicBezTo>
                          <a:pt x="15840" y="5452"/>
                          <a:pt x="16869" y="5033"/>
                          <a:pt x="17897" y="4614"/>
                        </a:cubicBezTo>
                        <a:cubicBezTo>
                          <a:pt x="18926" y="4194"/>
                          <a:pt x="19954" y="3775"/>
                          <a:pt x="20983" y="3565"/>
                        </a:cubicBezTo>
                        <a:cubicBezTo>
                          <a:pt x="21394" y="2936"/>
                          <a:pt x="21600" y="2307"/>
                          <a:pt x="21600" y="2307"/>
                        </a:cubicBezTo>
                        <a:cubicBezTo>
                          <a:pt x="21600" y="2307"/>
                          <a:pt x="21600" y="2097"/>
                          <a:pt x="21600" y="2097"/>
                        </a:cubicBezTo>
                        <a:cubicBezTo>
                          <a:pt x="21394" y="0"/>
                          <a:pt x="21394" y="0"/>
                          <a:pt x="21394" y="0"/>
                        </a:cubicBezTo>
                        <a:cubicBezTo>
                          <a:pt x="19749" y="419"/>
                          <a:pt x="18103" y="839"/>
                          <a:pt x="16663" y="1258"/>
                        </a:cubicBezTo>
                        <a:cubicBezTo>
                          <a:pt x="15429" y="1678"/>
                          <a:pt x="14400" y="2097"/>
                          <a:pt x="13371" y="2517"/>
                        </a:cubicBezTo>
                        <a:cubicBezTo>
                          <a:pt x="12343" y="2936"/>
                          <a:pt x="11314" y="3565"/>
                          <a:pt x="10491" y="3984"/>
                        </a:cubicBezTo>
                        <a:cubicBezTo>
                          <a:pt x="9463" y="4614"/>
                          <a:pt x="8434" y="5243"/>
                          <a:pt x="7611" y="5872"/>
                        </a:cubicBezTo>
                        <a:cubicBezTo>
                          <a:pt x="6789" y="6501"/>
                          <a:pt x="6171" y="7130"/>
                          <a:pt x="5349" y="7759"/>
                        </a:cubicBezTo>
                        <a:cubicBezTo>
                          <a:pt x="4731" y="8598"/>
                          <a:pt x="4114" y="9227"/>
                          <a:pt x="3703" y="10066"/>
                        </a:cubicBezTo>
                        <a:cubicBezTo>
                          <a:pt x="3291" y="10695"/>
                          <a:pt x="3086" y="11744"/>
                          <a:pt x="2880" y="12373"/>
                        </a:cubicBezTo>
                        <a:cubicBezTo>
                          <a:pt x="2674" y="12792"/>
                          <a:pt x="2674" y="13002"/>
                          <a:pt x="2674" y="13212"/>
                        </a:cubicBezTo>
                        <a:cubicBezTo>
                          <a:pt x="2674" y="13421"/>
                          <a:pt x="2674" y="13421"/>
                          <a:pt x="2674" y="13631"/>
                        </a:cubicBezTo>
                        <a:cubicBezTo>
                          <a:pt x="0" y="13421"/>
                          <a:pt x="0" y="13421"/>
                          <a:pt x="0" y="13421"/>
                        </a:cubicBezTo>
                        <a:cubicBezTo>
                          <a:pt x="0" y="13421"/>
                          <a:pt x="4731" y="18454"/>
                          <a:pt x="10903" y="21600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102" name="Shape 3314"/>
                  <p:cNvSpPr/>
                  <p:nvPr/>
                </p:nvSpPr>
                <p:spPr>
                  <a:xfrm>
                    <a:off x="7919514" y="5517761"/>
                    <a:ext cx="26884" cy="15235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20880" y="14850"/>
                        </a:moveTo>
                        <a:cubicBezTo>
                          <a:pt x="20160" y="4050"/>
                          <a:pt x="20160" y="4050"/>
                          <a:pt x="20160" y="4050"/>
                        </a:cubicBezTo>
                        <a:cubicBezTo>
                          <a:pt x="17280" y="2700"/>
                          <a:pt x="14400" y="2700"/>
                          <a:pt x="11520" y="1350"/>
                        </a:cubicBezTo>
                        <a:cubicBezTo>
                          <a:pt x="11520" y="1350"/>
                          <a:pt x="11520" y="1350"/>
                          <a:pt x="11520" y="1350"/>
                        </a:cubicBezTo>
                        <a:cubicBezTo>
                          <a:pt x="10080" y="0"/>
                          <a:pt x="10080" y="0"/>
                          <a:pt x="10080" y="0"/>
                        </a:cubicBezTo>
                        <a:cubicBezTo>
                          <a:pt x="10080" y="1350"/>
                          <a:pt x="10080" y="1350"/>
                          <a:pt x="10080" y="1350"/>
                        </a:cubicBezTo>
                        <a:cubicBezTo>
                          <a:pt x="6480" y="1350"/>
                          <a:pt x="3600" y="0"/>
                          <a:pt x="720" y="0"/>
                        </a:cubicBezTo>
                        <a:cubicBezTo>
                          <a:pt x="0" y="14850"/>
                          <a:pt x="0" y="14850"/>
                          <a:pt x="0" y="14850"/>
                        </a:cubicBezTo>
                        <a:cubicBezTo>
                          <a:pt x="2880" y="16200"/>
                          <a:pt x="5760" y="17550"/>
                          <a:pt x="8640" y="17550"/>
                        </a:cubicBezTo>
                        <a:cubicBezTo>
                          <a:pt x="8640" y="21600"/>
                          <a:pt x="8640" y="21600"/>
                          <a:pt x="8640" y="21600"/>
                        </a:cubicBezTo>
                        <a:cubicBezTo>
                          <a:pt x="8640" y="21600"/>
                          <a:pt x="10080" y="20250"/>
                          <a:pt x="12960" y="18900"/>
                        </a:cubicBezTo>
                        <a:cubicBezTo>
                          <a:pt x="15840" y="20250"/>
                          <a:pt x="18720" y="20250"/>
                          <a:pt x="20880" y="21600"/>
                        </a:cubicBezTo>
                        <a:cubicBezTo>
                          <a:pt x="20880" y="21600"/>
                          <a:pt x="20880" y="20250"/>
                          <a:pt x="20880" y="20250"/>
                        </a:cubicBezTo>
                        <a:cubicBezTo>
                          <a:pt x="20880" y="20250"/>
                          <a:pt x="21600" y="20250"/>
                          <a:pt x="21600" y="20250"/>
                        </a:cubicBezTo>
                        <a:cubicBezTo>
                          <a:pt x="20880" y="16200"/>
                          <a:pt x="20880" y="16200"/>
                          <a:pt x="20880" y="16200"/>
                        </a:cubicBezTo>
                        <a:cubicBezTo>
                          <a:pt x="21600" y="16200"/>
                          <a:pt x="21600" y="16200"/>
                          <a:pt x="21600" y="16200"/>
                        </a:cubicBezTo>
                        <a:lnTo>
                          <a:pt x="20880" y="14850"/>
                        </a:ln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>
                        <a:solidFill>
                          <a:srgbClr val="424953"/>
                        </a:solidFill>
                      </a:defRPr>
                    </a:pPr>
                    <a:endParaRPr sz="11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</p:grpSp>
          </p:grpSp>
          <p:grpSp>
            <p:nvGrpSpPr>
              <p:cNvPr id="14" name="组合 13"/>
              <p:cNvGrpSpPr/>
              <p:nvPr/>
            </p:nvGrpSpPr>
            <p:grpSpPr>
              <a:xfrm>
                <a:off x="2720127" y="4178131"/>
                <a:ext cx="693980" cy="693980"/>
                <a:chOff x="3377365" y="4019937"/>
                <a:chExt cx="839716" cy="839715"/>
              </a:xfrm>
            </p:grpSpPr>
            <p:sp>
              <p:nvSpPr>
                <p:cNvPr id="65" name="椭圆 64"/>
                <p:cNvSpPr/>
                <p:nvPr/>
              </p:nvSpPr>
              <p:spPr>
                <a:xfrm>
                  <a:off x="3377365" y="4019937"/>
                  <a:ext cx="839716" cy="839715"/>
                </a:xfrm>
                <a:prstGeom prst="ellipse">
                  <a:avLst/>
                </a:prstGeom>
                <a:solidFill>
                  <a:srgbClr val="13AE67"/>
                </a:solidFill>
                <a:ln w="12700">
                  <a:solidFill>
                    <a:sysClr val="window" lastClr="FFFFFF"/>
                  </a:solidFill>
                </a:ln>
              </p:spPr>
              <p:txBody>
                <a:bodyPr wrap="square" lIns="0" rIns="0" rtlCol="0" anchor="ctr">
                  <a:noAutofit/>
                </a:bodyPr>
                <a:lstStyle/>
                <a:p>
                  <a:pPr algn="ctr" defTabSz="914354">
                    <a:defRPr/>
                  </a:pPr>
                  <a:endParaRPr lang="zh-CN" altLang="en-US" sz="800" kern="0" dirty="0">
                    <a:solidFill>
                      <a:srgbClr val="777777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endParaRPr>
                </a:p>
              </p:txBody>
            </p:sp>
            <p:grpSp>
              <p:nvGrpSpPr>
                <p:cNvPr id="66" name="组合 65"/>
                <p:cNvGrpSpPr/>
                <p:nvPr/>
              </p:nvGrpSpPr>
              <p:grpSpPr>
                <a:xfrm>
                  <a:off x="3614733" y="4257090"/>
                  <a:ext cx="364983" cy="365404"/>
                  <a:chOff x="10971011" y="5193959"/>
                  <a:chExt cx="485791" cy="486354"/>
                </a:xfrm>
              </p:grpSpPr>
              <p:sp>
                <p:nvSpPr>
                  <p:cNvPr id="67" name="Shape 3731"/>
                  <p:cNvSpPr/>
                  <p:nvPr/>
                </p:nvSpPr>
                <p:spPr>
                  <a:xfrm>
                    <a:off x="10971011" y="5336835"/>
                    <a:ext cx="465586" cy="343478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0140" h="21600" extrusionOk="0">
                        <a:moveTo>
                          <a:pt x="10509" y="21600"/>
                        </a:moveTo>
                        <a:cubicBezTo>
                          <a:pt x="9065" y="21600"/>
                          <a:pt x="7551" y="21200"/>
                          <a:pt x="6176" y="20300"/>
                        </a:cubicBezTo>
                        <a:cubicBezTo>
                          <a:pt x="879" y="16800"/>
                          <a:pt x="-1460" y="7700"/>
                          <a:pt x="948" y="0"/>
                        </a:cubicBezTo>
                        <a:cubicBezTo>
                          <a:pt x="4387" y="2300"/>
                          <a:pt x="4387" y="2300"/>
                          <a:pt x="4387" y="2300"/>
                        </a:cubicBezTo>
                        <a:cubicBezTo>
                          <a:pt x="2874" y="7200"/>
                          <a:pt x="4387" y="13000"/>
                          <a:pt x="7758" y="15200"/>
                        </a:cubicBezTo>
                        <a:cubicBezTo>
                          <a:pt x="11129" y="17400"/>
                          <a:pt x="15118" y="15200"/>
                          <a:pt x="16632" y="10300"/>
                        </a:cubicBezTo>
                        <a:cubicBezTo>
                          <a:pt x="20140" y="12600"/>
                          <a:pt x="20140" y="12600"/>
                          <a:pt x="20140" y="12600"/>
                        </a:cubicBezTo>
                        <a:cubicBezTo>
                          <a:pt x="18971" y="16300"/>
                          <a:pt x="16907" y="19200"/>
                          <a:pt x="14293" y="20600"/>
                        </a:cubicBezTo>
                        <a:cubicBezTo>
                          <a:pt x="13055" y="21300"/>
                          <a:pt x="11816" y="21600"/>
                          <a:pt x="10509" y="21600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/>
                    </a:pPr>
                    <a:endParaRPr sz="8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68" name="Shape 3732"/>
                  <p:cNvSpPr/>
                  <p:nvPr/>
                </p:nvSpPr>
                <p:spPr>
                  <a:xfrm>
                    <a:off x="11002198" y="5195403"/>
                    <a:ext cx="189058" cy="158751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21600" y="0"/>
                        </a:moveTo>
                        <a:cubicBezTo>
                          <a:pt x="14158" y="864"/>
                          <a:pt x="7261" y="5184"/>
                          <a:pt x="2541" y="12312"/>
                        </a:cubicBezTo>
                        <a:cubicBezTo>
                          <a:pt x="1634" y="13608"/>
                          <a:pt x="726" y="15120"/>
                          <a:pt x="0" y="16632"/>
                        </a:cubicBezTo>
                        <a:cubicBezTo>
                          <a:pt x="9257" y="21600"/>
                          <a:pt x="9257" y="21600"/>
                          <a:pt x="9257" y="21600"/>
                        </a:cubicBezTo>
                        <a:cubicBezTo>
                          <a:pt x="9620" y="20952"/>
                          <a:pt x="9983" y="20304"/>
                          <a:pt x="10346" y="19656"/>
                        </a:cubicBezTo>
                        <a:cubicBezTo>
                          <a:pt x="13250" y="15552"/>
                          <a:pt x="17244" y="12744"/>
                          <a:pt x="21600" y="12096"/>
                        </a:cubicBezTo>
                        <a:lnTo>
                          <a:pt x="21600" y="0"/>
                        </a:lnTo>
                        <a:close/>
                      </a:path>
                    </a:pathLst>
                  </a:custGeom>
                  <a:solidFill>
                    <a:srgbClr val="FFFFFF">
                      <a:alpha val="50196"/>
                    </a:srgbClr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/>
                    </a:pPr>
                    <a:endParaRPr sz="8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69" name="Shape 3733"/>
                  <p:cNvSpPr/>
                  <p:nvPr/>
                </p:nvSpPr>
                <p:spPr>
                  <a:xfrm>
                    <a:off x="11362994" y="5459506"/>
                    <a:ext cx="93808" cy="57727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1098" y="0"/>
                        </a:moveTo>
                        <a:cubicBezTo>
                          <a:pt x="732" y="3000"/>
                          <a:pt x="366" y="5400"/>
                          <a:pt x="0" y="7800"/>
                        </a:cubicBezTo>
                        <a:cubicBezTo>
                          <a:pt x="18671" y="21600"/>
                          <a:pt x="18671" y="21600"/>
                          <a:pt x="18671" y="21600"/>
                        </a:cubicBezTo>
                        <a:cubicBezTo>
                          <a:pt x="20136" y="15000"/>
                          <a:pt x="21234" y="7800"/>
                          <a:pt x="21600" y="0"/>
                        </a:cubicBezTo>
                        <a:lnTo>
                          <a:pt x="1098" y="0"/>
                        </a:ln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/>
                    </a:pPr>
                    <a:endParaRPr sz="8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70" name="Shape 3734"/>
                  <p:cNvSpPr/>
                  <p:nvPr/>
                </p:nvSpPr>
                <p:spPr>
                  <a:xfrm>
                    <a:off x="11212903" y="5193959"/>
                    <a:ext cx="243899" cy="242456"/>
                  </a:xfrm>
                  <a:custGeom>
                    <a:avLst/>
                    <a:gdLst/>
                    <a:ahLst/>
                    <a:cxnLst>
                      <a:cxn ang="0">
                        <a:pos x="wd2" y="hd2"/>
                      </a:cxn>
                      <a:cxn ang="5400000">
                        <a:pos x="wd2" y="hd2"/>
                      </a:cxn>
                      <a:cxn ang="10800000">
                        <a:pos x="wd2" y="hd2"/>
                      </a:cxn>
                      <a:cxn ang="16200000">
                        <a:pos x="wd2" y="hd2"/>
                      </a:cxn>
                    </a:cxnLst>
                    <a:rect l="0" t="0" r="r" b="b"/>
                    <a:pathLst>
                      <a:path w="21600" h="21600" extrusionOk="0">
                        <a:moveTo>
                          <a:pt x="21600" y="21600"/>
                        </a:moveTo>
                        <a:cubicBezTo>
                          <a:pt x="13835" y="21600"/>
                          <a:pt x="13835" y="21600"/>
                          <a:pt x="13835" y="21600"/>
                        </a:cubicBezTo>
                        <a:cubicBezTo>
                          <a:pt x="13835" y="14118"/>
                          <a:pt x="7624" y="7906"/>
                          <a:pt x="0" y="7906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2000" y="0"/>
                          <a:pt x="21600" y="9741"/>
                          <a:pt x="21600" y="21600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50196"/>
                    </a:srgbClr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/>
                    </a:pPr>
                    <a:endParaRPr sz="8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71" name="Shape 3735"/>
                  <p:cNvSpPr/>
                  <p:nvPr/>
                </p:nvSpPr>
                <p:spPr>
                  <a:xfrm>
                    <a:off x="11126312" y="5466722"/>
                    <a:ext cx="43296" cy="57728"/>
                  </a:xfrm>
                  <a:prstGeom prst="rect">
                    <a:avLst/>
                  </a:prstGeom>
                  <a:solidFill>
                    <a:srgbClr val="FFFFFF">
                      <a:alpha val="50196"/>
                    </a:srgbClr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/>
                    </a:pPr>
                    <a:endParaRPr sz="8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72" name="Shape 3736"/>
                  <p:cNvSpPr/>
                  <p:nvPr/>
                </p:nvSpPr>
                <p:spPr>
                  <a:xfrm>
                    <a:off x="11191255" y="5396005"/>
                    <a:ext cx="44740" cy="128445"/>
                  </a:xfrm>
                  <a:prstGeom prst="rect">
                    <a:avLst/>
                  </a:prstGeom>
                  <a:solidFill>
                    <a:srgbClr val="FFFFFF">
                      <a:alpha val="50196"/>
                    </a:srgbClr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/>
                    </a:pPr>
                    <a:endParaRPr sz="8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  <p:sp>
                <p:nvSpPr>
                  <p:cNvPr id="73" name="Shape 3737"/>
                  <p:cNvSpPr/>
                  <p:nvPr/>
                </p:nvSpPr>
                <p:spPr>
                  <a:xfrm>
                    <a:off x="11257641" y="5358482"/>
                    <a:ext cx="44740" cy="165967"/>
                  </a:xfrm>
                  <a:prstGeom prst="rect">
                    <a:avLst/>
                  </a:prstGeom>
                  <a:solidFill>
                    <a:sysClr val="window" lastClr="FFFFFF"/>
                  </a:solidFill>
                  <a:ln w="12700" cap="flat">
                    <a:noFill/>
                    <a:miter lim="400000"/>
                  </a:ln>
                  <a:effectLst/>
                </p:spPr>
                <p:txBody>
                  <a:bodyPr wrap="square" lIns="0" tIns="0" rIns="0" bIns="0" numCol="1" anchor="t">
                    <a:noAutofit/>
                  </a:bodyPr>
                  <a:lstStyle/>
                  <a:p>
                    <a:pPr defTabSz="914354">
                      <a:defRPr/>
                    </a:pPr>
                    <a:endParaRPr sz="800" kern="0">
                      <a:solidFill>
                        <a:srgbClr val="777777"/>
                      </a:solidFill>
                      <a:latin typeface="Helvetica"/>
                      <a:cs typeface="Helvetica"/>
                      <a:sym typeface="Helvetica"/>
                    </a:endParaRPr>
                  </a:p>
                </p:txBody>
              </p:sp>
            </p:grpSp>
          </p:grpSp>
          <p:grpSp>
            <p:nvGrpSpPr>
              <p:cNvPr id="103" name="组合 102"/>
              <p:cNvGrpSpPr/>
              <p:nvPr/>
            </p:nvGrpSpPr>
            <p:grpSpPr>
              <a:xfrm>
                <a:off x="938051" y="1649115"/>
                <a:ext cx="2200488" cy="1075338"/>
                <a:chOff x="2516937" y="1362131"/>
                <a:chExt cx="2662591" cy="1301158"/>
              </a:xfrm>
            </p:grpSpPr>
            <p:sp>
              <p:nvSpPr>
                <p:cNvPr id="104" name="文本框 103"/>
                <p:cNvSpPr txBox="1"/>
                <p:nvPr/>
              </p:nvSpPr>
              <p:spPr>
                <a:xfrm>
                  <a:off x="3283629" y="1362131"/>
                  <a:ext cx="1129200" cy="46551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54">
                    <a:defRPr/>
                  </a:pPr>
                  <a:r>
                    <a:rPr lang="en-US" altLang="zh-CN" kern="0" dirty="0">
                      <a:solidFill>
                        <a:srgbClr val="777777"/>
                      </a:solidFill>
                      <a:ea typeface="Arial Unicode MS" panose="020B0604020202020204" pitchFamily="34" charset="-122"/>
                      <a:cs typeface="Arial" panose="020B0604020202020204" pitchFamily="34" charset="0"/>
                    </a:rPr>
                    <a:t>Planet</a:t>
                  </a:r>
                </a:p>
              </p:txBody>
            </p:sp>
            <p:sp>
              <p:nvSpPr>
                <p:cNvPr id="106" name="文本框 105"/>
                <p:cNvSpPr txBox="1"/>
                <p:nvPr/>
              </p:nvSpPr>
              <p:spPr>
                <a:xfrm>
                  <a:off x="2516937" y="1695026"/>
                  <a:ext cx="2662591" cy="96826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914354">
                    <a:spcBef>
                      <a:spcPts val="600"/>
                    </a:spcBef>
                  </a:pPr>
                  <a:r>
                    <a:rPr lang="zh-CN" altLang="en-US" sz="1200" dirty="0">
                      <a:solidFill>
                        <a:srgbClr val="777777"/>
                      </a:solidFill>
                      <a:latin typeface="微软雅黑" panose="020B0503020204020204" pitchFamily="34" charset="-122"/>
                    </a:rPr>
                    <a:t>节能减排</a:t>
                  </a:r>
                  <a:endParaRPr lang="en-US" altLang="zh-CN" sz="1200" dirty="0">
                    <a:solidFill>
                      <a:srgbClr val="777777"/>
                    </a:solidFill>
                    <a:latin typeface="微软雅黑" panose="020B0503020204020204" pitchFamily="34" charset="-122"/>
                  </a:endParaRPr>
                </a:p>
                <a:p>
                  <a:pPr algn="ctr" defTabSz="914354">
                    <a:spcBef>
                      <a:spcPts val="600"/>
                    </a:spcBef>
                  </a:pPr>
                  <a:r>
                    <a:rPr lang="zh-CN" altLang="en-US" sz="1200" dirty="0">
                      <a:solidFill>
                        <a:srgbClr val="777777"/>
                      </a:solidFill>
                      <a:latin typeface="微软雅黑" panose="020B0503020204020204" pitchFamily="34" charset="-122"/>
                    </a:rPr>
                    <a:t>绿色共享</a:t>
                  </a:r>
                  <a:endParaRPr lang="en-US" altLang="zh-CN" sz="1200" dirty="0">
                    <a:solidFill>
                      <a:srgbClr val="777777"/>
                    </a:solidFill>
                    <a:latin typeface="微软雅黑" panose="020B0503020204020204" pitchFamily="34" charset="-122"/>
                  </a:endParaRPr>
                </a:p>
                <a:p>
                  <a:pPr algn="ctr" defTabSz="914354">
                    <a:spcBef>
                      <a:spcPts val="600"/>
                    </a:spcBef>
                  </a:pPr>
                  <a:r>
                    <a:rPr lang="zh-CN" altLang="en-US" sz="1200" dirty="0">
                      <a:solidFill>
                        <a:srgbClr val="777777"/>
                      </a:solidFill>
                      <a:latin typeface="微软雅黑" panose="020B0503020204020204" pitchFamily="34" charset="-122"/>
                    </a:rPr>
                    <a:t>责任消费</a:t>
                  </a:r>
                  <a:endParaRPr lang="zh-CN" altLang="en-US" sz="2000" dirty="0">
                    <a:solidFill>
                      <a:srgbClr val="777777"/>
                    </a:solidFill>
                    <a:ea typeface="Arial Unicode MS" panose="020B0604020202020204" pitchFamily="34" charset="-122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07" name="文本框 106"/>
              <p:cNvSpPr txBox="1"/>
              <p:nvPr/>
            </p:nvSpPr>
            <p:spPr>
              <a:xfrm>
                <a:off x="469921" y="5224777"/>
                <a:ext cx="1026544" cy="800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54">
                  <a:spcBef>
                    <a:spcPts val="600"/>
                  </a:spcBef>
                </a:pPr>
                <a:r>
                  <a:rPr lang="zh-CN" altLang="en-US" sz="1200" dirty="0">
                    <a:solidFill>
                      <a:srgbClr val="777777"/>
                    </a:solidFill>
                    <a:latin typeface="微软雅黑" panose="020B0503020204020204" pitchFamily="34" charset="-122"/>
                  </a:rPr>
                  <a:t>员工关怀</a:t>
                </a:r>
                <a:endParaRPr lang="en-US" altLang="zh-CN" sz="1200" dirty="0">
                  <a:solidFill>
                    <a:srgbClr val="777777"/>
                  </a:solidFill>
                  <a:latin typeface="微软雅黑" panose="020B0503020204020204" pitchFamily="34" charset="-122"/>
                </a:endParaRPr>
              </a:p>
              <a:p>
                <a:pPr algn="ctr" defTabSz="914354">
                  <a:spcBef>
                    <a:spcPts val="600"/>
                  </a:spcBef>
                </a:pPr>
                <a:r>
                  <a:rPr lang="zh-CN" altLang="en-US" sz="1200" dirty="0">
                    <a:solidFill>
                      <a:srgbClr val="777777"/>
                    </a:solidFill>
                    <a:latin typeface="微软雅黑" panose="020B0503020204020204" pitchFamily="34" charset="-122"/>
                  </a:rPr>
                  <a:t>平等机会</a:t>
                </a:r>
                <a:endParaRPr lang="en-US" altLang="zh-CN" sz="1200" dirty="0">
                  <a:solidFill>
                    <a:srgbClr val="777777"/>
                  </a:solidFill>
                  <a:latin typeface="微软雅黑" panose="020B0503020204020204" pitchFamily="34" charset="-122"/>
                </a:endParaRPr>
              </a:p>
              <a:p>
                <a:pPr algn="ctr" defTabSz="914354">
                  <a:spcBef>
                    <a:spcPts val="600"/>
                  </a:spcBef>
                </a:pPr>
                <a:r>
                  <a:rPr lang="zh-CN" altLang="en-US" sz="1200" dirty="0">
                    <a:solidFill>
                      <a:srgbClr val="777777"/>
                    </a:solidFill>
                    <a:latin typeface="微软雅黑" panose="020B0503020204020204" pitchFamily="34" charset="-122"/>
                  </a:rPr>
                  <a:t>社会贡献</a:t>
                </a:r>
              </a:p>
            </p:txBody>
          </p:sp>
          <p:sp>
            <p:nvSpPr>
              <p:cNvPr id="108" name="文本框 107"/>
              <p:cNvSpPr txBox="1"/>
              <p:nvPr/>
            </p:nvSpPr>
            <p:spPr>
              <a:xfrm>
                <a:off x="469921" y="4922924"/>
                <a:ext cx="1026544" cy="3847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54">
                  <a:defRPr/>
                </a:pPr>
                <a:r>
                  <a:rPr lang="en-US" altLang="zh-CN" kern="0" dirty="0">
                    <a:solidFill>
                      <a:srgbClr val="777777"/>
                    </a:solidFill>
                    <a:ea typeface="Arial Unicode MS" panose="020B0604020202020204" pitchFamily="34" charset="-122"/>
                    <a:cs typeface="Arial" panose="020B0604020202020204" pitchFamily="34" charset="0"/>
                  </a:rPr>
                  <a:t>People</a:t>
                </a:r>
                <a:endParaRPr lang="zh-CN" altLang="en-US" kern="0" dirty="0">
                  <a:solidFill>
                    <a:srgbClr val="777777"/>
                  </a:solidFill>
                  <a:ea typeface="Arial Unicode MS" panose="020B0604020202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10" name="文本框 109"/>
              <p:cNvSpPr txBox="1"/>
              <p:nvPr/>
            </p:nvSpPr>
            <p:spPr>
              <a:xfrm>
                <a:off x="2553896" y="5224777"/>
                <a:ext cx="1026447" cy="800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54">
                  <a:spcBef>
                    <a:spcPts val="600"/>
                  </a:spcBef>
                </a:pPr>
                <a:r>
                  <a:rPr lang="zh-CN" altLang="en-US" sz="1200" dirty="0">
                    <a:solidFill>
                      <a:srgbClr val="777777"/>
                    </a:solidFill>
                    <a:latin typeface="微软雅黑" panose="020B0503020204020204" pitchFamily="34" charset="-122"/>
                  </a:rPr>
                  <a:t>健康成长</a:t>
                </a:r>
                <a:endParaRPr lang="en-US" altLang="zh-CN" sz="1200" dirty="0">
                  <a:solidFill>
                    <a:srgbClr val="777777"/>
                  </a:solidFill>
                  <a:latin typeface="微软雅黑" panose="020B0503020204020204" pitchFamily="34" charset="-122"/>
                </a:endParaRPr>
              </a:p>
              <a:p>
                <a:pPr algn="ctr" defTabSz="914354">
                  <a:spcBef>
                    <a:spcPts val="600"/>
                  </a:spcBef>
                </a:pPr>
                <a:r>
                  <a:rPr lang="zh-CN" altLang="en-US" sz="1200" dirty="0">
                    <a:solidFill>
                      <a:srgbClr val="777777"/>
                    </a:solidFill>
                    <a:latin typeface="微软雅黑" panose="020B0503020204020204" pitchFamily="34" charset="-122"/>
                  </a:rPr>
                  <a:t>科技创新</a:t>
                </a:r>
                <a:endParaRPr lang="en-US" altLang="zh-CN" sz="1200" dirty="0">
                  <a:solidFill>
                    <a:srgbClr val="777777"/>
                  </a:solidFill>
                  <a:latin typeface="微软雅黑" panose="020B0503020204020204" pitchFamily="34" charset="-122"/>
                </a:endParaRPr>
              </a:p>
              <a:p>
                <a:pPr algn="ctr" defTabSz="914354">
                  <a:spcBef>
                    <a:spcPts val="600"/>
                  </a:spcBef>
                </a:pPr>
                <a:r>
                  <a:rPr lang="zh-CN" altLang="en-US" sz="1200" dirty="0">
                    <a:solidFill>
                      <a:srgbClr val="777777"/>
                    </a:solidFill>
                    <a:latin typeface="微软雅黑" panose="020B0503020204020204" pitchFamily="34" charset="-122"/>
                  </a:rPr>
                  <a:t>经济拉动</a:t>
                </a:r>
              </a:p>
            </p:txBody>
          </p:sp>
          <p:sp>
            <p:nvSpPr>
              <p:cNvPr id="111" name="文本框 110"/>
              <p:cNvSpPr txBox="1"/>
              <p:nvPr/>
            </p:nvSpPr>
            <p:spPr>
              <a:xfrm>
                <a:off x="2553845" y="4922924"/>
                <a:ext cx="1026544" cy="3847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54">
                  <a:defRPr/>
                </a:pPr>
                <a:r>
                  <a:rPr lang="en-US" altLang="zh-CN" kern="0" dirty="0">
                    <a:solidFill>
                      <a:srgbClr val="777777"/>
                    </a:solidFill>
                    <a:ea typeface="Arial Unicode MS" panose="020B0604020202020204" pitchFamily="34" charset="-122"/>
                    <a:cs typeface="Arial" panose="020B0604020202020204" pitchFamily="34" charset="0"/>
                  </a:rPr>
                  <a:t>Profits</a:t>
                </a:r>
                <a:endParaRPr lang="zh-CN" altLang="en-US" kern="0" dirty="0">
                  <a:solidFill>
                    <a:srgbClr val="777777"/>
                  </a:solidFill>
                  <a:ea typeface="Arial Unicode MS" panose="020B0604020202020204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21" name="矩形 120"/>
            <p:cNvSpPr/>
            <p:nvPr/>
          </p:nvSpPr>
          <p:spPr>
            <a:xfrm>
              <a:off x="1336242" y="1233509"/>
              <a:ext cx="1476684" cy="257989"/>
            </a:xfrm>
            <a:prstGeom prst="rect">
              <a:avLst/>
            </a:prstGeom>
            <a:noFill/>
          </p:spPr>
          <p:txBody>
            <a:bodyPr wrap="square" lIns="121917" tIns="60958" rIns="121917" bIns="60958" anchor="ctr">
              <a:noAutofit/>
            </a:bodyPr>
            <a:lstStyle/>
            <a:p>
              <a:pPr algn="ctr"/>
              <a:r>
                <a:rPr lang="zh-CN" altLang="en-US" sz="1200" dirty="0">
                  <a:latin typeface="+mn-ea"/>
                </a:rPr>
                <a:t>可持续发展理念</a:t>
              </a:r>
            </a:p>
          </p:txBody>
        </p:sp>
        <p:sp>
          <p:nvSpPr>
            <p:cNvPr id="122" name="任意多边形 121" descr="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"/>
            <p:cNvSpPr/>
            <p:nvPr/>
          </p:nvSpPr>
          <p:spPr>
            <a:xfrm rot="10800000" flipH="1">
              <a:off x="562584" y="1479767"/>
              <a:ext cx="3024000" cy="23461"/>
            </a:xfrm>
            <a:custGeom>
              <a:avLst/>
              <a:gdLst>
                <a:gd name="connsiteX0" fmla="*/ 0 w 3125338"/>
                <a:gd name="connsiteY0" fmla="*/ 0 h 0"/>
                <a:gd name="connsiteX1" fmla="*/ 3125338 w 312533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5338">
                  <a:moveTo>
                    <a:pt x="0" y="0"/>
                  </a:moveTo>
                  <a:lnTo>
                    <a:pt x="3125338" y="0"/>
                  </a:lnTo>
                </a:path>
              </a:pathLst>
            </a:custGeom>
            <a:noFill/>
            <a:ln w="28575" cap="flat" cmpd="sng" algn="ctr">
              <a:gradFill>
                <a:gsLst>
                  <a:gs pos="0">
                    <a:srgbClr val="13AE67"/>
                  </a:gs>
                  <a:gs pos="100000">
                    <a:srgbClr val="13AE67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 type="none"/>
            </a:ln>
            <a:effectLst/>
          </p:spPr>
          <p:txBody>
            <a:bodyPr rtlCol="0" anchor="ctr"/>
            <a:lstStyle/>
            <a:p>
              <a:pPr algn="ctr" defTabSz="914354">
                <a:defRPr/>
              </a:pPr>
              <a:endParaRPr lang="zh-CN" altLang="en-US" sz="1500" kern="0">
                <a:solidFill>
                  <a:srgbClr val="777777"/>
                </a:solidFill>
                <a:latin typeface="Calibri"/>
                <a:ea typeface="宋体" panose="02010600030101010101" pitchFamily="2" charset="-122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4663217" y="1233509"/>
            <a:ext cx="2768768" cy="4979067"/>
            <a:chOff x="4091185" y="1233509"/>
            <a:chExt cx="2768768" cy="4979066"/>
          </a:xfrm>
        </p:grpSpPr>
        <p:sp>
          <p:nvSpPr>
            <p:cNvPr id="56" name="矩形 55"/>
            <p:cNvSpPr/>
            <p:nvPr/>
          </p:nvSpPr>
          <p:spPr>
            <a:xfrm>
              <a:off x="4091185" y="1233509"/>
              <a:ext cx="1476684" cy="257989"/>
            </a:xfrm>
            <a:prstGeom prst="rect">
              <a:avLst/>
            </a:prstGeom>
            <a:noFill/>
          </p:spPr>
          <p:txBody>
            <a:bodyPr wrap="square" lIns="90000" tIns="60958" rIns="121917" bIns="60958" anchor="ctr">
              <a:noAutofit/>
            </a:bodyPr>
            <a:lstStyle/>
            <a:p>
              <a:r>
                <a:rPr lang="zh-CN" altLang="en-US" sz="1200" dirty="0">
                  <a:latin typeface="+mn-ea"/>
                </a:rPr>
                <a:t>京东在行动</a:t>
              </a:r>
            </a:p>
          </p:txBody>
        </p:sp>
        <p:sp>
          <p:nvSpPr>
            <p:cNvPr id="124" name="任意多边形 123" descr="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"/>
            <p:cNvSpPr/>
            <p:nvPr/>
          </p:nvSpPr>
          <p:spPr>
            <a:xfrm rot="10800000" flipH="1">
              <a:off x="4123953" y="1479767"/>
              <a:ext cx="2736000" cy="23461"/>
            </a:xfrm>
            <a:custGeom>
              <a:avLst/>
              <a:gdLst>
                <a:gd name="connsiteX0" fmla="*/ 0 w 3125338"/>
                <a:gd name="connsiteY0" fmla="*/ 0 h 0"/>
                <a:gd name="connsiteX1" fmla="*/ 3125338 w 312533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25338">
                  <a:moveTo>
                    <a:pt x="0" y="0"/>
                  </a:moveTo>
                  <a:lnTo>
                    <a:pt x="3125338" y="0"/>
                  </a:lnTo>
                </a:path>
              </a:pathLst>
            </a:custGeom>
            <a:noFill/>
            <a:ln w="28575" cap="flat" cmpd="sng" algn="ctr">
              <a:gradFill>
                <a:gsLst>
                  <a:gs pos="0">
                    <a:srgbClr val="13AE67"/>
                  </a:gs>
                  <a:gs pos="100000">
                    <a:srgbClr val="13AE67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 type="none"/>
            </a:ln>
            <a:effectLst/>
          </p:spPr>
          <p:txBody>
            <a:bodyPr rtlCol="0" anchor="ctr"/>
            <a:lstStyle/>
            <a:p>
              <a:pPr algn="ctr" defTabSz="914354">
                <a:defRPr/>
              </a:pPr>
              <a:endParaRPr lang="zh-CN" altLang="en-US" sz="1500" kern="0">
                <a:solidFill>
                  <a:srgbClr val="777777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164" name="矩形 163"/>
            <p:cNvSpPr/>
            <p:nvPr/>
          </p:nvSpPr>
          <p:spPr>
            <a:xfrm>
              <a:off x="4091185" y="1723256"/>
              <a:ext cx="2736000" cy="648000"/>
            </a:xfrm>
            <a:prstGeom prst="rect">
              <a:avLst/>
            </a:prstGeom>
          </p:spPr>
          <p:txBody>
            <a:bodyPr wrap="square" lIns="90000" anchor="ctr">
              <a:noAutofit/>
            </a:bodyPr>
            <a:lstStyle/>
            <a:p>
              <a:r>
                <a:rPr lang="zh-CN" altLang="en-US" sz="1600" b="1" dirty="0">
                  <a:solidFill>
                    <a:srgbClr val="13AE67"/>
                  </a:solidFill>
                  <a:latin typeface="+mn-ea"/>
                </a:rPr>
                <a:t>新能源车</a:t>
              </a:r>
              <a:endParaRPr lang="en-US" altLang="zh-CN" sz="1600" b="1" dirty="0">
                <a:solidFill>
                  <a:srgbClr val="13AE67"/>
                </a:solidFill>
                <a:latin typeface="+mn-ea"/>
              </a:endParaRPr>
            </a:p>
            <a:p>
              <a:r>
                <a:rPr lang="zh-CN" altLang="en-US" sz="1200" dirty="0">
                  <a:latin typeface="+mn-ea"/>
                </a:rPr>
                <a:t>北京自营车辆已全部更换，上海、成都、厦门等多城更换中</a:t>
              </a:r>
            </a:p>
          </p:txBody>
        </p:sp>
        <p:sp>
          <p:nvSpPr>
            <p:cNvPr id="165" name="矩形 164"/>
            <p:cNvSpPr/>
            <p:nvPr/>
          </p:nvSpPr>
          <p:spPr>
            <a:xfrm>
              <a:off x="4091185" y="2491520"/>
              <a:ext cx="2736000" cy="648000"/>
            </a:xfrm>
            <a:prstGeom prst="rect">
              <a:avLst/>
            </a:prstGeom>
          </p:spPr>
          <p:txBody>
            <a:bodyPr wrap="square" lIns="90000" anchor="ctr">
              <a:noAutofit/>
            </a:bodyPr>
            <a:lstStyle/>
            <a:p>
              <a:r>
                <a:rPr lang="zh-CN" altLang="en-US" sz="1600" b="1" dirty="0">
                  <a:solidFill>
                    <a:srgbClr val="13AE67"/>
                  </a:solidFill>
                  <a:latin typeface="+mn-ea"/>
                </a:rPr>
                <a:t>分布式光伏能源体系</a:t>
              </a:r>
              <a:endParaRPr lang="en-US" altLang="zh-CN" sz="1600" b="1" dirty="0">
                <a:solidFill>
                  <a:srgbClr val="13AE67"/>
                </a:solidFill>
                <a:latin typeface="+mn-ea"/>
              </a:endParaRPr>
            </a:p>
            <a:p>
              <a:r>
                <a:rPr lang="zh-CN" altLang="en-US" sz="1200" dirty="0">
                  <a:latin typeface="+mn-ea"/>
                </a:rPr>
                <a:t>国内电商企业中首家建设</a:t>
              </a:r>
            </a:p>
          </p:txBody>
        </p:sp>
        <p:sp>
          <p:nvSpPr>
            <p:cNvPr id="168" name="矩形 167"/>
            <p:cNvSpPr/>
            <p:nvPr/>
          </p:nvSpPr>
          <p:spPr>
            <a:xfrm>
              <a:off x="4091185" y="4028048"/>
              <a:ext cx="2736000" cy="648000"/>
            </a:xfrm>
            <a:prstGeom prst="rect">
              <a:avLst/>
            </a:prstGeom>
          </p:spPr>
          <p:txBody>
            <a:bodyPr wrap="square" lIns="90000" anchor="ctr">
              <a:noAutofit/>
            </a:bodyPr>
            <a:lstStyle/>
            <a:p>
              <a:r>
                <a:rPr lang="en-US" altLang="zh-CN" sz="1600" b="1" dirty="0">
                  <a:solidFill>
                    <a:srgbClr val="13AE67"/>
                  </a:solidFill>
                  <a:latin typeface="+mn-ea"/>
                </a:rPr>
                <a:t>10000</a:t>
              </a:r>
              <a:r>
                <a:rPr lang="zh-CN" altLang="en-US" sz="1200" b="1" dirty="0">
                  <a:solidFill>
                    <a:srgbClr val="13AE67"/>
                  </a:solidFill>
                  <a:latin typeface="+mn-ea"/>
                </a:rPr>
                <a:t>个</a:t>
              </a:r>
              <a:endParaRPr lang="en-US" altLang="zh-CN" sz="1200" b="1" dirty="0">
                <a:solidFill>
                  <a:srgbClr val="13AE67"/>
                </a:solidFill>
                <a:latin typeface="+mn-ea"/>
              </a:endParaRPr>
            </a:p>
            <a:p>
              <a:r>
                <a:rPr lang="zh-CN" altLang="en-US" sz="1200" dirty="0">
                  <a:latin typeface="+mn-ea"/>
                </a:rPr>
                <a:t>青流循环箱已投放</a:t>
              </a:r>
            </a:p>
          </p:txBody>
        </p:sp>
        <p:sp>
          <p:nvSpPr>
            <p:cNvPr id="169" name="矩形 168"/>
            <p:cNvSpPr/>
            <p:nvPr/>
          </p:nvSpPr>
          <p:spPr>
            <a:xfrm>
              <a:off x="4091185" y="4796312"/>
              <a:ext cx="2736000" cy="648000"/>
            </a:xfrm>
            <a:prstGeom prst="rect">
              <a:avLst/>
            </a:prstGeom>
          </p:spPr>
          <p:txBody>
            <a:bodyPr wrap="square" lIns="90000" anchor="ctr">
              <a:noAutofit/>
            </a:bodyPr>
            <a:lstStyle/>
            <a:p>
              <a:r>
                <a:rPr lang="zh-CN" altLang="en-US" sz="1200" b="1" dirty="0">
                  <a:solidFill>
                    <a:srgbClr val="13AE67"/>
                  </a:solidFill>
                  <a:latin typeface="+mn-ea"/>
                </a:rPr>
                <a:t>近</a:t>
              </a:r>
              <a:r>
                <a:rPr lang="en-US" altLang="zh-CN" sz="1600" b="1" dirty="0">
                  <a:solidFill>
                    <a:srgbClr val="13AE67"/>
                  </a:solidFill>
                  <a:latin typeface="+mn-ea"/>
                </a:rPr>
                <a:t>100</a:t>
              </a:r>
              <a:r>
                <a:rPr lang="zh-CN" altLang="en-US" sz="1200" b="1" dirty="0">
                  <a:solidFill>
                    <a:srgbClr val="13AE67"/>
                  </a:solidFill>
                  <a:latin typeface="+mn-ea"/>
                </a:rPr>
                <a:t>亿个</a:t>
              </a:r>
              <a:endParaRPr lang="en-US" altLang="zh-CN" sz="1200" b="1" dirty="0">
                <a:solidFill>
                  <a:srgbClr val="13AE67"/>
                </a:solidFill>
                <a:latin typeface="+mn-ea"/>
              </a:endParaRPr>
            </a:p>
            <a:p>
              <a:r>
                <a:rPr lang="zh-CN" altLang="en-US" sz="1200" dirty="0">
                  <a:latin typeface="+mn-ea"/>
                </a:rPr>
                <a:t>使用可降解包装袋，传统袋每年减少</a:t>
              </a:r>
            </a:p>
          </p:txBody>
        </p:sp>
        <p:sp>
          <p:nvSpPr>
            <p:cNvPr id="190" name="矩形 189"/>
            <p:cNvSpPr/>
            <p:nvPr/>
          </p:nvSpPr>
          <p:spPr>
            <a:xfrm>
              <a:off x="4091185" y="5564575"/>
              <a:ext cx="2736000" cy="648000"/>
            </a:xfrm>
            <a:prstGeom prst="rect">
              <a:avLst/>
            </a:prstGeom>
          </p:spPr>
          <p:txBody>
            <a:bodyPr wrap="square" lIns="90000" anchor="ctr">
              <a:noAutofit/>
            </a:bodyPr>
            <a:lstStyle/>
            <a:p>
              <a:r>
                <a:rPr lang="en-US" altLang="zh-CN" sz="1600" b="1" dirty="0">
                  <a:solidFill>
                    <a:srgbClr val="13AE67"/>
                  </a:solidFill>
                  <a:latin typeface="+mn-ea"/>
                </a:rPr>
                <a:t>10</a:t>
              </a:r>
              <a:r>
                <a:rPr lang="zh-CN" altLang="en-US" sz="1200" b="1" dirty="0">
                  <a:solidFill>
                    <a:srgbClr val="13AE67"/>
                  </a:solidFill>
                  <a:latin typeface="+mn-ea"/>
                </a:rPr>
                <a:t>亿元</a:t>
              </a:r>
              <a:endParaRPr lang="en-US" altLang="zh-CN" sz="1200" b="1" dirty="0">
                <a:solidFill>
                  <a:srgbClr val="13AE67"/>
                </a:solidFill>
                <a:latin typeface="+mn-ea"/>
              </a:endParaRPr>
            </a:p>
            <a:p>
              <a:r>
                <a:rPr lang="zh-CN" altLang="en-US" sz="1200" dirty="0">
                  <a:latin typeface="+mn-ea"/>
                </a:rPr>
                <a:t>成立京东物流绿色基金，先期投入</a:t>
              </a:r>
            </a:p>
          </p:txBody>
        </p:sp>
        <p:sp>
          <p:nvSpPr>
            <p:cNvPr id="125" name="矩形 124"/>
            <p:cNvSpPr/>
            <p:nvPr/>
          </p:nvSpPr>
          <p:spPr>
            <a:xfrm>
              <a:off x="4091185" y="3259784"/>
              <a:ext cx="2736000" cy="648000"/>
            </a:xfrm>
            <a:prstGeom prst="rect">
              <a:avLst/>
            </a:prstGeom>
          </p:spPr>
          <p:txBody>
            <a:bodyPr wrap="square" lIns="90000" anchor="ctr">
              <a:noAutofit/>
            </a:bodyPr>
            <a:lstStyle/>
            <a:p>
              <a:r>
                <a:rPr lang="en-US" altLang="zh-CN" sz="1600" b="1" dirty="0">
                  <a:solidFill>
                    <a:srgbClr val="13AE67"/>
                  </a:solidFill>
                  <a:latin typeface="+mn-ea"/>
                </a:rPr>
                <a:t>5700</a:t>
              </a:r>
              <a:r>
                <a:rPr lang="zh-CN" altLang="en-US" sz="1200" b="1" dirty="0">
                  <a:solidFill>
                    <a:srgbClr val="13AE67"/>
                  </a:solidFill>
                  <a:latin typeface="+mn-ea"/>
                </a:rPr>
                <a:t>吨</a:t>
              </a:r>
              <a:endParaRPr lang="en-US" altLang="zh-CN" sz="1600" b="1" dirty="0">
                <a:solidFill>
                  <a:srgbClr val="13AE67"/>
                </a:solidFill>
                <a:latin typeface="+mn-ea"/>
              </a:endParaRPr>
            </a:p>
            <a:p>
              <a:r>
                <a:rPr lang="zh-CN" altLang="en-US" sz="1200" dirty="0">
                  <a:latin typeface="+mn-ea"/>
                </a:rPr>
                <a:t>自主研发新型两层物流标签</a:t>
              </a:r>
              <a:r>
                <a:rPr lang="en-US" altLang="zh-CN" sz="1200" dirty="0">
                  <a:latin typeface="+mn-ea"/>
                </a:rPr>
                <a:t>+</a:t>
              </a:r>
              <a:r>
                <a:rPr lang="zh-CN" altLang="en-US" sz="1200" dirty="0">
                  <a:latin typeface="+mn-ea"/>
                </a:rPr>
                <a:t>仓内无纸化，每年减少使用纸张</a:t>
              </a:r>
              <a:endParaRPr lang="en-US" altLang="zh-CN" sz="1200" dirty="0">
                <a:latin typeface="+mn-ea"/>
              </a:endParaRPr>
            </a:p>
          </p:txBody>
        </p:sp>
      </p:grpSp>
      <p:grpSp>
        <p:nvGrpSpPr>
          <p:cNvPr id="105" name="组合 104"/>
          <p:cNvGrpSpPr/>
          <p:nvPr/>
        </p:nvGrpSpPr>
        <p:grpSpPr>
          <a:xfrm>
            <a:off x="7795739" y="1033812"/>
            <a:ext cx="3857903" cy="1496837"/>
            <a:chOff x="244250" y="1141959"/>
            <a:chExt cx="3857902" cy="1496837"/>
          </a:xfrm>
        </p:grpSpPr>
        <p:sp>
          <p:nvSpPr>
            <p:cNvPr id="109" name="Rounded Rectangle 56"/>
            <p:cNvSpPr/>
            <p:nvPr/>
          </p:nvSpPr>
          <p:spPr>
            <a:xfrm>
              <a:off x="244250" y="2207940"/>
              <a:ext cx="2265227" cy="430856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zh-CN" altLang="en-US" sz="1500" b="1" dirty="0">
                  <a:solidFill>
                    <a:srgbClr val="777777"/>
                  </a:solidFill>
                  <a:ea typeface="微软雅黑" panose="020B0503020204020204" pitchFamily="34" charset="-122"/>
                </a:rPr>
                <a:t>全程电子化</a:t>
              </a:r>
            </a:p>
          </p:txBody>
        </p:sp>
        <p:sp>
          <p:nvSpPr>
            <p:cNvPr id="112" name="Rounded Rectangle 32"/>
            <p:cNvSpPr/>
            <p:nvPr/>
          </p:nvSpPr>
          <p:spPr>
            <a:xfrm>
              <a:off x="2268677" y="2207940"/>
              <a:ext cx="1833475" cy="430856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zh-CN" altLang="en-US" sz="1500" b="1" dirty="0">
                  <a:solidFill>
                    <a:srgbClr val="777777"/>
                  </a:solidFill>
                  <a:ea typeface="微软雅黑" panose="020B0503020204020204" pitchFamily="34" charset="-122"/>
                  <a:sym typeface="微软雅黑" panose="020B0503020204020204" pitchFamily="34" charset="-122"/>
                </a:rPr>
                <a:t>新能源电动车</a:t>
              </a:r>
            </a:p>
          </p:txBody>
        </p:sp>
        <p:grpSp>
          <p:nvGrpSpPr>
            <p:cNvPr id="115" name="组合 114"/>
            <p:cNvGrpSpPr/>
            <p:nvPr/>
          </p:nvGrpSpPr>
          <p:grpSpPr>
            <a:xfrm>
              <a:off x="843873" y="1141959"/>
              <a:ext cx="1065981" cy="1065981"/>
              <a:chOff x="793575" y="2539008"/>
              <a:chExt cx="1065981" cy="1065981"/>
            </a:xfrm>
          </p:grpSpPr>
          <p:sp>
            <p:nvSpPr>
              <p:cNvPr id="126" name="Oval 55"/>
              <p:cNvSpPr/>
              <p:nvPr/>
            </p:nvSpPr>
            <p:spPr>
              <a:xfrm>
                <a:off x="793575" y="2539008"/>
                <a:ext cx="1065981" cy="1065981"/>
              </a:xfrm>
              <a:prstGeom prst="ellipse">
                <a:avLst/>
              </a:prstGeom>
              <a:solidFill>
                <a:srgbClr val="F3F3F3"/>
              </a:solidFill>
              <a:ln w="6350" cap="flat" cmpd="sng" algn="ctr">
                <a:solidFill>
                  <a:srgbClr val="546E7A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833819"/>
                <a:endParaRPr lang="en-US" sz="1500" kern="0" dirty="0">
                  <a:solidFill>
                    <a:srgbClr val="85AE3C">
                      <a:lumMod val="75000"/>
                    </a:srgbClr>
                  </a:solidFill>
                </a:endParaRPr>
              </a:p>
            </p:txBody>
          </p:sp>
          <p:pic>
            <p:nvPicPr>
              <p:cNvPr id="127" name="图片 126"/>
              <p:cNvPicPr>
                <a:picLocks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4796"/>
              <a:stretch/>
            </p:blipFill>
            <p:spPr>
              <a:xfrm>
                <a:off x="832166" y="2577599"/>
                <a:ext cx="988800" cy="988800"/>
              </a:xfrm>
              <a:prstGeom prst="ellipse">
                <a:avLst/>
              </a:prstGeom>
              <a:ln w="63500" cap="rnd">
                <a:noFill/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</p:grpSp>
        <p:grpSp>
          <p:nvGrpSpPr>
            <p:cNvPr id="116" name="组合 115"/>
            <p:cNvGrpSpPr/>
            <p:nvPr/>
          </p:nvGrpSpPr>
          <p:grpSpPr>
            <a:xfrm>
              <a:off x="2652424" y="1141959"/>
              <a:ext cx="1065981" cy="1065981"/>
              <a:chOff x="2634792" y="2539008"/>
              <a:chExt cx="1065981" cy="1065981"/>
            </a:xfrm>
          </p:grpSpPr>
          <p:sp>
            <p:nvSpPr>
              <p:cNvPr id="117" name="Oval 31"/>
              <p:cNvSpPr>
                <a:spLocks noChangeAspect="1"/>
              </p:cNvSpPr>
              <p:nvPr/>
            </p:nvSpPr>
            <p:spPr>
              <a:xfrm>
                <a:off x="2634792" y="2539008"/>
                <a:ext cx="1065981" cy="1065981"/>
              </a:xfrm>
              <a:prstGeom prst="ellipse">
                <a:avLst/>
              </a:prstGeom>
              <a:solidFill>
                <a:srgbClr val="F3F3F3"/>
              </a:solidFill>
              <a:ln w="6350" cap="flat" cmpd="sng" algn="ctr">
                <a:solidFill>
                  <a:srgbClr val="546E7A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833819">
                  <a:defRPr/>
                </a:pPr>
                <a:endParaRPr lang="en-US" sz="1500" kern="0" dirty="0">
                  <a:solidFill>
                    <a:srgbClr val="85AE3C">
                      <a:lumMod val="75000"/>
                    </a:srgbClr>
                  </a:solidFill>
                </a:endParaRPr>
              </a:p>
            </p:txBody>
          </p:sp>
          <p:pic>
            <p:nvPicPr>
              <p:cNvPr id="123" name="图片 122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85284" y="2576679"/>
                <a:ext cx="989840" cy="989839"/>
              </a:xfrm>
              <a:prstGeom prst="ellipse">
                <a:avLst/>
              </a:prstGeom>
              <a:ln w="63500" cap="rnd">
                <a:noFill/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</p:grpSp>
      </p:grpSp>
      <p:grpSp>
        <p:nvGrpSpPr>
          <p:cNvPr id="128" name="组合 127"/>
          <p:cNvGrpSpPr/>
          <p:nvPr/>
        </p:nvGrpSpPr>
        <p:grpSpPr>
          <a:xfrm>
            <a:off x="8052855" y="2986596"/>
            <a:ext cx="3593292" cy="1496837"/>
            <a:chOff x="501367" y="2892719"/>
            <a:chExt cx="3593292" cy="1496837"/>
          </a:xfrm>
        </p:grpSpPr>
        <p:sp>
          <p:nvSpPr>
            <p:cNvPr id="129" name="Rounded Rectangle 49"/>
            <p:cNvSpPr/>
            <p:nvPr/>
          </p:nvSpPr>
          <p:spPr>
            <a:xfrm>
              <a:off x="2276169" y="3958700"/>
              <a:ext cx="1818490" cy="430856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zh-CN" altLang="en-US" sz="1500" b="1" dirty="0">
                  <a:solidFill>
                    <a:srgbClr val="777777"/>
                  </a:solidFill>
                  <a:ea typeface="微软雅黑" panose="020B0503020204020204" pitchFamily="34" charset="-122"/>
                  <a:sym typeface="微软雅黑" panose="020B0503020204020204" pitchFamily="34" charset="-122"/>
                </a:rPr>
                <a:t>减量包装</a:t>
              </a:r>
            </a:p>
          </p:txBody>
        </p:sp>
        <p:sp>
          <p:nvSpPr>
            <p:cNvPr id="130" name="Rounded Rectangle 42"/>
            <p:cNvSpPr/>
            <p:nvPr/>
          </p:nvSpPr>
          <p:spPr>
            <a:xfrm>
              <a:off x="501367" y="3958700"/>
              <a:ext cx="1750992" cy="430856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zh-CN" altLang="en-US" sz="1500" b="1" dirty="0">
                  <a:solidFill>
                    <a:srgbClr val="777777"/>
                  </a:solidFill>
                  <a:ea typeface="微软雅黑" panose="020B0503020204020204" pitchFamily="34" charset="-122"/>
                  <a:sym typeface="微软雅黑" panose="020B0503020204020204" pitchFamily="34" charset="-122"/>
                </a:rPr>
                <a:t>可降解包装袋</a:t>
              </a:r>
            </a:p>
          </p:txBody>
        </p:sp>
        <p:grpSp>
          <p:nvGrpSpPr>
            <p:cNvPr id="131" name="组合 130"/>
            <p:cNvGrpSpPr/>
            <p:nvPr/>
          </p:nvGrpSpPr>
          <p:grpSpPr>
            <a:xfrm>
              <a:off x="2652424" y="2892719"/>
              <a:ext cx="1065981" cy="1065981"/>
              <a:chOff x="7330070" y="1275606"/>
              <a:chExt cx="799486" cy="799486"/>
            </a:xfrm>
          </p:grpSpPr>
          <p:sp>
            <p:nvSpPr>
              <p:cNvPr id="139" name="Oval 48"/>
              <p:cNvSpPr/>
              <p:nvPr/>
            </p:nvSpPr>
            <p:spPr>
              <a:xfrm>
                <a:off x="7330070" y="1275606"/>
                <a:ext cx="799486" cy="799486"/>
              </a:xfrm>
              <a:prstGeom prst="ellipse">
                <a:avLst/>
              </a:prstGeom>
              <a:solidFill>
                <a:srgbClr val="F3F3F3"/>
              </a:solidFill>
              <a:ln w="6350" cap="flat" cmpd="sng" algn="ctr">
                <a:solidFill>
                  <a:srgbClr val="546E7A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833819"/>
                <a:endParaRPr lang="en-US" sz="1500" kern="0" dirty="0">
                  <a:solidFill>
                    <a:srgbClr val="85AE3C">
                      <a:lumMod val="75000"/>
                    </a:srgbClr>
                  </a:solidFill>
                </a:endParaRPr>
              </a:p>
            </p:txBody>
          </p:sp>
          <p:pic>
            <p:nvPicPr>
              <p:cNvPr id="140" name="图片 139"/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415" r="10932"/>
              <a:stretch/>
            </p:blipFill>
            <p:spPr>
              <a:xfrm>
                <a:off x="7344346" y="1289883"/>
                <a:ext cx="770933" cy="770933"/>
              </a:xfrm>
              <a:prstGeom prst="ellipse">
                <a:avLst/>
              </a:prstGeom>
              <a:ln w="63500" cap="rnd">
                <a:noFill/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</p:grpSp>
        <p:grpSp>
          <p:nvGrpSpPr>
            <p:cNvPr id="133" name="组合 132"/>
            <p:cNvGrpSpPr/>
            <p:nvPr/>
          </p:nvGrpSpPr>
          <p:grpSpPr>
            <a:xfrm>
              <a:off x="843873" y="2892719"/>
              <a:ext cx="1065981" cy="1065981"/>
              <a:chOff x="4699788" y="2536724"/>
              <a:chExt cx="1065981" cy="1065981"/>
            </a:xfrm>
          </p:grpSpPr>
          <p:sp>
            <p:nvSpPr>
              <p:cNvPr id="135" name="Oval 31"/>
              <p:cNvSpPr>
                <a:spLocks noChangeAspect="1"/>
              </p:cNvSpPr>
              <p:nvPr/>
            </p:nvSpPr>
            <p:spPr>
              <a:xfrm>
                <a:off x="4699788" y="2536724"/>
                <a:ext cx="1065981" cy="1065981"/>
              </a:xfrm>
              <a:prstGeom prst="ellipse">
                <a:avLst/>
              </a:prstGeom>
              <a:solidFill>
                <a:srgbClr val="F3F3F3"/>
              </a:solidFill>
              <a:ln w="6350" cap="flat" cmpd="sng" algn="ctr">
                <a:solidFill>
                  <a:srgbClr val="546E7A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833819">
                  <a:defRPr/>
                </a:pPr>
                <a:endParaRPr lang="en-US" sz="1500" kern="0" dirty="0">
                  <a:solidFill>
                    <a:srgbClr val="85AE3C">
                      <a:lumMod val="75000"/>
                    </a:srgbClr>
                  </a:solidFill>
                </a:endParaRPr>
              </a:p>
            </p:txBody>
          </p:sp>
          <p:pic>
            <p:nvPicPr>
              <p:cNvPr id="137" name="Picture 2" descr="“京东可降解包装袋”的图片搜索结果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9126" b="6631"/>
              <a:stretch/>
            </p:blipFill>
            <p:spPr bwMode="auto">
              <a:xfrm>
                <a:off x="4743935" y="2572067"/>
                <a:ext cx="991407" cy="991483"/>
              </a:xfrm>
              <a:prstGeom prst="ellipse">
                <a:avLst/>
              </a:prstGeom>
              <a:noFill/>
              <a:ln>
                <a:solidFill>
                  <a:schemeClr val="tx1">
                    <a:lumMod val="7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141" name="组合 140"/>
          <p:cNvGrpSpPr/>
          <p:nvPr/>
        </p:nvGrpSpPr>
        <p:grpSpPr>
          <a:xfrm>
            <a:off x="7789202" y="4939376"/>
            <a:ext cx="3823199" cy="1496837"/>
            <a:chOff x="237711" y="4425731"/>
            <a:chExt cx="3823199" cy="1496837"/>
          </a:xfrm>
        </p:grpSpPr>
        <p:sp>
          <p:nvSpPr>
            <p:cNvPr id="142" name="Rounded Rectangle 56"/>
            <p:cNvSpPr/>
            <p:nvPr/>
          </p:nvSpPr>
          <p:spPr>
            <a:xfrm>
              <a:off x="237711" y="5491712"/>
              <a:ext cx="2278304" cy="430856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zh-CN" altLang="en-US" sz="1500" b="1" dirty="0">
                  <a:solidFill>
                    <a:srgbClr val="777777"/>
                  </a:solidFill>
                  <a:ea typeface="微软雅黑" panose="020B0503020204020204" pitchFamily="34" charset="-122"/>
                </a:rPr>
                <a:t>旧物回收</a:t>
              </a:r>
            </a:p>
          </p:txBody>
        </p:sp>
        <p:sp>
          <p:nvSpPr>
            <p:cNvPr id="143" name="Rounded Rectangle 42"/>
            <p:cNvSpPr/>
            <p:nvPr/>
          </p:nvSpPr>
          <p:spPr>
            <a:xfrm>
              <a:off x="2309918" y="5491712"/>
              <a:ext cx="1750992" cy="430856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r>
                <a:rPr lang="zh-CN" altLang="en-US" sz="1500" b="1" dirty="0">
                  <a:solidFill>
                    <a:srgbClr val="777777"/>
                  </a:solidFill>
                  <a:ea typeface="微软雅黑" panose="020B0503020204020204" pitchFamily="34" charset="-122"/>
                  <a:sym typeface="微软雅黑" panose="020B0503020204020204" pitchFamily="34" charset="-122"/>
                </a:rPr>
                <a:t>光伏发电</a:t>
              </a:r>
            </a:p>
          </p:txBody>
        </p:sp>
        <p:grpSp>
          <p:nvGrpSpPr>
            <p:cNvPr id="144" name="组合 143"/>
            <p:cNvGrpSpPr/>
            <p:nvPr/>
          </p:nvGrpSpPr>
          <p:grpSpPr>
            <a:xfrm>
              <a:off x="843873" y="4425731"/>
              <a:ext cx="1065981" cy="1065981"/>
              <a:chOff x="8497287" y="2536725"/>
              <a:chExt cx="1065981" cy="1065981"/>
            </a:xfrm>
          </p:grpSpPr>
          <p:sp>
            <p:nvSpPr>
              <p:cNvPr id="150" name="Oval 55"/>
              <p:cNvSpPr/>
              <p:nvPr/>
            </p:nvSpPr>
            <p:spPr>
              <a:xfrm>
                <a:off x="8497287" y="2536725"/>
                <a:ext cx="1065981" cy="1065981"/>
              </a:xfrm>
              <a:prstGeom prst="ellipse">
                <a:avLst/>
              </a:prstGeom>
              <a:solidFill>
                <a:srgbClr val="F3F3F3"/>
              </a:solidFill>
              <a:ln w="6350" cap="flat" cmpd="sng" algn="ctr">
                <a:solidFill>
                  <a:srgbClr val="546E7A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833819"/>
                <a:endParaRPr lang="en-US" sz="1500" kern="0" dirty="0">
                  <a:solidFill>
                    <a:srgbClr val="85AE3C">
                      <a:lumMod val="75000"/>
                    </a:srgbClr>
                  </a:solidFill>
                </a:endParaRPr>
              </a:p>
            </p:txBody>
          </p:sp>
          <p:pic>
            <p:nvPicPr>
              <p:cNvPr id="151" name="图片 150"/>
              <p:cNvPicPr>
                <a:picLocks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090" r="12728"/>
              <a:stretch/>
            </p:blipFill>
            <p:spPr>
              <a:xfrm>
                <a:off x="8535878" y="2575316"/>
                <a:ext cx="988800" cy="988800"/>
              </a:xfrm>
              <a:prstGeom prst="ellipse">
                <a:avLst/>
              </a:prstGeom>
              <a:ln w="63500" cap="rnd">
                <a:noFill/>
              </a:ln>
              <a:effectLst/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</p:grpSp>
        <p:grpSp>
          <p:nvGrpSpPr>
            <p:cNvPr id="146" name="组合 145"/>
            <p:cNvGrpSpPr/>
            <p:nvPr/>
          </p:nvGrpSpPr>
          <p:grpSpPr>
            <a:xfrm>
              <a:off x="2652424" y="4425731"/>
              <a:ext cx="1065981" cy="1065981"/>
              <a:chOff x="10491436" y="2550792"/>
              <a:chExt cx="1065981" cy="1065981"/>
            </a:xfrm>
          </p:grpSpPr>
          <p:sp>
            <p:nvSpPr>
              <p:cNvPr id="147" name="Oval 55"/>
              <p:cNvSpPr/>
              <p:nvPr/>
            </p:nvSpPr>
            <p:spPr>
              <a:xfrm>
                <a:off x="10491436" y="2550792"/>
                <a:ext cx="1065981" cy="1065981"/>
              </a:xfrm>
              <a:prstGeom prst="ellipse">
                <a:avLst/>
              </a:prstGeom>
              <a:solidFill>
                <a:srgbClr val="F3F3F3"/>
              </a:solidFill>
              <a:ln w="6350" cap="flat" cmpd="sng" algn="ctr">
                <a:solidFill>
                  <a:srgbClr val="546E7A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833819"/>
                <a:endParaRPr lang="en-US" sz="1500" kern="0" dirty="0">
                  <a:solidFill>
                    <a:srgbClr val="85AE3C">
                      <a:lumMod val="75000"/>
                    </a:srgbClr>
                  </a:solidFill>
                </a:endParaRPr>
              </a:p>
            </p:txBody>
          </p:sp>
          <p:pic>
            <p:nvPicPr>
              <p:cNvPr id="149" name="Picture 4" descr="“光伏发电”的图片搜索结果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845" r="18772"/>
              <a:stretch/>
            </p:blipFill>
            <p:spPr bwMode="auto">
              <a:xfrm>
                <a:off x="10537818" y="2599001"/>
                <a:ext cx="988459" cy="984805"/>
              </a:xfrm>
              <a:prstGeom prst="ellipse">
                <a:avLst/>
              </a:prstGeom>
              <a:noFill/>
              <a:ln>
                <a:solidFill>
                  <a:schemeClr val="tx1">
                    <a:lumMod val="7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804262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2425522" y="2413342"/>
            <a:ext cx="7346919" cy="1754322"/>
          </a:xfrm>
          <a:prstGeom prst="rect">
            <a:avLst/>
          </a:prstGeom>
          <a:noFill/>
        </p:spPr>
        <p:txBody>
          <a:bodyPr wrap="square" lIns="91430" tIns="45718" rIns="91430" bIns="45718" rtlCol="0">
            <a:spAutoFit/>
          </a:bodyPr>
          <a:lstStyle/>
          <a:p>
            <a:pPr algn="ctr" defTabSz="914150"/>
            <a:r>
              <a:rPr kumimoji="1" lang="zh-CN" altLang="en-US" sz="6000" spc="301" dirty="0">
                <a:solidFill>
                  <a:prstClr val="white"/>
                </a:solidFill>
                <a:latin typeface="+mn-ea"/>
                <a:cs typeface="+mn-ea"/>
                <a:sym typeface="+mn-lt"/>
              </a:rPr>
              <a:t>有速度更有温度</a:t>
            </a:r>
            <a:endParaRPr kumimoji="1" lang="en-US" altLang="zh-CN" sz="6000" spc="301" dirty="0">
              <a:solidFill>
                <a:prstClr val="white"/>
              </a:solidFill>
              <a:latin typeface="+mn-ea"/>
              <a:cs typeface="+mn-ea"/>
              <a:sym typeface="+mn-lt"/>
            </a:endParaRPr>
          </a:p>
          <a:p>
            <a:pPr algn="ctr" defTabSz="914150"/>
            <a:r>
              <a:rPr kumimoji="1" lang="en-US" altLang="zh-CN" sz="4800" b="1" spc="301" dirty="0">
                <a:solidFill>
                  <a:prstClr val="white"/>
                </a:solidFill>
                <a:latin typeface="+mn-ea"/>
                <a:cs typeface="+mn-ea"/>
              </a:rPr>
              <a:t>Deliver Trust</a:t>
            </a:r>
            <a:endParaRPr kumimoji="1" lang="zh-CN" altLang="en-US" sz="4800" b="1" spc="301" dirty="0">
              <a:solidFill>
                <a:prstClr val="white"/>
              </a:solidFill>
              <a:latin typeface="+mn-ea"/>
              <a:cs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0813" y="202021"/>
            <a:ext cx="1734299" cy="39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89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dirty="0">
                <a:latin typeface="+mn-ea"/>
                <a:ea typeface="+mn-ea"/>
              </a:rPr>
              <a:t>商业与零售的变革</a:t>
            </a:r>
          </a:p>
        </p:txBody>
      </p:sp>
      <p:sp>
        <p:nvSpPr>
          <p:cNvPr id="76" name="文本占位符 7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7" name="文本占位符 7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1"/>
          <p:cNvSpPr txBox="1">
            <a:spLocks/>
          </p:cNvSpPr>
          <p:nvPr/>
        </p:nvSpPr>
        <p:spPr>
          <a:xfrm>
            <a:off x="431371" y="924554"/>
            <a:ext cx="10995691" cy="531396"/>
          </a:xfrm>
          <a:prstGeom prst="rect">
            <a:avLst/>
          </a:prstGeom>
        </p:spPr>
        <p:txBody>
          <a:bodyPr anchor="t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0" kern="1200" spc="0">
                <a:solidFill>
                  <a:srgbClr val="CA352D"/>
                </a:solidFill>
                <a:latin typeface="+mj-ea"/>
                <a:ea typeface="+mj-ea"/>
                <a:cs typeface="Segoe UI" charset="0"/>
              </a:defRPr>
            </a:lvl1pPr>
            <a:lvl2pPr marL="5143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572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430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kumimoji="1" lang="zh-CN" altLang="en-US" sz="2133" b="1" dirty="0">
                <a:solidFill>
                  <a:srgbClr val="FF7D78">
                    <a:lumMod val="50000"/>
                  </a:srgbClr>
                </a:solidFill>
                <a:latin typeface="+mn-ea"/>
                <a:ea typeface="+mn-ea"/>
              </a:rPr>
              <a:t>从“人找货”到“货找人”</a:t>
            </a:r>
          </a:p>
        </p:txBody>
      </p:sp>
      <p:sp>
        <p:nvSpPr>
          <p:cNvPr id="51" name="文本框 50"/>
          <p:cNvSpPr txBox="1"/>
          <p:nvPr/>
        </p:nvSpPr>
        <p:spPr>
          <a:xfrm>
            <a:off x="3311691" y="1021750"/>
            <a:ext cx="8307736" cy="76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en-US" altLang="zh-CN" sz="1600" b="1" kern="0" dirty="0">
                <a:solidFill>
                  <a:prstClr val="black"/>
                </a:solidFill>
                <a:latin typeface="+mn-ea"/>
              </a:rPr>
              <a:t>——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当商品不再稀缺时，</a:t>
            </a:r>
            <a:endParaRPr kumimoji="1" lang="en-US" altLang="zh-CN" sz="1600" b="1" kern="0" dirty="0">
              <a:solidFill>
                <a:prstClr val="black"/>
              </a:solidFill>
              <a:latin typeface="+mn-ea"/>
            </a:endParaRPr>
          </a:p>
          <a:p>
            <a:pPr algn="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如何精准的匹配合适的“商品”与有需求的“人”，成为零售变革的主要推动力之一。</a:t>
            </a:r>
          </a:p>
        </p:txBody>
      </p:sp>
      <p:sp>
        <p:nvSpPr>
          <p:cNvPr id="52" name="文本框 51"/>
          <p:cNvSpPr txBox="1"/>
          <p:nvPr/>
        </p:nvSpPr>
        <p:spPr>
          <a:xfrm>
            <a:off x="6845010" y="1913596"/>
            <a:ext cx="4577133" cy="1874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kern="0" dirty="0">
                <a:latin typeface="+mn-ea"/>
              </a:rPr>
              <a:t>以“</a:t>
            </a:r>
            <a:r>
              <a:rPr kumimoji="1" lang="zh-CN" altLang="en-US" sz="1400" b="1" kern="0" dirty="0">
                <a:latin typeface="+mn-ea"/>
              </a:rPr>
              <a:t>货</a:t>
            </a:r>
            <a:r>
              <a:rPr kumimoji="1" lang="zh-CN" altLang="en-US" sz="1400" kern="0" dirty="0">
                <a:latin typeface="+mn-ea"/>
              </a:rPr>
              <a:t>”为中心，通过</a:t>
            </a:r>
            <a:r>
              <a:rPr kumimoji="1" lang="zh-CN" altLang="en-US" sz="1400" b="1" kern="0" dirty="0">
                <a:latin typeface="+mn-ea"/>
              </a:rPr>
              <a:t>既定</a:t>
            </a:r>
            <a:r>
              <a:rPr kumimoji="1" lang="zh-CN" altLang="en-US" sz="1400" kern="0" dirty="0">
                <a:latin typeface="+mn-ea"/>
              </a:rPr>
              <a:t>的渠道流通至终端门店，消费者在给定的商品中进行选择、购买。</a:t>
            </a:r>
            <a:endParaRPr kumimoji="1" lang="en-US" altLang="zh-CN" sz="1400" kern="0" dirty="0">
              <a:latin typeface="+mn-ea"/>
            </a:endParaRPr>
          </a:p>
          <a:p>
            <a:pPr marL="285737" indent="-285737" defTabSz="914332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/>
            </a:pPr>
            <a:r>
              <a:rPr kumimoji="1" lang="zh-CN" altLang="en-US" sz="1400" b="1" kern="0" dirty="0">
                <a:latin typeface="+mn-ea"/>
              </a:rPr>
              <a:t>人</a:t>
            </a:r>
            <a:r>
              <a:rPr kumimoji="1" lang="zh-CN" altLang="en-US" sz="1400" kern="0" dirty="0">
                <a:latin typeface="+mn-ea"/>
              </a:rPr>
              <a:t>：缺乏用户画像与需求感知能力</a:t>
            </a:r>
            <a:endParaRPr kumimoji="1" lang="en-US" altLang="zh-CN" sz="1400" kern="0" dirty="0">
              <a:latin typeface="+mn-ea"/>
            </a:endParaRPr>
          </a:p>
          <a:p>
            <a:pPr marL="285737" indent="-285737" defTabSz="914332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/>
            </a:pPr>
            <a:r>
              <a:rPr kumimoji="1" lang="zh-CN" altLang="en-US" sz="1400" b="1" kern="0" dirty="0">
                <a:latin typeface="+mn-ea"/>
              </a:rPr>
              <a:t>货</a:t>
            </a:r>
            <a:r>
              <a:rPr kumimoji="1" lang="zh-CN" altLang="en-US" sz="1400" kern="0" dirty="0">
                <a:latin typeface="+mn-ea"/>
              </a:rPr>
              <a:t>：基于门店主观预测订货，相对周期长、批量大，且供应链库存有牛鞭效应</a:t>
            </a:r>
            <a:endParaRPr kumimoji="1" lang="en-US" altLang="zh-CN" sz="1400" kern="0" dirty="0">
              <a:latin typeface="+mn-ea"/>
            </a:endParaRPr>
          </a:p>
          <a:p>
            <a:pPr marL="285737" indent="-285737" defTabSz="914332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/>
            </a:pPr>
            <a:r>
              <a:rPr kumimoji="1" lang="zh-CN" altLang="en-US" sz="1400" b="1" kern="0" dirty="0">
                <a:latin typeface="+mn-ea"/>
              </a:rPr>
              <a:t>场</a:t>
            </a:r>
            <a:r>
              <a:rPr kumimoji="1" lang="zh-CN" altLang="en-US" sz="1400" kern="0" dirty="0">
                <a:latin typeface="+mn-ea"/>
              </a:rPr>
              <a:t>：商品陈列</a:t>
            </a:r>
            <a:r>
              <a:rPr kumimoji="1" lang="en-US" altLang="zh-CN" sz="1400" kern="0" dirty="0">
                <a:latin typeface="+mn-ea"/>
              </a:rPr>
              <a:t>+</a:t>
            </a:r>
            <a:r>
              <a:rPr kumimoji="1" lang="zh-CN" altLang="en-US" sz="1400" kern="0" dirty="0">
                <a:latin typeface="+mn-ea"/>
              </a:rPr>
              <a:t>销售为主</a:t>
            </a:r>
            <a:endParaRPr kumimoji="1" lang="en-US" altLang="zh-CN" sz="1400" kern="0" dirty="0">
              <a:latin typeface="+mn-ea"/>
            </a:endParaRPr>
          </a:p>
        </p:txBody>
      </p:sp>
      <p:sp>
        <p:nvSpPr>
          <p:cNvPr id="53" name="文本框 52"/>
          <p:cNvSpPr txBox="1"/>
          <p:nvPr/>
        </p:nvSpPr>
        <p:spPr>
          <a:xfrm>
            <a:off x="6845010" y="4157621"/>
            <a:ext cx="4577133" cy="1874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kern="0" dirty="0">
                <a:latin typeface="+mn-ea"/>
              </a:rPr>
              <a:t>以“</a:t>
            </a:r>
            <a:r>
              <a:rPr kumimoji="1" lang="zh-CN" altLang="en-US" sz="1400" b="1" kern="0" dirty="0">
                <a:latin typeface="+mn-ea"/>
              </a:rPr>
              <a:t>人</a:t>
            </a:r>
            <a:r>
              <a:rPr kumimoji="1" lang="zh-CN" altLang="en-US" sz="1400" kern="0" dirty="0">
                <a:latin typeface="+mn-ea"/>
              </a:rPr>
              <a:t>”为中心，在用户画像基础上挖掘用户需求，以丰富、</a:t>
            </a:r>
            <a:r>
              <a:rPr kumimoji="1" lang="zh-CN" altLang="en-US" sz="1400" b="1" kern="0" dirty="0">
                <a:latin typeface="+mn-ea"/>
              </a:rPr>
              <a:t>灵活</a:t>
            </a:r>
            <a:r>
              <a:rPr kumimoji="1" lang="zh-CN" altLang="en-US" sz="1400" kern="0" dirty="0">
                <a:latin typeface="+mn-ea"/>
              </a:rPr>
              <a:t>的场景，引导、吸引购买。</a:t>
            </a:r>
          </a:p>
          <a:p>
            <a:pPr marL="285737" indent="-285737" defTabSz="914332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/>
            </a:pPr>
            <a:r>
              <a:rPr kumimoji="1" lang="zh-CN" altLang="en-US" sz="1400" b="1" kern="0" dirty="0">
                <a:latin typeface="+mn-ea"/>
              </a:rPr>
              <a:t>人</a:t>
            </a:r>
            <a:r>
              <a:rPr kumimoji="1" lang="zh-CN" altLang="en-US" sz="1400" kern="0" dirty="0">
                <a:latin typeface="+mn-ea"/>
              </a:rPr>
              <a:t>：会员制随用户购买而逐渐丰富画像</a:t>
            </a:r>
            <a:endParaRPr kumimoji="1" lang="en-US" altLang="zh-CN" sz="1400" kern="0" dirty="0">
              <a:latin typeface="+mn-ea"/>
            </a:endParaRPr>
          </a:p>
          <a:p>
            <a:pPr marL="285737" indent="-285737" defTabSz="914332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/>
            </a:pPr>
            <a:r>
              <a:rPr kumimoji="1" lang="zh-CN" altLang="en-US" sz="1400" b="1" kern="0" dirty="0">
                <a:latin typeface="+mn-ea"/>
              </a:rPr>
              <a:t>货</a:t>
            </a:r>
            <a:r>
              <a:rPr kumimoji="1" lang="zh-CN" altLang="en-US" sz="1400" kern="0" dirty="0">
                <a:latin typeface="+mn-ea"/>
              </a:rPr>
              <a:t>：基于数据分析预测订货，逐渐小批量多批次快速响应需求及变化</a:t>
            </a:r>
            <a:endParaRPr kumimoji="1" lang="en-US" altLang="zh-CN" sz="1400" kern="0" dirty="0">
              <a:latin typeface="+mn-ea"/>
            </a:endParaRPr>
          </a:p>
          <a:p>
            <a:pPr marL="285737" indent="-285737" defTabSz="914332">
              <a:lnSpc>
                <a:spcPct val="120000"/>
              </a:lnSpc>
              <a:spcAft>
                <a:spcPts val="600"/>
              </a:spcAft>
              <a:buFont typeface="Arial" charset="0"/>
              <a:buChar char="•"/>
              <a:defRPr/>
            </a:pPr>
            <a:r>
              <a:rPr kumimoji="1" lang="zh-CN" altLang="en-US" sz="1400" b="1" kern="0" dirty="0">
                <a:latin typeface="+mn-ea"/>
              </a:rPr>
              <a:t>场</a:t>
            </a:r>
            <a:r>
              <a:rPr kumimoji="1" lang="zh-CN" altLang="en-US" sz="1400" kern="0" dirty="0">
                <a:latin typeface="+mn-ea"/>
              </a:rPr>
              <a:t>：商品陈列</a:t>
            </a:r>
            <a:r>
              <a:rPr kumimoji="1" lang="en-US" altLang="zh-CN" sz="1400" kern="0" dirty="0">
                <a:latin typeface="+mn-ea"/>
              </a:rPr>
              <a:t>+</a:t>
            </a:r>
            <a:r>
              <a:rPr kumimoji="1" lang="zh-CN" altLang="en-US" sz="1400" kern="0" dirty="0">
                <a:latin typeface="+mn-ea"/>
              </a:rPr>
              <a:t>销售</a:t>
            </a:r>
            <a:r>
              <a:rPr kumimoji="1" lang="en-US" altLang="zh-CN" sz="1400" kern="0" dirty="0">
                <a:latin typeface="+mn-ea"/>
              </a:rPr>
              <a:t>+</a:t>
            </a:r>
            <a:r>
              <a:rPr kumimoji="1" lang="zh-CN" altLang="en-US" sz="1400" kern="0" dirty="0">
                <a:latin typeface="+mn-ea"/>
              </a:rPr>
              <a:t>用户体验</a:t>
            </a:r>
            <a:r>
              <a:rPr kumimoji="1" lang="en-US" altLang="zh-CN" sz="1400" kern="0" dirty="0">
                <a:latin typeface="+mn-ea"/>
              </a:rPr>
              <a:t>+O2O</a:t>
            </a:r>
            <a:r>
              <a:rPr kumimoji="1" lang="zh-CN" altLang="en-US" sz="1400" kern="0" dirty="0">
                <a:latin typeface="+mn-ea"/>
              </a:rPr>
              <a:t>订单履约</a:t>
            </a:r>
            <a:endParaRPr kumimoji="1" lang="en-US" altLang="zh-CN" sz="1400" kern="0" dirty="0">
              <a:latin typeface="+mn-ea"/>
            </a:endParaRPr>
          </a:p>
        </p:txBody>
      </p:sp>
      <p:cxnSp>
        <p:nvCxnSpPr>
          <p:cNvPr id="57" name="直线连接符 184"/>
          <p:cNvCxnSpPr/>
          <p:nvPr/>
        </p:nvCxnSpPr>
        <p:spPr>
          <a:xfrm>
            <a:off x="6785807" y="4028701"/>
            <a:ext cx="4695539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grpSp>
        <p:nvGrpSpPr>
          <p:cNvPr id="7" name="组 72"/>
          <p:cNvGrpSpPr/>
          <p:nvPr/>
        </p:nvGrpSpPr>
        <p:grpSpPr>
          <a:xfrm>
            <a:off x="5475499" y="4618235"/>
            <a:ext cx="1299055" cy="378863"/>
            <a:chOff x="5146830" y="4158641"/>
            <a:chExt cx="2576970" cy="751562"/>
          </a:xfrm>
        </p:grpSpPr>
        <p:sp>
          <p:nvSpPr>
            <p:cNvPr id="8" name="五边形 7"/>
            <p:cNvSpPr/>
            <p:nvPr/>
          </p:nvSpPr>
          <p:spPr>
            <a:xfrm flipH="1">
              <a:off x="5146830" y="4158641"/>
              <a:ext cx="2576970" cy="751562"/>
            </a:xfrm>
            <a:prstGeom prst="homePlate">
              <a:avLst/>
            </a:prstGeom>
            <a:solidFill>
              <a:srgbClr val="CA352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r>
                <a:rPr kumimoji="1" lang="zh-CN" altLang="en-US" sz="1400" kern="0" dirty="0">
                  <a:solidFill>
                    <a:srgbClr val="FFFFFF"/>
                  </a:solidFill>
                  <a:latin typeface="+mn-ea"/>
                </a:rPr>
                <a:t>“货找人”</a:t>
              </a:r>
            </a:p>
          </p:txBody>
        </p:sp>
        <p:sp>
          <p:nvSpPr>
            <p:cNvPr id="9" name="椭圆 8"/>
            <p:cNvSpPr/>
            <p:nvPr/>
          </p:nvSpPr>
          <p:spPr>
            <a:xfrm>
              <a:off x="5323562" y="4484318"/>
              <a:ext cx="100208" cy="1002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</p:grpSp>
      <p:grpSp>
        <p:nvGrpSpPr>
          <p:cNvPr id="11" name="组 75"/>
          <p:cNvGrpSpPr/>
          <p:nvPr/>
        </p:nvGrpSpPr>
        <p:grpSpPr>
          <a:xfrm>
            <a:off x="5475499" y="2376892"/>
            <a:ext cx="1299056" cy="378863"/>
            <a:chOff x="5146830" y="4158643"/>
            <a:chExt cx="2576972" cy="751562"/>
          </a:xfrm>
        </p:grpSpPr>
        <p:sp>
          <p:nvSpPr>
            <p:cNvPr id="12" name="五边形 11"/>
            <p:cNvSpPr/>
            <p:nvPr/>
          </p:nvSpPr>
          <p:spPr>
            <a:xfrm flipH="1">
              <a:off x="5146830" y="4158643"/>
              <a:ext cx="2576972" cy="751562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r>
                <a:rPr kumimoji="1" lang="zh-CN" altLang="en-US" sz="1400" kern="0" dirty="0">
                  <a:solidFill>
                    <a:prstClr val="black"/>
                  </a:solidFill>
                  <a:latin typeface="+mn-ea"/>
                </a:rPr>
                <a:t>“人找货”</a:t>
              </a:r>
            </a:p>
          </p:txBody>
        </p:sp>
        <p:sp>
          <p:nvSpPr>
            <p:cNvPr id="13" name="椭圆 12"/>
            <p:cNvSpPr/>
            <p:nvPr/>
          </p:nvSpPr>
          <p:spPr>
            <a:xfrm>
              <a:off x="5323562" y="4484318"/>
              <a:ext cx="100208" cy="1002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</p:grpSp>
      <p:grpSp>
        <p:nvGrpSpPr>
          <p:cNvPr id="14" name="组 109"/>
          <p:cNvGrpSpPr/>
          <p:nvPr/>
        </p:nvGrpSpPr>
        <p:grpSpPr>
          <a:xfrm>
            <a:off x="5047748" y="3230101"/>
            <a:ext cx="787243" cy="787243"/>
            <a:chOff x="5744303" y="3231714"/>
            <a:chExt cx="851771" cy="851771"/>
          </a:xfrm>
        </p:grpSpPr>
        <p:grpSp>
          <p:nvGrpSpPr>
            <p:cNvPr id="15" name="组 6"/>
            <p:cNvGrpSpPr/>
            <p:nvPr/>
          </p:nvGrpSpPr>
          <p:grpSpPr>
            <a:xfrm>
              <a:off x="5744303" y="3231714"/>
              <a:ext cx="851771" cy="851771"/>
              <a:chOff x="2480153" y="2016690"/>
              <a:chExt cx="1164921" cy="1164921"/>
            </a:xfrm>
          </p:grpSpPr>
          <p:sp>
            <p:nvSpPr>
              <p:cNvPr id="17" name="椭圆 16"/>
              <p:cNvSpPr/>
              <p:nvPr/>
            </p:nvSpPr>
            <p:spPr>
              <a:xfrm>
                <a:off x="2480153" y="2016690"/>
                <a:ext cx="1164921" cy="1164921"/>
              </a:xfrm>
              <a:prstGeom prst="ellipse">
                <a:avLst/>
              </a:prstGeom>
              <a:solidFill>
                <a:srgbClr val="CA352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1400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8" name="Freeform 22"/>
              <p:cNvSpPr>
                <a:spLocks noEditPoints="1"/>
              </p:cNvSpPr>
              <p:nvPr/>
            </p:nvSpPr>
            <p:spPr bwMode="auto">
              <a:xfrm>
                <a:off x="2766124" y="2154048"/>
                <a:ext cx="592978" cy="591667"/>
              </a:xfrm>
              <a:custGeom>
                <a:avLst/>
                <a:gdLst>
                  <a:gd name="T0" fmla="*/ 118 w 191"/>
                  <a:gd name="T1" fmla="*/ 93 h 191"/>
                  <a:gd name="T2" fmla="*/ 61 w 191"/>
                  <a:gd name="T3" fmla="*/ 93 h 191"/>
                  <a:gd name="T4" fmla="*/ 0 w 191"/>
                  <a:gd name="T5" fmla="*/ 151 h 191"/>
                  <a:gd name="T6" fmla="*/ 0 w 191"/>
                  <a:gd name="T7" fmla="*/ 156 h 191"/>
                  <a:gd name="T8" fmla="*/ 14 w 191"/>
                  <a:gd name="T9" fmla="*/ 170 h 191"/>
                  <a:gd name="T10" fmla="*/ 113 w 191"/>
                  <a:gd name="T11" fmla="*/ 170 h 191"/>
                  <a:gd name="T12" fmla="*/ 111 w 191"/>
                  <a:gd name="T13" fmla="*/ 155 h 191"/>
                  <a:gd name="T14" fmla="*/ 155 w 191"/>
                  <a:gd name="T15" fmla="*/ 110 h 191"/>
                  <a:gd name="T16" fmla="*/ 160 w 191"/>
                  <a:gd name="T17" fmla="*/ 110 h 191"/>
                  <a:gd name="T18" fmla="*/ 118 w 191"/>
                  <a:gd name="T19" fmla="*/ 93 h 191"/>
                  <a:gd name="T20" fmla="*/ 89 w 191"/>
                  <a:gd name="T21" fmla="*/ 0 h 191"/>
                  <a:gd name="T22" fmla="*/ 47 w 191"/>
                  <a:gd name="T23" fmla="*/ 42 h 191"/>
                  <a:gd name="T24" fmla="*/ 89 w 191"/>
                  <a:gd name="T25" fmla="*/ 85 h 191"/>
                  <a:gd name="T26" fmla="*/ 132 w 191"/>
                  <a:gd name="T27" fmla="*/ 42 h 191"/>
                  <a:gd name="T28" fmla="*/ 89 w 191"/>
                  <a:gd name="T29" fmla="*/ 0 h 191"/>
                  <a:gd name="T30" fmla="*/ 155 w 191"/>
                  <a:gd name="T31" fmla="*/ 119 h 191"/>
                  <a:gd name="T32" fmla="*/ 119 w 191"/>
                  <a:gd name="T33" fmla="*/ 155 h 191"/>
                  <a:gd name="T34" fmla="*/ 155 w 191"/>
                  <a:gd name="T35" fmla="*/ 191 h 191"/>
                  <a:gd name="T36" fmla="*/ 191 w 191"/>
                  <a:gd name="T37" fmla="*/ 155 h 191"/>
                  <a:gd name="T38" fmla="*/ 155 w 191"/>
                  <a:gd name="T39" fmla="*/ 119 h 191"/>
                  <a:gd name="T40" fmla="*/ 176 w 191"/>
                  <a:gd name="T41" fmla="*/ 148 h 191"/>
                  <a:gd name="T42" fmla="*/ 152 w 191"/>
                  <a:gd name="T43" fmla="*/ 171 h 191"/>
                  <a:gd name="T44" fmla="*/ 146 w 191"/>
                  <a:gd name="T45" fmla="*/ 171 h 191"/>
                  <a:gd name="T46" fmla="*/ 135 w 191"/>
                  <a:gd name="T47" fmla="*/ 159 h 191"/>
                  <a:gd name="T48" fmla="*/ 135 w 191"/>
                  <a:gd name="T49" fmla="*/ 153 h 191"/>
                  <a:gd name="T50" fmla="*/ 138 w 191"/>
                  <a:gd name="T51" fmla="*/ 150 h 191"/>
                  <a:gd name="T52" fmla="*/ 144 w 191"/>
                  <a:gd name="T53" fmla="*/ 150 h 191"/>
                  <a:gd name="T54" fmla="*/ 149 w 191"/>
                  <a:gd name="T55" fmla="*/ 156 h 191"/>
                  <a:gd name="T56" fmla="*/ 167 w 191"/>
                  <a:gd name="T57" fmla="*/ 139 h 191"/>
                  <a:gd name="T58" fmla="*/ 173 w 191"/>
                  <a:gd name="T59" fmla="*/ 139 h 191"/>
                  <a:gd name="T60" fmla="*/ 176 w 191"/>
                  <a:gd name="T61" fmla="*/ 142 h 191"/>
                  <a:gd name="T62" fmla="*/ 176 w 191"/>
                  <a:gd name="T63" fmla="*/ 148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1" h="191">
                    <a:moveTo>
                      <a:pt x="118" y="93"/>
                    </a:moveTo>
                    <a:cubicBezTo>
                      <a:pt x="61" y="93"/>
                      <a:pt x="61" y="93"/>
                      <a:pt x="61" y="93"/>
                    </a:cubicBezTo>
                    <a:cubicBezTo>
                      <a:pt x="30" y="93"/>
                      <a:pt x="0" y="120"/>
                      <a:pt x="0" y="151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63"/>
                      <a:pt x="6" y="170"/>
                      <a:pt x="14" y="170"/>
                    </a:cubicBezTo>
                    <a:cubicBezTo>
                      <a:pt x="113" y="170"/>
                      <a:pt x="113" y="170"/>
                      <a:pt x="113" y="170"/>
                    </a:cubicBezTo>
                    <a:cubicBezTo>
                      <a:pt x="111" y="165"/>
                      <a:pt x="111" y="160"/>
                      <a:pt x="111" y="155"/>
                    </a:cubicBezTo>
                    <a:cubicBezTo>
                      <a:pt x="111" y="130"/>
                      <a:pt x="131" y="110"/>
                      <a:pt x="155" y="110"/>
                    </a:cubicBezTo>
                    <a:cubicBezTo>
                      <a:pt x="157" y="110"/>
                      <a:pt x="158" y="110"/>
                      <a:pt x="160" y="110"/>
                    </a:cubicBezTo>
                    <a:cubicBezTo>
                      <a:pt x="149" y="100"/>
                      <a:pt x="133" y="93"/>
                      <a:pt x="118" y="93"/>
                    </a:cubicBezTo>
                    <a:close/>
                    <a:moveTo>
                      <a:pt x="89" y="0"/>
                    </a:moveTo>
                    <a:cubicBezTo>
                      <a:pt x="66" y="0"/>
                      <a:pt x="47" y="19"/>
                      <a:pt x="47" y="42"/>
                    </a:cubicBezTo>
                    <a:cubicBezTo>
                      <a:pt x="47" y="66"/>
                      <a:pt x="66" y="85"/>
                      <a:pt x="89" y="85"/>
                    </a:cubicBezTo>
                    <a:cubicBezTo>
                      <a:pt x="113" y="85"/>
                      <a:pt x="132" y="66"/>
                      <a:pt x="132" y="42"/>
                    </a:cubicBezTo>
                    <a:cubicBezTo>
                      <a:pt x="132" y="19"/>
                      <a:pt x="113" y="0"/>
                      <a:pt x="89" y="0"/>
                    </a:cubicBezTo>
                    <a:close/>
                    <a:moveTo>
                      <a:pt x="155" y="119"/>
                    </a:moveTo>
                    <a:cubicBezTo>
                      <a:pt x="135" y="119"/>
                      <a:pt x="119" y="135"/>
                      <a:pt x="119" y="155"/>
                    </a:cubicBezTo>
                    <a:cubicBezTo>
                      <a:pt x="119" y="175"/>
                      <a:pt x="135" y="191"/>
                      <a:pt x="155" y="191"/>
                    </a:cubicBezTo>
                    <a:cubicBezTo>
                      <a:pt x="175" y="191"/>
                      <a:pt x="191" y="175"/>
                      <a:pt x="191" y="155"/>
                    </a:cubicBezTo>
                    <a:cubicBezTo>
                      <a:pt x="191" y="135"/>
                      <a:pt x="175" y="119"/>
                      <a:pt x="155" y="119"/>
                    </a:cubicBezTo>
                    <a:close/>
                    <a:moveTo>
                      <a:pt x="176" y="148"/>
                    </a:moveTo>
                    <a:cubicBezTo>
                      <a:pt x="152" y="171"/>
                      <a:pt x="152" y="171"/>
                      <a:pt x="152" y="171"/>
                    </a:cubicBezTo>
                    <a:cubicBezTo>
                      <a:pt x="151" y="173"/>
                      <a:pt x="148" y="173"/>
                      <a:pt x="146" y="171"/>
                    </a:cubicBezTo>
                    <a:cubicBezTo>
                      <a:pt x="135" y="159"/>
                      <a:pt x="135" y="159"/>
                      <a:pt x="135" y="159"/>
                    </a:cubicBezTo>
                    <a:cubicBezTo>
                      <a:pt x="133" y="158"/>
                      <a:pt x="133" y="155"/>
                      <a:pt x="135" y="153"/>
                    </a:cubicBezTo>
                    <a:cubicBezTo>
                      <a:pt x="138" y="150"/>
                      <a:pt x="138" y="150"/>
                      <a:pt x="138" y="150"/>
                    </a:cubicBezTo>
                    <a:cubicBezTo>
                      <a:pt x="139" y="149"/>
                      <a:pt x="142" y="149"/>
                      <a:pt x="144" y="150"/>
                    </a:cubicBezTo>
                    <a:cubicBezTo>
                      <a:pt x="149" y="156"/>
                      <a:pt x="149" y="156"/>
                      <a:pt x="149" y="156"/>
                    </a:cubicBezTo>
                    <a:cubicBezTo>
                      <a:pt x="167" y="139"/>
                      <a:pt x="167" y="139"/>
                      <a:pt x="167" y="139"/>
                    </a:cubicBezTo>
                    <a:cubicBezTo>
                      <a:pt x="168" y="137"/>
                      <a:pt x="171" y="137"/>
                      <a:pt x="173" y="139"/>
                    </a:cubicBezTo>
                    <a:cubicBezTo>
                      <a:pt x="176" y="142"/>
                      <a:pt x="176" y="142"/>
                      <a:pt x="176" y="142"/>
                    </a:cubicBezTo>
                    <a:cubicBezTo>
                      <a:pt x="177" y="143"/>
                      <a:pt x="177" y="146"/>
                      <a:pt x="176" y="14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1400" kern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sp>
          <p:nvSpPr>
            <p:cNvPr id="16" name="文本框 15"/>
            <p:cNvSpPr txBox="1"/>
            <p:nvPr/>
          </p:nvSpPr>
          <p:spPr>
            <a:xfrm>
              <a:off x="5987038" y="3717728"/>
              <a:ext cx="366304" cy="339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b="1" kern="0" dirty="0">
                  <a:solidFill>
                    <a:srgbClr val="FFFFFF"/>
                  </a:solidFill>
                  <a:latin typeface="+mn-ea"/>
                </a:rPr>
                <a:t>人</a:t>
              </a:r>
            </a:p>
          </p:txBody>
        </p:sp>
      </p:grpSp>
      <p:sp>
        <p:nvSpPr>
          <p:cNvPr id="19" name="椭圆 18"/>
          <p:cNvSpPr/>
          <p:nvPr/>
        </p:nvSpPr>
        <p:spPr>
          <a:xfrm>
            <a:off x="391898" y="3230101"/>
            <a:ext cx="787243" cy="78724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1400" kern="0">
              <a:solidFill>
                <a:srgbClr val="FFFFFF"/>
              </a:solidFill>
              <a:latin typeface="+mn-ea"/>
            </a:endParaRPr>
          </a:p>
        </p:txBody>
      </p:sp>
      <p:grpSp>
        <p:nvGrpSpPr>
          <p:cNvPr id="20" name="组 13"/>
          <p:cNvGrpSpPr/>
          <p:nvPr/>
        </p:nvGrpSpPr>
        <p:grpSpPr>
          <a:xfrm>
            <a:off x="621826" y="3377658"/>
            <a:ext cx="327387" cy="310380"/>
            <a:chOff x="3032634" y="3184492"/>
            <a:chExt cx="2391135" cy="2266935"/>
          </a:xfrm>
          <a:solidFill>
            <a:srgbClr val="FFFFFF"/>
          </a:solidFill>
        </p:grpSpPr>
        <p:grpSp>
          <p:nvGrpSpPr>
            <p:cNvPr id="21" name="组 9"/>
            <p:cNvGrpSpPr/>
            <p:nvPr/>
          </p:nvGrpSpPr>
          <p:grpSpPr>
            <a:xfrm>
              <a:off x="3544772" y="3184492"/>
              <a:ext cx="1878997" cy="2195804"/>
              <a:chOff x="3544773" y="2745352"/>
              <a:chExt cx="2254778" cy="2634944"/>
            </a:xfrm>
            <a:grpFill/>
          </p:grpSpPr>
          <p:sp>
            <p:nvSpPr>
              <p:cNvPr id="25" name="Freeform 194"/>
              <p:cNvSpPr>
                <a:spLocks noEditPoints="1"/>
              </p:cNvSpPr>
              <p:nvPr/>
            </p:nvSpPr>
            <p:spPr bwMode="auto">
              <a:xfrm>
                <a:off x="3544773" y="2745352"/>
                <a:ext cx="2254778" cy="2634944"/>
              </a:xfrm>
              <a:custGeom>
                <a:avLst/>
                <a:gdLst>
                  <a:gd name="T0" fmla="*/ 38 w 73"/>
                  <a:gd name="T1" fmla="*/ 6 h 85"/>
                  <a:gd name="T2" fmla="*/ 66 w 73"/>
                  <a:gd name="T3" fmla="*/ 61 h 85"/>
                  <a:gd name="T4" fmla="*/ 45 w 73"/>
                  <a:gd name="T5" fmla="*/ 55 h 85"/>
                  <a:gd name="T6" fmla="*/ 73 w 73"/>
                  <a:gd name="T7" fmla="*/ 19 h 85"/>
                  <a:gd name="T8" fmla="*/ 38 w 73"/>
                  <a:gd name="T9" fmla="*/ 84 h 85"/>
                  <a:gd name="T10" fmla="*/ 38 w 73"/>
                  <a:gd name="T11" fmla="*/ 84 h 85"/>
                  <a:gd name="T12" fmla="*/ 38 w 73"/>
                  <a:gd name="T13" fmla="*/ 84 h 85"/>
                  <a:gd name="T14" fmla="*/ 38 w 73"/>
                  <a:gd name="T15" fmla="*/ 84 h 85"/>
                  <a:gd name="T16" fmla="*/ 38 w 73"/>
                  <a:gd name="T17" fmla="*/ 84 h 85"/>
                  <a:gd name="T18" fmla="*/ 38 w 73"/>
                  <a:gd name="T19" fmla="*/ 84 h 85"/>
                  <a:gd name="T20" fmla="*/ 38 w 73"/>
                  <a:gd name="T21" fmla="*/ 85 h 85"/>
                  <a:gd name="T22" fmla="*/ 37 w 73"/>
                  <a:gd name="T23" fmla="*/ 85 h 85"/>
                  <a:gd name="T24" fmla="*/ 37 w 73"/>
                  <a:gd name="T25" fmla="*/ 85 h 85"/>
                  <a:gd name="T26" fmla="*/ 37 w 73"/>
                  <a:gd name="T27" fmla="*/ 85 h 85"/>
                  <a:gd name="T28" fmla="*/ 37 w 73"/>
                  <a:gd name="T29" fmla="*/ 85 h 85"/>
                  <a:gd name="T30" fmla="*/ 37 w 73"/>
                  <a:gd name="T31" fmla="*/ 85 h 85"/>
                  <a:gd name="T32" fmla="*/ 37 w 73"/>
                  <a:gd name="T33" fmla="*/ 85 h 85"/>
                  <a:gd name="T34" fmla="*/ 37 w 73"/>
                  <a:gd name="T35" fmla="*/ 85 h 85"/>
                  <a:gd name="T36" fmla="*/ 37 w 73"/>
                  <a:gd name="T37" fmla="*/ 85 h 85"/>
                  <a:gd name="T38" fmla="*/ 37 w 73"/>
                  <a:gd name="T39" fmla="*/ 85 h 85"/>
                  <a:gd name="T40" fmla="*/ 37 w 73"/>
                  <a:gd name="T41" fmla="*/ 85 h 85"/>
                  <a:gd name="T42" fmla="*/ 37 w 73"/>
                  <a:gd name="T43" fmla="*/ 85 h 85"/>
                  <a:gd name="T44" fmla="*/ 37 w 73"/>
                  <a:gd name="T45" fmla="*/ 85 h 85"/>
                  <a:gd name="T46" fmla="*/ 37 w 73"/>
                  <a:gd name="T47" fmla="*/ 85 h 85"/>
                  <a:gd name="T48" fmla="*/ 37 w 73"/>
                  <a:gd name="T49" fmla="*/ 85 h 85"/>
                  <a:gd name="T50" fmla="*/ 36 w 73"/>
                  <a:gd name="T51" fmla="*/ 85 h 85"/>
                  <a:gd name="T52" fmla="*/ 36 w 73"/>
                  <a:gd name="T53" fmla="*/ 85 h 85"/>
                  <a:gd name="T54" fmla="*/ 36 w 73"/>
                  <a:gd name="T55" fmla="*/ 85 h 85"/>
                  <a:gd name="T56" fmla="*/ 36 w 73"/>
                  <a:gd name="T57" fmla="*/ 85 h 85"/>
                  <a:gd name="T58" fmla="*/ 36 w 73"/>
                  <a:gd name="T59" fmla="*/ 85 h 85"/>
                  <a:gd name="T60" fmla="*/ 36 w 73"/>
                  <a:gd name="T61" fmla="*/ 85 h 85"/>
                  <a:gd name="T62" fmla="*/ 36 w 73"/>
                  <a:gd name="T63" fmla="*/ 85 h 85"/>
                  <a:gd name="T64" fmla="*/ 36 w 73"/>
                  <a:gd name="T65" fmla="*/ 85 h 85"/>
                  <a:gd name="T66" fmla="*/ 36 w 73"/>
                  <a:gd name="T67" fmla="*/ 85 h 85"/>
                  <a:gd name="T68" fmla="*/ 36 w 73"/>
                  <a:gd name="T69" fmla="*/ 85 h 85"/>
                  <a:gd name="T70" fmla="*/ 36 w 73"/>
                  <a:gd name="T71" fmla="*/ 85 h 85"/>
                  <a:gd name="T72" fmla="*/ 36 w 73"/>
                  <a:gd name="T73" fmla="*/ 85 h 85"/>
                  <a:gd name="T74" fmla="*/ 36 w 73"/>
                  <a:gd name="T75" fmla="*/ 85 h 85"/>
                  <a:gd name="T76" fmla="*/ 36 w 73"/>
                  <a:gd name="T77" fmla="*/ 85 h 85"/>
                  <a:gd name="T78" fmla="*/ 36 w 73"/>
                  <a:gd name="T79" fmla="*/ 85 h 85"/>
                  <a:gd name="T80" fmla="*/ 35 w 73"/>
                  <a:gd name="T81" fmla="*/ 85 h 85"/>
                  <a:gd name="T82" fmla="*/ 35 w 73"/>
                  <a:gd name="T83" fmla="*/ 84 h 85"/>
                  <a:gd name="T84" fmla="*/ 35 w 73"/>
                  <a:gd name="T85" fmla="*/ 84 h 85"/>
                  <a:gd name="T86" fmla="*/ 35 w 73"/>
                  <a:gd name="T87" fmla="*/ 84 h 85"/>
                  <a:gd name="T88" fmla="*/ 35 w 73"/>
                  <a:gd name="T89" fmla="*/ 84 h 85"/>
                  <a:gd name="T90" fmla="*/ 35 w 73"/>
                  <a:gd name="T91" fmla="*/ 84 h 85"/>
                  <a:gd name="T92" fmla="*/ 0 w 73"/>
                  <a:gd name="T93" fmla="*/ 64 h 85"/>
                  <a:gd name="T94" fmla="*/ 37 w 73"/>
                  <a:gd name="T95" fmla="*/ 1 h 85"/>
                  <a:gd name="T96" fmla="*/ 5 w 73"/>
                  <a:gd name="T97" fmla="*/ 24 h 85"/>
                  <a:gd name="T98" fmla="*/ 21 w 73"/>
                  <a:gd name="T99" fmla="*/ 32 h 85"/>
                  <a:gd name="T100" fmla="*/ 5 w 73"/>
                  <a:gd name="T101" fmla="*/ 24 h 85"/>
                  <a:gd name="T102" fmla="*/ 37 w 73"/>
                  <a:gd name="T103" fmla="*/ 35 h 85"/>
                  <a:gd name="T104" fmla="*/ 56 w 73"/>
                  <a:gd name="T105" fmla="*/ 61 h 85"/>
                  <a:gd name="T106" fmla="*/ 51 w 73"/>
                  <a:gd name="T107" fmla="*/ 70 h 85"/>
                  <a:gd name="T108" fmla="*/ 50 w 73"/>
                  <a:gd name="T109" fmla="*/ 59 h 85"/>
                  <a:gd name="T110" fmla="*/ 56 w 73"/>
                  <a:gd name="T111" fmla="*/ 54 h 85"/>
                  <a:gd name="T112" fmla="*/ 57 w 73"/>
                  <a:gd name="T113" fmla="*/ 4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3" h="85">
                    <a:moveTo>
                      <a:pt x="9" y="20"/>
                    </a:moveTo>
                    <a:cubicBezTo>
                      <a:pt x="17" y="24"/>
                      <a:pt x="17" y="24"/>
                      <a:pt x="17" y="24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9" y="20"/>
                      <a:pt x="9" y="20"/>
                      <a:pt x="9" y="20"/>
                    </a:cubicBezTo>
                    <a:close/>
                    <a:moveTo>
                      <a:pt x="47" y="74"/>
                    </a:moveTo>
                    <a:cubicBezTo>
                      <a:pt x="66" y="63"/>
                      <a:pt x="66" y="63"/>
                      <a:pt x="66" y="63"/>
                    </a:cubicBezTo>
                    <a:cubicBezTo>
                      <a:pt x="66" y="63"/>
                      <a:pt x="66" y="62"/>
                      <a:pt x="66" y="61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6" y="42"/>
                      <a:pt x="65" y="41"/>
                      <a:pt x="64" y="42"/>
                    </a:cubicBezTo>
                    <a:cubicBezTo>
                      <a:pt x="48" y="50"/>
                      <a:pt x="48" y="50"/>
                      <a:pt x="48" y="50"/>
                    </a:cubicBezTo>
                    <a:cubicBezTo>
                      <a:pt x="46" y="51"/>
                      <a:pt x="45" y="53"/>
                      <a:pt x="45" y="55"/>
                    </a:cubicBezTo>
                    <a:cubicBezTo>
                      <a:pt x="45" y="72"/>
                      <a:pt x="45" y="72"/>
                      <a:pt x="45" y="72"/>
                    </a:cubicBezTo>
                    <a:cubicBezTo>
                      <a:pt x="45" y="73"/>
                      <a:pt x="46" y="74"/>
                      <a:pt x="47" y="74"/>
                    </a:cubicBezTo>
                    <a:close/>
                    <a:moveTo>
                      <a:pt x="71" y="17"/>
                    </a:moveTo>
                    <a:cubicBezTo>
                      <a:pt x="72" y="17"/>
                      <a:pt x="73" y="18"/>
                      <a:pt x="73" y="19"/>
                    </a:cubicBezTo>
                    <a:cubicBezTo>
                      <a:pt x="73" y="64"/>
                      <a:pt x="73" y="64"/>
                      <a:pt x="73" y="64"/>
                    </a:cubicBezTo>
                    <a:cubicBezTo>
                      <a:pt x="73" y="64"/>
                      <a:pt x="73" y="64"/>
                      <a:pt x="73" y="64"/>
                    </a:cubicBezTo>
                    <a:cubicBezTo>
                      <a:pt x="73" y="65"/>
                      <a:pt x="72" y="66"/>
                      <a:pt x="71" y="66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1" y="66"/>
                      <a:pt x="0" y="65"/>
                      <a:pt x="0" y="6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8"/>
                      <a:pt x="1" y="17"/>
                      <a:pt x="2" y="17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0"/>
                      <a:pt x="38" y="0"/>
                      <a:pt x="39" y="1"/>
                    </a:cubicBezTo>
                    <a:cubicBezTo>
                      <a:pt x="71" y="17"/>
                      <a:pt x="71" y="17"/>
                      <a:pt x="71" y="17"/>
                    </a:cubicBezTo>
                    <a:close/>
                    <a:moveTo>
                      <a:pt x="5" y="24"/>
                    </a:move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34" y="39"/>
                      <a:pt x="34" y="39"/>
                      <a:pt x="34" y="39"/>
                    </a:cubicBezTo>
                    <a:cubicBezTo>
                      <a:pt x="34" y="78"/>
                      <a:pt x="34" y="78"/>
                      <a:pt x="34" y="78"/>
                    </a:cubicBezTo>
                    <a:cubicBezTo>
                      <a:pt x="5" y="62"/>
                      <a:pt x="5" y="62"/>
                      <a:pt x="5" y="62"/>
                    </a:cubicBezTo>
                    <a:cubicBezTo>
                      <a:pt x="5" y="24"/>
                      <a:pt x="5" y="24"/>
                      <a:pt x="5" y="24"/>
                    </a:cubicBezTo>
                    <a:close/>
                    <a:moveTo>
                      <a:pt x="24" y="28"/>
                    </a:moveTo>
                    <a:cubicBezTo>
                      <a:pt x="52" y="13"/>
                      <a:pt x="52" y="13"/>
                      <a:pt x="52" y="13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37" y="35"/>
                      <a:pt x="37" y="35"/>
                      <a:pt x="37" y="35"/>
                    </a:cubicBezTo>
                    <a:cubicBezTo>
                      <a:pt x="24" y="28"/>
                      <a:pt x="24" y="28"/>
                      <a:pt x="24" y="28"/>
                    </a:cubicBezTo>
                    <a:close/>
                    <a:moveTo>
                      <a:pt x="61" y="47"/>
                    </a:moveTo>
                    <a:cubicBezTo>
                      <a:pt x="61" y="53"/>
                      <a:pt x="61" y="53"/>
                      <a:pt x="61" y="53"/>
                    </a:cubicBezTo>
                    <a:cubicBezTo>
                      <a:pt x="61" y="56"/>
                      <a:pt x="59" y="59"/>
                      <a:pt x="56" y="61"/>
                    </a:cubicBezTo>
                    <a:cubicBezTo>
                      <a:pt x="56" y="65"/>
                      <a:pt x="56" y="65"/>
                      <a:pt x="56" y="65"/>
                    </a:cubicBezTo>
                    <a:cubicBezTo>
                      <a:pt x="58" y="64"/>
                      <a:pt x="59" y="64"/>
                      <a:pt x="61" y="63"/>
                    </a:cubicBezTo>
                    <a:cubicBezTo>
                      <a:pt x="61" y="64"/>
                      <a:pt x="61" y="64"/>
                      <a:pt x="61" y="65"/>
                    </a:cubicBezTo>
                    <a:cubicBezTo>
                      <a:pt x="57" y="66"/>
                      <a:pt x="54" y="68"/>
                      <a:pt x="51" y="70"/>
                    </a:cubicBezTo>
                    <a:cubicBezTo>
                      <a:pt x="51" y="69"/>
                      <a:pt x="51" y="69"/>
                      <a:pt x="51" y="68"/>
                    </a:cubicBezTo>
                    <a:cubicBezTo>
                      <a:pt x="52" y="67"/>
                      <a:pt x="54" y="66"/>
                      <a:pt x="55" y="66"/>
                    </a:cubicBezTo>
                    <a:cubicBezTo>
                      <a:pt x="55" y="62"/>
                      <a:pt x="55" y="62"/>
                      <a:pt x="55" y="62"/>
                    </a:cubicBezTo>
                    <a:cubicBezTo>
                      <a:pt x="52" y="63"/>
                      <a:pt x="50" y="61"/>
                      <a:pt x="50" y="59"/>
                    </a:cubicBezTo>
                    <a:cubicBezTo>
                      <a:pt x="50" y="53"/>
                      <a:pt x="50" y="53"/>
                      <a:pt x="50" y="53"/>
                    </a:cubicBezTo>
                    <a:cubicBezTo>
                      <a:pt x="53" y="51"/>
                      <a:pt x="53" y="51"/>
                      <a:pt x="53" y="51"/>
                    </a:cubicBezTo>
                    <a:cubicBezTo>
                      <a:pt x="53" y="53"/>
                      <a:pt x="52" y="56"/>
                      <a:pt x="52" y="56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8" y="53"/>
                      <a:pt x="58" y="53"/>
                      <a:pt x="58" y="53"/>
                    </a:cubicBezTo>
                    <a:cubicBezTo>
                      <a:pt x="56" y="53"/>
                      <a:pt x="56" y="53"/>
                      <a:pt x="56" y="53"/>
                    </a:cubicBezTo>
                    <a:cubicBezTo>
                      <a:pt x="57" y="49"/>
                      <a:pt x="57" y="49"/>
                      <a:pt x="57" y="49"/>
                    </a:cubicBezTo>
                    <a:lnTo>
                      <a:pt x="61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1400" kern="0">
                  <a:solidFill>
                    <a:srgbClr val="000000"/>
                  </a:solidFill>
                  <a:latin typeface="+mn-ea"/>
                </a:endParaRPr>
              </a:p>
            </p:txBody>
          </p:sp>
          <p:sp>
            <p:nvSpPr>
              <p:cNvPr id="26" name="平行四边形 25"/>
              <p:cNvSpPr/>
              <p:nvPr/>
            </p:nvSpPr>
            <p:spPr>
              <a:xfrm rot="5400000" flipV="1">
                <a:off x="4535515" y="4139881"/>
                <a:ext cx="1402915" cy="864246"/>
              </a:xfrm>
              <a:prstGeom prst="parallelogram">
                <a:avLst>
                  <a:gd name="adj" fmla="val 56886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1400" kern="0">
                  <a:solidFill>
                    <a:srgbClr val="FFFFFF"/>
                  </a:solidFill>
                  <a:latin typeface="+mn-ea"/>
                </a:endParaRPr>
              </a:p>
            </p:txBody>
          </p:sp>
        </p:grpSp>
        <p:grpSp>
          <p:nvGrpSpPr>
            <p:cNvPr id="22" name="组 10"/>
            <p:cNvGrpSpPr/>
            <p:nvPr/>
          </p:nvGrpSpPr>
          <p:grpSpPr>
            <a:xfrm>
              <a:off x="3032634" y="4088620"/>
              <a:ext cx="1166183" cy="1362807"/>
              <a:chOff x="3544773" y="2745352"/>
              <a:chExt cx="2254778" cy="2634944"/>
            </a:xfrm>
            <a:grpFill/>
          </p:grpSpPr>
          <p:sp>
            <p:nvSpPr>
              <p:cNvPr id="23" name="Freeform 194"/>
              <p:cNvSpPr>
                <a:spLocks noEditPoints="1"/>
              </p:cNvSpPr>
              <p:nvPr/>
            </p:nvSpPr>
            <p:spPr bwMode="auto">
              <a:xfrm>
                <a:off x="3544773" y="2745352"/>
                <a:ext cx="2254778" cy="2634944"/>
              </a:xfrm>
              <a:custGeom>
                <a:avLst/>
                <a:gdLst>
                  <a:gd name="T0" fmla="*/ 38 w 73"/>
                  <a:gd name="T1" fmla="*/ 6 h 85"/>
                  <a:gd name="T2" fmla="*/ 66 w 73"/>
                  <a:gd name="T3" fmla="*/ 61 h 85"/>
                  <a:gd name="T4" fmla="*/ 45 w 73"/>
                  <a:gd name="T5" fmla="*/ 55 h 85"/>
                  <a:gd name="T6" fmla="*/ 73 w 73"/>
                  <a:gd name="T7" fmla="*/ 19 h 85"/>
                  <a:gd name="T8" fmla="*/ 38 w 73"/>
                  <a:gd name="T9" fmla="*/ 84 h 85"/>
                  <a:gd name="T10" fmla="*/ 38 w 73"/>
                  <a:gd name="T11" fmla="*/ 84 h 85"/>
                  <a:gd name="T12" fmla="*/ 38 w 73"/>
                  <a:gd name="T13" fmla="*/ 84 h 85"/>
                  <a:gd name="T14" fmla="*/ 38 w 73"/>
                  <a:gd name="T15" fmla="*/ 84 h 85"/>
                  <a:gd name="T16" fmla="*/ 38 w 73"/>
                  <a:gd name="T17" fmla="*/ 84 h 85"/>
                  <a:gd name="T18" fmla="*/ 38 w 73"/>
                  <a:gd name="T19" fmla="*/ 84 h 85"/>
                  <a:gd name="T20" fmla="*/ 38 w 73"/>
                  <a:gd name="T21" fmla="*/ 85 h 85"/>
                  <a:gd name="T22" fmla="*/ 37 w 73"/>
                  <a:gd name="T23" fmla="*/ 85 h 85"/>
                  <a:gd name="T24" fmla="*/ 37 w 73"/>
                  <a:gd name="T25" fmla="*/ 85 h 85"/>
                  <a:gd name="T26" fmla="*/ 37 w 73"/>
                  <a:gd name="T27" fmla="*/ 85 h 85"/>
                  <a:gd name="T28" fmla="*/ 37 w 73"/>
                  <a:gd name="T29" fmla="*/ 85 h 85"/>
                  <a:gd name="T30" fmla="*/ 37 w 73"/>
                  <a:gd name="T31" fmla="*/ 85 h 85"/>
                  <a:gd name="T32" fmla="*/ 37 w 73"/>
                  <a:gd name="T33" fmla="*/ 85 h 85"/>
                  <a:gd name="T34" fmla="*/ 37 w 73"/>
                  <a:gd name="T35" fmla="*/ 85 h 85"/>
                  <a:gd name="T36" fmla="*/ 37 w 73"/>
                  <a:gd name="T37" fmla="*/ 85 h 85"/>
                  <a:gd name="T38" fmla="*/ 37 w 73"/>
                  <a:gd name="T39" fmla="*/ 85 h 85"/>
                  <a:gd name="T40" fmla="*/ 37 w 73"/>
                  <a:gd name="T41" fmla="*/ 85 h 85"/>
                  <a:gd name="T42" fmla="*/ 37 w 73"/>
                  <a:gd name="T43" fmla="*/ 85 h 85"/>
                  <a:gd name="T44" fmla="*/ 37 w 73"/>
                  <a:gd name="T45" fmla="*/ 85 h 85"/>
                  <a:gd name="T46" fmla="*/ 37 w 73"/>
                  <a:gd name="T47" fmla="*/ 85 h 85"/>
                  <a:gd name="T48" fmla="*/ 37 w 73"/>
                  <a:gd name="T49" fmla="*/ 85 h 85"/>
                  <a:gd name="T50" fmla="*/ 36 w 73"/>
                  <a:gd name="T51" fmla="*/ 85 h 85"/>
                  <a:gd name="T52" fmla="*/ 36 w 73"/>
                  <a:gd name="T53" fmla="*/ 85 h 85"/>
                  <a:gd name="T54" fmla="*/ 36 w 73"/>
                  <a:gd name="T55" fmla="*/ 85 h 85"/>
                  <a:gd name="T56" fmla="*/ 36 w 73"/>
                  <a:gd name="T57" fmla="*/ 85 h 85"/>
                  <a:gd name="T58" fmla="*/ 36 w 73"/>
                  <a:gd name="T59" fmla="*/ 85 h 85"/>
                  <a:gd name="T60" fmla="*/ 36 w 73"/>
                  <a:gd name="T61" fmla="*/ 85 h 85"/>
                  <a:gd name="T62" fmla="*/ 36 w 73"/>
                  <a:gd name="T63" fmla="*/ 85 h 85"/>
                  <a:gd name="T64" fmla="*/ 36 w 73"/>
                  <a:gd name="T65" fmla="*/ 85 h 85"/>
                  <a:gd name="T66" fmla="*/ 36 w 73"/>
                  <a:gd name="T67" fmla="*/ 85 h 85"/>
                  <a:gd name="T68" fmla="*/ 36 w 73"/>
                  <a:gd name="T69" fmla="*/ 85 h 85"/>
                  <a:gd name="T70" fmla="*/ 36 w 73"/>
                  <a:gd name="T71" fmla="*/ 85 h 85"/>
                  <a:gd name="T72" fmla="*/ 36 w 73"/>
                  <a:gd name="T73" fmla="*/ 85 h 85"/>
                  <a:gd name="T74" fmla="*/ 36 w 73"/>
                  <a:gd name="T75" fmla="*/ 85 h 85"/>
                  <a:gd name="T76" fmla="*/ 36 w 73"/>
                  <a:gd name="T77" fmla="*/ 85 h 85"/>
                  <a:gd name="T78" fmla="*/ 36 w 73"/>
                  <a:gd name="T79" fmla="*/ 85 h 85"/>
                  <a:gd name="T80" fmla="*/ 35 w 73"/>
                  <a:gd name="T81" fmla="*/ 85 h 85"/>
                  <a:gd name="T82" fmla="*/ 35 w 73"/>
                  <a:gd name="T83" fmla="*/ 84 h 85"/>
                  <a:gd name="T84" fmla="*/ 35 w 73"/>
                  <a:gd name="T85" fmla="*/ 84 h 85"/>
                  <a:gd name="T86" fmla="*/ 35 w 73"/>
                  <a:gd name="T87" fmla="*/ 84 h 85"/>
                  <a:gd name="T88" fmla="*/ 35 w 73"/>
                  <a:gd name="T89" fmla="*/ 84 h 85"/>
                  <a:gd name="T90" fmla="*/ 35 w 73"/>
                  <a:gd name="T91" fmla="*/ 84 h 85"/>
                  <a:gd name="T92" fmla="*/ 0 w 73"/>
                  <a:gd name="T93" fmla="*/ 64 h 85"/>
                  <a:gd name="T94" fmla="*/ 37 w 73"/>
                  <a:gd name="T95" fmla="*/ 1 h 85"/>
                  <a:gd name="T96" fmla="*/ 5 w 73"/>
                  <a:gd name="T97" fmla="*/ 24 h 85"/>
                  <a:gd name="T98" fmla="*/ 21 w 73"/>
                  <a:gd name="T99" fmla="*/ 32 h 85"/>
                  <a:gd name="T100" fmla="*/ 5 w 73"/>
                  <a:gd name="T101" fmla="*/ 24 h 85"/>
                  <a:gd name="T102" fmla="*/ 37 w 73"/>
                  <a:gd name="T103" fmla="*/ 35 h 85"/>
                  <a:gd name="T104" fmla="*/ 56 w 73"/>
                  <a:gd name="T105" fmla="*/ 61 h 85"/>
                  <a:gd name="T106" fmla="*/ 51 w 73"/>
                  <a:gd name="T107" fmla="*/ 70 h 85"/>
                  <a:gd name="T108" fmla="*/ 50 w 73"/>
                  <a:gd name="T109" fmla="*/ 59 h 85"/>
                  <a:gd name="T110" fmla="*/ 56 w 73"/>
                  <a:gd name="T111" fmla="*/ 54 h 85"/>
                  <a:gd name="T112" fmla="*/ 57 w 73"/>
                  <a:gd name="T113" fmla="*/ 4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3" h="85">
                    <a:moveTo>
                      <a:pt x="9" y="20"/>
                    </a:moveTo>
                    <a:cubicBezTo>
                      <a:pt x="17" y="24"/>
                      <a:pt x="17" y="24"/>
                      <a:pt x="17" y="24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9" y="20"/>
                      <a:pt x="9" y="20"/>
                      <a:pt x="9" y="20"/>
                    </a:cubicBezTo>
                    <a:close/>
                    <a:moveTo>
                      <a:pt x="47" y="74"/>
                    </a:moveTo>
                    <a:cubicBezTo>
                      <a:pt x="66" y="63"/>
                      <a:pt x="66" y="63"/>
                      <a:pt x="66" y="63"/>
                    </a:cubicBezTo>
                    <a:cubicBezTo>
                      <a:pt x="66" y="63"/>
                      <a:pt x="66" y="62"/>
                      <a:pt x="66" y="61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6" y="42"/>
                      <a:pt x="65" y="41"/>
                      <a:pt x="64" y="42"/>
                    </a:cubicBezTo>
                    <a:cubicBezTo>
                      <a:pt x="48" y="50"/>
                      <a:pt x="48" y="50"/>
                      <a:pt x="48" y="50"/>
                    </a:cubicBezTo>
                    <a:cubicBezTo>
                      <a:pt x="46" y="51"/>
                      <a:pt x="45" y="53"/>
                      <a:pt x="45" y="55"/>
                    </a:cubicBezTo>
                    <a:cubicBezTo>
                      <a:pt x="45" y="72"/>
                      <a:pt x="45" y="72"/>
                      <a:pt x="45" y="72"/>
                    </a:cubicBezTo>
                    <a:cubicBezTo>
                      <a:pt x="45" y="73"/>
                      <a:pt x="46" y="74"/>
                      <a:pt x="47" y="74"/>
                    </a:cubicBezTo>
                    <a:close/>
                    <a:moveTo>
                      <a:pt x="71" y="17"/>
                    </a:moveTo>
                    <a:cubicBezTo>
                      <a:pt x="72" y="17"/>
                      <a:pt x="73" y="18"/>
                      <a:pt x="73" y="19"/>
                    </a:cubicBezTo>
                    <a:cubicBezTo>
                      <a:pt x="73" y="64"/>
                      <a:pt x="73" y="64"/>
                      <a:pt x="73" y="64"/>
                    </a:cubicBezTo>
                    <a:cubicBezTo>
                      <a:pt x="73" y="64"/>
                      <a:pt x="73" y="64"/>
                      <a:pt x="73" y="64"/>
                    </a:cubicBezTo>
                    <a:cubicBezTo>
                      <a:pt x="73" y="65"/>
                      <a:pt x="72" y="66"/>
                      <a:pt x="71" y="66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35" y="84"/>
                      <a:pt x="35" y="84"/>
                      <a:pt x="35" y="84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1" y="66"/>
                      <a:pt x="0" y="65"/>
                      <a:pt x="0" y="6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8"/>
                      <a:pt x="1" y="17"/>
                      <a:pt x="2" y="17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0"/>
                      <a:pt x="38" y="0"/>
                      <a:pt x="39" y="1"/>
                    </a:cubicBezTo>
                    <a:cubicBezTo>
                      <a:pt x="71" y="17"/>
                      <a:pt x="71" y="17"/>
                      <a:pt x="71" y="17"/>
                    </a:cubicBezTo>
                    <a:close/>
                    <a:moveTo>
                      <a:pt x="5" y="24"/>
                    </a:move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34" y="39"/>
                      <a:pt x="34" y="39"/>
                      <a:pt x="34" y="39"/>
                    </a:cubicBezTo>
                    <a:cubicBezTo>
                      <a:pt x="34" y="78"/>
                      <a:pt x="34" y="78"/>
                      <a:pt x="34" y="78"/>
                    </a:cubicBezTo>
                    <a:cubicBezTo>
                      <a:pt x="5" y="62"/>
                      <a:pt x="5" y="62"/>
                      <a:pt x="5" y="62"/>
                    </a:cubicBezTo>
                    <a:cubicBezTo>
                      <a:pt x="5" y="24"/>
                      <a:pt x="5" y="24"/>
                      <a:pt x="5" y="24"/>
                    </a:cubicBezTo>
                    <a:close/>
                    <a:moveTo>
                      <a:pt x="24" y="28"/>
                    </a:moveTo>
                    <a:cubicBezTo>
                      <a:pt x="52" y="13"/>
                      <a:pt x="52" y="13"/>
                      <a:pt x="52" y="13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37" y="35"/>
                      <a:pt x="37" y="35"/>
                      <a:pt x="37" y="35"/>
                    </a:cubicBezTo>
                    <a:cubicBezTo>
                      <a:pt x="24" y="28"/>
                      <a:pt x="24" y="28"/>
                      <a:pt x="24" y="28"/>
                    </a:cubicBezTo>
                    <a:close/>
                    <a:moveTo>
                      <a:pt x="61" y="47"/>
                    </a:moveTo>
                    <a:cubicBezTo>
                      <a:pt x="61" y="53"/>
                      <a:pt x="61" y="53"/>
                      <a:pt x="61" y="53"/>
                    </a:cubicBezTo>
                    <a:cubicBezTo>
                      <a:pt x="61" y="56"/>
                      <a:pt x="59" y="59"/>
                      <a:pt x="56" y="61"/>
                    </a:cubicBezTo>
                    <a:cubicBezTo>
                      <a:pt x="56" y="65"/>
                      <a:pt x="56" y="65"/>
                      <a:pt x="56" y="65"/>
                    </a:cubicBezTo>
                    <a:cubicBezTo>
                      <a:pt x="58" y="64"/>
                      <a:pt x="59" y="64"/>
                      <a:pt x="61" y="63"/>
                    </a:cubicBezTo>
                    <a:cubicBezTo>
                      <a:pt x="61" y="64"/>
                      <a:pt x="61" y="64"/>
                      <a:pt x="61" y="65"/>
                    </a:cubicBezTo>
                    <a:cubicBezTo>
                      <a:pt x="57" y="66"/>
                      <a:pt x="54" y="68"/>
                      <a:pt x="51" y="70"/>
                    </a:cubicBezTo>
                    <a:cubicBezTo>
                      <a:pt x="51" y="69"/>
                      <a:pt x="51" y="69"/>
                      <a:pt x="51" y="68"/>
                    </a:cubicBezTo>
                    <a:cubicBezTo>
                      <a:pt x="52" y="67"/>
                      <a:pt x="54" y="66"/>
                      <a:pt x="55" y="66"/>
                    </a:cubicBezTo>
                    <a:cubicBezTo>
                      <a:pt x="55" y="62"/>
                      <a:pt x="55" y="62"/>
                      <a:pt x="55" y="62"/>
                    </a:cubicBezTo>
                    <a:cubicBezTo>
                      <a:pt x="52" y="63"/>
                      <a:pt x="50" y="61"/>
                      <a:pt x="50" y="59"/>
                    </a:cubicBezTo>
                    <a:cubicBezTo>
                      <a:pt x="50" y="53"/>
                      <a:pt x="50" y="53"/>
                      <a:pt x="50" y="53"/>
                    </a:cubicBezTo>
                    <a:cubicBezTo>
                      <a:pt x="53" y="51"/>
                      <a:pt x="53" y="51"/>
                      <a:pt x="53" y="51"/>
                    </a:cubicBezTo>
                    <a:cubicBezTo>
                      <a:pt x="53" y="53"/>
                      <a:pt x="52" y="56"/>
                      <a:pt x="52" y="56"/>
                    </a:cubicBezTo>
                    <a:cubicBezTo>
                      <a:pt x="56" y="54"/>
                      <a:pt x="56" y="54"/>
                      <a:pt x="56" y="54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8" y="53"/>
                      <a:pt x="58" y="53"/>
                      <a:pt x="58" y="53"/>
                    </a:cubicBezTo>
                    <a:cubicBezTo>
                      <a:pt x="56" y="53"/>
                      <a:pt x="56" y="53"/>
                      <a:pt x="56" y="53"/>
                    </a:cubicBezTo>
                    <a:cubicBezTo>
                      <a:pt x="57" y="49"/>
                      <a:pt x="57" y="49"/>
                      <a:pt x="57" y="49"/>
                    </a:cubicBezTo>
                    <a:lnTo>
                      <a:pt x="61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1400" kern="0">
                  <a:solidFill>
                    <a:srgbClr val="000000"/>
                  </a:solidFill>
                  <a:latin typeface="+mn-ea"/>
                </a:endParaRPr>
              </a:p>
            </p:txBody>
          </p:sp>
          <p:sp>
            <p:nvSpPr>
              <p:cNvPr id="24" name="平行四边形 23"/>
              <p:cNvSpPr/>
              <p:nvPr/>
            </p:nvSpPr>
            <p:spPr>
              <a:xfrm rot="5400000" flipV="1">
                <a:off x="4535515" y="4139881"/>
                <a:ext cx="1402915" cy="864246"/>
              </a:xfrm>
              <a:prstGeom prst="parallelogram">
                <a:avLst>
                  <a:gd name="adj" fmla="val 56886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1400" kern="0">
                  <a:solidFill>
                    <a:srgbClr val="FFFFFF"/>
                  </a:solidFill>
                  <a:latin typeface="+mn-ea"/>
                </a:endParaRPr>
              </a:p>
            </p:txBody>
          </p:sp>
        </p:grpSp>
      </p:grpSp>
      <p:sp>
        <p:nvSpPr>
          <p:cNvPr id="27" name="文本框 26"/>
          <p:cNvSpPr txBox="1"/>
          <p:nvPr/>
        </p:nvSpPr>
        <p:spPr>
          <a:xfrm>
            <a:off x="616243" y="3679294"/>
            <a:ext cx="338555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200" b="1" kern="0" dirty="0">
                <a:solidFill>
                  <a:srgbClr val="FFFFFF"/>
                </a:solidFill>
                <a:latin typeface="+mn-ea"/>
              </a:rPr>
              <a:t>货</a:t>
            </a:r>
          </a:p>
        </p:txBody>
      </p:sp>
      <p:grpSp>
        <p:nvGrpSpPr>
          <p:cNvPr id="28" name="组 80"/>
          <p:cNvGrpSpPr/>
          <p:nvPr/>
        </p:nvGrpSpPr>
        <p:grpSpPr>
          <a:xfrm>
            <a:off x="2339463" y="3809789"/>
            <a:ext cx="2069863" cy="2171825"/>
            <a:chOff x="5455958" y="3265674"/>
            <a:chExt cx="2239524" cy="2349845"/>
          </a:xfrm>
        </p:grpSpPr>
        <p:grpSp>
          <p:nvGrpSpPr>
            <p:cNvPr id="29" name="组 79"/>
            <p:cNvGrpSpPr/>
            <p:nvPr/>
          </p:nvGrpSpPr>
          <p:grpSpPr>
            <a:xfrm>
              <a:off x="6326433" y="3672458"/>
              <a:ext cx="532807" cy="668526"/>
              <a:chOff x="5816141" y="4293455"/>
              <a:chExt cx="532807" cy="668526"/>
            </a:xfrm>
          </p:grpSpPr>
          <p:sp>
            <p:nvSpPr>
              <p:cNvPr id="41" name="文本框 40"/>
              <p:cNvSpPr txBox="1"/>
              <p:nvPr/>
            </p:nvSpPr>
            <p:spPr>
              <a:xfrm>
                <a:off x="5816141" y="4622317"/>
                <a:ext cx="532807" cy="3396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20000"/>
                  </a:lnSpc>
                  <a:spcAft>
                    <a:spcPts val="600"/>
                  </a:spcAft>
                  <a:defRPr kumimoji="1" sz="1200" b="1"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lvl1pPr>
              </a:lstStyle>
              <a:p>
                <a:pPr defTabSz="914332">
                  <a:defRPr/>
                </a:pPr>
                <a:r>
                  <a:rPr lang="zh-CN" altLang="en-US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</a:rPr>
                  <a:t>电商</a:t>
                </a:r>
              </a:p>
            </p:txBody>
          </p:sp>
          <p:sp>
            <p:nvSpPr>
              <p:cNvPr id="42" name="Freeform 114"/>
              <p:cNvSpPr>
                <a:spLocks noEditPoints="1"/>
              </p:cNvSpPr>
              <p:nvPr/>
            </p:nvSpPr>
            <p:spPr bwMode="auto">
              <a:xfrm>
                <a:off x="5907134" y="4293455"/>
                <a:ext cx="350820" cy="339297"/>
              </a:xfrm>
              <a:custGeom>
                <a:avLst/>
                <a:gdLst>
                  <a:gd name="T0" fmla="*/ 32 w 116"/>
                  <a:gd name="T1" fmla="*/ 28 h 112"/>
                  <a:gd name="T2" fmla="*/ 38 w 116"/>
                  <a:gd name="T3" fmla="*/ 33 h 112"/>
                  <a:gd name="T4" fmla="*/ 62 w 116"/>
                  <a:gd name="T5" fmla="*/ 67 h 112"/>
                  <a:gd name="T6" fmla="*/ 50 w 116"/>
                  <a:gd name="T7" fmla="*/ 57 h 112"/>
                  <a:gd name="T8" fmla="*/ 108 w 116"/>
                  <a:gd name="T9" fmla="*/ 44 h 112"/>
                  <a:gd name="T10" fmla="*/ 114 w 116"/>
                  <a:gd name="T11" fmla="*/ 52 h 112"/>
                  <a:gd name="T12" fmla="*/ 110 w 116"/>
                  <a:gd name="T13" fmla="*/ 84 h 112"/>
                  <a:gd name="T14" fmla="*/ 110 w 116"/>
                  <a:gd name="T15" fmla="*/ 107 h 112"/>
                  <a:gd name="T16" fmla="*/ 98 w 116"/>
                  <a:gd name="T17" fmla="*/ 112 h 112"/>
                  <a:gd name="T18" fmla="*/ 81 w 116"/>
                  <a:gd name="T19" fmla="*/ 97 h 112"/>
                  <a:gd name="T20" fmla="*/ 57 w 116"/>
                  <a:gd name="T21" fmla="*/ 107 h 112"/>
                  <a:gd name="T22" fmla="*/ 45 w 116"/>
                  <a:gd name="T23" fmla="*/ 112 h 112"/>
                  <a:gd name="T24" fmla="*/ 28 w 116"/>
                  <a:gd name="T25" fmla="*/ 96 h 112"/>
                  <a:gd name="T26" fmla="*/ 33 w 116"/>
                  <a:gd name="T27" fmla="*/ 84 h 112"/>
                  <a:gd name="T28" fmla="*/ 38 w 116"/>
                  <a:gd name="T29" fmla="*/ 80 h 112"/>
                  <a:gd name="T30" fmla="*/ 0 w 116"/>
                  <a:gd name="T31" fmla="*/ 41 h 112"/>
                  <a:gd name="T32" fmla="*/ 64 w 116"/>
                  <a:gd name="T33" fmla="*/ 0 h 112"/>
                  <a:gd name="T34" fmla="*/ 55 w 116"/>
                  <a:gd name="T35" fmla="*/ 19 h 112"/>
                  <a:gd name="T36" fmla="*/ 94 w 116"/>
                  <a:gd name="T37" fmla="*/ 19 h 112"/>
                  <a:gd name="T38" fmla="*/ 84 w 116"/>
                  <a:gd name="T39" fmla="*/ 0 h 112"/>
                  <a:gd name="T40" fmla="*/ 49 w 116"/>
                  <a:gd name="T41" fmla="*/ 74 h 112"/>
                  <a:gd name="T42" fmla="*/ 57 w 116"/>
                  <a:gd name="T43" fmla="*/ 84 h 112"/>
                  <a:gd name="T44" fmla="*/ 62 w 116"/>
                  <a:gd name="T45" fmla="*/ 85 h 112"/>
                  <a:gd name="T46" fmla="*/ 49 w 116"/>
                  <a:gd name="T47" fmla="*/ 74 h 112"/>
                  <a:gd name="T48" fmla="*/ 88 w 116"/>
                  <a:gd name="T49" fmla="*/ 74 h 112"/>
                  <a:gd name="T50" fmla="*/ 93 w 116"/>
                  <a:gd name="T51" fmla="*/ 80 h 112"/>
                  <a:gd name="T52" fmla="*/ 81 w 116"/>
                  <a:gd name="T53" fmla="*/ 74 h 112"/>
                  <a:gd name="T54" fmla="*/ 69 w 116"/>
                  <a:gd name="T55" fmla="*/ 85 h 112"/>
                  <a:gd name="T56" fmla="*/ 81 w 116"/>
                  <a:gd name="T57" fmla="*/ 74 h 112"/>
                  <a:gd name="T58" fmla="*/ 81 w 116"/>
                  <a:gd name="T59" fmla="*/ 67 h 112"/>
                  <a:gd name="T60" fmla="*/ 69 w 116"/>
                  <a:gd name="T61" fmla="*/ 57 h 112"/>
                  <a:gd name="T62" fmla="*/ 88 w 116"/>
                  <a:gd name="T63" fmla="*/ 67 h 112"/>
                  <a:gd name="T64" fmla="*/ 99 w 116"/>
                  <a:gd name="T65" fmla="*/ 57 h 112"/>
                  <a:gd name="T66" fmla="*/ 88 w 116"/>
                  <a:gd name="T67" fmla="*/ 67 h 112"/>
                  <a:gd name="T68" fmla="*/ 98 w 116"/>
                  <a:gd name="T69" fmla="*/ 88 h 112"/>
                  <a:gd name="T70" fmla="*/ 93 w 116"/>
                  <a:gd name="T71" fmla="*/ 90 h 112"/>
                  <a:gd name="T72" fmla="*/ 93 w 116"/>
                  <a:gd name="T73" fmla="*/ 101 h 112"/>
                  <a:gd name="T74" fmla="*/ 103 w 116"/>
                  <a:gd name="T75" fmla="*/ 101 h 112"/>
                  <a:gd name="T76" fmla="*/ 103 w 116"/>
                  <a:gd name="T77" fmla="*/ 90 h 112"/>
                  <a:gd name="T78" fmla="*/ 45 w 116"/>
                  <a:gd name="T79" fmla="*/ 88 h 112"/>
                  <a:gd name="T80" fmla="*/ 40 w 116"/>
                  <a:gd name="T81" fmla="*/ 90 h 112"/>
                  <a:gd name="T82" fmla="*/ 40 w 116"/>
                  <a:gd name="T83" fmla="*/ 101 h 112"/>
                  <a:gd name="T84" fmla="*/ 50 w 116"/>
                  <a:gd name="T85" fmla="*/ 101 h 112"/>
                  <a:gd name="T86" fmla="*/ 50 w 116"/>
                  <a:gd name="T87" fmla="*/ 9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6" h="112">
                    <a:moveTo>
                      <a:pt x="0" y="28"/>
                    </a:moveTo>
                    <a:cubicBezTo>
                      <a:pt x="32" y="28"/>
                      <a:pt x="32" y="28"/>
                      <a:pt x="32" y="28"/>
                    </a:cubicBezTo>
                    <a:cubicBezTo>
                      <a:pt x="37" y="28"/>
                      <a:pt x="37" y="28"/>
                      <a:pt x="37" y="28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47" y="67"/>
                      <a:pt x="47" y="67"/>
                      <a:pt x="47" y="67"/>
                    </a:cubicBezTo>
                    <a:cubicBezTo>
                      <a:pt x="62" y="67"/>
                      <a:pt x="62" y="67"/>
                      <a:pt x="62" y="67"/>
                    </a:cubicBezTo>
                    <a:cubicBezTo>
                      <a:pt x="62" y="57"/>
                      <a:pt x="62" y="57"/>
                      <a:pt x="62" y="57"/>
                    </a:cubicBezTo>
                    <a:cubicBezTo>
                      <a:pt x="50" y="57"/>
                      <a:pt x="50" y="57"/>
                      <a:pt x="50" y="57"/>
                    </a:cubicBezTo>
                    <a:cubicBezTo>
                      <a:pt x="47" y="44"/>
                      <a:pt x="47" y="44"/>
                      <a:pt x="47" y="44"/>
                    </a:cubicBezTo>
                    <a:cubicBezTo>
                      <a:pt x="108" y="44"/>
                      <a:pt x="108" y="44"/>
                      <a:pt x="108" y="44"/>
                    </a:cubicBezTo>
                    <a:cubicBezTo>
                      <a:pt x="116" y="44"/>
                      <a:pt x="116" y="44"/>
                      <a:pt x="116" y="44"/>
                    </a:cubicBezTo>
                    <a:cubicBezTo>
                      <a:pt x="114" y="52"/>
                      <a:pt x="114" y="52"/>
                      <a:pt x="114" y="52"/>
                    </a:cubicBezTo>
                    <a:cubicBezTo>
                      <a:pt x="106" y="81"/>
                      <a:pt x="106" y="81"/>
                      <a:pt x="106" y="81"/>
                    </a:cubicBezTo>
                    <a:cubicBezTo>
                      <a:pt x="107" y="82"/>
                      <a:pt x="108" y="83"/>
                      <a:pt x="110" y="84"/>
                    </a:cubicBezTo>
                    <a:cubicBezTo>
                      <a:pt x="113" y="87"/>
                      <a:pt x="114" y="91"/>
                      <a:pt x="114" y="96"/>
                    </a:cubicBezTo>
                    <a:cubicBezTo>
                      <a:pt x="114" y="100"/>
                      <a:pt x="113" y="104"/>
                      <a:pt x="110" y="107"/>
                    </a:cubicBezTo>
                    <a:cubicBezTo>
                      <a:pt x="110" y="107"/>
                      <a:pt x="110" y="107"/>
                      <a:pt x="110" y="107"/>
                    </a:cubicBezTo>
                    <a:cubicBezTo>
                      <a:pt x="107" y="110"/>
                      <a:pt x="102" y="112"/>
                      <a:pt x="98" y="112"/>
                    </a:cubicBezTo>
                    <a:cubicBezTo>
                      <a:pt x="93" y="112"/>
                      <a:pt x="89" y="110"/>
                      <a:pt x="86" y="107"/>
                    </a:cubicBezTo>
                    <a:cubicBezTo>
                      <a:pt x="83" y="105"/>
                      <a:pt x="82" y="101"/>
                      <a:pt x="81" y="97"/>
                    </a:cubicBezTo>
                    <a:cubicBezTo>
                      <a:pt x="62" y="97"/>
                      <a:pt x="62" y="97"/>
                      <a:pt x="62" y="97"/>
                    </a:cubicBezTo>
                    <a:cubicBezTo>
                      <a:pt x="61" y="101"/>
                      <a:pt x="59" y="105"/>
                      <a:pt x="57" y="107"/>
                    </a:cubicBezTo>
                    <a:cubicBezTo>
                      <a:pt x="57" y="107"/>
                      <a:pt x="57" y="107"/>
                      <a:pt x="57" y="107"/>
                    </a:cubicBezTo>
                    <a:cubicBezTo>
                      <a:pt x="54" y="110"/>
                      <a:pt x="50" y="112"/>
                      <a:pt x="45" y="112"/>
                    </a:cubicBezTo>
                    <a:cubicBezTo>
                      <a:pt x="41" y="112"/>
                      <a:pt x="36" y="110"/>
                      <a:pt x="33" y="107"/>
                    </a:cubicBezTo>
                    <a:cubicBezTo>
                      <a:pt x="30" y="104"/>
                      <a:pt x="28" y="100"/>
                      <a:pt x="28" y="96"/>
                    </a:cubicBezTo>
                    <a:cubicBezTo>
                      <a:pt x="28" y="91"/>
                      <a:pt x="30" y="87"/>
                      <a:pt x="33" y="84"/>
                    </a:cubicBezTo>
                    <a:cubicBezTo>
                      <a:pt x="33" y="84"/>
                      <a:pt x="33" y="84"/>
                      <a:pt x="33" y="84"/>
                    </a:cubicBezTo>
                    <a:cubicBezTo>
                      <a:pt x="33" y="84"/>
                      <a:pt x="33" y="84"/>
                      <a:pt x="33" y="84"/>
                    </a:cubicBezTo>
                    <a:cubicBezTo>
                      <a:pt x="35" y="82"/>
                      <a:pt x="36" y="81"/>
                      <a:pt x="38" y="80"/>
                    </a:cubicBezTo>
                    <a:cubicBezTo>
                      <a:pt x="27" y="41"/>
                      <a:pt x="27" y="41"/>
                      <a:pt x="27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8"/>
                      <a:pt x="0" y="28"/>
                      <a:pt x="0" y="28"/>
                    </a:cubicBezTo>
                    <a:close/>
                    <a:moveTo>
                      <a:pt x="64" y="0"/>
                    </a:moveTo>
                    <a:cubicBezTo>
                      <a:pt x="64" y="19"/>
                      <a:pt x="64" y="19"/>
                      <a:pt x="64" y="19"/>
                    </a:cubicBezTo>
                    <a:cubicBezTo>
                      <a:pt x="55" y="19"/>
                      <a:pt x="55" y="19"/>
                      <a:pt x="55" y="19"/>
                    </a:cubicBezTo>
                    <a:cubicBezTo>
                      <a:pt x="74" y="39"/>
                      <a:pt x="74" y="39"/>
                      <a:pt x="74" y="39"/>
                    </a:cubicBezTo>
                    <a:cubicBezTo>
                      <a:pt x="94" y="19"/>
                      <a:pt x="94" y="19"/>
                      <a:pt x="94" y="19"/>
                    </a:cubicBezTo>
                    <a:cubicBezTo>
                      <a:pt x="84" y="19"/>
                      <a:pt x="84" y="19"/>
                      <a:pt x="84" y="19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64" y="0"/>
                      <a:pt x="64" y="0"/>
                      <a:pt x="64" y="0"/>
                    </a:cubicBezTo>
                    <a:close/>
                    <a:moveTo>
                      <a:pt x="49" y="74"/>
                    </a:moveTo>
                    <a:cubicBezTo>
                      <a:pt x="51" y="80"/>
                      <a:pt x="51" y="80"/>
                      <a:pt x="51" y="80"/>
                    </a:cubicBezTo>
                    <a:cubicBezTo>
                      <a:pt x="53" y="81"/>
                      <a:pt x="55" y="82"/>
                      <a:pt x="57" y="84"/>
                    </a:cubicBezTo>
                    <a:cubicBezTo>
                      <a:pt x="57" y="84"/>
                      <a:pt x="58" y="84"/>
                      <a:pt x="58" y="85"/>
                    </a:cubicBezTo>
                    <a:cubicBezTo>
                      <a:pt x="62" y="85"/>
                      <a:pt x="62" y="85"/>
                      <a:pt x="62" y="85"/>
                    </a:cubicBezTo>
                    <a:cubicBezTo>
                      <a:pt x="62" y="74"/>
                      <a:pt x="62" y="74"/>
                      <a:pt x="62" y="74"/>
                    </a:cubicBezTo>
                    <a:cubicBezTo>
                      <a:pt x="49" y="74"/>
                      <a:pt x="49" y="74"/>
                      <a:pt x="49" y="74"/>
                    </a:cubicBezTo>
                    <a:close/>
                    <a:moveTo>
                      <a:pt x="95" y="74"/>
                    </a:moveTo>
                    <a:cubicBezTo>
                      <a:pt x="88" y="74"/>
                      <a:pt x="88" y="74"/>
                      <a:pt x="88" y="74"/>
                    </a:cubicBezTo>
                    <a:cubicBezTo>
                      <a:pt x="88" y="82"/>
                      <a:pt x="88" y="82"/>
                      <a:pt x="88" y="82"/>
                    </a:cubicBezTo>
                    <a:cubicBezTo>
                      <a:pt x="89" y="81"/>
                      <a:pt x="91" y="80"/>
                      <a:pt x="93" y="80"/>
                    </a:cubicBezTo>
                    <a:cubicBezTo>
                      <a:pt x="95" y="74"/>
                      <a:pt x="95" y="74"/>
                      <a:pt x="95" y="74"/>
                    </a:cubicBezTo>
                    <a:close/>
                    <a:moveTo>
                      <a:pt x="81" y="74"/>
                    </a:moveTo>
                    <a:cubicBezTo>
                      <a:pt x="69" y="74"/>
                      <a:pt x="69" y="74"/>
                      <a:pt x="69" y="74"/>
                    </a:cubicBezTo>
                    <a:cubicBezTo>
                      <a:pt x="69" y="85"/>
                      <a:pt x="69" y="85"/>
                      <a:pt x="69" y="85"/>
                    </a:cubicBezTo>
                    <a:cubicBezTo>
                      <a:pt x="81" y="85"/>
                      <a:pt x="81" y="85"/>
                      <a:pt x="81" y="85"/>
                    </a:cubicBezTo>
                    <a:cubicBezTo>
                      <a:pt x="81" y="74"/>
                      <a:pt x="81" y="74"/>
                      <a:pt x="81" y="74"/>
                    </a:cubicBezTo>
                    <a:close/>
                    <a:moveTo>
                      <a:pt x="69" y="67"/>
                    </a:moveTo>
                    <a:cubicBezTo>
                      <a:pt x="81" y="67"/>
                      <a:pt x="81" y="67"/>
                      <a:pt x="81" y="67"/>
                    </a:cubicBezTo>
                    <a:cubicBezTo>
                      <a:pt x="81" y="57"/>
                      <a:pt x="81" y="57"/>
                      <a:pt x="81" y="57"/>
                    </a:cubicBezTo>
                    <a:cubicBezTo>
                      <a:pt x="69" y="57"/>
                      <a:pt x="69" y="57"/>
                      <a:pt x="69" y="57"/>
                    </a:cubicBezTo>
                    <a:cubicBezTo>
                      <a:pt x="69" y="67"/>
                      <a:pt x="69" y="67"/>
                      <a:pt x="69" y="67"/>
                    </a:cubicBezTo>
                    <a:close/>
                    <a:moveTo>
                      <a:pt x="88" y="67"/>
                    </a:moveTo>
                    <a:cubicBezTo>
                      <a:pt x="97" y="67"/>
                      <a:pt x="97" y="67"/>
                      <a:pt x="97" y="67"/>
                    </a:cubicBezTo>
                    <a:cubicBezTo>
                      <a:pt x="99" y="57"/>
                      <a:pt x="99" y="57"/>
                      <a:pt x="99" y="57"/>
                    </a:cubicBezTo>
                    <a:cubicBezTo>
                      <a:pt x="88" y="57"/>
                      <a:pt x="88" y="57"/>
                      <a:pt x="88" y="57"/>
                    </a:cubicBezTo>
                    <a:cubicBezTo>
                      <a:pt x="88" y="67"/>
                      <a:pt x="88" y="67"/>
                      <a:pt x="88" y="67"/>
                    </a:cubicBezTo>
                    <a:close/>
                    <a:moveTo>
                      <a:pt x="103" y="90"/>
                    </a:moveTo>
                    <a:cubicBezTo>
                      <a:pt x="102" y="89"/>
                      <a:pt x="100" y="88"/>
                      <a:pt x="98" y="88"/>
                    </a:cubicBezTo>
                    <a:cubicBezTo>
                      <a:pt x="96" y="88"/>
                      <a:pt x="94" y="89"/>
                      <a:pt x="93" y="90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1" y="92"/>
                      <a:pt x="91" y="94"/>
                      <a:pt x="91" y="96"/>
                    </a:cubicBezTo>
                    <a:cubicBezTo>
                      <a:pt x="91" y="98"/>
                      <a:pt x="91" y="99"/>
                      <a:pt x="93" y="101"/>
                    </a:cubicBezTo>
                    <a:cubicBezTo>
                      <a:pt x="94" y="102"/>
                      <a:pt x="96" y="103"/>
                      <a:pt x="98" y="103"/>
                    </a:cubicBezTo>
                    <a:cubicBezTo>
                      <a:pt x="100" y="103"/>
                      <a:pt x="102" y="102"/>
                      <a:pt x="103" y="101"/>
                    </a:cubicBezTo>
                    <a:cubicBezTo>
                      <a:pt x="104" y="99"/>
                      <a:pt x="105" y="98"/>
                      <a:pt x="105" y="96"/>
                    </a:cubicBezTo>
                    <a:cubicBezTo>
                      <a:pt x="105" y="94"/>
                      <a:pt x="104" y="92"/>
                      <a:pt x="103" y="90"/>
                    </a:cubicBezTo>
                    <a:close/>
                    <a:moveTo>
                      <a:pt x="50" y="90"/>
                    </a:moveTo>
                    <a:cubicBezTo>
                      <a:pt x="49" y="89"/>
                      <a:pt x="47" y="88"/>
                      <a:pt x="45" y="88"/>
                    </a:cubicBezTo>
                    <a:cubicBezTo>
                      <a:pt x="43" y="88"/>
                      <a:pt x="41" y="89"/>
                      <a:pt x="40" y="90"/>
                    </a:cubicBezTo>
                    <a:cubicBezTo>
                      <a:pt x="40" y="90"/>
                      <a:pt x="40" y="90"/>
                      <a:pt x="40" y="90"/>
                    </a:cubicBezTo>
                    <a:cubicBezTo>
                      <a:pt x="39" y="92"/>
                      <a:pt x="38" y="94"/>
                      <a:pt x="38" y="96"/>
                    </a:cubicBezTo>
                    <a:cubicBezTo>
                      <a:pt x="38" y="98"/>
                      <a:pt x="39" y="99"/>
                      <a:pt x="40" y="101"/>
                    </a:cubicBezTo>
                    <a:cubicBezTo>
                      <a:pt x="41" y="102"/>
                      <a:pt x="43" y="103"/>
                      <a:pt x="45" y="103"/>
                    </a:cubicBezTo>
                    <a:cubicBezTo>
                      <a:pt x="47" y="103"/>
                      <a:pt x="49" y="102"/>
                      <a:pt x="50" y="101"/>
                    </a:cubicBezTo>
                    <a:cubicBezTo>
                      <a:pt x="51" y="99"/>
                      <a:pt x="52" y="98"/>
                      <a:pt x="52" y="96"/>
                    </a:cubicBezTo>
                    <a:cubicBezTo>
                      <a:pt x="52" y="94"/>
                      <a:pt x="51" y="92"/>
                      <a:pt x="50" y="90"/>
                    </a:cubicBezTo>
                    <a:close/>
                  </a:path>
                </a:pathLst>
              </a:custGeom>
              <a:solidFill>
                <a:srgbClr val="CA352D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sp>
          <p:nvSpPr>
            <p:cNvPr id="30" name="Freeform 199"/>
            <p:cNvSpPr>
              <a:spLocks noEditPoints="1"/>
            </p:cNvSpPr>
            <p:nvPr/>
          </p:nvSpPr>
          <p:spPr bwMode="auto">
            <a:xfrm>
              <a:off x="6724610" y="4691275"/>
              <a:ext cx="391730" cy="302424"/>
            </a:xfrm>
            <a:custGeom>
              <a:avLst/>
              <a:gdLst>
                <a:gd name="T0" fmla="*/ 19 w 82"/>
                <a:gd name="T1" fmla="*/ 17 h 63"/>
                <a:gd name="T2" fmla="*/ 11 w 82"/>
                <a:gd name="T3" fmla="*/ 57 h 63"/>
                <a:gd name="T4" fmla="*/ 51 w 82"/>
                <a:gd name="T5" fmla="*/ 29 h 63"/>
                <a:gd name="T6" fmla="*/ 52 w 82"/>
                <a:gd name="T7" fmla="*/ 28 h 63"/>
                <a:gd name="T8" fmla="*/ 68 w 82"/>
                <a:gd name="T9" fmla="*/ 28 h 63"/>
                <a:gd name="T10" fmla="*/ 68 w 82"/>
                <a:gd name="T11" fmla="*/ 57 h 63"/>
                <a:gd name="T12" fmla="*/ 70 w 82"/>
                <a:gd name="T13" fmla="*/ 26 h 63"/>
                <a:gd name="T14" fmla="*/ 64 w 82"/>
                <a:gd name="T15" fmla="*/ 12 h 63"/>
                <a:gd name="T16" fmla="*/ 82 w 82"/>
                <a:gd name="T17" fmla="*/ 17 h 63"/>
                <a:gd name="T18" fmla="*/ 75 w 82"/>
                <a:gd name="T19" fmla="*/ 60 h 63"/>
                <a:gd name="T20" fmla="*/ 73 w 82"/>
                <a:gd name="T21" fmla="*/ 63 h 63"/>
                <a:gd name="T22" fmla="*/ 5 w 82"/>
                <a:gd name="T23" fmla="*/ 63 h 63"/>
                <a:gd name="T24" fmla="*/ 5 w 82"/>
                <a:gd name="T25" fmla="*/ 25 h 63"/>
                <a:gd name="T26" fmla="*/ 0 w 82"/>
                <a:gd name="T27" fmla="*/ 12 h 63"/>
                <a:gd name="T28" fmla="*/ 65 w 82"/>
                <a:gd name="T29" fmla="*/ 43 h 63"/>
                <a:gd name="T30" fmla="*/ 54 w 82"/>
                <a:gd name="T31" fmla="*/ 31 h 63"/>
                <a:gd name="T32" fmla="*/ 65 w 82"/>
                <a:gd name="T33" fmla="*/ 43 h 63"/>
                <a:gd name="T34" fmla="*/ 18 w 82"/>
                <a:gd name="T35" fmla="*/ 50 h 63"/>
                <a:gd name="T36" fmla="*/ 22 w 82"/>
                <a:gd name="T37" fmla="*/ 47 h 63"/>
                <a:gd name="T38" fmla="*/ 18 w 82"/>
                <a:gd name="T39" fmla="*/ 34 h 63"/>
                <a:gd name="T40" fmla="*/ 14 w 82"/>
                <a:gd name="T41" fmla="*/ 47 h 63"/>
                <a:gd name="T42" fmla="*/ 18 w 82"/>
                <a:gd name="T43" fmla="*/ 37 h 63"/>
                <a:gd name="T44" fmla="*/ 17 w 82"/>
                <a:gd name="T45" fmla="*/ 37 h 63"/>
                <a:gd name="T46" fmla="*/ 18 w 82"/>
                <a:gd name="T47" fmla="*/ 48 h 63"/>
                <a:gd name="T48" fmla="*/ 26 w 82"/>
                <a:gd name="T49" fmla="*/ 44 h 63"/>
                <a:gd name="T50" fmla="*/ 30 w 82"/>
                <a:gd name="T51" fmla="*/ 41 h 63"/>
                <a:gd name="T52" fmla="*/ 29 w 82"/>
                <a:gd name="T53" fmla="*/ 35 h 63"/>
                <a:gd name="T54" fmla="*/ 22 w 82"/>
                <a:gd name="T55" fmla="*/ 34 h 63"/>
                <a:gd name="T56" fmla="*/ 26 w 82"/>
                <a:gd name="T57" fmla="*/ 50 h 63"/>
                <a:gd name="T58" fmla="*/ 27 w 82"/>
                <a:gd name="T59" fmla="*/ 41 h 63"/>
                <a:gd name="T60" fmla="*/ 26 w 82"/>
                <a:gd name="T61" fmla="*/ 36 h 63"/>
                <a:gd name="T62" fmla="*/ 27 w 82"/>
                <a:gd name="T63" fmla="*/ 41 h 63"/>
                <a:gd name="T64" fmla="*/ 38 w 82"/>
                <a:gd name="T65" fmla="*/ 48 h 63"/>
                <a:gd name="T66" fmla="*/ 35 w 82"/>
                <a:gd name="T67" fmla="*/ 42 h 63"/>
                <a:gd name="T68" fmla="*/ 38 w 82"/>
                <a:gd name="T69" fmla="*/ 40 h 63"/>
                <a:gd name="T70" fmla="*/ 35 w 82"/>
                <a:gd name="T71" fmla="*/ 36 h 63"/>
                <a:gd name="T72" fmla="*/ 38 w 82"/>
                <a:gd name="T73" fmla="*/ 34 h 63"/>
                <a:gd name="T74" fmla="*/ 31 w 82"/>
                <a:gd name="T75" fmla="*/ 50 h 63"/>
                <a:gd name="T76" fmla="*/ 48 w 82"/>
                <a:gd name="T77" fmla="*/ 50 h 63"/>
                <a:gd name="T78" fmla="*/ 45 w 82"/>
                <a:gd name="T79" fmla="*/ 34 h 63"/>
                <a:gd name="T80" fmla="*/ 43 w 82"/>
                <a:gd name="T81" fmla="*/ 34 h 63"/>
                <a:gd name="T82" fmla="*/ 39 w 82"/>
                <a:gd name="T83" fmla="*/ 50 h 63"/>
                <a:gd name="T84" fmla="*/ 42 w 82"/>
                <a:gd name="T85" fmla="*/ 42 h 63"/>
                <a:gd name="T86" fmla="*/ 48 w 82"/>
                <a:gd name="T87" fmla="*/ 50 h 63"/>
                <a:gd name="T88" fmla="*/ 82 w 82"/>
                <a:gd name="T89" fmla="*/ 9 h 63"/>
                <a:gd name="T90" fmla="*/ 7 w 82"/>
                <a:gd name="T91" fmla="*/ 0 h 63"/>
                <a:gd name="T92" fmla="*/ 61 w 82"/>
                <a:gd name="T93" fmla="*/ 12 h 63"/>
                <a:gd name="T94" fmla="*/ 42 w 82"/>
                <a:gd name="T95" fmla="*/ 17 h 63"/>
                <a:gd name="T96" fmla="*/ 52 w 82"/>
                <a:gd name="T97" fmla="*/ 26 h 63"/>
                <a:gd name="T98" fmla="*/ 61 w 82"/>
                <a:gd name="T99" fmla="*/ 12 h 63"/>
                <a:gd name="T100" fmla="*/ 21 w 82"/>
                <a:gd name="T101" fmla="*/ 12 h 63"/>
                <a:gd name="T102" fmla="*/ 31 w 82"/>
                <a:gd name="T103" fmla="*/ 26 h 63"/>
                <a:gd name="T104" fmla="*/ 40 w 82"/>
                <a:gd name="T105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2" h="63">
                  <a:moveTo>
                    <a:pt x="19" y="12"/>
                  </a:moveTo>
                  <a:cubicBezTo>
                    <a:pt x="19" y="17"/>
                    <a:pt x="19" y="17"/>
                    <a:pt x="19" y="17"/>
                  </a:cubicBezTo>
                  <a:cubicBezTo>
                    <a:pt x="19" y="22"/>
                    <a:pt x="15" y="26"/>
                    <a:pt x="11" y="26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6" y="25"/>
                    <a:pt x="64" y="21"/>
                    <a:pt x="64" y="17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2" y="21"/>
                    <a:pt x="79" y="25"/>
                    <a:pt x="75" y="26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5" y="63"/>
                    <a:pt x="5" y="63"/>
                    <a:pt x="5" y="63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2" y="24"/>
                    <a:pt x="0" y="21"/>
                    <a:pt x="0" y="1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9" y="12"/>
                    <a:pt x="19" y="12"/>
                    <a:pt x="19" y="12"/>
                  </a:cubicBezTo>
                  <a:close/>
                  <a:moveTo>
                    <a:pt x="65" y="43"/>
                  </a:moveTo>
                  <a:cubicBezTo>
                    <a:pt x="65" y="31"/>
                    <a:pt x="65" y="31"/>
                    <a:pt x="65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65" y="43"/>
                    <a:pt x="65" y="43"/>
                    <a:pt x="65" y="43"/>
                  </a:cubicBezTo>
                  <a:close/>
                  <a:moveTo>
                    <a:pt x="14" y="47"/>
                  </a:moveTo>
                  <a:cubicBezTo>
                    <a:pt x="14" y="49"/>
                    <a:pt x="15" y="50"/>
                    <a:pt x="18" y="50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1" y="49"/>
                    <a:pt x="22" y="48"/>
                    <a:pt x="22" y="4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5"/>
                    <a:pt x="20" y="34"/>
                    <a:pt x="18" y="34"/>
                  </a:cubicBezTo>
                  <a:cubicBezTo>
                    <a:pt x="15" y="34"/>
                    <a:pt x="14" y="35"/>
                    <a:pt x="14" y="37"/>
                  </a:cubicBezTo>
                  <a:cubicBezTo>
                    <a:pt x="14" y="47"/>
                    <a:pt x="14" y="47"/>
                    <a:pt x="14" y="47"/>
                  </a:cubicBezTo>
                  <a:close/>
                  <a:moveTo>
                    <a:pt x="18" y="48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7" y="36"/>
                    <a:pt x="17" y="36"/>
                    <a:pt x="17" y="37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lose/>
                  <a:moveTo>
                    <a:pt x="26" y="44"/>
                  </a:moveTo>
                  <a:cubicBezTo>
                    <a:pt x="28" y="44"/>
                    <a:pt x="29" y="44"/>
                    <a:pt x="30" y="44"/>
                  </a:cubicBezTo>
                  <a:cubicBezTo>
                    <a:pt x="30" y="43"/>
                    <a:pt x="30" y="42"/>
                    <a:pt x="30" y="41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6"/>
                    <a:pt x="30" y="35"/>
                    <a:pt x="29" y="35"/>
                  </a:cubicBezTo>
                  <a:cubicBezTo>
                    <a:pt x="29" y="34"/>
                    <a:pt x="28" y="34"/>
                    <a:pt x="26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44"/>
                    <a:pt x="26" y="44"/>
                    <a:pt x="26" y="44"/>
                  </a:cubicBezTo>
                  <a:close/>
                  <a:moveTo>
                    <a:pt x="27" y="41"/>
                  </a:move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6"/>
                    <a:pt x="26" y="36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7" y="42"/>
                    <a:pt x="27" y="42"/>
                    <a:pt x="27" y="41"/>
                  </a:cubicBezTo>
                  <a:close/>
                  <a:moveTo>
                    <a:pt x="38" y="50"/>
                  </a:moveTo>
                  <a:cubicBezTo>
                    <a:pt x="38" y="48"/>
                    <a:pt x="38" y="48"/>
                    <a:pt x="38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8" y="50"/>
                    <a:pt x="38" y="50"/>
                    <a:pt x="38" y="50"/>
                  </a:cubicBezTo>
                  <a:close/>
                  <a:moveTo>
                    <a:pt x="48" y="50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8" y="50"/>
                    <a:pt x="48" y="50"/>
                    <a:pt x="48" y="50"/>
                  </a:cubicBezTo>
                  <a:close/>
                  <a:moveTo>
                    <a:pt x="0" y="9"/>
                  </a:moveTo>
                  <a:cubicBezTo>
                    <a:pt x="82" y="9"/>
                    <a:pt x="82" y="9"/>
                    <a:pt x="82" y="9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9"/>
                    <a:pt x="0" y="9"/>
                    <a:pt x="0" y="9"/>
                  </a:cubicBezTo>
                  <a:close/>
                  <a:moveTo>
                    <a:pt x="61" y="12"/>
                  </a:moveTo>
                  <a:cubicBezTo>
                    <a:pt x="42" y="12"/>
                    <a:pt x="42" y="12"/>
                    <a:pt x="42" y="12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22"/>
                    <a:pt x="47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7" y="26"/>
                    <a:pt x="61" y="22"/>
                    <a:pt x="61" y="17"/>
                  </a:cubicBezTo>
                  <a:cubicBezTo>
                    <a:pt x="61" y="12"/>
                    <a:pt x="61" y="12"/>
                    <a:pt x="61" y="12"/>
                  </a:cubicBezTo>
                  <a:close/>
                  <a:moveTo>
                    <a:pt x="40" y="12"/>
                  </a:moveTo>
                  <a:cubicBezTo>
                    <a:pt x="21" y="12"/>
                    <a:pt x="21" y="12"/>
                    <a:pt x="21" y="12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22"/>
                    <a:pt x="26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6" y="26"/>
                    <a:pt x="40" y="22"/>
                    <a:pt x="40" y="17"/>
                  </a:cubicBezTo>
                  <a:lnTo>
                    <a:pt x="40" y="12"/>
                  </a:lnTo>
                  <a:close/>
                </a:path>
              </a:pathLst>
            </a:custGeom>
            <a:solidFill>
              <a:srgbClr val="CA352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32">
                <a:defRPr/>
              </a:pPr>
              <a:endParaRPr lang="zh-CN" altLang="en-US" sz="2400" kern="0">
                <a:solidFill>
                  <a:srgbClr val="000000"/>
                </a:solidFill>
                <a:latin typeface="+mn-ea"/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6570820" y="4993699"/>
              <a:ext cx="699309" cy="339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ctr">
                <a:lnSpc>
                  <a:spcPct val="120000"/>
                </a:lnSpc>
                <a:spcAft>
                  <a:spcPts val="600"/>
                </a:spcAft>
                <a:defRPr kumimoji="1" sz="1200" b="1">
                  <a:solidFill>
                    <a:schemeClr val="tx1">
                      <a:lumMod val="65000"/>
                      <a:lumOff val="35000"/>
                    </a:schemeClr>
                  </a:solidFill>
                </a:defRPr>
              </a:lvl1pPr>
            </a:lstStyle>
            <a:p>
              <a:pPr defTabSz="914332">
                <a:defRPr/>
              </a:pPr>
              <a:r>
                <a:rPr lang="zh-CN" altLang="en-US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零售店</a:t>
              </a:r>
            </a:p>
          </p:txBody>
        </p:sp>
        <p:grpSp>
          <p:nvGrpSpPr>
            <p:cNvPr id="32" name="组 78"/>
            <p:cNvGrpSpPr/>
            <p:nvPr/>
          </p:nvGrpSpPr>
          <p:grpSpPr>
            <a:xfrm>
              <a:off x="5824835" y="4312003"/>
              <a:ext cx="532807" cy="628793"/>
              <a:chOff x="6325111" y="3685877"/>
              <a:chExt cx="532807" cy="628793"/>
            </a:xfrm>
          </p:grpSpPr>
          <p:sp>
            <p:nvSpPr>
              <p:cNvPr id="39" name="文本框 38"/>
              <p:cNvSpPr txBox="1"/>
              <p:nvPr/>
            </p:nvSpPr>
            <p:spPr>
              <a:xfrm>
                <a:off x="6325111" y="3975005"/>
                <a:ext cx="532807" cy="339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20000"/>
                  </a:lnSpc>
                  <a:spcAft>
                    <a:spcPts val="600"/>
                  </a:spcAft>
                  <a:defRPr kumimoji="1" sz="1200" b="1"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lvl1pPr>
              </a:lstStyle>
              <a:p>
                <a:pPr defTabSz="914332">
                  <a:defRPr/>
                </a:pPr>
                <a:r>
                  <a:rPr lang="zh-CN" altLang="en-US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</a:rPr>
                  <a:t>仓库</a:t>
                </a:r>
              </a:p>
            </p:txBody>
          </p:sp>
          <p:sp>
            <p:nvSpPr>
              <p:cNvPr id="40" name="Freeform 179"/>
              <p:cNvSpPr>
                <a:spLocks noEditPoints="1"/>
              </p:cNvSpPr>
              <p:nvPr/>
            </p:nvSpPr>
            <p:spPr bwMode="auto">
              <a:xfrm>
                <a:off x="6416316" y="3685877"/>
                <a:ext cx="350397" cy="265166"/>
              </a:xfrm>
              <a:custGeom>
                <a:avLst/>
                <a:gdLst>
                  <a:gd name="T0" fmla="*/ 90 w 94"/>
                  <a:gd name="T1" fmla="*/ 71 h 71"/>
                  <a:gd name="T2" fmla="*/ 73 w 94"/>
                  <a:gd name="T3" fmla="*/ 35 h 71"/>
                  <a:gd name="T4" fmla="*/ 22 w 94"/>
                  <a:gd name="T5" fmla="*/ 71 h 71"/>
                  <a:gd name="T6" fmla="*/ 5 w 94"/>
                  <a:gd name="T7" fmla="*/ 24 h 71"/>
                  <a:gd name="T8" fmla="*/ 0 w 94"/>
                  <a:gd name="T9" fmla="*/ 21 h 71"/>
                  <a:gd name="T10" fmla="*/ 47 w 94"/>
                  <a:gd name="T11" fmla="*/ 0 h 71"/>
                  <a:gd name="T12" fmla="*/ 94 w 94"/>
                  <a:gd name="T13" fmla="*/ 21 h 71"/>
                  <a:gd name="T14" fmla="*/ 90 w 94"/>
                  <a:gd name="T15" fmla="*/ 24 h 71"/>
                  <a:gd name="T16" fmla="*/ 64 w 94"/>
                  <a:gd name="T17" fmla="*/ 71 h 71"/>
                  <a:gd name="T18" fmla="*/ 50 w 94"/>
                  <a:gd name="T19" fmla="*/ 45 h 71"/>
                  <a:gd name="T20" fmla="*/ 46 w 94"/>
                  <a:gd name="T21" fmla="*/ 49 h 71"/>
                  <a:gd name="T22" fmla="*/ 33 w 94"/>
                  <a:gd name="T23" fmla="*/ 45 h 71"/>
                  <a:gd name="T24" fmla="*/ 47 w 94"/>
                  <a:gd name="T25" fmla="*/ 63 h 71"/>
                  <a:gd name="T26" fmla="*/ 47 w 94"/>
                  <a:gd name="T27" fmla="*/ 62 h 71"/>
                  <a:gd name="T28" fmla="*/ 46 w 94"/>
                  <a:gd name="T29" fmla="*/ 62 h 71"/>
                  <a:gd name="T30" fmla="*/ 46 w 94"/>
                  <a:gd name="T31" fmla="*/ 63 h 71"/>
                  <a:gd name="T32" fmla="*/ 47 w 94"/>
                  <a:gd name="T33" fmla="*/ 66 h 71"/>
                  <a:gd name="T34" fmla="*/ 50 w 94"/>
                  <a:gd name="T35" fmla="*/ 63 h 71"/>
                  <a:gd name="T36" fmla="*/ 50 w 94"/>
                  <a:gd name="T37" fmla="*/ 62 h 71"/>
                  <a:gd name="T38" fmla="*/ 49 w 94"/>
                  <a:gd name="T39" fmla="*/ 62 h 71"/>
                  <a:gd name="T40" fmla="*/ 49 w 94"/>
                  <a:gd name="T41" fmla="*/ 63 h 71"/>
                  <a:gd name="T42" fmla="*/ 50 w 94"/>
                  <a:gd name="T43" fmla="*/ 66 h 71"/>
                  <a:gd name="T44" fmla="*/ 45 w 94"/>
                  <a:gd name="T45" fmla="*/ 67 h 71"/>
                  <a:gd name="T46" fmla="*/ 51 w 94"/>
                  <a:gd name="T47" fmla="*/ 67 h 71"/>
                  <a:gd name="T48" fmla="*/ 45 w 94"/>
                  <a:gd name="T49" fmla="*/ 67 h 71"/>
                  <a:gd name="T50" fmla="*/ 44 w 94"/>
                  <a:gd name="T51" fmla="*/ 61 h 71"/>
                  <a:gd name="T52" fmla="*/ 45 w 94"/>
                  <a:gd name="T53" fmla="*/ 68 h 71"/>
                  <a:gd name="T54" fmla="*/ 52 w 94"/>
                  <a:gd name="T55" fmla="*/ 67 h 71"/>
                  <a:gd name="T56" fmla="*/ 51 w 94"/>
                  <a:gd name="T57" fmla="*/ 60 h 71"/>
                  <a:gd name="T58" fmla="*/ 36 w 94"/>
                  <a:gd name="T59" fmla="*/ 60 h 71"/>
                  <a:gd name="T60" fmla="*/ 35 w 94"/>
                  <a:gd name="T61" fmla="*/ 67 h 71"/>
                  <a:gd name="T62" fmla="*/ 42 w 94"/>
                  <a:gd name="T63" fmla="*/ 68 h 71"/>
                  <a:gd name="T64" fmla="*/ 43 w 94"/>
                  <a:gd name="T65" fmla="*/ 61 h 71"/>
                  <a:gd name="T66" fmla="*/ 36 w 94"/>
                  <a:gd name="T67" fmla="*/ 60 h 71"/>
                  <a:gd name="T68" fmla="*/ 40 w 94"/>
                  <a:gd name="T69" fmla="*/ 61 h 71"/>
                  <a:gd name="T70" fmla="*/ 40 w 94"/>
                  <a:gd name="T71" fmla="*/ 63 h 71"/>
                  <a:gd name="T72" fmla="*/ 39 w 94"/>
                  <a:gd name="T73" fmla="*/ 63 h 71"/>
                  <a:gd name="T74" fmla="*/ 38 w 94"/>
                  <a:gd name="T75" fmla="*/ 61 h 71"/>
                  <a:gd name="T76" fmla="*/ 37 w 94"/>
                  <a:gd name="T77" fmla="*/ 63 h 71"/>
                  <a:gd name="T78" fmla="*/ 39 w 94"/>
                  <a:gd name="T79" fmla="*/ 67 h 71"/>
                  <a:gd name="T80" fmla="*/ 37 w 94"/>
                  <a:gd name="T81" fmla="*/ 68 h 71"/>
                  <a:gd name="T82" fmla="*/ 41 w 94"/>
                  <a:gd name="T83" fmla="*/ 67 h 71"/>
                  <a:gd name="T84" fmla="*/ 39 w 94"/>
                  <a:gd name="T85" fmla="*/ 65 h 71"/>
                  <a:gd name="T86" fmla="*/ 41 w 94"/>
                  <a:gd name="T87" fmla="*/ 6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4" h="71">
                    <a:moveTo>
                      <a:pt x="90" y="24"/>
                    </a:moveTo>
                    <a:cubicBezTo>
                      <a:pt x="90" y="71"/>
                      <a:pt x="90" y="71"/>
                      <a:pt x="90" y="71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73" y="35"/>
                      <a:pt x="73" y="35"/>
                      <a:pt x="73" y="35"/>
                    </a:cubicBezTo>
                    <a:cubicBezTo>
                      <a:pt x="22" y="35"/>
                      <a:pt x="22" y="35"/>
                      <a:pt x="22" y="35"/>
                    </a:cubicBezTo>
                    <a:cubicBezTo>
                      <a:pt x="22" y="71"/>
                      <a:pt x="22" y="71"/>
                      <a:pt x="22" y="71"/>
                    </a:cubicBezTo>
                    <a:cubicBezTo>
                      <a:pt x="5" y="71"/>
                      <a:pt x="5" y="71"/>
                      <a:pt x="5" y="71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74" y="12"/>
                      <a:pt x="74" y="12"/>
                      <a:pt x="74" y="12"/>
                    </a:cubicBezTo>
                    <a:cubicBezTo>
                      <a:pt x="94" y="21"/>
                      <a:pt x="94" y="21"/>
                      <a:pt x="94" y="21"/>
                    </a:cubicBezTo>
                    <a:cubicBezTo>
                      <a:pt x="94" y="24"/>
                      <a:pt x="94" y="24"/>
                      <a:pt x="94" y="24"/>
                    </a:cubicBezTo>
                    <a:cubicBezTo>
                      <a:pt x="90" y="24"/>
                      <a:pt x="90" y="24"/>
                      <a:pt x="90" y="24"/>
                    </a:cubicBezTo>
                    <a:close/>
                    <a:moveTo>
                      <a:pt x="33" y="71"/>
                    </a:moveTo>
                    <a:cubicBezTo>
                      <a:pt x="64" y="71"/>
                      <a:pt x="64" y="71"/>
                      <a:pt x="64" y="71"/>
                    </a:cubicBezTo>
                    <a:cubicBezTo>
                      <a:pt x="64" y="45"/>
                      <a:pt x="64" y="45"/>
                      <a:pt x="64" y="45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50" y="49"/>
                      <a:pt x="50" y="49"/>
                      <a:pt x="50" y="49"/>
                    </a:cubicBezTo>
                    <a:cubicBezTo>
                      <a:pt x="46" y="49"/>
                      <a:pt x="46" y="49"/>
                      <a:pt x="46" y="49"/>
                    </a:cubicBezTo>
                    <a:cubicBezTo>
                      <a:pt x="46" y="45"/>
                      <a:pt x="46" y="45"/>
                      <a:pt x="46" y="45"/>
                    </a:cubicBezTo>
                    <a:cubicBezTo>
                      <a:pt x="33" y="45"/>
                      <a:pt x="33" y="45"/>
                      <a:pt x="33" y="45"/>
                    </a:cubicBezTo>
                    <a:cubicBezTo>
                      <a:pt x="33" y="71"/>
                      <a:pt x="33" y="71"/>
                      <a:pt x="33" y="71"/>
                    </a:cubicBezTo>
                    <a:close/>
                    <a:moveTo>
                      <a:pt x="47" y="63"/>
                    </a:moveTo>
                    <a:cubicBezTo>
                      <a:pt x="48" y="63"/>
                      <a:pt x="48" y="63"/>
                      <a:pt x="48" y="63"/>
                    </a:cubicBezTo>
                    <a:cubicBezTo>
                      <a:pt x="47" y="62"/>
                      <a:pt x="47" y="62"/>
                      <a:pt x="47" y="62"/>
                    </a:cubicBezTo>
                    <a:cubicBezTo>
                      <a:pt x="47" y="61"/>
                      <a:pt x="47" y="61"/>
                      <a:pt x="47" y="61"/>
                    </a:cubicBezTo>
                    <a:cubicBezTo>
                      <a:pt x="46" y="62"/>
                      <a:pt x="46" y="62"/>
                      <a:pt x="46" y="62"/>
                    </a:cubicBezTo>
                    <a:cubicBezTo>
                      <a:pt x="46" y="63"/>
                      <a:pt x="46" y="63"/>
                      <a:pt x="46" y="63"/>
                    </a:cubicBezTo>
                    <a:cubicBezTo>
                      <a:pt x="46" y="63"/>
                      <a:pt x="46" y="63"/>
                      <a:pt x="46" y="63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47" y="66"/>
                      <a:pt x="47" y="66"/>
                      <a:pt x="47" y="66"/>
                    </a:cubicBezTo>
                    <a:cubicBezTo>
                      <a:pt x="47" y="63"/>
                      <a:pt x="47" y="63"/>
                      <a:pt x="47" y="63"/>
                    </a:cubicBezTo>
                    <a:close/>
                    <a:moveTo>
                      <a:pt x="50" y="63"/>
                    </a:moveTo>
                    <a:cubicBezTo>
                      <a:pt x="51" y="63"/>
                      <a:pt x="51" y="63"/>
                      <a:pt x="51" y="63"/>
                    </a:cubicBezTo>
                    <a:cubicBezTo>
                      <a:pt x="50" y="62"/>
                      <a:pt x="50" y="62"/>
                      <a:pt x="50" y="62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49" y="62"/>
                      <a:pt x="49" y="62"/>
                      <a:pt x="49" y="62"/>
                    </a:cubicBezTo>
                    <a:cubicBezTo>
                      <a:pt x="48" y="63"/>
                      <a:pt x="48" y="63"/>
                      <a:pt x="48" y="63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50" y="66"/>
                      <a:pt x="50" y="66"/>
                      <a:pt x="50" y="66"/>
                    </a:cubicBezTo>
                    <a:cubicBezTo>
                      <a:pt x="50" y="63"/>
                      <a:pt x="50" y="63"/>
                      <a:pt x="50" y="63"/>
                    </a:cubicBezTo>
                    <a:close/>
                    <a:moveTo>
                      <a:pt x="45" y="67"/>
                    </a:moveTo>
                    <a:cubicBezTo>
                      <a:pt x="45" y="67"/>
                      <a:pt x="45" y="67"/>
                      <a:pt x="45" y="67"/>
                    </a:cubicBezTo>
                    <a:cubicBezTo>
                      <a:pt x="51" y="67"/>
                      <a:pt x="51" y="67"/>
                      <a:pt x="51" y="67"/>
                    </a:cubicBezTo>
                    <a:cubicBezTo>
                      <a:pt x="51" y="67"/>
                      <a:pt x="51" y="67"/>
                      <a:pt x="51" y="67"/>
                    </a:cubicBezTo>
                    <a:cubicBezTo>
                      <a:pt x="45" y="67"/>
                      <a:pt x="45" y="67"/>
                      <a:pt x="45" y="67"/>
                    </a:cubicBezTo>
                    <a:close/>
                    <a:moveTo>
                      <a:pt x="45" y="60"/>
                    </a:moveTo>
                    <a:cubicBezTo>
                      <a:pt x="45" y="60"/>
                      <a:pt x="44" y="60"/>
                      <a:pt x="44" y="61"/>
                    </a:cubicBezTo>
                    <a:cubicBezTo>
                      <a:pt x="44" y="67"/>
                      <a:pt x="44" y="67"/>
                      <a:pt x="44" y="67"/>
                    </a:cubicBezTo>
                    <a:cubicBezTo>
                      <a:pt x="44" y="68"/>
                      <a:pt x="45" y="68"/>
                      <a:pt x="45" y="68"/>
                    </a:cubicBezTo>
                    <a:cubicBezTo>
                      <a:pt x="51" y="68"/>
                      <a:pt x="51" y="68"/>
                      <a:pt x="51" y="68"/>
                    </a:cubicBezTo>
                    <a:cubicBezTo>
                      <a:pt x="52" y="68"/>
                      <a:pt x="52" y="68"/>
                      <a:pt x="52" y="67"/>
                    </a:cubicBezTo>
                    <a:cubicBezTo>
                      <a:pt x="52" y="61"/>
                      <a:pt x="52" y="61"/>
                      <a:pt x="52" y="61"/>
                    </a:cubicBezTo>
                    <a:cubicBezTo>
                      <a:pt x="52" y="60"/>
                      <a:pt x="52" y="60"/>
                      <a:pt x="51" y="60"/>
                    </a:cubicBezTo>
                    <a:cubicBezTo>
                      <a:pt x="45" y="60"/>
                      <a:pt x="45" y="60"/>
                      <a:pt x="45" y="60"/>
                    </a:cubicBezTo>
                    <a:close/>
                    <a:moveTo>
                      <a:pt x="36" y="60"/>
                    </a:moveTo>
                    <a:cubicBezTo>
                      <a:pt x="36" y="60"/>
                      <a:pt x="35" y="60"/>
                      <a:pt x="35" y="61"/>
                    </a:cubicBezTo>
                    <a:cubicBezTo>
                      <a:pt x="35" y="67"/>
                      <a:pt x="35" y="67"/>
                      <a:pt x="35" y="67"/>
                    </a:cubicBezTo>
                    <a:cubicBezTo>
                      <a:pt x="35" y="68"/>
                      <a:pt x="36" y="68"/>
                      <a:pt x="36" y="68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43" y="68"/>
                      <a:pt x="43" y="68"/>
                      <a:pt x="43" y="67"/>
                    </a:cubicBezTo>
                    <a:cubicBezTo>
                      <a:pt x="43" y="61"/>
                      <a:pt x="43" y="61"/>
                      <a:pt x="43" y="61"/>
                    </a:cubicBezTo>
                    <a:cubicBezTo>
                      <a:pt x="43" y="60"/>
                      <a:pt x="43" y="60"/>
                      <a:pt x="42" y="60"/>
                    </a:cubicBezTo>
                    <a:cubicBezTo>
                      <a:pt x="36" y="60"/>
                      <a:pt x="36" y="60"/>
                      <a:pt x="36" y="60"/>
                    </a:cubicBezTo>
                    <a:close/>
                    <a:moveTo>
                      <a:pt x="41" y="61"/>
                    </a:moveTo>
                    <a:cubicBezTo>
                      <a:pt x="40" y="61"/>
                      <a:pt x="40" y="61"/>
                      <a:pt x="40" y="61"/>
                    </a:cubicBezTo>
                    <a:cubicBezTo>
                      <a:pt x="39" y="62"/>
                      <a:pt x="39" y="62"/>
                      <a:pt x="39" y="62"/>
                    </a:cubicBezTo>
                    <a:cubicBezTo>
                      <a:pt x="40" y="63"/>
                      <a:pt x="40" y="63"/>
                      <a:pt x="40" y="63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39" y="63"/>
                      <a:pt x="39" y="63"/>
                      <a:pt x="39" y="63"/>
                    </a:cubicBezTo>
                    <a:cubicBezTo>
                      <a:pt x="38" y="63"/>
                      <a:pt x="38" y="63"/>
                      <a:pt x="38" y="63"/>
                    </a:cubicBezTo>
                    <a:cubicBezTo>
                      <a:pt x="38" y="63"/>
                      <a:pt x="38" y="62"/>
                      <a:pt x="38" y="61"/>
                    </a:cubicBezTo>
                    <a:cubicBezTo>
                      <a:pt x="37" y="61"/>
                      <a:pt x="37" y="61"/>
                      <a:pt x="37" y="61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7" y="64"/>
                      <a:pt x="38" y="65"/>
                      <a:pt x="39" y="65"/>
                    </a:cubicBezTo>
                    <a:cubicBezTo>
                      <a:pt x="39" y="67"/>
                      <a:pt x="39" y="67"/>
                      <a:pt x="39" y="67"/>
                    </a:cubicBezTo>
                    <a:cubicBezTo>
                      <a:pt x="38" y="67"/>
                      <a:pt x="38" y="67"/>
                      <a:pt x="37" y="67"/>
                    </a:cubicBezTo>
                    <a:cubicBezTo>
                      <a:pt x="37" y="67"/>
                      <a:pt x="37" y="67"/>
                      <a:pt x="37" y="68"/>
                    </a:cubicBezTo>
                    <a:cubicBezTo>
                      <a:pt x="39" y="68"/>
                      <a:pt x="40" y="68"/>
                      <a:pt x="41" y="68"/>
                    </a:cubicBezTo>
                    <a:cubicBezTo>
                      <a:pt x="41" y="67"/>
                      <a:pt x="41" y="67"/>
                      <a:pt x="41" y="67"/>
                    </a:cubicBezTo>
                    <a:cubicBezTo>
                      <a:pt x="41" y="67"/>
                      <a:pt x="40" y="67"/>
                      <a:pt x="39" y="67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40" y="65"/>
                      <a:pt x="41" y="64"/>
                      <a:pt x="41" y="63"/>
                    </a:cubicBezTo>
                    <a:lnTo>
                      <a:pt x="41" y="61"/>
                    </a:lnTo>
                    <a:close/>
                  </a:path>
                </a:pathLst>
              </a:custGeom>
              <a:solidFill>
                <a:srgbClr val="CA352D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  <p:sp>
          <p:nvSpPr>
            <p:cNvPr id="33" name="椭圆 32"/>
            <p:cNvSpPr/>
            <p:nvPr/>
          </p:nvSpPr>
          <p:spPr>
            <a:xfrm>
              <a:off x="6399748" y="4423128"/>
              <a:ext cx="1041454" cy="1041454"/>
            </a:xfrm>
            <a:prstGeom prst="ellipse">
              <a:avLst/>
            </a:prstGeom>
            <a:noFill/>
            <a:ln w="12700" cap="flat" cmpd="sng" algn="ctr">
              <a:solidFill>
                <a:srgbClr val="CA352D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34" name="椭圆 33"/>
            <p:cNvSpPr/>
            <p:nvPr/>
          </p:nvSpPr>
          <p:spPr>
            <a:xfrm>
              <a:off x="5688532" y="4173636"/>
              <a:ext cx="788024" cy="788024"/>
            </a:xfrm>
            <a:prstGeom prst="ellipse">
              <a:avLst/>
            </a:prstGeom>
            <a:noFill/>
            <a:ln w="12700" cap="flat" cmpd="sng" algn="ctr">
              <a:solidFill>
                <a:srgbClr val="CA352D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35" name="椭圆 34"/>
            <p:cNvSpPr/>
            <p:nvPr/>
          </p:nvSpPr>
          <p:spPr>
            <a:xfrm>
              <a:off x="6165309" y="3493666"/>
              <a:ext cx="852410" cy="852408"/>
            </a:xfrm>
            <a:prstGeom prst="ellipse">
              <a:avLst/>
            </a:prstGeom>
            <a:noFill/>
            <a:ln w="12700" cap="flat" cmpd="sng" algn="ctr">
              <a:solidFill>
                <a:srgbClr val="CA352D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36" name="环形箭头 35"/>
            <p:cNvSpPr/>
            <p:nvPr/>
          </p:nvSpPr>
          <p:spPr>
            <a:xfrm>
              <a:off x="6317742" y="4237779"/>
              <a:ext cx="1377740" cy="1377740"/>
            </a:xfrm>
            <a:prstGeom prst="circularArrow">
              <a:avLst>
                <a:gd name="adj1" fmla="val 4688"/>
                <a:gd name="adj2" fmla="val 299029"/>
                <a:gd name="adj3" fmla="val 2539295"/>
                <a:gd name="adj4" fmla="val 15812321"/>
                <a:gd name="adj5" fmla="val 5469"/>
              </a:avLst>
            </a:prstGeom>
            <a:solidFill>
              <a:srgbClr val="CA352D">
                <a:tint val="60000"/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/>
          </p:spPr>
        </p:sp>
        <p:sp>
          <p:nvSpPr>
            <p:cNvPr id="37" name="形状 36"/>
            <p:cNvSpPr/>
            <p:nvPr/>
          </p:nvSpPr>
          <p:spPr>
            <a:xfrm>
              <a:off x="5455958" y="3897950"/>
              <a:ext cx="1183354" cy="1183354"/>
            </a:xfrm>
            <a:prstGeom prst="leftCircularArrow">
              <a:avLst>
                <a:gd name="adj1" fmla="val 6452"/>
                <a:gd name="adj2" fmla="val 429999"/>
                <a:gd name="adj3" fmla="val 10489124"/>
                <a:gd name="adj4" fmla="val 14837806"/>
                <a:gd name="adj5" fmla="val 7527"/>
              </a:avLst>
            </a:prstGeom>
            <a:solidFill>
              <a:srgbClr val="CA352D">
                <a:tint val="60000"/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/>
          </p:spPr>
        </p:sp>
        <p:sp>
          <p:nvSpPr>
            <p:cNvPr id="38" name="环形箭头 37"/>
            <p:cNvSpPr/>
            <p:nvPr/>
          </p:nvSpPr>
          <p:spPr>
            <a:xfrm>
              <a:off x="5928433" y="3265674"/>
              <a:ext cx="1275893" cy="1275893"/>
            </a:xfrm>
            <a:prstGeom prst="circularArrow">
              <a:avLst>
                <a:gd name="adj1" fmla="val 5984"/>
                <a:gd name="adj2" fmla="val 394124"/>
                <a:gd name="adj3" fmla="val 13313824"/>
                <a:gd name="adj4" fmla="val 10508221"/>
                <a:gd name="adj5" fmla="val 6981"/>
              </a:avLst>
            </a:prstGeom>
            <a:solidFill>
              <a:srgbClr val="CA352D">
                <a:tint val="60000"/>
                <a:hueOff val="0"/>
                <a:satOff val="0"/>
                <a:lumOff val="0"/>
                <a:alphaOff val="0"/>
              </a:srgbClr>
            </a:solidFill>
            <a:ln>
              <a:noFill/>
            </a:ln>
            <a:effectLst/>
          </p:spPr>
        </p:sp>
      </p:grpSp>
      <p:sp>
        <p:nvSpPr>
          <p:cNvPr id="43" name="环形箭头 42"/>
          <p:cNvSpPr/>
          <p:nvPr/>
        </p:nvSpPr>
        <p:spPr>
          <a:xfrm flipV="1">
            <a:off x="2818207" y="2895105"/>
            <a:ext cx="2771679" cy="2232282"/>
          </a:xfrm>
          <a:prstGeom prst="circularArrow">
            <a:avLst>
              <a:gd name="adj1" fmla="val 1824"/>
              <a:gd name="adj2" fmla="val 354940"/>
              <a:gd name="adj3" fmla="val 20938283"/>
              <a:gd name="adj4" fmla="val 16930417"/>
              <a:gd name="adj5" fmla="val 6587"/>
            </a:avLst>
          </a:prstGeom>
          <a:solidFill>
            <a:srgbClr val="CA352D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4" name="环形箭头 43"/>
          <p:cNvSpPr/>
          <p:nvPr/>
        </p:nvSpPr>
        <p:spPr>
          <a:xfrm rot="5400000" flipH="1">
            <a:off x="3333058" y="2127669"/>
            <a:ext cx="2077798" cy="2460907"/>
          </a:xfrm>
          <a:prstGeom prst="circularArrow">
            <a:avLst>
              <a:gd name="adj1" fmla="val 1905"/>
              <a:gd name="adj2" fmla="val 355299"/>
              <a:gd name="adj3" fmla="val 21128908"/>
              <a:gd name="adj4" fmla="val 16939688"/>
              <a:gd name="adj5" fmla="val 6374"/>
            </a:avLst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5" name="Freeform 199"/>
          <p:cNvSpPr>
            <a:spLocks noEditPoints="1"/>
          </p:cNvSpPr>
          <p:nvPr/>
        </p:nvSpPr>
        <p:spPr bwMode="auto">
          <a:xfrm>
            <a:off x="3696044" y="2192725"/>
            <a:ext cx="362053" cy="279513"/>
          </a:xfrm>
          <a:custGeom>
            <a:avLst/>
            <a:gdLst>
              <a:gd name="T0" fmla="*/ 19 w 82"/>
              <a:gd name="T1" fmla="*/ 17 h 63"/>
              <a:gd name="T2" fmla="*/ 11 w 82"/>
              <a:gd name="T3" fmla="*/ 57 h 63"/>
              <a:gd name="T4" fmla="*/ 51 w 82"/>
              <a:gd name="T5" fmla="*/ 29 h 63"/>
              <a:gd name="T6" fmla="*/ 52 w 82"/>
              <a:gd name="T7" fmla="*/ 28 h 63"/>
              <a:gd name="T8" fmla="*/ 68 w 82"/>
              <a:gd name="T9" fmla="*/ 28 h 63"/>
              <a:gd name="T10" fmla="*/ 68 w 82"/>
              <a:gd name="T11" fmla="*/ 57 h 63"/>
              <a:gd name="T12" fmla="*/ 70 w 82"/>
              <a:gd name="T13" fmla="*/ 26 h 63"/>
              <a:gd name="T14" fmla="*/ 64 w 82"/>
              <a:gd name="T15" fmla="*/ 12 h 63"/>
              <a:gd name="T16" fmla="*/ 82 w 82"/>
              <a:gd name="T17" fmla="*/ 17 h 63"/>
              <a:gd name="T18" fmla="*/ 75 w 82"/>
              <a:gd name="T19" fmla="*/ 60 h 63"/>
              <a:gd name="T20" fmla="*/ 73 w 82"/>
              <a:gd name="T21" fmla="*/ 63 h 63"/>
              <a:gd name="T22" fmla="*/ 5 w 82"/>
              <a:gd name="T23" fmla="*/ 63 h 63"/>
              <a:gd name="T24" fmla="*/ 5 w 82"/>
              <a:gd name="T25" fmla="*/ 25 h 63"/>
              <a:gd name="T26" fmla="*/ 0 w 82"/>
              <a:gd name="T27" fmla="*/ 12 h 63"/>
              <a:gd name="T28" fmla="*/ 65 w 82"/>
              <a:gd name="T29" fmla="*/ 43 h 63"/>
              <a:gd name="T30" fmla="*/ 54 w 82"/>
              <a:gd name="T31" fmla="*/ 31 h 63"/>
              <a:gd name="T32" fmla="*/ 65 w 82"/>
              <a:gd name="T33" fmla="*/ 43 h 63"/>
              <a:gd name="T34" fmla="*/ 18 w 82"/>
              <a:gd name="T35" fmla="*/ 50 h 63"/>
              <a:gd name="T36" fmla="*/ 22 w 82"/>
              <a:gd name="T37" fmla="*/ 47 h 63"/>
              <a:gd name="T38" fmla="*/ 18 w 82"/>
              <a:gd name="T39" fmla="*/ 34 h 63"/>
              <a:gd name="T40" fmla="*/ 14 w 82"/>
              <a:gd name="T41" fmla="*/ 47 h 63"/>
              <a:gd name="T42" fmla="*/ 18 w 82"/>
              <a:gd name="T43" fmla="*/ 37 h 63"/>
              <a:gd name="T44" fmla="*/ 17 w 82"/>
              <a:gd name="T45" fmla="*/ 37 h 63"/>
              <a:gd name="T46" fmla="*/ 18 w 82"/>
              <a:gd name="T47" fmla="*/ 48 h 63"/>
              <a:gd name="T48" fmla="*/ 26 w 82"/>
              <a:gd name="T49" fmla="*/ 44 h 63"/>
              <a:gd name="T50" fmla="*/ 30 w 82"/>
              <a:gd name="T51" fmla="*/ 41 h 63"/>
              <a:gd name="T52" fmla="*/ 29 w 82"/>
              <a:gd name="T53" fmla="*/ 35 h 63"/>
              <a:gd name="T54" fmla="*/ 22 w 82"/>
              <a:gd name="T55" fmla="*/ 34 h 63"/>
              <a:gd name="T56" fmla="*/ 26 w 82"/>
              <a:gd name="T57" fmla="*/ 50 h 63"/>
              <a:gd name="T58" fmla="*/ 27 w 82"/>
              <a:gd name="T59" fmla="*/ 41 h 63"/>
              <a:gd name="T60" fmla="*/ 26 w 82"/>
              <a:gd name="T61" fmla="*/ 36 h 63"/>
              <a:gd name="T62" fmla="*/ 27 w 82"/>
              <a:gd name="T63" fmla="*/ 41 h 63"/>
              <a:gd name="T64" fmla="*/ 38 w 82"/>
              <a:gd name="T65" fmla="*/ 48 h 63"/>
              <a:gd name="T66" fmla="*/ 35 w 82"/>
              <a:gd name="T67" fmla="*/ 42 h 63"/>
              <a:gd name="T68" fmla="*/ 38 w 82"/>
              <a:gd name="T69" fmla="*/ 40 h 63"/>
              <a:gd name="T70" fmla="*/ 35 w 82"/>
              <a:gd name="T71" fmla="*/ 36 h 63"/>
              <a:gd name="T72" fmla="*/ 38 w 82"/>
              <a:gd name="T73" fmla="*/ 34 h 63"/>
              <a:gd name="T74" fmla="*/ 31 w 82"/>
              <a:gd name="T75" fmla="*/ 50 h 63"/>
              <a:gd name="T76" fmla="*/ 48 w 82"/>
              <a:gd name="T77" fmla="*/ 50 h 63"/>
              <a:gd name="T78" fmla="*/ 45 w 82"/>
              <a:gd name="T79" fmla="*/ 34 h 63"/>
              <a:gd name="T80" fmla="*/ 43 w 82"/>
              <a:gd name="T81" fmla="*/ 34 h 63"/>
              <a:gd name="T82" fmla="*/ 39 w 82"/>
              <a:gd name="T83" fmla="*/ 50 h 63"/>
              <a:gd name="T84" fmla="*/ 42 w 82"/>
              <a:gd name="T85" fmla="*/ 42 h 63"/>
              <a:gd name="T86" fmla="*/ 48 w 82"/>
              <a:gd name="T87" fmla="*/ 50 h 63"/>
              <a:gd name="T88" fmla="*/ 82 w 82"/>
              <a:gd name="T89" fmla="*/ 9 h 63"/>
              <a:gd name="T90" fmla="*/ 7 w 82"/>
              <a:gd name="T91" fmla="*/ 0 h 63"/>
              <a:gd name="T92" fmla="*/ 61 w 82"/>
              <a:gd name="T93" fmla="*/ 12 h 63"/>
              <a:gd name="T94" fmla="*/ 42 w 82"/>
              <a:gd name="T95" fmla="*/ 17 h 63"/>
              <a:gd name="T96" fmla="*/ 52 w 82"/>
              <a:gd name="T97" fmla="*/ 26 h 63"/>
              <a:gd name="T98" fmla="*/ 61 w 82"/>
              <a:gd name="T99" fmla="*/ 12 h 63"/>
              <a:gd name="T100" fmla="*/ 21 w 82"/>
              <a:gd name="T101" fmla="*/ 12 h 63"/>
              <a:gd name="T102" fmla="*/ 31 w 82"/>
              <a:gd name="T103" fmla="*/ 26 h 63"/>
              <a:gd name="T104" fmla="*/ 40 w 82"/>
              <a:gd name="T105" fmla="*/ 17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2" h="63">
                <a:moveTo>
                  <a:pt x="19" y="12"/>
                </a:moveTo>
                <a:cubicBezTo>
                  <a:pt x="19" y="17"/>
                  <a:pt x="19" y="17"/>
                  <a:pt x="19" y="17"/>
                </a:cubicBezTo>
                <a:cubicBezTo>
                  <a:pt x="19" y="22"/>
                  <a:pt x="15" y="26"/>
                  <a:pt x="11" y="26"/>
                </a:cubicBezTo>
                <a:cubicBezTo>
                  <a:pt x="11" y="57"/>
                  <a:pt x="11" y="57"/>
                  <a:pt x="11" y="57"/>
                </a:cubicBezTo>
                <a:cubicBezTo>
                  <a:pt x="51" y="57"/>
                  <a:pt x="51" y="57"/>
                  <a:pt x="51" y="57"/>
                </a:cubicBezTo>
                <a:cubicBezTo>
                  <a:pt x="51" y="29"/>
                  <a:pt x="51" y="29"/>
                  <a:pt x="51" y="29"/>
                </a:cubicBezTo>
                <a:cubicBezTo>
                  <a:pt x="51" y="28"/>
                  <a:pt x="51" y="28"/>
                  <a:pt x="51" y="28"/>
                </a:cubicBezTo>
                <a:cubicBezTo>
                  <a:pt x="52" y="28"/>
                  <a:pt x="52" y="28"/>
                  <a:pt x="52" y="28"/>
                </a:cubicBezTo>
                <a:cubicBezTo>
                  <a:pt x="66" y="28"/>
                  <a:pt x="66" y="28"/>
                  <a:pt x="66" y="28"/>
                </a:cubicBezTo>
                <a:cubicBezTo>
                  <a:pt x="68" y="28"/>
                  <a:pt x="68" y="28"/>
                  <a:pt x="68" y="28"/>
                </a:cubicBezTo>
                <a:cubicBezTo>
                  <a:pt x="68" y="29"/>
                  <a:pt x="68" y="29"/>
                  <a:pt x="68" y="29"/>
                </a:cubicBezTo>
                <a:cubicBezTo>
                  <a:pt x="68" y="57"/>
                  <a:pt x="68" y="57"/>
                  <a:pt x="68" y="57"/>
                </a:cubicBezTo>
                <a:cubicBezTo>
                  <a:pt x="70" y="57"/>
                  <a:pt x="70" y="57"/>
                  <a:pt x="70" y="57"/>
                </a:cubicBezTo>
                <a:cubicBezTo>
                  <a:pt x="70" y="26"/>
                  <a:pt x="70" y="26"/>
                  <a:pt x="70" y="26"/>
                </a:cubicBezTo>
                <a:cubicBezTo>
                  <a:pt x="66" y="25"/>
                  <a:pt x="64" y="21"/>
                  <a:pt x="64" y="17"/>
                </a:cubicBezTo>
                <a:cubicBezTo>
                  <a:pt x="64" y="12"/>
                  <a:pt x="64" y="12"/>
                  <a:pt x="64" y="12"/>
                </a:cubicBezTo>
                <a:cubicBezTo>
                  <a:pt x="82" y="12"/>
                  <a:pt x="82" y="12"/>
                  <a:pt x="82" y="12"/>
                </a:cubicBezTo>
                <a:cubicBezTo>
                  <a:pt x="82" y="17"/>
                  <a:pt x="82" y="17"/>
                  <a:pt x="82" y="17"/>
                </a:cubicBezTo>
                <a:cubicBezTo>
                  <a:pt x="82" y="21"/>
                  <a:pt x="79" y="25"/>
                  <a:pt x="75" y="26"/>
                </a:cubicBezTo>
                <a:cubicBezTo>
                  <a:pt x="75" y="60"/>
                  <a:pt x="75" y="60"/>
                  <a:pt x="75" y="60"/>
                </a:cubicBezTo>
                <a:cubicBezTo>
                  <a:pt x="75" y="63"/>
                  <a:pt x="75" y="63"/>
                  <a:pt x="75" y="63"/>
                </a:cubicBezTo>
                <a:cubicBezTo>
                  <a:pt x="73" y="63"/>
                  <a:pt x="73" y="63"/>
                  <a:pt x="73" y="63"/>
                </a:cubicBezTo>
                <a:cubicBezTo>
                  <a:pt x="8" y="63"/>
                  <a:pt x="8" y="63"/>
                  <a:pt x="8" y="63"/>
                </a:cubicBezTo>
                <a:cubicBezTo>
                  <a:pt x="5" y="63"/>
                  <a:pt x="5" y="63"/>
                  <a:pt x="5" y="63"/>
                </a:cubicBezTo>
                <a:cubicBezTo>
                  <a:pt x="5" y="60"/>
                  <a:pt x="5" y="60"/>
                  <a:pt x="5" y="60"/>
                </a:cubicBezTo>
                <a:cubicBezTo>
                  <a:pt x="5" y="25"/>
                  <a:pt x="5" y="25"/>
                  <a:pt x="5" y="25"/>
                </a:cubicBezTo>
                <a:cubicBezTo>
                  <a:pt x="2" y="24"/>
                  <a:pt x="0" y="21"/>
                  <a:pt x="0" y="17"/>
                </a:cubicBezTo>
                <a:cubicBezTo>
                  <a:pt x="0" y="12"/>
                  <a:pt x="0" y="12"/>
                  <a:pt x="0" y="12"/>
                </a:cubicBezTo>
                <a:cubicBezTo>
                  <a:pt x="19" y="12"/>
                  <a:pt x="19" y="12"/>
                  <a:pt x="19" y="12"/>
                </a:cubicBezTo>
                <a:close/>
                <a:moveTo>
                  <a:pt x="65" y="43"/>
                </a:moveTo>
                <a:cubicBezTo>
                  <a:pt x="65" y="31"/>
                  <a:pt x="65" y="31"/>
                  <a:pt x="65" y="31"/>
                </a:cubicBezTo>
                <a:cubicBezTo>
                  <a:pt x="54" y="31"/>
                  <a:pt x="54" y="31"/>
                  <a:pt x="54" y="31"/>
                </a:cubicBezTo>
                <a:cubicBezTo>
                  <a:pt x="54" y="43"/>
                  <a:pt x="54" y="43"/>
                  <a:pt x="54" y="43"/>
                </a:cubicBezTo>
                <a:cubicBezTo>
                  <a:pt x="65" y="43"/>
                  <a:pt x="65" y="43"/>
                  <a:pt x="65" y="43"/>
                </a:cubicBezTo>
                <a:close/>
                <a:moveTo>
                  <a:pt x="14" y="47"/>
                </a:moveTo>
                <a:cubicBezTo>
                  <a:pt x="14" y="49"/>
                  <a:pt x="15" y="50"/>
                  <a:pt x="18" y="50"/>
                </a:cubicBezTo>
                <a:cubicBezTo>
                  <a:pt x="19" y="50"/>
                  <a:pt x="20" y="50"/>
                  <a:pt x="20" y="50"/>
                </a:cubicBezTo>
                <a:cubicBezTo>
                  <a:pt x="21" y="49"/>
                  <a:pt x="22" y="48"/>
                  <a:pt x="22" y="47"/>
                </a:cubicBezTo>
                <a:cubicBezTo>
                  <a:pt x="22" y="37"/>
                  <a:pt x="22" y="37"/>
                  <a:pt x="22" y="37"/>
                </a:cubicBezTo>
                <a:cubicBezTo>
                  <a:pt x="22" y="35"/>
                  <a:pt x="20" y="34"/>
                  <a:pt x="18" y="34"/>
                </a:cubicBezTo>
                <a:cubicBezTo>
                  <a:pt x="15" y="34"/>
                  <a:pt x="14" y="35"/>
                  <a:pt x="14" y="37"/>
                </a:cubicBezTo>
                <a:cubicBezTo>
                  <a:pt x="14" y="47"/>
                  <a:pt x="14" y="47"/>
                  <a:pt x="14" y="47"/>
                </a:cubicBezTo>
                <a:close/>
                <a:moveTo>
                  <a:pt x="18" y="48"/>
                </a:moveTo>
                <a:cubicBezTo>
                  <a:pt x="18" y="37"/>
                  <a:pt x="18" y="37"/>
                  <a:pt x="18" y="37"/>
                </a:cubicBezTo>
                <a:cubicBezTo>
                  <a:pt x="18" y="36"/>
                  <a:pt x="18" y="36"/>
                  <a:pt x="18" y="36"/>
                </a:cubicBezTo>
                <a:cubicBezTo>
                  <a:pt x="17" y="36"/>
                  <a:pt x="17" y="36"/>
                  <a:pt x="17" y="37"/>
                </a:cubicBezTo>
                <a:cubicBezTo>
                  <a:pt x="17" y="48"/>
                  <a:pt x="17" y="48"/>
                  <a:pt x="17" y="48"/>
                </a:cubicBezTo>
                <a:cubicBezTo>
                  <a:pt x="17" y="48"/>
                  <a:pt x="17" y="48"/>
                  <a:pt x="18" y="48"/>
                </a:cubicBezTo>
                <a:cubicBezTo>
                  <a:pt x="18" y="48"/>
                  <a:pt x="18" y="48"/>
                  <a:pt x="18" y="48"/>
                </a:cubicBezTo>
                <a:close/>
                <a:moveTo>
                  <a:pt x="26" y="44"/>
                </a:moveTo>
                <a:cubicBezTo>
                  <a:pt x="28" y="44"/>
                  <a:pt x="29" y="44"/>
                  <a:pt x="30" y="44"/>
                </a:cubicBezTo>
                <a:cubicBezTo>
                  <a:pt x="30" y="43"/>
                  <a:pt x="30" y="42"/>
                  <a:pt x="30" y="41"/>
                </a:cubicBezTo>
                <a:cubicBezTo>
                  <a:pt x="30" y="37"/>
                  <a:pt x="30" y="37"/>
                  <a:pt x="30" y="37"/>
                </a:cubicBezTo>
                <a:cubicBezTo>
                  <a:pt x="30" y="36"/>
                  <a:pt x="30" y="35"/>
                  <a:pt x="29" y="35"/>
                </a:cubicBezTo>
                <a:cubicBezTo>
                  <a:pt x="29" y="34"/>
                  <a:pt x="28" y="34"/>
                  <a:pt x="26" y="34"/>
                </a:cubicBezTo>
                <a:cubicBezTo>
                  <a:pt x="22" y="34"/>
                  <a:pt x="22" y="34"/>
                  <a:pt x="22" y="34"/>
                </a:cubicBezTo>
                <a:cubicBezTo>
                  <a:pt x="22" y="50"/>
                  <a:pt x="22" y="50"/>
                  <a:pt x="22" y="50"/>
                </a:cubicBezTo>
                <a:cubicBezTo>
                  <a:pt x="26" y="50"/>
                  <a:pt x="26" y="50"/>
                  <a:pt x="26" y="50"/>
                </a:cubicBezTo>
                <a:cubicBezTo>
                  <a:pt x="26" y="44"/>
                  <a:pt x="26" y="44"/>
                  <a:pt x="26" y="44"/>
                </a:cubicBezTo>
                <a:close/>
                <a:moveTo>
                  <a:pt x="27" y="41"/>
                </a:moveTo>
                <a:cubicBezTo>
                  <a:pt x="27" y="37"/>
                  <a:pt x="27" y="37"/>
                  <a:pt x="27" y="37"/>
                </a:cubicBezTo>
                <a:cubicBezTo>
                  <a:pt x="27" y="37"/>
                  <a:pt x="27" y="36"/>
                  <a:pt x="26" y="36"/>
                </a:cubicBezTo>
                <a:cubicBezTo>
                  <a:pt x="26" y="42"/>
                  <a:pt x="26" y="42"/>
                  <a:pt x="26" y="42"/>
                </a:cubicBezTo>
                <a:cubicBezTo>
                  <a:pt x="27" y="42"/>
                  <a:pt x="27" y="42"/>
                  <a:pt x="27" y="41"/>
                </a:cubicBezTo>
                <a:close/>
                <a:moveTo>
                  <a:pt x="38" y="50"/>
                </a:moveTo>
                <a:cubicBezTo>
                  <a:pt x="38" y="48"/>
                  <a:pt x="38" y="48"/>
                  <a:pt x="38" y="48"/>
                </a:cubicBezTo>
                <a:cubicBezTo>
                  <a:pt x="35" y="48"/>
                  <a:pt x="35" y="48"/>
                  <a:pt x="35" y="48"/>
                </a:cubicBezTo>
                <a:cubicBezTo>
                  <a:pt x="35" y="42"/>
                  <a:pt x="35" y="42"/>
                  <a:pt x="35" y="42"/>
                </a:cubicBezTo>
                <a:cubicBezTo>
                  <a:pt x="38" y="42"/>
                  <a:pt x="38" y="42"/>
                  <a:pt x="38" y="42"/>
                </a:cubicBezTo>
                <a:cubicBezTo>
                  <a:pt x="38" y="40"/>
                  <a:pt x="38" y="40"/>
                  <a:pt x="38" y="40"/>
                </a:cubicBezTo>
                <a:cubicBezTo>
                  <a:pt x="35" y="40"/>
                  <a:pt x="35" y="40"/>
                  <a:pt x="35" y="40"/>
                </a:cubicBezTo>
                <a:cubicBezTo>
                  <a:pt x="35" y="36"/>
                  <a:pt x="35" y="36"/>
                  <a:pt x="35" y="36"/>
                </a:cubicBezTo>
                <a:cubicBezTo>
                  <a:pt x="38" y="36"/>
                  <a:pt x="38" y="36"/>
                  <a:pt x="38" y="36"/>
                </a:cubicBezTo>
                <a:cubicBezTo>
                  <a:pt x="38" y="34"/>
                  <a:pt x="38" y="34"/>
                  <a:pt x="38" y="34"/>
                </a:cubicBezTo>
                <a:cubicBezTo>
                  <a:pt x="31" y="34"/>
                  <a:pt x="31" y="34"/>
                  <a:pt x="31" y="34"/>
                </a:cubicBezTo>
                <a:cubicBezTo>
                  <a:pt x="31" y="50"/>
                  <a:pt x="31" y="50"/>
                  <a:pt x="31" y="50"/>
                </a:cubicBezTo>
                <a:cubicBezTo>
                  <a:pt x="38" y="50"/>
                  <a:pt x="38" y="50"/>
                  <a:pt x="38" y="50"/>
                </a:cubicBezTo>
                <a:close/>
                <a:moveTo>
                  <a:pt x="48" y="50"/>
                </a:moveTo>
                <a:cubicBezTo>
                  <a:pt x="48" y="34"/>
                  <a:pt x="48" y="34"/>
                  <a:pt x="48" y="34"/>
                </a:cubicBezTo>
                <a:cubicBezTo>
                  <a:pt x="45" y="34"/>
                  <a:pt x="45" y="34"/>
                  <a:pt x="45" y="34"/>
                </a:cubicBezTo>
                <a:cubicBezTo>
                  <a:pt x="45" y="41"/>
                  <a:pt x="45" y="41"/>
                  <a:pt x="45" y="41"/>
                </a:cubicBezTo>
                <a:cubicBezTo>
                  <a:pt x="43" y="34"/>
                  <a:pt x="43" y="34"/>
                  <a:pt x="43" y="34"/>
                </a:cubicBezTo>
                <a:cubicBezTo>
                  <a:pt x="39" y="34"/>
                  <a:pt x="39" y="34"/>
                  <a:pt x="39" y="34"/>
                </a:cubicBezTo>
                <a:cubicBezTo>
                  <a:pt x="39" y="50"/>
                  <a:pt x="39" y="50"/>
                  <a:pt x="39" y="50"/>
                </a:cubicBezTo>
                <a:cubicBezTo>
                  <a:pt x="42" y="50"/>
                  <a:pt x="42" y="50"/>
                  <a:pt x="42" y="50"/>
                </a:cubicBezTo>
                <a:cubicBezTo>
                  <a:pt x="42" y="42"/>
                  <a:pt x="42" y="42"/>
                  <a:pt x="42" y="42"/>
                </a:cubicBezTo>
                <a:cubicBezTo>
                  <a:pt x="44" y="50"/>
                  <a:pt x="44" y="50"/>
                  <a:pt x="44" y="50"/>
                </a:cubicBezTo>
                <a:cubicBezTo>
                  <a:pt x="48" y="50"/>
                  <a:pt x="48" y="50"/>
                  <a:pt x="48" y="50"/>
                </a:cubicBezTo>
                <a:close/>
                <a:moveTo>
                  <a:pt x="0" y="9"/>
                </a:moveTo>
                <a:cubicBezTo>
                  <a:pt x="82" y="9"/>
                  <a:pt x="82" y="9"/>
                  <a:pt x="82" y="9"/>
                </a:cubicBezTo>
                <a:cubicBezTo>
                  <a:pt x="75" y="0"/>
                  <a:pt x="75" y="0"/>
                  <a:pt x="75" y="0"/>
                </a:cubicBezTo>
                <a:cubicBezTo>
                  <a:pt x="7" y="0"/>
                  <a:pt x="7" y="0"/>
                  <a:pt x="7" y="0"/>
                </a:cubicBezTo>
                <a:cubicBezTo>
                  <a:pt x="0" y="9"/>
                  <a:pt x="0" y="9"/>
                  <a:pt x="0" y="9"/>
                </a:cubicBezTo>
                <a:close/>
                <a:moveTo>
                  <a:pt x="61" y="12"/>
                </a:moveTo>
                <a:cubicBezTo>
                  <a:pt x="42" y="12"/>
                  <a:pt x="42" y="12"/>
                  <a:pt x="42" y="12"/>
                </a:cubicBezTo>
                <a:cubicBezTo>
                  <a:pt x="42" y="17"/>
                  <a:pt x="42" y="17"/>
                  <a:pt x="42" y="17"/>
                </a:cubicBezTo>
                <a:cubicBezTo>
                  <a:pt x="42" y="22"/>
                  <a:pt x="47" y="26"/>
                  <a:pt x="52" y="26"/>
                </a:cubicBezTo>
                <a:cubicBezTo>
                  <a:pt x="52" y="26"/>
                  <a:pt x="52" y="26"/>
                  <a:pt x="52" y="26"/>
                </a:cubicBezTo>
                <a:cubicBezTo>
                  <a:pt x="57" y="26"/>
                  <a:pt x="61" y="22"/>
                  <a:pt x="61" y="17"/>
                </a:cubicBezTo>
                <a:cubicBezTo>
                  <a:pt x="61" y="12"/>
                  <a:pt x="61" y="12"/>
                  <a:pt x="61" y="12"/>
                </a:cubicBezTo>
                <a:close/>
                <a:moveTo>
                  <a:pt x="40" y="12"/>
                </a:moveTo>
                <a:cubicBezTo>
                  <a:pt x="21" y="12"/>
                  <a:pt x="21" y="12"/>
                  <a:pt x="21" y="12"/>
                </a:cubicBezTo>
                <a:cubicBezTo>
                  <a:pt x="21" y="17"/>
                  <a:pt x="21" y="17"/>
                  <a:pt x="21" y="17"/>
                </a:cubicBezTo>
                <a:cubicBezTo>
                  <a:pt x="21" y="22"/>
                  <a:pt x="26" y="26"/>
                  <a:pt x="31" y="26"/>
                </a:cubicBezTo>
                <a:cubicBezTo>
                  <a:pt x="31" y="26"/>
                  <a:pt x="31" y="26"/>
                  <a:pt x="31" y="26"/>
                </a:cubicBezTo>
                <a:cubicBezTo>
                  <a:pt x="36" y="26"/>
                  <a:pt x="40" y="22"/>
                  <a:pt x="40" y="17"/>
                </a:cubicBezTo>
                <a:lnTo>
                  <a:pt x="40" y="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32">
              <a:defRPr/>
            </a:pPr>
            <a:endParaRPr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46" name="文本框 45"/>
          <p:cNvSpPr txBox="1"/>
          <p:nvPr/>
        </p:nvSpPr>
        <p:spPr>
          <a:xfrm>
            <a:off x="3553907" y="2472237"/>
            <a:ext cx="646331" cy="3139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20000"/>
              </a:lnSpc>
              <a:spcAft>
                <a:spcPts val="600"/>
              </a:spcAft>
              <a:defRPr kumimoji="1"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914332">
              <a:defRPr/>
            </a:pPr>
            <a:r>
              <a:rPr lang="zh-CN" altLang="en-US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零售店</a:t>
            </a:r>
          </a:p>
        </p:txBody>
      </p:sp>
      <p:sp>
        <p:nvSpPr>
          <p:cNvPr id="47" name="椭圆 46"/>
          <p:cNvSpPr/>
          <p:nvPr/>
        </p:nvSpPr>
        <p:spPr>
          <a:xfrm>
            <a:off x="3483449" y="2030393"/>
            <a:ext cx="787243" cy="787243"/>
          </a:xfrm>
          <a:prstGeom prst="ellipse">
            <a:avLst/>
          </a:prstGeom>
          <a:noFill/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48" name="椭圆 47"/>
          <p:cNvSpPr/>
          <p:nvPr/>
        </p:nvSpPr>
        <p:spPr>
          <a:xfrm>
            <a:off x="3492306" y="3230101"/>
            <a:ext cx="787243" cy="787243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3639706" y="3671942"/>
            <a:ext cx="492443" cy="3139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lnSpc>
                <a:spcPct val="120000"/>
              </a:lnSpc>
              <a:spcAft>
                <a:spcPts val="600"/>
              </a:spcAft>
              <a:defRPr kumimoji="1"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914332">
              <a:defRPr/>
            </a:pPr>
            <a:r>
              <a:rPr lang="zh-CN" altLang="en-US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电商</a:t>
            </a:r>
          </a:p>
        </p:txBody>
      </p:sp>
      <p:sp>
        <p:nvSpPr>
          <p:cNvPr id="50" name="Freeform 114"/>
          <p:cNvSpPr>
            <a:spLocks noEditPoints="1"/>
          </p:cNvSpPr>
          <p:nvPr/>
        </p:nvSpPr>
        <p:spPr bwMode="auto">
          <a:xfrm>
            <a:off x="3723800" y="3344625"/>
            <a:ext cx="324243" cy="313593"/>
          </a:xfrm>
          <a:custGeom>
            <a:avLst/>
            <a:gdLst>
              <a:gd name="T0" fmla="*/ 32 w 116"/>
              <a:gd name="T1" fmla="*/ 28 h 112"/>
              <a:gd name="T2" fmla="*/ 38 w 116"/>
              <a:gd name="T3" fmla="*/ 33 h 112"/>
              <a:gd name="T4" fmla="*/ 62 w 116"/>
              <a:gd name="T5" fmla="*/ 67 h 112"/>
              <a:gd name="T6" fmla="*/ 50 w 116"/>
              <a:gd name="T7" fmla="*/ 57 h 112"/>
              <a:gd name="T8" fmla="*/ 108 w 116"/>
              <a:gd name="T9" fmla="*/ 44 h 112"/>
              <a:gd name="T10" fmla="*/ 114 w 116"/>
              <a:gd name="T11" fmla="*/ 52 h 112"/>
              <a:gd name="T12" fmla="*/ 110 w 116"/>
              <a:gd name="T13" fmla="*/ 84 h 112"/>
              <a:gd name="T14" fmla="*/ 110 w 116"/>
              <a:gd name="T15" fmla="*/ 107 h 112"/>
              <a:gd name="T16" fmla="*/ 98 w 116"/>
              <a:gd name="T17" fmla="*/ 112 h 112"/>
              <a:gd name="T18" fmla="*/ 81 w 116"/>
              <a:gd name="T19" fmla="*/ 97 h 112"/>
              <a:gd name="T20" fmla="*/ 57 w 116"/>
              <a:gd name="T21" fmla="*/ 107 h 112"/>
              <a:gd name="T22" fmla="*/ 45 w 116"/>
              <a:gd name="T23" fmla="*/ 112 h 112"/>
              <a:gd name="T24" fmla="*/ 28 w 116"/>
              <a:gd name="T25" fmla="*/ 96 h 112"/>
              <a:gd name="T26" fmla="*/ 33 w 116"/>
              <a:gd name="T27" fmla="*/ 84 h 112"/>
              <a:gd name="T28" fmla="*/ 38 w 116"/>
              <a:gd name="T29" fmla="*/ 80 h 112"/>
              <a:gd name="T30" fmla="*/ 0 w 116"/>
              <a:gd name="T31" fmla="*/ 41 h 112"/>
              <a:gd name="T32" fmla="*/ 64 w 116"/>
              <a:gd name="T33" fmla="*/ 0 h 112"/>
              <a:gd name="T34" fmla="*/ 55 w 116"/>
              <a:gd name="T35" fmla="*/ 19 h 112"/>
              <a:gd name="T36" fmla="*/ 94 w 116"/>
              <a:gd name="T37" fmla="*/ 19 h 112"/>
              <a:gd name="T38" fmla="*/ 84 w 116"/>
              <a:gd name="T39" fmla="*/ 0 h 112"/>
              <a:gd name="T40" fmla="*/ 49 w 116"/>
              <a:gd name="T41" fmla="*/ 74 h 112"/>
              <a:gd name="T42" fmla="*/ 57 w 116"/>
              <a:gd name="T43" fmla="*/ 84 h 112"/>
              <a:gd name="T44" fmla="*/ 62 w 116"/>
              <a:gd name="T45" fmla="*/ 85 h 112"/>
              <a:gd name="T46" fmla="*/ 49 w 116"/>
              <a:gd name="T47" fmla="*/ 74 h 112"/>
              <a:gd name="T48" fmla="*/ 88 w 116"/>
              <a:gd name="T49" fmla="*/ 74 h 112"/>
              <a:gd name="T50" fmla="*/ 93 w 116"/>
              <a:gd name="T51" fmla="*/ 80 h 112"/>
              <a:gd name="T52" fmla="*/ 81 w 116"/>
              <a:gd name="T53" fmla="*/ 74 h 112"/>
              <a:gd name="T54" fmla="*/ 69 w 116"/>
              <a:gd name="T55" fmla="*/ 85 h 112"/>
              <a:gd name="T56" fmla="*/ 81 w 116"/>
              <a:gd name="T57" fmla="*/ 74 h 112"/>
              <a:gd name="T58" fmla="*/ 81 w 116"/>
              <a:gd name="T59" fmla="*/ 67 h 112"/>
              <a:gd name="T60" fmla="*/ 69 w 116"/>
              <a:gd name="T61" fmla="*/ 57 h 112"/>
              <a:gd name="T62" fmla="*/ 88 w 116"/>
              <a:gd name="T63" fmla="*/ 67 h 112"/>
              <a:gd name="T64" fmla="*/ 99 w 116"/>
              <a:gd name="T65" fmla="*/ 57 h 112"/>
              <a:gd name="T66" fmla="*/ 88 w 116"/>
              <a:gd name="T67" fmla="*/ 67 h 112"/>
              <a:gd name="T68" fmla="*/ 98 w 116"/>
              <a:gd name="T69" fmla="*/ 88 h 112"/>
              <a:gd name="T70" fmla="*/ 93 w 116"/>
              <a:gd name="T71" fmla="*/ 90 h 112"/>
              <a:gd name="T72" fmla="*/ 93 w 116"/>
              <a:gd name="T73" fmla="*/ 101 h 112"/>
              <a:gd name="T74" fmla="*/ 103 w 116"/>
              <a:gd name="T75" fmla="*/ 101 h 112"/>
              <a:gd name="T76" fmla="*/ 103 w 116"/>
              <a:gd name="T77" fmla="*/ 90 h 112"/>
              <a:gd name="T78" fmla="*/ 45 w 116"/>
              <a:gd name="T79" fmla="*/ 88 h 112"/>
              <a:gd name="T80" fmla="*/ 40 w 116"/>
              <a:gd name="T81" fmla="*/ 90 h 112"/>
              <a:gd name="T82" fmla="*/ 40 w 116"/>
              <a:gd name="T83" fmla="*/ 101 h 112"/>
              <a:gd name="T84" fmla="*/ 50 w 116"/>
              <a:gd name="T85" fmla="*/ 101 h 112"/>
              <a:gd name="T86" fmla="*/ 50 w 116"/>
              <a:gd name="T87" fmla="*/ 90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6" h="112">
                <a:moveTo>
                  <a:pt x="0" y="28"/>
                </a:moveTo>
                <a:cubicBezTo>
                  <a:pt x="32" y="28"/>
                  <a:pt x="32" y="28"/>
                  <a:pt x="32" y="28"/>
                </a:cubicBezTo>
                <a:cubicBezTo>
                  <a:pt x="37" y="28"/>
                  <a:pt x="37" y="28"/>
                  <a:pt x="37" y="28"/>
                </a:cubicBezTo>
                <a:cubicBezTo>
                  <a:pt x="38" y="33"/>
                  <a:pt x="38" y="33"/>
                  <a:pt x="38" y="33"/>
                </a:cubicBezTo>
                <a:cubicBezTo>
                  <a:pt x="47" y="67"/>
                  <a:pt x="47" y="67"/>
                  <a:pt x="47" y="67"/>
                </a:cubicBezTo>
                <a:cubicBezTo>
                  <a:pt x="62" y="67"/>
                  <a:pt x="62" y="67"/>
                  <a:pt x="62" y="67"/>
                </a:cubicBezTo>
                <a:cubicBezTo>
                  <a:pt x="62" y="57"/>
                  <a:pt x="62" y="57"/>
                  <a:pt x="62" y="57"/>
                </a:cubicBezTo>
                <a:cubicBezTo>
                  <a:pt x="50" y="57"/>
                  <a:pt x="50" y="57"/>
                  <a:pt x="50" y="57"/>
                </a:cubicBezTo>
                <a:cubicBezTo>
                  <a:pt x="47" y="44"/>
                  <a:pt x="47" y="44"/>
                  <a:pt x="47" y="44"/>
                </a:cubicBezTo>
                <a:cubicBezTo>
                  <a:pt x="108" y="44"/>
                  <a:pt x="108" y="44"/>
                  <a:pt x="108" y="44"/>
                </a:cubicBezTo>
                <a:cubicBezTo>
                  <a:pt x="116" y="44"/>
                  <a:pt x="116" y="44"/>
                  <a:pt x="116" y="44"/>
                </a:cubicBezTo>
                <a:cubicBezTo>
                  <a:pt x="114" y="52"/>
                  <a:pt x="114" y="52"/>
                  <a:pt x="114" y="52"/>
                </a:cubicBezTo>
                <a:cubicBezTo>
                  <a:pt x="106" y="81"/>
                  <a:pt x="106" y="81"/>
                  <a:pt x="106" y="81"/>
                </a:cubicBezTo>
                <a:cubicBezTo>
                  <a:pt x="107" y="82"/>
                  <a:pt x="108" y="83"/>
                  <a:pt x="110" y="84"/>
                </a:cubicBezTo>
                <a:cubicBezTo>
                  <a:pt x="113" y="87"/>
                  <a:pt x="114" y="91"/>
                  <a:pt x="114" y="96"/>
                </a:cubicBezTo>
                <a:cubicBezTo>
                  <a:pt x="114" y="100"/>
                  <a:pt x="113" y="104"/>
                  <a:pt x="110" y="107"/>
                </a:cubicBezTo>
                <a:cubicBezTo>
                  <a:pt x="110" y="107"/>
                  <a:pt x="110" y="107"/>
                  <a:pt x="110" y="107"/>
                </a:cubicBezTo>
                <a:cubicBezTo>
                  <a:pt x="107" y="110"/>
                  <a:pt x="102" y="112"/>
                  <a:pt x="98" y="112"/>
                </a:cubicBezTo>
                <a:cubicBezTo>
                  <a:pt x="93" y="112"/>
                  <a:pt x="89" y="110"/>
                  <a:pt x="86" y="107"/>
                </a:cubicBezTo>
                <a:cubicBezTo>
                  <a:pt x="83" y="105"/>
                  <a:pt x="82" y="101"/>
                  <a:pt x="81" y="97"/>
                </a:cubicBezTo>
                <a:cubicBezTo>
                  <a:pt x="62" y="97"/>
                  <a:pt x="62" y="97"/>
                  <a:pt x="62" y="97"/>
                </a:cubicBezTo>
                <a:cubicBezTo>
                  <a:pt x="61" y="101"/>
                  <a:pt x="59" y="105"/>
                  <a:pt x="57" y="107"/>
                </a:cubicBezTo>
                <a:cubicBezTo>
                  <a:pt x="57" y="107"/>
                  <a:pt x="57" y="107"/>
                  <a:pt x="57" y="107"/>
                </a:cubicBezTo>
                <a:cubicBezTo>
                  <a:pt x="54" y="110"/>
                  <a:pt x="50" y="112"/>
                  <a:pt x="45" y="112"/>
                </a:cubicBezTo>
                <a:cubicBezTo>
                  <a:pt x="41" y="112"/>
                  <a:pt x="36" y="110"/>
                  <a:pt x="33" y="107"/>
                </a:cubicBezTo>
                <a:cubicBezTo>
                  <a:pt x="30" y="104"/>
                  <a:pt x="28" y="100"/>
                  <a:pt x="28" y="96"/>
                </a:cubicBezTo>
                <a:cubicBezTo>
                  <a:pt x="28" y="91"/>
                  <a:pt x="30" y="87"/>
                  <a:pt x="33" y="84"/>
                </a:cubicBezTo>
                <a:cubicBezTo>
                  <a:pt x="33" y="84"/>
                  <a:pt x="33" y="84"/>
                  <a:pt x="33" y="84"/>
                </a:cubicBezTo>
                <a:cubicBezTo>
                  <a:pt x="33" y="84"/>
                  <a:pt x="33" y="84"/>
                  <a:pt x="33" y="84"/>
                </a:cubicBezTo>
                <a:cubicBezTo>
                  <a:pt x="35" y="82"/>
                  <a:pt x="36" y="81"/>
                  <a:pt x="38" y="80"/>
                </a:cubicBezTo>
                <a:cubicBezTo>
                  <a:pt x="27" y="41"/>
                  <a:pt x="27" y="41"/>
                  <a:pt x="27" y="41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28"/>
                  <a:pt x="0" y="28"/>
                  <a:pt x="0" y="28"/>
                </a:cubicBezTo>
                <a:close/>
                <a:moveTo>
                  <a:pt x="64" y="0"/>
                </a:moveTo>
                <a:cubicBezTo>
                  <a:pt x="64" y="19"/>
                  <a:pt x="64" y="19"/>
                  <a:pt x="64" y="19"/>
                </a:cubicBezTo>
                <a:cubicBezTo>
                  <a:pt x="55" y="19"/>
                  <a:pt x="55" y="19"/>
                  <a:pt x="55" y="19"/>
                </a:cubicBezTo>
                <a:cubicBezTo>
                  <a:pt x="74" y="39"/>
                  <a:pt x="74" y="39"/>
                  <a:pt x="74" y="39"/>
                </a:cubicBezTo>
                <a:cubicBezTo>
                  <a:pt x="94" y="19"/>
                  <a:pt x="94" y="19"/>
                  <a:pt x="94" y="19"/>
                </a:cubicBezTo>
                <a:cubicBezTo>
                  <a:pt x="84" y="19"/>
                  <a:pt x="84" y="19"/>
                  <a:pt x="84" y="19"/>
                </a:cubicBezTo>
                <a:cubicBezTo>
                  <a:pt x="84" y="0"/>
                  <a:pt x="84" y="0"/>
                  <a:pt x="84" y="0"/>
                </a:cubicBezTo>
                <a:cubicBezTo>
                  <a:pt x="64" y="0"/>
                  <a:pt x="64" y="0"/>
                  <a:pt x="64" y="0"/>
                </a:cubicBezTo>
                <a:close/>
                <a:moveTo>
                  <a:pt x="49" y="74"/>
                </a:moveTo>
                <a:cubicBezTo>
                  <a:pt x="51" y="80"/>
                  <a:pt x="51" y="80"/>
                  <a:pt x="51" y="80"/>
                </a:cubicBezTo>
                <a:cubicBezTo>
                  <a:pt x="53" y="81"/>
                  <a:pt x="55" y="82"/>
                  <a:pt x="57" y="84"/>
                </a:cubicBezTo>
                <a:cubicBezTo>
                  <a:pt x="57" y="84"/>
                  <a:pt x="58" y="84"/>
                  <a:pt x="58" y="85"/>
                </a:cubicBezTo>
                <a:cubicBezTo>
                  <a:pt x="62" y="85"/>
                  <a:pt x="62" y="85"/>
                  <a:pt x="62" y="85"/>
                </a:cubicBezTo>
                <a:cubicBezTo>
                  <a:pt x="62" y="74"/>
                  <a:pt x="62" y="74"/>
                  <a:pt x="62" y="74"/>
                </a:cubicBezTo>
                <a:cubicBezTo>
                  <a:pt x="49" y="74"/>
                  <a:pt x="49" y="74"/>
                  <a:pt x="49" y="74"/>
                </a:cubicBezTo>
                <a:close/>
                <a:moveTo>
                  <a:pt x="95" y="74"/>
                </a:moveTo>
                <a:cubicBezTo>
                  <a:pt x="88" y="74"/>
                  <a:pt x="88" y="74"/>
                  <a:pt x="88" y="74"/>
                </a:cubicBezTo>
                <a:cubicBezTo>
                  <a:pt x="88" y="82"/>
                  <a:pt x="88" y="82"/>
                  <a:pt x="88" y="82"/>
                </a:cubicBezTo>
                <a:cubicBezTo>
                  <a:pt x="89" y="81"/>
                  <a:pt x="91" y="80"/>
                  <a:pt x="93" y="80"/>
                </a:cubicBezTo>
                <a:cubicBezTo>
                  <a:pt x="95" y="74"/>
                  <a:pt x="95" y="74"/>
                  <a:pt x="95" y="74"/>
                </a:cubicBezTo>
                <a:close/>
                <a:moveTo>
                  <a:pt x="81" y="74"/>
                </a:moveTo>
                <a:cubicBezTo>
                  <a:pt x="69" y="74"/>
                  <a:pt x="69" y="74"/>
                  <a:pt x="69" y="74"/>
                </a:cubicBezTo>
                <a:cubicBezTo>
                  <a:pt x="69" y="85"/>
                  <a:pt x="69" y="85"/>
                  <a:pt x="69" y="85"/>
                </a:cubicBezTo>
                <a:cubicBezTo>
                  <a:pt x="81" y="85"/>
                  <a:pt x="81" y="85"/>
                  <a:pt x="81" y="85"/>
                </a:cubicBezTo>
                <a:cubicBezTo>
                  <a:pt x="81" y="74"/>
                  <a:pt x="81" y="74"/>
                  <a:pt x="81" y="74"/>
                </a:cubicBezTo>
                <a:close/>
                <a:moveTo>
                  <a:pt x="69" y="67"/>
                </a:moveTo>
                <a:cubicBezTo>
                  <a:pt x="81" y="67"/>
                  <a:pt x="81" y="67"/>
                  <a:pt x="81" y="67"/>
                </a:cubicBezTo>
                <a:cubicBezTo>
                  <a:pt x="81" y="57"/>
                  <a:pt x="81" y="57"/>
                  <a:pt x="81" y="57"/>
                </a:cubicBezTo>
                <a:cubicBezTo>
                  <a:pt x="69" y="57"/>
                  <a:pt x="69" y="57"/>
                  <a:pt x="69" y="57"/>
                </a:cubicBezTo>
                <a:cubicBezTo>
                  <a:pt x="69" y="67"/>
                  <a:pt x="69" y="67"/>
                  <a:pt x="69" y="67"/>
                </a:cubicBezTo>
                <a:close/>
                <a:moveTo>
                  <a:pt x="88" y="67"/>
                </a:moveTo>
                <a:cubicBezTo>
                  <a:pt x="97" y="67"/>
                  <a:pt x="97" y="67"/>
                  <a:pt x="97" y="67"/>
                </a:cubicBezTo>
                <a:cubicBezTo>
                  <a:pt x="99" y="57"/>
                  <a:pt x="99" y="57"/>
                  <a:pt x="99" y="57"/>
                </a:cubicBezTo>
                <a:cubicBezTo>
                  <a:pt x="88" y="57"/>
                  <a:pt x="88" y="57"/>
                  <a:pt x="88" y="57"/>
                </a:cubicBezTo>
                <a:cubicBezTo>
                  <a:pt x="88" y="67"/>
                  <a:pt x="88" y="67"/>
                  <a:pt x="88" y="67"/>
                </a:cubicBezTo>
                <a:close/>
                <a:moveTo>
                  <a:pt x="103" y="90"/>
                </a:moveTo>
                <a:cubicBezTo>
                  <a:pt x="102" y="89"/>
                  <a:pt x="100" y="88"/>
                  <a:pt x="98" y="88"/>
                </a:cubicBezTo>
                <a:cubicBezTo>
                  <a:pt x="96" y="88"/>
                  <a:pt x="94" y="89"/>
                  <a:pt x="93" y="90"/>
                </a:cubicBezTo>
                <a:cubicBezTo>
                  <a:pt x="93" y="90"/>
                  <a:pt x="93" y="90"/>
                  <a:pt x="93" y="90"/>
                </a:cubicBezTo>
                <a:cubicBezTo>
                  <a:pt x="91" y="92"/>
                  <a:pt x="91" y="94"/>
                  <a:pt x="91" y="96"/>
                </a:cubicBezTo>
                <a:cubicBezTo>
                  <a:pt x="91" y="98"/>
                  <a:pt x="91" y="99"/>
                  <a:pt x="93" y="101"/>
                </a:cubicBezTo>
                <a:cubicBezTo>
                  <a:pt x="94" y="102"/>
                  <a:pt x="96" y="103"/>
                  <a:pt x="98" y="103"/>
                </a:cubicBezTo>
                <a:cubicBezTo>
                  <a:pt x="100" y="103"/>
                  <a:pt x="102" y="102"/>
                  <a:pt x="103" y="101"/>
                </a:cubicBezTo>
                <a:cubicBezTo>
                  <a:pt x="104" y="99"/>
                  <a:pt x="105" y="98"/>
                  <a:pt x="105" y="96"/>
                </a:cubicBezTo>
                <a:cubicBezTo>
                  <a:pt x="105" y="94"/>
                  <a:pt x="104" y="92"/>
                  <a:pt x="103" y="90"/>
                </a:cubicBezTo>
                <a:close/>
                <a:moveTo>
                  <a:pt x="50" y="90"/>
                </a:moveTo>
                <a:cubicBezTo>
                  <a:pt x="49" y="89"/>
                  <a:pt x="47" y="88"/>
                  <a:pt x="45" y="88"/>
                </a:cubicBezTo>
                <a:cubicBezTo>
                  <a:pt x="43" y="88"/>
                  <a:pt x="41" y="89"/>
                  <a:pt x="40" y="90"/>
                </a:cubicBezTo>
                <a:cubicBezTo>
                  <a:pt x="40" y="90"/>
                  <a:pt x="40" y="90"/>
                  <a:pt x="40" y="90"/>
                </a:cubicBezTo>
                <a:cubicBezTo>
                  <a:pt x="39" y="92"/>
                  <a:pt x="38" y="94"/>
                  <a:pt x="38" y="96"/>
                </a:cubicBezTo>
                <a:cubicBezTo>
                  <a:pt x="38" y="98"/>
                  <a:pt x="39" y="99"/>
                  <a:pt x="40" y="101"/>
                </a:cubicBezTo>
                <a:cubicBezTo>
                  <a:pt x="41" y="102"/>
                  <a:pt x="43" y="103"/>
                  <a:pt x="45" y="103"/>
                </a:cubicBezTo>
                <a:cubicBezTo>
                  <a:pt x="47" y="103"/>
                  <a:pt x="49" y="102"/>
                  <a:pt x="50" y="101"/>
                </a:cubicBezTo>
                <a:cubicBezTo>
                  <a:pt x="51" y="99"/>
                  <a:pt x="52" y="98"/>
                  <a:pt x="52" y="96"/>
                </a:cubicBezTo>
                <a:cubicBezTo>
                  <a:pt x="52" y="94"/>
                  <a:pt x="51" y="92"/>
                  <a:pt x="50" y="9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32">
              <a:defRPr/>
            </a:pPr>
            <a:endParaRPr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4" name="右箭头 53"/>
          <p:cNvSpPr/>
          <p:nvPr/>
        </p:nvSpPr>
        <p:spPr>
          <a:xfrm>
            <a:off x="1207079" y="3520541"/>
            <a:ext cx="2270149" cy="206360"/>
          </a:xfrm>
          <a:prstGeom prst="rightArrow">
            <a:avLst>
              <a:gd name="adj1" fmla="val 16260"/>
              <a:gd name="adj2" fmla="val 50000"/>
            </a:avLst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5" name="虚尾箭头 54"/>
          <p:cNvSpPr/>
          <p:nvPr/>
        </p:nvSpPr>
        <p:spPr>
          <a:xfrm rot="5400000">
            <a:off x="5623528" y="3550686"/>
            <a:ext cx="1025555" cy="309324"/>
          </a:xfrm>
          <a:prstGeom prst="stripedRightArrow">
            <a:avLst/>
          </a:prstGeom>
          <a:gradFill flip="none" rotWithShape="1">
            <a:gsLst>
              <a:gs pos="11000">
                <a:srgbClr val="D2B7B6"/>
              </a:gs>
              <a:gs pos="0">
                <a:schemeClr val="bg1">
                  <a:lumMod val="75000"/>
                </a:schemeClr>
              </a:gs>
              <a:gs pos="100000">
                <a:srgbClr val="CA352D">
                  <a:lumMod val="40000"/>
                  <a:lumOff val="60000"/>
                </a:srgbClr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/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56" name="左右箭头 55"/>
          <p:cNvSpPr/>
          <p:nvPr/>
        </p:nvSpPr>
        <p:spPr>
          <a:xfrm>
            <a:off x="4358782" y="3524712"/>
            <a:ext cx="619865" cy="198023"/>
          </a:xfrm>
          <a:prstGeom prst="leftRightArrow">
            <a:avLst>
              <a:gd name="adj1" fmla="val 20605"/>
              <a:gd name="adj2" fmla="val 50000"/>
            </a:avLst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8" name="圆角右箭头 57"/>
          <p:cNvSpPr/>
          <p:nvPr/>
        </p:nvSpPr>
        <p:spPr>
          <a:xfrm>
            <a:off x="754883" y="2331526"/>
            <a:ext cx="2676009" cy="818329"/>
          </a:xfrm>
          <a:prstGeom prst="bentArrow">
            <a:avLst>
              <a:gd name="adj1" fmla="val 4991"/>
              <a:gd name="adj2" fmla="val 12111"/>
              <a:gd name="adj3" fmla="val 20408"/>
              <a:gd name="adj4" fmla="val 16045"/>
            </a:avLst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59" name="圆角右箭头 58"/>
          <p:cNvSpPr/>
          <p:nvPr/>
        </p:nvSpPr>
        <p:spPr>
          <a:xfrm flipV="1">
            <a:off x="754883" y="4112133"/>
            <a:ext cx="1576344" cy="868680"/>
          </a:xfrm>
          <a:prstGeom prst="bentArrow">
            <a:avLst>
              <a:gd name="adj1" fmla="val 4991"/>
              <a:gd name="adj2" fmla="val 14995"/>
              <a:gd name="adj3" fmla="val 25000"/>
              <a:gd name="adj4" fmla="val 16045"/>
            </a:avLst>
          </a:prstGeom>
          <a:solidFill>
            <a:srgbClr val="CA352D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grpSp>
        <p:nvGrpSpPr>
          <p:cNvPr id="60" name="组 14"/>
          <p:cNvGrpSpPr/>
          <p:nvPr/>
        </p:nvGrpSpPr>
        <p:grpSpPr>
          <a:xfrm>
            <a:off x="1730998" y="2023905"/>
            <a:ext cx="800220" cy="800215"/>
            <a:chOff x="1891147" y="2422206"/>
            <a:chExt cx="800220" cy="800214"/>
          </a:xfrm>
        </p:grpSpPr>
        <p:grpSp>
          <p:nvGrpSpPr>
            <p:cNvPr id="61" name="组 86"/>
            <p:cNvGrpSpPr/>
            <p:nvPr/>
          </p:nvGrpSpPr>
          <p:grpSpPr>
            <a:xfrm>
              <a:off x="1891147" y="2422206"/>
              <a:ext cx="800220" cy="800214"/>
              <a:chOff x="6170348" y="2122404"/>
              <a:chExt cx="865812" cy="865806"/>
            </a:xfrm>
          </p:grpSpPr>
          <p:sp>
            <p:nvSpPr>
              <p:cNvPr id="73" name="椭圆 72"/>
              <p:cNvSpPr/>
              <p:nvPr/>
            </p:nvSpPr>
            <p:spPr>
              <a:xfrm>
                <a:off x="6170352" y="2122404"/>
                <a:ext cx="865808" cy="865806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solidFill>
                  <a:schemeClr val="bg1">
                    <a:lumMod val="8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2400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74" name="文本框 73"/>
              <p:cNvSpPr txBox="1"/>
              <p:nvPr/>
            </p:nvSpPr>
            <p:spPr>
              <a:xfrm>
                <a:off x="6170348" y="2580373"/>
                <a:ext cx="865811" cy="3396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zh-CN"/>
                </a:defPPr>
                <a:lvl1pPr algn="ctr">
                  <a:lnSpc>
                    <a:spcPct val="120000"/>
                  </a:lnSpc>
                  <a:spcAft>
                    <a:spcPts val="600"/>
                  </a:spcAft>
                  <a:defRPr kumimoji="1" sz="1200" b="1"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lvl1pPr>
              </a:lstStyle>
              <a:p>
                <a:pPr defTabSz="914332">
                  <a:defRPr/>
                </a:pPr>
                <a:r>
                  <a:rPr lang="zh-CN" altLang="en-US" kern="0" dirty="0">
                    <a:solidFill>
                      <a:srgbClr val="000000">
                        <a:lumMod val="50000"/>
                        <a:lumOff val="50000"/>
                      </a:srgbClr>
                    </a:solidFill>
                    <a:latin typeface="+mn-ea"/>
                  </a:rPr>
                  <a:t>经销渠道</a:t>
                </a:r>
              </a:p>
            </p:txBody>
          </p:sp>
        </p:grpSp>
        <p:grpSp>
          <p:nvGrpSpPr>
            <p:cNvPr id="62" name="组合 3313"/>
            <p:cNvGrpSpPr/>
            <p:nvPr/>
          </p:nvGrpSpPr>
          <p:grpSpPr>
            <a:xfrm>
              <a:off x="2087629" y="2598177"/>
              <a:ext cx="407252" cy="247304"/>
              <a:chOff x="6423025" y="1962151"/>
              <a:chExt cx="525463" cy="319088"/>
            </a:xfrm>
            <a:solidFill>
              <a:srgbClr val="FFFFFF">
                <a:lumMod val="50000"/>
              </a:srgbClr>
            </a:solidFill>
          </p:grpSpPr>
          <p:sp>
            <p:nvSpPr>
              <p:cNvPr id="63" name="Freeform 159"/>
              <p:cNvSpPr>
                <a:spLocks/>
              </p:cNvSpPr>
              <p:nvPr/>
            </p:nvSpPr>
            <p:spPr bwMode="auto">
              <a:xfrm>
                <a:off x="6535738" y="2149476"/>
                <a:ext cx="311150" cy="131763"/>
              </a:xfrm>
              <a:custGeom>
                <a:avLst/>
                <a:gdLst>
                  <a:gd name="T0" fmla="*/ 83 w 83"/>
                  <a:gd name="T1" fmla="*/ 12 h 35"/>
                  <a:gd name="T2" fmla="*/ 57 w 83"/>
                  <a:gd name="T3" fmla="*/ 0 h 35"/>
                  <a:gd name="T4" fmla="*/ 47 w 83"/>
                  <a:gd name="T5" fmla="*/ 19 h 35"/>
                  <a:gd name="T6" fmla="*/ 47 w 83"/>
                  <a:gd name="T7" fmla="*/ 15 h 35"/>
                  <a:gd name="T8" fmla="*/ 45 w 83"/>
                  <a:gd name="T9" fmla="*/ 9 h 35"/>
                  <a:gd name="T10" fmla="*/ 47 w 83"/>
                  <a:gd name="T11" fmla="*/ 5 h 35"/>
                  <a:gd name="T12" fmla="*/ 43 w 83"/>
                  <a:gd name="T13" fmla="*/ 3 h 35"/>
                  <a:gd name="T14" fmla="*/ 41 w 83"/>
                  <a:gd name="T15" fmla="*/ 3 h 35"/>
                  <a:gd name="T16" fmla="*/ 37 w 83"/>
                  <a:gd name="T17" fmla="*/ 5 h 35"/>
                  <a:gd name="T18" fmla="*/ 39 w 83"/>
                  <a:gd name="T19" fmla="*/ 9 h 35"/>
                  <a:gd name="T20" fmla="*/ 37 w 83"/>
                  <a:gd name="T21" fmla="*/ 15 h 35"/>
                  <a:gd name="T22" fmla="*/ 37 w 83"/>
                  <a:gd name="T23" fmla="*/ 19 h 35"/>
                  <a:gd name="T24" fmla="*/ 27 w 83"/>
                  <a:gd name="T25" fmla="*/ 0 h 35"/>
                  <a:gd name="T26" fmla="*/ 0 w 83"/>
                  <a:gd name="T27" fmla="*/ 12 h 35"/>
                  <a:gd name="T28" fmla="*/ 0 w 83"/>
                  <a:gd name="T29" fmla="*/ 35 h 35"/>
                  <a:gd name="T30" fmla="*/ 41 w 83"/>
                  <a:gd name="T31" fmla="*/ 35 h 35"/>
                  <a:gd name="T32" fmla="*/ 83 w 83"/>
                  <a:gd name="T33" fmla="*/ 35 h 35"/>
                  <a:gd name="T34" fmla="*/ 83 w 83"/>
                  <a:gd name="T35" fmla="*/ 1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3" h="35">
                    <a:moveTo>
                      <a:pt x="83" y="12"/>
                    </a:moveTo>
                    <a:cubicBezTo>
                      <a:pt x="83" y="12"/>
                      <a:pt x="72" y="4"/>
                      <a:pt x="57" y="0"/>
                    </a:cubicBezTo>
                    <a:cubicBezTo>
                      <a:pt x="55" y="5"/>
                      <a:pt x="50" y="15"/>
                      <a:pt x="47" y="19"/>
                    </a:cubicBezTo>
                    <a:cubicBezTo>
                      <a:pt x="47" y="19"/>
                      <a:pt x="47" y="18"/>
                      <a:pt x="47" y="15"/>
                    </a:cubicBezTo>
                    <a:cubicBezTo>
                      <a:pt x="47" y="13"/>
                      <a:pt x="45" y="10"/>
                      <a:pt x="45" y="9"/>
                    </a:cubicBezTo>
                    <a:cubicBezTo>
                      <a:pt x="45" y="7"/>
                      <a:pt x="47" y="7"/>
                      <a:pt x="47" y="5"/>
                    </a:cubicBezTo>
                    <a:cubicBezTo>
                      <a:pt x="47" y="3"/>
                      <a:pt x="46" y="3"/>
                      <a:pt x="43" y="3"/>
                    </a:cubicBezTo>
                    <a:cubicBezTo>
                      <a:pt x="43" y="3"/>
                      <a:pt x="42" y="3"/>
                      <a:pt x="41" y="3"/>
                    </a:cubicBezTo>
                    <a:cubicBezTo>
                      <a:pt x="38" y="3"/>
                      <a:pt x="37" y="3"/>
                      <a:pt x="37" y="5"/>
                    </a:cubicBezTo>
                    <a:cubicBezTo>
                      <a:pt x="37" y="7"/>
                      <a:pt x="39" y="7"/>
                      <a:pt x="39" y="9"/>
                    </a:cubicBezTo>
                    <a:cubicBezTo>
                      <a:pt x="39" y="10"/>
                      <a:pt x="37" y="13"/>
                      <a:pt x="37" y="15"/>
                    </a:cubicBezTo>
                    <a:cubicBezTo>
                      <a:pt x="37" y="18"/>
                      <a:pt x="37" y="19"/>
                      <a:pt x="37" y="19"/>
                    </a:cubicBezTo>
                    <a:cubicBezTo>
                      <a:pt x="34" y="15"/>
                      <a:pt x="29" y="5"/>
                      <a:pt x="27" y="0"/>
                    </a:cubicBezTo>
                    <a:cubicBezTo>
                      <a:pt x="11" y="3"/>
                      <a:pt x="0" y="12"/>
                      <a:pt x="0" y="12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83" y="35"/>
                      <a:pt x="83" y="35"/>
                      <a:pt x="83" y="35"/>
                    </a:cubicBezTo>
                    <a:lnTo>
                      <a:pt x="83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  <p:sp>
            <p:nvSpPr>
              <p:cNvPr id="64" name="Freeform 160"/>
              <p:cNvSpPr>
                <a:spLocks/>
              </p:cNvSpPr>
              <p:nvPr/>
            </p:nvSpPr>
            <p:spPr bwMode="auto">
              <a:xfrm>
                <a:off x="6769100" y="1962151"/>
                <a:ext cx="119062" cy="158750"/>
              </a:xfrm>
              <a:custGeom>
                <a:avLst/>
                <a:gdLst>
                  <a:gd name="T0" fmla="*/ 6 w 32"/>
                  <a:gd name="T1" fmla="*/ 28 h 42"/>
                  <a:gd name="T2" fmla="*/ 3 w 32"/>
                  <a:gd name="T3" fmla="*/ 35 h 42"/>
                  <a:gd name="T4" fmla="*/ 13 w 32"/>
                  <a:gd name="T5" fmla="*/ 42 h 42"/>
                  <a:gd name="T6" fmla="*/ 27 w 32"/>
                  <a:gd name="T7" fmla="*/ 28 h 42"/>
                  <a:gd name="T8" fmla="*/ 27 w 32"/>
                  <a:gd name="T9" fmla="*/ 28 h 42"/>
                  <a:gd name="T10" fmla="*/ 32 w 32"/>
                  <a:gd name="T11" fmla="*/ 23 h 42"/>
                  <a:gd name="T12" fmla="*/ 28 w 32"/>
                  <a:gd name="T13" fmla="*/ 19 h 42"/>
                  <a:gd name="T14" fmla="*/ 28 w 32"/>
                  <a:gd name="T15" fmla="*/ 19 h 42"/>
                  <a:gd name="T16" fmla="*/ 28 w 32"/>
                  <a:gd name="T17" fmla="*/ 18 h 42"/>
                  <a:gd name="T18" fmla="*/ 13 w 32"/>
                  <a:gd name="T19" fmla="*/ 0 h 42"/>
                  <a:gd name="T20" fmla="*/ 0 w 32"/>
                  <a:gd name="T21" fmla="*/ 9 h 42"/>
                  <a:gd name="T22" fmla="*/ 2 w 32"/>
                  <a:gd name="T23" fmla="*/ 19 h 42"/>
                  <a:gd name="T24" fmla="*/ 6 w 32"/>
                  <a:gd name="T25" fmla="*/ 28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42">
                    <a:moveTo>
                      <a:pt x="6" y="28"/>
                    </a:moveTo>
                    <a:cubicBezTo>
                      <a:pt x="6" y="30"/>
                      <a:pt x="5" y="33"/>
                      <a:pt x="3" y="35"/>
                    </a:cubicBezTo>
                    <a:cubicBezTo>
                      <a:pt x="6" y="39"/>
                      <a:pt x="10" y="42"/>
                      <a:pt x="13" y="42"/>
                    </a:cubicBezTo>
                    <a:cubicBezTo>
                      <a:pt x="19" y="42"/>
                      <a:pt x="24" y="35"/>
                      <a:pt x="27" y="28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9" y="28"/>
                      <a:pt x="32" y="26"/>
                      <a:pt x="32" y="23"/>
                    </a:cubicBezTo>
                    <a:cubicBezTo>
                      <a:pt x="32" y="21"/>
                      <a:pt x="30" y="19"/>
                      <a:pt x="28" y="19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6"/>
                      <a:pt x="21" y="0"/>
                      <a:pt x="13" y="0"/>
                    </a:cubicBezTo>
                    <a:cubicBezTo>
                      <a:pt x="8" y="0"/>
                      <a:pt x="3" y="3"/>
                      <a:pt x="0" y="9"/>
                    </a:cubicBezTo>
                    <a:cubicBezTo>
                      <a:pt x="1" y="12"/>
                      <a:pt x="2" y="15"/>
                      <a:pt x="2" y="19"/>
                    </a:cubicBezTo>
                    <a:cubicBezTo>
                      <a:pt x="5" y="21"/>
                      <a:pt x="6" y="24"/>
                      <a:pt x="6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  <p:sp>
            <p:nvSpPr>
              <p:cNvPr id="65" name="Freeform 161"/>
              <p:cNvSpPr>
                <a:spLocks/>
              </p:cNvSpPr>
              <p:nvPr/>
            </p:nvSpPr>
            <p:spPr bwMode="auto">
              <a:xfrm>
                <a:off x="6750050" y="2120901"/>
                <a:ext cx="33337" cy="17463"/>
              </a:xfrm>
              <a:custGeom>
                <a:avLst/>
                <a:gdLst>
                  <a:gd name="T0" fmla="*/ 2 w 9"/>
                  <a:gd name="T1" fmla="*/ 3 h 5"/>
                  <a:gd name="T2" fmla="*/ 9 w 9"/>
                  <a:gd name="T3" fmla="*/ 5 h 5"/>
                  <a:gd name="T4" fmla="*/ 6 w 9"/>
                  <a:gd name="T5" fmla="*/ 0 h 5"/>
                  <a:gd name="T6" fmla="*/ 1 w 9"/>
                  <a:gd name="T7" fmla="*/ 1 h 5"/>
                  <a:gd name="T8" fmla="*/ 0 w 9"/>
                  <a:gd name="T9" fmla="*/ 3 h 5"/>
                  <a:gd name="T10" fmla="*/ 2 w 9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5">
                    <a:moveTo>
                      <a:pt x="2" y="3"/>
                    </a:moveTo>
                    <a:cubicBezTo>
                      <a:pt x="4" y="4"/>
                      <a:pt x="7" y="5"/>
                      <a:pt x="9" y="5"/>
                    </a:cubicBezTo>
                    <a:cubicBezTo>
                      <a:pt x="8" y="3"/>
                      <a:pt x="7" y="1"/>
                      <a:pt x="6" y="0"/>
                    </a:cubicBezTo>
                    <a:cubicBezTo>
                      <a:pt x="4" y="0"/>
                      <a:pt x="3" y="0"/>
                      <a:pt x="1" y="1"/>
                    </a:cubicBezTo>
                    <a:cubicBezTo>
                      <a:pt x="1" y="2"/>
                      <a:pt x="0" y="2"/>
                      <a:pt x="0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  <p:sp>
            <p:nvSpPr>
              <p:cNvPr id="66" name="Freeform 162"/>
              <p:cNvSpPr>
                <a:spLocks/>
              </p:cNvSpPr>
              <p:nvPr/>
            </p:nvSpPr>
            <p:spPr bwMode="auto">
              <a:xfrm>
                <a:off x="6843713" y="2120901"/>
                <a:ext cx="104775" cy="107950"/>
              </a:xfrm>
              <a:custGeom>
                <a:avLst/>
                <a:gdLst>
                  <a:gd name="T0" fmla="*/ 7 w 28"/>
                  <a:gd name="T1" fmla="*/ 0 h 29"/>
                  <a:gd name="T2" fmla="*/ 0 w 28"/>
                  <a:gd name="T3" fmla="*/ 13 h 29"/>
                  <a:gd name="T4" fmla="*/ 4 w 28"/>
                  <a:gd name="T5" fmla="*/ 16 h 29"/>
                  <a:gd name="T6" fmla="*/ 6 w 28"/>
                  <a:gd name="T7" fmla="*/ 17 h 29"/>
                  <a:gd name="T8" fmla="*/ 6 w 28"/>
                  <a:gd name="T9" fmla="*/ 20 h 29"/>
                  <a:gd name="T10" fmla="*/ 6 w 28"/>
                  <a:gd name="T11" fmla="*/ 29 h 29"/>
                  <a:gd name="T12" fmla="*/ 28 w 28"/>
                  <a:gd name="T13" fmla="*/ 29 h 29"/>
                  <a:gd name="T14" fmla="*/ 28 w 28"/>
                  <a:gd name="T15" fmla="*/ 10 h 29"/>
                  <a:gd name="T16" fmla="*/ 7 w 28"/>
                  <a:gd name="T1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9">
                    <a:moveTo>
                      <a:pt x="7" y="0"/>
                    </a:moveTo>
                    <a:cubicBezTo>
                      <a:pt x="5" y="3"/>
                      <a:pt x="2" y="9"/>
                      <a:pt x="0" y="13"/>
                    </a:cubicBezTo>
                    <a:cubicBezTo>
                      <a:pt x="2" y="15"/>
                      <a:pt x="4" y="16"/>
                      <a:pt x="4" y="16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8" y="10"/>
                      <a:pt x="19" y="3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  <p:sp>
            <p:nvSpPr>
              <p:cNvPr id="67" name="Freeform 163"/>
              <p:cNvSpPr>
                <a:spLocks/>
              </p:cNvSpPr>
              <p:nvPr/>
            </p:nvSpPr>
            <p:spPr bwMode="auto">
              <a:xfrm>
                <a:off x="6805613" y="2132013"/>
                <a:ext cx="30162" cy="33338"/>
              </a:xfrm>
              <a:custGeom>
                <a:avLst/>
                <a:gdLst>
                  <a:gd name="T0" fmla="*/ 4 w 8"/>
                  <a:gd name="T1" fmla="*/ 0 h 9"/>
                  <a:gd name="T2" fmla="*/ 3 w 8"/>
                  <a:gd name="T3" fmla="*/ 0 h 9"/>
                  <a:gd name="T4" fmla="*/ 0 w 8"/>
                  <a:gd name="T5" fmla="*/ 1 h 9"/>
                  <a:gd name="T6" fmla="*/ 1 w 8"/>
                  <a:gd name="T7" fmla="*/ 4 h 9"/>
                  <a:gd name="T8" fmla="*/ 1 w 8"/>
                  <a:gd name="T9" fmla="*/ 5 h 9"/>
                  <a:gd name="T10" fmla="*/ 8 w 8"/>
                  <a:gd name="T11" fmla="*/ 9 h 9"/>
                  <a:gd name="T12" fmla="*/ 6 w 8"/>
                  <a:gd name="T13" fmla="*/ 4 h 9"/>
                  <a:gd name="T14" fmla="*/ 8 w 8"/>
                  <a:gd name="T15" fmla="*/ 1 h 9"/>
                  <a:gd name="T16" fmla="*/ 4 w 8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9">
                    <a:moveTo>
                      <a:pt x="4" y="0"/>
                    </a:moveTo>
                    <a:cubicBezTo>
                      <a:pt x="4" y="0"/>
                      <a:pt x="3" y="0"/>
                      <a:pt x="3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3"/>
                      <a:pt x="1" y="3"/>
                      <a:pt x="1" y="4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4" y="7"/>
                      <a:pt x="6" y="8"/>
                      <a:pt x="8" y="9"/>
                    </a:cubicBezTo>
                    <a:cubicBezTo>
                      <a:pt x="7" y="7"/>
                      <a:pt x="6" y="5"/>
                      <a:pt x="6" y="4"/>
                    </a:cubicBezTo>
                    <a:cubicBezTo>
                      <a:pt x="6" y="3"/>
                      <a:pt x="8" y="3"/>
                      <a:pt x="8" y="1"/>
                    </a:cubicBezTo>
                    <a:cubicBezTo>
                      <a:pt x="8" y="0"/>
                      <a:pt x="7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  <p:sp>
            <p:nvSpPr>
              <p:cNvPr id="68" name="Freeform 164"/>
              <p:cNvSpPr>
                <a:spLocks/>
              </p:cNvSpPr>
              <p:nvPr/>
            </p:nvSpPr>
            <p:spPr bwMode="auto">
              <a:xfrm>
                <a:off x="6486525" y="1962151"/>
                <a:ext cx="123825" cy="158750"/>
              </a:xfrm>
              <a:custGeom>
                <a:avLst/>
                <a:gdLst>
                  <a:gd name="T0" fmla="*/ 32 w 33"/>
                  <a:gd name="T1" fmla="*/ 20 h 42"/>
                  <a:gd name="T2" fmla="*/ 33 w 33"/>
                  <a:gd name="T3" fmla="*/ 13 h 42"/>
                  <a:gd name="T4" fmla="*/ 18 w 33"/>
                  <a:gd name="T5" fmla="*/ 0 h 42"/>
                  <a:gd name="T6" fmla="*/ 3 w 33"/>
                  <a:gd name="T7" fmla="*/ 18 h 42"/>
                  <a:gd name="T8" fmla="*/ 3 w 33"/>
                  <a:gd name="T9" fmla="*/ 18 h 42"/>
                  <a:gd name="T10" fmla="*/ 0 w 33"/>
                  <a:gd name="T11" fmla="*/ 23 h 42"/>
                  <a:gd name="T12" fmla="*/ 5 w 33"/>
                  <a:gd name="T13" fmla="*/ 27 h 42"/>
                  <a:gd name="T14" fmla="*/ 18 w 33"/>
                  <a:gd name="T15" fmla="*/ 42 h 42"/>
                  <a:gd name="T16" fmla="*/ 30 w 33"/>
                  <a:gd name="T17" fmla="*/ 32 h 42"/>
                  <a:gd name="T18" fmla="*/ 28 w 33"/>
                  <a:gd name="T19" fmla="*/ 28 h 42"/>
                  <a:gd name="T20" fmla="*/ 32 w 33"/>
                  <a:gd name="T21" fmla="*/ 2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42">
                    <a:moveTo>
                      <a:pt x="32" y="20"/>
                    </a:moveTo>
                    <a:cubicBezTo>
                      <a:pt x="32" y="17"/>
                      <a:pt x="32" y="15"/>
                      <a:pt x="33" y="13"/>
                    </a:cubicBezTo>
                    <a:cubicBezTo>
                      <a:pt x="31" y="4"/>
                      <a:pt x="25" y="0"/>
                      <a:pt x="18" y="0"/>
                    </a:cubicBezTo>
                    <a:cubicBezTo>
                      <a:pt x="11" y="0"/>
                      <a:pt x="3" y="6"/>
                      <a:pt x="3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2" y="19"/>
                      <a:pt x="0" y="21"/>
                      <a:pt x="0" y="23"/>
                    </a:cubicBezTo>
                    <a:cubicBezTo>
                      <a:pt x="0" y="25"/>
                      <a:pt x="3" y="27"/>
                      <a:pt x="5" y="27"/>
                    </a:cubicBezTo>
                    <a:cubicBezTo>
                      <a:pt x="8" y="35"/>
                      <a:pt x="13" y="42"/>
                      <a:pt x="18" y="42"/>
                    </a:cubicBezTo>
                    <a:cubicBezTo>
                      <a:pt x="22" y="42"/>
                      <a:pt x="27" y="38"/>
                      <a:pt x="30" y="32"/>
                    </a:cubicBezTo>
                    <a:cubicBezTo>
                      <a:pt x="29" y="31"/>
                      <a:pt x="28" y="29"/>
                      <a:pt x="28" y="28"/>
                    </a:cubicBezTo>
                    <a:cubicBezTo>
                      <a:pt x="28" y="24"/>
                      <a:pt x="30" y="21"/>
                      <a:pt x="32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  <p:sp>
            <p:nvSpPr>
              <p:cNvPr id="69" name="Freeform 165"/>
              <p:cNvSpPr>
                <a:spLocks/>
              </p:cNvSpPr>
              <p:nvPr/>
            </p:nvSpPr>
            <p:spPr bwMode="auto">
              <a:xfrm>
                <a:off x="6423025" y="2116138"/>
                <a:ext cx="117475" cy="112713"/>
              </a:xfrm>
              <a:custGeom>
                <a:avLst/>
                <a:gdLst>
                  <a:gd name="T0" fmla="*/ 0 w 31"/>
                  <a:gd name="T1" fmla="*/ 10 h 30"/>
                  <a:gd name="T2" fmla="*/ 0 w 31"/>
                  <a:gd name="T3" fmla="*/ 30 h 30"/>
                  <a:gd name="T4" fmla="*/ 25 w 31"/>
                  <a:gd name="T5" fmla="*/ 30 h 30"/>
                  <a:gd name="T6" fmla="*/ 25 w 31"/>
                  <a:gd name="T7" fmla="*/ 21 h 30"/>
                  <a:gd name="T8" fmla="*/ 25 w 31"/>
                  <a:gd name="T9" fmla="*/ 18 h 30"/>
                  <a:gd name="T10" fmla="*/ 27 w 31"/>
                  <a:gd name="T11" fmla="*/ 17 h 30"/>
                  <a:gd name="T12" fmla="*/ 31 w 31"/>
                  <a:gd name="T13" fmla="*/ 14 h 30"/>
                  <a:gd name="T14" fmla="*/ 23 w 31"/>
                  <a:gd name="T15" fmla="*/ 0 h 30"/>
                  <a:gd name="T16" fmla="*/ 0 w 31"/>
                  <a:gd name="T17" fmla="*/ 1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30">
                    <a:moveTo>
                      <a:pt x="0" y="10"/>
                    </a:moveTo>
                    <a:cubicBezTo>
                      <a:pt x="0" y="30"/>
                      <a:pt x="0" y="30"/>
                      <a:pt x="0" y="30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7" y="17"/>
                      <a:pt x="28" y="16"/>
                      <a:pt x="31" y="14"/>
                    </a:cubicBezTo>
                    <a:cubicBezTo>
                      <a:pt x="28" y="10"/>
                      <a:pt x="25" y="4"/>
                      <a:pt x="23" y="0"/>
                    </a:cubicBezTo>
                    <a:cubicBezTo>
                      <a:pt x="10" y="3"/>
                      <a:pt x="0" y="10"/>
                      <a:pt x="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  <p:sp>
            <p:nvSpPr>
              <p:cNvPr id="70" name="Freeform 166"/>
              <p:cNvSpPr>
                <a:spLocks/>
              </p:cNvSpPr>
              <p:nvPr/>
            </p:nvSpPr>
            <p:spPr bwMode="auto">
              <a:xfrm>
                <a:off x="6543675" y="2127251"/>
                <a:ext cx="30162" cy="41275"/>
              </a:xfrm>
              <a:custGeom>
                <a:avLst/>
                <a:gdLst>
                  <a:gd name="T0" fmla="*/ 4 w 8"/>
                  <a:gd name="T1" fmla="*/ 0 h 11"/>
                  <a:gd name="T2" fmla="*/ 3 w 8"/>
                  <a:gd name="T3" fmla="*/ 0 h 11"/>
                  <a:gd name="T4" fmla="*/ 0 w 8"/>
                  <a:gd name="T5" fmla="*/ 2 h 11"/>
                  <a:gd name="T6" fmla="*/ 1 w 8"/>
                  <a:gd name="T7" fmla="*/ 5 h 11"/>
                  <a:gd name="T8" fmla="*/ 0 w 8"/>
                  <a:gd name="T9" fmla="*/ 10 h 11"/>
                  <a:gd name="T10" fmla="*/ 0 w 8"/>
                  <a:gd name="T11" fmla="*/ 11 h 11"/>
                  <a:gd name="T12" fmla="*/ 7 w 8"/>
                  <a:gd name="T13" fmla="*/ 7 h 11"/>
                  <a:gd name="T14" fmla="*/ 6 w 8"/>
                  <a:gd name="T15" fmla="*/ 5 h 11"/>
                  <a:gd name="T16" fmla="*/ 8 w 8"/>
                  <a:gd name="T17" fmla="*/ 2 h 11"/>
                  <a:gd name="T18" fmla="*/ 4 w 8"/>
                  <a:gd name="T1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1">
                    <a:moveTo>
                      <a:pt x="4" y="0"/>
                    </a:moveTo>
                    <a:cubicBezTo>
                      <a:pt x="4" y="0"/>
                      <a:pt x="3" y="0"/>
                      <a:pt x="3" y="0"/>
                    </a:cubicBezTo>
                    <a:cubicBezTo>
                      <a:pt x="1" y="0"/>
                      <a:pt x="0" y="0"/>
                      <a:pt x="0" y="2"/>
                    </a:cubicBezTo>
                    <a:cubicBezTo>
                      <a:pt x="0" y="3"/>
                      <a:pt x="1" y="4"/>
                      <a:pt x="1" y="5"/>
                    </a:cubicBezTo>
                    <a:cubicBezTo>
                      <a:pt x="1" y="6"/>
                      <a:pt x="0" y="9"/>
                      <a:pt x="0" y="1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2" y="10"/>
                      <a:pt x="4" y="8"/>
                      <a:pt x="7" y="7"/>
                    </a:cubicBezTo>
                    <a:cubicBezTo>
                      <a:pt x="7" y="6"/>
                      <a:pt x="6" y="6"/>
                      <a:pt x="6" y="5"/>
                    </a:cubicBezTo>
                    <a:cubicBezTo>
                      <a:pt x="6" y="4"/>
                      <a:pt x="8" y="3"/>
                      <a:pt x="8" y="2"/>
                    </a:cubicBezTo>
                    <a:cubicBezTo>
                      <a:pt x="8" y="0"/>
                      <a:pt x="7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  <p:sp>
            <p:nvSpPr>
              <p:cNvPr id="71" name="Freeform 167"/>
              <p:cNvSpPr>
                <a:spLocks/>
              </p:cNvSpPr>
              <p:nvPr/>
            </p:nvSpPr>
            <p:spPr bwMode="auto">
              <a:xfrm>
                <a:off x="6592888" y="2116138"/>
                <a:ext cx="41275" cy="26988"/>
              </a:xfrm>
              <a:custGeom>
                <a:avLst/>
                <a:gdLst>
                  <a:gd name="T0" fmla="*/ 4 w 11"/>
                  <a:gd name="T1" fmla="*/ 0 h 7"/>
                  <a:gd name="T2" fmla="*/ 0 w 11"/>
                  <a:gd name="T3" fmla="*/ 7 h 7"/>
                  <a:gd name="T4" fmla="*/ 11 w 11"/>
                  <a:gd name="T5" fmla="*/ 4 h 7"/>
                  <a:gd name="T6" fmla="*/ 11 w 11"/>
                  <a:gd name="T7" fmla="*/ 4 h 7"/>
                  <a:gd name="T8" fmla="*/ 10 w 11"/>
                  <a:gd name="T9" fmla="*/ 3 h 7"/>
                  <a:gd name="T10" fmla="*/ 4 w 11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7">
                    <a:moveTo>
                      <a:pt x="4" y="0"/>
                    </a:moveTo>
                    <a:cubicBezTo>
                      <a:pt x="3" y="2"/>
                      <a:pt x="2" y="5"/>
                      <a:pt x="0" y="7"/>
                    </a:cubicBezTo>
                    <a:cubicBezTo>
                      <a:pt x="3" y="6"/>
                      <a:pt x="7" y="5"/>
                      <a:pt x="11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3"/>
                      <a:pt x="10" y="3"/>
                      <a:pt x="10" y="3"/>
                    </a:cubicBezTo>
                    <a:cubicBezTo>
                      <a:pt x="8" y="2"/>
                      <a:pt x="6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  <p:sp>
            <p:nvSpPr>
              <p:cNvPr id="72" name="Freeform 168"/>
              <p:cNvSpPr>
                <a:spLocks/>
              </p:cNvSpPr>
              <p:nvPr/>
            </p:nvSpPr>
            <p:spPr bwMode="auto">
              <a:xfrm>
                <a:off x="6610350" y="1966913"/>
                <a:ext cx="165100" cy="182563"/>
              </a:xfrm>
              <a:custGeom>
                <a:avLst/>
                <a:gdLst>
                  <a:gd name="T0" fmla="*/ 44 w 44"/>
                  <a:gd name="T1" fmla="*/ 27 h 49"/>
                  <a:gd name="T2" fmla="*/ 39 w 44"/>
                  <a:gd name="T3" fmla="*/ 21 h 49"/>
                  <a:gd name="T4" fmla="*/ 39 w 44"/>
                  <a:gd name="T5" fmla="*/ 21 h 49"/>
                  <a:gd name="T6" fmla="*/ 39 w 44"/>
                  <a:gd name="T7" fmla="*/ 20 h 49"/>
                  <a:gd name="T8" fmla="*/ 21 w 44"/>
                  <a:gd name="T9" fmla="*/ 0 h 49"/>
                  <a:gd name="T10" fmla="*/ 3 w 44"/>
                  <a:gd name="T11" fmla="*/ 20 h 49"/>
                  <a:gd name="T12" fmla="*/ 3 w 44"/>
                  <a:gd name="T13" fmla="*/ 21 h 49"/>
                  <a:gd name="T14" fmla="*/ 0 w 44"/>
                  <a:gd name="T15" fmla="*/ 27 h 49"/>
                  <a:gd name="T16" fmla="*/ 5 w 44"/>
                  <a:gd name="T17" fmla="*/ 32 h 49"/>
                  <a:gd name="T18" fmla="*/ 21 w 44"/>
                  <a:gd name="T19" fmla="*/ 49 h 49"/>
                  <a:gd name="T20" fmla="*/ 37 w 44"/>
                  <a:gd name="T21" fmla="*/ 32 h 49"/>
                  <a:gd name="T22" fmla="*/ 37 w 44"/>
                  <a:gd name="T23" fmla="*/ 32 h 49"/>
                  <a:gd name="T24" fmla="*/ 44 w 44"/>
                  <a:gd name="T25" fmla="*/ 2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" h="49">
                    <a:moveTo>
                      <a:pt x="44" y="27"/>
                    </a:moveTo>
                    <a:cubicBezTo>
                      <a:pt x="44" y="24"/>
                      <a:pt x="42" y="21"/>
                      <a:pt x="39" y="21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39" y="21"/>
                      <a:pt x="39" y="21"/>
                      <a:pt x="39" y="20"/>
                    </a:cubicBezTo>
                    <a:cubicBezTo>
                      <a:pt x="39" y="7"/>
                      <a:pt x="30" y="0"/>
                      <a:pt x="21" y="0"/>
                    </a:cubicBezTo>
                    <a:cubicBezTo>
                      <a:pt x="13" y="0"/>
                      <a:pt x="3" y="7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2" y="22"/>
                      <a:pt x="0" y="24"/>
                      <a:pt x="0" y="27"/>
                    </a:cubicBezTo>
                    <a:cubicBezTo>
                      <a:pt x="0" y="29"/>
                      <a:pt x="3" y="32"/>
                      <a:pt x="5" y="32"/>
                    </a:cubicBezTo>
                    <a:cubicBezTo>
                      <a:pt x="9" y="41"/>
                      <a:pt x="15" y="49"/>
                      <a:pt x="21" y="49"/>
                    </a:cubicBezTo>
                    <a:cubicBezTo>
                      <a:pt x="28" y="49"/>
                      <a:pt x="34" y="41"/>
                      <a:pt x="37" y="32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40" y="32"/>
                      <a:pt x="44" y="30"/>
                      <a:pt x="44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32">
                  <a:defRPr/>
                </a:pPr>
                <a:endParaRPr lang="zh-CN" altLang="en-US" sz="2400" kern="0">
                  <a:solidFill>
                    <a:srgbClr val="000000"/>
                  </a:solidFill>
                  <a:latin typeface="+mn-e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4570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dirty="0">
                <a:latin typeface="+mn-ea"/>
                <a:ea typeface="+mn-ea"/>
              </a:rPr>
              <a:t>供应链的变革</a:t>
            </a:r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/>
          </p:nvPr>
        </p:nvGraphicFramePr>
        <p:xfrm>
          <a:off x="1828940" y="2469311"/>
          <a:ext cx="9709381" cy="3738756"/>
        </p:xfrm>
        <a:graphic>
          <a:graphicData uri="http://schemas.openxmlformats.org/drawingml/2006/table">
            <a:tbl>
              <a:tblPr firstRow="1" bandRow="1"/>
              <a:tblGrid>
                <a:gridCol w="26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6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17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645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64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9770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727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548640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供应链模型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链条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核心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驱动力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计划</a:t>
                      </a:r>
                      <a:r>
                        <a:rPr lang="en-US" altLang="zh-CN" sz="14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</a:p>
                    <a:p>
                      <a:pPr algn="ctr"/>
                      <a:r>
                        <a:rPr lang="zh-CN" altLang="en-US" sz="14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生产</a:t>
                      </a:r>
                      <a:endParaRPr lang="zh-CN" altLang="en-US" sz="14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渠道</a:t>
                      </a:r>
                      <a:r>
                        <a:rPr lang="en-US" altLang="zh-CN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销售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关键能力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ea"/>
                          <a:ea typeface="+mn-ea"/>
                        </a:rPr>
                        <a:t>参与方关系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72000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endParaRPr lang="zh-CN" altLang="en-US" sz="1500" dirty="0"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长链条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商品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en-US" altLang="zh-CN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F2B</a:t>
                      </a:r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：</a:t>
                      </a:r>
                      <a:r>
                        <a:rPr lang="zh-CN" altLang="en-US" sz="13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生产驱动</a:t>
                      </a:r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销售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产能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层层分销体系构成线下渠道网络，并通过线下实体店进行销售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渠道网络覆盖度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8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渠道间独立，上下游分离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2000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endParaRPr lang="zh-CN" altLang="en-US" sz="1500" dirty="0"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短链条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商品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en-US" altLang="zh-CN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F2C</a:t>
                      </a:r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：生产</a:t>
                      </a:r>
                      <a:r>
                        <a:rPr lang="en-US" altLang="zh-CN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+</a:t>
                      </a:r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需求驱动销售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产能</a:t>
                      </a:r>
                      <a:r>
                        <a:rPr lang="en-US" altLang="zh-CN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+</a:t>
                      </a:r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销售预测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en-US" altLang="zh-CN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B2C</a:t>
                      </a:r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平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ea"/>
                          <a:ea typeface="+mn-ea"/>
                        </a:rPr>
                        <a:t>电商平台覆盖能力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  <a:alpha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zh-CN" altLang="en-US" sz="14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6116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endParaRPr lang="zh-CN" altLang="en-US" sz="1500" dirty="0">
                        <a:ea typeface="楷体" panose="02010609060101010101" pitchFamily="49" charset="-122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短链条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用户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en-US" altLang="zh-CN" sz="13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C2F</a:t>
                      </a:r>
                      <a:r>
                        <a:rPr lang="zh-CN" altLang="en-US" sz="13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：需求（数据）驱动生产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需求</a:t>
                      </a:r>
                      <a:r>
                        <a:rPr lang="en-US" altLang="zh-CN" sz="13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+</a:t>
                      </a:r>
                      <a:r>
                        <a:rPr lang="zh-CN" altLang="en-US" sz="13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销售预测</a:t>
                      </a:r>
                      <a:endParaRPr lang="en-US" altLang="zh-CN" sz="130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围绕用户构建线上线下全销售场景，并协同多渠道，灵活、快速响应不同消费场景的商品及交付需求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全场景用户数据获取能力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pPr algn="just"/>
                      <a:r>
                        <a:rPr lang="zh-CN" altLang="en-US" sz="1300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全渠道融合，上下游协作</a:t>
                      </a:r>
                      <a:endParaRPr lang="en-US" altLang="zh-CN" sz="130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8" name="文本框 7"/>
          <p:cNvSpPr txBox="1"/>
          <p:nvPr/>
        </p:nvSpPr>
        <p:spPr>
          <a:xfrm>
            <a:off x="292383" y="3269571"/>
            <a:ext cx="1415772" cy="3877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spcAft>
                <a:spcPts val="600"/>
              </a:spcAft>
              <a:defRPr kumimoji="1" sz="1600" b="1">
                <a:solidFill>
                  <a:schemeClr val="accent1"/>
                </a:solidFill>
              </a:defRPr>
            </a:lvl1pPr>
          </a:lstStyle>
          <a:p>
            <a:pPr defTabSz="914332">
              <a:defRPr/>
            </a:pPr>
            <a:r>
              <a:rPr lang="zh-CN" altLang="en-US" kern="0" dirty="0">
                <a:solidFill>
                  <a:prstClr val="black"/>
                </a:solidFill>
                <a:latin typeface="+mn-ea"/>
              </a:rPr>
              <a:t>传统经销模式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548865" y="4237216"/>
            <a:ext cx="1000595" cy="3877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en-US" altLang="zh-CN" sz="1600" b="1" kern="0" dirty="0">
                <a:solidFill>
                  <a:prstClr val="black"/>
                </a:solidFill>
                <a:latin typeface="+mn-ea"/>
              </a:rPr>
              <a:t>B2C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模式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497569" y="5308140"/>
            <a:ext cx="1005403" cy="3877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600" b="1" kern="0" dirty="0">
                <a:solidFill>
                  <a:srgbClr val="FF2929"/>
                </a:solidFill>
                <a:latin typeface="+mn-ea"/>
              </a:rPr>
              <a:t>数字零售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1747910" y="4351779"/>
            <a:ext cx="2742781" cy="452560"/>
            <a:chOff x="1322053" y="3331930"/>
            <a:chExt cx="2057086" cy="339420"/>
          </a:xfrm>
          <a:solidFill>
            <a:srgbClr val="FF8D8D"/>
          </a:solidFill>
        </p:grpSpPr>
        <p:sp>
          <p:nvSpPr>
            <p:cNvPr id="39" name="椭圆 38"/>
            <p:cNvSpPr/>
            <p:nvPr/>
          </p:nvSpPr>
          <p:spPr>
            <a:xfrm>
              <a:off x="1515161" y="3333194"/>
              <a:ext cx="103340" cy="103340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1322053" y="3435901"/>
              <a:ext cx="880289" cy="2354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品牌商</a:t>
              </a:r>
              <a:r>
                <a:rPr kumimoji="1" lang="en-US" altLang="zh-CN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/</a:t>
              </a: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渠道商</a:t>
              </a:r>
            </a:p>
          </p:txBody>
        </p:sp>
        <p:sp>
          <p:nvSpPr>
            <p:cNvPr id="37" name="椭圆 36"/>
            <p:cNvSpPr/>
            <p:nvPr/>
          </p:nvSpPr>
          <p:spPr>
            <a:xfrm>
              <a:off x="3085094" y="3331930"/>
              <a:ext cx="103339" cy="103340"/>
            </a:xfrm>
            <a:prstGeom prst="ellipse">
              <a:avLst/>
            </a:prstGeom>
            <a:grpFill/>
            <a:ln w="12700" cap="flat" cmpd="sng" algn="ctr">
              <a:solidFill>
                <a:schemeClr val="tx2">
                  <a:lumMod val="40000"/>
                  <a:lumOff val="6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38" name="文本框 37"/>
            <p:cNvSpPr txBox="1"/>
            <p:nvPr/>
          </p:nvSpPr>
          <p:spPr>
            <a:xfrm>
              <a:off x="2894391" y="3435901"/>
              <a:ext cx="484748" cy="2354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消费者</a:t>
              </a:r>
            </a:p>
          </p:txBody>
        </p:sp>
        <p:cxnSp>
          <p:nvCxnSpPr>
            <p:cNvPr id="36" name="直线箭头连接符 24"/>
            <p:cNvCxnSpPr/>
            <p:nvPr/>
          </p:nvCxnSpPr>
          <p:spPr>
            <a:xfrm flipV="1">
              <a:off x="1618500" y="3383600"/>
              <a:ext cx="1466594" cy="1264"/>
            </a:xfrm>
            <a:prstGeom prst="straightConnector1">
              <a:avLst/>
            </a:prstGeom>
            <a:grpFill/>
            <a:ln w="6350" cap="flat" cmpd="sng" algn="ctr">
              <a:solidFill>
                <a:srgbClr val="FF8D8D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41" name="文本框 40"/>
          <p:cNvSpPr txBox="1"/>
          <p:nvPr/>
        </p:nvSpPr>
        <p:spPr>
          <a:xfrm>
            <a:off x="358369" y="1797520"/>
            <a:ext cx="11364945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以</a:t>
            </a:r>
            <a:r>
              <a:rPr kumimoji="1" lang="zh-CN" altLang="en-US" sz="1400" b="1" kern="0" dirty="0">
                <a:solidFill>
                  <a:srgbClr val="CA352D"/>
                </a:solidFill>
                <a:latin typeface="+mn-ea"/>
              </a:rPr>
              <a:t>数字化</a:t>
            </a:r>
            <a:r>
              <a:rPr kumimoji="1" lang="zh-CN" alt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为核心的新一轮供应链变革中，通过各类信息化工具，品牌商得以更好感知用户需求，并据此实现对于供应链全程的把控与管理，驱动供应链由传统分段分离向一体化融合的方向发展，更精准、及时、快速的响应“人”的需求。</a:t>
            </a:r>
          </a:p>
        </p:txBody>
      </p:sp>
      <p:sp>
        <p:nvSpPr>
          <p:cNvPr id="42" name="虚尾箭头 41"/>
          <p:cNvSpPr/>
          <p:nvPr/>
        </p:nvSpPr>
        <p:spPr>
          <a:xfrm rot="5400000">
            <a:off x="790841" y="4837526"/>
            <a:ext cx="480415" cy="309324"/>
          </a:xfrm>
          <a:prstGeom prst="stripedRightArrow">
            <a:avLst/>
          </a:prstGeom>
          <a:gradFill flip="none" rotWithShape="1">
            <a:gsLst>
              <a:gs pos="50000">
                <a:srgbClr val="D2B7B6"/>
              </a:gs>
              <a:gs pos="0">
                <a:schemeClr val="bg1">
                  <a:lumMod val="75000"/>
                </a:schemeClr>
              </a:gs>
              <a:gs pos="100000">
                <a:srgbClr val="CA352D">
                  <a:lumMod val="40000"/>
                  <a:lumOff val="60000"/>
                </a:srgbClr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/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grpSp>
        <p:nvGrpSpPr>
          <p:cNvPr id="43" name="组 126"/>
          <p:cNvGrpSpPr/>
          <p:nvPr/>
        </p:nvGrpSpPr>
        <p:grpSpPr>
          <a:xfrm>
            <a:off x="1746706" y="5195410"/>
            <a:ext cx="2739578" cy="849411"/>
            <a:chOff x="1765943" y="5197700"/>
            <a:chExt cx="2739576" cy="849412"/>
          </a:xfrm>
        </p:grpSpPr>
        <p:sp>
          <p:nvSpPr>
            <p:cNvPr id="44" name="圆角矩形 43"/>
            <p:cNvSpPr/>
            <p:nvPr/>
          </p:nvSpPr>
          <p:spPr>
            <a:xfrm>
              <a:off x="2453741" y="5197700"/>
              <a:ext cx="1287035" cy="604653"/>
            </a:xfrm>
            <a:prstGeom prst="roundRect">
              <a:avLst>
                <a:gd name="adj" fmla="val 23684"/>
              </a:avLst>
            </a:prstGeom>
            <a:solidFill>
              <a:srgbClr val="CA352D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45" name="椭圆 44"/>
            <p:cNvSpPr/>
            <p:nvPr/>
          </p:nvSpPr>
          <p:spPr>
            <a:xfrm>
              <a:off x="2020214" y="5454274"/>
              <a:ext cx="137786" cy="137786"/>
            </a:xfrm>
            <a:prstGeom prst="ellipse">
              <a:avLst/>
            </a:prstGeom>
            <a:solidFill>
              <a:srgbClr val="FF2929"/>
            </a:solidFill>
            <a:ln w="12700" cap="flat" cmpd="sng" algn="ctr">
              <a:solidFill>
                <a:srgbClr val="FF292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1765943" y="5571828"/>
              <a:ext cx="646331" cy="3139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品牌商</a:t>
              </a:r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3037003" y="5751646"/>
              <a:ext cx="889986" cy="29546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1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多零售业态</a:t>
              </a:r>
            </a:p>
          </p:txBody>
        </p:sp>
        <p:grpSp>
          <p:nvGrpSpPr>
            <p:cNvPr id="48" name="组 110"/>
            <p:cNvGrpSpPr/>
            <p:nvPr/>
          </p:nvGrpSpPr>
          <p:grpSpPr>
            <a:xfrm>
              <a:off x="2673034" y="5362891"/>
              <a:ext cx="137786" cy="320553"/>
              <a:chOff x="2749814" y="5453299"/>
              <a:chExt cx="137786" cy="320553"/>
            </a:xfrm>
          </p:grpSpPr>
          <p:sp>
            <p:nvSpPr>
              <p:cNvPr id="64" name="椭圆 63"/>
              <p:cNvSpPr/>
              <p:nvPr/>
            </p:nvSpPr>
            <p:spPr>
              <a:xfrm>
                <a:off x="2749814" y="5453299"/>
                <a:ext cx="137786" cy="137786"/>
              </a:xfrm>
              <a:prstGeom prst="ellipse">
                <a:avLst/>
              </a:prstGeom>
              <a:solidFill>
                <a:srgbClr val="FF2929"/>
              </a:solidFill>
              <a:ln w="12700" cap="flat" cmpd="sng" algn="ctr">
                <a:solidFill>
                  <a:srgbClr val="FF292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2400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65" name="椭圆 64"/>
              <p:cNvSpPr/>
              <p:nvPr/>
            </p:nvSpPr>
            <p:spPr>
              <a:xfrm>
                <a:off x="2749814" y="5636066"/>
                <a:ext cx="137786" cy="137786"/>
              </a:xfrm>
              <a:prstGeom prst="ellipse">
                <a:avLst/>
              </a:prstGeom>
              <a:solidFill>
                <a:srgbClr val="FF2929"/>
              </a:solidFill>
              <a:ln w="12700" cap="flat" cmpd="sng" algn="ctr">
                <a:solidFill>
                  <a:srgbClr val="FF292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2400" kern="0">
                  <a:solidFill>
                    <a:srgbClr val="FFFFFF"/>
                  </a:solidFill>
                  <a:latin typeface="+mn-ea"/>
                </a:endParaRPr>
              </a:p>
            </p:txBody>
          </p:sp>
        </p:grpSp>
        <p:grpSp>
          <p:nvGrpSpPr>
            <p:cNvPr id="49" name="组 109"/>
            <p:cNvGrpSpPr/>
            <p:nvPr/>
          </p:nvGrpSpPr>
          <p:grpSpPr>
            <a:xfrm>
              <a:off x="3413102" y="5285779"/>
              <a:ext cx="137786" cy="474776"/>
              <a:chOff x="3329342" y="5453299"/>
              <a:chExt cx="137786" cy="474776"/>
            </a:xfrm>
          </p:grpSpPr>
          <p:sp>
            <p:nvSpPr>
              <p:cNvPr id="61" name="椭圆 60"/>
              <p:cNvSpPr/>
              <p:nvPr/>
            </p:nvSpPr>
            <p:spPr>
              <a:xfrm>
                <a:off x="3329342" y="5453299"/>
                <a:ext cx="137786" cy="137786"/>
              </a:xfrm>
              <a:prstGeom prst="ellipse">
                <a:avLst/>
              </a:prstGeom>
              <a:solidFill>
                <a:srgbClr val="FF2929"/>
              </a:solidFill>
              <a:ln w="12700" cap="flat" cmpd="sng" algn="ctr">
                <a:solidFill>
                  <a:srgbClr val="FF292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2400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62" name="椭圆 61"/>
              <p:cNvSpPr/>
              <p:nvPr/>
            </p:nvSpPr>
            <p:spPr>
              <a:xfrm>
                <a:off x="3329342" y="5621794"/>
                <a:ext cx="137786" cy="137786"/>
              </a:xfrm>
              <a:prstGeom prst="ellipse">
                <a:avLst/>
              </a:prstGeom>
              <a:solidFill>
                <a:srgbClr val="FF2929"/>
              </a:solidFill>
              <a:ln w="12700" cap="flat" cmpd="sng" algn="ctr">
                <a:solidFill>
                  <a:srgbClr val="FF292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2400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63" name="椭圆 62"/>
              <p:cNvSpPr/>
              <p:nvPr/>
            </p:nvSpPr>
            <p:spPr>
              <a:xfrm>
                <a:off x="3329342" y="5790289"/>
                <a:ext cx="137786" cy="137786"/>
              </a:xfrm>
              <a:prstGeom prst="ellipse">
                <a:avLst/>
              </a:prstGeom>
              <a:solidFill>
                <a:srgbClr val="FF2929"/>
              </a:solidFill>
              <a:ln w="12700" cap="flat" cmpd="sng" algn="ctr">
                <a:solidFill>
                  <a:srgbClr val="FF2929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2400" kern="0">
                  <a:solidFill>
                    <a:srgbClr val="FFFFFF"/>
                  </a:solidFill>
                  <a:latin typeface="+mn-ea"/>
                </a:endParaRPr>
              </a:p>
            </p:txBody>
          </p:sp>
        </p:grpSp>
        <p:sp>
          <p:nvSpPr>
            <p:cNvPr id="50" name="椭圆 49"/>
            <p:cNvSpPr/>
            <p:nvPr/>
          </p:nvSpPr>
          <p:spPr>
            <a:xfrm>
              <a:off x="4113459" y="5454274"/>
              <a:ext cx="137786" cy="137786"/>
            </a:xfrm>
            <a:prstGeom prst="ellipse">
              <a:avLst/>
            </a:prstGeom>
            <a:solidFill>
              <a:srgbClr val="FF2929"/>
            </a:solidFill>
            <a:ln w="12700" cap="flat" cmpd="sng" algn="ctr">
              <a:solidFill>
                <a:srgbClr val="FF292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51" name="文本框 50"/>
            <p:cNvSpPr txBox="1"/>
            <p:nvPr/>
          </p:nvSpPr>
          <p:spPr>
            <a:xfrm>
              <a:off x="3859188" y="5570144"/>
              <a:ext cx="646331" cy="3139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消费者</a:t>
              </a:r>
            </a:p>
          </p:txBody>
        </p:sp>
        <p:sp>
          <p:nvSpPr>
            <p:cNvPr id="52" name="右箭头 51"/>
            <p:cNvSpPr/>
            <p:nvPr/>
          </p:nvSpPr>
          <p:spPr>
            <a:xfrm>
              <a:off x="2164222" y="5442815"/>
              <a:ext cx="315454" cy="160704"/>
            </a:xfrm>
            <a:prstGeom prst="rightArrow">
              <a:avLst>
                <a:gd name="adj1" fmla="val 30271"/>
                <a:gd name="adj2" fmla="val 50000"/>
              </a:avLst>
            </a:prstGeom>
            <a:solidFill>
              <a:srgbClr val="FF2929"/>
            </a:solidFill>
            <a:ln w="12700" cap="flat" cmpd="sng" algn="ctr">
              <a:solidFill>
                <a:srgbClr val="FF292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53" name="右箭头 52"/>
            <p:cNvSpPr/>
            <p:nvPr/>
          </p:nvSpPr>
          <p:spPr>
            <a:xfrm>
              <a:off x="3747342" y="5453776"/>
              <a:ext cx="342808" cy="138781"/>
            </a:xfrm>
            <a:prstGeom prst="rightArrow">
              <a:avLst>
                <a:gd name="adj1" fmla="val 30271"/>
                <a:gd name="adj2" fmla="val 50000"/>
              </a:avLst>
            </a:prstGeom>
            <a:solidFill>
              <a:srgbClr val="FF2929"/>
            </a:solidFill>
            <a:ln w="12700" cap="flat" cmpd="sng" algn="ctr">
              <a:solidFill>
                <a:srgbClr val="FF292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cxnSp>
          <p:nvCxnSpPr>
            <p:cNvPr id="54" name="直线箭头连接符 99"/>
            <p:cNvCxnSpPr>
              <a:stCxn id="64" idx="6"/>
              <a:endCxn id="61" idx="2"/>
            </p:cNvCxnSpPr>
            <p:nvPr/>
          </p:nvCxnSpPr>
          <p:spPr>
            <a:xfrm flipV="1">
              <a:off x="2810820" y="5354672"/>
              <a:ext cx="602282" cy="77112"/>
            </a:xfrm>
            <a:prstGeom prst="straightConnector1">
              <a:avLst/>
            </a:prstGeom>
            <a:noFill/>
            <a:ln w="6350" cap="flat" cmpd="sng" algn="ctr">
              <a:solidFill>
                <a:srgbClr val="FF2929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5" name="直线箭头连接符 112"/>
            <p:cNvCxnSpPr>
              <a:stCxn id="64" idx="6"/>
              <a:endCxn id="62" idx="2"/>
            </p:cNvCxnSpPr>
            <p:nvPr/>
          </p:nvCxnSpPr>
          <p:spPr>
            <a:xfrm>
              <a:off x="2810820" y="5431784"/>
              <a:ext cx="602282" cy="91383"/>
            </a:xfrm>
            <a:prstGeom prst="straightConnector1">
              <a:avLst/>
            </a:prstGeom>
            <a:noFill/>
            <a:ln w="6350" cap="flat" cmpd="sng" algn="ctr">
              <a:solidFill>
                <a:srgbClr val="FF2929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6" name="直线箭头连接符 114"/>
            <p:cNvCxnSpPr>
              <a:stCxn id="64" idx="6"/>
              <a:endCxn id="63" idx="2"/>
            </p:cNvCxnSpPr>
            <p:nvPr/>
          </p:nvCxnSpPr>
          <p:spPr>
            <a:xfrm>
              <a:off x="2810820" y="5431784"/>
              <a:ext cx="602282" cy="259878"/>
            </a:xfrm>
            <a:prstGeom prst="straightConnector1">
              <a:avLst/>
            </a:prstGeom>
            <a:noFill/>
            <a:ln w="6350" cap="flat" cmpd="sng" algn="ctr">
              <a:solidFill>
                <a:srgbClr val="FF2929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7" name="直线箭头连接符 116"/>
            <p:cNvCxnSpPr>
              <a:stCxn id="65" idx="6"/>
              <a:endCxn id="61" idx="2"/>
            </p:cNvCxnSpPr>
            <p:nvPr/>
          </p:nvCxnSpPr>
          <p:spPr>
            <a:xfrm flipV="1">
              <a:off x="2810820" y="5354672"/>
              <a:ext cx="602282" cy="259879"/>
            </a:xfrm>
            <a:prstGeom prst="straightConnector1">
              <a:avLst/>
            </a:prstGeom>
            <a:noFill/>
            <a:ln w="6350" cap="flat" cmpd="sng" algn="ctr">
              <a:solidFill>
                <a:srgbClr val="FF2929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8" name="直线箭头连接符 118"/>
            <p:cNvCxnSpPr>
              <a:stCxn id="65" idx="6"/>
              <a:endCxn id="62" idx="2"/>
            </p:cNvCxnSpPr>
            <p:nvPr/>
          </p:nvCxnSpPr>
          <p:spPr>
            <a:xfrm flipV="1">
              <a:off x="2810820" y="5523167"/>
              <a:ext cx="602282" cy="91384"/>
            </a:xfrm>
            <a:prstGeom prst="straightConnector1">
              <a:avLst/>
            </a:prstGeom>
            <a:noFill/>
            <a:ln w="6350" cap="flat" cmpd="sng" algn="ctr">
              <a:solidFill>
                <a:srgbClr val="FF2929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9" name="直线箭头连接符 120"/>
            <p:cNvCxnSpPr>
              <a:stCxn id="65" idx="6"/>
              <a:endCxn id="63" idx="2"/>
            </p:cNvCxnSpPr>
            <p:nvPr/>
          </p:nvCxnSpPr>
          <p:spPr>
            <a:xfrm>
              <a:off x="2810820" y="5614551"/>
              <a:ext cx="602282" cy="77111"/>
            </a:xfrm>
            <a:prstGeom prst="straightConnector1">
              <a:avLst/>
            </a:prstGeom>
            <a:noFill/>
            <a:ln w="6350" cap="flat" cmpd="sng" algn="ctr">
              <a:solidFill>
                <a:srgbClr val="FF2929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60" name="文本框 59"/>
            <p:cNvSpPr txBox="1"/>
            <p:nvPr/>
          </p:nvSpPr>
          <p:spPr>
            <a:xfrm>
              <a:off x="2213122" y="5751646"/>
              <a:ext cx="889986" cy="29546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1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多渠道协同</a:t>
              </a: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1746706" y="3201180"/>
            <a:ext cx="2739575" cy="811805"/>
            <a:chOff x="1324458" y="2430386"/>
            <a:chExt cx="2054682" cy="608854"/>
          </a:xfrm>
        </p:grpSpPr>
        <p:sp>
          <p:nvSpPr>
            <p:cNvPr id="31" name="椭圆 30"/>
            <p:cNvSpPr/>
            <p:nvPr/>
          </p:nvSpPr>
          <p:spPr>
            <a:xfrm>
              <a:off x="1515161" y="2559535"/>
              <a:ext cx="103339" cy="10334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solidFill>
                <a:srgbClr val="FFC6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1324458" y="2662242"/>
              <a:ext cx="484748" cy="23544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品牌商</a:t>
              </a:r>
            </a:p>
          </p:txBody>
        </p:sp>
        <p:sp>
          <p:nvSpPr>
            <p:cNvPr id="27" name="椭圆 26"/>
            <p:cNvSpPr/>
            <p:nvPr/>
          </p:nvSpPr>
          <p:spPr>
            <a:xfrm>
              <a:off x="2047440" y="2568502"/>
              <a:ext cx="85405" cy="8540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solidFill>
                <a:srgbClr val="FFC6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1847769" y="2803791"/>
              <a:ext cx="484748" cy="23544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渠道商</a:t>
              </a:r>
            </a:p>
          </p:txBody>
        </p:sp>
        <p:sp>
          <p:nvSpPr>
            <p:cNvPr id="29" name="椭圆 28"/>
            <p:cNvSpPr/>
            <p:nvPr/>
          </p:nvSpPr>
          <p:spPr>
            <a:xfrm>
              <a:off x="2047440" y="2683437"/>
              <a:ext cx="85405" cy="8540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solidFill>
                <a:srgbClr val="FFC6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30" name="椭圆 29"/>
            <p:cNvSpPr/>
            <p:nvPr/>
          </p:nvSpPr>
          <p:spPr>
            <a:xfrm>
              <a:off x="2047440" y="2453826"/>
              <a:ext cx="85405" cy="8540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solidFill>
                <a:srgbClr val="FFC6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23" name="椭圆 22"/>
            <p:cNvSpPr/>
            <p:nvPr/>
          </p:nvSpPr>
          <p:spPr>
            <a:xfrm>
              <a:off x="2560806" y="2559535"/>
              <a:ext cx="103339" cy="10334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solidFill>
                <a:srgbClr val="FFC6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2371081" y="2803791"/>
              <a:ext cx="484748" cy="23544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零售商</a:t>
              </a:r>
            </a:p>
          </p:txBody>
        </p:sp>
        <p:sp>
          <p:nvSpPr>
            <p:cNvPr id="25" name="椭圆 24"/>
            <p:cNvSpPr/>
            <p:nvPr/>
          </p:nvSpPr>
          <p:spPr>
            <a:xfrm>
              <a:off x="2560806" y="2688793"/>
              <a:ext cx="103339" cy="10334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solidFill>
                <a:srgbClr val="FFC6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26" name="椭圆 25"/>
            <p:cNvSpPr/>
            <p:nvPr/>
          </p:nvSpPr>
          <p:spPr>
            <a:xfrm>
              <a:off x="2560806" y="2430386"/>
              <a:ext cx="103339" cy="10334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solidFill>
                <a:srgbClr val="FFC6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21" name="椭圆 20"/>
            <p:cNvSpPr/>
            <p:nvPr/>
          </p:nvSpPr>
          <p:spPr>
            <a:xfrm>
              <a:off x="3085095" y="2558271"/>
              <a:ext cx="103339" cy="10334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solidFill>
                <a:srgbClr val="FFC6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2894392" y="2662242"/>
              <a:ext cx="484748" cy="235449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消费者</a:t>
              </a:r>
            </a:p>
          </p:txBody>
        </p:sp>
        <p:cxnSp>
          <p:nvCxnSpPr>
            <p:cNvPr id="18" name="直线箭头连接符 9"/>
            <p:cNvCxnSpPr/>
            <p:nvPr/>
          </p:nvCxnSpPr>
          <p:spPr>
            <a:xfrm>
              <a:off x="1618500" y="2611204"/>
              <a:ext cx="419973" cy="0"/>
            </a:xfrm>
            <a:prstGeom prst="straightConnector1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 cap="flat" cmpd="sng" algn="ctr">
              <a:solidFill>
                <a:srgbClr val="FFC6C6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9" name="直线箭头连接符 10"/>
            <p:cNvCxnSpPr/>
            <p:nvPr/>
          </p:nvCxnSpPr>
          <p:spPr>
            <a:xfrm>
              <a:off x="2141813" y="2611204"/>
              <a:ext cx="419972" cy="0"/>
            </a:xfrm>
            <a:prstGeom prst="straightConnector1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 cap="flat" cmpd="sng" algn="ctr">
              <a:solidFill>
                <a:srgbClr val="FFC6C6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0" name="直线箭头连接符 11"/>
            <p:cNvCxnSpPr/>
            <p:nvPr/>
          </p:nvCxnSpPr>
          <p:spPr>
            <a:xfrm flipV="1">
              <a:off x="2665124" y="2609941"/>
              <a:ext cx="419971" cy="1264"/>
            </a:xfrm>
            <a:prstGeom prst="straightConnector1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 cap="flat" cmpd="sng" algn="ctr">
              <a:solidFill>
                <a:srgbClr val="FFC6C6"/>
              </a:solidFill>
              <a:prstDash val="solid"/>
              <a:miter lim="800000"/>
              <a:headEnd type="triangle" w="med" len="med"/>
              <a:tailEnd type="none" w="med" len="med"/>
            </a:ln>
            <a:effectLst/>
          </p:spPr>
        </p:cxnSp>
        <p:cxnSp>
          <p:nvCxnSpPr>
            <p:cNvPr id="66" name="直线箭头连接符 130"/>
            <p:cNvCxnSpPr>
              <a:stCxn id="27" idx="6"/>
              <a:endCxn id="26" idx="2"/>
            </p:cNvCxnSpPr>
            <p:nvPr/>
          </p:nvCxnSpPr>
          <p:spPr>
            <a:xfrm flipV="1">
              <a:off x="2132845" y="2482056"/>
              <a:ext cx="427961" cy="129149"/>
            </a:xfrm>
            <a:prstGeom prst="straightConnector1">
              <a:avLst/>
            </a:prstGeom>
            <a:noFill/>
            <a:ln w="6350" cap="flat" cmpd="sng" algn="ctr">
              <a:solidFill>
                <a:srgbClr val="FFC6C6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7" name="直线箭头连接符 132"/>
            <p:cNvCxnSpPr>
              <a:endCxn id="25" idx="2"/>
            </p:cNvCxnSpPr>
            <p:nvPr/>
          </p:nvCxnSpPr>
          <p:spPr>
            <a:xfrm>
              <a:off x="2141813" y="2623498"/>
              <a:ext cx="418993" cy="116965"/>
            </a:xfrm>
            <a:prstGeom prst="straightConnector1">
              <a:avLst/>
            </a:prstGeom>
            <a:noFill/>
            <a:ln w="6350" cap="flat" cmpd="sng" algn="ctr">
              <a:solidFill>
                <a:srgbClr val="FFC6C6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8" name="直线箭头连接符 135"/>
            <p:cNvCxnSpPr>
              <a:stCxn id="31" idx="6"/>
              <a:endCxn id="29" idx="2"/>
            </p:cNvCxnSpPr>
            <p:nvPr/>
          </p:nvCxnSpPr>
          <p:spPr>
            <a:xfrm>
              <a:off x="1618500" y="2611205"/>
              <a:ext cx="428940" cy="114935"/>
            </a:xfrm>
            <a:prstGeom prst="straightConnector1">
              <a:avLst/>
            </a:prstGeom>
            <a:noFill/>
            <a:ln w="6350" cap="flat" cmpd="sng" algn="ctr">
              <a:solidFill>
                <a:srgbClr val="FFC6C6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69" name="直线箭头连接符 138"/>
            <p:cNvCxnSpPr>
              <a:stCxn id="31" idx="6"/>
              <a:endCxn id="30" idx="2"/>
            </p:cNvCxnSpPr>
            <p:nvPr/>
          </p:nvCxnSpPr>
          <p:spPr>
            <a:xfrm flipV="1">
              <a:off x="1618500" y="2496529"/>
              <a:ext cx="428940" cy="114676"/>
            </a:xfrm>
            <a:prstGeom prst="straightConnector1">
              <a:avLst/>
            </a:prstGeom>
            <a:noFill/>
            <a:ln w="6350" cap="flat" cmpd="sng" algn="ctr">
              <a:solidFill>
                <a:srgbClr val="FFC6C6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70" name="文本占位符 1"/>
          <p:cNvSpPr txBox="1">
            <a:spLocks/>
          </p:cNvSpPr>
          <p:nvPr/>
        </p:nvSpPr>
        <p:spPr>
          <a:xfrm>
            <a:off x="431371" y="878834"/>
            <a:ext cx="10995691" cy="531396"/>
          </a:xfrm>
          <a:prstGeom prst="rect">
            <a:avLst/>
          </a:prstGeom>
        </p:spPr>
        <p:txBody>
          <a:bodyPr anchor="t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0" kern="1200" spc="0">
                <a:solidFill>
                  <a:srgbClr val="CA352D"/>
                </a:solidFill>
                <a:latin typeface="+mj-ea"/>
                <a:ea typeface="+mj-ea"/>
                <a:cs typeface="Segoe UI" charset="0"/>
              </a:defRPr>
            </a:lvl1pPr>
            <a:lvl2pPr marL="5143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572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430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kumimoji="1" lang="zh-CN" altLang="en-US" sz="2133" b="1" dirty="0">
                <a:solidFill>
                  <a:srgbClr val="FF7D78">
                    <a:lumMod val="50000"/>
                  </a:srgbClr>
                </a:solidFill>
                <a:latin typeface="+mn-ea"/>
                <a:ea typeface="+mn-ea"/>
              </a:rPr>
              <a:t>从“分裂”到“融合”</a:t>
            </a:r>
          </a:p>
        </p:txBody>
      </p:sp>
      <p:sp>
        <p:nvSpPr>
          <p:cNvPr id="71" name="文本框 70"/>
          <p:cNvSpPr txBox="1"/>
          <p:nvPr/>
        </p:nvSpPr>
        <p:spPr>
          <a:xfrm>
            <a:off x="3130664" y="976030"/>
            <a:ext cx="8488763" cy="76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en-US" altLang="zh-CN" sz="1600" b="1" kern="0" dirty="0">
                <a:solidFill>
                  <a:prstClr val="black"/>
                </a:solidFill>
                <a:latin typeface="+mn-ea"/>
              </a:rPr>
              <a:t>——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供应链重心从“货”转移到“人”，</a:t>
            </a:r>
          </a:p>
          <a:p>
            <a:pPr algn="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数据驱动供应链横向由“分离”向“协作”、纵向由“多渠道并行”向“全渠道融合”发展。</a:t>
            </a:r>
          </a:p>
        </p:txBody>
      </p:sp>
    </p:spTree>
    <p:extLst>
      <p:ext uri="{BB962C8B-B14F-4D97-AF65-F5344CB8AC3E}">
        <p14:creationId xmlns:p14="http://schemas.microsoft.com/office/powerpoint/2010/main" val="4182323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dirty="0">
                <a:latin typeface="+mn-ea"/>
                <a:ea typeface="+mn-ea"/>
              </a:rPr>
              <a:t>供应链视角下物流的变革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239350" y="1879859"/>
            <a:ext cx="1606412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32">
              <a:spcAft>
                <a:spcPts val="600"/>
              </a:spcAft>
              <a:defRPr/>
            </a:pP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供应链视角看</a:t>
            </a:r>
            <a:endParaRPr kumimoji="1" lang="en-US" altLang="zh-CN" sz="1600" b="1" kern="0" dirty="0">
              <a:solidFill>
                <a:prstClr val="black"/>
              </a:solidFill>
              <a:latin typeface="+mn-ea"/>
            </a:endParaRPr>
          </a:p>
          <a:p>
            <a:pPr algn="ctr" defTabSz="914332">
              <a:spcAft>
                <a:spcPts val="600"/>
              </a:spcAft>
              <a:defRPr/>
            </a:pP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物流活动</a:t>
            </a:r>
          </a:p>
        </p:txBody>
      </p:sp>
      <p:sp>
        <p:nvSpPr>
          <p:cNvPr id="11" name="虚尾箭头 10"/>
          <p:cNvSpPr/>
          <p:nvPr/>
        </p:nvSpPr>
        <p:spPr>
          <a:xfrm>
            <a:off x="4012919" y="2020532"/>
            <a:ext cx="609600" cy="428131"/>
          </a:xfrm>
          <a:prstGeom prst="stripedRightArrow">
            <a:avLst>
              <a:gd name="adj1" fmla="val 38297"/>
              <a:gd name="adj2" fmla="val 50000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40" name="椭圆 39"/>
          <p:cNvSpPr/>
          <p:nvPr/>
        </p:nvSpPr>
        <p:spPr>
          <a:xfrm>
            <a:off x="10130827" y="1807397"/>
            <a:ext cx="854400" cy="854400"/>
          </a:xfrm>
          <a:prstGeom prst="ellipse">
            <a:avLst/>
          </a:prstGeom>
          <a:solidFill>
            <a:srgbClr val="CA35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1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41" name="Freeform 22"/>
          <p:cNvSpPr>
            <a:spLocks noEditPoints="1"/>
          </p:cNvSpPr>
          <p:nvPr/>
        </p:nvSpPr>
        <p:spPr bwMode="auto">
          <a:xfrm>
            <a:off x="10357664" y="1865438"/>
            <a:ext cx="400729" cy="399844"/>
          </a:xfrm>
          <a:custGeom>
            <a:avLst/>
            <a:gdLst>
              <a:gd name="T0" fmla="*/ 118 w 191"/>
              <a:gd name="T1" fmla="*/ 93 h 191"/>
              <a:gd name="T2" fmla="*/ 61 w 191"/>
              <a:gd name="T3" fmla="*/ 93 h 191"/>
              <a:gd name="T4" fmla="*/ 0 w 191"/>
              <a:gd name="T5" fmla="*/ 151 h 191"/>
              <a:gd name="T6" fmla="*/ 0 w 191"/>
              <a:gd name="T7" fmla="*/ 156 h 191"/>
              <a:gd name="T8" fmla="*/ 14 w 191"/>
              <a:gd name="T9" fmla="*/ 170 h 191"/>
              <a:gd name="T10" fmla="*/ 113 w 191"/>
              <a:gd name="T11" fmla="*/ 170 h 191"/>
              <a:gd name="T12" fmla="*/ 111 w 191"/>
              <a:gd name="T13" fmla="*/ 155 h 191"/>
              <a:gd name="T14" fmla="*/ 155 w 191"/>
              <a:gd name="T15" fmla="*/ 110 h 191"/>
              <a:gd name="T16" fmla="*/ 160 w 191"/>
              <a:gd name="T17" fmla="*/ 110 h 191"/>
              <a:gd name="T18" fmla="*/ 118 w 191"/>
              <a:gd name="T19" fmla="*/ 93 h 191"/>
              <a:gd name="T20" fmla="*/ 89 w 191"/>
              <a:gd name="T21" fmla="*/ 0 h 191"/>
              <a:gd name="T22" fmla="*/ 47 w 191"/>
              <a:gd name="T23" fmla="*/ 42 h 191"/>
              <a:gd name="T24" fmla="*/ 89 w 191"/>
              <a:gd name="T25" fmla="*/ 85 h 191"/>
              <a:gd name="T26" fmla="*/ 132 w 191"/>
              <a:gd name="T27" fmla="*/ 42 h 191"/>
              <a:gd name="T28" fmla="*/ 89 w 191"/>
              <a:gd name="T29" fmla="*/ 0 h 191"/>
              <a:gd name="T30" fmla="*/ 155 w 191"/>
              <a:gd name="T31" fmla="*/ 119 h 191"/>
              <a:gd name="T32" fmla="*/ 119 w 191"/>
              <a:gd name="T33" fmla="*/ 155 h 191"/>
              <a:gd name="T34" fmla="*/ 155 w 191"/>
              <a:gd name="T35" fmla="*/ 191 h 191"/>
              <a:gd name="T36" fmla="*/ 191 w 191"/>
              <a:gd name="T37" fmla="*/ 155 h 191"/>
              <a:gd name="T38" fmla="*/ 155 w 191"/>
              <a:gd name="T39" fmla="*/ 119 h 191"/>
              <a:gd name="T40" fmla="*/ 176 w 191"/>
              <a:gd name="T41" fmla="*/ 148 h 191"/>
              <a:gd name="T42" fmla="*/ 152 w 191"/>
              <a:gd name="T43" fmla="*/ 171 h 191"/>
              <a:gd name="T44" fmla="*/ 146 w 191"/>
              <a:gd name="T45" fmla="*/ 171 h 191"/>
              <a:gd name="T46" fmla="*/ 135 w 191"/>
              <a:gd name="T47" fmla="*/ 159 h 191"/>
              <a:gd name="T48" fmla="*/ 135 w 191"/>
              <a:gd name="T49" fmla="*/ 153 h 191"/>
              <a:gd name="T50" fmla="*/ 138 w 191"/>
              <a:gd name="T51" fmla="*/ 150 h 191"/>
              <a:gd name="T52" fmla="*/ 144 w 191"/>
              <a:gd name="T53" fmla="*/ 150 h 191"/>
              <a:gd name="T54" fmla="*/ 149 w 191"/>
              <a:gd name="T55" fmla="*/ 156 h 191"/>
              <a:gd name="T56" fmla="*/ 167 w 191"/>
              <a:gd name="T57" fmla="*/ 139 h 191"/>
              <a:gd name="T58" fmla="*/ 173 w 191"/>
              <a:gd name="T59" fmla="*/ 139 h 191"/>
              <a:gd name="T60" fmla="*/ 176 w 191"/>
              <a:gd name="T61" fmla="*/ 142 h 191"/>
              <a:gd name="T62" fmla="*/ 176 w 191"/>
              <a:gd name="T63" fmla="*/ 148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91" h="191">
                <a:moveTo>
                  <a:pt x="118" y="93"/>
                </a:moveTo>
                <a:cubicBezTo>
                  <a:pt x="61" y="93"/>
                  <a:pt x="61" y="93"/>
                  <a:pt x="61" y="93"/>
                </a:cubicBezTo>
                <a:cubicBezTo>
                  <a:pt x="30" y="93"/>
                  <a:pt x="0" y="120"/>
                  <a:pt x="0" y="151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63"/>
                  <a:pt x="6" y="170"/>
                  <a:pt x="14" y="170"/>
                </a:cubicBezTo>
                <a:cubicBezTo>
                  <a:pt x="113" y="170"/>
                  <a:pt x="113" y="170"/>
                  <a:pt x="113" y="170"/>
                </a:cubicBezTo>
                <a:cubicBezTo>
                  <a:pt x="111" y="165"/>
                  <a:pt x="111" y="160"/>
                  <a:pt x="111" y="155"/>
                </a:cubicBezTo>
                <a:cubicBezTo>
                  <a:pt x="111" y="130"/>
                  <a:pt x="131" y="110"/>
                  <a:pt x="155" y="110"/>
                </a:cubicBezTo>
                <a:cubicBezTo>
                  <a:pt x="157" y="110"/>
                  <a:pt x="158" y="110"/>
                  <a:pt x="160" y="110"/>
                </a:cubicBezTo>
                <a:cubicBezTo>
                  <a:pt x="149" y="100"/>
                  <a:pt x="133" y="93"/>
                  <a:pt x="118" y="93"/>
                </a:cubicBezTo>
                <a:close/>
                <a:moveTo>
                  <a:pt x="89" y="0"/>
                </a:moveTo>
                <a:cubicBezTo>
                  <a:pt x="66" y="0"/>
                  <a:pt x="47" y="19"/>
                  <a:pt x="47" y="42"/>
                </a:cubicBezTo>
                <a:cubicBezTo>
                  <a:pt x="47" y="66"/>
                  <a:pt x="66" y="85"/>
                  <a:pt x="89" y="85"/>
                </a:cubicBezTo>
                <a:cubicBezTo>
                  <a:pt x="113" y="85"/>
                  <a:pt x="132" y="66"/>
                  <a:pt x="132" y="42"/>
                </a:cubicBezTo>
                <a:cubicBezTo>
                  <a:pt x="132" y="19"/>
                  <a:pt x="113" y="0"/>
                  <a:pt x="89" y="0"/>
                </a:cubicBezTo>
                <a:close/>
                <a:moveTo>
                  <a:pt x="155" y="119"/>
                </a:moveTo>
                <a:cubicBezTo>
                  <a:pt x="135" y="119"/>
                  <a:pt x="119" y="135"/>
                  <a:pt x="119" y="155"/>
                </a:cubicBezTo>
                <a:cubicBezTo>
                  <a:pt x="119" y="175"/>
                  <a:pt x="135" y="191"/>
                  <a:pt x="155" y="191"/>
                </a:cubicBezTo>
                <a:cubicBezTo>
                  <a:pt x="175" y="191"/>
                  <a:pt x="191" y="175"/>
                  <a:pt x="191" y="155"/>
                </a:cubicBezTo>
                <a:cubicBezTo>
                  <a:pt x="191" y="135"/>
                  <a:pt x="175" y="119"/>
                  <a:pt x="155" y="119"/>
                </a:cubicBezTo>
                <a:close/>
                <a:moveTo>
                  <a:pt x="176" y="148"/>
                </a:moveTo>
                <a:cubicBezTo>
                  <a:pt x="152" y="171"/>
                  <a:pt x="152" y="171"/>
                  <a:pt x="152" y="171"/>
                </a:cubicBezTo>
                <a:cubicBezTo>
                  <a:pt x="151" y="173"/>
                  <a:pt x="148" y="173"/>
                  <a:pt x="146" y="171"/>
                </a:cubicBezTo>
                <a:cubicBezTo>
                  <a:pt x="135" y="159"/>
                  <a:pt x="135" y="159"/>
                  <a:pt x="135" y="159"/>
                </a:cubicBezTo>
                <a:cubicBezTo>
                  <a:pt x="133" y="158"/>
                  <a:pt x="133" y="155"/>
                  <a:pt x="135" y="153"/>
                </a:cubicBezTo>
                <a:cubicBezTo>
                  <a:pt x="138" y="150"/>
                  <a:pt x="138" y="150"/>
                  <a:pt x="138" y="150"/>
                </a:cubicBezTo>
                <a:cubicBezTo>
                  <a:pt x="139" y="149"/>
                  <a:pt x="142" y="149"/>
                  <a:pt x="144" y="150"/>
                </a:cubicBezTo>
                <a:cubicBezTo>
                  <a:pt x="149" y="156"/>
                  <a:pt x="149" y="156"/>
                  <a:pt x="149" y="156"/>
                </a:cubicBezTo>
                <a:cubicBezTo>
                  <a:pt x="167" y="139"/>
                  <a:pt x="167" y="139"/>
                  <a:pt x="167" y="139"/>
                </a:cubicBezTo>
                <a:cubicBezTo>
                  <a:pt x="168" y="137"/>
                  <a:pt x="171" y="137"/>
                  <a:pt x="173" y="139"/>
                </a:cubicBezTo>
                <a:cubicBezTo>
                  <a:pt x="176" y="142"/>
                  <a:pt x="176" y="142"/>
                  <a:pt x="176" y="142"/>
                </a:cubicBezTo>
                <a:cubicBezTo>
                  <a:pt x="177" y="143"/>
                  <a:pt x="177" y="146"/>
                  <a:pt x="176" y="1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32">
              <a:defRPr/>
            </a:pPr>
            <a:endParaRPr lang="zh-CN" altLang="en-US" sz="1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10375927" y="2226669"/>
            <a:ext cx="364202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srgbClr val="FFFFFF"/>
                </a:solidFill>
                <a:latin typeface="+mn-ea"/>
              </a:rPr>
              <a:t>人</a:t>
            </a:r>
          </a:p>
        </p:txBody>
      </p:sp>
      <p:sp>
        <p:nvSpPr>
          <p:cNvPr id="36" name="Freeform 194"/>
          <p:cNvSpPr>
            <a:spLocks noEditPoints="1"/>
          </p:cNvSpPr>
          <p:nvPr/>
        </p:nvSpPr>
        <p:spPr bwMode="auto">
          <a:xfrm>
            <a:off x="3292096" y="2143460"/>
            <a:ext cx="257267" cy="300641"/>
          </a:xfrm>
          <a:custGeom>
            <a:avLst/>
            <a:gdLst>
              <a:gd name="T0" fmla="*/ 38 w 73"/>
              <a:gd name="T1" fmla="*/ 6 h 85"/>
              <a:gd name="T2" fmla="*/ 66 w 73"/>
              <a:gd name="T3" fmla="*/ 61 h 85"/>
              <a:gd name="T4" fmla="*/ 45 w 73"/>
              <a:gd name="T5" fmla="*/ 55 h 85"/>
              <a:gd name="T6" fmla="*/ 73 w 73"/>
              <a:gd name="T7" fmla="*/ 19 h 85"/>
              <a:gd name="T8" fmla="*/ 38 w 73"/>
              <a:gd name="T9" fmla="*/ 84 h 85"/>
              <a:gd name="T10" fmla="*/ 38 w 73"/>
              <a:gd name="T11" fmla="*/ 84 h 85"/>
              <a:gd name="T12" fmla="*/ 38 w 73"/>
              <a:gd name="T13" fmla="*/ 84 h 85"/>
              <a:gd name="T14" fmla="*/ 38 w 73"/>
              <a:gd name="T15" fmla="*/ 84 h 85"/>
              <a:gd name="T16" fmla="*/ 38 w 73"/>
              <a:gd name="T17" fmla="*/ 84 h 85"/>
              <a:gd name="T18" fmla="*/ 38 w 73"/>
              <a:gd name="T19" fmla="*/ 84 h 85"/>
              <a:gd name="T20" fmla="*/ 38 w 73"/>
              <a:gd name="T21" fmla="*/ 85 h 85"/>
              <a:gd name="T22" fmla="*/ 37 w 73"/>
              <a:gd name="T23" fmla="*/ 85 h 85"/>
              <a:gd name="T24" fmla="*/ 37 w 73"/>
              <a:gd name="T25" fmla="*/ 85 h 85"/>
              <a:gd name="T26" fmla="*/ 37 w 73"/>
              <a:gd name="T27" fmla="*/ 85 h 85"/>
              <a:gd name="T28" fmla="*/ 37 w 73"/>
              <a:gd name="T29" fmla="*/ 85 h 85"/>
              <a:gd name="T30" fmla="*/ 37 w 73"/>
              <a:gd name="T31" fmla="*/ 85 h 85"/>
              <a:gd name="T32" fmla="*/ 37 w 73"/>
              <a:gd name="T33" fmla="*/ 85 h 85"/>
              <a:gd name="T34" fmla="*/ 37 w 73"/>
              <a:gd name="T35" fmla="*/ 85 h 85"/>
              <a:gd name="T36" fmla="*/ 37 w 73"/>
              <a:gd name="T37" fmla="*/ 85 h 85"/>
              <a:gd name="T38" fmla="*/ 37 w 73"/>
              <a:gd name="T39" fmla="*/ 85 h 85"/>
              <a:gd name="T40" fmla="*/ 37 w 73"/>
              <a:gd name="T41" fmla="*/ 85 h 85"/>
              <a:gd name="T42" fmla="*/ 37 w 73"/>
              <a:gd name="T43" fmla="*/ 85 h 85"/>
              <a:gd name="T44" fmla="*/ 37 w 73"/>
              <a:gd name="T45" fmla="*/ 85 h 85"/>
              <a:gd name="T46" fmla="*/ 37 w 73"/>
              <a:gd name="T47" fmla="*/ 85 h 85"/>
              <a:gd name="T48" fmla="*/ 37 w 73"/>
              <a:gd name="T49" fmla="*/ 85 h 85"/>
              <a:gd name="T50" fmla="*/ 36 w 73"/>
              <a:gd name="T51" fmla="*/ 85 h 85"/>
              <a:gd name="T52" fmla="*/ 36 w 73"/>
              <a:gd name="T53" fmla="*/ 85 h 85"/>
              <a:gd name="T54" fmla="*/ 36 w 73"/>
              <a:gd name="T55" fmla="*/ 85 h 85"/>
              <a:gd name="T56" fmla="*/ 36 w 73"/>
              <a:gd name="T57" fmla="*/ 85 h 85"/>
              <a:gd name="T58" fmla="*/ 36 w 73"/>
              <a:gd name="T59" fmla="*/ 85 h 85"/>
              <a:gd name="T60" fmla="*/ 36 w 73"/>
              <a:gd name="T61" fmla="*/ 85 h 85"/>
              <a:gd name="T62" fmla="*/ 36 w 73"/>
              <a:gd name="T63" fmla="*/ 85 h 85"/>
              <a:gd name="T64" fmla="*/ 36 w 73"/>
              <a:gd name="T65" fmla="*/ 85 h 85"/>
              <a:gd name="T66" fmla="*/ 36 w 73"/>
              <a:gd name="T67" fmla="*/ 85 h 85"/>
              <a:gd name="T68" fmla="*/ 36 w 73"/>
              <a:gd name="T69" fmla="*/ 85 h 85"/>
              <a:gd name="T70" fmla="*/ 36 w 73"/>
              <a:gd name="T71" fmla="*/ 85 h 85"/>
              <a:gd name="T72" fmla="*/ 36 w 73"/>
              <a:gd name="T73" fmla="*/ 85 h 85"/>
              <a:gd name="T74" fmla="*/ 36 w 73"/>
              <a:gd name="T75" fmla="*/ 85 h 85"/>
              <a:gd name="T76" fmla="*/ 36 w 73"/>
              <a:gd name="T77" fmla="*/ 85 h 85"/>
              <a:gd name="T78" fmla="*/ 36 w 73"/>
              <a:gd name="T79" fmla="*/ 85 h 85"/>
              <a:gd name="T80" fmla="*/ 35 w 73"/>
              <a:gd name="T81" fmla="*/ 85 h 85"/>
              <a:gd name="T82" fmla="*/ 35 w 73"/>
              <a:gd name="T83" fmla="*/ 84 h 85"/>
              <a:gd name="T84" fmla="*/ 35 w 73"/>
              <a:gd name="T85" fmla="*/ 84 h 85"/>
              <a:gd name="T86" fmla="*/ 35 w 73"/>
              <a:gd name="T87" fmla="*/ 84 h 85"/>
              <a:gd name="T88" fmla="*/ 35 w 73"/>
              <a:gd name="T89" fmla="*/ 84 h 85"/>
              <a:gd name="T90" fmla="*/ 35 w 73"/>
              <a:gd name="T91" fmla="*/ 84 h 85"/>
              <a:gd name="T92" fmla="*/ 0 w 73"/>
              <a:gd name="T93" fmla="*/ 64 h 85"/>
              <a:gd name="T94" fmla="*/ 37 w 73"/>
              <a:gd name="T95" fmla="*/ 1 h 85"/>
              <a:gd name="T96" fmla="*/ 5 w 73"/>
              <a:gd name="T97" fmla="*/ 24 h 85"/>
              <a:gd name="T98" fmla="*/ 21 w 73"/>
              <a:gd name="T99" fmla="*/ 32 h 85"/>
              <a:gd name="T100" fmla="*/ 5 w 73"/>
              <a:gd name="T101" fmla="*/ 24 h 85"/>
              <a:gd name="T102" fmla="*/ 37 w 73"/>
              <a:gd name="T103" fmla="*/ 35 h 85"/>
              <a:gd name="T104" fmla="*/ 56 w 73"/>
              <a:gd name="T105" fmla="*/ 61 h 85"/>
              <a:gd name="T106" fmla="*/ 51 w 73"/>
              <a:gd name="T107" fmla="*/ 70 h 85"/>
              <a:gd name="T108" fmla="*/ 50 w 73"/>
              <a:gd name="T109" fmla="*/ 59 h 85"/>
              <a:gd name="T110" fmla="*/ 56 w 73"/>
              <a:gd name="T111" fmla="*/ 54 h 85"/>
              <a:gd name="T112" fmla="*/ 57 w 73"/>
              <a:gd name="T113" fmla="*/ 49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" h="85">
                <a:moveTo>
                  <a:pt x="9" y="20"/>
                </a:moveTo>
                <a:cubicBezTo>
                  <a:pt x="17" y="24"/>
                  <a:pt x="17" y="24"/>
                  <a:pt x="17" y="24"/>
                </a:cubicBezTo>
                <a:cubicBezTo>
                  <a:pt x="45" y="10"/>
                  <a:pt x="45" y="10"/>
                  <a:pt x="45" y="10"/>
                </a:cubicBezTo>
                <a:cubicBezTo>
                  <a:pt x="38" y="6"/>
                  <a:pt x="38" y="6"/>
                  <a:pt x="38" y="6"/>
                </a:cubicBezTo>
                <a:cubicBezTo>
                  <a:pt x="9" y="20"/>
                  <a:pt x="9" y="20"/>
                  <a:pt x="9" y="20"/>
                </a:cubicBezTo>
                <a:close/>
                <a:moveTo>
                  <a:pt x="47" y="74"/>
                </a:moveTo>
                <a:cubicBezTo>
                  <a:pt x="66" y="63"/>
                  <a:pt x="66" y="63"/>
                  <a:pt x="66" y="63"/>
                </a:cubicBezTo>
                <a:cubicBezTo>
                  <a:pt x="66" y="63"/>
                  <a:pt x="66" y="62"/>
                  <a:pt x="66" y="61"/>
                </a:cubicBezTo>
                <a:cubicBezTo>
                  <a:pt x="66" y="44"/>
                  <a:pt x="66" y="44"/>
                  <a:pt x="66" y="44"/>
                </a:cubicBezTo>
                <a:cubicBezTo>
                  <a:pt x="66" y="42"/>
                  <a:pt x="65" y="41"/>
                  <a:pt x="64" y="42"/>
                </a:cubicBezTo>
                <a:cubicBezTo>
                  <a:pt x="48" y="50"/>
                  <a:pt x="48" y="50"/>
                  <a:pt x="48" y="50"/>
                </a:cubicBezTo>
                <a:cubicBezTo>
                  <a:pt x="46" y="51"/>
                  <a:pt x="45" y="53"/>
                  <a:pt x="45" y="55"/>
                </a:cubicBezTo>
                <a:cubicBezTo>
                  <a:pt x="45" y="72"/>
                  <a:pt x="45" y="72"/>
                  <a:pt x="45" y="72"/>
                </a:cubicBezTo>
                <a:cubicBezTo>
                  <a:pt x="45" y="73"/>
                  <a:pt x="46" y="74"/>
                  <a:pt x="47" y="74"/>
                </a:cubicBezTo>
                <a:close/>
                <a:moveTo>
                  <a:pt x="71" y="17"/>
                </a:moveTo>
                <a:cubicBezTo>
                  <a:pt x="72" y="17"/>
                  <a:pt x="73" y="18"/>
                  <a:pt x="73" y="19"/>
                </a:cubicBezTo>
                <a:cubicBezTo>
                  <a:pt x="73" y="64"/>
                  <a:pt x="73" y="64"/>
                  <a:pt x="73" y="64"/>
                </a:cubicBezTo>
                <a:cubicBezTo>
                  <a:pt x="73" y="64"/>
                  <a:pt x="73" y="64"/>
                  <a:pt x="73" y="64"/>
                </a:cubicBezTo>
                <a:cubicBezTo>
                  <a:pt x="73" y="65"/>
                  <a:pt x="72" y="66"/>
                  <a:pt x="71" y="66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5"/>
                  <a:pt x="35" y="85"/>
                  <a:pt x="35" y="85"/>
                </a:cubicBezTo>
                <a:cubicBezTo>
                  <a:pt x="35" y="85"/>
                  <a:pt x="35" y="85"/>
                  <a:pt x="35" y="85"/>
                </a:cubicBezTo>
                <a:cubicBezTo>
                  <a:pt x="35" y="85"/>
                  <a:pt x="35" y="85"/>
                  <a:pt x="35" y="85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2" y="66"/>
                  <a:pt x="2" y="66"/>
                  <a:pt x="2" y="66"/>
                </a:cubicBezTo>
                <a:cubicBezTo>
                  <a:pt x="1" y="66"/>
                  <a:pt x="0" y="65"/>
                  <a:pt x="0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8"/>
                  <a:pt x="1" y="17"/>
                  <a:pt x="2" y="17"/>
                </a:cubicBezTo>
                <a:cubicBezTo>
                  <a:pt x="37" y="1"/>
                  <a:pt x="37" y="1"/>
                  <a:pt x="37" y="1"/>
                </a:cubicBezTo>
                <a:cubicBezTo>
                  <a:pt x="37" y="1"/>
                  <a:pt x="37" y="1"/>
                  <a:pt x="37" y="1"/>
                </a:cubicBezTo>
                <a:cubicBezTo>
                  <a:pt x="37" y="0"/>
                  <a:pt x="38" y="0"/>
                  <a:pt x="39" y="1"/>
                </a:cubicBezTo>
                <a:cubicBezTo>
                  <a:pt x="71" y="17"/>
                  <a:pt x="71" y="17"/>
                  <a:pt x="71" y="17"/>
                </a:cubicBezTo>
                <a:close/>
                <a:moveTo>
                  <a:pt x="5" y="24"/>
                </a:moveTo>
                <a:cubicBezTo>
                  <a:pt x="14" y="28"/>
                  <a:pt x="14" y="28"/>
                  <a:pt x="14" y="28"/>
                </a:cubicBezTo>
                <a:cubicBezTo>
                  <a:pt x="14" y="37"/>
                  <a:pt x="14" y="37"/>
                  <a:pt x="14" y="37"/>
                </a:cubicBezTo>
                <a:cubicBezTo>
                  <a:pt x="21" y="40"/>
                  <a:pt x="21" y="40"/>
                  <a:pt x="21" y="40"/>
                </a:cubicBezTo>
                <a:cubicBezTo>
                  <a:pt x="21" y="32"/>
                  <a:pt x="21" y="32"/>
                  <a:pt x="21" y="32"/>
                </a:cubicBezTo>
                <a:cubicBezTo>
                  <a:pt x="34" y="39"/>
                  <a:pt x="34" y="39"/>
                  <a:pt x="34" y="39"/>
                </a:cubicBezTo>
                <a:cubicBezTo>
                  <a:pt x="34" y="78"/>
                  <a:pt x="34" y="78"/>
                  <a:pt x="34" y="78"/>
                </a:cubicBezTo>
                <a:cubicBezTo>
                  <a:pt x="5" y="62"/>
                  <a:pt x="5" y="62"/>
                  <a:pt x="5" y="62"/>
                </a:cubicBezTo>
                <a:cubicBezTo>
                  <a:pt x="5" y="24"/>
                  <a:pt x="5" y="24"/>
                  <a:pt x="5" y="24"/>
                </a:cubicBezTo>
                <a:close/>
                <a:moveTo>
                  <a:pt x="24" y="28"/>
                </a:moveTo>
                <a:cubicBezTo>
                  <a:pt x="52" y="13"/>
                  <a:pt x="52" y="13"/>
                  <a:pt x="52" y="13"/>
                </a:cubicBezTo>
                <a:cubicBezTo>
                  <a:pt x="65" y="19"/>
                  <a:pt x="65" y="19"/>
                  <a:pt x="65" y="19"/>
                </a:cubicBezTo>
                <a:cubicBezTo>
                  <a:pt x="37" y="35"/>
                  <a:pt x="37" y="35"/>
                  <a:pt x="37" y="35"/>
                </a:cubicBezTo>
                <a:cubicBezTo>
                  <a:pt x="24" y="28"/>
                  <a:pt x="24" y="28"/>
                  <a:pt x="24" y="28"/>
                </a:cubicBezTo>
                <a:close/>
                <a:moveTo>
                  <a:pt x="61" y="47"/>
                </a:moveTo>
                <a:cubicBezTo>
                  <a:pt x="61" y="53"/>
                  <a:pt x="61" y="53"/>
                  <a:pt x="61" y="53"/>
                </a:cubicBezTo>
                <a:cubicBezTo>
                  <a:pt x="61" y="56"/>
                  <a:pt x="59" y="59"/>
                  <a:pt x="56" y="61"/>
                </a:cubicBezTo>
                <a:cubicBezTo>
                  <a:pt x="56" y="65"/>
                  <a:pt x="56" y="65"/>
                  <a:pt x="56" y="65"/>
                </a:cubicBezTo>
                <a:cubicBezTo>
                  <a:pt x="58" y="64"/>
                  <a:pt x="59" y="64"/>
                  <a:pt x="61" y="63"/>
                </a:cubicBezTo>
                <a:cubicBezTo>
                  <a:pt x="61" y="64"/>
                  <a:pt x="61" y="64"/>
                  <a:pt x="61" y="65"/>
                </a:cubicBezTo>
                <a:cubicBezTo>
                  <a:pt x="57" y="66"/>
                  <a:pt x="54" y="68"/>
                  <a:pt x="51" y="70"/>
                </a:cubicBezTo>
                <a:cubicBezTo>
                  <a:pt x="51" y="69"/>
                  <a:pt x="51" y="69"/>
                  <a:pt x="51" y="68"/>
                </a:cubicBezTo>
                <a:cubicBezTo>
                  <a:pt x="52" y="67"/>
                  <a:pt x="54" y="66"/>
                  <a:pt x="55" y="66"/>
                </a:cubicBezTo>
                <a:cubicBezTo>
                  <a:pt x="55" y="62"/>
                  <a:pt x="55" y="62"/>
                  <a:pt x="55" y="62"/>
                </a:cubicBezTo>
                <a:cubicBezTo>
                  <a:pt x="52" y="63"/>
                  <a:pt x="50" y="61"/>
                  <a:pt x="50" y="59"/>
                </a:cubicBezTo>
                <a:cubicBezTo>
                  <a:pt x="50" y="53"/>
                  <a:pt x="50" y="53"/>
                  <a:pt x="50" y="53"/>
                </a:cubicBezTo>
                <a:cubicBezTo>
                  <a:pt x="53" y="51"/>
                  <a:pt x="53" y="51"/>
                  <a:pt x="53" y="51"/>
                </a:cubicBezTo>
                <a:cubicBezTo>
                  <a:pt x="53" y="53"/>
                  <a:pt x="52" y="56"/>
                  <a:pt x="52" y="56"/>
                </a:cubicBezTo>
                <a:cubicBezTo>
                  <a:pt x="56" y="54"/>
                  <a:pt x="56" y="54"/>
                  <a:pt x="56" y="54"/>
                </a:cubicBezTo>
                <a:cubicBezTo>
                  <a:pt x="56" y="60"/>
                  <a:pt x="56" y="60"/>
                  <a:pt x="56" y="60"/>
                </a:cubicBezTo>
                <a:cubicBezTo>
                  <a:pt x="58" y="53"/>
                  <a:pt x="58" y="53"/>
                  <a:pt x="58" y="53"/>
                </a:cubicBezTo>
                <a:cubicBezTo>
                  <a:pt x="56" y="53"/>
                  <a:pt x="56" y="53"/>
                  <a:pt x="56" y="53"/>
                </a:cubicBezTo>
                <a:cubicBezTo>
                  <a:pt x="57" y="49"/>
                  <a:pt x="57" y="49"/>
                  <a:pt x="57" y="49"/>
                </a:cubicBezTo>
                <a:lnTo>
                  <a:pt x="61" y="4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32">
              <a:defRPr/>
            </a:pPr>
            <a:endParaRPr lang="zh-CN" altLang="en-US" sz="1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7" name="平行四边形 36"/>
          <p:cNvSpPr/>
          <p:nvPr/>
        </p:nvSpPr>
        <p:spPr>
          <a:xfrm rot="5400000" flipV="1">
            <a:off x="3405139" y="2244476"/>
            <a:ext cx="160069" cy="98609"/>
          </a:xfrm>
          <a:prstGeom prst="parallelogram">
            <a:avLst>
              <a:gd name="adj" fmla="val 56886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1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34" name="Freeform 194"/>
          <p:cNvSpPr>
            <a:spLocks noEditPoints="1"/>
          </p:cNvSpPr>
          <p:nvPr/>
        </p:nvSpPr>
        <p:spPr bwMode="auto">
          <a:xfrm>
            <a:off x="3221977" y="2200485"/>
            <a:ext cx="159671" cy="186591"/>
          </a:xfrm>
          <a:custGeom>
            <a:avLst/>
            <a:gdLst>
              <a:gd name="T0" fmla="*/ 38 w 73"/>
              <a:gd name="T1" fmla="*/ 6 h 85"/>
              <a:gd name="T2" fmla="*/ 66 w 73"/>
              <a:gd name="T3" fmla="*/ 61 h 85"/>
              <a:gd name="T4" fmla="*/ 45 w 73"/>
              <a:gd name="T5" fmla="*/ 55 h 85"/>
              <a:gd name="T6" fmla="*/ 73 w 73"/>
              <a:gd name="T7" fmla="*/ 19 h 85"/>
              <a:gd name="T8" fmla="*/ 38 w 73"/>
              <a:gd name="T9" fmla="*/ 84 h 85"/>
              <a:gd name="T10" fmla="*/ 38 w 73"/>
              <a:gd name="T11" fmla="*/ 84 h 85"/>
              <a:gd name="T12" fmla="*/ 38 w 73"/>
              <a:gd name="T13" fmla="*/ 84 h 85"/>
              <a:gd name="T14" fmla="*/ 38 w 73"/>
              <a:gd name="T15" fmla="*/ 84 h 85"/>
              <a:gd name="T16" fmla="*/ 38 w 73"/>
              <a:gd name="T17" fmla="*/ 84 h 85"/>
              <a:gd name="T18" fmla="*/ 38 w 73"/>
              <a:gd name="T19" fmla="*/ 84 h 85"/>
              <a:gd name="T20" fmla="*/ 38 w 73"/>
              <a:gd name="T21" fmla="*/ 85 h 85"/>
              <a:gd name="T22" fmla="*/ 37 w 73"/>
              <a:gd name="T23" fmla="*/ 85 h 85"/>
              <a:gd name="T24" fmla="*/ 37 w 73"/>
              <a:gd name="T25" fmla="*/ 85 h 85"/>
              <a:gd name="T26" fmla="*/ 37 w 73"/>
              <a:gd name="T27" fmla="*/ 85 h 85"/>
              <a:gd name="T28" fmla="*/ 37 w 73"/>
              <a:gd name="T29" fmla="*/ 85 h 85"/>
              <a:gd name="T30" fmla="*/ 37 w 73"/>
              <a:gd name="T31" fmla="*/ 85 h 85"/>
              <a:gd name="T32" fmla="*/ 37 w 73"/>
              <a:gd name="T33" fmla="*/ 85 h 85"/>
              <a:gd name="T34" fmla="*/ 37 w 73"/>
              <a:gd name="T35" fmla="*/ 85 h 85"/>
              <a:gd name="T36" fmla="*/ 37 w 73"/>
              <a:gd name="T37" fmla="*/ 85 h 85"/>
              <a:gd name="T38" fmla="*/ 37 w 73"/>
              <a:gd name="T39" fmla="*/ 85 h 85"/>
              <a:gd name="T40" fmla="*/ 37 w 73"/>
              <a:gd name="T41" fmla="*/ 85 h 85"/>
              <a:gd name="T42" fmla="*/ 37 w 73"/>
              <a:gd name="T43" fmla="*/ 85 h 85"/>
              <a:gd name="T44" fmla="*/ 37 w 73"/>
              <a:gd name="T45" fmla="*/ 85 h 85"/>
              <a:gd name="T46" fmla="*/ 37 w 73"/>
              <a:gd name="T47" fmla="*/ 85 h 85"/>
              <a:gd name="T48" fmla="*/ 37 w 73"/>
              <a:gd name="T49" fmla="*/ 85 h 85"/>
              <a:gd name="T50" fmla="*/ 36 w 73"/>
              <a:gd name="T51" fmla="*/ 85 h 85"/>
              <a:gd name="T52" fmla="*/ 36 w 73"/>
              <a:gd name="T53" fmla="*/ 85 h 85"/>
              <a:gd name="T54" fmla="*/ 36 w 73"/>
              <a:gd name="T55" fmla="*/ 85 h 85"/>
              <a:gd name="T56" fmla="*/ 36 w 73"/>
              <a:gd name="T57" fmla="*/ 85 h 85"/>
              <a:gd name="T58" fmla="*/ 36 w 73"/>
              <a:gd name="T59" fmla="*/ 85 h 85"/>
              <a:gd name="T60" fmla="*/ 36 w 73"/>
              <a:gd name="T61" fmla="*/ 85 h 85"/>
              <a:gd name="T62" fmla="*/ 36 w 73"/>
              <a:gd name="T63" fmla="*/ 85 h 85"/>
              <a:gd name="T64" fmla="*/ 36 w 73"/>
              <a:gd name="T65" fmla="*/ 85 h 85"/>
              <a:gd name="T66" fmla="*/ 36 w 73"/>
              <a:gd name="T67" fmla="*/ 85 h 85"/>
              <a:gd name="T68" fmla="*/ 36 w 73"/>
              <a:gd name="T69" fmla="*/ 85 h 85"/>
              <a:gd name="T70" fmla="*/ 36 w 73"/>
              <a:gd name="T71" fmla="*/ 85 h 85"/>
              <a:gd name="T72" fmla="*/ 36 w 73"/>
              <a:gd name="T73" fmla="*/ 85 h 85"/>
              <a:gd name="T74" fmla="*/ 36 w 73"/>
              <a:gd name="T75" fmla="*/ 85 h 85"/>
              <a:gd name="T76" fmla="*/ 36 w 73"/>
              <a:gd name="T77" fmla="*/ 85 h 85"/>
              <a:gd name="T78" fmla="*/ 36 w 73"/>
              <a:gd name="T79" fmla="*/ 85 h 85"/>
              <a:gd name="T80" fmla="*/ 35 w 73"/>
              <a:gd name="T81" fmla="*/ 85 h 85"/>
              <a:gd name="T82" fmla="*/ 35 w 73"/>
              <a:gd name="T83" fmla="*/ 84 h 85"/>
              <a:gd name="T84" fmla="*/ 35 w 73"/>
              <a:gd name="T85" fmla="*/ 84 h 85"/>
              <a:gd name="T86" fmla="*/ 35 w 73"/>
              <a:gd name="T87" fmla="*/ 84 h 85"/>
              <a:gd name="T88" fmla="*/ 35 w 73"/>
              <a:gd name="T89" fmla="*/ 84 h 85"/>
              <a:gd name="T90" fmla="*/ 35 w 73"/>
              <a:gd name="T91" fmla="*/ 84 h 85"/>
              <a:gd name="T92" fmla="*/ 0 w 73"/>
              <a:gd name="T93" fmla="*/ 64 h 85"/>
              <a:gd name="T94" fmla="*/ 37 w 73"/>
              <a:gd name="T95" fmla="*/ 1 h 85"/>
              <a:gd name="T96" fmla="*/ 5 w 73"/>
              <a:gd name="T97" fmla="*/ 24 h 85"/>
              <a:gd name="T98" fmla="*/ 21 w 73"/>
              <a:gd name="T99" fmla="*/ 32 h 85"/>
              <a:gd name="T100" fmla="*/ 5 w 73"/>
              <a:gd name="T101" fmla="*/ 24 h 85"/>
              <a:gd name="T102" fmla="*/ 37 w 73"/>
              <a:gd name="T103" fmla="*/ 35 h 85"/>
              <a:gd name="T104" fmla="*/ 56 w 73"/>
              <a:gd name="T105" fmla="*/ 61 h 85"/>
              <a:gd name="T106" fmla="*/ 51 w 73"/>
              <a:gd name="T107" fmla="*/ 70 h 85"/>
              <a:gd name="T108" fmla="*/ 50 w 73"/>
              <a:gd name="T109" fmla="*/ 59 h 85"/>
              <a:gd name="T110" fmla="*/ 56 w 73"/>
              <a:gd name="T111" fmla="*/ 54 h 85"/>
              <a:gd name="T112" fmla="*/ 57 w 73"/>
              <a:gd name="T113" fmla="*/ 49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3" h="85">
                <a:moveTo>
                  <a:pt x="9" y="20"/>
                </a:moveTo>
                <a:cubicBezTo>
                  <a:pt x="17" y="24"/>
                  <a:pt x="17" y="24"/>
                  <a:pt x="17" y="24"/>
                </a:cubicBezTo>
                <a:cubicBezTo>
                  <a:pt x="45" y="10"/>
                  <a:pt x="45" y="10"/>
                  <a:pt x="45" y="10"/>
                </a:cubicBezTo>
                <a:cubicBezTo>
                  <a:pt x="38" y="6"/>
                  <a:pt x="38" y="6"/>
                  <a:pt x="38" y="6"/>
                </a:cubicBezTo>
                <a:cubicBezTo>
                  <a:pt x="9" y="20"/>
                  <a:pt x="9" y="20"/>
                  <a:pt x="9" y="20"/>
                </a:cubicBezTo>
                <a:close/>
                <a:moveTo>
                  <a:pt x="47" y="74"/>
                </a:moveTo>
                <a:cubicBezTo>
                  <a:pt x="66" y="63"/>
                  <a:pt x="66" y="63"/>
                  <a:pt x="66" y="63"/>
                </a:cubicBezTo>
                <a:cubicBezTo>
                  <a:pt x="66" y="63"/>
                  <a:pt x="66" y="62"/>
                  <a:pt x="66" y="61"/>
                </a:cubicBezTo>
                <a:cubicBezTo>
                  <a:pt x="66" y="44"/>
                  <a:pt x="66" y="44"/>
                  <a:pt x="66" y="44"/>
                </a:cubicBezTo>
                <a:cubicBezTo>
                  <a:pt x="66" y="42"/>
                  <a:pt x="65" y="41"/>
                  <a:pt x="64" y="42"/>
                </a:cubicBezTo>
                <a:cubicBezTo>
                  <a:pt x="48" y="50"/>
                  <a:pt x="48" y="50"/>
                  <a:pt x="48" y="50"/>
                </a:cubicBezTo>
                <a:cubicBezTo>
                  <a:pt x="46" y="51"/>
                  <a:pt x="45" y="53"/>
                  <a:pt x="45" y="55"/>
                </a:cubicBezTo>
                <a:cubicBezTo>
                  <a:pt x="45" y="72"/>
                  <a:pt x="45" y="72"/>
                  <a:pt x="45" y="72"/>
                </a:cubicBezTo>
                <a:cubicBezTo>
                  <a:pt x="45" y="73"/>
                  <a:pt x="46" y="74"/>
                  <a:pt x="47" y="74"/>
                </a:cubicBezTo>
                <a:close/>
                <a:moveTo>
                  <a:pt x="71" y="17"/>
                </a:moveTo>
                <a:cubicBezTo>
                  <a:pt x="72" y="17"/>
                  <a:pt x="73" y="18"/>
                  <a:pt x="73" y="19"/>
                </a:cubicBezTo>
                <a:cubicBezTo>
                  <a:pt x="73" y="64"/>
                  <a:pt x="73" y="64"/>
                  <a:pt x="73" y="64"/>
                </a:cubicBezTo>
                <a:cubicBezTo>
                  <a:pt x="73" y="64"/>
                  <a:pt x="73" y="64"/>
                  <a:pt x="73" y="64"/>
                </a:cubicBezTo>
                <a:cubicBezTo>
                  <a:pt x="73" y="65"/>
                  <a:pt x="72" y="66"/>
                  <a:pt x="71" y="66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4"/>
                  <a:pt x="38" y="84"/>
                  <a:pt x="38" y="84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8" y="85"/>
                  <a:pt x="38" y="85"/>
                  <a:pt x="38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7" y="85"/>
                  <a:pt x="37" y="85"/>
                  <a:pt x="37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6" y="85"/>
                  <a:pt x="36" y="85"/>
                  <a:pt x="36" y="85"/>
                </a:cubicBezTo>
                <a:cubicBezTo>
                  <a:pt x="35" y="85"/>
                  <a:pt x="35" y="85"/>
                  <a:pt x="35" y="85"/>
                </a:cubicBezTo>
                <a:cubicBezTo>
                  <a:pt x="35" y="85"/>
                  <a:pt x="35" y="85"/>
                  <a:pt x="35" y="85"/>
                </a:cubicBezTo>
                <a:cubicBezTo>
                  <a:pt x="35" y="85"/>
                  <a:pt x="35" y="85"/>
                  <a:pt x="35" y="85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35" y="84"/>
                  <a:pt x="35" y="84"/>
                  <a:pt x="35" y="84"/>
                </a:cubicBezTo>
                <a:cubicBezTo>
                  <a:pt x="2" y="66"/>
                  <a:pt x="2" y="66"/>
                  <a:pt x="2" y="66"/>
                </a:cubicBezTo>
                <a:cubicBezTo>
                  <a:pt x="1" y="66"/>
                  <a:pt x="0" y="65"/>
                  <a:pt x="0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8"/>
                  <a:pt x="1" y="17"/>
                  <a:pt x="2" y="17"/>
                </a:cubicBezTo>
                <a:cubicBezTo>
                  <a:pt x="37" y="1"/>
                  <a:pt x="37" y="1"/>
                  <a:pt x="37" y="1"/>
                </a:cubicBezTo>
                <a:cubicBezTo>
                  <a:pt x="37" y="1"/>
                  <a:pt x="37" y="1"/>
                  <a:pt x="37" y="1"/>
                </a:cubicBezTo>
                <a:cubicBezTo>
                  <a:pt x="37" y="0"/>
                  <a:pt x="38" y="0"/>
                  <a:pt x="39" y="1"/>
                </a:cubicBezTo>
                <a:cubicBezTo>
                  <a:pt x="71" y="17"/>
                  <a:pt x="71" y="17"/>
                  <a:pt x="71" y="17"/>
                </a:cubicBezTo>
                <a:close/>
                <a:moveTo>
                  <a:pt x="5" y="24"/>
                </a:moveTo>
                <a:cubicBezTo>
                  <a:pt x="14" y="28"/>
                  <a:pt x="14" y="28"/>
                  <a:pt x="14" y="28"/>
                </a:cubicBezTo>
                <a:cubicBezTo>
                  <a:pt x="14" y="37"/>
                  <a:pt x="14" y="37"/>
                  <a:pt x="14" y="37"/>
                </a:cubicBezTo>
                <a:cubicBezTo>
                  <a:pt x="21" y="40"/>
                  <a:pt x="21" y="40"/>
                  <a:pt x="21" y="40"/>
                </a:cubicBezTo>
                <a:cubicBezTo>
                  <a:pt x="21" y="32"/>
                  <a:pt x="21" y="32"/>
                  <a:pt x="21" y="32"/>
                </a:cubicBezTo>
                <a:cubicBezTo>
                  <a:pt x="34" y="39"/>
                  <a:pt x="34" y="39"/>
                  <a:pt x="34" y="39"/>
                </a:cubicBezTo>
                <a:cubicBezTo>
                  <a:pt x="34" y="78"/>
                  <a:pt x="34" y="78"/>
                  <a:pt x="34" y="78"/>
                </a:cubicBezTo>
                <a:cubicBezTo>
                  <a:pt x="5" y="62"/>
                  <a:pt x="5" y="62"/>
                  <a:pt x="5" y="62"/>
                </a:cubicBezTo>
                <a:cubicBezTo>
                  <a:pt x="5" y="24"/>
                  <a:pt x="5" y="24"/>
                  <a:pt x="5" y="24"/>
                </a:cubicBezTo>
                <a:close/>
                <a:moveTo>
                  <a:pt x="24" y="28"/>
                </a:moveTo>
                <a:cubicBezTo>
                  <a:pt x="52" y="13"/>
                  <a:pt x="52" y="13"/>
                  <a:pt x="52" y="13"/>
                </a:cubicBezTo>
                <a:cubicBezTo>
                  <a:pt x="65" y="19"/>
                  <a:pt x="65" y="19"/>
                  <a:pt x="65" y="19"/>
                </a:cubicBezTo>
                <a:cubicBezTo>
                  <a:pt x="37" y="35"/>
                  <a:pt x="37" y="35"/>
                  <a:pt x="37" y="35"/>
                </a:cubicBezTo>
                <a:cubicBezTo>
                  <a:pt x="24" y="28"/>
                  <a:pt x="24" y="28"/>
                  <a:pt x="24" y="28"/>
                </a:cubicBezTo>
                <a:close/>
                <a:moveTo>
                  <a:pt x="61" y="47"/>
                </a:moveTo>
                <a:cubicBezTo>
                  <a:pt x="61" y="53"/>
                  <a:pt x="61" y="53"/>
                  <a:pt x="61" y="53"/>
                </a:cubicBezTo>
                <a:cubicBezTo>
                  <a:pt x="61" y="56"/>
                  <a:pt x="59" y="59"/>
                  <a:pt x="56" y="61"/>
                </a:cubicBezTo>
                <a:cubicBezTo>
                  <a:pt x="56" y="65"/>
                  <a:pt x="56" y="65"/>
                  <a:pt x="56" y="65"/>
                </a:cubicBezTo>
                <a:cubicBezTo>
                  <a:pt x="58" y="64"/>
                  <a:pt x="59" y="64"/>
                  <a:pt x="61" y="63"/>
                </a:cubicBezTo>
                <a:cubicBezTo>
                  <a:pt x="61" y="64"/>
                  <a:pt x="61" y="64"/>
                  <a:pt x="61" y="65"/>
                </a:cubicBezTo>
                <a:cubicBezTo>
                  <a:pt x="57" y="66"/>
                  <a:pt x="54" y="68"/>
                  <a:pt x="51" y="70"/>
                </a:cubicBezTo>
                <a:cubicBezTo>
                  <a:pt x="51" y="69"/>
                  <a:pt x="51" y="69"/>
                  <a:pt x="51" y="68"/>
                </a:cubicBezTo>
                <a:cubicBezTo>
                  <a:pt x="52" y="67"/>
                  <a:pt x="54" y="66"/>
                  <a:pt x="55" y="66"/>
                </a:cubicBezTo>
                <a:cubicBezTo>
                  <a:pt x="55" y="62"/>
                  <a:pt x="55" y="62"/>
                  <a:pt x="55" y="62"/>
                </a:cubicBezTo>
                <a:cubicBezTo>
                  <a:pt x="52" y="63"/>
                  <a:pt x="50" y="61"/>
                  <a:pt x="50" y="59"/>
                </a:cubicBezTo>
                <a:cubicBezTo>
                  <a:pt x="50" y="53"/>
                  <a:pt x="50" y="53"/>
                  <a:pt x="50" y="53"/>
                </a:cubicBezTo>
                <a:cubicBezTo>
                  <a:pt x="53" y="51"/>
                  <a:pt x="53" y="51"/>
                  <a:pt x="53" y="51"/>
                </a:cubicBezTo>
                <a:cubicBezTo>
                  <a:pt x="53" y="53"/>
                  <a:pt x="52" y="56"/>
                  <a:pt x="52" y="56"/>
                </a:cubicBezTo>
                <a:cubicBezTo>
                  <a:pt x="56" y="54"/>
                  <a:pt x="56" y="54"/>
                  <a:pt x="56" y="54"/>
                </a:cubicBezTo>
                <a:cubicBezTo>
                  <a:pt x="56" y="60"/>
                  <a:pt x="56" y="60"/>
                  <a:pt x="56" y="60"/>
                </a:cubicBezTo>
                <a:cubicBezTo>
                  <a:pt x="58" y="53"/>
                  <a:pt x="58" y="53"/>
                  <a:pt x="58" y="53"/>
                </a:cubicBezTo>
                <a:cubicBezTo>
                  <a:pt x="56" y="53"/>
                  <a:pt x="56" y="53"/>
                  <a:pt x="56" y="53"/>
                </a:cubicBezTo>
                <a:cubicBezTo>
                  <a:pt x="57" y="49"/>
                  <a:pt x="57" y="49"/>
                  <a:pt x="57" y="49"/>
                </a:cubicBezTo>
                <a:lnTo>
                  <a:pt x="61" y="4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32">
              <a:defRPr/>
            </a:pPr>
            <a:endParaRPr lang="zh-CN" altLang="en-US" sz="1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5" name="平行四边形 34"/>
          <p:cNvSpPr/>
          <p:nvPr/>
        </p:nvSpPr>
        <p:spPr>
          <a:xfrm rot="5400000" flipV="1">
            <a:off x="3292136" y="2263180"/>
            <a:ext cx="99345" cy="61201"/>
          </a:xfrm>
          <a:prstGeom prst="parallelogram">
            <a:avLst>
              <a:gd name="adj" fmla="val 56886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1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3216395" y="2121424"/>
            <a:ext cx="338554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200" b="1" kern="0" dirty="0">
                <a:solidFill>
                  <a:srgbClr val="FFFFFF"/>
                </a:solidFill>
                <a:latin typeface="+mn-ea"/>
              </a:rPr>
              <a:t>货</a:t>
            </a:r>
          </a:p>
        </p:txBody>
      </p:sp>
      <p:sp>
        <p:nvSpPr>
          <p:cNvPr id="16" name="十字形 15"/>
          <p:cNvSpPr/>
          <p:nvPr/>
        </p:nvSpPr>
        <p:spPr>
          <a:xfrm>
            <a:off x="5903496" y="2048116"/>
            <a:ext cx="372963" cy="372963"/>
          </a:xfrm>
          <a:prstGeom prst="plus">
            <a:avLst>
              <a:gd name="adj" fmla="val 42772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17" name="十字形 16"/>
          <p:cNvSpPr/>
          <p:nvPr/>
        </p:nvSpPr>
        <p:spPr>
          <a:xfrm>
            <a:off x="7736635" y="2048116"/>
            <a:ext cx="372963" cy="372963"/>
          </a:xfrm>
          <a:prstGeom prst="plus">
            <a:avLst>
              <a:gd name="adj" fmla="val 42772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7" name="椭圆 26"/>
          <p:cNvSpPr>
            <a:spLocks noChangeAspect="1"/>
          </p:cNvSpPr>
          <p:nvPr/>
        </p:nvSpPr>
        <p:spPr>
          <a:xfrm>
            <a:off x="4753419" y="1807397"/>
            <a:ext cx="854399" cy="854400"/>
          </a:xfrm>
          <a:prstGeom prst="ellipse">
            <a:avLst/>
          </a:prstGeom>
          <a:noFill/>
          <a:ln w="1270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4877972" y="2226669"/>
            <a:ext cx="543739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库存</a:t>
            </a:r>
          </a:p>
        </p:txBody>
      </p:sp>
      <p:sp>
        <p:nvSpPr>
          <p:cNvPr id="29" name="Freeform 179"/>
          <p:cNvSpPr>
            <a:spLocks noEditPoints="1"/>
          </p:cNvSpPr>
          <p:nvPr/>
        </p:nvSpPr>
        <p:spPr bwMode="auto">
          <a:xfrm>
            <a:off x="4966180" y="1903082"/>
            <a:ext cx="428875" cy="324556"/>
          </a:xfrm>
          <a:custGeom>
            <a:avLst/>
            <a:gdLst>
              <a:gd name="T0" fmla="*/ 90 w 94"/>
              <a:gd name="T1" fmla="*/ 71 h 71"/>
              <a:gd name="T2" fmla="*/ 73 w 94"/>
              <a:gd name="T3" fmla="*/ 35 h 71"/>
              <a:gd name="T4" fmla="*/ 22 w 94"/>
              <a:gd name="T5" fmla="*/ 71 h 71"/>
              <a:gd name="T6" fmla="*/ 5 w 94"/>
              <a:gd name="T7" fmla="*/ 24 h 71"/>
              <a:gd name="T8" fmla="*/ 0 w 94"/>
              <a:gd name="T9" fmla="*/ 21 h 71"/>
              <a:gd name="T10" fmla="*/ 47 w 94"/>
              <a:gd name="T11" fmla="*/ 0 h 71"/>
              <a:gd name="T12" fmla="*/ 94 w 94"/>
              <a:gd name="T13" fmla="*/ 21 h 71"/>
              <a:gd name="T14" fmla="*/ 90 w 94"/>
              <a:gd name="T15" fmla="*/ 24 h 71"/>
              <a:gd name="T16" fmla="*/ 64 w 94"/>
              <a:gd name="T17" fmla="*/ 71 h 71"/>
              <a:gd name="T18" fmla="*/ 50 w 94"/>
              <a:gd name="T19" fmla="*/ 45 h 71"/>
              <a:gd name="T20" fmla="*/ 46 w 94"/>
              <a:gd name="T21" fmla="*/ 49 h 71"/>
              <a:gd name="T22" fmla="*/ 33 w 94"/>
              <a:gd name="T23" fmla="*/ 45 h 71"/>
              <a:gd name="T24" fmla="*/ 47 w 94"/>
              <a:gd name="T25" fmla="*/ 63 h 71"/>
              <a:gd name="T26" fmla="*/ 47 w 94"/>
              <a:gd name="T27" fmla="*/ 62 h 71"/>
              <a:gd name="T28" fmla="*/ 46 w 94"/>
              <a:gd name="T29" fmla="*/ 62 h 71"/>
              <a:gd name="T30" fmla="*/ 46 w 94"/>
              <a:gd name="T31" fmla="*/ 63 h 71"/>
              <a:gd name="T32" fmla="*/ 47 w 94"/>
              <a:gd name="T33" fmla="*/ 66 h 71"/>
              <a:gd name="T34" fmla="*/ 50 w 94"/>
              <a:gd name="T35" fmla="*/ 63 h 71"/>
              <a:gd name="T36" fmla="*/ 50 w 94"/>
              <a:gd name="T37" fmla="*/ 62 h 71"/>
              <a:gd name="T38" fmla="*/ 49 w 94"/>
              <a:gd name="T39" fmla="*/ 62 h 71"/>
              <a:gd name="T40" fmla="*/ 49 w 94"/>
              <a:gd name="T41" fmla="*/ 63 h 71"/>
              <a:gd name="T42" fmla="*/ 50 w 94"/>
              <a:gd name="T43" fmla="*/ 66 h 71"/>
              <a:gd name="T44" fmla="*/ 45 w 94"/>
              <a:gd name="T45" fmla="*/ 67 h 71"/>
              <a:gd name="T46" fmla="*/ 51 w 94"/>
              <a:gd name="T47" fmla="*/ 67 h 71"/>
              <a:gd name="T48" fmla="*/ 45 w 94"/>
              <a:gd name="T49" fmla="*/ 67 h 71"/>
              <a:gd name="T50" fmla="*/ 44 w 94"/>
              <a:gd name="T51" fmla="*/ 61 h 71"/>
              <a:gd name="T52" fmla="*/ 45 w 94"/>
              <a:gd name="T53" fmla="*/ 68 h 71"/>
              <a:gd name="T54" fmla="*/ 52 w 94"/>
              <a:gd name="T55" fmla="*/ 67 h 71"/>
              <a:gd name="T56" fmla="*/ 51 w 94"/>
              <a:gd name="T57" fmla="*/ 60 h 71"/>
              <a:gd name="T58" fmla="*/ 36 w 94"/>
              <a:gd name="T59" fmla="*/ 60 h 71"/>
              <a:gd name="T60" fmla="*/ 35 w 94"/>
              <a:gd name="T61" fmla="*/ 67 h 71"/>
              <a:gd name="T62" fmla="*/ 42 w 94"/>
              <a:gd name="T63" fmla="*/ 68 h 71"/>
              <a:gd name="T64" fmla="*/ 43 w 94"/>
              <a:gd name="T65" fmla="*/ 61 h 71"/>
              <a:gd name="T66" fmla="*/ 36 w 94"/>
              <a:gd name="T67" fmla="*/ 60 h 71"/>
              <a:gd name="T68" fmla="*/ 40 w 94"/>
              <a:gd name="T69" fmla="*/ 61 h 71"/>
              <a:gd name="T70" fmla="*/ 40 w 94"/>
              <a:gd name="T71" fmla="*/ 63 h 71"/>
              <a:gd name="T72" fmla="*/ 39 w 94"/>
              <a:gd name="T73" fmla="*/ 63 h 71"/>
              <a:gd name="T74" fmla="*/ 38 w 94"/>
              <a:gd name="T75" fmla="*/ 61 h 71"/>
              <a:gd name="T76" fmla="*/ 37 w 94"/>
              <a:gd name="T77" fmla="*/ 63 h 71"/>
              <a:gd name="T78" fmla="*/ 39 w 94"/>
              <a:gd name="T79" fmla="*/ 67 h 71"/>
              <a:gd name="T80" fmla="*/ 37 w 94"/>
              <a:gd name="T81" fmla="*/ 68 h 71"/>
              <a:gd name="T82" fmla="*/ 41 w 94"/>
              <a:gd name="T83" fmla="*/ 67 h 71"/>
              <a:gd name="T84" fmla="*/ 39 w 94"/>
              <a:gd name="T85" fmla="*/ 65 h 71"/>
              <a:gd name="T86" fmla="*/ 41 w 94"/>
              <a:gd name="T87" fmla="*/ 61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94" h="71">
                <a:moveTo>
                  <a:pt x="90" y="24"/>
                </a:moveTo>
                <a:cubicBezTo>
                  <a:pt x="90" y="71"/>
                  <a:pt x="90" y="71"/>
                  <a:pt x="90" y="71"/>
                </a:cubicBezTo>
                <a:cubicBezTo>
                  <a:pt x="73" y="71"/>
                  <a:pt x="73" y="71"/>
                  <a:pt x="73" y="71"/>
                </a:cubicBezTo>
                <a:cubicBezTo>
                  <a:pt x="73" y="35"/>
                  <a:pt x="73" y="35"/>
                  <a:pt x="73" y="35"/>
                </a:cubicBezTo>
                <a:cubicBezTo>
                  <a:pt x="22" y="35"/>
                  <a:pt x="22" y="35"/>
                  <a:pt x="22" y="35"/>
                </a:cubicBezTo>
                <a:cubicBezTo>
                  <a:pt x="22" y="71"/>
                  <a:pt x="22" y="71"/>
                  <a:pt x="22" y="71"/>
                </a:cubicBezTo>
                <a:cubicBezTo>
                  <a:pt x="5" y="71"/>
                  <a:pt x="5" y="71"/>
                  <a:pt x="5" y="71"/>
                </a:cubicBezTo>
                <a:cubicBezTo>
                  <a:pt x="5" y="24"/>
                  <a:pt x="5" y="24"/>
                  <a:pt x="5" y="24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1"/>
                  <a:pt x="0" y="21"/>
                  <a:pt x="0" y="21"/>
                </a:cubicBezTo>
                <a:cubicBezTo>
                  <a:pt x="20" y="12"/>
                  <a:pt x="20" y="12"/>
                  <a:pt x="20" y="12"/>
                </a:cubicBezTo>
                <a:cubicBezTo>
                  <a:pt x="47" y="0"/>
                  <a:pt x="47" y="0"/>
                  <a:pt x="47" y="0"/>
                </a:cubicBezTo>
                <a:cubicBezTo>
                  <a:pt x="74" y="12"/>
                  <a:pt x="74" y="12"/>
                  <a:pt x="74" y="12"/>
                </a:cubicBezTo>
                <a:cubicBezTo>
                  <a:pt x="94" y="21"/>
                  <a:pt x="94" y="21"/>
                  <a:pt x="94" y="21"/>
                </a:cubicBezTo>
                <a:cubicBezTo>
                  <a:pt x="94" y="24"/>
                  <a:pt x="94" y="24"/>
                  <a:pt x="94" y="24"/>
                </a:cubicBezTo>
                <a:cubicBezTo>
                  <a:pt x="90" y="24"/>
                  <a:pt x="90" y="24"/>
                  <a:pt x="90" y="24"/>
                </a:cubicBezTo>
                <a:close/>
                <a:moveTo>
                  <a:pt x="33" y="71"/>
                </a:moveTo>
                <a:cubicBezTo>
                  <a:pt x="64" y="71"/>
                  <a:pt x="64" y="71"/>
                  <a:pt x="64" y="71"/>
                </a:cubicBezTo>
                <a:cubicBezTo>
                  <a:pt x="64" y="45"/>
                  <a:pt x="64" y="45"/>
                  <a:pt x="64" y="45"/>
                </a:cubicBezTo>
                <a:cubicBezTo>
                  <a:pt x="50" y="45"/>
                  <a:pt x="50" y="45"/>
                  <a:pt x="50" y="45"/>
                </a:cubicBezTo>
                <a:cubicBezTo>
                  <a:pt x="50" y="49"/>
                  <a:pt x="50" y="49"/>
                  <a:pt x="50" y="49"/>
                </a:cubicBezTo>
                <a:cubicBezTo>
                  <a:pt x="46" y="49"/>
                  <a:pt x="46" y="49"/>
                  <a:pt x="46" y="49"/>
                </a:cubicBezTo>
                <a:cubicBezTo>
                  <a:pt x="46" y="45"/>
                  <a:pt x="46" y="45"/>
                  <a:pt x="46" y="45"/>
                </a:cubicBezTo>
                <a:cubicBezTo>
                  <a:pt x="33" y="45"/>
                  <a:pt x="33" y="45"/>
                  <a:pt x="33" y="45"/>
                </a:cubicBezTo>
                <a:cubicBezTo>
                  <a:pt x="33" y="71"/>
                  <a:pt x="33" y="71"/>
                  <a:pt x="33" y="71"/>
                </a:cubicBezTo>
                <a:close/>
                <a:moveTo>
                  <a:pt x="47" y="63"/>
                </a:moveTo>
                <a:cubicBezTo>
                  <a:pt x="48" y="63"/>
                  <a:pt x="48" y="63"/>
                  <a:pt x="48" y="63"/>
                </a:cubicBezTo>
                <a:cubicBezTo>
                  <a:pt x="47" y="62"/>
                  <a:pt x="47" y="62"/>
                  <a:pt x="47" y="62"/>
                </a:cubicBezTo>
                <a:cubicBezTo>
                  <a:pt x="47" y="61"/>
                  <a:pt x="47" y="61"/>
                  <a:pt x="47" y="61"/>
                </a:cubicBezTo>
                <a:cubicBezTo>
                  <a:pt x="46" y="62"/>
                  <a:pt x="46" y="62"/>
                  <a:pt x="46" y="62"/>
                </a:cubicBezTo>
                <a:cubicBezTo>
                  <a:pt x="46" y="63"/>
                  <a:pt x="46" y="63"/>
                  <a:pt x="46" y="63"/>
                </a:cubicBezTo>
                <a:cubicBezTo>
                  <a:pt x="46" y="63"/>
                  <a:pt x="46" y="63"/>
                  <a:pt x="46" y="63"/>
                </a:cubicBezTo>
                <a:cubicBezTo>
                  <a:pt x="46" y="66"/>
                  <a:pt x="46" y="66"/>
                  <a:pt x="46" y="66"/>
                </a:cubicBezTo>
                <a:cubicBezTo>
                  <a:pt x="47" y="66"/>
                  <a:pt x="47" y="66"/>
                  <a:pt x="47" y="66"/>
                </a:cubicBezTo>
                <a:cubicBezTo>
                  <a:pt x="47" y="63"/>
                  <a:pt x="47" y="63"/>
                  <a:pt x="47" y="63"/>
                </a:cubicBezTo>
                <a:close/>
                <a:moveTo>
                  <a:pt x="50" y="63"/>
                </a:moveTo>
                <a:cubicBezTo>
                  <a:pt x="51" y="63"/>
                  <a:pt x="51" y="63"/>
                  <a:pt x="51" y="63"/>
                </a:cubicBezTo>
                <a:cubicBezTo>
                  <a:pt x="50" y="62"/>
                  <a:pt x="50" y="62"/>
                  <a:pt x="50" y="62"/>
                </a:cubicBezTo>
                <a:cubicBezTo>
                  <a:pt x="49" y="61"/>
                  <a:pt x="49" y="61"/>
                  <a:pt x="49" y="61"/>
                </a:cubicBezTo>
                <a:cubicBezTo>
                  <a:pt x="49" y="62"/>
                  <a:pt x="49" y="62"/>
                  <a:pt x="49" y="62"/>
                </a:cubicBezTo>
                <a:cubicBezTo>
                  <a:pt x="48" y="63"/>
                  <a:pt x="48" y="63"/>
                  <a:pt x="48" y="63"/>
                </a:cubicBezTo>
                <a:cubicBezTo>
                  <a:pt x="49" y="63"/>
                  <a:pt x="49" y="63"/>
                  <a:pt x="49" y="63"/>
                </a:cubicBezTo>
                <a:cubicBezTo>
                  <a:pt x="49" y="66"/>
                  <a:pt x="49" y="66"/>
                  <a:pt x="49" y="66"/>
                </a:cubicBezTo>
                <a:cubicBezTo>
                  <a:pt x="50" y="66"/>
                  <a:pt x="50" y="66"/>
                  <a:pt x="50" y="66"/>
                </a:cubicBezTo>
                <a:cubicBezTo>
                  <a:pt x="50" y="63"/>
                  <a:pt x="50" y="63"/>
                  <a:pt x="50" y="63"/>
                </a:cubicBezTo>
                <a:close/>
                <a:moveTo>
                  <a:pt x="45" y="67"/>
                </a:moveTo>
                <a:cubicBezTo>
                  <a:pt x="45" y="67"/>
                  <a:pt x="45" y="67"/>
                  <a:pt x="45" y="67"/>
                </a:cubicBezTo>
                <a:cubicBezTo>
                  <a:pt x="51" y="67"/>
                  <a:pt x="51" y="67"/>
                  <a:pt x="51" y="67"/>
                </a:cubicBezTo>
                <a:cubicBezTo>
                  <a:pt x="51" y="67"/>
                  <a:pt x="51" y="67"/>
                  <a:pt x="51" y="67"/>
                </a:cubicBezTo>
                <a:cubicBezTo>
                  <a:pt x="45" y="67"/>
                  <a:pt x="45" y="67"/>
                  <a:pt x="45" y="67"/>
                </a:cubicBezTo>
                <a:close/>
                <a:moveTo>
                  <a:pt x="45" y="60"/>
                </a:moveTo>
                <a:cubicBezTo>
                  <a:pt x="45" y="60"/>
                  <a:pt x="44" y="60"/>
                  <a:pt x="44" y="61"/>
                </a:cubicBezTo>
                <a:cubicBezTo>
                  <a:pt x="44" y="67"/>
                  <a:pt x="44" y="67"/>
                  <a:pt x="44" y="67"/>
                </a:cubicBezTo>
                <a:cubicBezTo>
                  <a:pt x="44" y="68"/>
                  <a:pt x="45" y="68"/>
                  <a:pt x="45" y="68"/>
                </a:cubicBezTo>
                <a:cubicBezTo>
                  <a:pt x="51" y="68"/>
                  <a:pt x="51" y="68"/>
                  <a:pt x="51" y="68"/>
                </a:cubicBezTo>
                <a:cubicBezTo>
                  <a:pt x="52" y="68"/>
                  <a:pt x="52" y="68"/>
                  <a:pt x="52" y="67"/>
                </a:cubicBezTo>
                <a:cubicBezTo>
                  <a:pt x="52" y="61"/>
                  <a:pt x="52" y="61"/>
                  <a:pt x="52" y="61"/>
                </a:cubicBezTo>
                <a:cubicBezTo>
                  <a:pt x="52" y="60"/>
                  <a:pt x="52" y="60"/>
                  <a:pt x="51" y="60"/>
                </a:cubicBezTo>
                <a:cubicBezTo>
                  <a:pt x="45" y="60"/>
                  <a:pt x="45" y="60"/>
                  <a:pt x="45" y="60"/>
                </a:cubicBezTo>
                <a:close/>
                <a:moveTo>
                  <a:pt x="36" y="60"/>
                </a:moveTo>
                <a:cubicBezTo>
                  <a:pt x="36" y="60"/>
                  <a:pt x="35" y="60"/>
                  <a:pt x="35" y="61"/>
                </a:cubicBezTo>
                <a:cubicBezTo>
                  <a:pt x="35" y="67"/>
                  <a:pt x="35" y="67"/>
                  <a:pt x="35" y="67"/>
                </a:cubicBezTo>
                <a:cubicBezTo>
                  <a:pt x="35" y="68"/>
                  <a:pt x="36" y="68"/>
                  <a:pt x="36" y="68"/>
                </a:cubicBezTo>
                <a:cubicBezTo>
                  <a:pt x="42" y="68"/>
                  <a:pt x="42" y="68"/>
                  <a:pt x="42" y="68"/>
                </a:cubicBezTo>
                <a:cubicBezTo>
                  <a:pt x="43" y="68"/>
                  <a:pt x="43" y="68"/>
                  <a:pt x="43" y="67"/>
                </a:cubicBezTo>
                <a:cubicBezTo>
                  <a:pt x="43" y="61"/>
                  <a:pt x="43" y="61"/>
                  <a:pt x="43" y="61"/>
                </a:cubicBezTo>
                <a:cubicBezTo>
                  <a:pt x="43" y="60"/>
                  <a:pt x="43" y="60"/>
                  <a:pt x="42" y="60"/>
                </a:cubicBezTo>
                <a:cubicBezTo>
                  <a:pt x="36" y="60"/>
                  <a:pt x="36" y="60"/>
                  <a:pt x="36" y="60"/>
                </a:cubicBezTo>
                <a:close/>
                <a:moveTo>
                  <a:pt x="41" y="61"/>
                </a:moveTo>
                <a:cubicBezTo>
                  <a:pt x="40" y="61"/>
                  <a:pt x="40" y="61"/>
                  <a:pt x="40" y="61"/>
                </a:cubicBezTo>
                <a:cubicBezTo>
                  <a:pt x="39" y="62"/>
                  <a:pt x="39" y="62"/>
                  <a:pt x="39" y="62"/>
                </a:cubicBezTo>
                <a:cubicBezTo>
                  <a:pt x="40" y="63"/>
                  <a:pt x="40" y="63"/>
                  <a:pt x="40" y="63"/>
                </a:cubicBezTo>
                <a:cubicBezTo>
                  <a:pt x="39" y="65"/>
                  <a:pt x="39" y="65"/>
                  <a:pt x="39" y="65"/>
                </a:cubicBezTo>
                <a:cubicBezTo>
                  <a:pt x="39" y="63"/>
                  <a:pt x="39" y="63"/>
                  <a:pt x="39" y="63"/>
                </a:cubicBezTo>
                <a:cubicBezTo>
                  <a:pt x="38" y="63"/>
                  <a:pt x="38" y="63"/>
                  <a:pt x="38" y="63"/>
                </a:cubicBezTo>
                <a:cubicBezTo>
                  <a:pt x="38" y="63"/>
                  <a:pt x="38" y="62"/>
                  <a:pt x="38" y="61"/>
                </a:cubicBezTo>
                <a:cubicBezTo>
                  <a:pt x="37" y="61"/>
                  <a:pt x="37" y="61"/>
                  <a:pt x="37" y="61"/>
                </a:cubicBezTo>
                <a:cubicBezTo>
                  <a:pt x="37" y="63"/>
                  <a:pt x="37" y="63"/>
                  <a:pt x="37" y="63"/>
                </a:cubicBezTo>
                <a:cubicBezTo>
                  <a:pt x="37" y="64"/>
                  <a:pt x="38" y="65"/>
                  <a:pt x="39" y="65"/>
                </a:cubicBezTo>
                <a:cubicBezTo>
                  <a:pt x="39" y="67"/>
                  <a:pt x="39" y="67"/>
                  <a:pt x="39" y="67"/>
                </a:cubicBezTo>
                <a:cubicBezTo>
                  <a:pt x="38" y="67"/>
                  <a:pt x="38" y="67"/>
                  <a:pt x="37" y="67"/>
                </a:cubicBezTo>
                <a:cubicBezTo>
                  <a:pt x="37" y="67"/>
                  <a:pt x="37" y="67"/>
                  <a:pt x="37" y="68"/>
                </a:cubicBezTo>
                <a:cubicBezTo>
                  <a:pt x="39" y="68"/>
                  <a:pt x="40" y="68"/>
                  <a:pt x="41" y="68"/>
                </a:cubicBezTo>
                <a:cubicBezTo>
                  <a:pt x="41" y="67"/>
                  <a:pt x="41" y="67"/>
                  <a:pt x="41" y="67"/>
                </a:cubicBezTo>
                <a:cubicBezTo>
                  <a:pt x="41" y="67"/>
                  <a:pt x="40" y="67"/>
                  <a:pt x="39" y="67"/>
                </a:cubicBezTo>
                <a:cubicBezTo>
                  <a:pt x="39" y="65"/>
                  <a:pt x="39" y="65"/>
                  <a:pt x="39" y="65"/>
                </a:cubicBezTo>
                <a:cubicBezTo>
                  <a:pt x="40" y="65"/>
                  <a:pt x="41" y="64"/>
                  <a:pt x="41" y="63"/>
                </a:cubicBezTo>
                <a:lnTo>
                  <a:pt x="41" y="61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32">
              <a:defRPr/>
            </a:pPr>
            <a:endParaRPr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6673728" y="2226669"/>
            <a:ext cx="543739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履约</a:t>
            </a:r>
          </a:p>
        </p:txBody>
      </p:sp>
      <p:sp>
        <p:nvSpPr>
          <p:cNvPr id="25" name="Freeform 198"/>
          <p:cNvSpPr>
            <a:spLocks noEditPoints="1"/>
          </p:cNvSpPr>
          <p:nvPr/>
        </p:nvSpPr>
        <p:spPr bwMode="auto">
          <a:xfrm>
            <a:off x="6781001" y="1865683"/>
            <a:ext cx="442631" cy="399352"/>
          </a:xfrm>
          <a:custGeom>
            <a:avLst/>
            <a:gdLst>
              <a:gd name="T0" fmla="*/ 61 w 95"/>
              <a:gd name="T1" fmla="*/ 27 h 86"/>
              <a:gd name="T2" fmla="*/ 76 w 95"/>
              <a:gd name="T3" fmla="*/ 29 h 86"/>
              <a:gd name="T4" fmla="*/ 94 w 95"/>
              <a:gd name="T5" fmla="*/ 34 h 86"/>
              <a:gd name="T6" fmla="*/ 75 w 95"/>
              <a:gd name="T7" fmla="*/ 70 h 86"/>
              <a:gd name="T8" fmla="*/ 47 w 95"/>
              <a:gd name="T9" fmla="*/ 86 h 86"/>
              <a:gd name="T10" fmla="*/ 47 w 95"/>
              <a:gd name="T11" fmla="*/ 86 h 86"/>
              <a:gd name="T12" fmla="*/ 47 w 95"/>
              <a:gd name="T13" fmla="*/ 86 h 86"/>
              <a:gd name="T14" fmla="*/ 47 w 95"/>
              <a:gd name="T15" fmla="*/ 86 h 86"/>
              <a:gd name="T16" fmla="*/ 47 w 95"/>
              <a:gd name="T17" fmla="*/ 86 h 86"/>
              <a:gd name="T18" fmla="*/ 47 w 95"/>
              <a:gd name="T19" fmla="*/ 86 h 86"/>
              <a:gd name="T20" fmla="*/ 46 w 95"/>
              <a:gd name="T21" fmla="*/ 86 h 86"/>
              <a:gd name="T22" fmla="*/ 46 w 95"/>
              <a:gd name="T23" fmla="*/ 86 h 86"/>
              <a:gd name="T24" fmla="*/ 46 w 95"/>
              <a:gd name="T25" fmla="*/ 86 h 86"/>
              <a:gd name="T26" fmla="*/ 46 w 95"/>
              <a:gd name="T27" fmla="*/ 86 h 86"/>
              <a:gd name="T28" fmla="*/ 46 w 95"/>
              <a:gd name="T29" fmla="*/ 86 h 86"/>
              <a:gd name="T30" fmla="*/ 46 w 95"/>
              <a:gd name="T31" fmla="*/ 86 h 86"/>
              <a:gd name="T32" fmla="*/ 46 w 95"/>
              <a:gd name="T33" fmla="*/ 86 h 86"/>
              <a:gd name="T34" fmla="*/ 46 w 95"/>
              <a:gd name="T35" fmla="*/ 86 h 86"/>
              <a:gd name="T36" fmla="*/ 46 w 95"/>
              <a:gd name="T37" fmla="*/ 86 h 86"/>
              <a:gd name="T38" fmla="*/ 46 w 95"/>
              <a:gd name="T39" fmla="*/ 86 h 86"/>
              <a:gd name="T40" fmla="*/ 46 w 95"/>
              <a:gd name="T41" fmla="*/ 86 h 86"/>
              <a:gd name="T42" fmla="*/ 46 w 95"/>
              <a:gd name="T43" fmla="*/ 86 h 86"/>
              <a:gd name="T44" fmla="*/ 46 w 95"/>
              <a:gd name="T45" fmla="*/ 86 h 86"/>
              <a:gd name="T46" fmla="*/ 46 w 95"/>
              <a:gd name="T47" fmla="*/ 86 h 86"/>
              <a:gd name="T48" fmla="*/ 46 w 95"/>
              <a:gd name="T49" fmla="*/ 86 h 86"/>
              <a:gd name="T50" fmla="*/ 46 w 95"/>
              <a:gd name="T51" fmla="*/ 86 h 86"/>
              <a:gd name="T52" fmla="*/ 46 w 95"/>
              <a:gd name="T53" fmla="*/ 86 h 86"/>
              <a:gd name="T54" fmla="*/ 45 w 95"/>
              <a:gd name="T55" fmla="*/ 86 h 86"/>
              <a:gd name="T56" fmla="*/ 45 w 95"/>
              <a:gd name="T57" fmla="*/ 86 h 86"/>
              <a:gd name="T58" fmla="*/ 45 w 95"/>
              <a:gd name="T59" fmla="*/ 86 h 86"/>
              <a:gd name="T60" fmla="*/ 45 w 95"/>
              <a:gd name="T61" fmla="*/ 86 h 86"/>
              <a:gd name="T62" fmla="*/ 45 w 95"/>
              <a:gd name="T63" fmla="*/ 86 h 86"/>
              <a:gd name="T64" fmla="*/ 45 w 95"/>
              <a:gd name="T65" fmla="*/ 86 h 86"/>
              <a:gd name="T66" fmla="*/ 45 w 95"/>
              <a:gd name="T67" fmla="*/ 86 h 86"/>
              <a:gd name="T68" fmla="*/ 45 w 95"/>
              <a:gd name="T69" fmla="*/ 86 h 86"/>
              <a:gd name="T70" fmla="*/ 45 w 95"/>
              <a:gd name="T71" fmla="*/ 86 h 86"/>
              <a:gd name="T72" fmla="*/ 45 w 95"/>
              <a:gd name="T73" fmla="*/ 86 h 86"/>
              <a:gd name="T74" fmla="*/ 45 w 95"/>
              <a:gd name="T75" fmla="*/ 86 h 86"/>
              <a:gd name="T76" fmla="*/ 45 w 95"/>
              <a:gd name="T77" fmla="*/ 86 h 86"/>
              <a:gd name="T78" fmla="*/ 45 w 95"/>
              <a:gd name="T79" fmla="*/ 86 h 86"/>
              <a:gd name="T80" fmla="*/ 45 w 95"/>
              <a:gd name="T81" fmla="*/ 86 h 86"/>
              <a:gd name="T82" fmla="*/ 45 w 95"/>
              <a:gd name="T83" fmla="*/ 86 h 86"/>
              <a:gd name="T84" fmla="*/ 45 w 95"/>
              <a:gd name="T85" fmla="*/ 86 h 86"/>
              <a:gd name="T86" fmla="*/ 45 w 95"/>
              <a:gd name="T87" fmla="*/ 86 h 86"/>
              <a:gd name="T88" fmla="*/ 44 w 95"/>
              <a:gd name="T89" fmla="*/ 86 h 86"/>
              <a:gd name="T90" fmla="*/ 16 w 95"/>
              <a:gd name="T91" fmla="*/ 70 h 86"/>
              <a:gd name="T92" fmla="*/ 15 w 95"/>
              <a:gd name="T93" fmla="*/ 30 h 86"/>
              <a:gd name="T94" fmla="*/ 2 w 95"/>
              <a:gd name="T95" fmla="*/ 13 h 86"/>
              <a:gd name="T96" fmla="*/ 37 w 95"/>
              <a:gd name="T97" fmla="*/ 4 h 86"/>
              <a:gd name="T98" fmla="*/ 32 w 95"/>
              <a:gd name="T99" fmla="*/ 5 h 86"/>
              <a:gd name="T100" fmla="*/ 32 w 95"/>
              <a:gd name="T101" fmla="*/ 24 h 86"/>
              <a:gd name="T102" fmla="*/ 41 w 95"/>
              <a:gd name="T103" fmla="*/ 3 h 86"/>
              <a:gd name="T104" fmla="*/ 34 w 95"/>
              <a:gd name="T105" fmla="*/ 19 h 86"/>
              <a:gd name="T106" fmla="*/ 49 w 95"/>
              <a:gd name="T107" fmla="*/ 32 h 86"/>
              <a:gd name="T108" fmla="*/ 61 w 95"/>
              <a:gd name="T109" fmla="*/ 19 h 86"/>
              <a:gd name="T110" fmla="*/ 42 w 95"/>
              <a:gd name="T111" fmla="*/ 2 h 86"/>
              <a:gd name="T112" fmla="*/ 75 w 95"/>
              <a:gd name="T113" fmla="*/ 33 h 86"/>
              <a:gd name="T114" fmla="*/ 43 w 95"/>
              <a:gd name="T115" fmla="*/ 8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5" h="86">
                <a:moveTo>
                  <a:pt x="22" y="31"/>
                </a:moveTo>
                <a:cubicBezTo>
                  <a:pt x="46" y="44"/>
                  <a:pt x="46" y="44"/>
                  <a:pt x="46" y="44"/>
                </a:cubicBezTo>
                <a:cubicBezTo>
                  <a:pt x="70" y="31"/>
                  <a:pt x="70" y="31"/>
                  <a:pt x="70" y="31"/>
                </a:cubicBezTo>
                <a:cubicBezTo>
                  <a:pt x="61" y="27"/>
                  <a:pt x="61" y="27"/>
                  <a:pt x="61" y="27"/>
                </a:cubicBezTo>
                <a:cubicBezTo>
                  <a:pt x="64" y="24"/>
                  <a:pt x="64" y="24"/>
                  <a:pt x="64" y="24"/>
                </a:cubicBezTo>
                <a:cubicBezTo>
                  <a:pt x="65" y="24"/>
                  <a:pt x="65" y="24"/>
                  <a:pt x="65" y="24"/>
                </a:cubicBezTo>
                <a:cubicBezTo>
                  <a:pt x="75" y="29"/>
                  <a:pt x="75" y="29"/>
                  <a:pt x="75" y="29"/>
                </a:cubicBezTo>
                <a:cubicBezTo>
                  <a:pt x="75" y="29"/>
                  <a:pt x="75" y="29"/>
                  <a:pt x="76" y="29"/>
                </a:cubicBezTo>
                <a:cubicBezTo>
                  <a:pt x="93" y="30"/>
                  <a:pt x="93" y="30"/>
                  <a:pt x="93" y="30"/>
                </a:cubicBezTo>
                <a:cubicBezTo>
                  <a:pt x="93" y="30"/>
                  <a:pt x="93" y="30"/>
                  <a:pt x="93" y="30"/>
                </a:cubicBezTo>
                <a:cubicBezTo>
                  <a:pt x="93" y="30"/>
                  <a:pt x="94" y="30"/>
                  <a:pt x="94" y="31"/>
                </a:cubicBezTo>
                <a:cubicBezTo>
                  <a:pt x="95" y="32"/>
                  <a:pt x="95" y="33"/>
                  <a:pt x="94" y="34"/>
                </a:cubicBezTo>
                <a:cubicBezTo>
                  <a:pt x="76" y="44"/>
                  <a:pt x="76" y="44"/>
                  <a:pt x="76" y="44"/>
                </a:cubicBezTo>
                <a:cubicBezTo>
                  <a:pt x="76" y="68"/>
                  <a:pt x="76" y="68"/>
                  <a:pt x="76" y="68"/>
                </a:cubicBezTo>
                <a:cubicBezTo>
                  <a:pt x="76" y="68"/>
                  <a:pt x="76" y="68"/>
                  <a:pt x="76" y="68"/>
                </a:cubicBezTo>
                <a:cubicBezTo>
                  <a:pt x="76" y="69"/>
                  <a:pt x="76" y="70"/>
                  <a:pt x="75" y="70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7" y="86"/>
                  <a:pt x="47" y="86"/>
                  <a:pt x="47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6" y="86"/>
                  <a:pt x="46" y="86"/>
                  <a:pt x="46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5" y="86"/>
                  <a:pt x="45" y="86"/>
                  <a:pt x="45" y="86"/>
                </a:cubicBezTo>
                <a:cubicBezTo>
                  <a:pt x="44" y="86"/>
                  <a:pt x="44" y="86"/>
                  <a:pt x="44" y="86"/>
                </a:cubicBezTo>
                <a:cubicBezTo>
                  <a:pt x="44" y="86"/>
                  <a:pt x="44" y="86"/>
                  <a:pt x="44" y="86"/>
                </a:cubicBezTo>
                <a:cubicBezTo>
                  <a:pt x="44" y="86"/>
                  <a:pt x="44" y="86"/>
                  <a:pt x="44" y="86"/>
                </a:cubicBezTo>
                <a:cubicBezTo>
                  <a:pt x="44" y="86"/>
                  <a:pt x="44" y="86"/>
                  <a:pt x="44" y="86"/>
                </a:cubicBezTo>
                <a:cubicBezTo>
                  <a:pt x="44" y="86"/>
                  <a:pt x="44" y="86"/>
                  <a:pt x="44" y="86"/>
                </a:cubicBezTo>
                <a:cubicBezTo>
                  <a:pt x="16" y="70"/>
                  <a:pt x="16" y="70"/>
                  <a:pt x="16" y="70"/>
                </a:cubicBezTo>
                <a:cubicBezTo>
                  <a:pt x="15" y="70"/>
                  <a:pt x="15" y="69"/>
                  <a:pt x="15" y="68"/>
                </a:cubicBezTo>
                <a:cubicBezTo>
                  <a:pt x="15" y="68"/>
                  <a:pt x="15" y="68"/>
                  <a:pt x="15" y="68"/>
                </a:cubicBezTo>
                <a:cubicBezTo>
                  <a:pt x="15" y="31"/>
                  <a:pt x="15" y="31"/>
                  <a:pt x="15" y="31"/>
                </a:cubicBezTo>
                <a:cubicBezTo>
                  <a:pt x="15" y="30"/>
                  <a:pt x="15" y="30"/>
                  <a:pt x="15" y="30"/>
                </a:cubicBezTo>
                <a:cubicBezTo>
                  <a:pt x="1" y="17"/>
                  <a:pt x="1" y="17"/>
                  <a:pt x="1" y="17"/>
                </a:cubicBezTo>
                <a:cubicBezTo>
                  <a:pt x="0" y="16"/>
                  <a:pt x="0" y="14"/>
                  <a:pt x="1" y="13"/>
                </a:cubicBezTo>
                <a:cubicBezTo>
                  <a:pt x="1" y="13"/>
                  <a:pt x="2" y="13"/>
                  <a:pt x="2" y="13"/>
                </a:cubicBezTo>
                <a:cubicBezTo>
                  <a:pt x="2" y="13"/>
                  <a:pt x="2" y="13"/>
                  <a:pt x="2" y="13"/>
                </a:cubicBezTo>
                <a:cubicBezTo>
                  <a:pt x="32" y="0"/>
                  <a:pt x="32" y="0"/>
                  <a:pt x="32" y="0"/>
                </a:cubicBezTo>
                <a:cubicBezTo>
                  <a:pt x="33" y="0"/>
                  <a:pt x="34" y="0"/>
                  <a:pt x="34" y="1"/>
                </a:cubicBezTo>
                <a:cubicBezTo>
                  <a:pt x="34" y="1"/>
                  <a:pt x="34" y="1"/>
                  <a:pt x="34" y="1"/>
                </a:cubicBezTo>
                <a:cubicBezTo>
                  <a:pt x="37" y="4"/>
                  <a:pt x="37" y="4"/>
                  <a:pt x="37" y="4"/>
                </a:cubicBezTo>
                <a:cubicBezTo>
                  <a:pt x="37" y="8"/>
                  <a:pt x="37" y="8"/>
                  <a:pt x="37" y="8"/>
                </a:cubicBezTo>
                <a:cubicBezTo>
                  <a:pt x="37" y="9"/>
                  <a:pt x="37" y="9"/>
                  <a:pt x="37" y="9"/>
                </a:cubicBezTo>
                <a:cubicBezTo>
                  <a:pt x="37" y="10"/>
                  <a:pt x="37" y="10"/>
                  <a:pt x="37" y="10"/>
                </a:cubicBezTo>
                <a:cubicBezTo>
                  <a:pt x="32" y="5"/>
                  <a:pt x="32" y="5"/>
                  <a:pt x="32" y="5"/>
                </a:cubicBezTo>
                <a:cubicBezTo>
                  <a:pt x="7" y="16"/>
                  <a:pt x="7" y="16"/>
                  <a:pt x="7" y="16"/>
                </a:cubicBezTo>
                <a:cubicBezTo>
                  <a:pt x="18" y="27"/>
                  <a:pt x="18" y="27"/>
                  <a:pt x="18" y="27"/>
                </a:cubicBezTo>
                <a:cubicBezTo>
                  <a:pt x="30" y="22"/>
                  <a:pt x="30" y="22"/>
                  <a:pt x="30" y="22"/>
                </a:cubicBezTo>
                <a:cubicBezTo>
                  <a:pt x="30" y="23"/>
                  <a:pt x="31" y="24"/>
                  <a:pt x="32" y="24"/>
                </a:cubicBezTo>
                <a:cubicBezTo>
                  <a:pt x="33" y="25"/>
                  <a:pt x="33" y="25"/>
                  <a:pt x="33" y="25"/>
                </a:cubicBezTo>
                <a:cubicBezTo>
                  <a:pt x="22" y="31"/>
                  <a:pt x="22" y="31"/>
                  <a:pt x="22" y="31"/>
                </a:cubicBezTo>
                <a:close/>
                <a:moveTo>
                  <a:pt x="42" y="2"/>
                </a:moveTo>
                <a:cubicBezTo>
                  <a:pt x="41" y="2"/>
                  <a:pt x="41" y="2"/>
                  <a:pt x="41" y="3"/>
                </a:cubicBezTo>
                <a:cubicBezTo>
                  <a:pt x="41" y="19"/>
                  <a:pt x="41" y="19"/>
                  <a:pt x="41" y="19"/>
                </a:cubicBezTo>
                <a:cubicBezTo>
                  <a:pt x="35" y="19"/>
                  <a:pt x="35" y="19"/>
                  <a:pt x="35" y="19"/>
                </a:cubicBezTo>
                <a:cubicBezTo>
                  <a:pt x="35" y="19"/>
                  <a:pt x="35" y="19"/>
                  <a:pt x="35" y="19"/>
                </a:cubicBezTo>
                <a:cubicBezTo>
                  <a:pt x="34" y="19"/>
                  <a:pt x="34" y="19"/>
                  <a:pt x="34" y="19"/>
                </a:cubicBezTo>
                <a:cubicBezTo>
                  <a:pt x="33" y="20"/>
                  <a:pt x="33" y="21"/>
                  <a:pt x="34" y="22"/>
                </a:cubicBezTo>
                <a:cubicBezTo>
                  <a:pt x="41" y="27"/>
                  <a:pt x="41" y="27"/>
                  <a:pt x="41" y="27"/>
                </a:cubicBezTo>
                <a:cubicBezTo>
                  <a:pt x="47" y="32"/>
                  <a:pt x="47" y="32"/>
                  <a:pt x="47" y="32"/>
                </a:cubicBezTo>
                <a:cubicBezTo>
                  <a:pt x="48" y="32"/>
                  <a:pt x="48" y="32"/>
                  <a:pt x="49" y="32"/>
                </a:cubicBezTo>
                <a:cubicBezTo>
                  <a:pt x="56" y="27"/>
                  <a:pt x="56" y="27"/>
                  <a:pt x="56" y="27"/>
                </a:cubicBezTo>
                <a:cubicBezTo>
                  <a:pt x="62" y="22"/>
                  <a:pt x="62" y="22"/>
                  <a:pt x="62" y="22"/>
                </a:cubicBezTo>
                <a:cubicBezTo>
                  <a:pt x="63" y="22"/>
                  <a:pt x="63" y="21"/>
                  <a:pt x="63" y="20"/>
                </a:cubicBezTo>
                <a:cubicBezTo>
                  <a:pt x="63" y="20"/>
                  <a:pt x="62" y="19"/>
                  <a:pt x="61" y="19"/>
                </a:cubicBezTo>
                <a:cubicBezTo>
                  <a:pt x="55" y="19"/>
                  <a:pt x="55" y="19"/>
                  <a:pt x="55" y="19"/>
                </a:cubicBezTo>
                <a:cubicBezTo>
                  <a:pt x="55" y="3"/>
                  <a:pt x="55" y="3"/>
                  <a:pt x="55" y="3"/>
                </a:cubicBezTo>
                <a:cubicBezTo>
                  <a:pt x="55" y="2"/>
                  <a:pt x="55" y="2"/>
                  <a:pt x="54" y="2"/>
                </a:cubicBezTo>
                <a:cubicBezTo>
                  <a:pt x="42" y="2"/>
                  <a:pt x="42" y="2"/>
                  <a:pt x="42" y="2"/>
                </a:cubicBezTo>
                <a:close/>
                <a:moveTo>
                  <a:pt x="52" y="46"/>
                </a:moveTo>
                <a:cubicBezTo>
                  <a:pt x="61" y="48"/>
                  <a:pt x="61" y="48"/>
                  <a:pt x="61" y="48"/>
                </a:cubicBezTo>
                <a:cubicBezTo>
                  <a:pt x="85" y="34"/>
                  <a:pt x="85" y="34"/>
                  <a:pt x="85" y="34"/>
                </a:cubicBezTo>
                <a:cubicBezTo>
                  <a:pt x="75" y="33"/>
                  <a:pt x="75" y="33"/>
                  <a:pt x="75" y="33"/>
                </a:cubicBezTo>
                <a:cubicBezTo>
                  <a:pt x="52" y="46"/>
                  <a:pt x="52" y="46"/>
                  <a:pt x="52" y="46"/>
                </a:cubicBezTo>
                <a:close/>
                <a:moveTo>
                  <a:pt x="19" y="34"/>
                </a:moveTo>
                <a:cubicBezTo>
                  <a:pt x="19" y="67"/>
                  <a:pt x="19" y="67"/>
                  <a:pt x="19" y="67"/>
                </a:cubicBezTo>
                <a:cubicBezTo>
                  <a:pt x="43" y="80"/>
                  <a:pt x="43" y="80"/>
                  <a:pt x="43" y="80"/>
                </a:cubicBezTo>
                <a:cubicBezTo>
                  <a:pt x="43" y="47"/>
                  <a:pt x="43" y="47"/>
                  <a:pt x="43" y="47"/>
                </a:cubicBezTo>
                <a:cubicBezTo>
                  <a:pt x="29" y="40"/>
                  <a:pt x="35" y="43"/>
                  <a:pt x="19" y="34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32">
              <a:defRPr/>
            </a:pPr>
            <a:endParaRPr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6" name="椭圆 25"/>
          <p:cNvSpPr>
            <a:spLocks noChangeAspect="1"/>
          </p:cNvSpPr>
          <p:nvPr/>
        </p:nvSpPr>
        <p:spPr>
          <a:xfrm>
            <a:off x="6549175" y="1807397"/>
            <a:ext cx="854399" cy="854400"/>
          </a:xfrm>
          <a:prstGeom prst="ellipse">
            <a:avLst/>
          </a:prstGeom>
          <a:noFill/>
          <a:ln w="1270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1" name="椭圆 20"/>
          <p:cNvSpPr>
            <a:spLocks noChangeAspect="1"/>
          </p:cNvSpPr>
          <p:nvPr/>
        </p:nvSpPr>
        <p:spPr>
          <a:xfrm>
            <a:off x="8382315" y="1807397"/>
            <a:ext cx="854399" cy="854400"/>
          </a:xfrm>
          <a:prstGeom prst="ellipse">
            <a:avLst/>
          </a:prstGeom>
          <a:noFill/>
          <a:ln w="1270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2" name="Freeform 129"/>
          <p:cNvSpPr>
            <a:spLocks noEditPoints="1"/>
          </p:cNvSpPr>
          <p:nvPr/>
        </p:nvSpPr>
        <p:spPr bwMode="auto">
          <a:xfrm>
            <a:off x="8614076" y="1873378"/>
            <a:ext cx="416816" cy="383964"/>
          </a:xfrm>
          <a:custGeom>
            <a:avLst/>
            <a:gdLst>
              <a:gd name="T0" fmla="*/ 54 w 86"/>
              <a:gd name="T1" fmla="*/ 10 h 79"/>
              <a:gd name="T2" fmla="*/ 63 w 86"/>
              <a:gd name="T3" fmla="*/ 38 h 79"/>
              <a:gd name="T4" fmla="*/ 55 w 86"/>
              <a:gd name="T5" fmla="*/ 32 h 79"/>
              <a:gd name="T6" fmla="*/ 32 w 86"/>
              <a:gd name="T7" fmla="*/ 9 h 79"/>
              <a:gd name="T8" fmla="*/ 8 w 86"/>
              <a:gd name="T9" fmla="*/ 32 h 79"/>
              <a:gd name="T10" fmla="*/ 16 w 86"/>
              <a:gd name="T11" fmla="*/ 50 h 79"/>
              <a:gd name="T12" fmla="*/ 9 w 86"/>
              <a:gd name="T13" fmla="*/ 55 h 79"/>
              <a:gd name="T14" fmla="*/ 9 w 86"/>
              <a:gd name="T15" fmla="*/ 10 h 79"/>
              <a:gd name="T16" fmla="*/ 84 w 86"/>
              <a:gd name="T17" fmla="*/ 61 h 79"/>
              <a:gd name="T18" fmla="*/ 68 w 86"/>
              <a:gd name="T19" fmla="*/ 51 h 79"/>
              <a:gd name="T20" fmla="*/ 67 w 86"/>
              <a:gd name="T21" fmla="*/ 50 h 79"/>
              <a:gd name="T22" fmla="*/ 54 w 86"/>
              <a:gd name="T23" fmla="*/ 47 h 79"/>
              <a:gd name="T24" fmla="*/ 23 w 86"/>
              <a:gd name="T25" fmla="*/ 52 h 79"/>
              <a:gd name="T26" fmla="*/ 25 w 86"/>
              <a:gd name="T27" fmla="*/ 73 h 79"/>
              <a:gd name="T28" fmla="*/ 29 w 86"/>
              <a:gd name="T29" fmla="*/ 77 h 79"/>
              <a:gd name="T30" fmla="*/ 40 w 86"/>
              <a:gd name="T31" fmla="*/ 77 h 79"/>
              <a:gd name="T32" fmla="*/ 64 w 86"/>
              <a:gd name="T33" fmla="*/ 73 h 79"/>
              <a:gd name="T34" fmla="*/ 72 w 86"/>
              <a:gd name="T35" fmla="*/ 79 h 79"/>
              <a:gd name="T36" fmla="*/ 80 w 86"/>
              <a:gd name="T37" fmla="*/ 73 h 79"/>
              <a:gd name="T38" fmla="*/ 84 w 86"/>
              <a:gd name="T39" fmla="*/ 73 h 79"/>
              <a:gd name="T40" fmla="*/ 86 w 86"/>
              <a:gd name="T41" fmla="*/ 68 h 79"/>
              <a:gd name="T42" fmla="*/ 84 w 86"/>
              <a:gd name="T43" fmla="*/ 61 h 79"/>
              <a:gd name="T44" fmla="*/ 35 w 86"/>
              <a:gd name="T45" fmla="*/ 67 h 79"/>
              <a:gd name="T46" fmla="*/ 39 w 86"/>
              <a:gd name="T47" fmla="*/ 71 h 79"/>
              <a:gd name="T48" fmla="*/ 35 w 86"/>
              <a:gd name="T49" fmla="*/ 75 h 79"/>
              <a:gd name="T50" fmla="*/ 30 w 86"/>
              <a:gd name="T51" fmla="*/ 71 h 79"/>
              <a:gd name="T52" fmla="*/ 69 w 86"/>
              <a:gd name="T53" fmla="*/ 68 h 79"/>
              <a:gd name="T54" fmla="*/ 75 w 86"/>
              <a:gd name="T55" fmla="*/ 68 h 79"/>
              <a:gd name="T56" fmla="*/ 75 w 86"/>
              <a:gd name="T57" fmla="*/ 74 h 79"/>
              <a:gd name="T58" fmla="*/ 69 w 86"/>
              <a:gd name="T59" fmla="*/ 74 h 79"/>
              <a:gd name="T60" fmla="*/ 69 w 86"/>
              <a:gd name="T61" fmla="*/ 68 h 79"/>
              <a:gd name="T62" fmla="*/ 66 w 86"/>
              <a:gd name="T63" fmla="*/ 53 h 79"/>
              <a:gd name="T64" fmla="*/ 56 w 86"/>
              <a:gd name="T65" fmla="*/ 59 h 79"/>
              <a:gd name="T66" fmla="*/ 19 w 86"/>
              <a:gd name="T67" fmla="*/ 24 h 79"/>
              <a:gd name="T68" fmla="*/ 28 w 86"/>
              <a:gd name="T69" fmla="*/ 35 h 79"/>
              <a:gd name="T70" fmla="*/ 28 w 86"/>
              <a:gd name="T71" fmla="*/ 39 h 79"/>
              <a:gd name="T72" fmla="*/ 34 w 86"/>
              <a:gd name="T73" fmla="*/ 40 h 79"/>
              <a:gd name="T74" fmla="*/ 37 w 86"/>
              <a:gd name="T75" fmla="*/ 42 h 79"/>
              <a:gd name="T76" fmla="*/ 37 w 86"/>
              <a:gd name="T77" fmla="*/ 38 h 79"/>
              <a:gd name="T78" fmla="*/ 37 w 86"/>
              <a:gd name="T79" fmla="*/ 33 h 79"/>
              <a:gd name="T80" fmla="*/ 36 w 86"/>
              <a:gd name="T81" fmla="*/ 21 h 79"/>
              <a:gd name="T82" fmla="*/ 30 w 86"/>
              <a:gd name="T83" fmla="*/ 31 h 79"/>
              <a:gd name="T84" fmla="*/ 19 w 86"/>
              <a:gd name="T85" fmla="*/ 24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6" h="79">
                <a:moveTo>
                  <a:pt x="32" y="0"/>
                </a:moveTo>
                <a:cubicBezTo>
                  <a:pt x="41" y="0"/>
                  <a:pt x="49" y="4"/>
                  <a:pt x="54" y="10"/>
                </a:cubicBezTo>
                <a:cubicBezTo>
                  <a:pt x="60" y="15"/>
                  <a:pt x="64" y="23"/>
                  <a:pt x="64" y="32"/>
                </a:cubicBezTo>
                <a:cubicBezTo>
                  <a:pt x="64" y="34"/>
                  <a:pt x="63" y="36"/>
                  <a:pt x="63" y="38"/>
                </a:cubicBezTo>
                <a:cubicBezTo>
                  <a:pt x="55" y="38"/>
                  <a:pt x="55" y="38"/>
                  <a:pt x="55" y="38"/>
                </a:cubicBezTo>
                <a:cubicBezTo>
                  <a:pt x="55" y="36"/>
                  <a:pt x="55" y="34"/>
                  <a:pt x="55" y="32"/>
                </a:cubicBezTo>
                <a:cubicBezTo>
                  <a:pt x="55" y="26"/>
                  <a:pt x="53" y="20"/>
                  <a:pt x="48" y="16"/>
                </a:cubicBezTo>
                <a:cubicBezTo>
                  <a:pt x="44" y="11"/>
                  <a:pt x="38" y="9"/>
                  <a:pt x="32" y="9"/>
                </a:cubicBezTo>
                <a:cubicBezTo>
                  <a:pt x="25" y="9"/>
                  <a:pt x="19" y="11"/>
                  <a:pt x="15" y="16"/>
                </a:cubicBezTo>
                <a:cubicBezTo>
                  <a:pt x="11" y="20"/>
                  <a:pt x="8" y="26"/>
                  <a:pt x="8" y="32"/>
                </a:cubicBezTo>
                <a:cubicBezTo>
                  <a:pt x="8" y="39"/>
                  <a:pt x="11" y="45"/>
                  <a:pt x="15" y="49"/>
                </a:cubicBezTo>
                <a:cubicBezTo>
                  <a:pt x="16" y="49"/>
                  <a:pt x="16" y="50"/>
                  <a:pt x="16" y="50"/>
                </a:cubicBezTo>
                <a:cubicBezTo>
                  <a:pt x="16" y="60"/>
                  <a:pt x="16" y="60"/>
                  <a:pt x="16" y="60"/>
                </a:cubicBezTo>
                <a:cubicBezTo>
                  <a:pt x="14" y="59"/>
                  <a:pt x="11" y="57"/>
                  <a:pt x="9" y="55"/>
                </a:cubicBezTo>
                <a:cubicBezTo>
                  <a:pt x="4" y="49"/>
                  <a:pt x="0" y="41"/>
                  <a:pt x="0" y="32"/>
                </a:cubicBezTo>
                <a:cubicBezTo>
                  <a:pt x="0" y="23"/>
                  <a:pt x="4" y="15"/>
                  <a:pt x="9" y="10"/>
                </a:cubicBezTo>
                <a:cubicBezTo>
                  <a:pt x="15" y="4"/>
                  <a:pt x="23" y="0"/>
                  <a:pt x="32" y="0"/>
                </a:cubicBezTo>
                <a:close/>
                <a:moveTo>
                  <a:pt x="84" y="61"/>
                </a:moveTo>
                <a:cubicBezTo>
                  <a:pt x="72" y="59"/>
                  <a:pt x="72" y="59"/>
                  <a:pt x="72" y="59"/>
                </a:cubicBezTo>
                <a:cubicBezTo>
                  <a:pt x="68" y="51"/>
                  <a:pt x="68" y="51"/>
                  <a:pt x="68" y="51"/>
                </a:cubicBezTo>
                <a:cubicBezTo>
                  <a:pt x="68" y="50"/>
                  <a:pt x="68" y="50"/>
                  <a:pt x="68" y="50"/>
                </a:cubicBezTo>
                <a:cubicBezTo>
                  <a:pt x="67" y="50"/>
                  <a:pt x="67" y="50"/>
                  <a:pt x="67" y="50"/>
                </a:cubicBezTo>
                <a:cubicBezTo>
                  <a:pt x="57" y="50"/>
                  <a:pt x="57" y="50"/>
                  <a:pt x="57" y="50"/>
                </a:cubicBezTo>
                <a:cubicBezTo>
                  <a:pt x="54" y="47"/>
                  <a:pt x="54" y="47"/>
                  <a:pt x="54" y="47"/>
                </a:cubicBezTo>
                <a:cubicBezTo>
                  <a:pt x="27" y="47"/>
                  <a:pt x="27" y="47"/>
                  <a:pt x="27" y="47"/>
                </a:cubicBezTo>
                <a:cubicBezTo>
                  <a:pt x="23" y="52"/>
                  <a:pt x="23" y="52"/>
                  <a:pt x="23" y="52"/>
                </a:cubicBezTo>
                <a:cubicBezTo>
                  <a:pt x="23" y="73"/>
                  <a:pt x="23" y="73"/>
                  <a:pt x="23" y="73"/>
                </a:cubicBezTo>
                <a:cubicBezTo>
                  <a:pt x="25" y="73"/>
                  <a:pt x="25" y="73"/>
                  <a:pt x="25" y="73"/>
                </a:cubicBezTo>
                <a:cubicBezTo>
                  <a:pt x="27" y="73"/>
                  <a:pt x="27" y="73"/>
                  <a:pt x="27" y="73"/>
                </a:cubicBezTo>
                <a:cubicBezTo>
                  <a:pt x="27" y="75"/>
                  <a:pt x="28" y="76"/>
                  <a:pt x="29" y="77"/>
                </a:cubicBezTo>
                <a:cubicBezTo>
                  <a:pt x="30" y="78"/>
                  <a:pt x="32" y="79"/>
                  <a:pt x="35" y="79"/>
                </a:cubicBezTo>
                <a:cubicBezTo>
                  <a:pt x="37" y="79"/>
                  <a:pt x="39" y="78"/>
                  <a:pt x="40" y="77"/>
                </a:cubicBezTo>
                <a:cubicBezTo>
                  <a:pt x="41" y="76"/>
                  <a:pt x="42" y="75"/>
                  <a:pt x="42" y="73"/>
                </a:cubicBezTo>
                <a:cubicBezTo>
                  <a:pt x="50" y="73"/>
                  <a:pt x="57" y="73"/>
                  <a:pt x="64" y="73"/>
                </a:cubicBezTo>
                <a:cubicBezTo>
                  <a:pt x="65" y="75"/>
                  <a:pt x="66" y="76"/>
                  <a:pt x="67" y="77"/>
                </a:cubicBezTo>
                <a:cubicBezTo>
                  <a:pt x="68" y="78"/>
                  <a:pt x="70" y="79"/>
                  <a:pt x="72" y="79"/>
                </a:cubicBezTo>
                <a:cubicBezTo>
                  <a:pt x="75" y="79"/>
                  <a:pt x="77" y="78"/>
                  <a:pt x="78" y="77"/>
                </a:cubicBezTo>
                <a:cubicBezTo>
                  <a:pt x="79" y="76"/>
                  <a:pt x="80" y="75"/>
                  <a:pt x="80" y="73"/>
                </a:cubicBezTo>
                <a:cubicBezTo>
                  <a:pt x="81" y="73"/>
                  <a:pt x="82" y="73"/>
                  <a:pt x="83" y="73"/>
                </a:cubicBezTo>
                <a:cubicBezTo>
                  <a:pt x="84" y="73"/>
                  <a:pt x="84" y="73"/>
                  <a:pt x="84" y="73"/>
                </a:cubicBezTo>
                <a:cubicBezTo>
                  <a:pt x="86" y="73"/>
                  <a:pt x="86" y="73"/>
                  <a:pt x="86" y="73"/>
                </a:cubicBezTo>
                <a:cubicBezTo>
                  <a:pt x="86" y="68"/>
                  <a:pt x="86" y="68"/>
                  <a:pt x="86" y="68"/>
                </a:cubicBezTo>
                <a:cubicBezTo>
                  <a:pt x="84" y="68"/>
                  <a:pt x="84" y="68"/>
                  <a:pt x="84" y="68"/>
                </a:cubicBezTo>
                <a:cubicBezTo>
                  <a:pt x="84" y="61"/>
                  <a:pt x="84" y="61"/>
                  <a:pt x="84" y="61"/>
                </a:cubicBezTo>
                <a:close/>
                <a:moveTo>
                  <a:pt x="32" y="68"/>
                </a:moveTo>
                <a:cubicBezTo>
                  <a:pt x="32" y="67"/>
                  <a:pt x="33" y="67"/>
                  <a:pt x="35" y="67"/>
                </a:cubicBezTo>
                <a:cubicBezTo>
                  <a:pt x="36" y="67"/>
                  <a:pt x="37" y="67"/>
                  <a:pt x="38" y="68"/>
                </a:cubicBezTo>
                <a:cubicBezTo>
                  <a:pt x="38" y="69"/>
                  <a:pt x="39" y="70"/>
                  <a:pt x="39" y="71"/>
                </a:cubicBezTo>
                <a:cubicBezTo>
                  <a:pt x="39" y="72"/>
                  <a:pt x="38" y="73"/>
                  <a:pt x="38" y="74"/>
                </a:cubicBezTo>
                <a:cubicBezTo>
                  <a:pt x="37" y="75"/>
                  <a:pt x="36" y="75"/>
                  <a:pt x="35" y="75"/>
                </a:cubicBezTo>
                <a:cubicBezTo>
                  <a:pt x="33" y="75"/>
                  <a:pt x="32" y="75"/>
                  <a:pt x="32" y="74"/>
                </a:cubicBezTo>
                <a:cubicBezTo>
                  <a:pt x="31" y="73"/>
                  <a:pt x="30" y="72"/>
                  <a:pt x="30" y="71"/>
                </a:cubicBezTo>
                <a:cubicBezTo>
                  <a:pt x="30" y="70"/>
                  <a:pt x="31" y="69"/>
                  <a:pt x="32" y="68"/>
                </a:cubicBezTo>
                <a:close/>
                <a:moveTo>
                  <a:pt x="69" y="68"/>
                </a:moveTo>
                <a:cubicBezTo>
                  <a:pt x="70" y="67"/>
                  <a:pt x="71" y="67"/>
                  <a:pt x="72" y="67"/>
                </a:cubicBezTo>
                <a:cubicBezTo>
                  <a:pt x="74" y="67"/>
                  <a:pt x="75" y="67"/>
                  <a:pt x="75" y="68"/>
                </a:cubicBezTo>
                <a:cubicBezTo>
                  <a:pt x="76" y="69"/>
                  <a:pt x="77" y="70"/>
                  <a:pt x="77" y="71"/>
                </a:cubicBezTo>
                <a:cubicBezTo>
                  <a:pt x="77" y="72"/>
                  <a:pt x="76" y="73"/>
                  <a:pt x="75" y="74"/>
                </a:cubicBezTo>
                <a:cubicBezTo>
                  <a:pt x="75" y="75"/>
                  <a:pt x="74" y="75"/>
                  <a:pt x="72" y="75"/>
                </a:cubicBezTo>
                <a:cubicBezTo>
                  <a:pt x="71" y="75"/>
                  <a:pt x="70" y="75"/>
                  <a:pt x="69" y="74"/>
                </a:cubicBezTo>
                <a:cubicBezTo>
                  <a:pt x="69" y="73"/>
                  <a:pt x="68" y="72"/>
                  <a:pt x="68" y="71"/>
                </a:cubicBezTo>
                <a:cubicBezTo>
                  <a:pt x="68" y="70"/>
                  <a:pt x="69" y="69"/>
                  <a:pt x="69" y="68"/>
                </a:cubicBezTo>
                <a:close/>
                <a:moveTo>
                  <a:pt x="68" y="59"/>
                </a:moveTo>
                <a:cubicBezTo>
                  <a:pt x="66" y="53"/>
                  <a:pt x="66" y="53"/>
                  <a:pt x="66" y="53"/>
                </a:cubicBezTo>
                <a:cubicBezTo>
                  <a:pt x="56" y="53"/>
                  <a:pt x="56" y="53"/>
                  <a:pt x="56" y="53"/>
                </a:cubicBezTo>
                <a:cubicBezTo>
                  <a:pt x="56" y="59"/>
                  <a:pt x="56" y="59"/>
                  <a:pt x="56" y="59"/>
                </a:cubicBezTo>
                <a:cubicBezTo>
                  <a:pt x="68" y="59"/>
                  <a:pt x="68" y="59"/>
                  <a:pt x="68" y="59"/>
                </a:cubicBezTo>
                <a:close/>
                <a:moveTo>
                  <a:pt x="19" y="24"/>
                </a:moveTo>
                <a:cubicBezTo>
                  <a:pt x="29" y="34"/>
                  <a:pt x="29" y="34"/>
                  <a:pt x="29" y="34"/>
                </a:cubicBezTo>
                <a:cubicBezTo>
                  <a:pt x="28" y="34"/>
                  <a:pt x="28" y="35"/>
                  <a:pt x="28" y="35"/>
                </a:cubicBezTo>
                <a:cubicBezTo>
                  <a:pt x="28" y="36"/>
                  <a:pt x="29" y="37"/>
                  <a:pt x="29" y="38"/>
                </a:cubicBezTo>
                <a:cubicBezTo>
                  <a:pt x="28" y="39"/>
                  <a:pt x="28" y="39"/>
                  <a:pt x="28" y="39"/>
                </a:cubicBezTo>
                <a:cubicBezTo>
                  <a:pt x="33" y="41"/>
                  <a:pt x="33" y="41"/>
                  <a:pt x="33" y="41"/>
                </a:cubicBezTo>
                <a:cubicBezTo>
                  <a:pt x="34" y="40"/>
                  <a:pt x="34" y="40"/>
                  <a:pt x="34" y="40"/>
                </a:cubicBezTo>
                <a:cubicBezTo>
                  <a:pt x="34" y="40"/>
                  <a:pt x="34" y="39"/>
                  <a:pt x="34" y="39"/>
                </a:cubicBezTo>
                <a:cubicBezTo>
                  <a:pt x="37" y="42"/>
                  <a:pt x="37" y="42"/>
                  <a:pt x="37" y="42"/>
                </a:cubicBezTo>
                <a:cubicBezTo>
                  <a:pt x="40" y="40"/>
                  <a:pt x="40" y="40"/>
                  <a:pt x="40" y="40"/>
                </a:cubicBezTo>
                <a:cubicBezTo>
                  <a:pt x="37" y="38"/>
                  <a:pt x="37" y="38"/>
                  <a:pt x="37" y="38"/>
                </a:cubicBezTo>
                <a:cubicBezTo>
                  <a:pt x="37" y="37"/>
                  <a:pt x="38" y="36"/>
                  <a:pt x="38" y="35"/>
                </a:cubicBezTo>
                <a:cubicBezTo>
                  <a:pt x="38" y="34"/>
                  <a:pt x="37" y="33"/>
                  <a:pt x="37" y="33"/>
                </a:cubicBezTo>
                <a:cubicBezTo>
                  <a:pt x="41" y="23"/>
                  <a:pt x="41" y="23"/>
                  <a:pt x="41" y="23"/>
                </a:cubicBezTo>
                <a:cubicBezTo>
                  <a:pt x="36" y="21"/>
                  <a:pt x="36" y="21"/>
                  <a:pt x="36" y="21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1"/>
                  <a:pt x="30" y="31"/>
                </a:cubicBezTo>
                <a:cubicBezTo>
                  <a:pt x="21" y="21"/>
                  <a:pt x="21" y="21"/>
                  <a:pt x="21" y="21"/>
                </a:cubicBezTo>
                <a:lnTo>
                  <a:pt x="19" y="2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32">
              <a:defRPr/>
            </a:pPr>
            <a:endParaRPr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8506868" y="2226669"/>
            <a:ext cx="543739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交付</a:t>
            </a:r>
          </a:p>
        </p:txBody>
      </p:sp>
      <p:sp>
        <p:nvSpPr>
          <p:cNvPr id="15" name="虚尾箭头 14"/>
          <p:cNvSpPr/>
          <p:nvPr/>
        </p:nvSpPr>
        <p:spPr>
          <a:xfrm>
            <a:off x="9415971" y="2020532"/>
            <a:ext cx="609600" cy="428131"/>
          </a:xfrm>
          <a:prstGeom prst="stripedRightArrow">
            <a:avLst>
              <a:gd name="adj1" fmla="val 38297"/>
              <a:gd name="adj2" fmla="val 50000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539855" y="5570728"/>
            <a:ext cx="1005403" cy="3877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600" b="1" kern="0" dirty="0">
                <a:solidFill>
                  <a:srgbClr val="CA352D"/>
                </a:solidFill>
                <a:latin typeface="+mn-ea"/>
              </a:rPr>
              <a:t>数字零售</a:t>
            </a:r>
          </a:p>
        </p:txBody>
      </p:sp>
      <p:sp>
        <p:nvSpPr>
          <p:cNvPr id="47" name="矩形 46"/>
          <p:cNvSpPr/>
          <p:nvPr/>
        </p:nvSpPr>
        <p:spPr>
          <a:xfrm>
            <a:off x="9231711" y="4902505"/>
            <a:ext cx="2558573" cy="1458113"/>
          </a:xfrm>
          <a:prstGeom prst="rect">
            <a:avLst/>
          </a:prstGeom>
          <a:noFill/>
          <a:ln w="12700" cap="flat" cmpd="sng" algn="ctr">
            <a:solidFill>
              <a:srgbClr val="CA352D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just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srgbClr val="CA352D"/>
                </a:solidFill>
                <a:latin typeface="+mn-ea"/>
              </a:rPr>
              <a:t>供应链运营者</a:t>
            </a:r>
            <a:endParaRPr kumimoji="1" lang="en-US" altLang="zh-CN" sz="1400" b="1" kern="0" dirty="0">
              <a:solidFill>
                <a:srgbClr val="CA352D"/>
              </a:solidFill>
              <a:latin typeface="+mn-ea"/>
            </a:endParaRPr>
          </a:p>
          <a:p>
            <a:pPr algn="just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关注供应链整体效益</a:t>
            </a:r>
          </a:p>
        </p:txBody>
      </p:sp>
      <p:sp>
        <p:nvSpPr>
          <p:cNvPr id="48" name="矩形 47"/>
          <p:cNvSpPr/>
          <p:nvPr/>
        </p:nvSpPr>
        <p:spPr>
          <a:xfrm>
            <a:off x="1757740" y="5211713"/>
            <a:ext cx="1678128" cy="1153243"/>
          </a:xfrm>
          <a:prstGeom prst="rect">
            <a:avLst/>
          </a:prstGeom>
          <a:noFill/>
          <a:ln w="12700" cap="flat" cmpd="sng" algn="ctr">
            <a:solidFill>
              <a:srgbClr val="CA352D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just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srgbClr val="CA352D"/>
                </a:solidFill>
                <a:latin typeface="+mn-ea"/>
              </a:rPr>
              <a:t>管理需求</a:t>
            </a:r>
            <a:endParaRPr kumimoji="1" lang="en-US" altLang="zh-CN" sz="1400" b="1" kern="0" dirty="0">
              <a:solidFill>
                <a:srgbClr val="CA352D"/>
              </a:solidFill>
              <a:latin typeface="+mn-ea"/>
            </a:endParaRPr>
          </a:p>
          <a:p>
            <a:pPr algn="just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平衡资源能力与精准的用户需求</a:t>
            </a:r>
            <a:endParaRPr kumimoji="1" lang="en-US" altLang="zh-CN" sz="1400" kern="0" dirty="0">
              <a:solidFill>
                <a:srgbClr val="000000">
                  <a:lumMod val="65000"/>
                  <a:lumOff val="35000"/>
                </a:srgbClr>
              </a:solidFill>
              <a:latin typeface="+mn-ea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3551909" y="5207375"/>
            <a:ext cx="1824000" cy="115758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rtlCol="0" anchor="t"/>
          <a:lstStyle/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400" b="1" kern="0" dirty="0">
                <a:solidFill>
                  <a:prstClr val="white"/>
                </a:solidFill>
                <a:latin typeface="+mn-ea"/>
              </a:rPr>
              <a:t>门店仓</a:t>
            </a:r>
            <a:r>
              <a:rPr kumimoji="1" lang="en-US" altLang="zh-CN" sz="1400" b="1" kern="0" dirty="0">
                <a:solidFill>
                  <a:prstClr val="white"/>
                </a:solidFill>
                <a:latin typeface="+mn-ea"/>
              </a:rPr>
              <a:t>+</a:t>
            </a:r>
            <a:r>
              <a:rPr kumimoji="1" lang="zh-CN" altLang="en-US" sz="1400" b="1" kern="0" dirty="0">
                <a:solidFill>
                  <a:prstClr val="white"/>
                </a:solidFill>
                <a:latin typeface="+mn-ea"/>
              </a:rPr>
              <a:t>多级协同仓</a:t>
            </a:r>
            <a:endParaRPr kumimoji="1" lang="en-US" altLang="zh-CN" sz="1400" b="1" kern="0" dirty="0">
              <a:solidFill>
                <a:prstClr val="white"/>
              </a:solidFill>
              <a:latin typeface="+mn-ea"/>
            </a:endParaRPr>
          </a:p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200" kern="0" dirty="0">
                <a:solidFill>
                  <a:prstClr val="white"/>
                </a:solidFill>
                <a:latin typeface="+mn-ea"/>
              </a:rPr>
              <a:t>预测：用户画像</a:t>
            </a:r>
            <a:r>
              <a:rPr kumimoji="1" lang="en-US" altLang="zh-CN" sz="1200" kern="0" dirty="0">
                <a:solidFill>
                  <a:prstClr val="white"/>
                </a:solidFill>
                <a:latin typeface="+mn-ea"/>
              </a:rPr>
              <a:t>+</a:t>
            </a:r>
            <a:r>
              <a:rPr kumimoji="1" lang="zh-CN" altLang="en-US" sz="1200" kern="0" dirty="0">
                <a:solidFill>
                  <a:prstClr val="white"/>
                </a:solidFill>
                <a:latin typeface="+mn-ea"/>
              </a:rPr>
              <a:t>销售数据</a:t>
            </a:r>
            <a:endParaRPr kumimoji="1" lang="en-US" altLang="zh-CN" sz="1200" kern="0" dirty="0">
              <a:solidFill>
                <a:prstClr val="white"/>
              </a:solidFill>
              <a:latin typeface="+mn-ea"/>
            </a:endParaRPr>
          </a:p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200" kern="0" dirty="0">
                <a:solidFill>
                  <a:prstClr val="white"/>
                </a:solidFill>
                <a:latin typeface="+mn-ea"/>
              </a:rPr>
              <a:t>分布：以场景驱动的全渠道库存协同共享及前置</a:t>
            </a:r>
            <a:endParaRPr kumimoji="1" lang="en-US" altLang="zh-CN" sz="1200" kern="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5448471" y="5207375"/>
            <a:ext cx="1824000" cy="115758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rtlCol="0" anchor="t"/>
          <a:lstStyle/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400" b="1" kern="0" dirty="0">
                <a:solidFill>
                  <a:prstClr val="white"/>
                </a:solidFill>
                <a:latin typeface="+mn-ea"/>
              </a:rPr>
              <a:t>供应链运营商主导</a:t>
            </a:r>
            <a:endParaRPr kumimoji="1" lang="en-US" altLang="zh-CN" sz="1400" b="1" kern="0" dirty="0">
              <a:solidFill>
                <a:prstClr val="white"/>
              </a:solidFill>
              <a:latin typeface="+mn-ea"/>
            </a:endParaRPr>
          </a:p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200" kern="0" dirty="0">
                <a:solidFill>
                  <a:prstClr val="white"/>
                </a:solidFill>
                <a:latin typeface="+mn-ea"/>
              </a:rPr>
              <a:t>供应链运营商基于对用户订单需求的判断，选择合适履约方（仓</a:t>
            </a:r>
            <a:r>
              <a:rPr kumimoji="1" lang="en-US" altLang="zh-CN" sz="1200" kern="0" dirty="0">
                <a:solidFill>
                  <a:prstClr val="white"/>
                </a:solidFill>
                <a:latin typeface="+mn-ea"/>
              </a:rPr>
              <a:t>/</a:t>
            </a:r>
            <a:r>
              <a:rPr kumimoji="1" lang="zh-CN" altLang="en-US" sz="1200" kern="0" dirty="0">
                <a:solidFill>
                  <a:prstClr val="white"/>
                </a:solidFill>
                <a:latin typeface="+mn-ea"/>
              </a:rPr>
              <a:t>店），进行订单处理</a:t>
            </a:r>
          </a:p>
        </p:txBody>
      </p:sp>
      <p:sp>
        <p:nvSpPr>
          <p:cNvPr id="46" name="矩形 45"/>
          <p:cNvSpPr/>
          <p:nvPr/>
        </p:nvSpPr>
        <p:spPr>
          <a:xfrm>
            <a:off x="7345031" y="5207375"/>
            <a:ext cx="1824000" cy="115758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rtlCol="0" anchor="t"/>
          <a:lstStyle/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400" b="1" kern="0" dirty="0">
                <a:solidFill>
                  <a:prstClr val="white"/>
                </a:solidFill>
                <a:latin typeface="+mn-ea"/>
              </a:rPr>
              <a:t>基于消费半径的多交付产品提供</a:t>
            </a:r>
            <a:endParaRPr kumimoji="1" lang="en-US" altLang="zh-CN" sz="1400" b="1" kern="0" dirty="0">
              <a:solidFill>
                <a:prstClr val="white"/>
              </a:solidFill>
              <a:latin typeface="+mn-ea"/>
            </a:endParaRPr>
          </a:p>
          <a:p>
            <a:pPr marL="285737" indent="-285737" algn="just" defTabSz="914332">
              <a:buFont typeface="Arial" charset="0"/>
              <a:buChar char="•"/>
              <a:defRPr/>
            </a:pPr>
            <a:r>
              <a:rPr kumimoji="1" lang="zh-CN" altLang="en-US" sz="1200" kern="0" dirty="0">
                <a:solidFill>
                  <a:prstClr val="white"/>
                </a:solidFill>
                <a:latin typeface="+mn-ea"/>
              </a:rPr>
              <a:t>即时配送到家</a:t>
            </a:r>
            <a:endParaRPr kumimoji="1" lang="en-US" altLang="zh-CN" sz="1200" kern="0" dirty="0">
              <a:solidFill>
                <a:prstClr val="white"/>
              </a:solidFill>
              <a:latin typeface="+mn-ea"/>
            </a:endParaRPr>
          </a:p>
          <a:p>
            <a:pPr marL="285737" indent="-285737" algn="just" defTabSz="914332">
              <a:buFont typeface="Arial" charset="0"/>
              <a:buChar char="•"/>
              <a:defRPr/>
            </a:pPr>
            <a:r>
              <a:rPr kumimoji="1" lang="zh-CN" altLang="en-US" sz="1200" kern="0" dirty="0">
                <a:solidFill>
                  <a:prstClr val="white"/>
                </a:solidFill>
                <a:latin typeface="+mn-ea"/>
              </a:rPr>
              <a:t>快递到家</a:t>
            </a:r>
            <a:endParaRPr kumimoji="1" lang="en-US" altLang="zh-CN" sz="1200" kern="0" dirty="0">
              <a:solidFill>
                <a:prstClr val="white"/>
              </a:solidFill>
              <a:latin typeface="+mn-ea"/>
            </a:endParaRPr>
          </a:p>
          <a:p>
            <a:pPr marL="285737" indent="-285737" algn="just" defTabSz="914332">
              <a:buFont typeface="Arial" charset="0"/>
              <a:buChar char="•"/>
              <a:defRPr/>
            </a:pPr>
            <a:r>
              <a:rPr kumimoji="1" lang="zh-CN" altLang="en-US" sz="1200" kern="0" dirty="0">
                <a:solidFill>
                  <a:prstClr val="white"/>
                </a:solidFill>
                <a:latin typeface="+mn-ea"/>
              </a:rPr>
              <a:t>消费者到店</a:t>
            </a:r>
            <a:endParaRPr kumimoji="1" lang="en-US" altLang="zh-CN" sz="1200" kern="0" dirty="0">
              <a:solidFill>
                <a:prstClr val="white"/>
              </a:solidFill>
              <a:latin typeface="+mn-ea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3551909" y="2789263"/>
            <a:ext cx="1824000" cy="1157581"/>
          </a:xfrm>
          <a:prstGeom prst="rect">
            <a:avLst/>
          </a:prstGeom>
          <a:solidFill>
            <a:schemeClr val="tx2">
              <a:lumMod val="20000"/>
              <a:lumOff val="80000"/>
              <a:alpha val="83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rtlCol="0" anchor="t"/>
          <a:lstStyle/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400" b="1" kern="0" dirty="0">
                <a:solidFill>
                  <a:prstClr val="black"/>
                </a:solidFill>
                <a:latin typeface="+mn-ea"/>
              </a:rPr>
              <a:t>多级渠道商仓库</a:t>
            </a:r>
            <a:endParaRPr kumimoji="1" lang="en-US" altLang="zh-CN" sz="1400" b="1" kern="0" dirty="0">
              <a:solidFill>
                <a:prstClr val="black"/>
              </a:solidFill>
              <a:latin typeface="+mn-ea"/>
            </a:endParaRPr>
          </a:p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预测：基于经验</a:t>
            </a:r>
            <a:endParaRPr kumimoji="1" lang="en-US" altLang="zh-CN" sz="1200" kern="0" dirty="0">
              <a:solidFill>
                <a:srgbClr val="000000">
                  <a:lumMod val="75000"/>
                  <a:lumOff val="25000"/>
                </a:srgbClr>
              </a:solidFill>
              <a:latin typeface="+mn-ea"/>
            </a:endParaRPr>
          </a:p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分布：渠道分散分布，库存信息不透明</a:t>
            </a:r>
            <a:endParaRPr kumimoji="1" lang="en-US" altLang="zh-CN" sz="1200" kern="0" dirty="0">
              <a:solidFill>
                <a:srgbClr val="000000">
                  <a:lumMod val="75000"/>
                  <a:lumOff val="25000"/>
                </a:srgbClr>
              </a:solidFill>
              <a:latin typeface="+mn-ea"/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5448471" y="2789263"/>
            <a:ext cx="1824000" cy="1157581"/>
          </a:xfrm>
          <a:prstGeom prst="rect">
            <a:avLst/>
          </a:prstGeom>
          <a:solidFill>
            <a:schemeClr val="tx2">
              <a:lumMod val="20000"/>
              <a:lumOff val="80000"/>
              <a:alpha val="83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rtlCol="0" anchor="t"/>
          <a:lstStyle/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400" b="1" kern="0" dirty="0">
                <a:solidFill>
                  <a:prstClr val="black"/>
                </a:solidFill>
                <a:latin typeface="+mn-ea"/>
              </a:rPr>
              <a:t>多级渠道商主导</a:t>
            </a:r>
            <a:endParaRPr kumimoji="1" lang="en-US" altLang="zh-CN" sz="1400" b="1" kern="0" dirty="0">
              <a:solidFill>
                <a:prstClr val="black"/>
              </a:solidFill>
              <a:latin typeface="+mn-ea"/>
            </a:endParaRPr>
          </a:p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各参与方基于自有仓库进行对下游的订单处理</a:t>
            </a:r>
          </a:p>
        </p:txBody>
      </p:sp>
      <p:sp>
        <p:nvSpPr>
          <p:cNvPr id="54" name="矩形 53"/>
          <p:cNvSpPr/>
          <p:nvPr/>
        </p:nvSpPr>
        <p:spPr>
          <a:xfrm>
            <a:off x="7345031" y="2789263"/>
            <a:ext cx="1824000" cy="1157581"/>
          </a:xfrm>
          <a:prstGeom prst="rect">
            <a:avLst/>
          </a:prstGeom>
          <a:solidFill>
            <a:schemeClr val="tx2">
              <a:lumMod val="20000"/>
              <a:lumOff val="80000"/>
              <a:alpha val="83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rtlCol="0" anchor="t"/>
          <a:lstStyle/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消费者到店</a:t>
            </a:r>
          </a:p>
        </p:txBody>
      </p:sp>
      <p:sp>
        <p:nvSpPr>
          <p:cNvPr id="51" name="矩形 50"/>
          <p:cNvSpPr/>
          <p:nvPr/>
        </p:nvSpPr>
        <p:spPr>
          <a:xfrm>
            <a:off x="3551909" y="3998319"/>
            <a:ext cx="1824000" cy="1157581"/>
          </a:xfrm>
          <a:prstGeom prst="rect">
            <a:avLst/>
          </a:prstGeom>
          <a:solidFill>
            <a:schemeClr val="tx2">
              <a:lumMod val="40000"/>
              <a:lumOff val="60000"/>
              <a:alpha val="79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rtlCol="0" anchor="t"/>
          <a:lstStyle/>
          <a:p>
            <a:pPr algn="just" defTabSz="914332">
              <a:spcAft>
                <a:spcPts val="400"/>
              </a:spcAft>
              <a:defRPr/>
            </a:pPr>
            <a:r>
              <a:rPr kumimoji="1" lang="en-US" altLang="zh-CN" sz="1400" b="1" kern="0" dirty="0">
                <a:solidFill>
                  <a:prstClr val="black"/>
                </a:solidFill>
                <a:latin typeface="+mn-ea"/>
              </a:rPr>
              <a:t>B2C</a:t>
            </a:r>
            <a:r>
              <a:rPr kumimoji="1" lang="zh-CN" altLang="en-US" sz="1400" b="1" kern="0" dirty="0">
                <a:solidFill>
                  <a:prstClr val="black"/>
                </a:solidFill>
                <a:latin typeface="+mn-ea"/>
              </a:rPr>
              <a:t>仓库</a:t>
            </a:r>
            <a:endParaRPr kumimoji="1" lang="en-US" altLang="zh-CN" sz="1400" b="1" kern="0" dirty="0">
              <a:solidFill>
                <a:prstClr val="black"/>
              </a:solidFill>
              <a:latin typeface="+mn-ea"/>
            </a:endParaRPr>
          </a:p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预测：经验</a:t>
            </a:r>
            <a:r>
              <a:rPr kumimoji="1" lang="en-US" altLang="zh-CN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+</a:t>
            </a:r>
            <a:r>
              <a:rPr kumimoji="1" lang="zh-CN" altLang="en-US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销售</a:t>
            </a:r>
            <a:endParaRPr kumimoji="1" lang="en-US" altLang="zh-CN" sz="1200" kern="0" dirty="0">
              <a:solidFill>
                <a:srgbClr val="000000">
                  <a:lumMod val="75000"/>
                  <a:lumOff val="25000"/>
                </a:srgbClr>
              </a:solidFill>
              <a:latin typeface="+mn-ea"/>
            </a:endParaRPr>
          </a:p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分布：一般以固定</a:t>
            </a:r>
            <a:r>
              <a:rPr kumimoji="1" lang="en-US" altLang="zh-CN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B2C</a:t>
            </a:r>
            <a:r>
              <a:rPr kumimoji="1" lang="zh-CN" altLang="en-US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仓辐射全国</a:t>
            </a:r>
          </a:p>
        </p:txBody>
      </p:sp>
      <p:sp>
        <p:nvSpPr>
          <p:cNvPr id="53" name="矩形 52"/>
          <p:cNvSpPr/>
          <p:nvPr/>
        </p:nvSpPr>
        <p:spPr>
          <a:xfrm>
            <a:off x="5448471" y="3998319"/>
            <a:ext cx="1824000" cy="1157581"/>
          </a:xfrm>
          <a:prstGeom prst="rect">
            <a:avLst/>
          </a:prstGeom>
          <a:solidFill>
            <a:schemeClr val="tx2">
              <a:lumMod val="40000"/>
              <a:lumOff val="60000"/>
              <a:alpha val="79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rtlCol="0" anchor="t"/>
          <a:lstStyle/>
          <a:p>
            <a:pPr algn="just" defTabSz="914332">
              <a:spcAft>
                <a:spcPts val="400"/>
              </a:spcAft>
              <a:defRPr/>
            </a:pPr>
            <a:r>
              <a:rPr kumimoji="1" lang="en-US" altLang="zh-CN" sz="1400" b="1" kern="0" dirty="0">
                <a:solidFill>
                  <a:prstClr val="black"/>
                </a:solidFill>
                <a:latin typeface="+mn-ea"/>
              </a:rPr>
              <a:t>B2C</a:t>
            </a:r>
            <a:r>
              <a:rPr kumimoji="1" lang="zh-CN" altLang="en-US" sz="1400" b="1" kern="0" dirty="0">
                <a:solidFill>
                  <a:prstClr val="black"/>
                </a:solidFill>
                <a:latin typeface="+mn-ea"/>
              </a:rPr>
              <a:t>电商仓主导</a:t>
            </a:r>
            <a:endParaRPr kumimoji="1" lang="en-US" altLang="zh-CN" sz="1400" b="1" kern="0" dirty="0">
              <a:solidFill>
                <a:prstClr val="black"/>
              </a:solidFill>
              <a:latin typeface="+mn-ea"/>
            </a:endParaRPr>
          </a:p>
          <a:p>
            <a:pPr algn="just" defTabSz="914332">
              <a:spcAft>
                <a:spcPts val="400"/>
              </a:spcAft>
              <a:defRPr/>
            </a:pPr>
            <a:r>
              <a:rPr kumimoji="1" lang="en-US" altLang="zh-CN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B2C</a:t>
            </a:r>
            <a:r>
              <a:rPr kumimoji="1" lang="zh-CN" altLang="en-US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仓进行电商订单的处理</a:t>
            </a:r>
          </a:p>
        </p:txBody>
      </p:sp>
      <p:sp>
        <p:nvSpPr>
          <p:cNvPr id="55" name="矩形 54"/>
          <p:cNvSpPr/>
          <p:nvPr/>
        </p:nvSpPr>
        <p:spPr>
          <a:xfrm>
            <a:off x="7345031" y="3998319"/>
            <a:ext cx="1824000" cy="1157581"/>
          </a:xfrm>
          <a:prstGeom prst="rect">
            <a:avLst/>
          </a:prstGeom>
          <a:solidFill>
            <a:schemeClr val="tx2">
              <a:lumMod val="40000"/>
              <a:lumOff val="60000"/>
              <a:alpha val="79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rtlCol="0" anchor="t"/>
          <a:lstStyle/>
          <a:p>
            <a:pPr algn="just" defTabSz="914332">
              <a:spcAft>
                <a:spcPts val="400"/>
              </a:spcAft>
              <a:defRPr/>
            </a:pPr>
            <a:r>
              <a:rPr kumimoji="1" lang="zh-CN" altLang="en-US" sz="1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rPr>
              <a:t>快递到家</a:t>
            </a:r>
          </a:p>
        </p:txBody>
      </p:sp>
      <p:sp>
        <p:nvSpPr>
          <p:cNvPr id="56" name="文本框 55"/>
          <p:cNvSpPr txBox="1"/>
          <p:nvPr/>
        </p:nvSpPr>
        <p:spPr>
          <a:xfrm>
            <a:off x="334670" y="3122781"/>
            <a:ext cx="1415772" cy="3877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lnSpc>
                <a:spcPct val="120000"/>
              </a:lnSpc>
              <a:spcAft>
                <a:spcPts val="600"/>
              </a:spcAft>
              <a:defRPr kumimoji="1" sz="1600" b="1">
                <a:solidFill>
                  <a:schemeClr val="accent1"/>
                </a:solidFill>
              </a:defRPr>
            </a:lvl1pPr>
          </a:lstStyle>
          <a:p>
            <a:pPr algn="ctr" defTabSz="914332">
              <a:defRPr/>
            </a:pPr>
            <a:r>
              <a:rPr lang="zh-CN" altLang="en-US" kern="0" dirty="0">
                <a:solidFill>
                  <a:prstClr val="black"/>
                </a:solidFill>
                <a:latin typeface="+mn-ea"/>
              </a:rPr>
              <a:t>传统经销模式</a:t>
            </a:r>
          </a:p>
        </p:txBody>
      </p:sp>
      <p:sp>
        <p:nvSpPr>
          <p:cNvPr id="57" name="文本框 56"/>
          <p:cNvSpPr txBox="1"/>
          <p:nvPr/>
        </p:nvSpPr>
        <p:spPr>
          <a:xfrm>
            <a:off x="542259" y="4344164"/>
            <a:ext cx="1000595" cy="3877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en-US" altLang="zh-CN" sz="1600" b="1" kern="0" dirty="0">
                <a:solidFill>
                  <a:prstClr val="black"/>
                </a:solidFill>
                <a:latin typeface="+mn-ea"/>
              </a:rPr>
              <a:t>B2C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模式</a:t>
            </a:r>
          </a:p>
        </p:txBody>
      </p:sp>
      <p:sp>
        <p:nvSpPr>
          <p:cNvPr id="58" name="矩形 57"/>
          <p:cNvSpPr/>
          <p:nvPr/>
        </p:nvSpPr>
        <p:spPr>
          <a:xfrm>
            <a:off x="9231711" y="3353639"/>
            <a:ext cx="2558573" cy="1459200"/>
          </a:xfrm>
          <a:prstGeom prst="rect">
            <a:avLst/>
          </a:prstGeom>
          <a:noFill/>
          <a:ln w="1270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just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prstClr val="black"/>
                </a:solidFill>
                <a:latin typeface="+mn-ea"/>
              </a:rPr>
              <a:t>物流执行者</a:t>
            </a:r>
            <a:endParaRPr kumimoji="1" lang="en-US" altLang="zh-CN" sz="1400" b="1" kern="0" dirty="0">
              <a:solidFill>
                <a:prstClr val="black"/>
              </a:solidFill>
              <a:latin typeface="+mn-ea"/>
            </a:endParaRPr>
          </a:p>
          <a:p>
            <a:pPr algn="just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关注服务环节物流成本与效率</a:t>
            </a:r>
            <a:endParaRPr kumimoji="1" lang="zh-CN" altLang="en-US" sz="1400" kern="0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59" name="虚尾箭头 58"/>
          <p:cNvSpPr/>
          <p:nvPr/>
        </p:nvSpPr>
        <p:spPr>
          <a:xfrm rot="5400000">
            <a:off x="802349" y="4983383"/>
            <a:ext cx="480415" cy="309324"/>
          </a:xfrm>
          <a:prstGeom prst="stripedRightArrow">
            <a:avLst/>
          </a:prstGeom>
          <a:gradFill flip="none" rotWithShape="1">
            <a:gsLst>
              <a:gs pos="50000">
                <a:srgbClr val="D2B7B6"/>
              </a:gs>
              <a:gs pos="0">
                <a:schemeClr val="bg1">
                  <a:lumMod val="75000"/>
                </a:schemeClr>
              </a:gs>
              <a:gs pos="100000">
                <a:srgbClr val="CA352D">
                  <a:lumMod val="40000"/>
                  <a:lumOff val="60000"/>
                </a:srgbClr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1757740" y="2789263"/>
            <a:ext cx="1678128" cy="2366637"/>
          </a:xfrm>
          <a:prstGeom prst="rect">
            <a:avLst/>
          </a:prstGeom>
          <a:noFill/>
          <a:ln w="1270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just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prstClr val="black"/>
                </a:solidFill>
                <a:latin typeface="+mn-ea"/>
              </a:rPr>
              <a:t>管理货物</a:t>
            </a:r>
            <a:endParaRPr kumimoji="1" lang="en-US" altLang="zh-CN" sz="1400" b="1" kern="0" dirty="0">
              <a:solidFill>
                <a:prstClr val="black"/>
              </a:solidFill>
              <a:latin typeface="+mn-ea"/>
            </a:endParaRPr>
          </a:p>
          <a:p>
            <a:pPr algn="just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调度资源（人、仓、车），在既定流程内响应渠道及消费者订单需求</a:t>
            </a:r>
          </a:p>
        </p:txBody>
      </p:sp>
      <p:sp>
        <p:nvSpPr>
          <p:cNvPr id="61" name="文本框 60"/>
          <p:cNvSpPr txBox="1"/>
          <p:nvPr/>
        </p:nvSpPr>
        <p:spPr>
          <a:xfrm>
            <a:off x="9231711" y="2876155"/>
            <a:ext cx="2558573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6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物流企业的角色</a:t>
            </a: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68EC3A0C-5707-EB4D-B014-5C885EFB2EA8}"/>
              </a:ext>
            </a:extLst>
          </p:cNvPr>
          <p:cNvSpPr/>
          <p:nvPr/>
        </p:nvSpPr>
        <p:spPr>
          <a:xfrm>
            <a:off x="2982811" y="1807397"/>
            <a:ext cx="854400" cy="85440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1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562008B0-5C4B-7F4C-A31E-EC9183E2720C}"/>
              </a:ext>
            </a:extLst>
          </p:cNvPr>
          <p:cNvSpPr txBox="1"/>
          <p:nvPr/>
        </p:nvSpPr>
        <p:spPr>
          <a:xfrm>
            <a:off x="3138143" y="2226669"/>
            <a:ext cx="543739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srgbClr val="FFFFFF"/>
                </a:solidFill>
                <a:latin typeface="+mn-ea"/>
              </a:rPr>
              <a:t>订单</a:t>
            </a:r>
          </a:p>
        </p:txBody>
      </p:sp>
      <p:pic>
        <p:nvPicPr>
          <p:cNvPr id="65" name="图形 63" descr="核对清单">
            <a:extLst>
              <a:ext uri="{FF2B5EF4-FFF2-40B4-BE49-F238E27FC236}">
                <a16:creationId xmlns:a16="http://schemas.microsoft.com/office/drawing/2014/main" id="{F56A5819-16F0-994D-A7F0-F284B5ECF3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203136" y="1858485"/>
            <a:ext cx="413749" cy="41375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</p:pic>
      <p:sp>
        <p:nvSpPr>
          <p:cNvPr id="66" name="文本占位符 1"/>
          <p:cNvSpPr txBox="1">
            <a:spLocks/>
          </p:cNvSpPr>
          <p:nvPr/>
        </p:nvSpPr>
        <p:spPr>
          <a:xfrm>
            <a:off x="431371" y="878834"/>
            <a:ext cx="10995691" cy="531396"/>
          </a:xfrm>
          <a:prstGeom prst="rect">
            <a:avLst/>
          </a:prstGeom>
        </p:spPr>
        <p:txBody>
          <a:bodyPr anchor="t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0" kern="1200" spc="0">
                <a:solidFill>
                  <a:srgbClr val="CA352D"/>
                </a:solidFill>
                <a:latin typeface="+mj-ea"/>
                <a:ea typeface="+mj-ea"/>
                <a:cs typeface="Segoe UI" charset="0"/>
              </a:defRPr>
            </a:lvl1pPr>
            <a:lvl2pPr marL="5143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572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430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kumimoji="1" lang="zh-CN" altLang="en-US" sz="2133" b="1" dirty="0">
                <a:solidFill>
                  <a:srgbClr val="FF7D78">
                    <a:lumMod val="50000"/>
                  </a:srgbClr>
                </a:solidFill>
                <a:latin typeface="+mn-ea"/>
                <a:ea typeface="+mn-ea"/>
              </a:rPr>
              <a:t>从“物流执行”到“供应链运营”</a:t>
            </a:r>
          </a:p>
        </p:txBody>
      </p:sp>
      <p:sp>
        <p:nvSpPr>
          <p:cNvPr id="67" name="文本框 66"/>
          <p:cNvSpPr txBox="1"/>
          <p:nvPr/>
        </p:nvSpPr>
        <p:spPr>
          <a:xfrm>
            <a:off x="3130664" y="976030"/>
            <a:ext cx="8488763" cy="76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en-US" altLang="zh-CN" sz="1600" b="1" kern="0" dirty="0">
                <a:solidFill>
                  <a:prstClr val="black"/>
                </a:solidFill>
                <a:latin typeface="+mn-ea"/>
              </a:rPr>
              <a:t>——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以用户需求精准满足为出发，</a:t>
            </a:r>
          </a:p>
          <a:p>
            <a:pPr algn="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供应链视角的物流，逐渐从执行走向整体运营，关注点从“效率”向“效益”转变。</a:t>
            </a:r>
          </a:p>
        </p:txBody>
      </p:sp>
    </p:spTree>
    <p:extLst>
      <p:ext uri="{BB962C8B-B14F-4D97-AF65-F5344CB8AC3E}">
        <p14:creationId xmlns:p14="http://schemas.microsoft.com/office/powerpoint/2010/main" val="1016989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dirty="0">
                <a:latin typeface="+mn-ea"/>
                <a:ea typeface="+mn-ea"/>
              </a:rPr>
              <a:t>物流商业模式的迭代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9" name="文本框 68"/>
          <p:cNvSpPr txBox="1"/>
          <p:nvPr/>
        </p:nvSpPr>
        <p:spPr>
          <a:xfrm>
            <a:off x="9750761" y="1772231"/>
            <a:ext cx="723275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srgbClr val="CA352D"/>
                </a:solidFill>
                <a:latin typeface="+mn-ea"/>
              </a:rPr>
              <a:t>平台型</a:t>
            </a:r>
          </a:p>
        </p:txBody>
      </p:sp>
      <p:grpSp>
        <p:nvGrpSpPr>
          <p:cNvPr id="70" name="组 254"/>
          <p:cNvGrpSpPr/>
          <p:nvPr/>
        </p:nvGrpSpPr>
        <p:grpSpPr>
          <a:xfrm>
            <a:off x="8724283" y="2242454"/>
            <a:ext cx="2594640" cy="1364368"/>
            <a:chOff x="8560523" y="2818281"/>
            <a:chExt cx="2594642" cy="1364366"/>
          </a:xfrm>
        </p:grpSpPr>
        <p:sp>
          <p:nvSpPr>
            <p:cNvPr id="71" name="椭圆 70"/>
            <p:cNvSpPr/>
            <p:nvPr/>
          </p:nvSpPr>
          <p:spPr>
            <a:xfrm>
              <a:off x="9310353" y="2896144"/>
              <a:ext cx="326606" cy="884663"/>
            </a:xfrm>
            <a:prstGeom prst="ellipse">
              <a:avLst/>
            </a:prstGeom>
            <a:noFill/>
            <a:ln w="12700" cap="flat" cmpd="sng" algn="ctr">
              <a:solidFill>
                <a:srgbClr val="CA352D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r>
                <a:rPr kumimoji="1" lang="zh-CN" altLang="en-US" sz="1400" kern="0">
                  <a:solidFill>
                    <a:srgbClr val="CA352D"/>
                  </a:solidFill>
                  <a:latin typeface="+mn-ea"/>
                </a:rPr>
                <a:t>平台</a:t>
              </a:r>
            </a:p>
          </p:txBody>
        </p:sp>
        <p:grpSp>
          <p:nvGrpSpPr>
            <p:cNvPr id="72" name="组 166"/>
            <p:cNvGrpSpPr/>
            <p:nvPr/>
          </p:nvGrpSpPr>
          <p:grpSpPr>
            <a:xfrm>
              <a:off x="10013231" y="2818281"/>
              <a:ext cx="170224" cy="1040389"/>
              <a:chOff x="10228941" y="2836323"/>
              <a:chExt cx="170224" cy="1040389"/>
            </a:xfrm>
          </p:grpSpPr>
          <p:sp>
            <p:nvSpPr>
              <p:cNvPr id="100" name="椭圆 99">
                <a:extLst>
                  <a:ext uri="{FF2B5EF4-FFF2-40B4-BE49-F238E27FC236}">
                    <a16:creationId xmlns:a16="http://schemas.microsoft.com/office/drawing/2014/main" id="{1C0EFF6E-9472-4379-9418-83F2B6BE7B6B}"/>
                  </a:ext>
                </a:extLst>
              </p:cNvPr>
              <p:cNvSpPr/>
              <p:nvPr/>
            </p:nvSpPr>
            <p:spPr>
              <a:xfrm>
                <a:off x="10228941" y="2836323"/>
                <a:ext cx="170224" cy="170224"/>
              </a:xfrm>
              <a:prstGeom prst="ellipse">
                <a:avLst/>
              </a:prstGeom>
              <a:solidFill>
                <a:srgbClr val="CA352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2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01" name="椭圆 100">
                <a:extLst>
                  <a:ext uri="{FF2B5EF4-FFF2-40B4-BE49-F238E27FC236}">
                    <a16:creationId xmlns:a16="http://schemas.microsoft.com/office/drawing/2014/main" id="{1C0EFF6E-9472-4379-9418-83F2B6BE7B6B}"/>
                  </a:ext>
                </a:extLst>
              </p:cNvPr>
              <p:cNvSpPr/>
              <p:nvPr/>
            </p:nvSpPr>
            <p:spPr>
              <a:xfrm>
                <a:off x="10228941" y="3126378"/>
                <a:ext cx="170224" cy="170224"/>
              </a:xfrm>
              <a:prstGeom prst="ellipse">
                <a:avLst/>
              </a:prstGeom>
              <a:solidFill>
                <a:srgbClr val="CA352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2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02" name="椭圆 101">
                <a:extLst>
                  <a:ext uri="{FF2B5EF4-FFF2-40B4-BE49-F238E27FC236}">
                    <a16:creationId xmlns:a16="http://schemas.microsoft.com/office/drawing/2014/main" id="{1C0EFF6E-9472-4379-9418-83F2B6BE7B6B}"/>
                  </a:ext>
                </a:extLst>
              </p:cNvPr>
              <p:cNvSpPr/>
              <p:nvPr/>
            </p:nvSpPr>
            <p:spPr>
              <a:xfrm>
                <a:off x="10228941" y="3416433"/>
                <a:ext cx="170224" cy="170224"/>
              </a:xfrm>
              <a:prstGeom prst="ellipse">
                <a:avLst/>
              </a:prstGeom>
              <a:solidFill>
                <a:srgbClr val="CA352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2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03" name="椭圆 102">
                <a:extLst>
                  <a:ext uri="{FF2B5EF4-FFF2-40B4-BE49-F238E27FC236}">
                    <a16:creationId xmlns:a16="http://schemas.microsoft.com/office/drawing/2014/main" id="{1C0EFF6E-9472-4379-9418-83F2B6BE7B6B}"/>
                  </a:ext>
                </a:extLst>
              </p:cNvPr>
              <p:cNvSpPr/>
              <p:nvPr/>
            </p:nvSpPr>
            <p:spPr>
              <a:xfrm>
                <a:off x="10228941" y="3706488"/>
                <a:ext cx="170224" cy="170224"/>
              </a:xfrm>
              <a:prstGeom prst="ellipse">
                <a:avLst/>
              </a:prstGeom>
              <a:solidFill>
                <a:srgbClr val="CA352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2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</p:grpSp>
        <p:cxnSp>
          <p:nvCxnSpPr>
            <p:cNvPr id="73" name="直线连接符 168"/>
            <p:cNvCxnSpPr>
              <a:stCxn id="71" idx="7"/>
              <a:endCxn id="100" idx="2"/>
            </p:cNvCxnSpPr>
            <p:nvPr/>
          </p:nvCxnSpPr>
          <p:spPr>
            <a:xfrm flipV="1">
              <a:off x="9589129" y="2903393"/>
              <a:ext cx="424102" cy="122307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74" name="直线连接符 173"/>
            <p:cNvCxnSpPr/>
            <p:nvPr/>
          </p:nvCxnSpPr>
          <p:spPr>
            <a:xfrm>
              <a:off x="9636222" y="3211656"/>
              <a:ext cx="360000" cy="0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75" name="直线连接符 176"/>
            <p:cNvCxnSpPr/>
            <p:nvPr/>
          </p:nvCxnSpPr>
          <p:spPr>
            <a:xfrm>
              <a:off x="9639266" y="3480531"/>
              <a:ext cx="360000" cy="0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76" name="直线连接符 178"/>
            <p:cNvCxnSpPr>
              <a:stCxn id="71" idx="5"/>
              <a:endCxn id="103" idx="2"/>
            </p:cNvCxnSpPr>
            <p:nvPr/>
          </p:nvCxnSpPr>
          <p:spPr>
            <a:xfrm>
              <a:off x="9589129" y="3651251"/>
              <a:ext cx="424102" cy="122307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77" name="文本框 76"/>
            <p:cNvSpPr txBox="1"/>
            <p:nvPr/>
          </p:nvSpPr>
          <p:spPr>
            <a:xfrm>
              <a:off x="9852124" y="3868714"/>
              <a:ext cx="492443" cy="3139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运力</a:t>
              </a:r>
            </a:p>
          </p:txBody>
        </p:sp>
        <p:grpSp>
          <p:nvGrpSpPr>
            <p:cNvPr id="78" name="组 187"/>
            <p:cNvGrpSpPr/>
            <p:nvPr/>
          </p:nvGrpSpPr>
          <p:grpSpPr>
            <a:xfrm>
              <a:off x="10662722" y="2818281"/>
              <a:ext cx="492443" cy="1364366"/>
              <a:chOff x="10302131" y="2854877"/>
              <a:chExt cx="492443" cy="1364366"/>
            </a:xfrm>
          </p:grpSpPr>
          <p:grpSp>
            <p:nvGrpSpPr>
              <p:cNvPr id="94" name="组 180"/>
              <p:cNvGrpSpPr/>
              <p:nvPr/>
            </p:nvGrpSpPr>
            <p:grpSpPr>
              <a:xfrm>
                <a:off x="10467166" y="2854877"/>
                <a:ext cx="170224" cy="1040389"/>
                <a:chOff x="10228941" y="2836323"/>
                <a:chExt cx="170224" cy="1040389"/>
              </a:xfrm>
            </p:grpSpPr>
            <p:sp>
              <p:nvSpPr>
                <p:cNvPr id="96" name="椭圆 95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2836323"/>
                  <a:ext cx="170224" cy="170224"/>
                </a:xfrm>
                <a:prstGeom prst="ellipse">
                  <a:avLst/>
                </a:prstGeom>
                <a:solidFill>
                  <a:srgbClr val="CA352D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97" name="椭圆 96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3126378"/>
                  <a:ext cx="170224" cy="170224"/>
                </a:xfrm>
                <a:prstGeom prst="ellipse">
                  <a:avLst/>
                </a:prstGeom>
                <a:solidFill>
                  <a:srgbClr val="CA352D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98" name="椭圆 97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3416433"/>
                  <a:ext cx="170224" cy="170224"/>
                </a:xfrm>
                <a:prstGeom prst="ellipse">
                  <a:avLst/>
                </a:prstGeom>
                <a:solidFill>
                  <a:srgbClr val="CA352D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99" name="椭圆 98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3706488"/>
                  <a:ext cx="170224" cy="170224"/>
                </a:xfrm>
                <a:prstGeom prst="ellipse">
                  <a:avLst/>
                </a:prstGeom>
                <a:solidFill>
                  <a:srgbClr val="CA352D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</p:grpSp>
          <p:sp>
            <p:nvSpPr>
              <p:cNvPr id="95" name="文本框 94"/>
              <p:cNvSpPr txBox="1"/>
              <p:nvPr/>
            </p:nvSpPr>
            <p:spPr>
              <a:xfrm>
                <a:off x="10302131" y="3905311"/>
                <a:ext cx="492443" cy="3139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332">
                  <a:lnSpc>
                    <a:spcPct val="120000"/>
                  </a:lnSpc>
                  <a:spcAft>
                    <a:spcPts val="600"/>
                  </a:spcAft>
                  <a:defRPr/>
                </a:pPr>
                <a:r>
                  <a:rPr kumimoji="1" lang="zh-CN" altLang="en-US" sz="1200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</a:rPr>
                  <a:t>用户</a:t>
                </a:r>
              </a:p>
            </p:txBody>
          </p:sp>
        </p:grpSp>
        <p:grpSp>
          <p:nvGrpSpPr>
            <p:cNvPr id="79" name="组 188"/>
            <p:cNvGrpSpPr/>
            <p:nvPr/>
          </p:nvGrpSpPr>
          <p:grpSpPr>
            <a:xfrm>
              <a:off x="8560523" y="2818281"/>
              <a:ext cx="492443" cy="1364365"/>
              <a:chOff x="10302130" y="2854877"/>
              <a:chExt cx="492443" cy="1364365"/>
            </a:xfrm>
          </p:grpSpPr>
          <p:grpSp>
            <p:nvGrpSpPr>
              <p:cNvPr id="88" name="组 189"/>
              <p:cNvGrpSpPr/>
              <p:nvPr/>
            </p:nvGrpSpPr>
            <p:grpSpPr>
              <a:xfrm>
                <a:off x="10467166" y="2854877"/>
                <a:ext cx="170224" cy="1040389"/>
                <a:chOff x="10228941" y="2836323"/>
                <a:chExt cx="170224" cy="1040389"/>
              </a:xfrm>
            </p:grpSpPr>
            <p:sp>
              <p:nvSpPr>
                <p:cNvPr id="90" name="椭圆 89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2836323"/>
                  <a:ext cx="170224" cy="170224"/>
                </a:xfrm>
                <a:prstGeom prst="ellipse">
                  <a:avLst/>
                </a:prstGeom>
                <a:solidFill>
                  <a:srgbClr val="CA352D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91" name="椭圆 90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3126378"/>
                  <a:ext cx="170224" cy="170224"/>
                </a:xfrm>
                <a:prstGeom prst="ellipse">
                  <a:avLst/>
                </a:prstGeom>
                <a:solidFill>
                  <a:srgbClr val="CA352D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92" name="椭圆 91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3416433"/>
                  <a:ext cx="170224" cy="170224"/>
                </a:xfrm>
                <a:prstGeom prst="ellipse">
                  <a:avLst/>
                </a:prstGeom>
                <a:solidFill>
                  <a:srgbClr val="CA352D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93" name="椭圆 92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3706488"/>
                  <a:ext cx="170224" cy="170224"/>
                </a:xfrm>
                <a:prstGeom prst="ellipse">
                  <a:avLst/>
                </a:prstGeom>
                <a:solidFill>
                  <a:srgbClr val="CA352D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</p:grpSp>
          <p:sp>
            <p:nvSpPr>
              <p:cNvPr id="89" name="文本框 88"/>
              <p:cNvSpPr txBox="1"/>
              <p:nvPr/>
            </p:nvSpPr>
            <p:spPr>
              <a:xfrm>
                <a:off x="10302130" y="3905310"/>
                <a:ext cx="492443" cy="3139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332">
                  <a:lnSpc>
                    <a:spcPct val="120000"/>
                  </a:lnSpc>
                  <a:spcAft>
                    <a:spcPts val="600"/>
                  </a:spcAft>
                  <a:defRPr/>
                </a:pPr>
                <a:r>
                  <a:rPr kumimoji="1" lang="zh-CN" altLang="en-US" sz="1200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</a:rPr>
                  <a:t>客户</a:t>
                </a:r>
              </a:p>
            </p:txBody>
          </p:sp>
        </p:grpSp>
        <p:cxnSp>
          <p:nvCxnSpPr>
            <p:cNvPr id="80" name="直线连接符 197"/>
            <p:cNvCxnSpPr>
              <a:stCxn id="90" idx="6"/>
              <a:endCxn id="71" idx="1"/>
            </p:cNvCxnSpPr>
            <p:nvPr/>
          </p:nvCxnSpPr>
          <p:spPr>
            <a:xfrm>
              <a:off x="8895783" y="2903393"/>
              <a:ext cx="462400" cy="122307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81" name="直线连接符 199"/>
            <p:cNvCxnSpPr/>
            <p:nvPr/>
          </p:nvCxnSpPr>
          <p:spPr>
            <a:xfrm>
              <a:off x="8906754" y="3182160"/>
              <a:ext cx="360000" cy="0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82" name="直线连接符 200"/>
            <p:cNvCxnSpPr/>
            <p:nvPr/>
          </p:nvCxnSpPr>
          <p:spPr>
            <a:xfrm>
              <a:off x="8906754" y="3478872"/>
              <a:ext cx="360000" cy="0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83" name="直线连接符 202"/>
            <p:cNvCxnSpPr>
              <a:stCxn id="93" idx="6"/>
              <a:endCxn id="71" idx="3"/>
            </p:cNvCxnSpPr>
            <p:nvPr/>
          </p:nvCxnSpPr>
          <p:spPr>
            <a:xfrm flipV="1">
              <a:off x="8895783" y="3651251"/>
              <a:ext cx="462400" cy="122307"/>
            </a:xfrm>
            <a:prstGeom prst="line">
              <a:avLst/>
            </a:prstGeom>
            <a:noFill/>
            <a:ln w="6350" cap="flat" cmpd="sng" algn="ctr">
              <a:solidFill>
                <a:srgbClr val="FFFFFF">
                  <a:lumMod val="50000"/>
                </a:srgbClr>
              </a:solidFill>
              <a:prstDash val="solid"/>
              <a:miter lim="800000"/>
            </a:ln>
            <a:effectLst/>
          </p:spPr>
        </p:cxnSp>
        <p:grpSp>
          <p:nvGrpSpPr>
            <p:cNvPr id="84" name="组 210"/>
            <p:cNvGrpSpPr/>
            <p:nvPr/>
          </p:nvGrpSpPr>
          <p:grpSpPr>
            <a:xfrm>
              <a:off x="10310197" y="2939119"/>
              <a:ext cx="381000" cy="779546"/>
              <a:chOff x="10355580" y="2903393"/>
              <a:chExt cx="381000" cy="973357"/>
            </a:xfrm>
          </p:grpSpPr>
          <p:sp>
            <p:nvSpPr>
              <p:cNvPr id="85" name="右箭头 84"/>
              <p:cNvSpPr/>
              <p:nvPr/>
            </p:nvSpPr>
            <p:spPr>
              <a:xfrm>
                <a:off x="10355580" y="2903393"/>
                <a:ext cx="381000" cy="241097"/>
              </a:xfrm>
              <a:prstGeom prst="rightArrow">
                <a:avLst/>
              </a:prstGeom>
              <a:solidFill>
                <a:srgbClr val="CA352D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2400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86" name="右箭头 85"/>
              <p:cNvSpPr/>
              <p:nvPr/>
            </p:nvSpPr>
            <p:spPr>
              <a:xfrm>
                <a:off x="10355580" y="3269523"/>
                <a:ext cx="381000" cy="241097"/>
              </a:xfrm>
              <a:prstGeom prst="rightArrow">
                <a:avLst/>
              </a:prstGeom>
              <a:solidFill>
                <a:srgbClr val="CA352D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2400" kern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87" name="右箭头 86"/>
              <p:cNvSpPr/>
              <p:nvPr/>
            </p:nvSpPr>
            <p:spPr>
              <a:xfrm>
                <a:off x="10355580" y="3635653"/>
                <a:ext cx="381000" cy="241097"/>
              </a:xfrm>
              <a:prstGeom prst="rightArrow">
                <a:avLst/>
              </a:prstGeom>
              <a:solidFill>
                <a:srgbClr val="CA352D">
                  <a:lumMod val="40000"/>
                  <a:lumOff val="6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2400" kern="0">
                  <a:solidFill>
                    <a:srgbClr val="FFFFFF"/>
                  </a:solidFill>
                  <a:latin typeface="+mn-ea"/>
                </a:endParaRPr>
              </a:p>
            </p:txBody>
          </p:sp>
        </p:grpSp>
      </p:grpSp>
      <p:sp>
        <p:nvSpPr>
          <p:cNvPr id="104" name="文本框 103"/>
          <p:cNvSpPr txBox="1"/>
          <p:nvPr/>
        </p:nvSpPr>
        <p:spPr>
          <a:xfrm>
            <a:off x="6606832" y="1772231"/>
            <a:ext cx="723275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srgbClr val="2F5897">
                    <a:lumMod val="40000"/>
                    <a:lumOff val="60000"/>
                  </a:srgbClr>
                </a:solidFill>
                <a:latin typeface="+mn-ea"/>
              </a:rPr>
              <a:t>流程型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5640431" y="2242453"/>
            <a:ext cx="2692775" cy="1364367"/>
            <a:chOff x="4205041" y="1831300"/>
            <a:chExt cx="2019582" cy="1023275"/>
          </a:xfrm>
        </p:grpSpPr>
        <p:grpSp>
          <p:nvGrpSpPr>
            <p:cNvPr id="105" name="组 156"/>
            <p:cNvGrpSpPr/>
            <p:nvPr/>
          </p:nvGrpSpPr>
          <p:grpSpPr>
            <a:xfrm>
              <a:off x="4612431" y="1918230"/>
              <a:ext cx="1251674" cy="606426"/>
              <a:chOff x="5414983" y="2836093"/>
              <a:chExt cx="1668898" cy="808567"/>
            </a:xfrm>
            <a:solidFill>
              <a:schemeClr val="tx2">
                <a:lumMod val="40000"/>
                <a:lumOff val="60000"/>
              </a:schemeClr>
            </a:solidFill>
          </p:grpSpPr>
          <p:grpSp>
            <p:nvGrpSpPr>
              <p:cNvPr id="106" name="组 138"/>
              <p:cNvGrpSpPr/>
              <p:nvPr/>
            </p:nvGrpSpPr>
            <p:grpSpPr>
              <a:xfrm>
                <a:off x="5414983" y="2836093"/>
                <a:ext cx="1363117" cy="808567"/>
                <a:chOff x="5800513" y="2799897"/>
                <a:chExt cx="1363117" cy="808567"/>
              </a:xfrm>
              <a:grpFill/>
            </p:grpSpPr>
            <p:grpSp>
              <p:nvGrpSpPr>
                <p:cNvPr id="108" name="组 59"/>
                <p:cNvGrpSpPr/>
                <p:nvPr/>
              </p:nvGrpSpPr>
              <p:grpSpPr>
                <a:xfrm>
                  <a:off x="6015755" y="2799897"/>
                  <a:ext cx="1147875" cy="808567"/>
                  <a:chOff x="6141015" y="2799897"/>
                  <a:chExt cx="1147875" cy="808567"/>
                </a:xfrm>
                <a:grpFill/>
              </p:grpSpPr>
              <p:sp>
                <p:nvSpPr>
                  <p:cNvPr id="110" name="椭圆 109">
                    <a:extLst>
                      <a:ext uri="{FF2B5EF4-FFF2-40B4-BE49-F238E27FC236}">
                        <a16:creationId xmlns:a16="http://schemas.microsoft.com/office/drawing/2014/main" id="{A3D0BE01-C46D-4068-AAE1-7FF86E1D6DB1}"/>
                      </a:ext>
                    </a:extLst>
                  </p:cNvPr>
                  <p:cNvSpPr/>
                  <p:nvPr/>
                </p:nvSpPr>
                <p:spPr>
                  <a:xfrm>
                    <a:off x="6141015" y="2996783"/>
                    <a:ext cx="414795" cy="414795"/>
                  </a:xfrm>
                  <a:prstGeom prst="ellipse">
                    <a:avLst/>
                  </a:prstGeom>
                  <a:grpFill/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914332">
                      <a:defRPr/>
                    </a:pPr>
                    <a:r>
                      <a:rPr lang="zh-CN" altLang="en-US" sz="1400" kern="0" dirty="0">
                        <a:solidFill>
                          <a:srgbClr val="FFFFFF"/>
                        </a:solidFill>
                        <a:latin typeface="+mn-ea"/>
                      </a:rPr>
                      <a:t>仓</a:t>
                    </a:r>
                  </a:p>
                </p:txBody>
              </p:sp>
              <p:grpSp>
                <p:nvGrpSpPr>
                  <p:cNvPr id="111" name="组 52"/>
                  <p:cNvGrpSpPr/>
                  <p:nvPr/>
                </p:nvGrpSpPr>
                <p:grpSpPr>
                  <a:xfrm>
                    <a:off x="6974926" y="2799897"/>
                    <a:ext cx="313964" cy="808567"/>
                    <a:chOff x="6857971" y="2635373"/>
                    <a:chExt cx="313964" cy="808567"/>
                  </a:xfrm>
                  <a:grpFill/>
                </p:grpSpPr>
                <p:sp>
                  <p:nvSpPr>
                    <p:cNvPr id="115" name="椭圆 114">
                      <a:extLst>
                        <a:ext uri="{FF2B5EF4-FFF2-40B4-BE49-F238E27FC236}">
                          <a16:creationId xmlns:a16="http://schemas.microsoft.com/office/drawing/2014/main" id="{8B0C9D82-E7CF-4368-8AE2-DE9F347991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01711" y="2954546"/>
                      <a:ext cx="170224" cy="170222"/>
                    </a:xfrm>
                    <a:prstGeom prst="ellipse">
                      <a:avLst/>
                    </a:prstGeom>
                    <a:grpFill/>
                    <a:ln w="127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914332">
                        <a:defRPr/>
                      </a:pPr>
                      <a:endParaRPr lang="zh-CN" altLang="en-US" sz="1200" kern="0" dirty="0">
                        <a:solidFill>
                          <a:srgbClr val="FFFFFF"/>
                        </a:solidFill>
                        <a:latin typeface="+mn-ea"/>
                      </a:endParaRPr>
                    </a:p>
                  </p:txBody>
                </p:sp>
                <p:sp>
                  <p:nvSpPr>
                    <p:cNvPr id="116" name="椭圆 115">
                      <a:extLst>
                        <a:ext uri="{FF2B5EF4-FFF2-40B4-BE49-F238E27FC236}">
                          <a16:creationId xmlns:a16="http://schemas.microsoft.com/office/drawing/2014/main" id="{1C0EFF6E-9472-4379-9418-83F2B6BE7B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57971" y="2635373"/>
                      <a:ext cx="170224" cy="170224"/>
                    </a:xfrm>
                    <a:prstGeom prst="ellipse">
                      <a:avLst/>
                    </a:prstGeom>
                    <a:grpFill/>
                    <a:ln w="127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914332">
                        <a:defRPr/>
                      </a:pPr>
                      <a:endParaRPr lang="zh-CN" altLang="en-US" sz="1200" kern="0" dirty="0">
                        <a:solidFill>
                          <a:srgbClr val="FFFFFF"/>
                        </a:solidFill>
                        <a:latin typeface="+mn-ea"/>
                      </a:endParaRPr>
                    </a:p>
                  </p:txBody>
                </p:sp>
                <p:sp>
                  <p:nvSpPr>
                    <p:cNvPr id="117" name="椭圆 116">
                      <a:extLst>
                        <a:ext uri="{FF2B5EF4-FFF2-40B4-BE49-F238E27FC236}">
                          <a16:creationId xmlns:a16="http://schemas.microsoft.com/office/drawing/2014/main" id="{8B0C9D82-E7CF-4368-8AE2-DE9F347991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57971" y="3273718"/>
                      <a:ext cx="170224" cy="170222"/>
                    </a:xfrm>
                    <a:prstGeom prst="ellipse">
                      <a:avLst/>
                    </a:prstGeom>
                    <a:grpFill/>
                    <a:ln w="127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914332">
                        <a:defRPr/>
                      </a:pPr>
                      <a:endParaRPr lang="zh-CN" altLang="en-US" sz="1200" kern="0" dirty="0">
                        <a:solidFill>
                          <a:srgbClr val="FFFFFF"/>
                        </a:solidFill>
                        <a:latin typeface="+mn-ea"/>
                      </a:endParaRPr>
                    </a:p>
                  </p:txBody>
                </p:sp>
              </p:grpSp>
              <p:cxnSp>
                <p:nvCxnSpPr>
                  <p:cNvPr id="112" name="直线连接符 54"/>
                  <p:cNvCxnSpPr>
                    <a:stCxn id="110" idx="6"/>
                    <a:endCxn id="116" idx="2"/>
                  </p:cNvCxnSpPr>
                  <p:nvPr/>
                </p:nvCxnSpPr>
                <p:spPr>
                  <a:xfrm flipV="1">
                    <a:off x="6555810" y="2885009"/>
                    <a:ext cx="419116" cy="319172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tx2">
                        <a:lumMod val="40000"/>
                        <a:lumOff val="60000"/>
                      </a:schemeClr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13" name="直线连接符 56"/>
                  <p:cNvCxnSpPr>
                    <a:stCxn id="110" idx="6"/>
                    <a:endCxn id="115" idx="2"/>
                  </p:cNvCxnSpPr>
                  <p:nvPr/>
                </p:nvCxnSpPr>
                <p:spPr>
                  <a:xfrm>
                    <a:off x="6555810" y="3204181"/>
                    <a:ext cx="562856" cy="0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tx2">
                        <a:lumMod val="40000"/>
                        <a:lumOff val="60000"/>
                      </a:schemeClr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14" name="直线连接符 58"/>
                  <p:cNvCxnSpPr>
                    <a:stCxn id="110" idx="6"/>
                    <a:endCxn id="117" idx="2"/>
                  </p:cNvCxnSpPr>
                  <p:nvPr/>
                </p:nvCxnSpPr>
                <p:spPr>
                  <a:xfrm>
                    <a:off x="6555810" y="3204181"/>
                    <a:ext cx="419116" cy="319172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tx2">
                        <a:lumMod val="40000"/>
                        <a:lumOff val="60000"/>
                      </a:schemeClr>
                    </a:solidFill>
                    <a:prstDash val="solid"/>
                    <a:miter lim="800000"/>
                  </a:ln>
                  <a:effectLst/>
                </p:spPr>
              </p:cxnSp>
            </p:grpSp>
            <p:sp>
              <p:nvSpPr>
                <p:cNvPr id="109" name="右箭头 108"/>
                <p:cNvSpPr/>
                <p:nvPr/>
              </p:nvSpPr>
              <p:spPr>
                <a:xfrm>
                  <a:off x="5800513" y="3072657"/>
                  <a:ext cx="163418" cy="263046"/>
                </a:xfrm>
                <a:prstGeom prst="rightArrow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kumimoji="1" lang="zh-CN" altLang="en-US" sz="2400" kern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</p:grpSp>
          <p:sp>
            <p:nvSpPr>
              <p:cNvPr id="107" name="右箭头 106"/>
              <p:cNvSpPr/>
              <p:nvPr/>
            </p:nvSpPr>
            <p:spPr>
              <a:xfrm>
                <a:off x="6920463" y="3108854"/>
                <a:ext cx="163418" cy="263046"/>
              </a:xfrm>
              <a:prstGeom prst="rightArrow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kumimoji="1" lang="zh-CN" altLang="en-US" sz="2400" kern="0">
                  <a:solidFill>
                    <a:srgbClr val="FFFFFF"/>
                  </a:solidFill>
                  <a:latin typeface="+mn-ea"/>
                </a:endParaRPr>
              </a:p>
            </p:txBody>
          </p:sp>
        </p:grpSp>
        <p:grpSp>
          <p:nvGrpSpPr>
            <p:cNvPr id="118" name="组 212"/>
            <p:cNvGrpSpPr/>
            <p:nvPr/>
          </p:nvGrpSpPr>
          <p:grpSpPr>
            <a:xfrm>
              <a:off x="4328816" y="1940068"/>
              <a:ext cx="127668" cy="562751"/>
              <a:chOff x="10228941" y="3126378"/>
              <a:chExt cx="170224" cy="750334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19" name="椭圆 118">
                <a:extLst>
                  <a:ext uri="{FF2B5EF4-FFF2-40B4-BE49-F238E27FC236}">
                    <a16:creationId xmlns:a16="http://schemas.microsoft.com/office/drawing/2014/main" id="{1C0EFF6E-9472-4379-9418-83F2B6BE7B6B}"/>
                  </a:ext>
                </a:extLst>
              </p:cNvPr>
              <p:cNvSpPr/>
              <p:nvPr/>
            </p:nvSpPr>
            <p:spPr>
              <a:xfrm>
                <a:off x="10228941" y="3126378"/>
                <a:ext cx="170224" cy="170224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2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20" name="椭圆 119">
                <a:extLst>
                  <a:ext uri="{FF2B5EF4-FFF2-40B4-BE49-F238E27FC236}">
                    <a16:creationId xmlns:a16="http://schemas.microsoft.com/office/drawing/2014/main" id="{1C0EFF6E-9472-4379-9418-83F2B6BE7B6B}"/>
                  </a:ext>
                </a:extLst>
              </p:cNvPr>
              <p:cNvSpPr/>
              <p:nvPr/>
            </p:nvSpPr>
            <p:spPr>
              <a:xfrm>
                <a:off x="10228941" y="3416433"/>
                <a:ext cx="170224" cy="170224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2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21" name="椭圆 120">
                <a:extLst>
                  <a:ext uri="{FF2B5EF4-FFF2-40B4-BE49-F238E27FC236}">
                    <a16:creationId xmlns:a16="http://schemas.microsoft.com/office/drawing/2014/main" id="{1C0EFF6E-9472-4379-9418-83F2B6BE7B6B}"/>
                  </a:ext>
                </a:extLst>
              </p:cNvPr>
              <p:cNvSpPr/>
              <p:nvPr/>
            </p:nvSpPr>
            <p:spPr>
              <a:xfrm>
                <a:off x="10228941" y="3706488"/>
                <a:ext cx="170224" cy="170224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2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</p:grpSp>
        <p:sp>
          <p:nvSpPr>
            <p:cNvPr id="122" name="文本框 121"/>
            <p:cNvSpPr txBox="1"/>
            <p:nvPr/>
          </p:nvSpPr>
          <p:spPr>
            <a:xfrm>
              <a:off x="4205041" y="2619122"/>
              <a:ext cx="369332" cy="2354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客户</a:t>
              </a:r>
            </a:p>
          </p:txBody>
        </p:sp>
        <p:grpSp>
          <p:nvGrpSpPr>
            <p:cNvPr id="123" name="组 225"/>
            <p:cNvGrpSpPr/>
            <p:nvPr/>
          </p:nvGrpSpPr>
          <p:grpSpPr>
            <a:xfrm>
              <a:off x="5855291" y="1831300"/>
              <a:ext cx="369332" cy="1023275"/>
              <a:chOff x="7070221" y="2828084"/>
              <a:chExt cx="492441" cy="1364364"/>
            </a:xfrm>
            <a:solidFill>
              <a:schemeClr val="tx2">
                <a:lumMod val="40000"/>
                <a:lumOff val="60000"/>
              </a:schemeClr>
            </a:solidFill>
          </p:grpSpPr>
          <p:grpSp>
            <p:nvGrpSpPr>
              <p:cNvPr id="124" name="组 219"/>
              <p:cNvGrpSpPr/>
              <p:nvPr/>
            </p:nvGrpSpPr>
            <p:grpSpPr>
              <a:xfrm>
                <a:off x="7235253" y="2828084"/>
                <a:ext cx="170224" cy="1040389"/>
                <a:chOff x="10228941" y="2836323"/>
                <a:chExt cx="170224" cy="1040389"/>
              </a:xfrm>
              <a:grpFill/>
            </p:grpSpPr>
            <p:sp>
              <p:nvSpPr>
                <p:cNvPr id="126" name="椭圆 125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2836323"/>
                  <a:ext cx="170224" cy="170224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127" name="椭圆 126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3126378"/>
                  <a:ext cx="170224" cy="170224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128" name="椭圆 127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3416433"/>
                  <a:ext cx="170224" cy="170224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  <p:sp>
              <p:nvSpPr>
                <p:cNvPr id="129" name="椭圆 128">
                  <a:extLst>
                    <a:ext uri="{FF2B5EF4-FFF2-40B4-BE49-F238E27FC236}">
                      <a16:creationId xmlns:a16="http://schemas.microsoft.com/office/drawing/2014/main" id="{1C0EFF6E-9472-4379-9418-83F2B6BE7B6B}"/>
                    </a:ext>
                  </a:extLst>
                </p:cNvPr>
                <p:cNvSpPr/>
                <p:nvPr/>
              </p:nvSpPr>
              <p:spPr>
                <a:xfrm>
                  <a:off x="10228941" y="3706488"/>
                  <a:ext cx="170224" cy="170224"/>
                </a:xfrm>
                <a:prstGeom prst="ellipse">
                  <a:avLst/>
                </a:prstGeom>
                <a:grpFill/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4332">
                    <a:defRPr/>
                  </a:pPr>
                  <a:endParaRPr lang="zh-CN" altLang="en-US" sz="1200" kern="0" dirty="0">
                    <a:solidFill>
                      <a:srgbClr val="FFFFFF"/>
                    </a:solidFill>
                    <a:latin typeface="+mn-ea"/>
                  </a:endParaRPr>
                </a:p>
              </p:txBody>
            </p:sp>
          </p:grpSp>
          <p:sp>
            <p:nvSpPr>
              <p:cNvPr id="125" name="文本框 124"/>
              <p:cNvSpPr txBox="1"/>
              <p:nvPr/>
            </p:nvSpPr>
            <p:spPr>
              <a:xfrm>
                <a:off x="7070221" y="3878517"/>
                <a:ext cx="492441" cy="3139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914332">
                  <a:lnSpc>
                    <a:spcPct val="120000"/>
                  </a:lnSpc>
                  <a:spcAft>
                    <a:spcPts val="600"/>
                  </a:spcAft>
                  <a:defRPr/>
                </a:pPr>
                <a:r>
                  <a:rPr kumimoji="1" lang="zh-CN" altLang="en-US" sz="1200" kern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+mn-ea"/>
                  </a:rPr>
                  <a:t>用户</a:t>
                </a:r>
              </a:p>
            </p:txBody>
          </p:sp>
        </p:grpSp>
        <p:sp>
          <p:nvSpPr>
            <p:cNvPr id="130" name="文本框 129"/>
            <p:cNvSpPr txBox="1"/>
            <p:nvPr/>
          </p:nvSpPr>
          <p:spPr>
            <a:xfrm>
              <a:off x="5278462" y="2614259"/>
              <a:ext cx="369332" cy="2354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站点</a:t>
              </a:r>
            </a:p>
          </p:txBody>
        </p:sp>
      </p:grpSp>
      <p:sp>
        <p:nvSpPr>
          <p:cNvPr id="131" name="文本框 130"/>
          <p:cNvSpPr txBox="1"/>
          <p:nvPr/>
        </p:nvSpPr>
        <p:spPr>
          <a:xfrm>
            <a:off x="3261461" y="1772231"/>
            <a:ext cx="723275" cy="3508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solidFill>
                  <a:prstClr val="white">
                    <a:lumMod val="50000"/>
                  </a:prstClr>
                </a:solidFill>
                <a:latin typeface="+mn-ea"/>
              </a:rPr>
              <a:t>网络型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1996830" y="2220089"/>
            <a:ext cx="3382242" cy="1409092"/>
            <a:chOff x="1448983" y="1761706"/>
            <a:chExt cx="2536682" cy="1056819"/>
          </a:xfrm>
          <a:solidFill>
            <a:schemeClr val="bg1">
              <a:lumMod val="50000"/>
            </a:schemeClr>
          </a:solidFill>
        </p:grpSpPr>
        <p:grpSp>
          <p:nvGrpSpPr>
            <p:cNvPr id="132" name="组 111"/>
            <p:cNvGrpSpPr/>
            <p:nvPr/>
          </p:nvGrpSpPr>
          <p:grpSpPr>
            <a:xfrm>
              <a:off x="1863684" y="1761706"/>
              <a:ext cx="827268" cy="769789"/>
              <a:chOff x="1090330" y="2667578"/>
              <a:chExt cx="1231095" cy="1145559"/>
            </a:xfrm>
            <a:grpFill/>
          </p:grpSpPr>
          <p:sp>
            <p:nvSpPr>
              <p:cNvPr id="133" name="椭圆 132">
                <a:extLst>
                  <a:ext uri="{FF2B5EF4-FFF2-40B4-BE49-F238E27FC236}">
                    <a16:creationId xmlns:a16="http://schemas.microsoft.com/office/drawing/2014/main" id="{A3D0BE01-C46D-4068-AAE1-7FF86E1D6DB1}"/>
                  </a:ext>
                </a:extLst>
              </p:cNvPr>
              <p:cNvSpPr/>
              <p:nvPr/>
            </p:nvSpPr>
            <p:spPr>
              <a:xfrm>
                <a:off x="1906630" y="3084619"/>
                <a:ext cx="414795" cy="414795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r>
                  <a:rPr lang="zh-CN" altLang="en-US" sz="1400" kern="0" dirty="0">
                    <a:solidFill>
                      <a:srgbClr val="FFFFFF"/>
                    </a:solidFill>
                    <a:latin typeface="+mn-ea"/>
                  </a:rPr>
                  <a:t>仓</a:t>
                </a:r>
              </a:p>
            </p:txBody>
          </p:sp>
          <p:sp>
            <p:nvSpPr>
              <p:cNvPr id="134" name="椭圆 133">
                <a:extLst>
                  <a:ext uri="{FF2B5EF4-FFF2-40B4-BE49-F238E27FC236}">
                    <a16:creationId xmlns:a16="http://schemas.microsoft.com/office/drawing/2014/main" id="{43A76FB0-4FF4-4279-B91C-EA64745EA425}"/>
                  </a:ext>
                </a:extLst>
              </p:cNvPr>
              <p:cNvSpPr/>
              <p:nvPr/>
            </p:nvSpPr>
            <p:spPr>
              <a:xfrm rot="10800000" flipV="1">
                <a:off x="1555678" y="3479608"/>
                <a:ext cx="287481" cy="287481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r>
                  <a:rPr lang="zh-CN" altLang="en-US" sz="1200" kern="0" dirty="0">
                    <a:solidFill>
                      <a:srgbClr val="FFFFFF"/>
                    </a:solidFill>
                    <a:latin typeface="+mn-ea"/>
                  </a:rPr>
                  <a:t>站</a:t>
                </a:r>
              </a:p>
            </p:txBody>
          </p:sp>
          <p:sp>
            <p:nvSpPr>
              <p:cNvPr id="135" name="椭圆 134">
                <a:extLst>
                  <a:ext uri="{FF2B5EF4-FFF2-40B4-BE49-F238E27FC236}">
                    <a16:creationId xmlns:a16="http://schemas.microsoft.com/office/drawing/2014/main" id="{083F9BD6-E4ED-41BB-B3B9-17118560657D}"/>
                  </a:ext>
                </a:extLst>
              </p:cNvPr>
              <p:cNvSpPr/>
              <p:nvPr/>
            </p:nvSpPr>
            <p:spPr>
              <a:xfrm rot="10800000">
                <a:off x="1242682" y="3670921"/>
                <a:ext cx="142216" cy="142216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6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36" name="椭圆 135">
                <a:extLst>
                  <a:ext uri="{FF2B5EF4-FFF2-40B4-BE49-F238E27FC236}">
                    <a16:creationId xmlns:a16="http://schemas.microsoft.com/office/drawing/2014/main" id="{EAEF2983-51ED-408E-B905-ABBB5AB6F88C}"/>
                  </a:ext>
                </a:extLst>
              </p:cNvPr>
              <p:cNvSpPr/>
              <p:nvPr/>
            </p:nvSpPr>
            <p:spPr>
              <a:xfrm rot="10800000">
                <a:off x="1218519" y="3463666"/>
                <a:ext cx="142216" cy="142216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6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cxnSp>
            <p:nvCxnSpPr>
              <p:cNvPr id="137" name="直接箭头连接符 56">
                <a:extLst>
                  <a:ext uri="{FF2B5EF4-FFF2-40B4-BE49-F238E27FC236}">
                    <a16:creationId xmlns:a16="http://schemas.microsoft.com/office/drawing/2014/main" id="{4FAD8185-4DCE-40CB-B63D-3A64129FB73A}"/>
                  </a:ext>
                </a:extLst>
              </p:cNvPr>
              <p:cNvCxnSpPr>
                <a:stCxn id="134" idx="6"/>
                <a:endCxn id="135" idx="2"/>
              </p:cNvCxnSpPr>
              <p:nvPr/>
            </p:nvCxnSpPr>
            <p:spPr>
              <a:xfrm flipH="1">
                <a:off x="1384898" y="3623349"/>
                <a:ext cx="170780" cy="118680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8" name="直接箭头连接符 57">
                <a:extLst>
                  <a:ext uri="{FF2B5EF4-FFF2-40B4-BE49-F238E27FC236}">
                    <a16:creationId xmlns:a16="http://schemas.microsoft.com/office/drawing/2014/main" id="{728C270A-CFD7-4D54-A82B-4BEE66BD8C37}"/>
                  </a:ext>
                </a:extLst>
              </p:cNvPr>
              <p:cNvCxnSpPr>
                <a:stCxn id="134" idx="6"/>
                <a:endCxn id="136" idx="2"/>
              </p:cNvCxnSpPr>
              <p:nvPr/>
            </p:nvCxnSpPr>
            <p:spPr>
              <a:xfrm flipH="1" flipV="1">
                <a:off x="1360735" y="3534774"/>
                <a:ext cx="194943" cy="88575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39" name="椭圆 138">
                <a:extLst>
                  <a:ext uri="{FF2B5EF4-FFF2-40B4-BE49-F238E27FC236}">
                    <a16:creationId xmlns:a16="http://schemas.microsoft.com/office/drawing/2014/main" id="{14CA7233-5A2C-4A42-B785-0686EFBE914E}"/>
                  </a:ext>
                </a:extLst>
              </p:cNvPr>
              <p:cNvSpPr/>
              <p:nvPr/>
            </p:nvSpPr>
            <p:spPr>
              <a:xfrm rot="10800000" flipV="1">
                <a:off x="1520348" y="2818231"/>
                <a:ext cx="287481" cy="287481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r>
                  <a:rPr lang="zh-CN" altLang="en-US" sz="1200" kern="0" dirty="0">
                    <a:solidFill>
                      <a:srgbClr val="FFFFFF"/>
                    </a:solidFill>
                    <a:latin typeface="+mn-ea"/>
                  </a:rPr>
                  <a:t>站</a:t>
                </a:r>
              </a:p>
            </p:txBody>
          </p:sp>
          <p:sp>
            <p:nvSpPr>
              <p:cNvPr id="140" name="椭圆 139">
                <a:extLst>
                  <a:ext uri="{FF2B5EF4-FFF2-40B4-BE49-F238E27FC236}">
                    <a16:creationId xmlns:a16="http://schemas.microsoft.com/office/drawing/2014/main" id="{42172465-F45E-49C0-9552-65890FA501E6}"/>
                  </a:ext>
                </a:extLst>
              </p:cNvPr>
              <p:cNvSpPr/>
              <p:nvPr/>
            </p:nvSpPr>
            <p:spPr>
              <a:xfrm rot="10800000">
                <a:off x="1233790" y="3137715"/>
                <a:ext cx="142216" cy="142216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6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41" name="椭圆 140">
                <a:extLst>
                  <a:ext uri="{FF2B5EF4-FFF2-40B4-BE49-F238E27FC236}">
                    <a16:creationId xmlns:a16="http://schemas.microsoft.com/office/drawing/2014/main" id="{DFDE7B5C-B666-4542-99C9-D60C2D568E8C}"/>
                  </a:ext>
                </a:extLst>
              </p:cNvPr>
              <p:cNvSpPr/>
              <p:nvPr/>
            </p:nvSpPr>
            <p:spPr>
              <a:xfrm rot="10800000">
                <a:off x="1090330" y="2890864"/>
                <a:ext cx="142216" cy="142216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6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42" name="椭圆 141">
                <a:extLst>
                  <a:ext uri="{FF2B5EF4-FFF2-40B4-BE49-F238E27FC236}">
                    <a16:creationId xmlns:a16="http://schemas.microsoft.com/office/drawing/2014/main" id="{04FD4760-FED8-48E1-9885-E2C6C85C8D8E}"/>
                  </a:ext>
                </a:extLst>
              </p:cNvPr>
              <p:cNvSpPr/>
              <p:nvPr/>
            </p:nvSpPr>
            <p:spPr>
              <a:xfrm rot="10800000">
                <a:off x="1232546" y="2667578"/>
                <a:ext cx="142216" cy="142216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6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cxnSp>
            <p:nvCxnSpPr>
              <p:cNvPr id="143" name="直接箭头连接符 48">
                <a:extLst>
                  <a:ext uri="{FF2B5EF4-FFF2-40B4-BE49-F238E27FC236}">
                    <a16:creationId xmlns:a16="http://schemas.microsoft.com/office/drawing/2014/main" id="{76E84222-F258-45CA-A904-CF8A41DDEA94}"/>
                  </a:ext>
                </a:extLst>
              </p:cNvPr>
              <p:cNvCxnSpPr>
                <a:stCxn id="139" idx="6"/>
                <a:endCxn id="140" idx="2"/>
              </p:cNvCxnSpPr>
              <p:nvPr/>
            </p:nvCxnSpPr>
            <p:spPr>
              <a:xfrm flipH="1">
                <a:off x="1376006" y="2961972"/>
                <a:ext cx="144342" cy="246851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4" name="直接箭头连接符 49">
                <a:extLst>
                  <a:ext uri="{FF2B5EF4-FFF2-40B4-BE49-F238E27FC236}">
                    <a16:creationId xmlns:a16="http://schemas.microsoft.com/office/drawing/2014/main" id="{A6FFA66F-B9F1-48CD-97F1-D4712D5DFD81}"/>
                  </a:ext>
                </a:extLst>
              </p:cNvPr>
              <p:cNvCxnSpPr>
                <a:stCxn id="139" idx="6"/>
                <a:endCxn id="141" idx="2"/>
              </p:cNvCxnSpPr>
              <p:nvPr/>
            </p:nvCxnSpPr>
            <p:spPr>
              <a:xfrm flipH="1">
                <a:off x="1232546" y="2961972"/>
                <a:ext cx="287802" cy="0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5" name="直接箭头连接符 50">
                <a:extLst>
                  <a:ext uri="{FF2B5EF4-FFF2-40B4-BE49-F238E27FC236}">
                    <a16:creationId xmlns:a16="http://schemas.microsoft.com/office/drawing/2014/main" id="{BABCEE32-C491-4A6D-9941-F22A3A592041}"/>
                  </a:ext>
                </a:extLst>
              </p:cNvPr>
              <p:cNvCxnSpPr>
                <a:stCxn id="139" idx="6"/>
                <a:endCxn id="142" idx="2"/>
              </p:cNvCxnSpPr>
              <p:nvPr/>
            </p:nvCxnSpPr>
            <p:spPr>
              <a:xfrm flipH="1" flipV="1">
                <a:off x="1374762" y="2738686"/>
                <a:ext cx="145586" cy="223286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6" name="直接箭头连接符 42">
                <a:extLst>
                  <a:ext uri="{FF2B5EF4-FFF2-40B4-BE49-F238E27FC236}">
                    <a16:creationId xmlns:a16="http://schemas.microsoft.com/office/drawing/2014/main" id="{924C7F56-3B1C-4B28-8707-D5E2E8D0EDF5}"/>
                  </a:ext>
                </a:extLst>
              </p:cNvPr>
              <p:cNvCxnSpPr>
                <a:stCxn id="139" idx="2"/>
                <a:endCxn id="133" idx="1"/>
              </p:cNvCxnSpPr>
              <p:nvPr/>
            </p:nvCxnSpPr>
            <p:spPr>
              <a:xfrm>
                <a:off x="1807829" y="2961972"/>
                <a:ext cx="159546" cy="183392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7" name="直接箭头连接符 43">
                <a:extLst>
                  <a:ext uri="{FF2B5EF4-FFF2-40B4-BE49-F238E27FC236}">
                    <a16:creationId xmlns:a16="http://schemas.microsoft.com/office/drawing/2014/main" id="{D847AA36-20F8-4E11-9082-5D13103937C3}"/>
                  </a:ext>
                </a:extLst>
              </p:cNvPr>
              <p:cNvCxnSpPr>
                <a:stCxn id="134" idx="2"/>
                <a:endCxn id="133" idx="3"/>
              </p:cNvCxnSpPr>
              <p:nvPr/>
            </p:nvCxnSpPr>
            <p:spPr>
              <a:xfrm flipV="1">
                <a:off x="1843159" y="3438669"/>
                <a:ext cx="124216" cy="184680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48" name="组 112"/>
            <p:cNvGrpSpPr/>
            <p:nvPr/>
          </p:nvGrpSpPr>
          <p:grpSpPr>
            <a:xfrm flipH="1">
              <a:off x="2794179" y="1761706"/>
              <a:ext cx="827268" cy="786629"/>
              <a:chOff x="1090330" y="2667578"/>
              <a:chExt cx="1231095" cy="1170619"/>
            </a:xfrm>
            <a:grpFill/>
          </p:grpSpPr>
          <p:sp>
            <p:nvSpPr>
              <p:cNvPr id="149" name="椭圆 148">
                <a:extLst>
                  <a:ext uri="{FF2B5EF4-FFF2-40B4-BE49-F238E27FC236}">
                    <a16:creationId xmlns:a16="http://schemas.microsoft.com/office/drawing/2014/main" id="{A3D0BE01-C46D-4068-AAE1-7FF86E1D6DB1}"/>
                  </a:ext>
                </a:extLst>
              </p:cNvPr>
              <p:cNvSpPr/>
              <p:nvPr/>
            </p:nvSpPr>
            <p:spPr>
              <a:xfrm>
                <a:off x="1906630" y="3084619"/>
                <a:ext cx="414795" cy="414795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r>
                  <a:rPr lang="zh-CN" altLang="en-US" sz="1400" kern="0" dirty="0">
                    <a:solidFill>
                      <a:srgbClr val="FFFFFF"/>
                    </a:solidFill>
                    <a:latin typeface="+mn-ea"/>
                  </a:rPr>
                  <a:t>仓</a:t>
                </a:r>
              </a:p>
            </p:txBody>
          </p:sp>
          <p:sp>
            <p:nvSpPr>
              <p:cNvPr id="150" name="椭圆 149">
                <a:extLst>
                  <a:ext uri="{FF2B5EF4-FFF2-40B4-BE49-F238E27FC236}">
                    <a16:creationId xmlns:a16="http://schemas.microsoft.com/office/drawing/2014/main" id="{43A76FB0-4FF4-4279-B91C-EA64745EA425}"/>
                  </a:ext>
                </a:extLst>
              </p:cNvPr>
              <p:cNvSpPr/>
              <p:nvPr/>
            </p:nvSpPr>
            <p:spPr>
              <a:xfrm rot="10800000" flipV="1">
                <a:off x="1555678" y="3479608"/>
                <a:ext cx="287481" cy="287481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r>
                  <a:rPr lang="zh-CN" altLang="en-US" sz="1200" kern="0" dirty="0">
                    <a:solidFill>
                      <a:srgbClr val="FFFFFF"/>
                    </a:solidFill>
                    <a:latin typeface="+mn-ea"/>
                  </a:rPr>
                  <a:t>站</a:t>
                </a:r>
              </a:p>
            </p:txBody>
          </p:sp>
          <p:sp>
            <p:nvSpPr>
              <p:cNvPr id="151" name="椭圆 150">
                <a:extLst>
                  <a:ext uri="{FF2B5EF4-FFF2-40B4-BE49-F238E27FC236}">
                    <a16:creationId xmlns:a16="http://schemas.microsoft.com/office/drawing/2014/main" id="{083F9BD6-E4ED-41BB-B3B9-17118560657D}"/>
                  </a:ext>
                </a:extLst>
              </p:cNvPr>
              <p:cNvSpPr/>
              <p:nvPr/>
            </p:nvSpPr>
            <p:spPr>
              <a:xfrm rot="10800000">
                <a:off x="1234962" y="3695981"/>
                <a:ext cx="142216" cy="142216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6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52" name="椭圆 151">
                <a:extLst>
                  <a:ext uri="{FF2B5EF4-FFF2-40B4-BE49-F238E27FC236}">
                    <a16:creationId xmlns:a16="http://schemas.microsoft.com/office/drawing/2014/main" id="{EAEF2983-51ED-408E-B905-ABBB5AB6F88C}"/>
                  </a:ext>
                </a:extLst>
              </p:cNvPr>
              <p:cNvSpPr/>
              <p:nvPr/>
            </p:nvSpPr>
            <p:spPr>
              <a:xfrm rot="10800000">
                <a:off x="1218519" y="3463666"/>
                <a:ext cx="142216" cy="142216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6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cxnSp>
            <p:nvCxnSpPr>
              <p:cNvPr id="153" name="直接箭头连接符 56">
                <a:extLst>
                  <a:ext uri="{FF2B5EF4-FFF2-40B4-BE49-F238E27FC236}">
                    <a16:creationId xmlns:a16="http://schemas.microsoft.com/office/drawing/2014/main" id="{4FAD8185-4DCE-40CB-B63D-3A64129FB73A}"/>
                  </a:ext>
                </a:extLst>
              </p:cNvPr>
              <p:cNvCxnSpPr>
                <a:stCxn id="150" idx="6"/>
                <a:endCxn id="151" idx="2"/>
              </p:cNvCxnSpPr>
              <p:nvPr/>
            </p:nvCxnSpPr>
            <p:spPr>
              <a:xfrm flipH="1">
                <a:off x="1377178" y="3623349"/>
                <a:ext cx="178500" cy="143740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4" name="直接箭头连接符 57">
                <a:extLst>
                  <a:ext uri="{FF2B5EF4-FFF2-40B4-BE49-F238E27FC236}">
                    <a16:creationId xmlns:a16="http://schemas.microsoft.com/office/drawing/2014/main" id="{728C270A-CFD7-4D54-A82B-4BEE66BD8C37}"/>
                  </a:ext>
                </a:extLst>
              </p:cNvPr>
              <p:cNvCxnSpPr>
                <a:stCxn id="150" idx="6"/>
                <a:endCxn id="152" idx="2"/>
              </p:cNvCxnSpPr>
              <p:nvPr/>
            </p:nvCxnSpPr>
            <p:spPr>
              <a:xfrm flipH="1" flipV="1">
                <a:off x="1360735" y="3534774"/>
                <a:ext cx="194943" cy="88575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55" name="椭圆 154">
                <a:extLst>
                  <a:ext uri="{FF2B5EF4-FFF2-40B4-BE49-F238E27FC236}">
                    <a16:creationId xmlns:a16="http://schemas.microsoft.com/office/drawing/2014/main" id="{14CA7233-5A2C-4A42-B785-0686EFBE914E}"/>
                  </a:ext>
                </a:extLst>
              </p:cNvPr>
              <p:cNvSpPr/>
              <p:nvPr/>
            </p:nvSpPr>
            <p:spPr>
              <a:xfrm rot="10800000" flipV="1">
                <a:off x="1520348" y="2818231"/>
                <a:ext cx="287481" cy="287481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r>
                  <a:rPr lang="zh-CN" altLang="en-US" sz="1200" kern="0" dirty="0">
                    <a:solidFill>
                      <a:srgbClr val="FFFFFF"/>
                    </a:solidFill>
                    <a:latin typeface="+mn-ea"/>
                  </a:rPr>
                  <a:t>站</a:t>
                </a:r>
              </a:p>
            </p:txBody>
          </p:sp>
          <p:sp>
            <p:nvSpPr>
              <p:cNvPr id="156" name="椭圆 155">
                <a:extLst>
                  <a:ext uri="{FF2B5EF4-FFF2-40B4-BE49-F238E27FC236}">
                    <a16:creationId xmlns:a16="http://schemas.microsoft.com/office/drawing/2014/main" id="{42172465-F45E-49C0-9552-65890FA501E6}"/>
                  </a:ext>
                </a:extLst>
              </p:cNvPr>
              <p:cNvSpPr/>
              <p:nvPr/>
            </p:nvSpPr>
            <p:spPr>
              <a:xfrm rot="10800000">
                <a:off x="1233790" y="3137715"/>
                <a:ext cx="142216" cy="142216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6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57" name="椭圆 156">
                <a:extLst>
                  <a:ext uri="{FF2B5EF4-FFF2-40B4-BE49-F238E27FC236}">
                    <a16:creationId xmlns:a16="http://schemas.microsoft.com/office/drawing/2014/main" id="{DFDE7B5C-B666-4542-99C9-D60C2D568E8C}"/>
                  </a:ext>
                </a:extLst>
              </p:cNvPr>
              <p:cNvSpPr/>
              <p:nvPr/>
            </p:nvSpPr>
            <p:spPr>
              <a:xfrm rot="10800000">
                <a:off x="1090330" y="2890864"/>
                <a:ext cx="142216" cy="142216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6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sp>
            <p:nvSpPr>
              <p:cNvPr id="158" name="椭圆 157">
                <a:extLst>
                  <a:ext uri="{FF2B5EF4-FFF2-40B4-BE49-F238E27FC236}">
                    <a16:creationId xmlns:a16="http://schemas.microsoft.com/office/drawing/2014/main" id="{04FD4760-FED8-48E1-9885-E2C6C85C8D8E}"/>
                  </a:ext>
                </a:extLst>
              </p:cNvPr>
              <p:cNvSpPr/>
              <p:nvPr/>
            </p:nvSpPr>
            <p:spPr>
              <a:xfrm rot="10800000">
                <a:off x="1232546" y="2667578"/>
                <a:ext cx="142216" cy="142216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32">
                  <a:defRPr/>
                </a:pPr>
                <a:endParaRPr lang="zh-CN" altLang="en-US" sz="1600" kern="0" dirty="0">
                  <a:solidFill>
                    <a:srgbClr val="FFFFFF"/>
                  </a:solidFill>
                  <a:latin typeface="+mn-ea"/>
                </a:endParaRPr>
              </a:p>
            </p:txBody>
          </p:sp>
          <p:cxnSp>
            <p:nvCxnSpPr>
              <p:cNvPr id="159" name="直接箭头连接符 48">
                <a:extLst>
                  <a:ext uri="{FF2B5EF4-FFF2-40B4-BE49-F238E27FC236}">
                    <a16:creationId xmlns:a16="http://schemas.microsoft.com/office/drawing/2014/main" id="{76E84222-F258-45CA-A904-CF8A41DDEA94}"/>
                  </a:ext>
                </a:extLst>
              </p:cNvPr>
              <p:cNvCxnSpPr>
                <a:stCxn id="155" idx="6"/>
                <a:endCxn id="156" idx="2"/>
              </p:cNvCxnSpPr>
              <p:nvPr/>
            </p:nvCxnSpPr>
            <p:spPr>
              <a:xfrm flipH="1">
                <a:off x="1376006" y="2961972"/>
                <a:ext cx="144342" cy="246851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0" name="直接箭头连接符 49">
                <a:extLst>
                  <a:ext uri="{FF2B5EF4-FFF2-40B4-BE49-F238E27FC236}">
                    <a16:creationId xmlns:a16="http://schemas.microsoft.com/office/drawing/2014/main" id="{A6FFA66F-B9F1-48CD-97F1-D4712D5DFD81}"/>
                  </a:ext>
                </a:extLst>
              </p:cNvPr>
              <p:cNvCxnSpPr>
                <a:stCxn id="155" idx="6"/>
                <a:endCxn id="157" idx="2"/>
              </p:cNvCxnSpPr>
              <p:nvPr/>
            </p:nvCxnSpPr>
            <p:spPr>
              <a:xfrm flipH="1">
                <a:off x="1232546" y="2961972"/>
                <a:ext cx="287802" cy="0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1" name="直接箭头连接符 50">
                <a:extLst>
                  <a:ext uri="{FF2B5EF4-FFF2-40B4-BE49-F238E27FC236}">
                    <a16:creationId xmlns:a16="http://schemas.microsoft.com/office/drawing/2014/main" id="{BABCEE32-C491-4A6D-9941-F22A3A592041}"/>
                  </a:ext>
                </a:extLst>
              </p:cNvPr>
              <p:cNvCxnSpPr>
                <a:stCxn id="155" idx="6"/>
                <a:endCxn id="158" idx="2"/>
              </p:cNvCxnSpPr>
              <p:nvPr/>
            </p:nvCxnSpPr>
            <p:spPr>
              <a:xfrm flipH="1" flipV="1">
                <a:off x="1374762" y="2738686"/>
                <a:ext cx="145586" cy="223286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2" name="直接箭头连接符 42">
                <a:extLst>
                  <a:ext uri="{FF2B5EF4-FFF2-40B4-BE49-F238E27FC236}">
                    <a16:creationId xmlns:a16="http://schemas.microsoft.com/office/drawing/2014/main" id="{924C7F56-3B1C-4B28-8707-D5E2E8D0EDF5}"/>
                  </a:ext>
                </a:extLst>
              </p:cNvPr>
              <p:cNvCxnSpPr>
                <a:stCxn id="155" idx="2"/>
                <a:endCxn id="149" idx="1"/>
              </p:cNvCxnSpPr>
              <p:nvPr/>
            </p:nvCxnSpPr>
            <p:spPr>
              <a:xfrm>
                <a:off x="1807829" y="2961972"/>
                <a:ext cx="159546" cy="183392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3" name="直接箭头连接符 43">
                <a:extLst>
                  <a:ext uri="{FF2B5EF4-FFF2-40B4-BE49-F238E27FC236}">
                    <a16:creationId xmlns:a16="http://schemas.microsoft.com/office/drawing/2014/main" id="{D847AA36-20F8-4E11-9082-5D13103937C3}"/>
                  </a:ext>
                </a:extLst>
              </p:cNvPr>
              <p:cNvCxnSpPr>
                <a:stCxn id="150" idx="2"/>
                <a:endCxn id="149" idx="3"/>
              </p:cNvCxnSpPr>
              <p:nvPr/>
            </p:nvCxnSpPr>
            <p:spPr>
              <a:xfrm flipV="1">
                <a:off x="1843159" y="3438669"/>
                <a:ext cx="124216" cy="184680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164" name="直线连接符 131"/>
            <p:cNvCxnSpPr>
              <a:stCxn id="133" idx="6"/>
              <a:endCxn id="149" idx="6"/>
            </p:cNvCxnSpPr>
            <p:nvPr/>
          </p:nvCxnSpPr>
          <p:spPr>
            <a:xfrm>
              <a:off x="2690952" y="2181314"/>
              <a:ext cx="103228" cy="0"/>
            </a:xfrm>
            <a:prstGeom prst="line">
              <a:avLst/>
            </a:prstGeom>
            <a:grp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</p:cxnSp>
        <p:sp>
          <p:nvSpPr>
            <p:cNvPr id="165" name="右箭头 164"/>
            <p:cNvSpPr/>
            <p:nvPr/>
          </p:nvSpPr>
          <p:spPr>
            <a:xfrm>
              <a:off x="1740143" y="2115090"/>
              <a:ext cx="109813" cy="176761"/>
            </a:xfrm>
            <a:prstGeom prst="rightArrow">
              <a:avLst/>
            </a:prstGeom>
            <a:grp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166" name="右箭头 165"/>
            <p:cNvSpPr/>
            <p:nvPr/>
          </p:nvSpPr>
          <p:spPr>
            <a:xfrm>
              <a:off x="3602762" y="2115090"/>
              <a:ext cx="109813" cy="176761"/>
            </a:xfrm>
            <a:prstGeom prst="rightArrow">
              <a:avLst/>
            </a:prstGeom>
            <a:grp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167" name="椭圆 166">
              <a:extLst>
                <a:ext uri="{FF2B5EF4-FFF2-40B4-BE49-F238E27FC236}">
                  <a16:creationId xmlns:a16="http://schemas.microsoft.com/office/drawing/2014/main" id="{1C0EFF6E-9472-4379-9418-83F2B6BE7B6B}"/>
                </a:ext>
              </a:extLst>
            </p:cNvPr>
            <p:cNvSpPr/>
            <p:nvPr/>
          </p:nvSpPr>
          <p:spPr>
            <a:xfrm>
              <a:off x="1579093" y="1853912"/>
              <a:ext cx="114387" cy="114387"/>
            </a:xfrm>
            <a:prstGeom prst="ellipse">
              <a:avLst/>
            </a:prstGeom>
            <a:grp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lang="zh-CN" altLang="en-US" sz="1200" kern="0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168" name="椭圆 167">
              <a:extLst>
                <a:ext uri="{FF2B5EF4-FFF2-40B4-BE49-F238E27FC236}">
                  <a16:creationId xmlns:a16="http://schemas.microsoft.com/office/drawing/2014/main" id="{1C0EFF6E-9472-4379-9418-83F2B6BE7B6B}"/>
                </a:ext>
              </a:extLst>
            </p:cNvPr>
            <p:cNvSpPr/>
            <p:nvPr/>
          </p:nvSpPr>
          <p:spPr>
            <a:xfrm>
              <a:off x="1579093" y="2048822"/>
              <a:ext cx="114387" cy="114387"/>
            </a:xfrm>
            <a:prstGeom prst="ellipse">
              <a:avLst/>
            </a:prstGeom>
            <a:grp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lang="zh-CN" altLang="en-US" sz="1200" kern="0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169" name="椭圆 168">
              <a:extLst>
                <a:ext uri="{FF2B5EF4-FFF2-40B4-BE49-F238E27FC236}">
                  <a16:creationId xmlns:a16="http://schemas.microsoft.com/office/drawing/2014/main" id="{1C0EFF6E-9472-4379-9418-83F2B6BE7B6B}"/>
                </a:ext>
              </a:extLst>
            </p:cNvPr>
            <p:cNvSpPr/>
            <p:nvPr/>
          </p:nvSpPr>
          <p:spPr>
            <a:xfrm>
              <a:off x="1579093" y="2243732"/>
              <a:ext cx="114387" cy="114387"/>
            </a:xfrm>
            <a:prstGeom prst="ellipse">
              <a:avLst/>
            </a:prstGeom>
            <a:grp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lang="zh-CN" altLang="en-US" sz="1200" kern="0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170" name="椭圆 169">
              <a:extLst>
                <a:ext uri="{FF2B5EF4-FFF2-40B4-BE49-F238E27FC236}">
                  <a16:creationId xmlns:a16="http://schemas.microsoft.com/office/drawing/2014/main" id="{1C0EFF6E-9472-4379-9418-83F2B6BE7B6B}"/>
                </a:ext>
              </a:extLst>
            </p:cNvPr>
            <p:cNvSpPr/>
            <p:nvPr/>
          </p:nvSpPr>
          <p:spPr>
            <a:xfrm>
              <a:off x="1579093" y="2438642"/>
              <a:ext cx="114387" cy="114387"/>
            </a:xfrm>
            <a:prstGeom prst="ellipse">
              <a:avLst/>
            </a:prstGeom>
            <a:grp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lang="zh-CN" altLang="en-US" sz="1200" kern="0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171" name="文本框 170"/>
            <p:cNvSpPr txBox="1"/>
            <p:nvPr/>
          </p:nvSpPr>
          <p:spPr>
            <a:xfrm>
              <a:off x="1448983" y="2583076"/>
              <a:ext cx="369332" cy="2354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客户</a:t>
              </a:r>
            </a:p>
          </p:txBody>
        </p:sp>
        <p:sp>
          <p:nvSpPr>
            <p:cNvPr id="172" name="椭圆 171">
              <a:extLst>
                <a:ext uri="{FF2B5EF4-FFF2-40B4-BE49-F238E27FC236}">
                  <a16:creationId xmlns:a16="http://schemas.microsoft.com/office/drawing/2014/main" id="{1C0EFF6E-9472-4379-9418-83F2B6BE7B6B}"/>
                </a:ext>
              </a:extLst>
            </p:cNvPr>
            <p:cNvSpPr/>
            <p:nvPr/>
          </p:nvSpPr>
          <p:spPr>
            <a:xfrm>
              <a:off x="3746444" y="1853912"/>
              <a:ext cx="114387" cy="114387"/>
            </a:xfrm>
            <a:prstGeom prst="ellipse">
              <a:avLst/>
            </a:prstGeom>
            <a:grp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lang="zh-CN" altLang="en-US" sz="1200" kern="0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173" name="椭圆 172">
              <a:extLst>
                <a:ext uri="{FF2B5EF4-FFF2-40B4-BE49-F238E27FC236}">
                  <a16:creationId xmlns:a16="http://schemas.microsoft.com/office/drawing/2014/main" id="{1C0EFF6E-9472-4379-9418-83F2B6BE7B6B}"/>
                </a:ext>
              </a:extLst>
            </p:cNvPr>
            <p:cNvSpPr/>
            <p:nvPr/>
          </p:nvSpPr>
          <p:spPr>
            <a:xfrm>
              <a:off x="3746444" y="2048822"/>
              <a:ext cx="114387" cy="114387"/>
            </a:xfrm>
            <a:prstGeom prst="ellipse">
              <a:avLst/>
            </a:prstGeom>
            <a:grp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lang="zh-CN" altLang="en-US" sz="1200" kern="0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174" name="椭圆 173">
              <a:extLst>
                <a:ext uri="{FF2B5EF4-FFF2-40B4-BE49-F238E27FC236}">
                  <a16:creationId xmlns:a16="http://schemas.microsoft.com/office/drawing/2014/main" id="{1C0EFF6E-9472-4379-9418-83F2B6BE7B6B}"/>
                </a:ext>
              </a:extLst>
            </p:cNvPr>
            <p:cNvSpPr/>
            <p:nvPr/>
          </p:nvSpPr>
          <p:spPr>
            <a:xfrm>
              <a:off x="3746444" y="2243732"/>
              <a:ext cx="114387" cy="114387"/>
            </a:xfrm>
            <a:prstGeom prst="ellipse">
              <a:avLst/>
            </a:prstGeom>
            <a:grp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lang="zh-CN" altLang="en-US" sz="1200" kern="0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175" name="椭圆 174">
              <a:extLst>
                <a:ext uri="{FF2B5EF4-FFF2-40B4-BE49-F238E27FC236}">
                  <a16:creationId xmlns:a16="http://schemas.microsoft.com/office/drawing/2014/main" id="{1C0EFF6E-9472-4379-9418-83F2B6BE7B6B}"/>
                </a:ext>
              </a:extLst>
            </p:cNvPr>
            <p:cNvSpPr/>
            <p:nvPr/>
          </p:nvSpPr>
          <p:spPr>
            <a:xfrm>
              <a:off x="3746444" y="2438642"/>
              <a:ext cx="114387" cy="114387"/>
            </a:xfrm>
            <a:prstGeom prst="ellipse">
              <a:avLst/>
            </a:prstGeom>
            <a:grp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lang="zh-CN" altLang="en-US" sz="1200" kern="0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176" name="文本框 175"/>
            <p:cNvSpPr txBox="1"/>
            <p:nvPr/>
          </p:nvSpPr>
          <p:spPr>
            <a:xfrm>
              <a:off x="3616333" y="2583076"/>
              <a:ext cx="369332" cy="2354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用户</a:t>
              </a:r>
            </a:p>
          </p:txBody>
        </p:sp>
        <p:sp>
          <p:nvSpPr>
            <p:cNvPr id="177" name="文本框 176"/>
            <p:cNvSpPr txBox="1"/>
            <p:nvPr/>
          </p:nvSpPr>
          <p:spPr>
            <a:xfrm>
              <a:off x="1768888" y="2583076"/>
              <a:ext cx="369332" cy="2354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网点</a:t>
              </a:r>
            </a:p>
          </p:txBody>
        </p:sp>
        <p:sp>
          <p:nvSpPr>
            <p:cNvPr id="178" name="文本框 177"/>
            <p:cNvSpPr txBox="1"/>
            <p:nvPr/>
          </p:nvSpPr>
          <p:spPr>
            <a:xfrm>
              <a:off x="3288988" y="2583076"/>
              <a:ext cx="369332" cy="2354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网点</a:t>
              </a:r>
            </a:p>
          </p:txBody>
        </p:sp>
      </p:grpSp>
      <p:sp>
        <p:nvSpPr>
          <p:cNvPr id="179" name="虚尾箭头 178"/>
          <p:cNvSpPr/>
          <p:nvPr/>
        </p:nvSpPr>
        <p:spPr>
          <a:xfrm>
            <a:off x="8289315" y="1838639"/>
            <a:ext cx="480415" cy="248828"/>
          </a:xfrm>
          <a:prstGeom prst="stripedRightArrow">
            <a:avLst/>
          </a:prstGeom>
          <a:gradFill flip="none" rotWithShape="1">
            <a:gsLst>
              <a:gs pos="50000">
                <a:srgbClr val="D2B7B6"/>
              </a:gs>
              <a:gs pos="0">
                <a:schemeClr val="bg1">
                  <a:lumMod val="75000"/>
                </a:schemeClr>
              </a:gs>
              <a:gs pos="100000">
                <a:srgbClr val="CA352D">
                  <a:lumMod val="40000"/>
                  <a:lumOff val="60000"/>
                </a:srgbClr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/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180" name="文本框 179"/>
          <p:cNvSpPr txBox="1"/>
          <p:nvPr/>
        </p:nvSpPr>
        <p:spPr>
          <a:xfrm>
            <a:off x="397241" y="2549041"/>
            <a:ext cx="1173959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b="1" kern="0" dirty="0">
                <a:latin typeface="+mn-ea"/>
              </a:rPr>
              <a:t>业务模型</a:t>
            </a:r>
          </a:p>
        </p:txBody>
      </p:sp>
      <p:graphicFrame>
        <p:nvGraphicFramePr>
          <p:cNvPr id="181" name="表格 180"/>
          <p:cNvGraphicFramePr>
            <a:graphicFrameLocks noGrp="1"/>
          </p:cNvGraphicFramePr>
          <p:nvPr>
            <p:extLst/>
          </p:nvPr>
        </p:nvGraphicFramePr>
        <p:xfrm>
          <a:off x="403226" y="3733635"/>
          <a:ext cx="11268822" cy="2595880"/>
        </p:xfrm>
        <a:graphic>
          <a:graphicData uri="http://schemas.openxmlformats.org/drawingml/2006/table">
            <a:tbl>
              <a:tblPr/>
              <a:tblGrid>
                <a:gridCol w="16134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822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189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541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模式特征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基于标准化流程的物流网络完善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基于客户需求定制的业务流程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基于算法的灵活供需资源匹配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产品设计逻辑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货物特征及物流需求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客户需求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交易</a:t>
                      </a:r>
                      <a:r>
                        <a:rPr lang="en-US" altLang="zh-CN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服务场景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核心竞争力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网络深度</a:t>
                      </a:r>
                      <a:r>
                        <a:rPr lang="en-US" altLang="zh-CN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+</a:t>
                      </a:r>
                      <a:r>
                        <a:rPr lang="zh-CN" alt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效率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解决方案能力</a:t>
                      </a:r>
                      <a:r>
                        <a:rPr lang="en-US" altLang="zh-CN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+</a:t>
                      </a:r>
                      <a:r>
                        <a:rPr lang="zh-CN" altLang="en-US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资源组织能力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资源组织效率</a:t>
                      </a:r>
                      <a:r>
                        <a:rPr lang="en-US" altLang="zh-CN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+</a:t>
                      </a:r>
                      <a:r>
                        <a:rPr lang="zh-CN" altLang="en-US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匹配效率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盈利模式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收派收入</a:t>
                      </a:r>
                      <a:r>
                        <a:rPr lang="en-US" altLang="zh-CN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网络运营成本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销售收入</a:t>
                      </a:r>
                      <a:r>
                        <a:rPr lang="en-US" altLang="zh-CN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（运营</a:t>
                      </a:r>
                      <a:r>
                        <a:rPr lang="en-US" altLang="zh-CN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+</a:t>
                      </a:r>
                      <a:r>
                        <a:rPr lang="zh-CN" altLang="en-US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外包成本）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交易撮合收入</a:t>
                      </a:r>
                      <a:r>
                        <a:rPr lang="en-US" altLang="zh-CN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（运营</a:t>
                      </a:r>
                      <a:r>
                        <a:rPr lang="en-US" altLang="zh-CN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+</a:t>
                      </a:r>
                      <a:r>
                        <a:rPr lang="zh-CN" altLang="en-US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维护成本）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服务订单类型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产品约束范围内的随机订单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计划性订单为主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即时性订单为主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日单峰值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企业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en-US" altLang="zh-CN" sz="14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5000</a:t>
                      </a:r>
                      <a:r>
                        <a:rPr lang="zh-CN" alt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万单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数万单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en-US" altLang="zh-CN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1000</a:t>
                      </a:r>
                      <a:r>
                        <a:rPr lang="zh-CN" altLang="en-US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万单（持续增长）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代表企业类型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ea"/>
                          <a:ea typeface="+mn-ea"/>
                        </a:rPr>
                        <a:t>快递、快运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en-US" altLang="zh-CN" sz="1400" dirty="0">
                          <a:solidFill>
                            <a:schemeClr val="tx2">
                              <a:lumMod val="40000"/>
                              <a:lumOff val="60000"/>
                            </a:schemeClr>
                          </a:solidFill>
                          <a:latin typeface="+mn-ea"/>
                          <a:ea typeface="+mn-ea"/>
                        </a:rPr>
                        <a:t>3PL</a:t>
                      </a:r>
                      <a:endParaRPr lang="zh-CN" altLang="en-US" sz="1400" dirty="0">
                        <a:solidFill>
                          <a:schemeClr val="tx2">
                            <a:lumMod val="40000"/>
                            <a:lumOff val="60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dirty="0">
                          <a:solidFill>
                            <a:srgbClr val="92D050"/>
                          </a:solidFill>
                          <a:latin typeface="+mn-ea"/>
                          <a:ea typeface="+mn-ea"/>
                        </a:rPr>
                        <a:t>即时配送、供应链运营平台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cxnSp>
        <p:nvCxnSpPr>
          <p:cNvPr id="182" name="直线连接符 260"/>
          <p:cNvCxnSpPr/>
          <p:nvPr/>
        </p:nvCxnSpPr>
        <p:spPr>
          <a:xfrm>
            <a:off x="8529521" y="2167891"/>
            <a:ext cx="0" cy="4161624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183" name="直线连接符 265"/>
          <p:cNvCxnSpPr/>
          <p:nvPr/>
        </p:nvCxnSpPr>
        <p:spPr>
          <a:xfrm>
            <a:off x="5427732" y="2167891"/>
            <a:ext cx="0" cy="4161624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184" name="直线连接符 274"/>
          <p:cNvCxnSpPr/>
          <p:nvPr/>
        </p:nvCxnSpPr>
        <p:spPr>
          <a:xfrm>
            <a:off x="1913536" y="2167891"/>
            <a:ext cx="0" cy="4161624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sp>
        <p:nvSpPr>
          <p:cNvPr id="185" name="文本占位符 1"/>
          <p:cNvSpPr txBox="1">
            <a:spLocks/>
          </p:cNvSpPr>
          <p:nvPr/>
        </p:nvSpPr>
        <p:spPr>
          <a:xfrm>
            <a:off x="431371" y="878834"/>
            <a:ext cx="10995691" cy="531396"/>
          </a:xfrm>
          <a:prstGeom prst="rect">
            <a:avLst/>
          </a:prstGeom>
        </p:spPr>
        <p:txBody>
          <a:bodyPr anchor="t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0" kern="1200" spc="0">
                <a:solidFill>
                  <a:srgbClr val="CA352D"/>
                </a:solidFill>
                <a:latin typeface="+mj-ea"/>
                <a:ea typeface="+mj-ea"/>
                <a:cs typeface="Segoe UI" charset="0"/>
              </a:defRPr>
            </a:lvl1pPr>
            <a:lvl2pPr marL="5143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572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430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kumimoji="1" lang="zh-CN" altLang="en-US" sz="2133" b="1" dirty="0">
                <a:solidFill>
                  <a:srgbClr val="FF7D78">
                    <a:lumMod val="50000"/>
                  </a:srgbClr>
                </a:solidFill>
                <a:latin typeface="+mn-ea"/>
                <a:ea typeface="+mn-ea"/>
              </a:rPr>
              <a:t>从“网络</a:t>
            </a:r>
            <a:r>
              <a:rPr kumimoji="1" lang="en-US" altLang="zh-CN" sz="2133" b="1" dirty="0">
                <a:solidFill>
                  <a:srgbClr val="FF7D78">
                    <a:lumMod val="50000"/>
                  </a:srgbClr>
                </a:solidFill>
                <a:latin typeface="+mn-ea"/>
                <a:ea typeface="+mn-ea"/>
              </a:rPr>
              <a:t>/</a:t>
            </a:r>
            <a:r>
              <a:rPr kumimoji="1" lang="zh-CN" altLang="en-US" sz="2133" b="1" dirty="0">
                <a:solidFill>
                  <a:srgbClr val="FF7D78">
                    <a:lumMod val="50000"/>
                  </a:srgbClr>
                </a:solidFill>
                <a:latin typeface="+mn-ea"/>
                <a:ea typeface="+mn-ea"/>
              </a:rPr>
              <a:t>流程型”到“平台型”</a:t>
            </a:r>
          </a:p>
        </p:txBody>
      </p:sp>
      <p:sp>
        <p:nvSpPr>
          <p:cNvPr id="186" name="文本框 185"/>
          <p:cNvSpPr txBox="1"/>
          <p:nvPr/>
        </p:nvSpPr>
        <p:spPr>
          <a:xfrm>
            <a:off x="3130664" y="976030"/>
            <a:ext cx="8488763" cy="76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en-US" altLang="zh-CN" sz="1600" b="1" kern="0" dirty="0">
                <a:solidFill>
                  <a:prstClr val="black"/>
                </a:solidFill>
                <a:latin typeface="+mn-ea"/>
              </a:rPr>
              <a:t>——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以信息技术为驱动，</a:t>
            </a:r>
          </a:p>
          <a:p>
            <a:pPr algn="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产生出在资源组织、供需匹配等方面更高效、订单容量更大的平台型物流商业模式。</a:t>
            </a:r>
          </a:p>
        </p:txBody>
      </p:sp>
    </p:spTree>
    <p:extLst>
      <p:ext uri="{BB962C8B-B14F-4D97-AF65-F5344CB8AC3E}">
        <p14:creationId xmlns:p14="http://schemas.microsoft.com/office/powerpoint/2010/main" val="2796022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zh-CN" altLang="en-US" dirty="0">
                <a:latin typeface="+mn-ea"/>
                <a:ea typeface="+mn-ea"/>
              </a:rPr>
              <a:t>物流产品的迭代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2" name="组合 1"/>
          <p:cNvGrpSpPr/>
          <p:nvPr/>
        </p:nvGrpSpPr>
        <p:grpSpPr>
          <a:xfrm>
            <a:off x="275890" y="3191889"/>
            <a:ext cx="5732281" cy="3059487"/>
            <a:chOff x="285320" y="2561751"/>
            <a:chExt cx="4299211" cy="2294615"/>
          </a:xfrm>
        </p:grpSpPr>
        <p:sp>
          <p:nvSpPr>
            <p:cNvPr id="20" name="任意形状 5"/>
            <p:cNvSpPr/>
            <p:nvPr/>
          </p:nvSpPr>
          <p:spPr>
            <a:xfrm>
              <a:off x="1160446" y="2561751"/>
              <a:ext cx="643734" cy="764872"/>
            </a:xfrm>
            <a:custGeom>
              <a:avLst/>
              <a:gdLst>
                <a:gd name="connsiteX0" fmla="*/ 0 w 1363110"/>
                <a:gd name="connsiteY0" fmla="*/ 1083733 h 1083733"/>
                <a:gd name="connsiteX1" fmla="*/ 681555 w 1363110"/>
                <a:gd name="connsiteY1" fmla="*/ 0 h 1083733"/>
                <a:gd name="connsiteX2" fmla="*/ 681555 w 1363110"/>
                <a:gd name="connsiteY2" fmla="*/ 0 h 1083733"/>
                <a:gd name="connsiteX3" fmla="*/ 1363110 w 1363110"/>
                <a:gd name="connsiteY3" fmla="*/ 1083733 h 1083733"/>
                <a:gd name="connsiteX4" fmla="*/ 0 w 1363110"/>
                <a:gd name="connsiteY4" fmla="*/ 1083733 h 108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3110" h="1083733">
                  <a:moveTo>
                    <a:pt x="0" y="1083733"/>
                  </a:moveTo>
                  <a:lnTo>
                    <a:pt x="681555" y="0"/>
                  </a:lnTo>
                  <a:lnTo>
                    <a:pt x="681555" y="0"/>
                  </a:lnTo>
                  <a:lnTo>
                    <a:pt x="1363110" y="1083733"/>
                  </a:lnTo>
                  <a:lnTo>
                    <a:pt x="0" y="1083733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75000"/>
              </a:schemeClr>
            </a:solidFill>
            <a:ln w="127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algn="ctr" defTabSz="1866807">
                <a:spcBef>
                  <a:spcPct val="0"/>
                </a:spcBef>
                <a:defRPr/>
              </a:pPr>
              <a:endParaRPr lang="en-US" altLang="zh-CN" sz="1200" kern="0" dirty="0">
                <a:solidFill>
                  <a:prstClr val="black"/>
                </a:solidFill>
                <a:latin typeface="+mn-ea"/>
              </a:endParaRPr>
            </a:p>
            <a:p>
              <a:pPr algn="ctr" defTabSz="1866807">
                <a:spcBef>
                  <a:spcPct val="0"/>
                </a:spcBef>
                <a:defRPr/>
              </a:pPr>
              <a:r>
                <a:rPr lang="en-US" altLang="zh-CN" sz="1200" kern="0" dirty="0">
                  <a:solidFill>
                    <a:prstClr val="black"/>
                  </a:solidFill>
                  <a:latin typeface="+mn-ea"/>
                </a:rPr>
                <a:t>0-30kg</a:t>
              </a:r>
              <a:endParaRPr lang="zh-CN" altLang="en-US" sz="1200" kern="0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21" name="任意形状 6"/>
            <p:cNvSpPr/>
            <p:nvPr/>
          </p:nvSpPr>
          <p:spPr>
            <a:xfrm>
              <a:off x="838579" y="3326623"/>
              <a:ext cx="1287466" cy="764872"/>
            </a:xfrm>
            <a:custGeom>
              <a:avLst/>
              <a:gdLst>
                <a:gd name="connsiteX0" fmla="*/ 0 w 2726220"/>
                <a:gd name="connsiteY0" fmla="*/ 1083733 h 1083733"/>
                <a:gd name="connsiteX1" fmla="*/ 681560 w 2726220"/>
                <a:gd name="connsiteY1" fmla="*/ 0 h 1083733"/>
                <a:gd name="connsiteX2" fmla="*/ 2044660 w 2726220"/>
                <a:gd name="connsiteY2" fmla="*/ 0 h 1083733"/>
                <a:gd name="connsiteX3" fmla="*/ 2726220 w 2726220"/>
                <a:gd name="connsiteY3" fmla="*/ 1083733 h 1083733"/>
                <a:gd name="connsiteX4" fmla="*/ 0 w 2726220"/>
                <a:gd name="connsiteY4" fmla="*/ 1083733 h 108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6220" h="1083733">
                  <a:moveTo>
                    <a:pt x="0" y="1083733"/>
                  </a:moveTo>
                  <a:lnTo>
                    <a:pt x="681560" y="0"/>
                  </a:lnTo>
                  <a:lnTo>
                    <a:pt x="2044660" y="0"/>
                  </a:lnTo>
                  <a:lnTo>
                    <a:pt x="2726220" y="1083733"/>
                  </a:lnTo>
                  <a:lnTo>
                    <a:pt x="0" y="1083733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  <a:alpha val="88000"/>
              </a:schemeClr>
            </a:solidFill>
            <a:ln w="127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txBody>
            <a:bodyPr spcFirstLastPara="0" vert="horz" wrap="square" lIns="536779" tIns="59691" rIns="536779" bIns="59691" numCol="1" spcCol="1270" anchor="ctr" anchorCtr="0">
              <a:noAutofit/>
            </a:bodyPr>
            <a:lstStyle/>
            <a:p>
              <a:pPr algn="ctr" defTabSz="2089046">
                <a:spcBef>
                  <a:spcPct val="0"/>
                </a:spcBef>
                <a:defRPr/>
              </a:pPr>
              <a:r>
                <a:rPr lang="en-US" altLang="zh-CN" sz="1200" kern="0" dirty="0">
                  <a:solidFill>
                    <a:prstClr val="black"/>
                  </a:solidFill>
                  <a:latin typeface="+mn-ea"/>
                </a:rPr>
                <a:t>30kg-5T</a:t>
              </a:r>
              <a:endParaRPr lang="zh-CN" altLang="en-US" sz="1200" kern="0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22" name="任意形状 7"/>
            <p:cNvSpPr/>
            <p:nvPr/>
          </p:nvSpPr>
          <p:spPr>
            <a:xfrm>
              <a:off x="516713" y="4091494"/>
              <a:ext cx="1931200" cy="764872"/>
            </a:xfrm>
            <a:custGeom>
              <a:avLst/>
              <a:gdLst>
                <a:gd name="connsiteX0" fmla="*/ 0 w 4089330"/>
                <a:gd name="connsiteY0" fmla="*/ 1083733 h 1083733"/>
                <a:gd name="connsiteX1" fmla="*/ 681560 w 4089330"/>
                <a:gd name="connsiteY1" fmla="*/ 0 h 1083733"/>
                <a:gd name="connsiteX2" fmla="*/ 3407770 w 4089330"/>
                <a:gd name="connsiteY2" fmla="*/ 0 h 1083733"/>
                <a:gd name="connsiteX3" fmla="*/ 4089330 w 4089330"/>
                <a:gd name="connsiteY3" fmla="*/ 1083733 h 1083733"/>
                <a:gd name="connsiteX4" fmla="*/ 0 w 4089330"/>
                <a:gd name="connsiteY4" fmla="*/ 1083733 h 108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9330" h="1083733">
                  <a:moveTo>
                    <a:pt x="0" y="1083733"/>
                  </a:moveTo>
                  <a:lnTo>
                    <a:pt x="681560" y="0"/>
                  </a:lnTo>
                  <a:lnTo>
                    <a:pt x="3407770" y="0"/>
                  </a:lnTo>
                  <a:lnTo>
                    <a:pt x="4089330" y="1083733"/>
                  </a:lnTo>
                  <a:lnTo>
                    <a:pt x="0" y="108373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txBody>
            <a:bodyPr spcFirstLastPara="0" vert="horz" wrap="square" lIns="775323" tIns="59691" rIns="775323" bIns="59691" numCol="1" spcCol="1270" anchor="ctr" anchorCtr="0">
              <a:noAutofit/>
            </a:bodyPr>
            <a:lstStyle/>
            <a:p>
              <a:pPr algn="ctr" defTabSz="2089046">
                <a:spcBef>
                  <a:spcPct val="0"/>
                </a:spcBef>
                <a:defRPr/>
              </a:pPr>
              <a:r>
                <a:rPr lang="en-US" altLang="zh-CN" sz="1200" kern="0" dirty="0">
                  <a:solidFill>
                    <a:prstClr val="black"/>
                  </a:solidFill>
                  <a:latin typeface="+mn-ea"/>
                </a:rPr>
                <a:t>5T-</a:t>
              </a:r>
              <a:endParaRPr lang="zh-CN" altLang="en-US" sz="1200" kern="0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827344" y="2970367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快递</a:t>
              </a: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556331" y="3519889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零担</a:t>
              </a:r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285320" y="4164134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整车</a:t>
              </a:r>
            </a:p>
          </p:txBody>
        </p:sp>
        <p:sp>
          <p:nvSpPr>
            <p:cNvPr id="12" name="任意形状 33"/>
            <p:cNvSpPr/>
            <p:nvPr/>
          </p:nvSpPr>
          <p:spPr>
            <a:xfrm>
              <a:off x="3297065" y="2561751"/>
              <a:ext cx="643734" cy="764872"/>
            </a:xfrm>
            <a:custGeom>
              <a:avLst/>
              <a:gdLst>
                <a:gd name="connsiteX0" fmla="*/ 0 w 1363110"/>
                <a:gd name="connsiteY0" fmla="*/ 1083733 h 1083733"/>
                <a:gd name="connsiteX1" fmla="*/ 681555 w 1363110"/>
                <a:gd name="connsiteY1" fmla="*/ 0 h 1083733"/>
                <a:gd name="connsiteX2" fmla="*/ 681555 w 1363110"/>
                <a:gd name="connsiteY2" fmla="*/ 0 h 1083733"/>
                <a:gd name="connsiteX3" fmla="*/ 1363110 w 1363110"/>
                <a:gd name="connsiteY3" fmla="*/ 1083733 h 1083733"/>
                <a:gd name="connsiteX4" fmla="*/ 0 w 1363110"/>
                <a:gd name="connsiteY4" fmla="*/ 1083733 h 108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3110" h="1083733">
                  <a:moveTo>
                    <a:pt x="0" y="1083733"/>
                  </a:moveTo>
                  <a:lnTo>
                    <a:pt x="681555" y="0"/>
                  </a:lnTo>
                  <a:lnTo>
                    <a:pt x="681555" y="0"/>
                  </a:lnTo>
                  <a:lnTo>
                    <a:pt x="1363110" y="1083733"/>
                  </a:lnTo>
                  <a:lnTo>
                    <a:pt x="0" y="1083733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  <a:alpha val="75000"/>
              </a:schemeClr>
            </a:solidFill>
            <a:ln w="127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algn="ctr" defTabSz="1866807">
                <a:spcBef>
                  <a:spcPct val="0"/>
                </a:spcBef>
                <a:defRPr/>
              </a:pPr>
              <a:endParaRPr lang="en-US" altLang="zh-CN" sz="1200" kern="0" dirty="0">
                <a:solidFill>
                  <a:prstClr val="black"/>
                </a:solidFill>
                <a:latin typeface="+mn-ea"/>
              </a:endParaRPr>
            </a:p>
            <a:p>
              <a:pPr algn="ctr" defTabSz="1866807">
                <a:spcBef>
                  <a:spcPct val="0"/>
                </a:spcBef>
                <a:defRPr/>
              </a:pPr>
              <a:endParaRPr lang="en-US" altLang="zh-CN" sz="1200" kern="0" dirty="0">
                <a:solidFill>
                  <a:prstClr val="black"/>
                </a:solidFill>
                <a:latin typeface="+mn-ea"/>
              </a:endParaRPr>
            </a:p>
            <a:p>
              <a:pPr algn="ctr" defTabSz="1866807">
                <a:lnSpc>
                  <a:spcPct val="150000"/>
                </a:lnSpc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altLang="zh-CN" sz="1200" kern="0" dirty="0">
                  <a:solidFill>
                    <a:prstClr val="black"/>
                  </a:solidFill>
                  <a:latin typeface="+mn-ea"/>
                </a:rPr>
                <a:t>3-30kg</a:t>
              </a:r>
              <a:endParaRPr lang="zh-CN" altLang="en-US" sz="1200" kern="0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13" name="任意形状 34"/>
            <p:cNvSpPr/>
            <p:nvPr/>
          </p:nvSpPr>
          <p:spPr>
            <a:xfrm>
              <a:off x="2975198" y="3326623"/>
              <a:ext cx="1287466" cy="764872"/>
            </a:xfrm>
            <a:custGeom>
              <a:avLst/>
              <a:gdLst>
                <a:gd name="connsiteX0" fmla="*/ 0 w 2726220"/>
                <a:gd name="connsiteY0" fmla="*/ 1083733 h 1083733"/>
                <a:gd name="connsiteX1" fmla="*/ 681560 w 2726220"/>
                <a:gd name="connsiteY1" fmla="*/ 0 h 1083733"/>
                <a:gd name="connsiteX2" fmla="*/ 2044660 w 2726220"/>
                <a:gd name="connsiteY2" fmla="*/ 0 h 1083733"/>
                <a:gd name="connsiteX3" fmla="*/ 2726220 w 2726220"/>
                <a:gd name="connsiteY3" fmla="*/ 1083733 h 1083733"/>
                <a:gd name="connsiteX4" fmla="*/ 0 w 2726220"/>
                <a:gd name="connsiteY4" fmla="*/ 1083733 h 108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6220" h="1083733">
                  <a:moveTo>
                    <a:pt x="0" y="1083733"/>
                  </a:moveTo>
                  <a:lnTo>
                    <a:pt x="681560" y="0"/>
                  </a:lnTo>
                  <a:lnTo>
                    <a:pt x="2044660" y="0"/>
                  </a:lnTo>
                  <a:lnTo>
                    <a:pt x="2726220" y="1083733"/>
                  </a:lnTo>
                  <a:lnTo>
                    <a:pt x="0" y="1083733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  <a:alpha val="88000"/>
              </a:schemeClr>
            </a:solidFill>
            <a:ln w="127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txBody>
            <a:bodyPr spcFirstLastPara="0" vert="horz" wrap="square" lIns="536779" tIns="59691" rIns="536779" bIns="59691" numCol="1" spcCol="1270" anchor="ctr" anchorCtr="0">
              <a:noAutofit/>
            </a:bodyPr>
            <a:lstStyle/>
            <a:p>
              <a:pPr algn="ctr" defTabSz="2089046">
                <a:spcBef>
                  <a:spcPct val="0"/>
                </a:spcBef>
                <a:defRPr/>
              </a:pPr>
              <a:r>
                <a:rPr lang="en-US" altLang="zh-CN" sz="1200" kern="0" dirty="0">
                  <a:solidFill>
                    <a:prstClr val="black"/>
                  </a:solidFill>
                  <a:latin typeface="+mn-ea"/>
                </a:rPr>
                <a:t>30kg-5T</a:t>
              </a:r>
              <a:endParaRPr lang="zh-CN" altLang="en-US" sz="1200" kern="0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14" name="任意形状 35"/>
            <p:cNvSpPr/>
            <p:nvPr/>
          </p:nvSpPr>
          <p:spPr>
            <a:xfrm>
              <a:off x="2653331" y="4091494"/>
              <a:ext cx="1931200" cy="764872"/>
            </a:xfrm>
            <a:custGeom>
              <a:avLst/>
              <a:gdLst>
                <a:gd name="connsiteX0" fmla="*/ 0 w 4089330"/>
                <a:gd name="connsiteY0" fmla="*/ 1083733 h 1083733"/>
                <a:gd name="connsiteX1" fmla="*/ 681560 w 4089330"/>
                <a:gd name="connsiteY1" fmla="*/ 0 h 1083733"/>
                <a:gd name="connsiteX2" fmla="*/ 3407770 w 4089330"/>
                <a:gd name="connsiteY2" fmla="*/ 0 h 1083733"/>
                <a:gd name="connsiteX3" fmla="*/ 4089330 w 4089330"/>
                <a:gd name="connsiteY3" fmla="*/ 1083733 h 1083733"/>
                <a:gd name="connsiteX4" fmla="*/ 0 w 4089330"/>
                <a:gd name="connsiteY4" fmla="*/ 1083733 h 108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9330" h="1083733">
                  <a:moveTo>
                    <a:pt x="0" y="1083733"/>
                  </a:moveTo>
                  <a:lnTo>
                    <a:pt x="681560" y="0"/>
                  </a:lnTo>
                  <a:lnTo>
                    <a:pt x="3407770" y="0"/>
                  </a:lnTo>
                  <a:lnTo>
                    <a:pt x="4089330" y="1083733"/>
                  </a:lnTo>
                  <a:lnTo>
                    <a:pt x="0" y="108373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txBody>
            <a:bodyPr spcFirstLastPara="0" vert="horz" wrap="square" lIns="775323" tIns="59691" rIns="775323" bIns="59691" numCol="1" spcCol="1270" anchor="ctr" anchorCtr="0">
              <a:noAutofit/>
            </a:bodyPr>
            <a:lstStyle/>
            <a:p>
              <a:pPr algn="ctr" defTabSz="2089046">
                <a:spcBef>
                  <a:spcPct val="0"/>
                </a:spcBef>
                <a:defRPr/>
              </a:pPr>
              <a:r>
                <a:rPr lang="en-US" altLang="zh-CN" sz="1200" kern="0" dirty="0">
                  <a:solidFill>
                    <a:prstClr val="black"/>
                  </a:solidFill>
                  <a:latin typeface="+mn-ea"/>
                </a:rPr>
                <a:t>5T-</a:t>
              </a:r>
              <a:endParaRPr lang="zh-CN" altLang="en-US" sz="1200" kern="0" dirty="0">
                <a:solidFill>
                  <a:prstClr val="black"/>
                </a:solidFill>
                <a:latin typeface="+mn-ea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2909335" y="2970367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快递</a:t>
              </a: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2692948" y="3519889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零担</a:t>
              </a: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2421937" y="4164134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整车</a:t>
              </a:r>
            </a:p>
          </p:txBody>
        </p:sp>
        <p:sp>
          <p:nvSpPr>
            <p:cNvPr id="18" name="三角形 36"/>
            <p:cNvSpPr/>
            <p:nvPr/>
          </p:nvSpPr>
          <p:spPr>
            <a:xfrm>
              <a:off x="3453574" y="2578450"/>
              <a:ext cx="330714" cy="381881"/>
            </a:xfrm>
            <a:prstGeom prst="triangle">
              <a:avLst/>
            </a:prstGeom>
            <a:solidFill>
              <a:srgbClr val="CA352D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txBody>
            <a:bodyPr spcFirstLastPara="0" vert="horz" wrap="none" lIns="53340" tIns="53340" rIns="53340" bIns="53340" numCol="1" spcCol="1270" anchor="ctr" anchorCtr="0">
              <a:noAutofit/>
            </a:bodyPr>
            <a:lstStyle/>
            <a:p>
              <a:pPr algn="ctr" defTabSz="1866807">
                <a:spcBef>
                  <a:spcPct val="0"/>
                </a:spcBef>
                <a:defRPr/>
              </a:pPr>
              <a:r>
                <a:rPr lang="en-US" altLang="zh-CN" sz="1200" kern="0" dirty="0">
                  <a:latin typeface="+mn-ea"/>
                </a:rPr>
                <a:t>0-3kg</a:t>
              </a:r>
              <a:endParaRPr lang="zh-CN" altLang="en-US" sz="1200" kern="0" dirty="0">
                <a:latin typeface="+mn-ea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2844036" y="2589841"/>
              <a:ext cx="677108" cy="3577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>
                <a:lnSpc>
                  <a:spcPct val="120000"/>
                </a:lnSpc>
                <a:spcAft>
                  <a:spcPts val="600"/>
                </a:spcAft>
                <a:defRPr kumimoji="1" sz="1500" b="1">
                  <a:solidFill>
                    <a:schemeClr val="tx1">
                      <a:lumMod val="65000"/>
                      <a:lumOff val="35000"/>
                    </a:schemeClr>
                  </a:solidFill>
                </a:defRPr>
              </a:lvl1pPr>
            </a:lstStyle>
            <a:p>
              <a:pPr algn="ctr" defTabSz="914332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zh-CN" altLang="en-US" sz="1400" kern="0" dirty="0">
                  <a:solidFill>
                    <a:srgbClr val="CA352D"/>
                  </a:solidFill>
                  <a:latin typeface="+mn-ea"/>
                </a:rPr>
                <a:t>即时配送</a:t>
              </a:r>
              <a:endParaRPr lang="en-US" altLang="zh-CN" sz="1400" kern="0" dirty="0">
                <a:solidFill>
                  <a:srgbClr val="CA352D"/>
                </a:solidFill>
                <a:latin typeface="+mn-ea"/>
              </a:endParaRPr>
            </a:p>
            <a:p>
              <a:pPr algn="ctr" defTabSz="914332">
                <a:lnSpc>
                  <a:spcPct val="100000"/>
                </a:lnSpc>
                <a:spcAft>
                  <a:spcPts val="0"/>
                </a:spcAft>
                <a:defRPr/>
              </a:pPr>
              <a:r>
                <a:rPr lang="zh-CN" altLang="en-US" sz="1100" b="0" kern="0" dirty="0">
                  <a:solidFill>
                    <a:srgbClr val="CA352D"/>
                  </a:solidFill>
                  <a:latin typeface="+mn-ea"/>
                </a:rPr>
                <a:t>（同城）</a:t>
              </a:r>
            </a:p>
          </p:txBody>
        </p:sp>
        <p:sp>
          <p:nvSpPr>
            <p:cNvPr id="11" name="右箭头 10"/>
            <p:cNvSpPr/>
            <p:nvPr/>
          </p:nvSpPr>
          <p:spPr>
            <a:xfrm>
              <a:off x="2321599" y="3586679"/>
              <a:ext cx="252626" cy="244759"/>
            </a:xfrm>
            <a:prstGeom prst="rightArrow">
              <a:avLst/>
            </a:prstGeom>
            <a:solidFill>
              <a:srgbClr val="CA352D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</p:grpSp>
      <p:sp>
        <p:nvSpPr>
          <p:cNvPr id="26" name="文本框 25"/>
          <p:cNvSpPr txBox="1"/>
          <p:nvPr/>
        </p:nvSpPr>
        <p:spPr>
          <a:xfrm>
            <a:off x="397241" y="1853985"/>
            <a:ext cx="5715463" cy="1289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867" b="1" kern="0" spc="300" dirty="0">
                <a:solidFill>
                  <a:srgbClr val="C00000"/>
                </a:solidFill>
                <a:latin typeface="+mn-ea"/>
              </a:rPr>
              <a:t>重量</a:t>
            </a:r>
            <a:r>
              <a:rPr kumimoji="1" lang="zh-CN" altLang="en-US" sz="1500" b="1" kern="0" spc="300" dirty="0">
                <a:solidFill>
                  <a:srgbClr val="C00000"/>
                </a:solidFill>
                <a:latin typeface="+mn-ea"/>
              </a:rPr>
              <a:t>维度</a:t>
            </a:r>
            <a:r>
              <a:rPr kumimoji="1" lang="en-US" altLang="zh-CN" sz="1500" b="1" kern="0" spc="300" dirty="0">
                <a:solidFill>
                  <a:srgbClr val="C00000"/>
                </a:solidFill>
                <a:latin typeface="+mn-ea"/>
              </a:rPr>
              <a:t>/</a:t>
            </a:r>
          </a:p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en-US" altLang="zh-CN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0-3kg</a:t>
            </a:r>
            <a:r>
              <a:rPr kumimoji="1" lang="zh-CN" alt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范围内的同城小件，即时配送逐渐成为物流服务主力军，订单量快速发展，随着零售的变革，业务范围也从最初的外卖、跑腿逐渐向</a:t>
            </a:r>
            <a:r>
              <a:rPr kumimoji="1" lang="en-US" altLang="zh-CN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B2C</a:t>
            </a:r>
            <a:r>
              <a:rPr kumimoji="1" lang="zh-CN" alt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、门店配送等多场景延伸。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6294273" y="1853984"/>
            <a:ext cx="5654723" cy="1289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867" b="1" kern="0" spc="300" dirty="0">
                <a:solidFill>
                  <a:srgbClr val="C00000"/>
                </a:solidFill>
                <a:latin typeface="+mn-ea"/>
              </a:rPr>
              <a:t>体验</a:t>
            </a:r>
            <a:r>
              <a:rPr kumimoji="1" lang="zh-CN" altLang="en-US" sz="1500" b="1" kern="0" spc="300" dirty="0">
                <a:solidFill>
                  <a:srgbClr val="C00000"/>
                </a:solidFill>
                <a:latin typeface="+mn-ea"/>
              </a:rPr>
              <a:t>维度</a:t>
            </a:r>
            <a:r>
              <a:rPr kumimoji="1" lang="en-US" altLang="zh-CN" sz="1500" b="1" kern="0" spc="300" dirty="0">
                <a:solidFill>
                  <a:srgbClr val="C00000"/>
                </a:solidFill>
                <a:latin typeface="+mn-ea"/>
              </a:rPr>
              <a:t>/</a:t>
            </a:r>
          </a:p>
          <a:p>
            <a:pPr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rPr>
              <a:t>以消费者为辐射中心，在不同的消费半径，有不同的消费场景，商家基于用户需求，设计消费场景，及不同的物流交付产品及后端供应链支持。</a:t>
            </a:r>
          </a:p>
        </p:txBody>
      </p:sp>
      <p:cxnSp>
        <p:nvCxnSpPr>
          <p:cNvPr id="28" name="直线连接符 46"/>
          <p:cNvCxnSpPr>
            <a:cxnSpLocks/>
          </p:cNvCxnSpPr>
          <p:nvPr/>
        </p:nvCxnSpPr>
        <p:spPr>
          <a:xfrm>
            <a:off x="6187857" y="2379947"/>
            <a:ext cx="0" cy="4095207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sp>
        <p:nvSpPr>
          <p:cNvPr id="29" name="虚尾箭头 28">
            <a:extLst>
              <a:ext uri="{FF2B5EF4-FFF2-40B4-BE49-F238E27FC236}">
                <a16:creationId xmlns:a16="http://schemas.microsoft.com/office/drawing/2014/main" id="{75F99574-6EA9-D84C-95A1-AC679BA49543}"/>
              </a:ext>
            </a:extLst>
          </p:cNvPr>
          <p:cNvSpPr/>
          <p:nvPr/>
        </p:nvSpPr>
        <p:spPr>
          <a:xfrm>
            <a:off x="5683547" y="1926535"/>
            <a:ext cx="633711" cy="309324"/>
          </a:xfrm>
          <a:prstGeom prst="stripedRightArrow">
            <a:avLst/>
          </a:prstGeom>
          <a:gradFill flip="none" rotWithShape="1">
            <a:gsLst>
              <a:gs pos="50000">
                <a:srgbClr val="D2B7B6"/>
              </a:gs>
              <a:gs pos="0">
                <a:schemeClr val="bg1">
                  <a:lumMod val="75000"/>
                </a:schemeClr>
              </a:gs>
              <a:gs pos="100000">
                <a:srgbClr val="CA352D">
                  <a:lumMod val="40000"/>
                  <a:lumOff val="60000"/>
                </a:srgbClr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/>
            <a:endParaRPr kumimoji="1" lang="zh-CN" altLang="en-US" sz="2400" kern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37" name="弧 238"/>
          <p:cNvSpPr/>
          <p:nvPr/>
        </p:nvSpPr>
        <p:spPr>
          <a:xfrm>
            <a:off x="9076949" y="3190225"/>
            <a:ext cx="2925616" cy="2925616"/>
          </a:xfrm>
          <a:prstGeom prst="arc">
            <a:avLst>
              <a:gd name="adj1" fmla="val 8924151"/>
              <a:gd name="adj2" fmla="val 12723305"/>
            </a:avLst>
          </a:prstGeom>
          <a:noFill/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32">
              <a:defRPr/>
            </a:pPr>
            <a:endParaRPr kumimoji="1" lang="zh-CN" altLang="en-US" sz="2400" kern="0">
              <a:solidFill>
                <a:srgbClr val="000000"/>
              </a:solidFill>
              <a:latin typeface="+mn-ea"/>
            </a:endParaRPr>
          </a:p>
        </p:txBody>
      </p:sp>
      <p:grpSp>
        <p:nvGrpSpPr>
          <p:cNvPr id="79" name="组合 78"/>
          <p:cNvGrpSpPr/>
          <p:nvPr/>
        </p:nvGrpSpPr>
        <p:grpSpPr>
          <a:xfrm>
            <a:off x="6531564" y="3088297"/>
            <a:ext cx="5149365" cy="2480144"/>
            <a:chOff x="4720079" y="2350081"/>
            <a:chExt cx="3862024" cy="1860108"/>
          </a:xfrm>
        </p:grpSpPr>
        <p:sp>
          <p:nvSpPr>
            <p:cNvPr id="31" name="椭圆 30"/>
            <p:cNvSpPr/>
            <p:nvPr/>
          </p:nvSpPr>
          <p:spPr>
            <a:xfrm>
              <a:off x="6439111" y="2571832"/>
              <a:ext cx="1638357" cy="1638357"/>
            </a:xfrm>
            <a:prstGeom prst="ellipse">
              <a:avLst/>
            </a:prstGeom>
            <a:solidFill>
              <a:srgbClr val="3F5468">
                <a:lumMod val="20000"/>
                <a:lumOff val="80000"/>
                <a:alpha val="24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1400" kern="0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32" name="文本框 31"/>
            <p:cNvSpPr txBox="1"/>
            <p:nvPr/>
          </p:nvSpPr>
          <p:spPr>
            <a:xfrm>
              <a:off x="6992861" y="2630160"/>
              <a:ext cx="484748" cy="2354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2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n-ea"/>
                </a:rPr>
                <a:t>补货圈</a:t>
              </a:r>
              <a:endParaRPr kumimoji="1" lang="en-US" altLang="zh-CN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ea"/>
              </a:endParaRPr>
            </a:p>
          </p:txBody>
        </p:sp>
        <p:sp>
          <p:nvSpPr>
            <p:cNvPr id="33" name="右箭头 32"/>
            <p:cNvSpPr/>
            <p:nvPr/>
          </p:nvSpPr>
          <p:spPr>
            <a:xfrm>
              <a:off x="4730573" y="3466511"/>
              <a:ext cx="3472573" cy="56260"/>
            </a:xfrm>
            <a:prstGeom prst="rightArrow">
              <a:avLst>
                <a:gd name="adj1" fmla="val 39319"/>
                <a:gd name="adj2" fmla="val 50000"/>
              </a:avLst>
            </a:prstGeom>
            <a:solidFill>
              <a:srgbClr val="FFFFFF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34" name="Freeform 22"/>
            <p:cNvSpPr>
              <a:spLocks noEditPoints="1"/>
            </p:cNvSpPr>
            <p:nvPr/>
          </p:nvSpPr>
          <p:spPr bwMode="auto">
            <a:xfrm>
              <a:off x="8260522" y="3306394"/>
              <a:ext cx="235349" cy="234830"/>
            </a:xfrm>
            <a:custGeom>
              <a:avLst/>
              <a:gdLst>
                <a:gd name="T0" fmla="*/ 118 w 191"/>
                <a:gd name="T1" fmla="*/ 93 h 191"/>
                <a:gd name="T2" fmla="*/ 61 w 191"/>
                <a:gd name="T3" fmla="*/ 93 h 191"/>
                <a:gd name="T4" fmla="*/ 0 w 191"/>
                <a:gd name="T5" fmla="*/ 151 h 191"/>
                <a:gd name="T6" fmla="*/ 0 w 191"/>
                <a:gd name="T7" fmla="*/ 156 h 191"/>
                <a:gd name="T8" fmla="*/ 14 w 191"/>
                <a:gd name="T9" fmla="*/ 170 h 191"/>
                <a:gd name="T10" fmla="*/ 113 w 191"/>
                <a:gd name="T11" fmla="*/ 170 h 191"/>
                <a:gd name="T12" fmla="*/ 111 w 191"/>
                <a:gd name="T13" fmla="*/ 155 h 191"/>
                <a:gd name="T14" fmla="*/ 155 w 191"/>
                <a:gd name="T15" fmla="*/ 110 h 191"/>
                <a:gd name="T16" fmla="*/ 160 w 191"/>
                <a:gd name="T17" fmla="*/ 110 h 191"/>
                <a:gd name="T18" fmla="*/ 118 w 191"/>
                <a:gd name="T19" fmla="*/ 93 h 191"/>
                <a:gd name="T20" fmla="*/ 89 w 191"/>
                <a:gd name="T21" fmla="*/ 0 h 191"/>
                <a:gd name="T22" fmla="*/ 47 w 191"/>
                <a:gd name="T23" fmla="*/ 42 h 191"/>
                <a:gd name="T24" fmla="*/ 89 w 191"/>
                <a:gd name="T25" fmla="*/ 85 h 191"/>
                <a:gd name="T26" fmla="*/ 132 w 191"/>
                <a:gd name="T27" fmla="*/ 42 h 191"/>
                <a:gd name="T28" fmla="*/ 89 w 191"/>
                <a:gd name="T29" fmla="*/ 0 h 191"/>
                <a:gd name="T30" fmla="*/ 155 w 191"/>
                <a:gd name="T31" fmla="*/ 119 h 191"/>
                <a:gd name="T32" fmla="*/ 119 w 191"/>
                <a:gd name="T33" fmla="*/ 155 h 191"/>
                <a:gd name="T34" fmla="*/ 155 w 191"/>
                <a:gd name="T35" fmla="*/ 191 h 191"/>
                <a:gd name="T36" fmla="*/ 191 w 191"/>
                <a:gd name="T37" fmla="*/ 155 h 191"/>
                <a:gd name="T38" fmla="*/ 155 w 191"/>
                <a:gd name="T39" fmla="*/ 119 h 191"/>
                <a:gd name="T40" fmla="*/ 176 w 191"/>
                <a:gd name="T41" fmla="*/ 148 h 191"/>
                <a:gd name="T42" fmla="*/ 152 w 191"/>
                <a:gd name="T43" fmla="*/ 171 h 191"/>
                <a:gd name="T44" fmla="*/ 146 w 191"/>
                <a:gd name="T45" fmla="*/ 171 h 191"/>
                <a:gd name="T46" fmla="*/ 135 w 191"/>
                <a:gd name="T47" fmla="*/ 159 h 191"/>
                <a:gd name="T48" fmla="*/ 135 w 191"/>
                <a:gd name="T49" fmla="*/ 153 h 191"/>
                <a:gd name="T50" fmla="*/ 138 w 191"/>
                <a:gd name="T51" fmla="*/ 150 h 191"/>
                <a:gd name="T52" fmla="*/ 144 w 191"/>
                <a:gd name="T53" fmla="*/ 150 h 191"/>
                <a:gd name="T54" fmla="*/ 149 w 191"/>
                <a:gd name="T55" fmla="*/ 156 h 191"/>
                <a:gd name="T56" fmla="*/ 167 w 191"/>
                <a:gd name="T57" fmla="*/ 139 h 191"/>
                <a:gd name="T58" fmla="*/ 173 w 191"/>
                <a:gd name="T59" fmla="*/ 139 h 191"/>
                <a:gd name="T60" fmla="*/ 176 w 191"/>
                <a:gd name="T61" fmla="*/ 142 h 191"/>
                <a:gd name="T62" fmla="*/ 176 w 191"/>
                <a:gd name="T63" fmla="*/ 148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1" h="191">
                  <a:moveTo>
                    <a:pt x="118" y="93"/>
                  </a:moveTo>
                  <a:cubicBezTo>
                    <a:pt x="61" y="93"/>
                    <a:pt x="61" y="93"/>
                    <a:pt x="61" y="93"/>
                  </a:cubicBezTo>
                  <a:cubicBezTo>
                    <a:pt x="30" y="93"/>
                    <a:pt x="0" y="120"/>
                    <a:pt x="0" y="151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63"/>
                    <a:pt x="6" y="170"/>
                    <a:pt x="14" y="170"/>
                  </a:cubicBezTo>
                  <a:cubicBezTo>
                    <a:pt x="113" y="170"/>
                    <a:pt x="113" y="170"/>
                    <a:pt x="113" y="170"/>
                  </a:cubicBezTo>
                  <a:cubicBezTo>
                    <a:pt x="111" y="165"/>
                    <a:pt x="111" y="160"/>
                    <a:pt x="111" y="155"/>
                  </a:cubicBezTo>
                  <a:cubicBezTo>
                    <a:pt x="111" y="130"/>
                    <a:pt x="131" y="110"/>
                    <a:pt x="155" y="110"/>
                  </a:cubicBezTo>
                  <a:cubicBezTo>
                    <a:pt x="157" y="110"/>
                    <a:pt x="158" y="110"/>
                    <a:pt x="160" y="110"/>
                  </a:cubicBezTo>
                  <a:cubicBezTo>
                    <a:pt x="149" y="100"/>
                    <a:pt x="133" y="93"/>
                    <a:pt x="118" y="93"/>
                  </a:cubicBezTo>
                  <a:close/>
                  <a:moveTo>
                    <a:pt x="89" y="0"/>
                  </a:moveTo>
                  <a:cubicBezTo>
                    <a:pt x="66" y="0"/>
                    <a:pt x="47" y="19"/>
                    <a:pt x="47" y="42"/>
                  </a:cubicBezTo>
                  <a:cubicBezTo>
                    <a:pt x="47" y="66"/>
                    <a:pt x="66" y="85"/>
                    <a:pt x="89" y="85"/>
                  </a:cubicBezTo>
                  <a:cubicBezTo>
                    <a:pt x="113" y="85"/>
                    <a:pt x="132" y="66"/>
                    <a:pt x="132" y="42"/>
                  </a:cubicBezTo>
                  <a:cubicBezTo>
                    <a:pt x="132" y="19"/>
                    <a:pt x="113" y="0"/>
                    <a:pt x="89" y="0"/>
                  </a:cubicBezTo>
                  <a:close/>
                  <a:moveTo>
                    <a:pt x="155" y="119"/>
                  </a:moveTo>
                  <a:cubicBezTo>
                    <a:pt x="135" y="119"/>
                    <a:pt x="119" y="135"/>
                    <a:pt x="119" y="155"/>
                  </a:cubicBezTo>
                  <a:cubicBezTo>
                    <a:pt x="119" y="175"/>
                    <a:pt x="135" y="191"/>
                    <a:pt x="155" y="191"/>
                  </a:cubicBezTo>
                  <a:cubicBezTo>
                    <a:pt x="175" y="191"/>
                    <a:pt x="191" y="175"/>
                    <a:pt x="191" y="155"/>
                  </a:cubicBezTo>
                  <a:cubicBezTo>
                    <a:pt x="191" y="135"/>
                    <a:pt x="175" y="119"/>
                    <a:pt x="155" y="119"/>
                  </a:cubicBezTo>
                  <a:close/>
                  <a:moveTo>
                    <a:pt x="176" y="148"/>
                  </a:moveTo>
                  <a:cubicBezTo>
                    <a:pt x="152" y="171"/>
                    <a:pt x="152" y="171"/>
                    <a:pt x="152" y="171"/>
                  </a:cubicBezTo>
                  <a:cubicBezTo>
                    <a:pt x="151" y="173"/>
                    <a:pt x="148" y="173"/>
                    <a:pt x="146" y="171"/>
                  </a:cubicBezTo>
                  <a:cubicBezTo>
                    <a:pt x="135" y="159"/>
                    <a:pt x="135" y="159"/>
                    <a:pt x="135" y="159"/>
                  </a:cubicBezTo>
                  <a:cubicBezTo>
                    <a:pt x="133" y="158"/>
                    <a:pt x="133" y="155"/>
                    <a:pt x="135" y="153"/>
                  </a:cubicBezTo>
                  <a:cubicBezTo>
                    <a:pt x="138" y="150"/>
                    <a:pt x="138" y="150"/>
                    <a:pt x="138" y="150"/>
                  </a:cubicBezTo>
                  <a:cubicBezTo>
                    <a:pt x="139" y="149"/>
                    <a:pt x="142" y="149"/>
                    <a:pt x="144" y="150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67" y="139"/>
                    <a:pt x="167" y="139"/>
                    <a:pt x="167" y="139"/>
                  </a:cubicBezTo>
                  <a:cubicBezTo>
                    <a:pt x="168" y="137"/>
                    <a:pt x="171" y="137"/>
                    <a:pt x="173" y="139"/>
                  </a:cubicBezTo>
                  <a:cubicBezTo>
                    <a:pt x="176" y="142"/>
                    <a:pt x="176" y="142"/>
                    <a:pt x="176" y="142"/>
                  </a:cubicBezTo>
                  <a:cubicBezTo>
                    <a:pt x="177" y="143"/>
                    <a:pt x="177" y="146"/>
                    <a:pt x="176" y="148"/>
                  </a:cubicBezTo>
                  <a:close/>
                </a:path>
              </a:pathLst>
            </a:custGeom>
            <a:solidFill>
              <a:srgbClr val="CA352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zh-CN" altLang="en-US" sz="1100" kern="0">
                <a:solidFill>
                  <a:prstClr val="black"/>
                </a:solidFill>
                <a:latin typeface="+mn-ea"/>
                <a:cs typeface="SimHei" charset="-122"/>
              </a:endParaRP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8174299" y="3500683"/>
              <a:ext cx="407804" cy="26314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CA352D"/>
                  </a:solidFill>
                  <a:latin typeface="+mn-ea"/>
                  <a:cs typeface="SimHei" charset="-122"/>
                </a:rPr>
                <a:t>用户</a:t>
              </a:r>
            </a:p>
          </p:txBody>
        </p:sp>
        <p:sp>
          <p:nvSpPr>
            <p:cNvPr id="36" name="弧 237"/>
            <p:cNvSpPr/>
            <p:nvPr/>
          </p:nvSpPr>
          <p:spPr>
            <a:xfrm>
              <a:off x="7463467" y="3048424"/>
              <a:ext cx="882704" cy="882704"/>
            </a:xfrm>
            <a:prstGeom prst="arc">
              <a:avLst>
                <a:gd name="adj1" fmla="val 8906924"/>
                <a:gd name="adj2" fmla="val 12531895"/>
              </a:avLst>
            </a:prstGeom>
            <a:noFill/>
            <a:ln w="635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000000"/>
                </a:solidFill>
                <a:latin typeface="+mn-ea"/>
              </a:endParaRPr>
            </a:p>
          </p:txBody>
        </p:sp>
        <p:sp>
          <p:nvSpPr>
            <p:cNvPr id="38" name="文本框 37"/>
            <p:cNvSpPr txBox="1"/>
            <p:nvPr/>
          </p:nvSpPr>
          <p:spPr>
            <a:xfrm>
              <a:off x="7451270" y="3490578"/>
              <a:ext cx="413071" cy="457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en-US" altLang="zh-CN" sz="1400" b="1" kern="0" dirty="0">
                  <a:solidFill>
                    <a:srgbClr val="CA352D"/>
                  </a:solidFill>
                  <a:latin typeface="+mn-ea"/>
                  <a:cs typeface="SimHei" charset="-122"/>
                </a:rPr>
                <a:t>1km</a:t>
              </a:r>
              <a:endParaRPr kumimoji="1" lang="zh-CN" altLang="en-US" sz="1400" b="1" kern="0" dirty="0">
                <a:solidFill>
                  <a:srgbClr val="CA352D"/>
                </a:solidFill>
                <a:latin typeface="+mn-ea"/>
                <a:cs typeface="SimHei" charset="-122"/>
              </a:endParaRP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6795515" y="3490579"/>
              <a:ext cx="43425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en-US" altLang="zh-CN" sz="1400" b="1" kern="0" dirty="0">
                  <a:solidFill>
                    <a:srgbClr val="CA352D"/>
                  </a:solidFill>
                  <a:latin typeface="+mn-ea"/>
                  <a:cs typeface="SimHei" charset="-122"/>
                </a:rPr>
                <a:t>3km</a:t>
              </a:r>
              <a:endParaRPr kumimoji="1" lang="zh-CN" altLang="en-US" sz="1400" b="1" kern="0" dirty="0">
                <a:solidFill>
                  <a:srgbClr val="CA352D"/>
                </a:solidFill>
                <a:latin typeface="+mn-ea"/>
                <a:cs typeface="SimHei" charset="-122"/>
              </a:endParaRPr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5585101" y="3490579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CA352D"/>
                  </a:solidFill>
                  <a:latin typeface="+mn-ea"/>
                  <a:cs typeface="SimHei" charset="-122"/>
                </a:rPr>
                <a:t>同城</a:t>
              </a:r>
            </a:p>
          </p:txBody>
        </p:sp>
        <p:sp>
          <p:nvSpPr>
            <p:cNvPr id="41" name="文本框 40"/>
            <p:cNvSpPr txBox="1"/>
            <p:nvPr/>
          </p:nvSpPr>
          <p:spPr>
            <a:xfrm>
              <a:off x="4720079" y="2823224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prstClr val="white">
                      <a:lumMod val="65000"/>
                    </a:prstClr>
                  </a:solidFill>
                  <a:latin typeface="+mn-ea"/>
                </a:rPr>
                <a:t>库存</a:t>
              </a:r>
            </a:p>
          </p:txBody>
        </p:sp>
        <p:sp>
          <p:nvSpPr>
            <p:cNvPr id="42" name="文本框 41"/>
            <p:cNvSpPr txBox="1"/>
            <p:nvPr/>
          </p:nvSpPr>
          <p:spPr>
            <a:xfrm>
              <a:off x="4720079" y="3835676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prstClr val="white">
                      <a:lumMod val="65000"/>
                    </a:prstClr>
                  </a:solidFill>
                  <a:latin typeface="+mn-ea"/>
                </a:rPr>
                <a:t>运输</a:t>
              </a:r>
            </a:p>
          </p:txBody>
        </p:sp>
        <p:sp>
          <p:nvSpPr>
            <p:cNvPr id="43" name="Freeform 155"/>
            <p:cNvSpPr>
              <a:spLocks noEditPoints="1"/>
            </p:cNvSpPr>
            <p:nvPr/>
          </p:nvSpPr>
          <p:spPr bwMode="auto">
            <a:xfrm>
              <a:off x="7847950" y="3766841"/>
              <a:ext cx="164765" cy="180005"/>
            </a:xfrm>
            <a:custGeom>
              <a:avLst/>
              <a:gdLst>
                <a:gd name="T0" fmla="*/ 18 w 73"/>
                <a:gd name="T1" fmla="*/ 59 h 80"/>
                <a:gd name="T2" fmla="*/ 33 w 73"/>
                <a:gd name="T3" fmla="*/ 59 h 80"/>
                <a:gd name="T4" fmla="*/ 33 w 73"/>
                <a:gd name="T5" fmla="*/ 66 h 80"/>
                <a:gd name="T6" fmla="*/ 50 w 73"/>
                <a:gd name="T7" fmla="*/ 66 h 80"/>
                <a:gd name="T8" fmla="*/ 50 w 73"/>
                <a:gd name="T9" fmla="*/ 59 h 80"/>
                <a:gd name="T10" fmla="*/ 63 w 73"/>
                <a:gd name="T11" fmla="*/ 59 h 80"/>
                <a:gd name="T12" fmla="*/ 73 w 73"/>
                <a:gd name="T13" fmla="*/ 80 h 80"/>
                <a:gd name="T14" fmla="*/ 11 w 73"/>
                <a:gd name="T15" fmla="*/ 80 h 80"/>
                <a:gd name="T16" fmla="*/ 18 w 73"/>
                <a:gd name="T17" fmla="*/ 59 h 80"/>
                <a:gd name="T18" fmla="*/ 12 w 73"/>
                <a:gd name="T19" fmla="*/ 30 h 80"/>
                <a:gd name="T20" fmla="*/ 0 w 73"/>
                <a:gd name="T21" fmla="*/ 30 h 80"/>
                <a:gd name="T22" fmla="*/ 0 w 73"/>
                <a:gd name="T23" fmla="*/ 23 h 80"/>
                <a:gd name="T24" fmla="*/ 13 w 73"/>
                <a:gd name="T25" fmla="*/ 22 h 80"/>
                <a:gd name="T26" fmla="*/ 41 w 73"/>
                <a:gd name="T27" fmla="*/ 0 h 80"/>
                <a:gd name="T28" fmla="*/ 70 w 73"/>
                <a:gd name="T29" fmla="*/ 29 h 80"/>
                <a:gd name="T30" fmla="*/ 70 w 73"/>
                <a:gd name="T31" fmla="*/ 30 h 80"/>
                <a:gd name="T32" fmla="*/ 66 w 73"/>
                <a:gd name="T33" fmla="*/ 30 h 80"/>
                <a:gd name="T34" fmla="*/ 59 w 73"/>
                <a:gd name="T35" fmla="*/ 47 h 80"/>
                <a:gd name="T36" fmla="*/ 40 w 73"/>
                <a:gd name="T37" fmla="*/ 55 h 80"/>
                <a:gd name="T38" fmla="*/ 22 w 73"/>
                <a:gd name="T39" fmla="*/ 47 h 80"/>
                <a:gd name="T40" fmla="*/ 14 w 73"/>
                <a:gd name="T41" fmla="*/ 30 h 80"/>
                <a:gd name="T42" fmla="*/ 12 w 73"/>
                <a:gd name="T43" fmla="*/ 30 h 80"/>
                <a:gd name="T44" fmla="*/ 59 w 73"/>
                <a:gd name="T45" fmla="*/ 30 h 80"/>
                <a:gd name="T46" fmla="*/ 35 w 73"/>
                <a:gd name="T47" fmla="*/ 30 h 80"/>
                <a:gd name="T48" fmla="*/ 22 w 73"/>
                <a:gd name="T49" fmla="*/ 30 h 80"/>
                <a:gd name="T50" fmla="*/ 27 w 73"/>
                <a:gd name="T51" fmla="*/ 42 h 80"/>
                <a:gd name="T52" fmla="*/ 40 w 73"/>
                <a:gd name="T53" fmla="*/ 47 h 80"/>
                <a:gd name="T54" fmla="*/ 53 w 73"/>
                <a:gd name="T55" fmla="*/ 42 h 80"/>
                <a:gd name="T56" fmla="*/ 59 w 73"/>
                <a:gd name="T57" fmla="*/ 3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3" h="80">
                  <a:moveTo>
                    <a:pt x="18" y="59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8" y="59"/>
                    <a:pt x="18" y="59"/>
                    <a:pt x="18" y="59"/>
                  </a:cubicBezTo>
                  <a:close/>
                  <a:moveTo>
                    <a:pt x="12" y="30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6" y="9"/>
                    <a:pt x="27" y="0"/>
                    <a:pt x="41" y="0"/>
                  </a:cubicBezTo>
                  <a:cubicBezTo>
                    <a:pt x="57" y="0"/>
                    <a:pt x="70" y="13"/>
                    <a:pt x="70" y="29"/>
                  </a:cubicBezTo>
                  <a:cubicBezTo>
                    <a:pt x="70" y="29"/>
                    <a:pt x="70" y="29"/>
                    <a:pt x="70" y="30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7"/>
                    <a:pt x="63" y="43"/>
                    <a:pt x="59" y="47"/>
                  </a:cubicBezTo>
                  <a:cubicBezTo>
                    <a:pt x="54" y="52"/>
                    <a:pt x="47" y="55"/>
                    <a:pt x="40" y="55"/>
                  </a:cubicBezTo>
                  <a:cubicBezTo>
                    <a:pt x="33" y="55"/>
                    <a:pt x="26" y="52"/>
                    <a:pt x="22" y="47"/>
                  </a:cubicBezTo>
                  <a:cubicBezTo>
                    <a:pt x="17" y="43"/>
                    <a:pt x="14" y="37"/>
                    <a:pt x="14" y="30"/>
                  </a:cubicBezTo>
                  <a:cubicBezTo>
                    <a:pt x="12" y="30"/>
                    <a:pt x="12" y="30"/>
                    <a:pt x="12" y="30"/>
                  </a:cubicBezTo>
                  <a:close/>
                  <a:moveTo>
                    <a:pt x="59" y="30"/>
                  </a:moveTo>
                  <a:cubicBezTo>
                    <a:pt x="35" y="30"/>
                    <a:pt x="35" y="30"/>
                    <a:pt x="35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4"/>
                    <a:pt x="24" y="39"/>
                    <a:pt x="27" y="42"/>
                  </a:cubicBezTo>
                  <a:cubicBezTo>
                    <a:pt x="30" y="45"/>
                    <a:pt x="35" y="47"/>
                    <a:pt x="40" y="47"/>
                  </a:cubicBezTo>
                  <a:cubicBezTo>
                    <a:pt x="45" y="47"/>
                    <a:pt x="50" y="45"/>
                    <a:pt x="53" y="42"/>
                  </a:cubicBezTo>
                  <a:cubicBezTo>
                    <a:pt x="57" y="39"/>
                    <a:pt x="59" y="34"/>
                    <a:pt x="59" y="3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1219140">
                <a:defRPr/>
              </a:pPr>
              <a:r>
                <a:rPr lang="en-US" altLang="zh-CN" sz="1200" kern="0" dirty="0">
                  <a:solidFill>
                    <a:srgbClr val="ED7D31"/>
                  </a:solidFill>
                  <a:latin typeface="+mn-ea"/>
                  <a:cs typeface="SimHei" charset="-122"/>
                </a:rPr>
                <a:t> </a:t>
              </a:r>
              <a:endParaRPr lang="zh-CN" altLang="en-US" sz="1200" kern="0" dirty="0">
                <a:solidFill>
                  <a:srgbClr val="ED7D31"/>
                </a:solidFill>
                <a:latin typeface="+mn-ea"/>
                <a:cs typeface="SimHei" charset="-122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7573750" y="3898762"/>
              <a:ext cx="713176" cy="2216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骑士</a:t>
              </a:r>
              <a:r>
                <a:rPr kumimoji="1" lang="en-US" altLang="zh-CN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/</a:t>
              </a:r>
              <a:r>
                <a:rPr kumimoji="1" lang="zh-CN" altLang="en-US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快递员</a:t>
              </a:r>
            </a:p>
          </p:txBody>
        </p:sp>
        <p:sp>
          <p:nvSpPr>
            <p:cNvPr id="45" name="Freeform 129"/>
            <p:cNvSpPr>
              <a:spLocks noEditPoints="1"/>
            </p:cNvSpPr>
            <p:nvPr/>
          </p:nvSpPr>
          <p:spPr bwMode="auto">
            <a:xfrm>
              <a:off x="6124658" y="3761660"/>
              <a:ext cx="191406" cy="176319"/>
            </a:xfrm>
            <a:custGeom>
              <a:avLst/>
              <a:gdLst>
                <a:gd name="T0" fmla="*/ 54 w 86"/>
                <a:gd name="T1" fmla="*/ 10 h 79"/>
                <a:gd name="T2" fmla="*/ 63 w 86"/>
                <a:gd name="T3" fmla="*/ 38 h 79"/>
                <a:gd name="T4" fmla="*/ 55 w 86"/>
                <a:gd name="T5" fmla="*/ 32 h 79"/>
                <a:gd name="T6" fmla="*/ 32 w 86"/>
                <a:gd name="T7" fmla="*/ 9 h 79"/>
                <a:gd name="T8" fmla="*/ 8 w 86"/>
                <a:gd name="T9" fmla="*/ 32 h 79"/>
                <a:gd name="T10" fmla="*/ 16 w 86"/>
                <a:gd name="T11" fmla="*/ 50 h 79"/>
                <a:gd name="T12" fmla="*/ 9 w 86"/>
                <a:gd name="T13" fmla="*/ 55 h 79"/>
                <a:gd name="T14" fmla="*/ 9 w 86"/>
                <a:gd name="T15" fmla="*/ 10 h 79"/>
                <a:gd name="T16" fmla="*/ 84 w 86"/>
                <a:gd name="T17" fmla="*/ 61 h 79"/>
                <a:gd name="T18" fmla="*/ 68 w 86"/>
                <a:gd name="T19" fmla="*/ 51 h 79"/>
                <a:gd name="T20" fmla="*/ 67 w 86"/>
                <a:gd name="T21" fmla="*/ 50 h 79"/>
                <a:gd name="T22" fmla="*/ 54 w 86"/>
                <a:gd name="T23" fmla="*/ 47 h 79"/>
                <a:gd name="T24" fmla="*/ 23 w 86"/>
                <a:gd name="T25" fmla="*/ 52 h 79"/>
                <a:gd name="T26" fmla="*/ 25 w 86"/>
                <a:gd name="T27" fmla="*/ 73 h 79"/>
                <a:gd name="T28" fmla="*/ 29 w 86"/>
                <a:gd name="T29" fmla="*/ 77 h 79"/>
                <a:gd name="T30" fmla="*/ 40 w 86"/>
                <a:gd name="T31" fmla="*/ 77 h 79"/>
                <a:gd name="T32" fmla="*/ 64 w 86"/>
                <a:gd name="T33" fmla="*/ 73 h 79"/>
                <a:gd name="T34" fmla="*/ 72 w 86"/>
                <a:gd name="T35" fmla="*/ 79 h 79"/>
                <a:gd name="T36" fmla="*/ 80 w 86"/>
                <a:gd name="T37" fmla="*/ 73 h 79"/>
                <a:gd name="T38" fmla="*/ 84 w 86"/>
                <a:gd name="T39" fmla="*/ 73 h 79"/>
                <a:gd name="T40" fmla="*/ 86 w 86"/>
                <a:gd name="T41" fmla="*/ 68 h 79"/>
                <a:gd name="T42" fmla="*/ 84 w 86"/>
                <a:gd name="T43" fmla="*/ 61 h 79"/>
                <a:gd name="T44" fmla="*/ 35 w 86"/>
                <a:gd name="T45" fmla="*/ 67 h 79"/>
                <a:gd name="T46" fmla="*/ 39 w 86"/>
                <a:gd name="T47" fmla="*/ 71 h 79"/>
                <a:gd name="T48" fmla="*/ 35 w 86"/>
                <a:gd name="T49" fmla="*/ 75 h 79"/>
                <a:gd name="T50" fmla="*/ 30 w 86"/>
                <a:gd name="T51" fmla="*/ 71 h 79"/>
                <a:gd name="T52" fmla="*/ 69 w 86"/>
                <a:gd name="T53" fmla="*/ 68 h 79"/>
                <a:gd name="T54" fmla="*/ 75 w 86"/>
                <a:gd name="T55" fmla="*/ 68 h 79"/>
                <a:gd name="T56" fmla="*/ 75 w 86"/>
                <a:gd name="T57" fmla="*/ 74 h 79"/>
                <a:gd name="T58" fmla="*/ 69 w 86"/>
                <a:gd name="T59" fmla="*/ 74 h 79"/>
                <a:gd name="T60" fmla="*/ 69 w 86"/>
                <a:gd name="T61" fmla="*/ 68 h 79"/>
                <a:gd name="T62" fmla="*/ 66 w 86"/>
                <a:gd name="T63" fmla="*/ 53 h 79"/>
                <a:gd name="T64" fmla="*/ 56 w 86"/>
                <a:gd name="T65" fmla="*/ 59 h 79"/>
                <a:gd name="T66" fmla="*/ 19 w 86"/>
                <a:gd name="T67" fmla="*/ 24 h 79"/>
                <a:gd name="T68" fmla="*/ 28 w 86"/>
                <a:gd name="T69" fmla="*/ 35 h 79"/>
                <a:gd name="T70" fmla="*/ 28 w 86"/>
                <a:gd name="T71" fmla="*/ 39 h 79"/>
                <a:gd name="T72" fmla="*/ 34 w 86"/>
                <a:gd name="T73" fmla="*/ 40 h 79"/>
                <a:gd name="T74" fmla="*/ 37 w 86"/>
                <a:gd name="T75" fmla="*/ 42 h 79"/>
                <a:gd name="T76" fmla="*/ 37 w 86"/>
                <a:gd name="T77" fmla="*/ 38 h 79"/>
                <a:gd name="T78" fmla="*/ 37 w 86"/>
                <a:gd name="T79" fmla="*/ 33 h 79"/>
                <a:gd name="T80" fmla="*/ 36 w 86"/>
                <a:gd name="T81" fmla="*/ 21 h 79"/>
                <a:gd name="T82" fmla="*/ 30 w 86"/>
                <a:gd name="T83" fmla="*/ 31 h 79"/>
                <a:gd name="T84" fmla="*/ 19 w 86"/>
                <a:gd name="T85" fmla="*/ 2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6" h="79">
                  <a:moveTo>
                    <a:pt x="32" y="0"/>
                  </a:moveTo>
                  <a:cubicBezTo>
                    <a:pt x="41" y="0"/>
                    <a:pt x="49" y="4"/>
                    <a:pt x="54" y="10"/>
                  </a:cubicBezTo>
                  <a:cubicBezTo>
                    <a:pt x="60" y="15"/>
                    <a:pt x="64" y="23"/>
                    <a:pt x="64" y="32"/>
                  </a:cubicBezTo>
                  <a:cubicBezTo>
                    <a:pt x="64" y="34"/>
                    <a:pt x="63" y="36"/>
                    <a:pt x="63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6"/>
                    <a:pt x="55" y="34"/>
                    <a:pt x="55" y="32"/>
                  </a:cubicBezTo>
                  <a:cubicBezTo>
                    <a:pt x="55" y="26"/>
                    <a:pt x="53" y="20"/>
                    <a:pt x="48" y="16"/>
                  </a:cubicBezTo>
                  <a:cubicBezTo>
                    <a:pt x="44" y="11"/>
                    <a:pt x="38" y="9"/>
                    <a:pt x="32" y="9"/>
                  </a:cubicBezTo>
                  <a:cubicBezTo>
                    <a:pt x="25" y="9"/>
                    <a:pt x="19" y="11"/>
                    <a:pt x="15" y="16"/>
                  </a:cubicBezTo>
                  <a:cubicBezTo>
                    <a:pt x="11" y="20"/>
                    <a:pt x="8" y="26"/>
                    <a:pt x="8" y="32"/>
                  </a:cubicBezTo>
                  <a:cubicBezTo>
                    <a:pt x="8" y="39"/>
                    <a:pt x="11" y="45"/>
                    <a:pt x="15" y="49"/>
                  </a:cubicBezTo>
                  <a:cubicBezTo>
                    <a:pt x="16" y="49"/>
                    <a:pt x="16" y="50"/>
                    <a:pt x="16" y="5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4" y="59"/>
                    <a:pt x="11" y="57"/>
                    <a:pt x="9" y="55"/>
                  </a:cubicBezTo>
                  <a:cubicBezTo>
                    <a:pt x="4" y="49"/>
                    <a:pt x="0" y="41"/>
                    <a:pt x="0" y="32"/>
                  </a:cubicBezTo>
                  <a:cubicBezTo>
                    <a:pt x="0" y="23"/>
                    <a:pt x="4" y="15"/>
                    <a:pt x="9" y="10"/>
                  </a:cubicBezTo>
                  <a:cubicBezTo>
                    <a:pt x="15" y="4"/>
                    <a:pt x="23" y="0"/>
                    <a:pt x="32" y="0"/>
                  </a:cubicBezTo>
                  <a:close/>
                  <a:moveTo>
                    <a:pt x="84" y="61"/>
                  </a:moveTo>
                  <a:cubicBezTo>
                    <a:pt x="72" y="59"/>
                    <a:pt x="72" y="59"/>
                    <a:pt x="72" y="59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5"/>
                    <a:pt x="28" y="76"/>
                    <a:pt x="29" y="77"/>
                  </a:cubicBezTo>
                  <a:cubicBezTo>
                    <a:pt x="30" y="78"/>
                    <a:pt x="32" y="79"/>
                    <a:pt x="35" y="79"/>
                  </a:cubicBezTo>
                  <a:cubicBezTo>
                    <a:pt x="37" y="79"/>
                    <a:pt x="39" y="78"/>
                    <a:pt x="40" y="77"/>
                  </a:cubicBezTo>
                  <a:cubicBezTo>
                    <a:pt x="41" y="76"/>
                    <a:pt x="42" y="75"/>
                    <a:pt x="42" y="73"/>
                  </a:cubicBezTo>
                  <a:cubicBezTo>
                    <a:pt x="50" y="73"/>
                    <a:pt x="57" y="73"/>
                    <a:pt x="64" y="73"/>
                  </a:cubicBezTo>
                  <a:cubicBezTo>
                    <a:pt x="65" y="75"/>
                    <a:pt x="66" y="76"/>
                    <a:pt x="67" y="77"/>
                  </a:cubicBezTo>
                  <a:cubicBezTo>
                    <a:pt x="68" y="78"/>
                    <a:pt x="70" y="79"/>
                    <a:pt x="72" y="79"/>
                  </a:cubicBezTo>
                  <a:cubicBezTo>
                    <a:pt x="75" y="79"/>
                    <a:pt x="77" y="78"/>
                    <a:pt x="78" y="77"/>
                  </a:cubicBezTo>
                  <a:cubicBezTo>
                    <a:pt x="79" y="76"/>
                    <a:pt x="80" y="75"/>
                    <a:pt x="80" y="73"/>
                  </a:cubicBezTo>
                  <a:cubicBezTo>
                    <a:pt x="81" y="73"/>
                    <a:pt x="82" y="73"/>
                    <a:pt x="83" y="73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4" y="61"/>
                    <a:pt x="84" y="61"/>
                    <a:pt x="84" y="61"/>
                  </a:cubicBezTo>
                  <a:close/>
                  <a:moveTo>
                    <a:pt x="32" y="68"/>
                  </a:move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7"/>
                    <a:pt x="38" y="68"/>
                  </a:cubicBezTo>
                  <a:cubicBezTo>
                    <a:pt x="38" y="69"/>
                    <a:pt x="39" y="70"/>
                    <a:pt x="39" y="71"/>
                  </a:cubicBezTo>
                  <a:cubicBezTo>
                    <a:pt x="39" y="72"/>
                    <a:pt x="38" y="73"/>
                    <a:pt x="38" y="74"/>
                  </a:cubicBezTo>
                  <a:cubicBezTo>
                    <a:pt x="37" y="75"/>
                    <a:pt x="36" y="75"/>
                    <a:pt x="35" y="75"/>
                  </a:cubicBezTo>
                  <a:cubicBezTo>
                    <a:pt x="33" y="75"/>
                    <a:pt x="32" y="75"/>
                    <a:pt x="32" y="74"/>
                  </a:cubicBezTo>
                  <a:cubicBezTo>
                    <a:pt x="31" y="73"/>
                    <a:pt x="30" y="72"/>
                    <a:pt x="30" y="71"/>
                  </a:cubicBezTo>
                  <a:cubicBezTo>
                    <a:pt x="30" y="70"/>
                    <a:pt x="31" y="69"/>
                    <a:pt x="32" y="68"/>
                  </a:cubicBezTo>
                  <a:close/>
                  <a:moveTo>
                    <a:pt x="69" y="68"/>
                  </a:moveTo>
                  <a:cubicBezTo>
                    <a:pt x="70" y="67"/>
                    <a:pt x="71" y="67"/>
                    <a:pt x="72" y="67"/>
                  </a:cubicBezTo>
                  <a:cubicBezTo>
                    <a:pt x="74" y="67"/>
                    <a:pt x="75" y="67"/>
                    <a:pt x="75" y="68"/>
                  </a:cubicBezTo>
                  <a:cubicBezTo>
                    <a:pt x="76" y="69"/>
                    <a:pt x="77" y="70"/>
                    <a:pt x="77" y="71"/>
                  </a:cubicBezTo>
                  <a:cubicBezTo>
                    <a:pt x="77" y="72"/>
                    <a:pt x="76" y="73"/>
                    <a:pt x="75" y="74"/>
                  </a:cubicBezTo>
                  <a:cubicBezTo>
                    <a:pt x="75" y="75"/>
                    <a:pt x="74" y="75"/>
                    <a:pt x="72" y="75"/>
                  </a:cubicBezTo>
                  <a:cubicBezTo>
                    <a:pt x="71" y="75"/>
                    <a:pt x="70" y="75"/>
                    <a:pt x="69" y="74"/>
                  </a:cubicBezTo>
                  <a:cubicBezTo>
                    <a:pt x="69" y="73"/>
                    <a:pt x="68" y="72"/>
                    <a:pt x="68" y="71"/>
                  </a:cubicBezTo>
                  <a:cubicBezTo>
                    <a:pt x="68" y="70"/>
                    <a:pt x="69" y="69"/>
                    <a:pt x="69" y="68"/>
                  </a:cubicBezTo>
                  <a:close/>
                  <a:moveTo>
                    <a:pt x="68" y="59"/>
                  </a:moveTo>
                  <a:cubicBezTo>
                    <a:pt x="66" y="53"/>
                    <a:pt x="66" y="53"/>
                    <a:pt x="6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68" y="59"/>
                    <a:pt x="68" y="59"/>
                    <a:pt x="68" y="59"/>
                  </a:cubicBezTo>
                  <a:close/>
                  <a:moveTo>
                    <a:pt x="19" y="24"/>
                  </a:moveTo>
                  <a:cubicBezTo>
                    <a:pt x="29" y="34"/>
                    <a:pt x="29" y="34"/>
                    <a:pt x="29" y="34"/>
                  </a:cubicBezTo>
                  <a:cubicBezTo>
                    <a:pt x="28" y="34"/>
                    <a:pt x="28" y="35"/>
                    <a:pt x="28" y="35"/>
                  </a:cubicBezTo>
                  <a:cubicBezTo>
                    <a:pt x="28" y="36"/>
                    <a:pt x="29" y="37"/>
                    <a:pt x="29" y="38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4" y="40"/>
                    <a:pt x="34" y="39"/>
                    <a:pt x="34" y="39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7"/>
                    <a:pt x="38" y="36"/>
                    <a:pt x="38" y="35"/>
                  </a:cubicBezTo>
                  <a:cubicBezTo>
                    <a:pt x="38" y="34"/>
                    <a:pt x="37" y="33"/>
                    <a:pt x="37" y="3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1" y="31"/>
                    <a:pt x="31" y="31"/>
                    <a:pt x="30" y="31"/>
                  </a:cubicBezTo>
                  <a:cubicBezTo>
                    <a:pt x="21" y="21"/>
                    <a:pt x="21" y="21"/>
                    <a:pt x="21" y="21"/>
                  </a:cubicBezTo>
                  <a:lnTo>
                    <a:pt x="19" y="2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1219140">
                <a:defRPr/>
              </a:pPr>
              <a:endParaRPr lang="zh-CN" altLang="en-US" sz="1200" kern="0">
                <a:solidFill>
                  <a:srgbClr val="ED7D31"/>
                </a:solidFill>
                <a:latin typeface="+mn-ea"/>
                <a:cs typeface="SimHei" charset="-122"/>
              </a:endParaRPr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5939516" y="3898762"/>
              <a:ext cx="561692" cy="2216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城市配送</a:t>
              </a:r>
            </a:p>
          </p:txBody>
        </p:sp>
        <p:sp>
          <p:nvSpPr>
            <p:cNvPr id="47" name="Freeform 129"/>
            <p:cNvSpPr>
              <a:spLocks noEditPoints="1"/>
            </p:cNvSpPr>
            <p:nvPr/>
          </p:nvSpPr>
          <p:spPr bwMode="auto">
            <a:xfrm>
              <a:off x="7171809" y="3761660"/>
              <a:ext cx="191406" cy="176319"/>
            </a:xfrm>
            <a:custGeom>
              <a:avLst/>
              <a:gdLst>
                <a:gd name="T0" fmla="*/ 54 w 86"/>
                <a:gd name="T1" fmla="*/ 10 h 79"/>
                <a:gd name="T2" fmla="*/ 63 w 86"/>
                <a:gd name="T3" fmla="*/ 38 h 79"/>
                <a:gd name="T4" fmla="*/ 55 w 86"/>
                <a:gd name="T5" fmla="*/ 32 h 79"/>
                <a:gd name="T6" fmla="*/ 32 w 86"/>
                <a:gd name="T7" fmla="*/ 9 h 79"/>
                <a:gd name="T8" fmla="*/ 8 w 86"/>
                <a:gd name="T9" fmla="*/ 32 h 79"/>
                <a:gd name="T10" fmla="*/ 16 w 86"/>
                <a:gd name="T11" fmla="*/ 50 h 79"/>
                <a:gd name="T12" fmla="*/ 9 w 86"/>
                <a:gd name="T13" fmla="*/ 55 h 79"/>
                <a:gd name="T14" fmla="*/ 9 w 86"/>
                <a:gd name="T15" fmla="*/ 10 h 79"/>
                <a:gd name="T16" fmla="*/ 84 w 86"/>
                <a:gd name="T17" fmla="*/ 61 h 79"/>
                <a:gd name="T18" fmla="*/ 68 w 86"/>
                <a:gd name="T19" fmla="*/ 51 h 79"/>
                <a:gd name="T20" fmla="*/ 67 w 86"/>
                <a:gd name="T21" fmla="*/ 50 h 79"/>
                <a:gd name="T22" fmla="*/ 54 w 86"/>
                <a:gd name="T23" fmla="*/ 47 h 79"/>
                <a:gd name="T24" fmla="*/ 23 w 86"/>
                <a:gd name="T25" fmla="*/ 52 h 79"/>
                <a:gd name="T26" fmla="*/ 25 w 86"/>
                <a:gd name="T27" fmla="*/ 73 h 79"/>
                <a:gd name="T28" fmla="*/ 29 w 86"/>
                <a:gd name="T29" fmla="*/ 77 h 79"/>
                <a:gd name="T30" fmla="*/ 40 w 86"/>
                <a:gd name="T31" fmla="*/ 77 h 79"/>
                <a:gd name="T32" fmla="*/ 64 w 86"/>
                <a:gd name="T33" fmla="*/ 73 h 79"/>
                <a:gd name="T34" fmla="*/ 72 w 86"/>
                <a:gd name="T35" fmla="*/ 79 h 79"/>
                <a:gd name="T36" fmla="*/ 80 w 86"/>
                <a:gd name="T37" fmla="*/ 73 h 79"/>
                <a:gd name="T38" fmla="*/ 84 w 86"/>
                <a:gd name="T39" fmla="*/ 73 h 79"/>
                <a:gd name="T40" fmla="*/ 86 w 86"/>
                <a:gd name="T41" fmla="*/ 68 h 79"/>
                <a:gd name="T42" fmla="*/ 84 w 86"/>
                <a:gd name="T43" fmla="*/ 61 h 79"/>
                <a:gd name="T44" fmla="*/ 35 w 86"/>
                <a:gd name="T45" fmla="*/ 67 h 79"/>
                <a:gd name="T46" fmla="*/ 39 w 86"/>
                <a:gd name="T47" fmla="*/ 71 h 79"/>
                <a:gd name="T48" fmla="*/ 35 w 86"/>
                <a:gd name="T49" fmla="*/ 75 h 79"/>
                <a:gd name="T50" fmla="*/ 30 w 86"/>
                <a:gd name="T51" fmla="*/ 71 h 79"/>
                <a:gd name="T52" fmla="*/ 69 w 86"/>
                <a:gd name="T53" fmla="*/ 68 h 79"/>
                <a:gd name="T54" fmla="*/ 75 w 86"/>
                <a:gd name="T55" fmla="*/ 68 h 79"/>
                <a:gd name="T56" fmla="*/ 75 w 86"/>
                <a:gd name="T57" fmla="*/ 74 h 79"/>
                <a:gd name="T58" fmla="*/ 69 w 86"/>
                <a:gd name="T59" fmla="*/ 74 h 79"/>
                <a:gd name="T60" fmla="*/ 69 w 86"/>
                <a:gd name="T61" fmla="*/ 68 h 79"/>
                <a:gd name="T62" fmla="*/ 66 w 86"/>
                <a:gd name="T63" fmla="*/ 53 h 79"/>
                <a:gd name="T64" fmla="*/ 56 w 86"/>
                <a:gd name="T65" fmla="*/ 59 h 79"/>
                <a:gd name="T66" fmla="*/ 19 w 86"/>
                <a:gd name="T67" fmla="*/ 24 h 79"/>
                <a:gd name="T68" fmla="*/ 28 w 86"/>
                <a:gd name="T69" fmla="*/ 35 h 79"/>
                <a:gd name="T70" fmla="*/ 28 w 86"/>
                <a:gd name="T71" fmla="*/ 39 h 79"/>
                <a:gd name="T72" fmla="*/ 34 w 86"/>
                <a:gd name="T73" fmla="*/ 40 h 79"/>
                <a:gd name="T74" fmla="*/ 37 w 86"/>
                <a:gd name="T75" fmla="*/ 42 h 79"/>
                <a:gd name="T76" fmla="*/ 37 w 86"/>
                <a:gd name="T77" fmla="*/ 38 h 79"/>
                <a:gd name="T78" fmla="*/ 37 w 86"/>
                <a:gd name="T79" fmla="*/ 33 h 79"/>
                <a:gd name="T80" fmla="*/ 36 w 86"/>
                <a:gd name="T81" fmla="*/ 21 h 79"/>
                <a:gd name="T82" fmla="*/ 30 w 86"/>
                <a:gd name="T83" fmla="*/ 31 h 79"/>
                <a:gd name="T84" fmla="*/ 19 w 86"/>
                <a:gd name="T85" fmla="*/ 2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6" h="79">
                  <a:moveTo>
                    <a:pt x="32" y="0"/>
                  </a:moveTo>
                  <a:cubicBezTo>
                    <a:pt x="41" y="0"/>
                    <a:pt x="49" y="4"/>
                    <a:pt x="54" y="10"/>
                  </a:cubicBezTo>
                  <a:cubicBezTo>
                    <a:pt x="60" y="15"/>
                    <a:pt x="64" y="23"/>
                    <a:pt x="64" y="32"/>
                  </a:cubicBezTo>
                  <a:cubicBezTo>
                    <a:pt x="64" y="34"/>
                    <a:pt x="63" y="36"/>
                    <a:pt x="63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6"/>
                    <a:pt x="55" y="34"/>
                    <a:pt x="55" y="32"/>
                  </a:cubicBezTo>
                  <a:cubicBezTo>
                    <a:pt x="55" y="26"/>
                    <a:pt x="53" y="20"/>
                    <a:pt x="48" y="16"/>
                  </a:cubicBezTo>
                  <a:cubicBezTo>
                    <a:pt x="44" y="11"/>
                    <a:pt x="38" y="9"/>
                    <a:pt x="32" y="9"/>
                  </a:cubicBezTo>
                  <a:cubicBezTo>
                    <a:pt x="25" y="9"/>
                    <a:pt x="19" y="11"/>
                    <a:pt x="15" y="16"/>
                  </a:cubicBezTo>
                  <a:cubicBezTo>
                    <a:pt x="11" y="20"/>
                    <a:pt x="8" y="26"/>
                    <a:pt x="8" y="32"/>
                  </a:cubicBezTo>
                  <a:cubicBezTo>
                    <a:pt x="8" y="39"/>
                    <a:pt x="11" y="45"/>
                    <a:pt x="15" y="49"/>
                  </a:cubicBezTo>
                  <a:cubicBezTo>
                    <a:pt x="16" y="49"/>
                    <a:pt x="16" y="50"/>
                    <a:pt x="16" y="5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4" y="59"/>
                    <a:pt x="11" y="57"/>
                    <a:pt x="9" y="55"/>
                  </a:cubicBezTo>
                  <a:cubicBezTo>
                    <a:pt x="4" y="49"/>
                    <a:pt x="0" y="41"/>
                    <a:pt x="0" y="32"/>
                  </a:cubicBezTo>
                  <a:cubicBezTo>
                    <a:pt x="0" y="23"/>
                    <a:pt x="4" y="15"/>
                    <a:pt x="9" y="10"/>
                  </a:cubicBezTo>
                  <a:cubicBezTo>
                    <a:pt x="15" y="4"/>
                    <a:pt x="23" y="0"/>
                    <a:pt x="32" y="0"/>
                  </a:cubicBezTo>
                  <a:close/>
                  <a:moveTo>
                    <a:pt x="84" y="61"/>
                  </a:moveTo>
                  <a:cubicBezTo>
                    <a:pt x="72" y="59"/>
                    <a:pt x="72" y="59"/>
                    <a:pt x="72" y="59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5"/>
                    <a:pt x="28" y="76"/>
                    <a:pt x="29" y="77"/>
                  </a:cubicBezTo>
                  <a:cubicBezTo>
                    <a:pt x="30" y="78"/>
                    <a:pt x="32" y="79"/>
                    <a:pt x="35" y="79"/>
                  </a:cubicBezTo>
                  <a:cubicBezTo>
                    <a:pt x="37" y="79"/>
                    <a:pt x="39" y="78"/>
                    <a:pt x="40" y="77"/>
                  </a:cubicBezTo>
                  <a:cubicBezTo>
                    <a:pt x="41" y="76"/>
                    <a:pt x="42" y="75"/>
                    <a:pt x="42" y="73"/>
                  </a:cubicBezTo>
                  <a:cubicBezTo>
                    <a:pt x="50" y="73"/>
                    <a:pt x="57" y="73"/>
                    <a:pt x="64" y="73"/>
                  </a:cubicBezTo>
                  <a:cubicBezTo>
                    <a:pt x="65" y="75"/>
                    <a:pt x="66" y="76"/>
                    <a:pt x="67" y="77"/>
                  </a:cubicBezTo>
                  <a:cubicBezTo>
                    <a:pt x="68" y="78"/>
                    <a:pt x="70" y="79"/>
                    <a:pt x="72" y="79"/>
                  </a:cubicBezTo>
                  <a:cubicBezTo>
                    <a:pt x="75" y="79"/>
                    <a:pt x="77" y="78"/>
                    <a:pt x="78" y="77"/>
                  </a:cubicBezTo>
                  <a:cubicBezTo>
                    <a:pt x="79" y="76"/>
                    <a:pt x="80" y="75"/>
                    <a:pt x="80" y="73"/>
                  </a:cubicBezTo>
                  <a:cubicBezTo>
                    <a:pt x="81" y="73"/>
                    <a:pt x="82" y="73"/>
                    <a:pt x="83" y="73"/>
                  </a:cubicBezTo>
                  <a:cubicBezTo>
                    <a:pt x="84" y="73"/>
                    <a:pt x="84" y="73"/>
                    <a:pt x="84" y="73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4" y="61"/>
                    <a:pt x="84" y="61"/>
                    <a:pt x="84" y="61"/>
                  </a:cubicBezTo>
                  <a:close/>
                  <a:moveTo>
                    <a:pt x="32" y="68"/>
                  </a:move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7"/>
                    <a:pt x="38" y="68"/>
                  </a:cubicBezTo>
                  <a:cubicBezTo>
                    <a:pt x="38" y="69"/>
                    <a:pt x="39" y="70"/>
                    <a:pt x="39" y="71"/>
                  </a:cubicBezTo>
                  <a:cubicBezTo>
                    <a:pt x="39" y="72"/>
                    <a:pt x="38" y="73"/>
                    <a:pt x="38" y="74"/>
                  </a:cubicBezTo>
                  <a:cubicBezTo>
                    <a:pt x="37" y="75"/>
                    <a:pt x="36" y="75"/>
                    <a:pt x="35" y="75"/>
                  </a:cubicBezTo>
                  <a:cubicBezTo>
                    <a:pt x="33" y="75"/>
                    <a:pt x="32" y="75"/>
                    <a:pt x="32" y="74"/>
                  </a:cubicBezTo>
                  <a:cubicBezTo>
                    <a:pt x="31" y="73"/>
                    <a:pt x="30" y="72"/>
                    <a:pt x="30" y="71"/>
                  </a:cubicBezTo>
                  <a:cubicBezTo>
                    <a:pt x="30" y="70"/>
                    <a:pt x="31" y="69"/>
                    <a:pt x="32" y="68"/>
                  </a:cubicBezTo>
                  <a:close/>
                  <a:moveTo>
                    <a:pt x="69" y="68"/>
                  </a:moveTo>
                  <a:cubicBezTo>
                    <a:pt x="70" y="67"/>
                    <a:pt x="71" y="67"/>
                    <a:pt x="72" y="67"/>
                  </a:cubicBezTo>
                  <a:cubicBezTo>
                    <a:pt x="74" y="67"/>
                    <a:pt x="75" y="67"/>
                    <a:pt x="75" y="68"/>
                  </a:cubicBezTo>
                  <a:cubicBezTo>
                    <a:pt x="76" y="69"/>
                    <a:pt x="77" y="70"/>
                    <a:pt x="77" y="71"/>
                  </a:cubicBezTo>
                  <a:cubicBezTo>
                    <a:pt x="77" y="72"/>
                    <a:pt x="76" y="73"/>
                    <a:pt x="75" y="74"/>
                  </a:cubicBezTo>
                  <a:cubicBezTo>
                    <a:pt x="75" y="75"/>
                    <a:pt x="74" y="75"/>
                    <a:pt x="72" y="75"/>
                  </a:cubicBezTo>
                  <a:cubicBezTo>
                    <a:pt x="71" y="75"/>
                    <a:pt x="70" y="75"/>
                    <a:pt x="69" y="74"/>
                  </a:cubicBezTo>
                  <a:cubicBezTo>
                    <a:pt x="69" y="73"/>
                    <a:pt x="68" y="72"/>
                    <a:pt x="68" y="71"/>
                  </a:cubicBezTo>
                  <a:cubicBezTo>
                    <a:pt x="68" y="70"/>
                    <a:pt x="69" y="69"/>
                    <a:pt x="69" y="68"/>
                  </a:cubicBezTo>
                  <a:close/>
                  <a:moveTo>
                    <a:pt x="68" y="59"/>
                  </a:moveTo>
                  <a:cubicBezTo>
                    <a:pt x="66" y="53"/>
                    <a:pt x="66" y="53"/>
                    <a:pt x="66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68" y="59"/>
                    <a:pt x="68" y="59"/>
                    <a:pt x="68" y="59"/>
                  </a:cubicBezTo>
                  <a:close/>
                  <a:moveTo>
                    <a:pt x="19" y="24"/>
                  </a:moveTo>
                  <a:cubicBezTo>
                    <a:pt x="29" y="34"/>
                    <a:pt x="29" y="34"/>
                    <a:pt x="29" y="34"/>
                  </a:cubicBezTo>
                  <a:cubicBezTo>
                    <a:pt x="28" y="34"/>
                    <a:pt x="28" y="35"/>
                    <a:pt x="28" y="35"/>
                  </a:cubicBezTo>
                  <a:cubicBezTo>
                    <a:pt x="28" y="36"/>
                    <a:pt x="29" y="37"/>
                    <a:pt x="29" y="38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4" y="40"/>
                    <a:pt x="34" y="39"/>
                    <a:pt x="34" y="39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7"/>
                    <a:pt x="38" y="36"/>
                    <a:pt x="38" y="35"/>
                  </a:cubicBezTo>
                  <a:cubicBezTo>
                    <a:pt x="38" y="34"/>
                    <a:pt x="37" y="33"/>
                    <a:pt x="37" y="3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1" y="31"/>
                    <a:pt x="31" y="31"/>
                    <a:pt x="30" y="31"/>
                  </a:cubicBezTo>
                  <a:cubicBezTo>
                    <a:pt x="21" y="21"/>
                    <a:pt x="21" y="21"/>
                    <a:pt x="21" y="21"/>
                  </a:cubicBezTo>
                  <a:lnTo>
                    <a:pt x="19" y="2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1219140">
                <a:defRPr/>
              </a:pPr>
              <a:endParaRPr lang="zh-CN" altLang="en-US" sz="1200" kern="0">
                <a:solidFill>
                  <a:srgbClr val="ED7D31"/>
                </a:solidFill>
                <a:latin typeface="+mn-ea"/>
                <a:cs typeface="SimHei" charset="-122"/>
              </a:endParaRPr>
            </a:p>
          </p:txBody>
        </p:sp>
        <p:sp>
          <p:nvSpPr>
            <p:cNvPr id="48" name="文本框 47"/>
            <p:cNvSpPr txBox="1"/>
            <p:nvPr/>
          </p:nvSpPr>
          <p:spPr>
            <a:xfrm>
              <a:off x="6986667" y="3898762"/>
              <a:ext cx="561692" cy="2216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城市配送</a:t>
              </a: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4720079" y="3490578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CA352D"/>
                  </a:solidFill>
                  <a:latin typeface="+mn-ea"/>
                  <a:cs typeface="SimHei" charset="-122"/>
                </a:rPr>
                <a:t>距离</a:t>
              </a:r>
            </a:p>
          </p:txBody>
        </p:sp>
        <p:sp>
          <p:nvSpPr>
            <p:cNvPr id="53" name="文本框 52"/>
            <p:cNvSpPr txBox="1"/>
            <p:nvPr/>
          </p:nvSpPr>
          <p:spPr>
            <a:xfrm>
              <a:off x="5142670" y="3493744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CA352D"/>
                  </a:solidFill>
                  <a:latin typeface="+mn-ea"/>
                  <a:cs typeface="SimHei" charset="-122"/>
                </a:rPr>
                <a:t>跨城</a:t>
              </a:r>
            </a:p>
          </p:txBody>
        </p:sp>
        <p:sp>
          <p:nvSpPr>
            <p:cNvPr id="54" name="文本框 53"/>
            <p:cNvSpPr txBox="1"/>
            <p:nvPr/>
          </p:nvSpPr>
          <p:spPr>
            <a:xfrm>
              <a:off x="7914452" y="3254723"/>
              <a:ext cx="455894" cy="2216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zh-CN"/>
              </a:defPPr>
              <a:lvl1pPr marR="0" lvl="0" indent="0" algn="ctr" defTabSz="914400" fontAlgn="auto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 kumimoji="1" sz="1100" kern="0">
                  <a:solidFill>
                    <a:srgbClr val="44546A"/>
                  </a:solidFill>
                  <a:latin typeface="SimHei" charset="-122"/>
                  <a:ea typeface="SimHei" charset="-122"/>
                  <a:cs typeface="SimHei" charset="-122"/>
                </a:defRPr>
              </a:lvl1pPr>
            </a:lstStyle>
            <a:p>
              <a:pPr defTabSz="914354">
                <a:defRPr/>
              </a:pPr>
              <a:r>
                <a:rPr lang="zh-CN" altLang="en-US" dirty="0">
                  <a:latin typeface="+mn-ea"/>
                  <a:ea typeface="+mn-ea"/>
                </a:rPr>
                <a:t>自提柜</a:t>
              </a:r>
            </a:p>
          </p:txBody>
        </p:sp>
        <p:sp>
          <p:nvSpPr>
            <p:cNvPr id="55" name="文本框 54"/>
            <p:cNvSpPr txBox="1"/>
            <p:nvPr/>
          </p:nvSpPr>
          <p:spPr>
            <a:xfrm>
              <a:off x="7529557" y="3254723"/>
              <a:ext cx="455894" cy="2216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100" kern="0" dirty="0">
                  <a:solidFill>
                    <a:srgbClr val="44546A"/>
                  </a:solidFill>
                  <a:latin typeface="+mn-ea"/>
                  <a:cs typeface="SimHei" charset="-122"/>
                </a:rPr>
                <a:t>零售店</a:t>
              </a:r>
            </a:p>
          </p:txBody>
        </p:sp>
        <p:sp>
          <p:nvSpPr>
            <p:cNvPr id="56" name="Freeform 199"/>
            <p:cNvSpPr>
              <a:spLocks noEditPoints="1"/>
            </p:cNvSpPr>
            <p:nvPr/>
          </p:nvSpPr>
          <p:spPr bwMode="auto">
            <a:xfrm>
              <a:off x="7651567" y="3104617"/>
              <a:ext cx="212633" cy="164156"/>
            </a:xfrm>
            <a:custGeom>
              <a:avLst/>
              <a:gdLst>
                <a:gd name="T0" fmla="*/ 19 w 82"/>
                <a:gd name="T1" fmla="*/ 17 h 63"/>
                <a:gd name="T2" fmla="*/ 11 w 82"/>
                <a:gd name="T3" fmla="*/ 57 h 63"/>
                <a:gd name="T4" fmla="*/ 51 w 82"/>
                <a:gd name="T5" fmla="*/ 29 h 63"/>
                <a:gd name="T6" fmla="*/ 52 w 82"/>
                <a:gd name="T7" fmla="*/ 28 h 63"/>
                <a:gd name="T8" fmla="*/ 68 w 82"/>
                <a:gd name="T9" fmla="*/ 28 h 63"/>
                <a:gd name="T10" fmla="*/ 68 w 82"/>
                <a:gd name="T11" fmla="*/ 57 h 63"/>
                <a:gd name="T12" fmla="*/ 70 w 82"/>
                <a:gd name="T13" fmla="*/ 26 h 63"/>
                <a:gd name="T14" fmla="*/ 64 w 82"/>
                <a:gd name="T15" fmla="*/ 12 h 63"/>
                <a:gd name="T16" fmla="*/ 82 w 82"/>
                <a:gd name="T17" fmla="*/ 17 h 63"/>
                <a:gd name="T18" fmla="*/ 75 w 82"/>
                <a:gd name="T19" fmla="*/ 60 h 63"/>
                <a:gd name="T20" fmla="*/ 73 w 82"/>
                <a:gd name="T21" fmla="*/ 63 h 63"/>
                <a:gd name="T22" fmla="*/ 5 w 82"/>
                <a:gd name="T23" fmla="*/ 63 h 63"/>
                <a:gd name="T24" fmla="*/ 5 w 82"/>
                <a:gd name="T25" fmla="*/ 25 h 63"/>
                <a:gd name="T26" fmla="*/ 0 w 82"/>
                <a:gd name="T27" fmla="*/ 12 h 63"/>
                <a:gd name="T28" fmla="*/ 65 w 82"/>
                <a:gd name="T29" fmla="*/ 43 h 63"/>
                <a:gd name="T30" fmla="*/ 54 w 82"/>
                <a:gd name="T31" fmla="*/ 31 h 63"/>
                <a:gd name="T32" fmla="*/ 65 w 82"/>
                <a:gd name="T33" fmla="*/ 43 h 63"/>
                <a:gd name="T34" fmla="*/ 18 w 82"/>
                <a:gd name="T35" fmla="*/ 50 h 63"/>
                <a:gd name="T36" fmla="*/ 22 w 82"/>
                <a:gd name="T37" fmla="*/ 47 h 63"/>
                <a:gd name="T38" fmla="*/ 18 w 82"/>
                <a:gd name="T39" fmla="*/ 34 h 63"/>
                <a:gd name="T40" fmla="*/ 14 w 82"/>
                <a:gd name="T41" fmla="*/ 47 h 63"/>
                <a:gd name="T42" fmla="*/ 18 w 82"/>
                <a:gd name="T43" fmla="*/ 37 h 63"/>
                <a:gd name="T44" fmla="*/ 17 w 82"/>
                <a:gd name="T45" fmla="*/ 37 h 63"/>
                <a:gd name="T46" fmla="*/ 18 w 82"/>
                <a:gd name="T47" fmla="*/ 48 h 63"/>
                <a:gd name="T48" fmla="*/ 26 w 82"/>
                <a:gd name="T49" fmla="*/ 44 h 63"/>
                <a:gd name="T50" fmla="*/ 30 w 82"/>
                <a:gd name="T51" fmla="*/ 41 h 63"/>
                <a:gd name="T52" fmla="*/ 29 w 82"/>
                <a:gd name="T53" fmla="*/ 35 h 63"/>
                <a:gd name="T54" fmla="*/ 22 w 82"/>
                <a:gd name="T55" fmla="*/ 34 h 63"/>
                <a:gd name="T56" fmla="*/ 26 w 82"/>
                <a:gd name="T57" fmla="*/ 50 h 63"/>
                <a:gd name="T58" fmla="*/ 27 w 82"/>
                <a:gd name="T59" fmla="*/ 41 h 63"/>
                <a:gd name="T60" fmla="*/ 26 w 82"/>
                <a:gd name="T61" fmla="*/ 36 h 63"/>
                <a:gd name="T62" fmla="*/ 27 w 82"/>
                <a:gd name="T63" fmla="*/ 41 h 63"/>
                <a:gd name="T64" fmla="*/ 38 w 82"/>
                <a:gd name="T65" fmla="*/ 48 h 63"/>
                <a:gd name="T66" fmla="*/ 35 w 82"/>
                <a:gd name="T67" fmla="*/ 42 h 63"/>
                <a:gd name="T68" fmla="*/ 38 w 82"/>
                <a:gd name="T69" fmla="*/ 40 h 63"/>
                <a:gd name="T70" fmla="*/ 35 w 82"/>
                <a:gd name="T71" fmla="*/ 36 h 63"/>
                <a:gd name="T72" fmla="*/ 38 w 82"/>
                <a:gd name="T73" fmla="*/ 34 h 63"/>
                <a:gd name="T74" fmla="*/ 31 w 82"/>
                <a:gd name="T75" fmla="*/ 50 h 63"/>
                <a:gd name="T76" fmla="*/ 48 w 82"/>
                <a:gd name="T77" fmla="*/ 50 h 63"/>
                <a:gd name="T78" fmla="*/ 45 w 82"/>
                <a:gd name="T79" fmla="*/ 34 h 63"/>
                <a:gd name="T80" fmla="*/ 43 w 82"/>
                <a:gd name="T81" fmla="*/ 34 h 63"/>
                <a:gd name="T82" fmla="*/ 39 w 82"/>
                <a:gd name="T83" fmla="*/ 50 h 63"/>
                <a:gd name="T84" fmla="*/ 42 w 82"/>
                <a:gd name="T85" fmla="*/ 42 h 63"/>
                <a:gd name="T86" fmla="*/ 48 w 82"/>
                <a:gd name="T87" fmla="*/ 50 h 63"/>
                <a:gd name="T88" fmla="*/ 82 w 82"/>
                <a:gd name="T89" fmla="*/ 9 h 63"/>
                <a:gd name="T90" fmla="*/ 7 w 82"/>
                <a:gd name="T91" fmla="*/ 0 h 63"/>
                <a:gd name="T92" fmla="*/ 61 w 82"/>
                <a:gd name="T93" fmla="*/ 12 h 63"/>
                <a:gd name="T94" fmla="*/ 42 w 82"/>
                <a:gd name="T95" fmla="*/ 17 h 63"/>
                <a:gd name="T96" fmla="*/ 52 w 82"/>
                <a:gd name="T97" fmla="*/ 26 h 63"/>
                <a:gd name="T98" fmla="*/ 61 w 82"/>
                <a:gd name="T99" fmla="*/ 12 h 63"/>
                <a:gd name="T100" fmla="*/ 21 w 82"/>
                <a:gd name="T101" fmla="*/ 12 h 63"/>
                <a:gd name="T102" fmla="*/ 31 w 82"/>
                <a:gd name="T103" fmla="*/ 26 h 63"/>
                <a:gd name="T104" fmla="*/ 40 w 82"/>
                <a:gd name="T105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2" h="63">
                  <a:moveTo>
                    <a:pt x="19" y="12"/>
                  </a:moveTo>
                  <a:cubicBezTo>
                    <a:pt x="19" y="17"/>
                    <a:pt x="19" y="17"/>
                    <a:pt x="19" y="17"/>
                  </a:cubicBezTo>
                  <a:cubicBezTo>
                    <a:pt x="19" y="22"/>
                    <a:pt x="15" y="26"/>
                    <a:pt x="11" y="26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6" y="25"/>
                    <a:pt x="64" y="21"/>
                    <a:pt x="64" y="17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2" y="21"/>
                    <a:pt x="79" y="25"/>
                    <a:pt x="75" y="26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5" y="63"/>
                    <a:pt x="5" y="63"/>
                    <a:pt x="5" y="63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2" y="24"/>
                    <a:pt x="0" y="21"/>
                    <a:pt x="0" y="1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9" y="12"/>
                    <a:pt x="19" y="12"/>
                    <a:pt x="19" y="12"/>
                  </a:cubicBezTo>
                  <a:close/>
                  <a:moveTo>
                    <a:pt x="65" y="43"/>
                  </a:moveTo>
                  <a:cubicBezTo>
                    <a:pt x="65" y="31"/>
                    <a:pt x="65" y="31"/>
                    <a:pt x="65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65" y="43"/>
                    <a:pt x="65" y="43"/>
                    <a:pt x="65" y="43"/>
                  </a:cubicBezTo>
                  <a:close/>
                  <a:moveTo>
                    <a:pt x="14" y="47"/>
                  </a:moveTo>
                  <a:cubicBezTo>
                    <a:pt x="14" y="49"/>
                    <a:pt x="15" y="50"/>
                    <a:pt x="18" y="50"/>
                  </a:cubicBezTo>
                  <a:cubicBezTo>
                    <a:pt x="19" y="50"/>
                    <a:pt x="20" y="50"/>
                    <a:pt x="20" y="50"/>
                  </a:cubicBezTo>
                  <a:cubicBezTo>
                    <a:pt x="21" y="49"/>
                    <a:pt x="22" y="48"/>
                    <a:pt x="22" y="4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5"/>
                    <a:pt x="20" y="34"/>
                    <a:pt x="18" y="34"/>
                  </a:cubicBezTo>
                  <a:cubicBezTo>
                    <a:pt x="15" y="34"/>
                    <a:pt x="14" y="35"/>
                    <a:pt x="14" y="37"/>
                  </a:cubicBezTo>
                  <a:cubicBezTo>
                    <a:pt x="14" y="47"/>
                    <a:pt x="14" y="47"/>
                    <a:pt x="14" y="47"/>
                  </a:cubicBezTo>
                  <a:close/>
                  <a:moveTo>
                    <a:pt x="18" y="48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7" y="36"/>
                    <a:pt x="17" y="36"/>
                    <a:pt x="17" y="37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lose/>
                  <a:moveTo>
                    <a:pt x="26" y="44"/>
                  </a:moveTo>
                  <a:cubicBezTo>
                    <a:pt x="28" y="44"/>
                    <a:pt x="29" y="44"/>
                    <a:pt x="30" y="44"/>
                  </a:cubicBezTo>
                  <a:cubicBezTo>
                    <a:pt x="30" y="43"/>
                    <a:pt x="30" y="42"/>
                    <a:pt x="30" y="41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6"/>
                    <a:pt x="30" y="35"/>
                    <a:pt x="29" y="35"/>
                  </a:cubicBezTo>
                  <a:cubicBezTo>
                    <a:pt x="29" y="34"/>
                    <a:pt x="28" y="34"/>
                    <a:pt x="26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44"/>
                    <a:pt x="26" y="44"/>
                    <a:pt x="26" y="44"/>
                  </a:cubicBezTo>
                  <a:close/>
                  <a:moveTo>
                    <a:pt x="27" y="41"/>
                  </a:move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6"/>
                    <a:pt x="26" y="36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7" y="42"/>
                    <a:pt x="27" y="42"/>
                    <a:pt x="27" y="41"/>
                  </a:cubicBezTo>
                  <a:close/>
                  <a:moveTo>
                    <a:pt x="38" y="50"/>
                  </a:moveTo>
                  <a:cubicBezTo>
                    <a:pt x="38" y="48"/>
                    <a:pt x="38" y="48"/>
                    <a:pt x="38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8" y="50"/>
                    <a:pt x="38" y="50"/>
                    <a:pt x="38" y="50"/>
                  </a:cubicBezTo>
                  <a:close/>
                  <a:moveTo>
                    <a:pt x="48" y="50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8" y="50"/>
                    <a:pt x="48" y="50"/>
                    <a:pt x="48" y="50"/>
                  </a:cubicBezTo>
                  <a:close/>
                  <a:moveTo>
                    <a:pt x="0" y="9"/>
                  </a:moveTo>
                  <a:cubicBezTo>
                    <a:pt x="82" y="9"/>
                    <a:pt x="82" y="9"/>
                    <a:pt x="82" y="9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9"/>
                    <a:pt x="0" y="9"/>
                    <a:pt x="0" y="9"/>
                  </a:cubicBezTo>
                  <a:close/>
                  <a:moveTo>
                    <a:pt x="61" y="12"/>
                  </a:moveTo>
                  <a:cubicBezTo>
                    <a:pt x="42" y="12"/>
                    <a:pt x="42" y="12"/>
                    <a:pt x="42" y="12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22"/>
                    <a:pt x="47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7" y="26"/>
                    <a:pt x="61" y="22"/>
                    <a:pt x="61" y="17"/>
                  </a:cubicBezTo>
                  <a:cubicBezTo>
                    <a:pt x="61" y="12"/>
                    <a:pt x="61" y="12"/>
                    <a:pt x="61" y="12"/>
                  </a:cubicBezTo>
                  <a:close/>
                  <a:moveTo>
                    <a:pt x="40" y="12"/>
                  </a:moveTo>
                  <a:cubicBezTo>
                    <a:pt x="21" y="12"/>
                    <a:pt x="21" y="12"/>
                    <a:pt x="21" y="12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22"/>
                    <a:pt x="26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6" y="26"/>
                    <a:pt x="40" y="22"/>
                    <a:pt x="40" y="17"/>
                  </a:cubicBezTo>
                  <a:lnTo>
                    <a:pt x="40" y="12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914332">
                <a:defRPr/>
              </a:pPr>
              <a:endParaRPr lang="zh-CN" altLang="en-US" sz="1200" kern="0">
                <a:solidFill>
                  <a:srgbClr val="000000"/>
                </a:solidFill>
                <a:latin typeface="+mn-ea"/>
              </a:endParaRPr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6803452" y="3252955"/>
              <a:ext cx="607378" cy="2216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超市</a:t>
              </a:r>
              <a:r>
                <a:rPr kumimoji="1" lang="en-US" altLang="zh-CN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/</a:t>
              </a:r>
              <a:r>
                <a:rPr kumimoji="1" lang="zh-CN" altLang="en-US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卖场</a:t>
              </a:r>
            </a:p>
          </p:txBody>
        </p:sp>
        <p:sp>
          <p:nvSpPr>
            <p:cNvPr id="58" name="右箭头 57"/>
            <p:cNvSpPr/>
            <p:nvPr/>
          </p:nvSpPr>
          <p:spPr>
            <a:xfrm>
              <a:off x="7258696" y="3150260"/>
              <a:ext cx="380256" cy="136464"/>
            </a:xfrm>
            <a:prstGeom prst="rightArrow">
              <a:avLst>
                <a:gd name="adj1" fmla="val 14066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prstClr val="white">
                    <a:lumMod val="50000"/>
                  </a:prstClr>
                </a:solidFill>
                <a:latin typeface="+mn-ea"/>
              </a:endParaRPr>
            </a:p>
          </p:txBody>
        </p:sp>
        <p:sp>
          <p:nvSpPr>
            <p:cNvPr id="59" name="环形箭头 58"/>
            <p:cNvSpPr/>
            <p:nvPr/>
          </p:nvSpPr>
          <p:spPr>
            <a:xfrm>
              <a:off x="7146047" y="2857271"/>
              <a:ext cx="958510" cy="596093"/>
            </a:xfrm>
            <a:prstGeom prst="circularArrow">
              <a:avLst>
                <a:gd name="adj1" fmla="val 1411"/>
                <a:gd name="adj2" fmla="val 1142319"/>
                <a:gd name="adj3" fmla="val 19606607"/>
                <a:gd name="adj4" fmla="val 11963324"/>
                <a:gd name="adj5" fmla="val 6831"/>
              </a:avLst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000000"/>
                </a:solidFill>
                <a:latin typeface="+mn-ea"/>
              </a:endParaRPr>
            </a:p>
          </p:txBody>
        </p:sp>
        <p:sp>
          <p:nvSpPr>
            <p:cNvPr id="60" name="矩形 59"/>
            <p:cNvSpPr/>
            <p:nvPr/>
          </p:nvSpPr>
          <p:spPr>
            <a:xfrm>
              <a:off x="8031532" y="3103173"/>
              <a:ext cx="198878" cy="161519"/>
            </a:xfrm>
            <a:prstGeom prst="rect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srgbClr val="FFFFFF"/>
                </a:solidFill>
                <a:latin typeface="+mn-ea"/>
              </a:endParaRPr>
            </a:p>
          </p:txBody>
        </p:sp>
        <p:cxnSp>
          <p:nvCxnSpPr>
            <p:cNvPr id="61" name="直线连接符 265"/>
            <p:cNvCxnSpPr/>
            <p:nvPr/>
          </p:nvCxnSpPr>
          <p:spPr>
            <a:xfrm>
              <a:off x="8100077" y="3105527"/>
              <a:ext cx="0" cy="161519"/>
            </a:xfrm>
            <a:prstGeom prst="line">
              <a:avLst/>
            </a:prstGeom>
            <a:noFill/>
            <a:ln w="635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62" name="直线连接符 266"/>
            <p:cNvCxnSpPr/>
            <p:nvPr/>
          </p:nvCxnSpPr>
          <p:spPr>
            <a:xfrm>
              <a:off x="8158968" y="3105527"/>
              <a:ext cx="0" cy="161519"/>
            </a:xfrm>
            <a:prstGeom prst="line">
              <a:avLst/>
            </a:prstGeom>
            <a:noFill/>
            <a:ln w="635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63" name="直线连接符 267"/>
            <p:cNvCxnSpPr/>
            <p:nvPr/>
          </p:nvCxnSpPr>
          <p:spPr>
            <a:xfrm>
              <a:off x="8031532" y="3183931"/>
              <a:ext cx="198878" cy="0"/>
            </a:xfrm>
            <a:prstGeom prst="line">
              <a:avLst/>
            </a:prstGeom>
            <a:noFill/>
            <a:ln w="635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64" name="直线连接符 268"/>
            <p:cNvCxnSpPr/>
            <p:nvPr/>
          </p:nvCxnSpPr>
          <p:spPr>
            <a:xfrm>
              <a:off x="8031532" y="3150469"/>
              <a:ext cx="198878" cy="0"/>
            </a:xfrm>
            <a:prstGeom prst="line">
              <a:avLst/>
            </a:prstGeom>
            <a:noFill/>
            <a:ln w="635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cxnSp>
          <p:nvCxnSpPr>
            <p:cNvPr id="65" name="直线连接符 269"/>
            <p:cNvCxnSpPr/>
            <p:nvPr/>
          </p:nvCxnSpPr>
          <p:spPr>
            <a:xfrm>
              <a:off x="8031532" y="3221132"/>
              <a:ext cx="198878" cy="0"/>
            </a:xfrm>
            <a:prstGeom prst="line">
              <a:avLst/>
            </a:prstGeom>
            <a:noFill/>
            <a:ln w="6350" cap="flat" cmpd="sng" algn="ctr">
              <a:solidFill>
                <a:srgbClr val="C00000"/>
              </a:solidFill>
              <a:prstDash val="solid"/>
              <a:miter lim="800000"/>
            </a:ln>
            <a:effectLst/>
          </p:spPr>
        </p:cxnSp>
        <p:sp>
          <p:nvSpPr>
            <p:cNvPr id="66" name="Freeform 137"/>
            <p:cNvSpPr>
              <a:spLocks noEditPoints="1"/>
            </p:cNvSpPr>
            <p:nvPr/>
          </p:nvSpPr>
          <p:spPr bwMode="auto">
            <a:xfrm flipH="1">
              <a:off x="6995700" y="3124328"/>
              <a:ext cx="218934" cy="162396"/>
            </a:xfrm>
            <a:custGeom>
              <a:avLst/>
              <a:gdLst>
                <a:gd name="T0" fmla="*/ 0 w 77"/>
                <a:gd name="T1" fmla="*/ 4 h 57"/>
                <a:gd name="T2" fmla="*/ 53 w 77"/>
                <a:gd name="T3" fmla="*/ 4 h 57"/>
                <a:gd name="T4" fmla="*/ 48 w 77"/>
                <a:gd name="T5" fmla="*/ 31 h 57"/>
                <a:gd name="T6" fmla="*/ 8 w 77"/>
                <a:gd name="T7" fmla="*/ 31 h 57"/>
                <a:gd name="T8" fmla="*/ 0 w 77"/>
                <a:gd name="T9" fmla="*/ 4 h 57"/>
                <a:gd name="T10" fmla="*/ 50 w 77"/>
                <a:gd name="T11" fmla="*/ 44 h 57"/>
                <a:gd name="T12" fmla="*/ 57 w 77"/>
                <a:gd name="T13" fmla="*/ 44 h 57"/>
                <a:gd name="T14" fmla="*/ 60 w 77"/>
                <a:gd name="T15" fmla="*/ 44 h 57"/>
                <a:gd name="T16" fmla="*/ 61 w 77"/>
                <a:gd name="T17" fmla="*/ 40 h 57"/>
                <a:gd name="T18" fmla="*/ 67 w 77"/>
                <a:gd name="T19" fmla="*/ 9 h 57"/>
                <a:gd name="T20" fmla="*/ 77 w 77"/>
                <a:gd name="T21" fmla="*/ 9 h 57"/>
                <a:gd name="T22" fmla="*/ 77 w 77"/>
                <a:gd name="T23" fmla="*/ 0 h 57"/>
                <a:gd name="T24" fmla="*/ 64 w 77"/>
                <a:gd name="T25" fmla="*/ 0 h 57"/>
                <a:gd name="T26" fmla="*/ 61 w 77"/>
                <a:gd name="T27" fmla="*/ 0 h 57"/>
                <a:gd name="T28" fmla="*/ 60 w 77"/>
                <a:gd name="T29" fmla="*/ 4 h 57"/>
                <a:gd name="T30" fmla="*/ 53 w 77"/>
                <a:gd name="T31" fmla="*/ 35 h 57"/>
                <a:gd name="T32" fmla="*/ 1 w 77"/>
                <a:gd name="T33" fmla="*/ 35 h 57"/>
                <a:gd name="T34" fmla="*/ 1 w 77"/>
                <a:gd name="T35" fmla="*/ 44 h 57"/>
                <a:gd name="T36" fmla="*/ 9 w 77"/>
                <a:gd name="T37" fmla="*/ 44 h 57"/>
                <a:gd name="T38" fmla="*/ 4 w 77"/>
                <a:gd name="T39" fmla="*/ 50 h 57"/>
                <a:gd name="T40" fmla="*/ 11 w 77"/>
                <a:gd name="T41" fmla="*/ 57 h 57"/>
                <a:gd name="T42" fmla="*/ 18 w 77"/>
                <a:gd name="T43" fmla="*/ 50 h 57"/>
                <a:gd name="T44" fmla="*/ 14 w 77"/>
                <a:gd name="T45" fmla="*/ 44 h 57"/>
                <a:gd name="T46" fmla="*/ 45 w 77"/>
                <a:gd name="T47" fmla="*/ 44 h 57"/>
                <a:gd name="T48" fmla="*/ 40 w 77"/>
                <a:gd name="T49" fmla="*/ 50 h 57"/>
                <a:gd name="T50" fmla="*/ 47 w 77"/>
                <a:gd name="T51" fmla="*/ 57 h 57"/>
                <a:gd name="T52" fmla="*/ 54 w 77"/>
                <a:gd name="T53" fmla="*/ 50 h 57"/>
                <a:gd name="T54" fmla="*/ 50 w 77"/>
                <a:gd name="T55" fmla="*/ 4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7" h="57">
                  <a:moveTo>
                    <a:pt x="0" y="4"/>
                  </a:moveTo>
                  <a:cubicBezTo>
                    <a:pt x="53" y="4"/>
                    <a:pt x="53" y="4"/>
                    <a:pt x="53" y="4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0" y="4"/>
                    <a:pt x="0" y="4"/>
                    <a:pt x="0" y="4"/>
                  </a:cubicBezTo>
                  <a:close/>
                  <a:moveTo>
                    <a:pt x="50" y="44"/>
                  </a:moveTo>
                  <a:cubicBezTo>
                    <a:pt x="57" y="44"/>
                    <a:pt x="57" y="44"/>
                    <a:pt x="57" y="44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6" y="45"/>
                    <a:pt x="4" y="47"/>
                    <a:pt x="4" y="50"/>
                  </a:cubicBezTo>
                  <a:cubicBezTo>
                    <a:pt x="4" y="54"/>
                    <a:pt x="7" y="57"/>
                    <a:pt x="11" y="57"/>
                  </a:cubicBezTo>
                  <a:cubicBezTo>
                    <a:pt x="15" y="57"/>
                    <a:pt x="18" y="54"/>
                    <a:pt x="18" y="50"/>
                  </a:cubicBezTo>
                  <a:cubicBezTo>
                    <a:pt x="18" y="47"/>
                    <a:pt x="17" y="45"/>
                    <a:pt x="14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2" y="45"/>
                    <a:pt x="40" y="47"/>
                    <a:pt x="40" y="50"/>
                  </a:cubicBezTo>
                  <a:cubicBezTo>
                    <a:pt x="40" y="54"/>
                    <a:pt x="44" y="57"/>
                    <a:pt x="47" y="57"/>
                  </a:cubicBezTo>
                  <a:cubicBezTo>
                    <a:pt x="51" y="57"/>
                    <a:pt x="54" y="54"/>
                    <a:pt x="54" y="50"/>
                  </a:cubicBezTo>
                  <a:cubicBezTo>
                    <a:pt x="54" y="47"/>
                    <a:pt x="53" y="45"/>
                    <a:pt x="50" y="44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32">
                <a:defRPr/>
              </a:pPr>
              <a:endParaRPr lang="zh-CN" altLang="en-US" sz="2400" kern="0">
                <a:solidFill>
                  <a:srgbClr val="000000"/>
                </a:solidFill>
                <a:latin typeface="+mn-ea"/>
              </a:endParaRPr>
            </a:p>
          </p:txBody>
        </p:sp>
        <p:sp>
          <p:nvSpPr>
            <p:cNvPr id="67" name="右箭头 66"/>
            <p:cNvSpPr/>
            <p:nvPr/>
          </p:nvSpPr>
          <p:spPr>
            <a:xfrm>
              <a:off x="6171131" y="3161257"/>
              <a:ext cx="263607" cy="125468"/>
            </a:xfrm>
            <a:prstGeom prst="rightArrow">
              <a:avLst>
                <a:gd name="adj1" fmla="val 14066"/>
                <a:gd name="adj2" fmla="val 50000"/>
              </a:avLst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32">
                <a:defRPr/>
              </a:pPr>
              <a:endParaRPr kumimoji="1" lang="zh-CN" altLang="en-US" sz="2400" kern="0">
                <a:solidFill>
                  <a:prstClr val="white">
                    <a:lumMod val="50000"/>
                  </a:prstClr>
                </a:solidFill>
                <a:latin typeface="+mn-ea"/>
              </a:endParaRPr>
            </a:p>
          </p:txBody>
        </p:sp>
        <p:sp>
          <p:nvSpPr>
            <p:cNvPr id="68" name="Freeform 149"/>
            <p:cNvSpPr>
              <a:spLocks noEditPoints="1"/>
            </p:cNvSpPr>
            <p:nvPr/>
          </p:nvSpPr>
          <p:spPr bwMode="auto">
            <a:xfrm>
              <a:off x="5899775" y="3122081"/>
              <a:ext cx="221957" cy="164643"/>
            </a:xfrm>
            <a:custGeom>
              <a:avLst/>
              <a:gdLst>
                <a:gd name="T0" fmla="*/ 70 w 90"/>
                <a:gd name="T1" fmla="*/ 67 h 67"/>
                <a:gd name="T2" fmla="*/ 21 w 90"/>
                <a:gd name="T3" fmla="*/ 67 h 67"/>
                <a:gd name="T4" fmla="*/ 1 w 90"/>
                <a:gd name="T5" fmla="*/ 18 h 67"/>
                <a:gd name="T6" fmla="*/ 44 w 90"/>
                <a:gd name="T7" fmla="*/ 0 h 67"/>
                <a:gd name="T8" fmla="*/ 89 w 90"/>
                <a:gd name="T9" fmla="*/ 18 h 67"/>
                <a:gd name="T10" fmla="*/ 25 w 90"/>
                <a:gd name="T11" fmla="*/ 67 h 67"/>
                <a:gd name="T12" fmla="*/ 25 w 90"/>
                <a:gd name="T13" fmla="*/ 59 h 67"/>
                <a:gd name="T14" fmla="*/ 66 w 90"/>
                <a:gd name="T15" fmla="*/ 56 h 67"/>
                <a:gd name="T16" fmla="*/ 25 w 90"/>
                <a:gd name="T17" fmla="*/ 38 h 67"/>
                <a:gd name="T18" fmla="*/ 66 w 90"/>
                <a:gd name="T19" fmla="*/ 38 h 67"/>
                <a:gd name="T20" fmla="*/ 23 w 90"/>
                <a:gd name="T21" fmla="*/ 19 h 67"/>
                <a:gd name="T22" fmla="*/ 19 w 90"/>
                <a:gd name="T23" fmla="*/ 19 h 67"/>
                <a:gd name="T24" fmla="*/ 14 w 90"/>
                <a:gd name="T25" fmla="*/ 19 h 67"/>
                <a:gd name="T26" fmla="*/ 20 w 90"/>
                <a:gd name="T27" fmla="*/ 25 h 67"/>
                <a:gd name="T28" fmla="*/ 25 w 90"/>
                <a:gd name="T29" fmla="*/ 19 h 67"/>
                <a:gd name="T30" fmla="*/ 28 w 90"/>
                <a:gd name="T31" fmla="*/ 19 h 67"/>
                <a:gd name="T32" fmla="*/ 29 w 90"/>
                <a:gd name="T33" fmla="*/ 28 h 67"/>
                <a:gd name="T34" fmla="*/ 33 w 90"/>
                <a:gd name="T35" fmla="*/ 32 h 67"/>
                <a:gd name="T36" fmla="*/ 29 w 90"/>
                <a:gd name="T37" fmla="*/ 27 h 67"/>
                <a:gd name="T38" fmla="*/ 40 w 90"/>
                <a:gd name="T39" fmla="*/ 28 h 67"/>
                <a:gd name="T40" fmla="*/ 40 w 90"/>
                <a:gd name="T41" fmla="*/ 23 h 67"/>
                <a:gd name="T42" fmla="*/ 37 w 90"/>
                <a:gd name="T43" fmla="*/ 19 h 67"/>
                <a:gd name="T44" fmla="*/ 36 w 90"/>
                <a:gd name="T45" fmla="*/ 32 h 67"/>
                <a:gd name="T46" fmla="*/ 37 w 90"/>
                <a:gd name="T47" fmla="*/ 28 h 67"/>
                <a:gd name="T48" fmla="*/ 38 w 90"/>
                <a:gd name="T49" fmla="*/ 32 h 67"/>
                <a:gd name="T50" fmla="*/ 37 w 90"/>
                <a:gd name="T51" fmla="*/ 22 h 67"/>
                <a:gd name="T52" fmla="*/ 37 w 90"/>
                <a:gd name="T53" fmla="*/ 24 h 67"/>
                <a:gd name="T54" fmla="*/ 43 w 90"/>
                <a:gd name="T55" fmla="*/ 30 h 67"/>
                <a:gd name="T56" fmla="*/ 46 w 90"/>
                <a:gd name="T57" fmla="*/ 24 h 67"/>
                <a:gd name="T58" fmla="*/ 46 w 90"/>
                <a:gd name="T59" fmla="*/ 21 h 67"/>
                <a:gd name="T60" fmla="*/ 41 w 90"/>
                <a:gd name="T61" fmla="*/ 32 h 67"/>
                <a:gd name="T62" fmla="*/ 53 w 90"/>
                <a:gd name="T63" fmla="*/ 19 h 67"/>
                <a:gd name="T64" fmla="*/ 49 w 90"/>
                <a:gd name="T65" fmla="*/ 24 h 67"/>
                <a:gd name="T66" fmla="*/ 46 w 90"/>
                <a:gd name="T67" fmla="*/ 32 h 67"/>
                <a:gd name="T68" fmla="*/ 50 w 90"/>
                <a:gd name="T69" fmla="*/ 26 h 67"/>
                <a:gd name="T70" fmla="*/ 53 w 90"/>
                <a:gd name="T71" fmla="*/ 30 h 67"/>
                <a:gd name="T72" fmla="*/ 59 w 90"/>
                <a:gd name="T73" fmla="*/ 30 h 67"/>
                <a:gd name="T74" fmla="*/ 53 w 90"/>
                <a:gd name="T75" fmla="*/ 22 h 67"/>
                <a:gd name="T76" fmla="*/ 57 w 90"/>
                <a:gd name="T77" fmla="*/ 21 h 67"/>
                <a:gd name="T78" fmla="*/ 56 w 90"/>
                <a:gd name="T79" fmla="*/ 30 h 67"/>
                <a:gd name="T80" fmla="*/ 60 w 90"/>
                <a:gd name="T81" fmla="*/ 19 h 67"/>
                <a:gd name="T82" fmla="*/ 63 w 90"/>
                <a:gd name="T83" fmla="*/ 32 h 67"/>
                <a:gd name="T84" fmla="*/ 66 w 90"/>
                <a:gd name="T85" fmla="*/ 19 h 67"/>
                <a:gd name="T86" fmla="*/ 63 w 90"/>
                <a:gd name="T87" fmla="*/ 30 h 67"/>
                <a:gd name="T88" fmla="*/ 60 w 90"/>
                <a:gd name="T89" fmla="*/ 19 h 67"/>
                <a:gd name="T90" fmla="*/ 70 w 90"/>
                <a:gd name="T91" fmla="*/ 32 h 67"/>
                <a:gd name="T92" fmla="*/ 73 w 90"/>
                <a:gd name="T93" fmla="*/ 26 h 67"/>
                <a:gd name="T94" fmla="*/ 69 w 90"/>
                <a:gd name="T95" fmla="*/ 22 h 67"/>
                <a:gd name="T96" fmla="*/ 70 w 90"/>
                <a:gd name="T97" fmla="*/ 24 h 67"/>
                <a:gd name="T98" fmla="*/ 70 w 90"/>
                <a:gd name="T99" fmla="*/ 19 h 67"/>
                <a:gd name="T100" fmla="*/ 67 w 90"/>
                <a:gd name="T101" fmla="*/ 24 h 67"/>
                <a:gd name="T102" fmla="*/ 70 w 90"/>
                <a:gd name="T103" fmla="*/ 30 h 67"/>
                <a:gd name="T104" fmla="*/ 69 w 90"/>
                <a:gd name="T105" fmla="*/ 27 h 67"/>
                <a:gd name="T106" fmla="*/ 79 w 90"/>
                <a:gd name="T107" fmla="*/ 30 h 67"/>
                <a:gd name="T108" fmla="*/ 79 w 90"/>
                <a:gd name="T109" fmla="*/ 26 h 67"/>
                <a:gd name="T110" fmla="*/ 76 w 90"/>
                <a:gd name="T111" fmla="*/ 21 h 67"/>
                <a:gd name="T112" fmla="*/ 74 w 90"/>
                <a:gd name="T113" fmla="*/ 1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" h="67">
                  <a:moveTo>
                    <a:pt x="85" y="18"/>
                  </a:moveTo>
                  <a:cubicBezTo>
                    <a:pt x="85" y="67"/>
                    <a:pt x="85" y="67"/>
                    <a:pt x="85" y="67"/>
                  </a:cubicBezTo>
                  <a:cubicBezTo>
                    <a:pt x="70" y="67"/>
                    <a:pt x="70" y="67"/>
                    <a:pt x="70" y="67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5" y="18"/>
                    <a:pt x="85" y="18"/>
                    <a:pt x="85" y="18"/>
                  </a:cubicBezTo>
                  <a:close/>
                  <a:moveTo>
                    <a:pt x="25" y="59"/>
                  </a:moveTo>
                  <a:cubicBezTo>
                    <a:pt x="25" y="67"/>
                    <a:pt x="25" y="67"/>
                    <a:pt x="25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25" y="59"/>
                    <a:pt x="25" y="59"/>
                    <a:pt x="25" y="59"/>
                  </a:cubicBezTo>
                  <a:close/>
                  <a:moveTo>
                    <a:pt x="25" y="49"/>
                  </a:moveTo>
                  <a:cubicBezTo>
                    <a:pt x="25" y="56"/>
                    <a:pt x="25" y="56"/>
                    <a:pt x="25" y="56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25" y="49"/>
                    <a:pt x="25" y="49"/>
                    <a:pt x="25" y="49"/>
                  </a:cubicBezTo>
                  <a:close/>
                  <a:moveTo>
                    <a:pt x="25" y="38"/>
                  </a:moveTo>
                  <a:cubicBezTo>
                    <a:pt x="25" y="46"/>
                    <a:pt x="25" y="46"/>
                    <a:pt x="25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25" y="19"/>
                  </a:moveTo>
                  <a:cubicBezTo>
                    <a:pt x="23" y="19"/>
                    <a:pt x="23" y="19"/>
                    <a:pt x="23" y="19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5" y="19"/>
                    <a:pt x="25" y="19"/>
                    <a:pt x="25" y="19"/>
                  </a:cubicBezTo>
                  <a:close/>
                  <a:moveTo>
                    <a:pt x="33" y="32"/>
                  </a:moveTo>
                  <a:cubicBezTo>
                    <a:pt x="31" y="19"/>
                    <a:pt x="31" y="19"/>
                    <a:pt x="31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3" y="32"/>
                    <a:pt x="33" y="32"/>
                    <a:pt x="33" y="32"/>
                  </a:cubicBezTo>
                  <a:close/>
                  <a:moveTo>
                    <a:pt x="30" y="27"/>
                  </a:moveTo>
                  <a:cubicBezTo>
                    <a:pt x="29" y="23"/>
                    <a:pt x="29" y="23"/>
                    <a:pt x="29" y="23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30" y="27"/>
                    <a:pt x="30" y="27"/>
                    <a:pt x="30" y="27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0"/>
                    <a:pt x="40" y="28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6"/>
                    <a:pt x="39" y="25"/>
                    <a:pt x="38" y="25"/>
                  </a:cubicBezTo>
                  <a:cubicBezTo>
                    <a:pt x="39" y="25"/>
                    <a:pt x="40" y="24"/>
                    <a:pt x="40" y="23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1"/>
                    <a:pt x="40" y="20"/>
                    <a:pt x="39" y="20"/>
                  </a:cubicBezTo>
                  <a:cubicBezTo>
                    <a:pt x="38" y="20"/>
                    <a:pt x="38" y="19"/>
                    <a:pt x="37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7"/>
                    <a:pt x="37" y="27"/>
                    <a:pt x="37" y="28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30"/>
                    <a:pt x="37" y="31"/>
                    <a:pt x="38" y="32"/>
                  </a:cubicBezTo>
                  <a:cubicBezTo>
                    <a:pt x="40" y="32"/>
                    <a:pt x="40" y="32"/>
                    <a:pt x="40" y="32"/>
                  </a:cubicBezTo>
                  <a:close/>
                  <a:moveTo>
                    <a:pt x="37" y="24"/>
                  </a:moveTo>
                  <a:cubicBezTo>
                    <a:pt x="37" y="22"/>
                    <a:pt x="37" y="22"/>
                    <a:pt x="37" y="22"/>
                  </a:cubicBezTo>
                  <a:cubicBezTo>
                    <a:pt x="37" y="21"/>
                    <a:pt x="37" y="21"/>
                    <a:pt x="36" y="21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46" y="32"/>
                  </a:moveTo>
                  <a:cubicBezTo>
                    <a:pt x="46" y="30"/>
                    <a:pt x="46" y="30"/>
                    <a:pt x="46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53" y="32"/>
                  </a:moveTo>
                  <a:cubicBezTo>
                    <a:pt x="53" y="19"/>
                    <a:pt x="53" y="19"/>
                    <a:pt x="53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3" y="32"/>
                    <a:pt x="53" y="32"/>
                    <a:pt x="53" y="32"/>
                  </a:cubicBezTo>
                  <a:close/>
                  <a:moveTo>
                    <a:pt x="53" y="30"/>
                  </a:moveTo>
                  <a:cubicBezTo>
                    <a:pt x="53" y="31"/>
                    <a:pt x="54" y="32"/>
                    <a:pt x="56" y="32"/>
                  </a:cubicBezTo>
                  <a:cubicBezTo>
                    <a:pt x="57" y="32"/>
                    <a:pt x="58" y="32"/>
                    <a:pt x="59" y="31"/>
                  </a:cubicBezTo>
                  <a:cubicBezTo>
                    <a:pt x="59" y="31"/>
                    <a:pt x="59" y="30"/>
                    <a:pt x="59" y="30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0"/>
                    <a:pt x="58" y="19"/>
                    <a:pt x="56" y="19"/>
                  </a:cubicBezTo>
                  <a:cubicBezTo>
                    <a:pt x="54" y="19"/>
                    <a:pt x="53" y="20"/>
                    <a:pt x="53" y="22"/>
                  </a:cubicBezTo>
                  <a:cubicBezTo>
                    <a:pt x="53" y="30"/>
                    <a:pt x="53" y="30"/>
                    <a:pt x="53" y="30"/>
                  </a:cubicBezTo>
                  <a:close/>
                  <a:moveTo>
                    <a:pt x="57" y="30"/>
                  </a:move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7" y="30"/>
                    <a:pt x="57" y="30"/>
                    <a:pt x="57" y="30"/>
                  </a:cubicBezTo>
                  <a:close/>
                  <a:moveTo>
                    <a:pt x="60" y="19"/>
                  </a:moveTo>
                  <a:cubicBezTo>
                    <a:pt x="60" y="30"/>
                    <a:pt x="60" y="30"/>
                    <a:pt x="60" y="30"/>
                  </a:cubicBezTo>
                  <a:cubicBezTo>
                    <a:pt x="60" y="30"/>
                    <a:pt x="60" y="31"/>
                    <a:pt x="61" y="31"/>
                  </a:cubicBezTo>
                  <a:cubicBezTo>
                    <a:pt x="62" y="32"/>
                    <a:pt x="62" y="32"/>
                    <a:pt x="63" y="32"/>
                  </a:cubicBezTo>
                  <a:cubicBezTo>
                    <a:pt x="64" y="32"/>
                    <a:pt x="65" y="32"/>
                    <a:pt x="65" y="31"/>
                  </a:cubicBezTo>
                  <a:cubicBezTo>
                    <a:pt x="66" y="31"/>
                    <a:pt x="66" y="30"/>
                    <a:pt x="66" y="30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3" y="30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9"/>
                    <a:pt x="60" y="19"/>
                    <a:pt x="60" y="19"/>
                  </a:cubicBezTo>
                  <a:close/>
                  <a:moveTo>
                    <a:pt x="67" y="27"/>
                  </a:moveTo>
                  <a:cubicBezTo>
                    <a:pt x="67" y="30"/>
                    <a:pt x="67" y="30"/>
                    <a:pt x="67" y="30"/>
                  </a:cubicBezTo>
                  <a:cubicBezTo>
                    <a:pt x="67" y="31"/>
                    <a:pt x="68" y="32"/>
                    <a:pt x="70" y="32"/>
                  </a:cubicBezTo>
                  <a:cubicBezTo>
                    <a:pt x="72" y="32"/>
                    <a:pt x="73" y="31"/>
                    <a:pt x="73" y="29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7"/>
                    <a:pt x="73" y="27"/>
                    <a:pt x="73" y="26"/>
                  </a:cubicBezTo>
                  <a:cubicBezTo>
                    <a:pt x="72" y="26"/>
                    <a:pt x="72" y="25"/>
                    <a:pt x="70" y="24"/>
                  </a:cubicBezTo>
                  <a:cubicBezTo>
                    <a:pt x="70" y="24"/>
                    <a:pt x="70" y="23"/>
                    <a:pt x="70" y="23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1"/>
                    <a:pt x="70" y="21"/>
                    <a:pt x="70" y="21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2" y="19"/>
                    <a:pt x="70" y="19"/>
                  </a:cubicBezTo>
                  <a:cubicBezTo>
                    <a:pt x="68" y="19"/>
                    <a:pt x="67" y="20"/>
                    <a:pt x="67" y="22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8" y="25"/>
                    <a:pt x="68" y="26"/>
                    <a:pt x="69" y="27"/>
                  </a:cubicBezTo>
                  <a:cubicBezTo>
                    <a:pt x="70" y="27"/>
                    <a:pt x="70" y="28"/>
                    <a:pt x="70" y="28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69" y="30"/>
                    <a:pt x="69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7" y="27"/>
                    <a:pt x="67" y="27"/>
                    <a:pt x="67" y="27"/>
                  </a:cubicBezTo>
                  <a:close/>
                  <a:moveTo>
                    <a:pt x="79" y="32"/>
                  </a:moveTo>
                  <a:cubicBezTo>
                    <a:pt x="79" y="30"/>
                    <a:pt x="79" y="30"/>
                    <a:pt x="79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4" y="32"/>
                    <a:pt x="74" y="32"/>
                    <a:pt x="74" y="32"/>
                  </a:cubicBezTo>
                  <a:lnTo>
                    <a:pt x="79" y="32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zh-CN" altLang="en-US" sz="1200" kern="0">
                <a:solidFill>
                  <a:prstClr val="black"/>
                </a:solidFill>
                <a:latin typeface="+mn-ea"/>
                <a:cs typeface="SimHei" charset="-122"/>
              </a:endParaRP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5647193" y="3242650"/>
              <a:ext cx="713176" cy="2216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电商</a:t>
              </a:r>
              <a:r>
                <a:rPr kumimoji="1" lang="en-US" altLang="zh-CN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/</a:t>
              </a:r>
              <a:r>
                <a:rPr kumimoji="1" lang="zh-CN" altLang="en-US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中转仓</a:t>
              </a:r>
            </a:p>
          </p:txBody>
        </p:sp>
        <p:sp>
          <p:nvSpPr>
            <p:cNvPr id="70" name="Freeform 149"/>
            <p:cNvSpPr>
              <a:spLocks noEditPoints="1"/>
            </p:cNvSpPr>
            <p:nvPr/>
          </p:nvSpPr>
          <p:spPr bwMode="auto">
            <a:xfrm>
              <a:off x="5187522" y="3105539"/>
              <a:ext cx="221957" cy="164643"/>
            </a:xfrm>
            <a:custGeom>
              <a:avLst/>
              <a:gdLst>
                <a:gd name="T0" fmla="*/ 70 w 90"/>
                <a:gd name="T1" fmla="*/ 67 h 67"/>
                <a:gd name="T2" fmla="*/ 21 w 90"/>
                <a:gd name="T3" fmla="*/ 67 h 67"/>
                <a:gd name="T4" fmla="*/ 1 w 90"/>
                <a:gd name="T5" fmla="*/ 18 h 67"/>
                <a:gd name="T6" fmla="*/ 44 w 90"/>
                <a:gd name="T7" fmla="*/ 0 h 67"/>
                <a:gd name="T8" fmla="*/ 89 w 90"/>
                <a:gd name="T9" fmla="*/ 18 h 67"/>
                <a:gd name="T10" fmla="*/ 25 w 90"/>
                <a:gd name="T11" fmla="*/ 67 h 67"/>
                <a:gd name="T12" fmla="*/ 25 w 90"/>
                <a:gd name="T13" fmla="*/ 59 h 67"/>
                <a:gd name="T14" fmla="*/ 66 w 90"/>
                <a:gd name="T15" fmla="*/ 56 h 67"/>
                <a:gd name="T16" fmla="*/ 25 w 90"/>
                <a:gd name="T17" fmla="*/ 38 h 67"/>
                <a:gd name="T18" fmla="*/ 66 w 90"/>
                <a:gd name="T19" fmla="*/ 38 h 67"/>
                <a:gd name="T20" fmla="*/ 23 w 90"/>
                <a:gd name="T21" fmla="*/ 19 h 67"/>
                <a:gd name="T22" fmla="*/ 19 w 90"/>
                <a:gd name="T23" fmla="*/ 19 h 67"/>
                <a:gd name="T24" fmla="*/ 14 w 90"/>
                <a:gd name="T25" fmla="*/ 19 h 67"/>
                <a:gd name="T26" fmla="*/ 20 w 90"/>
                <a:gd name="T27" fmla="*/ 25 h 67"/>
                <a:gd name="T28" fmla="*/ 25 w 90"/>
                <a:gd name="T29" fmla="*/ 19 h 67"/>
                <a:gd name="T30" fmla="*/ 28 w 90"/>
                <a:gd name="T31" fmla="*/ 19 h 67"/>
                <a:gd name="T32" fmla="*/ 29 w 90"/>
                <a:gd name="T33" fmla="*/ 28 h 67"/>
                <a:gd name="T34" fmla="*/ 33 w 90"/>
                <a:gd name="T35" fmla="*/ 32 h 67"/>
                <a:gd name="T36" fmla="*/ 29 w 90"/>
                <a:gd name="T37" fmla="*/ 27 h 67"/>
                <a:gd name="T38" fmla="*/ 40 w 90"/>
                <a:gd name="T39" fmla="*/ 28 h 67"/>
                <a:gd name="T40" fmla="*/ 40 w 90"/>
                <a:gd name="T41" fmla="*/ 23 h 67"/>
                <a:gd name="T42" fmla="*/ 37 w 90"/>
                <a:gd name="T43" fmla="*/ 19 h 67"/>
                <a:gd name="T44" fmla="*/ 36 w 90"/>
                <a:gd name="T45" fmla="*/ 32 h 67"/>
                <a:gd name="T46" fmla="*/ 37 w 90"/>
                <a:gd name="T47" fmla="*/ 28 h 67"/>
                <a:gd name="T48" fmla="*/ 38 w 90"/>
                <a:gd name="T49" fmla="*/ 32 h 67"/>
                <a:gd name="T50" fmla="*/ 37 w 90"/>
                <a:gd name="T51" fmla="*/ 22 h 67"/>
                <a:gd name="T52" fmla="*/ 37 w 90"/>
                <a:gd name="T53" fmla="*/ 24 h 67"/>
                <a:gd name="T54" fmla="*/ 43 w 90"/>
                <a:gd name="T55" fmla="*/ 30 h 67"/>
                <a:gd name="T56" fmla="*/ 46 w 90"/>
                <a:gd name="T57" fmla="*/ 24 h 67"/>
                <a:gd name="T58" fmla="*/ 46 w 90"/>
                <a:gd name="T59" fmla="*/ 21 h 67"/>
                <a:gd name="T60" fmla="*/ 41 w 90"/>
                <a:gd name="T61" fmla="*/ 32 h 67"/>
                <a:gd name="T62" fmla="*/ 53 w 90"/>
                <a:gd name="T63" fmla="*/ 19 h 67"/>
                <a:gd name="T64" fmla="*/ 49 w 90"/>
                <a:gd name="T65" fmla="*/ 24 h 67"/>
                <a:gd name="T66" fmla="*/ 46 w 90"/>
                <a:gd name="T67" fmla="*/ 32 h 67"/>
                <a:gd name="T68" fmla="*/ 50 w 90"/>
                <a:gd name="T69" fmla="*/ 26 h 67"/>
                <a:gd name="T70" fmla="*/ 53 w 90"/>
                <a:gd name="T71" fmla="*/ 30 h 67"/>
                <a:gd name="T72" fmla="*/ 59 w 90"/>
                <a:gd name="T73" fmla="*/ 30 h 67"/>
                <a:gd name="T74" fmla="*/ 53 w 90"/>
                <a:gd name="T75" fmla="*/ 22 h 67"/>
                <a:gd name="T76" fmla="*/ 57 w 90"/>
                <a:gd name="T77" fmla="*/ 21 h 67"/>
                <a:gd name="T78" fmla="*/ 56 w 90"/>
                <a:gd name="T79" fmla="*/ 30 h 67"/>
                <a:gd name="T80" fmla="*/ 60 w 90"/>
                <a:gd name="T81" fmla="*/ 19 h 67"/>
                <a:gd name="T82" fmla="*/ 63 w 90"/>
                <a:gd name="T83" fmla="*/ 32 h 67"/>
                <a:gd name="T84" fmla="*/ 66 w 90"/>
                <a:gd name="T85" fmla="*/ 19 h 67"/>
                <a:gd name="T86" fmla="*/ 63 w 90"/>
                <a:gd name="T87" fmla="*/ 30 h 67"/>
                <a:gd name="T88" fmla="*/ 60 w 90"/>
                <a:gd name="T89" fmla="*/ 19 h 67"/>
                <a:gd name="T90" fmla="*/ 70 w 90"/>
                <a:gd name="T91" fmla="*/ 32 h 67"/>
                <a:gd name="T92" fmla="*/ 73 w 90"/>
                <a:gd name="T93" fmla="*/ 26 h 67"/>
                <a:gd name="T94" fmla="*/ 69 w 90"/>
                <a:gd name="T95" fmla="*/ 22 h 67"/>
                <a:gd name="T96" fmla="*/ 70 w 90"/>
                <a:gd name="T97" fmla="*/ 24 h 67"/>
                <a:gd name="T98" fmla="*/ 70 w 90"/>
                <a:gd name="T99" fmla="*/ 19 h 67"/>
                <a:gd name="T100" fmla="*/ 67 w 90"/>
                <a:gd name="T101" fmla="*/ 24 h 67"/>
                <a:gd name="T102" fmla="*/ 70 w 90"/>
                <a:gd name="T103" fmla="*/ 30 h 67"/>
                <a:gd name="T104" fmla="*/ 69 w 90"/>
                <a:gd name="T105" fmla="*/ 27 h 67"/>
                <a:gd name="T106" fmla="*/ 79 w 90"/>
                <a:gd name="T107" fmla="*/ 30 h 67"/>
                <a:gd name="T108" fmla="*/ 79 w 90"/>
                <a:gd name="T109" fmla="*/ 26 h 67"/>
                <a:gd name="T110" fmla="*/ 76 w 90"/>
                <a:gd name="T111" fmla="*/ 21 h 67"/>
                <a:gd name="T112" fmla="*/ 74 w 90"/>
                <a:gd name="T113" fmla="*/ 1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" h="67">
                  <a:moveTo>
                    <a:pt x="85" y="18"/>
                  </a:moveTo>
                  <a:cubicBezTo>
                    <a:pt x="85" y="67"/>
                    <a:pt x="85" y="67"/>
                    <a:pt x="85" y="67"/>
                  </a:cubicBezTo>
                  <a:cubicBezTo>
                    <a:pt x="70" y="67"/>
                    <a:pt x="70" y="67"/>
                    <a:pt x="70" y="67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5" y="18"/>
                    <a:pt x="85" y="18"/>
                    <a:pt x="85" y="18"/>
                  </a:cubicBezTo>
                  <a:close/>
                  <a:moveTo>
                    <a:pt x="25" y="59"/>
                  </a:moveTo>
                  <a:cubicBezTo>
                    <a:pt x="25" y="67"/>
                    <a:pt x="25" y="67"/>
                    <a:pt x="25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25" y="59"/>
                    <a:pt x="25" y="59"/>
                    <a:pt x="25" y="59"/>
                  </a:cubicBezTo>
                  <a:close/>
                  <a:moveTo>
                    <a:pt x="25" y="49"/>
                  </a:moveTo>
                  <a:cubicBezTo>
                    <a:pt x="25" y="56"/>
                    <a:pt x="25" y="56"/>
                    <a:pt x="25" y="56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25" y="49"/>
                    <a:pt x="25" y="49"/>
                    <a:pt x="25" y="49"/>
                  </a:cubicBezTo>
                  <a:close/>
                  <a:moveTo>
                    <a:pt x="25" y="38"/>
                  </a:moveTo>
                  <a:cubicBezTo>
                    <a:pt x="25" y="46"/>
                    <a:pt x="25" y="46"/>
                    <a:pt x="25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25" y="19"/>
                  </a:moveTo>
                  <a:cubicBezTo>
                    <a:pt x="23" y="19"/>
                    <a:pt x="23" y="19"/>
                    <a:pt x="23" y="19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5" y="19"/>
                    <a:pt x="25" y="19"/>
                    <a:pt x="25" y="19"/>
                  </a:cubicBezTo>
                  <a:close/>
                  <a:moveTo>
                    <a:pt x="33" y="32"/>
                  </a:moveTo>
                  <a:cubicBezTo>
                    <a:pt x="31" y="19"/>
                    <a:pt x="31" y="19"/>
                    <a:pt x="31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3" y="32"/>
                    <a:pt x="33" y="32"/>
                    <a:pt x="33" y="32"/>
                  </a:cubicBezTo>
                  <a:close/>
                  <a:moveTo>
                    <a:pt x="30" y="27"/>
                  </a:moveTo>
                  <a:cubicBezTo>
                    <a:pt x="29" y="23"/>
                    <a:pt x="29" y="23"/>
                    <a:pt x="29" y="23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30" y="27"/>
                    <a:pt x="30" y="27"/>
                    <a:pt x="30" y="27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0"/>
                    <a:pt x="40" y="28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6"/>
                    <a:pt x="39" y="25"/>
                    <a:pt x="38" y="25"/>
                  </a:cubicBezTo>
                  <a:cubicBezTo>
                    <a:pt x="39" y="25"/>
                    <a:pt x="40" y="24"/>
                    <a:pt x="40" y="23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1"/>
                    <a:pt x="40" y="20"/>
                    <a:pt x="39" y="20"/>
                  </a:cubicBezTo>
                  <a:cubicBezTo>
                    <a:pt x="38" y="20"/>
                    <a:pt x="38" y="19"/>
                    <a:pt x="37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7"/>
                    <a:pt x="37" y="27"/>
                    <a:pt x="37" y="28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30"/>
                    <a:pt x="37" y="31"/>
                    <a:pt x="38" y="32"/>
                  </a:cubicBezTo>
                  <a:cubicBezTo>
                    <a:pt x="40" y="32"/>
                    <a:pt x="40" y="32"/>
                    <a:pt x="40" y="32"/>
                  </a:cubicBezTo>
                  <a:close/>
                  <a:moveTo>
                    <a:pt x="37" y="24"/>
                  </a:moveTo>
                  <a:cubicBezTo>
                    <a:pt x="37" y="22"/>
                    <a:pt x="37" y="22"/>
                    <a:pt x="37" y="22"/>
                  </a:cubicBezTo>
                  <a:cubicBezTo>
                    <a:pt x="37" y="21"/>
                    <a:pt x="37" y="21"/>
                    <a:pt x="36" y="21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46" y="32"/>
                  </a:moveTo>
                  <a:cubicBezTo>
                    <a:pt x="46" y="30"/>
                    <a:pt x="46" y="30"/>
                    <a:pt x="46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53" y="32"/>
                  </a:moveTo>
                  <a:cubicBezTo>
                    <a:pt x="53" y="19"/>
                    <a:pt x="53" y="19"/>
                    <a:pt x="53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3" y="32"/>
                    <a:pt x="53" y="32"/>
                    <a:pt x="53" y="32"/>
                  </a:cubicBezTo>
                  <a:close/>
                  <a:moveTo>
                    <a:pt x="53" y="30"/>
                  </a:moveTo>
                  <a:cubicBezTo>
                    <a:pt x="53" y="31"/>
                    <a:pt x="54" y="32"/>
                    <a:pt x="56" y="32"/>
                  </a:cubicBezTo>
                  <a:cubicBezTo>
                    <a:pt x="57" y="32"/>
                    <a:pt x="58" y="32"/>
                    <a:pt x="59" y="31"/>
                  </a:cubicBezTo>
                  <a:cubicBezTo>
                    <a:pt x="59" y="31"/>
                    <a:pt x="59" y="30"/>
                    <a:pt x="59" y="30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0"/>
                    <a:pt x="58" y="19"/>
                    <a:pt x="56" y="19"/>
                  </a:cubicBezTo>
                  <a:cubicBezTo>
                    <a:pt x="54" y="19"/>
                    <a:pt x="53" y="20"/>
                    <a:pt x="53" y="22"/>
                  </a:cubicBezTo>
                  <a:cubicBezTo>
                    <a:pt x="53" y="30"/>
                    <a:pt x="53" y="30"/>
                    <a:pt x="53" y="30"/>
                  </a:cubicBezTo>
                  <a:close/>
                  <a:moveTo>
                    <a:pt x="57" y="30"/>
                  </a:move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7" y="30"/>
                    <a:pt x="57" y="30"/>
                    <a:pt x="57" y="30"/>
                  </a:cubicBezTo>
                  <a:close/>
                  <a:moveTo>
                    <a:pt x="60" y="19"/>
                  </a:moveTo>
                  <a:cubicBezTo>
                    <a:pt x="60" y="30"/>
                    <a:pt x="60" y="30"/>
                    <a:pt x="60" y="30"/>
                  </a:cubicBezTo>
                  <a:cubicBezTo>
                    <a:pt x="60" y="30"/>
                    <a:pt x="60" y="31"/>
                    <a:pt x="61" y="31"/>
                  </a:cubicBezTo>
                  <a:cubicBezTo>
                    <a:pt x="62" y="32"/>
                    <a:pt x="62" y="32"/>
                    <a:pt x="63" y="32"/>
                  </a:cubicBezTo>
                  <a:cubicBezTo>
                    <a:pt x="64" y="32"/>
                    <a:pt x="65" y="32"/>
                    <a:pt x="65" y="31"/>
                  </a:cubicBezTo>
                  <a:cubicBezTo>
                    <a:pt x="66" y="31"/>
                    <a:pt x="66" y="30"/>
                    <a:pt x="66" y="30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3" y="30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9"/>
                    <a:pt x="60" y="19"/>
                    <a:pt x="60" y="19"/>
                  </a:cubicBezTo>
                  <a:close/>
                  <a:moveTo>
                    <a:pt x="67" y="27"/>
                  </a:moveTo>
                  <a:cubicBezTo>
                    <a:pt x="67" y="30"/>
                    <a:pt x="67" y="30"/>
                    <a:pt x="67" y="30"/>
                  </a:cubicBezTo>
                  <a:cubicBezTo>
                    <a:pt x="67" y="31"/>
                    <a:pt x="68" y="32"/>
                    <a:pt x="70" y="32"/>
                  </a:cubicBezTo>
                  <a:cubicBezTo>
                    <a:pt x="72" y="32"/>
                    <a:pt x="73" y="31"/>
                    <a:pt x="73" y="29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7"/>
                    <a:pt x="73" y="27"/>
                    <a:pt x="73" y="26"/>
                  </a:cubicBezTo>
                  <a:cubicBezTo>
                    <a:pt x="72" y="26"/>
                    <a:pt x="72" y="25"/>
                    <a:pt x="70" y="24"/>
                  </a:cubicBezTo>
                  <a:cubicBezTo>
                    <a:pt x="70" y="24"/>
                    <a:pt x="70" y="23"/>
                    <a:pt x="70" y="23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1"/>
                    <a:pt x="70" y="21"/>
                    <a:pt x="70" y="21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2" y="19"/>
                    <a:pt x="70" y="19"/>
                  </a:cubicBezTo>
                  <a:cubicBezTo>
                    <a:pt x="68" y="19"/>
                    <a:pt x="67" y="20"/>
                    <a:pt x="67" y="22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8" y="25"/>
                    <a:pt x="68" y="26"/>
                    <a:pt x="69" y="27"/>
                  </a:cubicBezTo>
                  <a:cubicBezTo>
                    <a:pt x="70" y="27"/>
                    <a:pt x="70" y="28"/>
                    <a:pt x="70" y="28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70" y="30"/>
                    <a:pt x="70" y="30"/>
                  </a:cubicBezTo>
                  <a:cubicBezTo>
                    <a:pt x="70" y="30"/>
                    <a:pt x="69" y="30"/>
                    <a:pt x="69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7" y="27"/>
                    <a:pt x="67" y="27"/>
                    <a:pt x="67" y="27"/>
                  </a:cubicBezTo>
                  <a:close/>
                  <a:moveTo>
                    <a:pt x="79" y="32"/>
                  </a:moveTo>
                  <a:cubicBezTo>
                    <a:pt x="79" y="30"/>
                    <a:pt x="79" y="30"/>
                    <a:pt x="79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4" y="32"/>
                    <a:pt x="74" y="32"/>
                    <a:pt x="74" y="32"/>
                  </a:cubicBezTo>
                  <a:lnTo>
                    <a:pt x="79" y="32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1219140">
                <a:defRPr/>
              </a:pPr>
              <a:endParaRPr lang="zh-CN" altLang="en-US" sz="1200" kern="0">
                <a:solidFill>
                  <a:prstClr val="black"/>
                </a:solidFill>
                <a:latin typeface="+mn-ea"/>
                <a:cs typeface="SimHei" charset="-122"/>
              </a:endParaRPr>
            </a:p>
          </p:txBody>
        </p:sp>
        <p:sp>
          <p:nvSpPr>
            <p:cNvPr id="71" name="文本框 70"/>
            <p:cNvSpPr txBox="1"/>
            <p:nvPr/>
          </p:nvSpPr>
          <p:spPr>
            <a:xfrm>
              <a:off x="5073222" y="3244513"/>
              <a:ext cx="455894" cy="22160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1219140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100" kern="0" dirty="0">
                  <a:solidFill>
                    <a:prstClr val="white">
                      <a:lumMod val="50000"/>
                    </a:prstClr>
                  </a:solidFill>
                  <a:latin typeface="+mn-ea"/>
                  <a:cs typeface="SimHei" charset="-122"/>
                </a:rPr>
                <a:t>区域仓</a:t>
              </a:r>
            </a:p>
          </p:txBody>
        </p:sp>
        <p:sp>
          <p:nvSpPr>
            <p:cNvPr id="72" name="文本框 71"/>
            <p:cNvSpPr txBox="1"/>
            <p:nvPr/>
          </p:nvSpPr>
          <p:spPr>
            <a:xfrm>
              <a:off x="5790938" y="2350081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CA352D"/>
                  </a:solidFill>
                  <a:latin typeface="+mn-ea"/>
                </a:rPr>
                <a:t>电商</a:t>
              </a:r>
            </a:p>
          </p:txBody>
        </p:sp>
        <p:sp>
          <p:nvSpPr>
            <p:cNvPr id="73" name="文本框 72"/>
            <p:cNvSpPr txBox="1"/>
            <p:nvPr/>
          </p:nvSpPr>
          <p:spPr>
            <a:xfrm>
              <a:off x="6899624" y="2350081"/>
              <a:ext cx="775693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CA352D"/>
                  </a:solidFill>
                  <a:latin typeface="+mn-ea"/>
                </a:rPr>
                <a:t>到店</a:t>
              </a:r>
              <a:r>
                <a:rPr kumimoji="1" lang="en-US" altLang="zh-CN" sz="1400" b="1" kern="0" dirty="0">
                  <a:solidFill>
                    <a:srgbClr val="CA352D"/>
                  </a:solidFill>
                  <a:latin typeface="+mn-ea"/>
                </a:rPr>
                <a:t>/O2O</a:t>
              </a:r>
              <a:endParaRPr kumimoji="1" lang="zh-CN" altLang="en-US" sz="1400" b="1" kern="0" dirty="0">
                <a:solidFill>
                  <a:srgbClr val="CA352D"/>
                </a:solidFill>
                <a:latin typeface="+mn-ea"/>
              </a:endParaRPr>
            </a:p>
          </p:txBody>
        </p:sp>
        <p:sp>
          <p:nvSpPr>
            <p:cNvPr id="74" name="文本框 73"/>
            <p:cNvSpPr txBox="1"/>
            <p:nvPr/>
          </p:nvSpPr>
          <p:spPr>
            <a:xfrm>
              <a:off x="8105780" y="2350081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CA352D"/>
                  </a:solidFill>
                  <a:latin typeface="+mn-ea"/>
                </a:rPr>
                <a:t>自提</a:t>
              </a:r>
            </a:p>
          </p:txBody>
        </p:sp>
        <p:sp>
          <p:nvSpPr>
            <p:cNvPr id="75" name="文本框 74"/>
            <p:cNvSpPr txBox="1"/>
            <p:nvPr/>
          </p:nvSpPr>
          <p:spPr>
            <a:xfrm>
              <a:off x="4720079" y="2350081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CA352D"/>
                  </a:solidFill>
                  <a:latin typeface="+mn-ea"/>
                </a:rPr>
                <a:t>场景</a:t>
              </a:r>
            </a:p>
          </p:txBody>
        </p:sp>
      </p:grpSp>
      <p:grpSp>
        <p:nvGrpSpPr>
          <p:cNvPr id="80" name="组合 79"/>
          <p:cNvGrpSpPr/>
          <p:nvPr/>
        </p:nvGrpSpPr>
        <p:grpSpPr>
          <a:xfrm>
            <a:off x="6347030" y="5668404"/>
            <a:ext cx="5527196" cy="538609"/>
            <a:chOff x="4730572" y="4299943"/>
            <a:chExt cx="4145397" cy="403957"/>
          </a:xfrm>
        </p:grpSpPr>
        <p:sp>
          <p:nvSpPr>
            <p:cNvPr id="50" name="文本框 49"/>
            <p:cNvSpPr txBox="1"/>
            <p:nvPr/>
          </p:nvSpPr>
          <p:spPr>
            <a:xfrm>
              <a:off x="5169324" y="4299943"/>
              <a:ext cx="1524697" cy="4039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spcAft>
                  <a:spcPts val="600"/>
                </a:spcAft>
                <a:defRPr/>
              </a:pPr>
              <a:r>
                <a:rPr kumimoji="1" lang="zh-CN" altLang="en-US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京东：</a:t>
              </a:r>
              <a:r>
                <a:rPr kumimoji="1" lang="en-US" altLang="zh-CN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1h</a:t>
              </a:r>
              <a:r>
                <a:rPr kumimoji="1" lang="zh-CN" altLang="en-US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（</a:t>
              </a:r>
              <a:r>
                <a:rPr kumimoji="1" lang="en-US" altLang="zh-CN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&amp;</a:t>
              </a:r>
              <a:r>
                <a:rPr kumimoji="1" lang="zh-CN" altLang="en-US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达达）、</a:t>
              </a:r>
              <a:r>
                <a:rPr kumimoji="1" lang="en-US" altLang="zh-CN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211</a:t>
              </a:r>
            </a:p>
            <a:p>
              <a:pPr defTabSz="914332">
                <a:spcAft>
                  <a:spcPts val="600"/>
                </a:spcAft>
                <a:defRPr/>
              </a:pPr>
              <a:r>
                <a:rPr kumimoji="1" lang="zh-CN" altLang="en-US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新高桥：</a:t>
              </a:r>
              <a:r>
                <a:rPr kumimoji="1" lang="en-US" altLang="zh-CN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12h</a:t>
              </a:r>
              <a:r>
                <a:rPr kumimoji="1" lang="zh-CN" altLang="en-US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达（武汉）</a:t>
              </a:r>
            </a:p>
          </p:txBody>
        </p:sp>
        <p:sp>
          <p:nvSpPr>
            <p:cNvPr id="51" name="文本框 50"/>
            <p:cNvSpPr txBox="1"/>
            <p:nvPr/>
          </p:nvSpPr>
          <p:spPr>
            <a:xfrm>
              <a:off x="6589114" y="4299943"/>
              <a:ext cx="1091886" cy="4039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spcAft>
                  <a:spcPts val="600"/>
                </a:spcAft>
                <a:defRPr/>
              </a:pPr>
              <a:r>
                <a:rPr kumimoji="1" lang="zh-CN" altLang="en-US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盒马鲜生：</a:t>
              </a:r>
              <a:r>
                <a:rPr kumimoji="1" lang="en-US" altLang="zh-CN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30min</a:t>
              </a:r>
            </a:p>
            <a:p>
              <a:pPr defTabSz="914332">
                <a:spcAft>
                  <a:spcPts val="600"/>
                </a:spcAft>
                <a:defRPr/>
              </a:pPr>
              <a:r>
                <a:rPr kumimoji="1" lang="zh-CN" altLang="en-US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大润发飞牛网：</a:t>
              </a:r>
              <a:r>
                <a:rPr kumimoji="1" lang="en-US" altLang="zh-CN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1h</a:t>
              </a:r>
              <a:endParaRPr kumimoji="1" lang="zh-CN" altLang="en-US" sz="12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n-ea"/>
              </a:endParaRPr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7681892" y="4299943"/>
              <a:ext cx="1194077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spcAft>
                  <a:spcPts val="600"/>
                </a:spcAft>
                <a:defRPr/>
              </a:pPr>
              <a:r>
                <a:rPr kumimoji="1" lang="zh-CN" altLang="en-US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蜂鸟配送：</a:t>
              </a:r>
              <a:r>
                <a:rPr kumimoji="1" lang="en-US" altLang="zh-CN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30min</a:t>
              </a:r>
              <a:r>
                <a:rPr kumimoji="1" lang="zh-CN" altLang="en-US" sz="12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内</a:t>
              </a:r>
            </a:p>
          </p:txBody>
        </p:sp>
        <p:sp>
          <p:nvSpPr>
            <p:cNvPr id="76" name="文本框 75"/>
            <p:cNvSpPr txBox="1"/>
            <p:nvPr/>
          </p:nvSpPr>
          <p:spPr>
            <a:xfrm>
              <a:off x="4730572" y="4370149"/>
              <a:ext cx="407804" cy="2631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2">
                <a:lnSpc>
                  <a:spcPct val="120000"/>
                </a:lnSpc>
                <a:spcAft>
                  <a:spcPts val="600"/>
                </a:spcAft>
                <a:defRPr/>
              </a:pPr>
              <a:r>
                <a:rPr kumimoji="1" lang="zh-CN" altLang="en-US" sz="14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ea"/>
                </a:rPr>
                <a:t>时效</a:t>
              </a:r>
            </a:p>
          </p:txBody>
        </p:sp>
      </p:grpSp>
      <p:sp>
        <p:nvSpPr>
          <p:cNvPr id="77" name="文本占位符 1"/>
          <p:cNvSpPr txBox="1">
            <a:spLocks/>
          </p:cNvSpPr>
          <p:nvPr/>
        </p:nvSpPr>
        <p:spPr>
          <a:xfrm>
            <a:off x="431371" y="878834"/>
            <a:ext cx="10995691" cy="531396"/>
          </a:xfrm>
          <a:prstGeom prst="rect">
            <a:avLst/>
          </a:prstGeom>
        </p:spPr>
        <p:txBody>
          <a:bodyPr anchor="t"/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0" kern="1200" spc="0">
                <a:solidFill>
                  <a:srgbClr val="CA352D"/>
                </a:solidFill>
                <a:latin typeface="+mj-ea"/>
                <a:ea typeface="+mj-ea"/>
                <a:cs typeface="Segoe UI" charset="0"/>
              </a:defRPr>
            </a:lvl1pPr>
            <a:lvl2pPr marL="5143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572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001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43050" indent="-17145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defRPr/>
            </a:pPr>
            <a:r>
              <a:rPr kumimoji="1" lang="zh-CN" altLang="en-US" sz="2133" b="1" dirty="0">
                <a:solidFill>
                  <a:srgbClr val="FF7D78">
                    <a:lumMod val="50000"/>
                  </a:srgbClr>
                </a:solidFill>
                <a:latin typeface="+mn-ea"/>
                <a:ea typeface="+mn-ea"/>
              </a:rPr>
              <a:t>从“满足需求”到“融入商业”</a:t>
            </a:r>
          </a:p>
        </p:txBody>
      </p:sp>
      <p:sp>
        <p:nvSpPr>
          <p:cNvPr id="78" name="文本框 77"/>
          <p:cNvSpPr txBox="1"/>
          <p:nvPr/>
        </p:nvSpPr>
        <p:spPr>
          <a:xfrm>
            <a:off x="3130664" y="976030"/>
            <a:ext cx="8488763" cy="76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en-US" altLang="zh-CN" sz="1600" b="1" kern="0" dirty="0">
                <a:solidFill>
                  <a:prstClr val="black"/>
                </a:solidFill>
                <a:latin typeface="+mn-ea"/>
              </a:rPr>
              <a:t>——</a:t>
            </a: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基于用户消费场景的细分，</a:t>
            </a:r>
          </a:p>
          <a:p>
            <a:pPr algn="r" defTabSz="914332">
              <a:lnSpc>
                <a:spcPct val="120000"/>
              </a:lnSpc>
              <a:spcAft>
                <a:spcPts val="600"/>
              </a:spcAft>
              <a:defRPr/>
            </a:pPr>
            <a:r>
              <a:rPr kumimoji="1" lang="zh-CN" altLang="en-US" sz="1600" b="1" kern="0" dirty="0">
                <a:solidFill>
                  <a:prstClr val="black"/>
                </a:solidFill>
                <a:latin typeface="+mn-ea"/>
              </a:rPr>
              <a:t>物流产品逐渐从“重量”划分，转向“体验”划分 ，并融入商业零售生态的设计之中。</a:t>
            </a:r>
          </a:p>
        </p:txBody>
      </p:sp>
    </p:spTree>
    <p:extLst>
      <p:ext uri="{BB962C8B-B14F-4D97-AF65-F5344CB8AC3E}">
        <p14:creationId xmlns:p14="http://schemas.microsoft.com/office/powerpoint/2010/main" val="1887793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7426BC5-CA6E-4336-8D45-95060A638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85717" indent="-285717"/>
            <a:r>
              <a:rPr lang="zh-CN" altLang="en-US" dirty="0"/>
              <a:t>国家鼓励物流企业提质增效，支持创新发展，鼓励供应链发展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DBFFC21F-7B8E-4CF6-80BE-A6E115A6FF4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347200" y="6473825"/>
            <a:ext cx="2844800" cy="365125"/>
          </a:xfrm>
          <a:prstGeom prst="rect">
            <a:avLst/>
          </a:prstGeom>
        </p:spPr>
        <p:txBody>
          <a:bodyPr lIns="91430" tIns="45718" rIns="91430" bIns="45718"/>
          <a:lstStyle/>
          <a:p>
            <a:pPr defTabSz="914174" fontAlgn="base">
              <a:spcBef>
                <a:spcPct val="0"/>
              </a:spcBef>
              <a:spcAft>
                <a:spcPct val="0"/>
              </a:spcAft>
              <a:defRPr/>
            </a:pPr>
            <a:fld id="{859A1F2F-D341-4569-AE20-A31005B2A960}" type="slidenum">
              <a:rPr lang="zh-CN" altLang="en-US" smtClean="0"/>
              <a:pPr defTabSz="914174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zh-CN" altLang="en-US"/>
          </a:p>
        </p:txBody>
      </p:sp>
      <p:sp>
        <p:nvSpPr>
          <p:cNvPr id="13" name="椭圆 12"/>
          <p:cNvSpPr/>
          <p:nvPr/>
        </p:nvSpPr>
        <p:spPr>
          <a:xfrm>
            <a:off x="1255521" y="1224532"/>
            <a:ext cx="1440000" cy="1081893"/>
          </a:xfrm>
          <a:prstGeom prst="ellipse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  <a:effectLst>
            <a:outerShdw blurRad="76200" dist="38100" dir="2699985" rotWithShape="0">
              <a:scrgbClr r="0" g="0" b="0">
                <a:alpha val="23000"/>
              </a:scrgbClr>
            </a:outerShdw>
          </a:effectLst>
        </p:spPr>
        <p:txBody>
          <a:bodyPr wrap="square" lIns="0" tIns="60952" rIns="0" bIns="60952" rtlCol="0" anchor="ctr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+mn-ea"/>
              </a:rPr>
              <a:t>供给侧</a:t>
            </a:r>
            <a:endParaRPr lang="en-US" altLang="zh-CN" sz="2000" b="1" dirty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+mn-ea"/>
              </a:rPr>
              <a:t>改革</a:t>
            </a:r>
          </a:p>
        </p:txBody>
      </p:sp>
      <p:sp>
        <p:nvSpPr>
          <p:cNvPr id="14" name="椭圆 13"/>
          <p:cNvSpPr/>
          <p:nvPr/>
        </p:nvSpPr>
        <p:spPr>
          <a:xfrm>
            <a:off x="1255521" y="3147924"/>
            <a:ext cx="1440000" cy="1081893"/>
          </a:xfrm>
          <a:prstGeom prst="ellipse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  <a:effectLst>
            <a:outerShdw blurRad="76200" dist="38100" dir="2699985" rotWithShape="0">
              <a:scrgbClr r="0" g="0" b="0">
                <a:alpha val="23000"/>
              </a:scrgbClr>
            </a:outerShdw>
          </a:effectLst>
        </p:spPr>
        <p:txBody>
          <a:bodyPr wrap="square" lIns="0" tIns="60952" rIns="0" bIns="60952" rtlCol="0" anchor="ctr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+mn-ea"/>
              </a:rPr>
              <a:t>提质增效</a:t>
            </a:r>
          </a:p>
        </p:txBody>
      </p:sp>
      <p:sp>
        <p:nvSpPr>
          <p:cNvPr id="15" name="椭圆 14"/>
          <p:cNvSpPr/>
          <p:nvPr/>
        </p:nvSpPr>
        <p:spPr>
          <a:xfrm>
            <a:off x="1255521" y="4960960"/>
            <a:ext cx="1440000" cy="1081893"/>
          </a:xfrm>
          <a:prstGeom prst="ellipse">
            <a:avLst/>
          </a:prstGeom>
          <a:solidFill>
            <a:srgbClr val="C00000"/>
          </a:solidFill>
          <a:ln w="28575">
            <a:solidFill>
              <a:srgbClr val="C00000"/>
            </a:solidFill>
          </a:ln>
          <a:effectLst>
            <a:outerShdw blurRad="76200" dist="38100" dir="2699985" rotWithShape="0">
              <a:scrgbClr r="0" g="0" b="0">
                <a:alpha val="23000"/>
              </a:scrgbClr>
            </a:outerShdw>
          </a:effectLst>
        </p:spPr>
        <p:txBody>
          <a:bodyPr wrap="square" lIns="0" tIns="60952" rIns="0" bIns="60952" rtlCol="0" anchor="ctr">
            <a:noAutofit/>
          </a:bodyPr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+mn-ea"/>
              </a:rPr>
              <a:t>创业创新</a:t>
            </a:r>
            <a:endParaRPr lang="en-US" altLang="zh-CN" sz="2000" b="1" dirty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+mn-ea"/>
              </a:rPr>
              <a:t>新动能</a:t>
            </a:r>
          </a:p>
        </p:txBody>
      </p:sp>
      <p:sp>
        <p:nvSpPr>
          <p:cNvPr id="16" name="文本框 25"/>
          <p:cNvSpPr txBox="1"/>
          <p:nvPr/>
        </p:nvSpPr>
        <p:spPr>
          <a:xfrm>
            <a:off x="3340339" y="5000170"/>
            <a:ext cx="3456384" cy="1046424"/>
          </a:xfrm>
          <a:prstGeom prst="rect">
            <a:avLst/>
          </a:prstGeom>
          <a:noFill/>
        </p:spPr>
        <p:txBody>
          <a:bodyPr wrap="square" lIns="121904" tIns="60952" rIns="121904" bIns="60952" rtlCol="0">
            <a:spAutoFit/>
          </a:bodyPr>
          <a:lstStyle>
            <a:defPPr>
              <a:defRPr lang="zh-CN"/>
            </a:defPPr>
            <a:lvl1pPr algn="ctr">
              <a:lnSpc>
                <a:spcPts val="1800"/>
              </a:lnSpc>
              <a:defRPr sz="1100">
                <a:latin typeface="+mn-ea"/>
              </a:defRPr>
            </a:lvl1pPr>
          </a:lstStyle>
          <a:p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《</a:t>
            </a:r>
            <a:r>
              <a:rPr lang="zh-CN" altLang="en-US" dirty="0">
                <a:solidFill>
                  <a:schemeClr val="tx1">
                    <a:lumMod val="50000"/>
                  </a:schemeClr>
                </a:solidFill>
              </a:rPr>
              <a:t>关于积极促进供应链创新与应用的指导意见</a:t>
            </a:r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》</a:t>
            </a:r>
          </a:p>
          <a:p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2017</a:t>
            </a:r>
            <a:r>
              <a:rPr lang="zh-CN" altLang="en-US" dirty="0">
                <a:solidFill>
                  <a:schemeClr val="tx1">
                    <a:lumMod val="50000"/>
                  </a:schemeClr>
                </a:solidFill>
              </a:rPr>
              <a:t>年</a:t>
            </a:r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10</a:t>
            </a:r>
            <a:r>
              <a:rPr lang="zh-CN" altLang="en-US" dirty="0">
                <a:solidFill>
                  <a:schemeClr val="tx1">
                    <a:lumMod val="50000"/>
                  </a:schemeClr>
                </a:solidFill>
              </a:rPr>
              <a:t>月</a:t>
            </a:r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zh-CN" altLang="en-US" dirty="0" smtClean="0">
                <a:solidFill>
                  <a:schemeClr val="tx1">
                    <a:lumMod val="50000"/>
                  </a:schemeClr>
                </a:solidFill>
              </a:rPr>
              <a:t>国务院办公厅</a:t>
            </a:r>
          </a:p>
          <a:p>
            <a:r>
              <a:rPr lang="en-US" altLang="zh-CN" dirty="0" smtClean="0">
                <a:solidFill>
                  <a:schemeClr val="tx1">
                    <a:lumMod val="50000"/>
                  </a:schemeClr>
                </a:solidFill>
              </a:rPr>
              <a:t>《</a:t>
            </a:r>
            <a:r>
              <a:rPr lang="zh-CN" altLang="en-US" dirty="0" smtClean="0">
                <a:solidFill>
                  <a:schemeClr val="tx1">
                    <a:lumMod val="50000"/>
                  </a:schemeClr>
                </a:solidFill>
              </a:rPr>
              <a:t>“互联网</a:t>
            </a:r>
            <a:r>
              <a:rPr lang="en-US" altLang="zh-CN" dirty="0" smtClean="0">
                <a:solidFill>
                  <a:schemeClr val="tx1">
                    <a:lumMod val="50000"/>
                  </a:schemeClr>
                </a:solidFill>
              </a:rPr>
              <a:t>+</a:t>
            </a:r>
            <a:r>
              <a:rPr lang="zh-CN" altLang="en-US" dirty="0" smtClean="0">
                <a:solidFill>
                  <a:schemeClr val="tx1">
                    <a:lumMod val="50000"/>
                  </a:schemeClr>
                </a:solidFill>
              </a:rPr>
              <a:t>”高效物流实施意见</a:t>
            </a:r>
            <a:r>
              <a:rPr lang="en-US" altLang="zh-CN" dirty="0" smtClean="0">
                <a:solidFill>
                  <a:schemeClr val="tx1">
                    <a:lumMod val="50000"/>
                  </a:schemeClr>
                </a:solidFill>
              </a:rPr>
              <a:t>》</a:t>
            </a:r>
          </a:p>
          <a:p>
            <a:r>
              <a:rPr lang="en-US" altLang="zh-CN" dirty="0" smtClean="0">
                <a:solidFill>
                  <a:schemeClr val="tx1">
                    <a:lumMod val="50000"/>
                  </a:schemeClr>
                </a:solidFill>
              </a:rPr>
              <a:t>2016</a:t>
            </a:r>
            <a:r>
              <a:rPr lang="zh-CN" altLang="en-US" dirty="0" smtClean="0">
                <a:solidFill>
                  <a:schemeClr val="tx1">
                    <a:lumMod val="50000"/>
                  </a:schemeClr>
                </a:solidFill>
              </a:rPr>
              <a:t>年</a:t>
            </a:r>
            <a:r>
              <a:rPr lang="en-US" altLang="zh-CN" dirty="0" smtClean="0">
                <a:solidFill>
                  <a:schemeClr val="tx1">
                    <a:lumMod val="50000"/>
                  </a:schemeClr>
                </a:solidFill>
              </a:rPr>
              <a:t>7</a:t>
            </a:r>
            <a:r>
              <a:rPr lang="zh-CN" altLang="en-US" dirty="0" smtClean="0">
                <a:solidFill>
                  <a:schemeClr val="tx1">
                    <a:lumMod val="50000"/>
                  </a:schemeClr>
                </a:solidFill>
              </a:rPr>
              <a:t>月  发改委</a:t>
            </a:r>
            <a:endParaRPr lang="zh-CN" altLang="en-US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7" name="文本框 26"/>
          <p:cNvSpPr txBox="1"/>
          <p:nvPr/>
        </p:nvSpPr>
        <p:spPr>
          <a:xfrm>
            <a:off x="3124531" y="3231386"/>
            <a:ext cx="3888000" cy="1046424"/>
          </a:xfrm>
          <a:prstGeom prst="rect">
            <a:avLst/>
          </a:prstGeom>
          <a:noFill/>
        </p:spPr>
        <p:txBody>
          <a:bodyPr wrap="square" lIns="121904" tIns="60952" rIns="121904" bIns="60952" rtlCol="0">
            <a:spAutoFit/>
          </a:bodyPr>
          <a:lstStyle>
            <a:defPPr>
              <a:defRPr lang="zh-CN"/>
            </a:defPPr>
            <a:lvl1pPr algn="ctr">
              <a:lnSpc>
                <a:spcPts val="1800"/>
              </a:lnSpc>
              <a:defRPr sz="1100">
                <a:latin typeface="+mn-ea"/>
              </a:defRPr>
            </a:lvl1pPr>
          </a:lstStyle>
          <a:p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《</a:t>
            </a:r>
            <a:r>
              <a:rPr lang="zh-CN" altLang="en-US" dirty="0">
                <a:solidFill>
                  <a:schemeClr val="tx1">
                    <a:lumMod val="50000"/>
                  </a:schemeClr>
                </a:solidFill>
              </a:rPr>
              <a:t>关于进一步推进物流降本增效促进实体经济发展的意见</a:t>
            </a:r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》</a:t>
            </a:r>
          </a:p>
          <a:p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2017</a:t>
            </a:r>
            <a:r>
              <a:rPr lang="zh-CN" altLang="en-US" dirty="0">
                <a:solidFill>
                  <a:schemeClr val="tx1">
                    <a:lumMod val="50000"/>
                  </a:schemeClr>
                </a:solidFill>
              </a:rPr>
              <a:t>年</a:t>
            </a:r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8</a:t>
            </a:r>
            <a:r>
              <a:rPr lang="zh-CN" altLang="en-US" dirty="0">
                <a:solidFill>
                  <a:schemeClr val="tx1">
                    <a:lumMod val="50000"/>
                  </a:schemeClr>
                </a:solidFill>
              </a:rPr>
              <a:t>月 国务院办公厅</a:t>
            </a:r>
            <a:endParaRPr lang="en-US" altLang="zh-CN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《</a:t>
            </a:r>
            <a:r>
              <a:rPr lang="zh-CN" altLang="en-US" dirty="0">
                <a:solidFill>
                  <a:schemeClr val="tx1">
                    <a:lumMod val="50000"/>
                  </a:schemeClr>
                </a:solidFill>
              </a:rPr>
              <a:t>关于进一步鼓励开展多式联运工作的通知</a:t>
            </a:r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》</a:t>
            </a:r>
          </a:p>
          <a:p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2017</a:t>
            </a:r>
            <a:r>
              <a:rPr lang="zh-CN" altLang="en-US" dirty="0">
                <a:solidFill>
                  <a:schemeClr val="tx1">
                    <a:lumMod val="50000"/>
                  </a:schemeClr>
                </a:solidFill>
              </a:rPr>
              <a:t>年</a:t>
            </a:r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1</a:t>
            </a:r>
            <a:r>
              <a:rPr lang="zh-CN" altLang="en-US" dirty="0">
                <a:solidFill>
                  <a:schemeClr val="tx1">
                    <a:lumMod val="50000"/>
                  </a:schemeClr>
                </a:solidFill>
              </a:rPr>
              <a:t>月 交通部</a:t>
            </a:r>
            <a:r>
              <a:rPr lang="en-US" altLang="zh-CN" dirty="0">
                <a:solidFill>
                  <a:schemeClr val="tx1">
                    <a:lumMod val="50000"/>
                  </a:schemeClr>
                </a:solidFill>
              </a:rPr>
              <a:t>18</a:t>
            </a:r>
            <a:r>
              <a:rPr lang="zh-CN" altLang="en-US" dirty="0">
                <a:solidFill>
                  <a:schemeClr val="tx1">
                    <a:lumMod val="50000"/>
                  </a:schemeClr>
                </a:solidFill>
              </a:rPr>
              <a:t>部门</a:t>
            </a:r>
            <a:endParaRPr lang="en-US" altLang="zh-CN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8" name="文本框 27"/>
          <p:cNvSpPr txBox="1"/>
          <p:nvPr/>
        </p:nvSpPr>
        <p:spPr>
          <a:xfrm>
            <a:off x="3402671" y="1255440"/>
            <a:ext cx="3331721" cy="861763"/>
          </a:xfrm>
          <a:prstGeom prst="rect">
            <a:avLst/>
          </a:prstGeom>
          <a:noFill/>
        </p:spPr>
        <p:txBody>
          <a:bodyPr wrap="square" lIns="121904" tIns="60952" rIns="121904" bIns="60952" rtlCol="0">
            <a:spAutoFit/>
          </a:bodyPr>
          <a:lstStyle/>
          <a:p>
            <a:pPr algn="ctr"/>
            <a:r>
              <a:rPr lang="en-US" altLang="zh-CN" sz="1100" dirty="0">
                <a:solidFill>
                  <a:schemeClr val="tx1">
                    <a:lumMod val="50000"/>
                  </a:schemeClr>
                </a:solidFill>
              </a:rPr>
              <a:t>《</a:t>
            </a:r>
            <a:r>
              <a:rPr lang="zh-CN" altLang="en-US" sz="1100" dirty="0">
                <a:solidFill>
                  <a:schemeClr val="tx1">
                    <a:lumMod val="50000"/>
                  </a:schemeClr>
                </a:solidFill>
              </a:rPr>
              <a:t>“互联网</a:t>
            </a:r>
            <a:r>
              <a:rPr lang="en-US" altLang="zh-CN" sz="1100" dirty="0">
                <a:solidFill>
                  <a:schemeClr val="tx1">
                    <a:lumMod val="50000"/>
                  </a:schemeClr>
                </a:solidFill>
              </a:rPr>
              <a:t>+</a:t>
            </a:r>
            <a:r>
              <a:rPr lang="zh-CN" altLang="en-US" sz="1100" dirty="0">
                <a:solidFill>
                  <a:schemeClr val="tx1">
                    <a:lumMod val="50000"/>
                  </a:schemeClr>
                </a:solidFill>
              </a:rPr>
              <a:t>”高效物流实施意见</a:t>
            </a:r>
            <a:r>
              <a:rPr lang="en-US" altLang="zh-CN" sz="1100" dirty="0">
                <a:solidFill>
                  <a:schemeClr val="tx1">
                    <a:lumMod val="50000"/>
                  </a:schemeClr>
                </a:solidFill>
              </a:rPr>
              <a:t>》</a:t>
            </a:r>
          </a:p>
          <a:p>
            <a:pPr algn="ctr"/>
            <a:r>
              <a:rPr lang="en-US" altLang="zh-CN" sz="1100" dirty="0">
                <a:solidFill>
                  <a:schemeClr val="tx1">
                    <a:lumMod val="50000"/>
                  </a:schemeClr>
                </a:solidFill>
              </a:rPr>
              <a:t>2016</a:t>
            </a:r>
            <a:r>
              <a:rPr lang="zh-CN" altLang="en-US" sz="1100" dirty="0">
                <a:solidFill>
                  <a:schemeClr val="tx1">
                    <a:lumMod val="50000"/>
                  </a:schemeClr>
                </a:solidFill>
              </a:rPr>
              <a:t>年</a:t>
            </a:r>
            <a:r>
              <a:rPr lang="en-US" altLang="zh-CN" sz="1100" dirty="0">
                <a:solidFill>
                  <a:schemeClr val="tx1">
                    <a:lumMod val="50000"/>
                  </a:schemeClr>
                </a:solidFill>
              </a:rPr>
              <a:t>7</a:t>
            </a:r>
            <a:r>
              <a:rPr lang="zh-CN" altLang="en-US" sz="1100" dirty="0">
                <a:solidFill>
                  <a:schemeClr val="tx1">
                    <a:lumMod val="50000"/>
                  </a:schemeClr>
                </a:solidFill>
              </a:rPr>
              <a:t>月  发改委</a:t>
            </a:r>
            <a:endParaRPr lang="en-US" altLang="zh-CN" sz="1100" dirty="0">
              <a:solidFill>
                <a:schemeClr val="tx1">
                  <a:lumMod val="50000"/>
                </a:schemeClr>
              </a:solidFill>
            </a:endParaRPr>
          </a:p>
          <a:p>
            <a:pPr algn="ctr"/>
            <a:r>
              <a:rPr lang="en-US" altLang="zh-CN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《</a:t>
            </a:r>
            <a:r>
              <a:rPr lang="zh-CN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推进交通运输生态文明建设实施方案</a:t>
            </a:r>
            <a:r>
              <a:rPr lang="en-US" altLang="zh-CN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》</a:t>
            </a:r>
          </a:p>
          <a:p>
            <a:pPr algn="ctr">
              <a:lnSpc>
                <a:spcPts val="1800"/>
              </a:lnSpc>
            </a:pPr>
            <a:r>
              <a:rPr lang="en-US" altLang="zh-CN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2017</a:t>
            </a:r>
            <a:r>
              <a:rPr lang="zh-CN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年</a:t>
            </a:r>
            <a:r>
              <a:rPr lang="en-US" altLang="zh-CN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4</a:t>
            </a:r>
            <a:r>
              <a:rPr lang="zh-CN" altLang="en-US" sz="1100" dirty="0">
                <a:solidFill>
                  <a:schemeClr val="tx1">
                    <a:lumMod val="50000"/>
                  </a:schemeClr>
                </a:solidFill>
                <a:latin typeface="+mn-ea"/>
              </a:rPr>
              <a:t>月 交通运输部</a:t>
            </a:r>
            <a:endParaRPr lang="en-US" altLang="zh-CN" sz="1100" dirty="0">
              <a:solidFill>
                <a:schemeClr val="tx1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7441540" y="5000170"/>
            <a:ext cx="3662637" cy="1015661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285737" indent="-285737"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</a:rPr>
              <a:t>将供应链创新与应用上升为</a:t>
            </a:r>
            <a:r>
              <a:rPr lang="zh-CN" altLang="en-US" sz="1500" b="1" dirty="0">
                <a:solidFill>
                  <a:schemeClr val="accent1"/>
                </a:solidFill>
              </a:rPr>
              <a:t>国家战略</a:t>
            </a:r>
            <a:endParaRPr lang="en-US" altLang="zh-CN" sz="1500" b="1" dirty="0">
              <a:solidFill>
                <a:schemeClr val="accent1"/>
              </a:solidFill>
            </a:endParaRPr>
          </a:p>
          <a:p>
            <a:pPr marL="285737" indent="-285737">
              <a:buFont typeface="Arial" panose="020B0604020202020204" pitchFamily="34" charset="0"/>
              <a:buChar char="•"/>
            </a:pPr>
            <a:endParaRPr lang="en-US" altLang="zh-CN" sz="1500" b="1" dirty="0">
              <a:solidFill>
                <a:schemeClr val="accent1"/>
              </a:solidFill>
            </a:endParaRPr>
          </a:p>
          <a:p>
            <a:pPr marL="285737" indent="-285737"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  <a:sym typeface="+mn-lt"/>
              </a:rPr>
              <a:t>推进“互联网</a:t>
            </a:r>
            <a:r>
              <a:rPr lang="en-US" altLang="zh-CN" sz="1500" dirty="0">
                <a:solidFill>
                  <a:schemeClr val="tx1">
                    <a:lumMod val="50000"/>
                  </a:schemeClr>
                </a:solidFill>
                <a:sym typeface="+mn-lt"/>
              </a:rPr>
              <a:t>+</a:t>
            </a: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  <a:sym typeface="+mn-lt"/>
              </a:rPr>
              <a:t>”高效物流与</a:t>
            </a:r>
            <a:r>
              <a:rPr lang="zh-CN" altLang="en-US" sz="1500" b="1" dirty="0">
                <a:solidFill>
                  <a:schemeClr val="accent1"/>
                </a:solidFill>
                <a:sym typeface="+mn-lt"/>
              </a:rPr>
              <a:t>大众创业万众创新</a:t>
            </a: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  <a:sym typeface="+mn-lt"/>
              </a:rPr>
              <a:t>紧密结合</a:t>
            </a:r>
            <a:endParaRPr lang="en-US" altLang="zh-CN" sz="15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7441542" y="3231387"/>
            <a:ext cx="3836060" cy="1323435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285737" indent="-285737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</a:rPr>
              <a:t>从七个方面提出</a:t>
            </a:r>
            <a:r>
              <a:rPr lang="en-US" altLang="zh-CN" sz="1500" dirty="0">
                <a:solidFill>
                  <a:schemeClr val="tx1">
                    <a:lumMod val="50000"/>
                  </a:schemeClr>
                </a:solidFill>
              </a:rPr>
              <a:t>27</a:t>
            </a: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</a:rPr>
              <a:t>项具体措施，部署物流</a:t>
            </a:r>
            <a:r>
              <a:rPr lang="zh-CN" altLang="en-US" sz="1500" b="1" dirty="0">
                <a:solidFill>
                  <a:schemeClr val="accent1"/>
                </a:solidFill>
              </a:rPr>
              <a:t>降本增效</a:t>
            </a: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</a:rPr>
              <a:t>，提升物流发展水平，</a:t>
            </a:r>
            <a:r>
              <a:rPr lang="zh-CN" altLang="en-US" sz="1500" b="1" dirty="0">
                <a:solidFill>
                  <a:schemeClr val="accent1"/>
                </a:solidFill>
              </a:rPr>
              <a:t>促进实体经济</a:t>
            </a:r>
            <a:endParaRPr lang="en-US" altLang="zh-CN" sz="1500" b="1" dirty="0">
              <a:solidFill>
                <a:schemeClr val="accent1"/>
              </a:solidFill>
            </a:endParaRPr>
          </a:p>
          <a:p>
            <a:pPr marL="285737" indent="-285737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  <a:sym typeface="+mn-lt"/>
              </a:rPr>
              <a:t>发展多式联运是</a:t>
            </a:r>
            <a:r>
              <a:rPr lang="zh-CN" altLang="en-US" sz="1500" b="1" dirty="0">
                <a:solidFill>
                  <a:schemeClr val="accent1"/>
                </a:solidFill>
                <a:sym typeface="+mn-lt"/>
              </a:rPr>
              <a:t>降低物流成本</a:t>
            </a: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  <a:sym typeface="+mn-lt"/>
              </a:rPr>
              <a:t>的有力抓手</a:t>
            </a:r>
            <a:endParaRPr lang="en-US" altLang="zh-CN" sz="1500" b="1" dirty="0">
              <a:solidFill>
                <a:schemeClr val="accent1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7441542" y="1255442"/>
            <a:ext cx="3836060" cy="1323435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285737" indent="-285737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</a:rPr>
              <a:t>要继续推动实体经济优化结构，</a:t>
            </a:r>
            <a:r>
              <a:rPr lang="zh-CN" altLang="en-US" sz="1500" b="1" dirty="0">
                <a:solidFill>
                  <a:schemeClr val="accent1"/>
                </a:solidFill>
              </a:rPr>
              <a:t>加快发展先进制造业、现代服务业</a:t>
            </a: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</a:rPr>
              <a:t>，推动互联网、大数据、人工智能和实体经济深度融合</a:t>
            </a:r>
            <a:endParaRPr lang="en-US" altLang="zh-CN" sz="1500" dirty="0">
              <a:solidFill>
                <a:schemeClr val="tx1">
                  <a:lumMod val="50000"/>
                </a:schemeClr>
              </a:solidFill>
            </a:endParaRPr>
          </a:p>
          <a:p>
            <a:pPr marL="285737" indent="-285737">
              <a:lnSpc>
                <a:spcPts val="18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500" dirty="0">
                <a:solidFill>
                  <a:schemeClr val="tx1">
                    <a:lumMod val="50000"/>
                  </a:schemeClr>
                </a:solidFill>
              </a:rPr>
              <a:t>提高全社会</a:t>
            </a:r>
            <a:r>
              <a:rPr lang="zh-CN" altLang="en-US" sz="1500" b="1" dirty="0">
                <a:solidFill>
                  <a:schemeClr val="accent1"/>
                </a:solidFill>
              </a:rPr>
              <a:t>物流质量、效率和安全水平</a:t>
            </a:r>
            <a:endParaRPr lang="en-US" altLang="zh-CN" sz="15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976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对管理者的要求和企业文化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STAMP" val="0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WCONVERSIONSHAPES" val="Shape No. 11"/>
  <p:tag name="FILLFORECOLOR" val="Color 1"/>
  <p:tag name="DEVICE" val="Canon Colorpass 100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klzhYrQHiFQVVYAWJ9i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3.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3.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3.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" val="v4.3.3"/>
</p:tagLst>
</file>

<file path=ppt/theme/theme1.xml><?xml version="1.0" encoding="utf-8"?>
<a:theme xmlns:a="http://schemas.openxmlformats.org/drawingml/2006/main" name="9_正文页">
  <a:themeElements>
    <a:clrScheme name="default 1">
      <a:dk1>
        <a:srgbClr val="000000"/>
      </a:dk1>
      <a:lt1>
        <a:srgbClr val="FFFFFF"/>
      </a:lt1>
      <a:dk2>
        <a:srgbClr val="990000"/>
      </a:dk2>
      <a:lt2>
        <a:srgbClr val="777777"/>
      </a:lt2>
      <a:accent1>
        <a:srgbClr val="FFCC99"/>
      </a:accent1>
      <a:accent2>
        <a:srgbClr val="FFCC66"/>
      </a:accent2>
      <a:accent3>
        <a:srgbClr val="FFFFFF"/>
      </a:accent3>
      <a:accent4>
        <a:srgbClr val="000000"/>
      </a:accent4>
      <a:accent5>
        <a:srgbClr val="FFE2CA"/>
      </a:accent5>
      <a:accent6>
        <a:srgbClr val="E7B95C"/>
      </a:accent6>
      <a:hlink>
        <a:srgbClr val="FF9900"/>
      </a:hlink>
      <a:folHlink>
        <a:srgbClr val="996600"/>
      </a:folHlink>
    </a:clrScheme>
    <a:fontScheme name="default">
      <a:majorFont>
        <a:latin typeface="FrutigerNext LT Medium"/>
        <a:ea typeface="黑体"/>
        <a:cs typeface=""/>
      </a:majorFont>
      <a:minorFont>
        <a:latin typeface="Arial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0_正文页">
  <a:themeElements>
    <a:clrScheme name="自定义 18">
      <a:dk1>
        <a:srgbClr val="777777"/>
      </a:dk1>
      <a:lt1>
        <a:srgbClr val="FFFFFF"/>
      </a:lt1>
      <a:dk2>
        <a:srgbClr val="990000"/>
      </a:dk2>
      <a:lt2>
        <a:srgbClr val="777777"/>
      </a:lt2>
      <a:accent1>
        <a:srgbClr val="DA0B1C"/>
      </a:accent1>
      <a:accent2>
        <a:srgbClr val="6E6568"/>
      </a:accent2>
      <a:accent3>
        <a:srgbClr val="ECB326"/>
      </a:accent3>
      <a:accent4>
        <a:srgbClr val="72BB90"/>
      </a:accent4>
      <a:accent5>
        <a:srgbClr val="498C94"/>
      </a:accent5>
      <a:accent6>
        <a:srgbClr val="5D5566"/>
      </a:accent6>
      <a:hlink>
        <a:srgbClr val="FF9900"/>
      </a:hlink>
      <a:folHlink>
        <a:srgbClr val="996600"/>
      </a:folHlink>
    </a:clrScheme>
    <a:fontScheme name="自定义 17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21_正文页">
  <a:themeElements>
    <a:clrScheme name="自定义 18">
      <a:dk1>
        <a:srgbClr val="777777"/>
      </a:dk1>
      <a:lt1>
        <a:srgbClr val="FFFFFF"/>
      </a:lt1>
      <a:dk2>
        <a:srgbClr val="990000"/>
      </a:dk2>
      <a:lt2>
        <a:srgbClr val="777777"/>
      </a:lt2>
      <a:accent1>
        <a:srgbClr val="DA0B1C"/>
      </a:accent1>
      <a:accent2>
        <a:srgbClr val="6E6568"/>
      </a:accent2>
      <a:accent3>
        <a:srgbClr val="ECB326"/>
      </a:accent3>
      <a:accent4>
        <a:srgbClr val="72BB90"/>
      </a:accent4>
      <a:accent5>
        <a:srgbClr val="498C94"/>
      </a:accent5>
      <a:accent6>
        <a:srgbClr val="5D5566"/>
      </a:accent6>
      <a:hlink>
        <a:srgbClr val="FF9900"/>
      </a:hlink>
      <a:folHlink>
        <a:srgbClr val="996600"/>
      </a:folHlink>
    </a:clrScheme>
    <a:fontScheme name="自定义 17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2_正文页">
  <a:themeElements>
    <a:clrScheme name="自定义 18">
      <a:dk1>
        <a:srgbClr val="777777"/>
      </a:dk1>
      <a:lt1>
        <a:srgbClr val="FFFFFF"/>
      </a:lt1>
      <a:dk2>
        <a:srgbClr val="990000"/>
      </a:dk2>
      <a:lt2>
        <a:srgbClr val="777777"/>
      </a:lt2>
      <a:accent1>
        <a:srgbClr val="DA0B1C"/>
      </a:accent1>
      <a:accent2>
        <a:srgbClr val="6E6568"/>
      </a:accent2>
      <a:accent3>
        <a:srgbClr val="ECB326"/>
      </a:accent3>
      <a:accent4>
        <a:srgbClr val="72BB90"/>
      </a:accent4>
      <a:accent5>
        <a:srgbClr val="498C94"/>
      </a:accent5>
      <a:accent6>
        <a:srgbClr val="5D5566"/>
      </a:accent6>
      <a:hlink>
        <a:srgbClr val="FF9900"/>
      </a:hlink>
      <a:folHlink>
        <a:srgbClr val="996600"/>
      </a:folHlink>
    </a:clrScheme>
    <a:fontScheme name="自定义 17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2_Office 主题">
  <a:themeElements>
    <a:clrScheme name="自定义 1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FFFFFF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FFFFFF"/>
      </a:hlink>
      <a:folHlink>
        <a:srgbClr val="B2B2B2"/>
      </a:folHlink>
    </a:clrScheme>
    <a:fontScheme name="5buytk3l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3_Office 主题">
  <a:themeElements>
    <a:clrScheme name="自定义 1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FFFFFF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FFFFFF"/>
      </a:hlink>
      <a:folHlink>
        <a:srgbClr val="B2B2B2"/>
      </a:folHlink>
    </a:clrScheme>
    <a:fontScheme name="5buytk3l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0_正文页">
  <a:themeElements>
    <a:clrScheme name="default 1">
      <a:dk1>
        <a:srgbClr val="000000"/>
      </a:dk1>
      <a:lt1>
        <a:srgbClr val="FFFFFF"/>
      </a:lt1>
      <a:dk2>
        <a:srgbClr val="990000"/>
      </a:dk2>
      <a:lt2>
        <a:srgbClr val="777777"/>
      </a:lt2>
      <a:accent1>
        <a:srgbClr val="FFCC99"/>
      </a:accent1>
      <a:accent2>
        <a:srgbClr val="FFCC66"/>
      </a:accent2>
      <a:accent3>
        <a:srgbClr val="FFFFFF"/>
      </a:accent3>
      <a:accent4>
        <a:srgbClr val="000000"/>
      </a:accent4>
      <a:accent5>
        <a:srgbClr val="FFE2CA"/>
      </a:accent5>
      <a:accent6>
        <a:srgbClr val="E7B95C"/>
      </a:accent6>
      <a:hlink>
        <a:srgbClr val="FF9900"/>
      </a:hlink>
      <a:folHlink>
        <a:srgbClr val="996600"/>
      </a:folHlink>
    </a:clrScheme>
    <a:fontScheme name="楷体">
      <a:majorFont>
        <a:latin typeface="楷体"/>
        <a:ea typeface="楷体"/>
        <a:cs typeface=""/>
      </a:majorFont>
      <a:minorFont>
        <a:latin typeface="楷体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1400" dirty="0" smtClean="0">
            <a:solidFill>
              <a:schemeClr val="tx1"/>
            </a:solidFill>
            <a:latin typeface="+mn-ea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4_Office 主题">
  <a:themeElements>
    <a:clrScheme name="自定义 1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FFFFFF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FFFFFF"/>
      </a:hlink>
      <a:folHlink>
        <a:srgbClr val="B2B2B2"/>
      </a:folHlink>
    </a:clrScheme>
    <a:fontScheme name="5buytk3l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模板页面">
  <a:themeElements>
    <a:clrScheme name="Logresearch2">
      <a:dk1>
        <a:srgbClr val="000000"/>
      </a:dk1>
      <a:lt1>
        <a:srgbClr val="FFFFFF"/>
      </a:lt1>
      <a:dk2>
        <a:srgbClr val="FF7D78"/>
      </a:dk2>
      <a:lt2>
        <a:srgbClr val="919191"/>
      </a:lt2>
      <a:accent1>
        <a:srgbClr val="3F5468"/>
      </a:accent1>
      <a:accent2>
        <a:srgbClr val="ED7D31"/>
      </a:accent2>
      <a:accent3>
        <a:srgbClr val="CA352D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47">
      <a:majorFont>
        <a:latin typeface="Segoe UI"/>
        <a:ea typeface="微软雅黑"/>
        <a:cs typeface=""/>
      </a:majorFont>
      <a:minorFont>
        <a:latin typeface="Segoe UI"/>
        <a:ea typeface="微软雅黑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120000"/>
          </a:lnSpc>
          <a:spcAft>
            <a:spcPts val="600"/>
          </a:spcAft>
          <a:defRPr kumimoji="1" sz="150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1_正文页">
  <a:themeElements>
    <a:clrScheme name="default 1">
      <a:dk1>
        <a:srgbClr val="000000"/>
      </a:dk1>
      <a:lt1>
        <a:srgbClr val="FFFFFF"/>
      </a:lt1>
      <a:dk2>
        <a:srgbClr val="990000"/>
      </a:dk2>
      <a:lt2>
        <a:srgbClr val="777777"/>
      </a:lt2>
      <a:accent1>
        <a:srgbClr val="FFCC99"/>
      </a:accent1>
      <a:accent2>
        <a:srgbClr val="FFCC66"/>
      </a:accent2>
      <a:accent3>
        <a:srgbClr val="FFFFFF"/>
      </a:accent3>
      <a:accent4>
        <a:srgbClr val="000000"/>
      </a:accent4>
      <a:accent5>
        <a:srgbClr val="FFE2CA"/>
      </a:accent5>
      <a:accent6>
        <a:srgbClr val="E7B95C"/>
      </a:accent6>
      <a:hlink>
        <a:srgbClr val="FF9900"/>
      </a:hlink>
      <a:folHlink>
        <a:srgbClr val="996600"/>
      </a:folHlink>
    </a:clrScheme>
    <a:fontScheme name="楷体">
      <a:majorFont>
        <a:latin typeface="楷体"/>
        <a:ea typeface="楷体"/>
        <a:cs typeface=""/>
      </a:majorFont>
      <a:minorFont>
        <a:latin typeface="楷体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1400" dirty="0" smtClean="0">
            <a:solidFill>
              <a:schemeClr val="tx1"/>
            </a:solidFill>
            <a:latin typeface="+mn-ea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2_正文页">
  <a:themeElements>
    <a:clrScheme name="自定义 18">
      <a:dk1>
        <a:srgbClr val="777777"/>
      </a:dk1>
      <a:lt1>
        <a:srgbClr val="FFFFFF"/>
      </a:lt1>
      <a:dk2>
        <a:srgbClr val="990000"/>
      </a:dk2>
      <a:lt2>
        <a:srgbClr val="777777"/>
      </a:lt2>
      <a:accent1>
        <a:srgbClr val="DA0B1C"/>
      </a:accent1>
      <a:accent2>
        <a:srgbClr val="6E6568"/>
      </a:accent2>
      <a:accent3>
        <a:srgbClr val="ECB326"/>
      </a:accent3>
      <a:accent4>
        <a:srgbClr val="72BB90"/>
      </a:accent4>
      <a:accent5>
        <a:srgbClr val="498C94"/>
      </a:accent5>
      <a:accent6>
        <a:srgbClr val="5D5566"/>
      </a:accent6>
      <a:hlink>
        <a:srgbClr val="FF9900"/>
      </a:hlink>
      <a:folHlink>
        <a:srgbClr val="996600"/>
      </a:folHlink>
    </a:clrScheme>
    <a:fontScheme name="自定义 17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3_正文页">
  <a:themeElements>
    <a:clrScheme name="自定义 18">
      <a:dk1>
        <a:srgbClr val="777777"/>
      </a:dk1>
      <a:lt1>
        <a:srgbClr val="FFFFFF"/>
      </a:lt1>
      <a:dk2>
        <a:srgbClr val="990000"/>
      </a:dk2>
      <a:lt2>
        <a:srgbClr val="777777"/>
      </a:lt2>
      <a:accent1>
        <a:srgbClr val="DA0B1C"/>
      </a:accent1>
      <a:accent2>
        <a:srgbClr val="6E6568"/>
      </a:accent2>
      <a:accent3>
        <a:srgbClr val="ECB326"/>
      </a:accent3>
      <a:accent4>
        <a:srgbClr val="72BB90"/>
      </a:accent4>
      <a:accent5>
        <a:srgbClr val="498C94"/>
      </a:accent5>
      <a:accent6>
        <a:srgbClr val="5D5566"/>
      </a:accent6>
      <a:hlink>
        <a:srgbClr val="FF9900"/>
      </a:hlink>
      <a:folHlink>
        <a:srgbClr val="996600"/>
      </a:folHlink>
    </a:clrScheme>
    <a:fontScheme name="自定义 17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4_正文页">
  <a:themeElements>
    <a:clrScheme name="自定义 18">
      <a:dk1>
        <a:srgbClr val="777777"/>
      </a:dk1>
      <a:lt1>
        <a:srgbClr val="FFFFFF"/>
      </a:lt1>
      <a:dk2>
        <a:srgbClr val="990000"/>
      </a:dk2>
      <a:lt2>
        <a:srgbClr val="777777"/>
      </a:lt2>
      <a:accent1>
        <a:srgbClr val="DA0B1C"/>
      </a:accent1>
      <a:accent2>
        <a:srgbClr val="6E6568"/>
      </a:accent2>
      <a:accent3>
        <a:srgbClr val="ECB326"/>
      </a:accent3>
      <a:accent4>
        <a:srgbClr val="72BB90"/>
      </a:accent4>
      <a:accent5>
        <a:srgbClr val="498C94"/>
      </a:accent5>
      <a:accent6>
        <a:srgbClr val="5D5566"/>
      </a:accent6>
      <a:hlink>
        <a:srgbClr val="FF9900"/>
      </a:hlink>
      <a:folHlink>
        <a:srgbClr val="996600"/>
      </a:folHlink>
    </a:clrScheme>
    <a:fontScheme name="自定义 17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5_正文页">
  <a:themeElements>
    <a:clrScheme name="自定义 18">
      <a:dk1>
        <a:srgbClr val="777777"/>
      </a:dk1>
      <a:lt1>
        <a:srgbClr val="FFFFFF"/>
      </a:lt1>
      <a:dk2>
        <a:srgbClr val="990000"/>
      </a:dk2>
      <a:lt2>
        <a:srgbClr val="777777"/>
      </a:lt2>
      <a:accent1>
        <a:srgbClr val="DA0B1C"/>
      </a:accent1>
      <a:accent2>
        <a:srgbClr val="6E6568"/>
      </a:accent2>
      <a:accent3>
        <a:srgbClr val="ECB326"/>
      </a:accent3>
      <a:accent4>
        <a:srgbClr val="72BB90"/>
      </a:accent4>
      <a:accent5>
        <a:srgbClr val="498C94"/>
      </a:accent5>
      <a:accent6>
        <a:srgbClr val="5D5566"/>
      </a:accent6>
      <a:hlink>
        <a:srgbClr val="FF9900"/>
      </a:hlink>
      <a:folHlink>
        <a:srgbClr val="996600"/>
      </a:folHlink>
    </a:clrScheme>
    <a:fontScheme name="自定义 17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6_正文页">
  <a:themeElements>
    <a:clrScheme name="自定义 18">
      <a:dk1>
        <a:srgbClr val="777777"/>
      </a:dk1>
      <a:lt1>
        <a:srgbClr val="FFFFFF"/>
      </a:lt1>
      <a:dk2>
        <a:srgbClr val="990000"/>
      </a:dk2>
      <a:lt2>
        <a:srgbClr val="777777"/>
      </a:lt2>
      <a:accent1>
        <a:srgbClr val="DA0B1C"/>
      </a:accent1>
      <a:accent2>
        <a:srgbClr val="6E6568"/>
      </a:accent2>
      <a:accent3>
        <a:srgbClr val="ECB326"/>
      </a:accent3>
      <a:accent4>
        <a:srgbClr val="72BB90"/>
      </a:accent4>
      <a:accent5>
        <a:srgbClr val="498C94"/>
      </a:accent5>
      <a:accent6>
        <a:srgbClr val="5D5566"/>
      </a:accent6>
      <a:hlink>
        <a:srgbClr val="FF9900"/>
      </a:hlink>
      <a:folHlink>
        <a:srgbClr val="996600"/>
      </a:folHlink>
    </a:clrScheme>
    <a:fontScheme name="自定义 17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7_正文页">
  <a:themeElements>
    <a:clrScheme name="自定义 18">
      <a:dk1>
        <a:srgbClr val="777777"/>
      </a:dk1>
      <a:lt1>
        <a:srgbClr val="FFFFFF"/>
      </a:lt1>
      <a:dk2>
        <a:srgbClr val="990000"/>
      </a:dk2>
      <a:lt2>
        <a:srgbClr val="777777"/>
      </a:lt2>
      <a:accent1>
        <a:srgbClr val="DA0B1C"/>
      </a:accent1>
      <a:accent2>
        <a:srgbClr val="6E6568"/>
      </a:accent2>
      <a:accent3>
        <a:srgbClr val="ECB326"/>
      </a:accent3>
      <a:accent4>
        <a:srgbClr val="72BB90"/>
      </a:accent4>
      <a:accent5>
        <a:srgbClr val="498C94"/>
      </a:accent5>
      <a:accent6>
        <a:srgbClr val="5D5566"/>
      </a:accent6>
      <a:hlink>
        <a:srgbClr val="FF9900"/>
      </a:hlink>
      <a:folHlink>
        <a:srgbClr val="996600"/>
      </a:folHlink>
    </a:clrScheme>
    <a:fontScheme name="自定义 17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8_正文页">
  <a:themeElements>
    <a:clrScheme name="自定义 18">
      <a:dk1>
        <a:srgbClr val="777777"/>
      </a:dk1>
      <a:lt1>
        <a:srgbClr val="FFFFFF"/>
      </a:lt1>
      <a:dk2>
        <a:srgbClr val="990000"/>
      </a:dk2>
      <a:lt2>
        <a:srgbClr val="777777"/>
      </a:lt2>
      <a:accent1>
        <a:srgbClr val="DA0B1C"/>
      </a:accent1>
      <a:accent2>
        <a:srgbClr val="6E6568"/>
      </a:accent2>
      <a:accent3>
        <a:srgbClr val="ECB326"/>
      </a:accent3>
      <a:accent4>
        <a:srgbClr val="72BB90"/>
      </a:accent4>
      <a:accent5>
        <a:srgbClr val="498C94"/>
      </a:accent5>
      <a:accent6>
        <a:srgbClr val="5D5566"/>
      </a:accent6>
      <a:hlink>
        <a:srgbClr val="FF9900"/>
      </a:hlink>
      <a:folHlink>
        <a:srgbClr val="996600"/>
      </a:folHlink>
    </a:clrScheme>
    <a:fontScheme name="自定义 17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9_正文页">
  <a:themeElements>
    <a:clrScheme name="自定义 18">
      <a:dk1>
        <a:srgbClr val="777777"/>
      </a:dk1>
      <a:lt1>
        <a:srgbClr val="FFFFFF"/>
      </a:lt1>
      <a:dk2>
        <a:srgbClr val="990000"/>
      </a:dk2>
      <a:lt2>
        <a:srgbClr val="777777"/>
      </a:lt2>
      <a:accent1>
        <a:srgbClr val="DA0B1C"/>
      </a:accent1>
      <a:accent2>
        <a:srgbClr val="6E6568"/>
      </a:accent2>
      <a:accent3>
        <a:srgbClr val="ECB326"/>
      </a:accent3>
      <a:accent4>
        <a:srgbClr val="72BB90"/>
      </a:accent4>
      <a:accent5>
        <a:srgbClr val="498C94"/>
      </a:accent5>
      <a:accent6>
        <a:srgbClr val="5D5566"/>
      </a:accent6>
      <a:hlink>
        <a:srgbClr val="FF9900"/>
      </a:hlink>
      <a:folHlink>
        <a:srgbClr val="996600"/>
      </a:folHlink>
    </a:clrScheme>
    <a:fontScheme name="自定义 17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B8B8"/>
        </a:solidFill>
      </a:spPr>
      <a:bodyPr wrap="square" lIns="0" rIns="0" anchor="ctr">
        <a:noAutofit/>
      </a:bodyPr>
      <a:lstStyle>
        <a:defPPr>
          <a:defRPr sz="1200" b="1" dirty="0">
            <a:solidFill>
              <a:schemeClr val="tx1">
                <a:lumMod val="95000"/>
                <a:lumOff val="5000"/>
              </a:schemeClr>
            </a:solidFill>
            <a:latin typeface="楷体" panose="02010609060101010101" pitchFamily="49" charset="-122"/>
            <a:ea typeface="楷体" panose="02010609060101010101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dirty="0" smtClean="0">
            <a:solidFill>
              <a:schemeClr val="tx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default 1">
    <a:dk1>
      <a:srgbClr val="000000"/>
    </a:dk1>
    <a:lt1>
      <a:srgbClr val="FFFFFF"/>
    </a:lt1>
    <a:dk2>
      <a:srgbClr val="990000"/>
    </a:dk2>
    <a:lt2>
      <a:srgbClr val="777777"/>
    </a:lt2>
    <a:accent1>
      <a:srgbClr val="FFCC99"/>
    </a:accent1>
    <a:accent2>
      <a:srgbClr val="FFCC66"/>
    </a:accent2>
    <a:accent3>
      <a:srgbClr val="FFFFFF"/>
    </a:accent3>
    <a:accent4>
      <a:srgbClr val="000000"/>
    </a:accent4>
    <a:accent5>
      <a:srgbClr val="FFE2CA"/>
    </a:accent5>
    <a:accent6>
      <a:srgbClr val="E7B95C"/>
    </a:accent6>
    <a:hlink>
      <a:srgbClr val="FF9900"/>
    </a:hlink>
    <a:folHlink>
      <a:srgbClr val="996600"/>
    </a:folHlink>
  </a:clrScheme>
  <a:fontScheme name="楷体">
    <a:majorFont>
      <a:latin typeface="楷体"/>
      <a:ea typeface="楷体"/>
      <a:cs typeface=""/>
    </a:majorFont>
    <a:minorFont>
      <a:latin typeface="楷体"/>
      <a:ea typeface="楷体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JD.com">
    <a:dk1>
      <a:sysClr val="windowText" lastClr="000000"/>
    </a:dk1>
    <a:lt1>
      <a:sysClr val="window" lastClr="FFFFFF"/>
    </a:lt1>
    <a:dk2>
      <a:srgbClr val="C81623"/>
    </a:dk2>
    <a:lt2>
      <a:srgbClr val="B5B5B6"/>
    </a:lt2>
    <a:accent1>
      <a:srgbClr val="3DB7E5"/>
    </a:accent1>
    <a:accent2>
      <a:srgbClr val="9BCB1C"/>
    </a:accent2>
    <a:accent3>
      <a:srgbClr val="E86F1A"/>
    </a:accent3>
    <a:accent4>
      <a:srgbClr val="E0005D"/>
    </a:accent4>
    <a:accent5>
      <a:srgbClr val="BC9F5D"/>
    </a:accent5>
    <a:accent6>
      <a:srgbClr val="C81623"/>
    </a:accent6>
    <a:hlink>
      <a:srgbClr val="0000FF"/>
    </a:hlink>
    <a:folHlink>
      <a:srgbClr val="800080"/>
    </a:folHlink>
  </a:clrScheme>
  <a:fontScheme name="JD.com">
    <a:majorFont>
      <a:latin typeface="Calibri"/>
      <a:ea typeface="SimSun"/>
      <a:cs typeface="Arial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338</TotalTime>
  <Words>5693</Words>
  <Application>Microsoft Office PowerPoint</Application>
  <PresentationFormat>宽屏</PresentationFormat>
  <Paragraphs>1267</Paragraphs>
  <Slides>39</Slides>
  <Notes>19</Notes>
  <HiddenSlides>0</HiddenSlides>
  <MMClips>0</MMClips>
  <ScaleCrop>false</ScaleCrop>
  <HeadingPairs>
    <vt:vector size="10" baseType="variant">
      <vt:variant>
        <vt:lpstr>已用的字体</vt:lpstr>
      </vt:variant>
      <vt:variant>
        <vt:i4>24</vt:i4>
      </vt:variant>
      <vt:variant>
        <vt:lpstr>主题</vt:lpstr>
      </vt:variant>
      <vt:variant>
        <vt:i4>19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9</vt:i4>
      </vt:variant>
      <vt:variant>
        <vt:lpstr>自定义放映</vt:lpstr>
      </vt:variant>
      <vt:variant>
        <vt:i4>1</vt:i4>
      </vt:variant>
    </vt:vector>
  </HeadingPairs>
  <TitlesOfParts>
    <vt:vector size="84" baseType="lpstr">
      <vt:lpstr>Arial Unicode MS</vt:lpstr>
      <vt:lpstr>Droid Sans Fallback</vt:lpstr>
      <vt:lpstr>FrutigerNext LT Medium</vt:lpstr>
      <vt:lpstr>FrutigerNext LT Regular</vt:lpstr>
      <vt:lpstr>굴림</vt:lpstr>
      <vt:lpstr>Microsoft YaHei Light</vt:lpstr>
      <vt:lpstr>MS PGothic</vt:lpstr>
      <vt:lpstr>Open Sans</vt:lpstr>
      <vt:lpstr>等线</vt:lpstr>
      <vt:lpstr>黑体</vt:lpstr>
      <vt:lpstr>黑体</vt:lpstr>
      <vt:lpstr>楷体</vt:lpstr>
      <vt:lpstr>思源黑体 CN Light</vt:lpstr>
      <vt:lpstr>宋体</vt:lpstr>
      <vt:lpstr>Microsoft YaHei</vt:lpstr>
      <vt:lpstr>Microsoft YaHei</vt:lpstr>
      <vt:lpstr>微软雅黑 Light</vt:lpstr>
      <vt:lpstr>Arial</vt:lpstr>
      <vt:lpstr>Calibri</vt:lpstr>
      <vt:lpstr>Helvetica</vt:lpstr>
      <vt:lpstr>Impact</vt:lpstr>
      <vt:lpstr>Segoe UI</vt:lpstr>
      <vt:lpstr>Times New Roman</vt:lpstr>
      <vt:lpstr>Wingdings</vt:lpstr>
      <vt:lpstr>9_正文页</vt:lpstr>
      <vt:lpstr>12_正文页</vt:lpstr>
      <vt:lpstr>13_正文页</vt:lpstr>
      <vt:lpstr>14_正文页</vt:lpstr>
      <vt:lpstr>15_正文页</vt:lpstr>
      <vt:lpstr>16_正文页</vt:lpstr>
      <vt:lpstr>17_正文页</vt:lpstr>
      <vt:lpstr>18_正文页</vt:lpstr>
      <vt:lpstr>19_正文页</vt:lpstr>
      <vt:lpstr>20_正文页</vt:lpstr>
      <vt:lpstr>21_正文页</vt:lpstr>
      <vt:lpstr>22_正文页</vt:lpstr>
      <vt:lpstr>2_Office 主题</vt:lpstr>
      <vt:lpstr>3_Office 主题</vt:lpstr>
      <vt:lpstr>10_正文页</vt:lpstr>
      <vt:lpstr>4_Office 主题</vt:lpstr>
      <vt:lpstr>自定义设计方案</vt:lpstr>
      <vt:lpstr>模板页面</vt:lpstr>
      <vt:lpstr>11_正文页</vt:lpstr>
      <vt:lpstr>think-cell Slide</vt:lpstr>
      <vt:lpstr>PowerPoint 演示文稿</vt:lpstr>
      <vt:lpstr>PowerPoint 演示文稿</vt:lpstr>
      <vt:lpstr>数字化时代，供应链在发生什么变化？</vt:lpstr>
      <vt:lpstr>商业与零售的变革</vt:lpstr>
      <vt:lpstr>供应链的变革</vt:lpstr>
      <vt:lpstr>供应链视角下物流的变革</vt:lpstr>
      <vt:lpstr>物流商业模式的迭代</vt:lpstr>
      <vt:lpstr>物流产品的迭代</vt:lpstr>
      <vt:lpstr>国家鼓励物流企业提质增效，支持创新发展，鼓励供应链发展</vt:lpstr>
      <vt:lpstr>物流企业集中上市和投资热度</vt:lpstr>
      <vt:lpstr>互联网+物流涌现大量创新型企业</vt:lpstr>
      <vt:lpstr>2015年以来亚洲物流行业巨额融资中五次出现在中国</vt:lpstr>
      <vt:lpstr>无界零售时代，物流的终极状态是“无界物流”</vt:lpstr>
      <vt:lpstr>PowerPoint 演示文稿</vt:lpstr>
      <vt:lpstr>新的技术得到不断发展和应用</vt:lpstr>
      <vt:lpstr>支撑物流行业发展的主要技术及新的技术发展趋势</vt:lpstr>
      <vt:lpstr>京东物流自动化两个阶段</vt:lpstr>
      <vt:lpstr>自动化设备更具柔性，通过人机混合，提升仓库作业效率</vt:lpstr>
      <vt:lpstr>京东物流的无人驾驶广泛应用于物流不同环节中，创新引领</vt:lpstr>
      <vt:lpstr>京东物流的数字化仓储运营，提升运营效率</vt:lpstr>
      <vt:lpstr>京东物流使用大数据人工智能，提升决策效率</vt:lpstr>
      <vt:lpstr>全链路智慧化，京东物流实现“四好” 服务</vt:lpstr>
      <vt:lpstr>新技术应用于物流的不同环节和层面，提升效率和降低成本</vt:lpstr>
      <vt:lpstr>无界物流技术市场情况及典型企业</vt:lpstr>
      <vt:lpstr>传统公司、科技公司及物流公司均对物流技术公司进行频繁投资</vt:lpstr>
      <vt:lpstr>创业公司瞄准FedEx等国际大型物流公司，提供技术解决方案</vt:lpstr>
      <vt:lpstr>PowerPoint 演示文稿</vt:lpstr>
      <vt:lpstr>我们是谁</vt:lpstr>
      <vt:lpstr>十年磨一剑，从电商物流到物流企业，已具备全面核心能力</vt:lpstr>
      <vt:lpstr>拥有全球唯一高效协同的六大物流网络</vt:lpstr>
      <vt:lpstr>持续塑造全球最佳的客户体验</vt:lpstr>
      <vt:lpstr>基于全球领先的供应链能力，为客户提供最丰富的产品组合</vt:lpstr>
      <vt:lpstr>PowerPoint 演示文稿</vt:lpstr>
      <vt:lpstr>通过成熟技术输出，致力于打造最全商业场景的智能履约平台</vt:lpstr>
      <vt:lpstr>全球最广泛商用的无人设备，致力实现全流程智能化</vt:lpstr>
      <vt:lpstr>从中国到全球，输出供应链基础设施</vt:lpstr>
      <vt:lpstr>逐步构建全球最流畅的”双48小时”通路网络</vt:lpstr>
      <vt:lpstr>共建全球商业社会可持续发展共生生态</vt:lpstr>
      <vt:lpstr>PowerPoint 演示文稿</vt:lpstr>
      <vt:lpstr>自定义放映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Kyle Xu_Advisory</dc:creator>
  <cp:lastModifiedBy>dell</cp:lastModifiedBy>
  <cp:revision>956</cp:revision>
  <cp:lastPrinted>2017-11-09T15:51:58Z</cp:lastPrinted>
  <dcterms:created xsi:type="dcterms:W3CDTF">2017-10-29T08:29:48Z</dcterms:created>
  <dcterms:modified xsi:type="dcterms:W3CDTF">2018-09-24T06:38:06Z</dcterms:modified>
</cp:coreProperties>
</file>